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0"/>
  </p:notesMasterIdLst>
  <p:sldIdLst>
    <p:sldId id="258" r:id="rId5"/>
    <p:sldId id="259" r:id="rId6"/>
    <p:sldId id="286" r:id="rId7"/>
    <p:sldId id="263" r:id="rId8"/>
    <p:sldId id="285" r:id="rId9"/>
  </p:sldIdLst>
  <p:sldSz cx="12192000" cy="6858000"/>
  <p:notesSz cx="6858000" cy="9144000"/>
  <p:custDataLst>
    <p:tags r:id="rId11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90" userDrawn="1">
          <p15:clr>
            <a:srgbClr val="A4A3A4"/>
          </p15:clr>
        </p15:guide>
        <p15:guide id="2" pos="3318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4C34FB8-26DF-E2F0-7A4A-609D8F30D71B}" name="Torunn Julie Kielland (NO)" initials="TK" userId="S::torunn.kielland@pwc.com::b5bd6ae4-c36f-4353-81ae-42ba49e33c77" providerId="AD"/>
  <p188:author id="{800518FC-B55D-3986-2377-BE9CAA2EEAB6}" name="Hilde Jordan (NO)" initials="H(" userId="S::hilde.jordan_pwc.com#ext#@nftr.onmicrosoft.com::0ef8399c-fa66-4b88-a5fc-2f95bafa3c7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E9ED"/>
    <a:srgbClr val="F3F3F3"/>
    <a:srgbClr val="D04A02"/>
    <a:srgbClr val="1C3348"/>
    <a:srgbClr val="CDEA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55CCAD-C5B8-4CE7-B856-89CCFCF8443C}" v="2" dt="2025-12-02T11:04:55.6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59275" autoAdjust="0"/>
  </p:normalViewPr>
  <p:slideViewPr>
    <p:cSldViewPr snapToGrid="0">
      <p:cViewPr varScale="1">
        <p:scale>
          <a:sx n="86" d="100"/>
          <a:sy n="86" d="100"/>
        </p:scale>
        <p:origin x="2010" y="300"/>
      </p:cViewPr>
      <p:guideLst>
        <p:guide orient="horz" pos="3090"/>
        <p:guide pos="331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runn Julie Kielland (NO)" userId="b5bd6ae4-c36f-4353-81ae-42ba49e33c77" providerId="ADAL" clId="{3C5FDB96-6000-406C-B8F7-8B0B535B1E00}"/>
    <pc:docChg chg="delSld modSld sldOrd">
      <pc:chgData name="Torunn Julie Kielland (NO)" userId="b5bd6ae4-c36f-4353-81ae-42ba49e33c77" providerId="ADAL" clId="{3C5FDB96-6000-406C-B8F7-8B0B535B1E00}" dt="2025-12-02T11:09:19.890" v="19" actId="20577"/>
      <pc:docMkLst>
        <pc:docMk/>
      </pc:docMkLst>
      <pc:sldChg chg="modNotesTx">
        <pc:chgData name="Torunn Julie Kielland (NO)" userId="b5bd6ae4-c36f-4353-81ae-42ba49e33c77" providerId="ADAL" clId="{3C5FDB96-6000-406C-B8F7-8B0B535B1E00}" dt="2025-12-02T11:09:12.439" v="18" actId="6549"/>
        <pc:sldMkLst>
          <pc:docMk/>
          <pc:sldMk cId="0" sldId="258"/>
        </pc:sldMkLst>
      </pc:sldChg>
      <pc:sldChg chg="setBg">
        <pc:chgData name="Torunn Julie Kielland (NO)" userId="b5bd6ae4-c36f-4353-81ae-42ba49e33c77" providerId="ADAL" clId="{3C5FDB96-6000-406C-B8F7-8B0B535B1E00}" dt="2025-12-02T11:04:55.696" v="11"/>
        <pc:sldMkLst>
          <pc:docMk/>
          <pc:sldMk cId="3653900745" sldId="259"/>
        </pc:sldMkLst>
      </pc:sldChg>
      <pc:sldChg chg="del">
        <pc:chgData name="Torunn Julie Kielland (NO)" userId="b5bd6ae4-c36f-4353-81ae-42ba49e33c77" providerId="ADAL" clId="{3C5FDB96-6000-406C-B8F7-8B0B535B1E00}" dt="2025-12-02T11:03:25.271" v="0" actId="2696"/>
        <pc:sldMkLst>
          <pc:docMk/>
          <pc:sldMk cId="3011997146" sldId="261"/>
        </pc:sldMkLst>
      </pc:sldChg>
      <pc:sldChg chg="del mod ord modShow">
        <pc:chgData name="Torunn Julie Kielland (NO)" userId="b5bd6ae4-c36f-4353-81ae-42ba49e33c77" providerId="ADAL" clId="{3C5FDB96-6000-406C-B8F7-8B0B535B1E00}" dt="2025-12-02T11:07:13.458" v="17" actId="2696"/>
        <pc:sldMkLst>
          <pc:docMk/>
          <pc:sldMk cId="90118527" sldId="262"/>
        </pc:sldMkLst>
      </pc:sldChg>
      <pc:sldChg chg="mod ord setBg modShow">
        <pc:chgData name="Torunn Julie Kielland (NO)" userId="b5bd6ae4-c36f-4353-81ae-42ba49e33c77" providerId="ADAL" clId="{3C5FDB96-6000-406C-B8F7-8B0B535B1E00}" dt="2025-12-02T11:04:55.696" v="11"/>
        <pc:sldMkLst>
          <pc:docMk/>
          <pc:sldMk cId="1997293352" sldId="263"/>
        </pc:sldMkLst>
      </pc:sldChg>
      <pc:sldChg chg="del mod ord setBg modShow">
        <pc:chgData name="Torunn Julie Kielland (NO)" userId="b5bd6ae4-c36f-4353-81ae-42ba49e33c77" providerId="ADAL" clId="{3C5FDB96-6000-406C-B8F7-8B0B535B1E00}" dt="2025-12-02T11:07:13.458" v="17" actId="2696"/>
        <pc:sldMkLst>
          <pc:docMk/>
          <pc:sldMk cId="3145662519" sldId="268"/>
        </pc:sldMkLst>
      </pc:sldChg>
      <pc:sldChg chg="del">
        <pc:chgData name="Torunn Julie Kielland (NO)" userId="b5bd6ae4-c36f-4353-81ae-42ba49e33c77" providerId="ADAL" clId="{3C5FDB96-6000-406C-B8F7-8B0B535B1E00}" dt="2025-12-02T11:07:13.458" v="17" actId="2696"/>
        <pc:sldMkLst>
          <pc:docMk/>
          <pc:sldMk cId="1219423658" sldId="269"/>
        </pc:sldMkLst>
      </pc:sldChg>
      <pc:sldChg chg="del">
        <pc:chgData name="Torunn Julie Kielland (NO)" userId="b5bd6ae4-c36f-4353-81ae-42ba49e33c77" providerId="ADAL" clId="{3C5FDB96-6000-406C-B8F7-8B0B535B1E00}" dt="2025-12-02T11:03:25.271" v="0" actId="2696"/>
        <pc:sldMkLst>
          <pc:docMk/>
          <pc:sldMk cId="1425138632" sldId="272"/>
        </pc:sldMkLst>
      </pc:sldChg>
      <pc:sldChg chg="del">
        <pc:chgData name="Torunn Julie Kielland (NO)" userId="b5bd6ae4-c36f-4353-81ae-42ba49e33c77" providerId="ADAL" clId="{3C5FDB96-6000-406C-B8F7-8B0B535B1E00}" dt="2025-12-02T11:03:25.271" v="0" actId="2696"/>
        <pc:sldMkLst>
          <pc:docMk/>
          <pc:sldMk cId="3291965668" sldId="274"/>
        </pc:sldMkLst>
      </pc:sldChg>
      <pc:sldChg chg="del">
        <pc:chgData name="Torunn Julie Kielland (NO)" userId="b5bd6ae4-c36f-4353-81ae-42ba49e33c77" providerId="ADAL" clId="{3C5FDB96-6000-406C-B8F7-8B0B535B1E00}" dt="2025-12-02T11:03:25.271" v="0" actId="2696"/>
        <pc:sldMkLst>
          <pc:docMk/>
          <pc:sldMk cId="4024179787" sldId="275"/>
        </pc:sldMkLst>
      </pc:sldChg>
      <pc:sldChg chg="del">
        <pc:chgData name="Torunn Julie Kielland (NO)" userId="b5bd6ae4-c36f-4353-81ae-42ba49e33c77" providerId="ADAL" clId="{3C5FDB96-6000-406C-B8F7-8B0B535B1E00}" dt="2025-12-02T11:03:25.271" v="0" actId="2696"/>
        <pc:sldMkLst>
          <pc:docMk/>
          <pc:sldMk cId="899622667" sldId="276"/>
        </pc:sldMkLst>
      </pc:sldChg>
      <pc:sldChg chg="del">
        <pc:chgData name="Torunn Julie Kielland (NO)" userId="b5bd6ae4-c36f-4353-81ae-42ba49e33c77" providerId="ADAL" clId="{3C5FDB96-6000-406C-B8F7-8B0B535B1E00}" dt="2025-12-02T11:06:33.062" v="15" actId="2696"/>
        <pc:sldMkLst>
          <pc:docMk/>
          <pc:sldMk cId="1422203676" sldId="277"/>
        </pc:sldMkLst>
      </pc:sldChg>
      <pc:sldChg chg="del">
        <pc:chgData name="Torunn Julie Kielland (NO)" userId="b5bd6ae4-c36f-4353-81ae-42ba49e33c77" providerId="ADAL" clId="{3C5FDB96-6000-406C-B8F7-8B0B535B1E00}" dt="2025-12-02T11:03:25.271" v="0" actId="2696"/>
        <pc:sldMkLst>
          <pc:docMk/>
          <pc:sldMk cId="1847650165" sldId="279"/>
        </pc:sldMkLst>
      </pc:sldChg>
      <pc:sldChg chg="del">
        <pc:chgData name="Torunn Julie Kielland (NO)" userId="b5bd6ae4-c36f-4353-81ae-42ba49e33c77" providerId="ADAL" clId="{3C5FDB96-6000-406C-B8F7-8B0B535B1E00}" dt="2025-12-02T11:03:25.271" v="0" actId="2696"/>
        <pc:sldMkLst>
          <pc:docMk/>
          <pc:sldMk cId="2519907581" sldId="284"/>
        </pc:sldMkLst>
      </pc:sldChg>
      <pc:sldChg chg="ord modNotesTx">
        <pc:chgData name="Torunn Julie Kielland (NO)" userId="b5bd6ae4-c36f-4353-81ae-42ba49e33c77" providerId="ADAL" clId="{3C5FDB96-6000-406C-B8F7-8B0B535B1E00}" dt="2025-12-02T11:09:19.890" v="19" actId="20577"/>
        <pc:sldMkLst>
          <pc:docMk/>
          <pc:sldMk cId="3447909413" sldId="285"/>
        </pc:sldMkLst>
      </pc:sldChg>
      <pc:sldChg chg="mod ord setBg modShow">
        <pc:chgData name="Torunn Julie Kielland (NO)" userId="b5bd6ae4-c36f-4353-81ae-42ba49e33c77" providerId="ADAL" clId="{3C5FDB96-6000-406C-B8F7-8B0B535B1E00}" dt="2025-12-02T11:04:55.696" v="11"/>
        <pc:sldMkLst>
          <pc:docMk/>
          <pc:sldMk cId="906800976" sldId="28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0BEA83-B646-4B96-B511-899D13511BE3}" type="datetimeFigureOut">
              <a:rPr lang="nb-NO" smtClean="0"/>
              <a:t>02.12.2025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C40CD1-5B29-4DEF-A927-01AEA32B34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890083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3" name="Google Shape;753;g3295a707e43_0_22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54" name="Google Shape;754;g3295a707e43_0_22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fontAlgn="base">
              <a:buFont typeface="Arial" panose="020B0604020202020204" pitchFamily="34" charset="0"/>
              <a:buChar char="•"/>
            </a:pPr>
            <a:endParaRPr lang="nb-NO" b="0" i="0" dirty="0">
              <a:solidFill>
                <a:srgbClr val="FFFFFF"/>
              </a:solidFill>
              <a:effectLst/>
              <a:latin typeface="HelveticaNeue"/>
            </a:endParaRPr>
          </a:p>
          <a:p>
            <a:pPr algn="l" fontAlgn="base">
              <a:buFont typeface="Arial" panose="020B0604020202020204" pitchFamily="34" charset="0"/>
              <a:buChar char="•"/>
            </a:pPr>
            <a:endParaRPr lang="nb-NO" b="0" i="0" dirty="0">
              <a:solidFill>
                <a:srgbClr val="FFFFFF"/>
              </a:solidFill>
              <a:effectLst/>
              <a:latin typeface="HelveticaNeue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nb-NO" sz="1200" dirty="0">
              <a:solidFill>
                <a:schemeClr val="bg1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nb-NO" sz="1200" dirty="0">
              <a:solidFill>
                <a:schemeClr val="bg1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C40CD1-5B29-4DEF-A927-01AEA32B3448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387687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DAA043-A108-5FEE-A735-3A2E67764E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3168969-A132-B023-81DA-C3E938E2A4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7C510C-5A71-FE35-D3B5-13943345AE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34752-6DF9-4F7D-A80B-F095648831AF}" type="datetimeFigureOut">
              <a:rPr lang="nb-NO" smtClean="0"/>
              <a:t>02.12.2025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1AA6AC-38A6-8F97-3B3B-F97E5B56D6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657CCF-6E04-D5C6-BE10-2F71D1C29F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115C3-DA50-41FE-9C82-8BD3C87DA95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503824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27ADCA-00CC-0604-5091-EA65760A7E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A455D2D-B2D0-76FA-B282-46E2BA4C5D7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E0E071-E573-9A05-459D-B260F188B6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34752-6DF9-4F7D-A80B-F095648831AF}" type="datetimeFigureOut">
              <a:rPr lang="nb-NO" smtClean="0"/>
              <a:t>02.12.2025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C17AB1-D889-6A9D-4F95-EE74F040C8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6643C7-CA93-AB20-026C-7C0B651A82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115C3-DA50-41FE-9C82-8BD3C87DA95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062539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AB35F0D-C6C6-F566-2D20-EC647D0D66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619BFC-D222-D808-334B-F4B697C218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32F67A-3805-9C84-D948-CA74B5CC4F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34752-6DF9-4F7D-A80B-F095648831AF}" type="datetimeFigureOut">
              <a:rPr lang="nb-NO" smtClean="0"/>
              <a:t>02.12.2025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EDB6B2-5FAD-C511-6292-AE8F503FD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A0DDF5-AB73-DE98-E67E-F358667D7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115C3-DA50-41FE-9C82-8BD3C87DA95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878813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">
  <p:cSld name="Three Content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3"/>
          <p:cNvSpPr txBox="1">
            <a:spLocks noGrp="1"/>
          </p:cNvSpPr>
          <p:nvPr>
            <p:ph type="body" idx="1"/>
          </p:nvPr>
        </p:nvSpPr>
        <p:spPr>
          <a:xfrm>
            <a:off x="442913" y="2103439"/>
            <a:ext cx="3529200" cy="40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marR="0" lvl="0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06390" algn="l">
              <a:lnSpc>
                <a:spcPct val="100000"/>
              </a:lnSpc>
              <a:spcBef>
                <a:spcPts val="667"/>
              </a:spcBef>
              <a:spcAft>
                <a:spcPts val="667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2"/>
          </p:nvPr>
        </p:nvSpPr>
        <p:spPr>
          <a:xfrm>
            <a:off x="4332288" y="2103439"/>
            <a:ext cx="3529200" cy="40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marR="0" lvl="0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06390" algn="l">
              <a:lnSpc>
                <a:spcPct val="100000"/>
              </a:lnSpc>
              <a:spcBef>
                <a:spcPts val="667"/>
              </a:spcBef>
              <a:spcAft>
                <a:spcPts val="667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13"/>
          <p:cNvSpPr txBox="1">
            <a:spLocks noGrp="1"/>
          </p:cNvSpPr>
          <p:nvPr>
            <p:ph type="body" idx="3"/>
          </p:nvPr>
        </p:nvSpPr>
        <p:spPr>
          <a:xfrm>
            <a:off x="8220076" y="2103439"/>
            <a:ext cx="3529200" cy="40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marR="0" lvl="0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06390" algn="l">
              <a:lnSpc>
                <a:spcPct val="100000"/>
              </a:lnSpc>
              <a:spcBef>
                <a:spcPts val="667"/>
              </a:spcBef>
              <a:spcAft>
                <a:spcPts val="667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4" name="Google Shape;54;p13"/>
          <p:cNvSpPr txBox="1">
            <a:spLocks noGrp="1"/>
          </p:cNvSpPr>
          <p:nvPr>
            <p:ph type="title"/>
          </p:nvPr>
        </p:nvSpPr>
        <p:spPr>
          <a:xfrm>
            <a:off x="442913" y="432000"/>
            <a:ext cx="113060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R="0"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 sz="1867"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 sz="1867"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 sz="1867"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 sz="1867"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 sz="1867"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 sz="1867"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 sz="1867"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 sz="1867"/>
            </a:lvl9pPr>
          </a:lstStyle>
          <a:p>
            <a:endParaRPr/>
          </a:p>
        </p:txBody>
      </p:sp>
      <p:sp>
        <p:nvSpPr>
          <p:cNvPr id="55" name="Google Shape;55;p13"/>
          <p:cNvSpPr txBox="1">
            <a:spLocks noGrp="1"/>
          </p:cNvSpPr>
          <p:nvPr>
            <p:ph type="sldNum" idx="12"/>
          </p:nvPr>
        </p:nvSpPr>
        <p:spPr>
          <a:xfrm>
            <a:off x="8218489" y="6492240"/>
            <a:ext cx="3530800" cy="1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0" marR="0" lvl="0" indent="0" algn="r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2361148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897AC1-2F84-9DF2-8013-0E2D895266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2FD12F-199C-6CF8-8C4F-6AF4DA4964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129A5D-BCE2-BFDB-C19F-9D56080D7A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34752-6DF9-4F7D-A80B-F095648831AF}" type="datetimeFigureOut">
              <a:rPr lang="nb-NO" smtClean="0"/>
              <a:t>02.12.2025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A9E745-BB96-DC5E-96C6-E0D236EEFE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F59173-5F0D-0B5A-3E4C-216A4F221C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115C3-DA50-41FE-9C82-8BD3C87DA95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491811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52F917-57D7-F261-B57C-5C068862F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8E3D50-0684-70E9-E231-6A217DCC38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530F15-2981-A265-057D-457B392CAF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34752-6DF9-4F7D-A80B-F095648831AF}" type="datetimeFigureOut">
              <a:rPr lang="nb-NO" smtClean="0"/>
              <a:t>02.12.2025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22E0E4-DB25-0603-C4C9-56C66E92F4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C794F3-93A8-A2E8-519B-3FE3D89BC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115C3-DA50-41FE-9C82-8BD3C87DA95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339491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92E6BC-37EE-C457-13C5-68F1EF8BD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BD8D5E-14EE-C870-91BC-35E357E0E0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CAE4457-C232-245D-5478-D243353006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1EC05-AEBF-D42B-F545-3070ABAAFA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34752-6DF9-4F7D-A80B-F095648831AF}" type="datetimeFigureOut">
              <a:rPr lang="nb-NO" smtClean="0"/>
              <a:t>02.12.2025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AA66C8-1522-443F-0A55-FD711F22D5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9F91AA-B511-6D9B-721F-76FA0F4333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115C3-DA50-41FE-9C82-8BD3C87DA95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08831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5CB0CD-4BFF-7157-CF2A-BDF100FF09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FA4BA3-9140-313E-2A85-A543E277AE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A64ECE-2FBB-A4D9-D871-B4D2990AA2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583E56-4970-1765-2E59-289E193BA9D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1C24E05-C394-4263-6C4E-8304D91548D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0C14DF0-DA94-61E6-69F8-FBEE3FAFD7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34752-6DF9-4F7D-A80B-F095648831AF}" type="datetimeFigureOut">
              <a:rPr lang="nb-NO" smtClean="0"/>
              <a:t>02.12.2025</a:t>
            </a:fld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88A0D0F-F0EB-E37A-8C96-CF66DC9781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A7D2F8-0FF0-2F5F-F431-2A52E1EABC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115C3-DA50-41FE-9C82-8BD3C87DA95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634550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A25909-2A51-507D-00A7-689F5B9C41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ECA2B-F355-BCDA-533C-301E058A43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34752-6DF9-4F7D-A80B-F095648831AF}" type="datetimeFigureOut">
              <a:rPr lang="nb-NO" smtClean="0"/>
              <a:t>02.12.2025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4BBA9B-1D01-96E8-E38F-87033A7852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820062-18CB-7DEA-D526-9E0A514780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115C3-DA50-41FE-9C82-8BD3C87DA95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04154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A512B9-5869-4656-91CE-A8E33B1533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34752-6DF9-4F7D-A80B-F095648831AF}" type="datetimeFigureOut">
              <a:rPr lang="nb-NO" smtClean="0"/>
              <a:t>02.12.2025</a:t>
            </a:fld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970B06-73FC-AB90-C89B-2E38DD25A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1EE74A-3D78-0082-F0B1-3F2F5334C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115C3-DA50-41FE-9C82-8BD3C87DA95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537280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3A58C4-69CF-F714-F290-133F3B1FDF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3207FC-F06F-ECF2-EAFE-ED93C6CACE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BEE8AE-DF13-735E-E9BE-012EEB84BF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76EB56-D1F6-08CC-4DF6-5B5D625913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34752-6DF9-4F7D-A80B-F095648831AF}" type="datetimeFigureOut">
              <a:rPr lang="nb-NO" smtClean="0"/>
              <a:t>02.12.2025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58B303-11FD-AECD-3B8C-A38BE25DE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7CC030-D8FD-198F-DD8A-0661EB376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115C3-DA50-41FE-9C82-8BD3C87DA95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056025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234D1A-7491-D15E-ABC7-4BAFB2543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09AEFBB-1660-1867-6FB9-20245A9F109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D37FFE-4075-7A13-C0BB-E5D4E3156A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8A4DF5-01E9-66C7-3578-0284F58B97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34752-6DF9-4F7D-A80B-F095648831AF}" type="datetimeFigureOut">
              <a:rPr lang="nb-NO" smtClean="0"/>
              <a:t>02.12.2025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7DB594-DFC2-29C0-8553-C802EA1661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C79D3A-E6E9-23F5-0D7C-10BAFD4B4D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115C3-DA50-41FE-9C82-8BD3C87DA95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122312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ACDAA0D-0B73-B5DA-9885-B727FB4992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9430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08" imgH="408" progId="TCLayout.ActiveDocument.1">
                  <p:embed/>
                </p:oleObj>
              </mc:Choice>
              <mc:Fallback>
                <p:oleObj name="think-cell Slide" r:id="rId15" imgW="408" imgH="4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CDAA0D-0B73-B5DA-9885-B727FB4992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EB6B24D-7BDC-0EC7-CD83-58EADCB9A8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C71A1C-40A5-F273-4E6E-CD2FE97FE2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BBFE86-8077-24DD-49BF-CABB8DC8E2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5834752-6DF9-4F7D-A80B-F095648831AF}" type="datetimeFigureOut">
              <a:rPr lang="nb-NO" smtClean="0"/>
              <a:t>02.12.2025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6F7C5F-7595-242D-DCBF-1A9F900BB3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29D1E6-1946-C4E4-9B68-8F87A2EC83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B4115C3-DA50-41FE-9C82-8BD3C87DA95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43615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3E9ED"/>
        </a:solidFill>
        <a:effectLst/>
      </p:bgPr>
    </p:bg>
    <p:spTree>
      <p:nvGrpSpPr>
        <p:cNvPr id="1" name="Shape 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B576F58-C929-B1B3-9E9B-EE0DCD0DB8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1376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576F58-C929-B1B3-9E9B-EE0DCD0DB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6" name="Google Shape;756;p16"/>
          <p:cNvSpPr/>
          <p:nvPr/>
        </p:nvSpPr>
        <p:spPr>
          <a:xfrm>
            <a:off x="321700" y="2067133"/>
            <a:ext cx="1124000" cy="2476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SzPts val="700"/>
            </a:pPr>
            <a:r>
              <a:rPr lang="en" sz="933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ROMSØ 2040</a:t>
            </a:r>
            <a:endParaRPr sz="933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7" name="Google Shape;757;p16"/>
          <p:cNvSpPr/>
          <p:nvPr/>
        </p:nvSpPr>
        <p:spPr>
          <a:xfrm>
            <a:off x="3819851" y="5017932"/>
            <a:ext cx="1897200" cy="773200"/>
          </a:xfrm>
          <a:prstGeom prst="rect">
            <a:avLst/>
          </a:prstGeom>
          <a:solidFill>
            <a:srgbClr val="F3F3F3"/>
          </a:solidFill>
          <a:ln w="9525" cap="flat" cmpd="sng">
            <a:solidFill>
              <a:srgbClr val="F3F3F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1867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8" name="Google Shape;758;p16"/>
          <p:cNvSpPr/>
          <p:nvPr/>
        </p:nvSpPr>
        <p:spPr>
          <a:xfrm>
            <a:off x="3819851" y="4107901"/>
            <a:ext cx="1897200" cy="773200"/>
          </a:xfrm>
          <a:prstGeom prst="rect">
            <a:avLst/>
          </a:prstGeom>
          <a:solidFill>
            <a:srgbClr val="F3F3F3"/>
          </a:solidFill>
          <a:ln w="9525" cap="flat" cmpd="sng">
            <a:solidFill>
              <a:srgbClr val="F3F3F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1867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9" name="Google Shape;759;p16"/>
          <p:cNvSpPr/>
          <p:nvPr/>
        </p:nvSpPr>
        <p:spPr>
          <a:xfrm>
            <a:off x="3790417" y="3197751"/>
            <a:ext cx="1926800" cy="773200"/>
          </a:xfrm>
          <a:prstGeom prst="rect">
            <a:avLst/>
          </a:prstGeom>
          <a:solidFill>
            <a:srgbClr val="F3F3F3"/>
          </a:solidFill>
          <a:ln w="9525" cap="flat" cmpd="sng">
            <a:solidFill>
              <a:srgbClr val="F3F3F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1867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0" name="Google Shape;760;p16"/>
          <p:cNvSpPr/>
          <p:nvPr/>
        </p:nvSpPr>
        <p:spPr>
          <a:xfrm flipH="1">
            <a:off x="2883396" y="1540233"/>
            <a:ext cx="2833688" cy="931299"/>
          </a:xfrm>
          <a:custGeom>
            <a:avLst/>
            <a:gdLst/>
            <a:ahLst/>
            <a:cxnLst/>
            <a:rect l="l" t="t" r="r" b="b"/>
            <a:pathLst>
              <a:path w="285750" h="123242" extrusionOk="0">
                <a:moveTo>
                  <a:pt x="195674" y="0"/>
                </a:moveTo>
                <a:lnTo>
                  <a:pt x="181569" y="11219"/>
                </a:lnTo>
                <a:lnTo>
                  <a:pt x="181569" y="35998"/>
                </a:lnTo>
                <a:lnTo>
                  <a:pt x="162399" y="35998"/>
                </a:lnTo>
                <a:lnTo>
                  <a:pt x="162399" y="22601"/>
                </a:lnTo>
                <a:lnTo>
                  <a:pt x="144482" y="22601"/>
                </a:lnTo>
                <a:lnTo>
                  <a:pt x="144482" y="15957"/>
                </a:lnTo>
                <a:lnTo>
                  <a:pt x="144427" y="15957"/>
                </a:lnTo>
                <a:lnTo>
                  <a:pt x="144427" y="15793"/>
                </a:lnTo>
                <a:lnTo>
                  <a:pt x="144373" y="14976"/>
                </a:lnTo>
                <a:lnTo>
                  <a:pt x="144209" y="14159"/>
                </a:lnTo>
                <a:lnTo>
                  <a:pt x="143937" y="13397"/>
                </a:lnTo>
                <a:lnTo>
                  <a:pt x="143610" y="12635"/>
                </a:lnTo>
                <a:lnTo>
                  <a:pt x="143175" y="11927"/>
                </a:lnTo>
                <a:lnTo>
                  <a:pt x="142684" y="11219"/>
                </a:lnTo>
                <a:lnTo>
                  <a:pt x="142140" y="10620"/>
                </a:lnTo>
                <a:lnTo>
                  <a:pt x="141486" y="10021"/>
                </a:lnTo>
                <a:lnTo>
                  <a:pt x="140778" y="9476"/>
                </a:lnTo>
                <a:lnTo>
                  <a:pt x="140016" y="9040"/>
                </a:lnTo>
                <a:lnTo>
                  <a:pt x="139145" y="8605"/>
                </a:lnTo>
                <a:lnTo>
                  <a:pt x="138273" y="8278"/>
                </a:lnTo>
                <a:lnTo>
                  <a:pt x="137347" y="8006"/>
                </a:lnTo>
                <a:lnTo>
                  <a:pt x="136422" y="7788"/>
                </a:lnTo>
                <a:lnTo>
                  <a:pt x="135387" y="7679"/>
                </a:lnTo>
                <a:lnTo>
                  <a:pt x="134407" y="7624"/>
                </a:lnTo>
                <a:lnTo>
                  <a:pt x="133372" y="7679"/>
                </a:lnTo>
                <a:lnTo>
                  <a:pt x="132392" y="7788"/>
                </a:lnTo>
                <a:lnTo>
                  <a:pt x="131411" y="8006"/>
                </a:lnTo>
                <a:lnTo>
                  <a:pt x="130485" y="8278"/>
                </a:lnTo>
                <a:lnTo>
                  <a:pt x="129614" y="8605"/>
                </a:lnTo>
                <a:lnTo>
                  <a:pt x="128797" y="9040"/>
                </a:lnTo>
                <a:lnTo>
                  <a:pt x="128035" y="9476"/>
                </a:lnTo>
                <a:lnTo>
                  <a:pt x="127272" y="10021"/>
                </a:lnTo>
                <a:lnTo>
                  <a:pt x="126673" y="10620"/>
                </a:lnTo>
                <a:lnTo>
                  <a:pt x="126074" y="11219"/>
                </a:lnTo>
                <a:lnTo>
                  <a:pt x="125584" y="11927"/>
                </a:lnTo>
                <a:lnTo>
                  <a:pt x="125148" y="12635"/>
                </a:lnTo>
                <a:lnTo>
                  <a:pt x="124822" y="13397"/>
                </a:lnTo>
                <a:lnTo>
                  <a:pt x="124549" y="14159"/>
                </a:lnTo>
                <a:lnTo>
                  <a:pt x="124386" y="14976"/>
                </a:lnTo>
                <a:lnTo>
                  <a:pt x="124386" y="15793"/>
                </a:lnTo>
                <a:lnTo>
                  <a:pt x="124386" y="15957"/>
                </a:lnTo>
                <a:lnTo>
                  <a:pt x="124168" y="15957"/>
                </a:lnTo>
                <a:lnTo>
                  <a:pt x="124168" y="33438"/>
                </a:lnTo>
                <a:lnTo>
                  <a:pt x="112568" y="33438"/>
                </a:lnTo>
                <a:lnTo>
                  <a:pt x="99879" y="22274"/>
                </a:lnTo>
                <a:lnTo>
                  <a:pt x="87136" y="33438"/>
                </a:lnTo>
                <a:lnTo>
                  <a:pt x="86863" y="33438"/>
                </a:lnTo>
                <a:lnTo>
                  <a:pt x="86863" y="48578"/>
                </a:lnTo>
                <a:lnTo>
                  <a:pt x="77768" y="48578"/>
                </a:lnTo>
                <a:lnTo>
                  <a:pt x="77768" y="42751"/>
                </a:lnTo>
                <a:lnTo>
                  <a:pt x="56693" y="42751"/>
                </a:lnTo>
                <a:lnTo>
                  <a:pt x="56693" y="20640"/>
                </a:lnTo>
                <a:lnTo>
                  <a:pt x="56420" y="20640"/>
                </a:lnTo>
                <a:lnTo>
                  <a:pt x="44167" y="7243"/>
                </a:lnTo>
                <a:lnTo>
                  <a:pt x="31913" y="20640"/>
                </a:lnTo>
                <a:lnTo>
                  <a:pt x="31913" y="31314"/>
                </a:lnTo>
                <a:lnTo>
                  <a:pt x="17318" y="19442"/>
                </a:lnTo>
                <a:lnTo>
                  <a:pt x="817" y="32839"/>
                </a:lnTo>
                <a:lnTo>
                  <a:pt x="0" y="32839"/>
                </a:lnTo>
                <a:lnTo>
                  <a:pt x="0" y="123242"/>
                </a:lnTo>
                <a:lnTo>
                  <a:pt x="56693" y="123242"/>
                </a:lnTo>
                <a:lnTo>
                  <a:pt x="56693" y="123133"/>
                </a:lnTo>
                <a:lnTo>
                  <a:pt x="285750" y="123133"/>
                </a:lnTo>
                <a:lnTo>
                  <a:pt x="285750" y="45746"/>
                </a:lnTo>
                <a:lnTo>
                  <a:pt x="285423" y="44711"/>
                </a:lnTo>
                <a:lnTo>
                  <a:pt x="284988" y="43731"/>
                </a:lnTo>
                <a:lnTo>
                  <a:pt x="284443" y="42751"/>
                </a:lnTo>
                <a:lnTo>
                  <a:pt x="283844" y="41879"/>
                </a:lnTo>
                <a:lnTo>
                  <a:pt x="283190" y="41008"/>
                </a:lnTo>
                <a:lnTo>
                  <a:pt x="282428" y="40191"/>
                </a:lnTo>
                <a:lnTo>
                  <a:pt x="281611" y="39429"/>
                </a:lnTo>
                <a:lnTo>
                  <a:pt x="280685" y="38775"/>
                </a:lnTo>
                <a:lnTo>
                  <a:pt x="279705" y="38122"/>
                </a:lnTo>
                <a:lnTo>
                  <a:pt x="278725" y="37577"/>
                </a:lnTo>
                <a:lnTo>
                  <a:pt x="277636" y="37141"/>
                </a:lnTo>
                <a:lnTo>
                  <a:pt x="276546" y="36706"/>
                </a:lnTo>
                <a:lnTo>
                  <a:pt x="275348" y="36433"/>
                </a:lnTo>
                <a:lnTo>
                  <a:pt x="274150" y="36161"/>
                </a:lnTo>
                <a:lnTo>
                  <a:pt x="272952" y="36052"/>
                </a:lnTo>
                <a:lnTo>
                  <a:pt x="271645" y="35998"/>
                </a:lnTo>
                <a:lnTo>
                  <a:pt x="270556" y="36052"/>
                </a:lnTo>
                <a:lnTo>
                  <a:pt x="269467" y="36161"/>
                </a:lnTo>
                <a:lnTo>
                  <a:pt x="268432" y="36325"/>
                </a:lnTo>
                <a:lnTo>
                  <a:pt x="267397" y="36542"/>
                </a:lnTo>
                <a:lnTo>
                  <a:pt x="266417" y="36869"/>
                </a:lnTo>
                <a:lnTo>
                  <a:pt x="265437" y="37196"/>
                </a:lnTo>
                <a:lnTo>
                  <a:pt x="264511" y="37632"/>
                </a:lnTo>
                <a:lnTo>
                  <a:pt x="263639" y="38122"/>
                </a:lnTo>
                <a:lnTo>
                  <a:pt x="262768" y="38666"/>
                </a:lnTo>
                <a:lnTo>
                  <a:pt x="262006" y="39265"/>
                </a:lnTo>
                <a:lnTo>
                  <a:pt x="261243" y="39864"/>
                </a:lnTo>
                <a:lnTo>
                  <a:pt x="260590" y="40518"/>
                </a:lnTo>
                <a:lnTo>
                  <a:pt x="259936" y="41280"/>
                </a:lnTo>
                <a:lnTo>
                  <a:pt x="259337" y="41988"/>
                </a:lnTo>
                <a:lnTo>
                  <a:pt x="258847" y="42805"/>
                </a:lnTo>
                <a:lnTo>
                  <a:pt x="258357" y="43622"/>
                </a:lnTo>
                <a:lnTo>
                  <a:pt x="258357" y="31151"/>
                </a:lnTo>
                <a:lnTo>
                  <a:pt x="244306" y="19932"/>
                </a:lnTo>
                <a:lnTo>
                  <a:pt x="231889" y="29789"/>
                </a:lnTo>
                <a:lnTo>
                  <a:pt x="231889" y="25814"/>
                </a:lnTo>
                <a:lnTo>
                  <a:pt x="231889" y="9803"/>
                </a:lnTo>
                <a:lnTo>
                  <a:pt x="221869" y="9803"/>
                </a:lnTo>
                <a:lnTo>
                  <a:pt x="221869" y="25814"/>
                </a:lnTo>
                <a:lnTo>
                  <a:pt x="209724" y="25814"/>
                </a:lnTo>
                <a:lnTo>
                  <a:pt x="209724" y="11219"/>
                </a:lnTo>
                <a:lnTo>
                  <a:pt x="195674" y="0"/>
                </a:lnTo>
                <a:close/>
              </a:path>
            </a:pathLst>
          </a:custGeom>
          <a:solidFill>
            <a:srgbClr val="F3F3F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 sz="1867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1" name="Google Shape;761;p16"/>
          <p:cNvSpPr/>
          <p:nvPr/>
        </p:nvSpPr>
        <p:spPr>
          <a:xfrm>
            <a:off x="310284" y="2301335"/>
            <a:ext cx="4883200" cy="7732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1867">
              <a:solidFill>
                <a:srgbClr val="22334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2" name="Google Shape;762;p16"/>
          <p:cNvSpPr/>
          <p:nvPr/>
        </p:nvSpPr>
        <p:spPr>
          <a:xfrm>
            <a:off x="310284" y="3197731"/>
            <a:ext cx="4883200" cy="7732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1867">
              <a:solidFill>
                <a:srgbClr val="22334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3" name="Google Shape;763;p16"/>
          <p:cNvSpPr/>
          <p:nvPr/>
        </p:nvSpPr>
        <p:spPr>
          <a:xfrm>
            <a:off x="310284" y="4107801"/>
            <a:ext cx="4883200" cy="7732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1867">
              <a:solidFill>
                <a:srgbClr val="22334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4" name="Google Shape;764;p16"/>
          <p:cNvSpPr/>
          <p:nvPr/>
        </p:nvSpPr>
        <p:spPr>
          <a:xfrm>
            <a:off x="310284" y="5017892"/>
            <a:ext cx="4883200" cy="7732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1867">
              <a:solidFill>
                <a:srgbClr val="22334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5" name="Google Shape;765;p16"/>
          <p:cNvSpPr txBox="1">
            <a:spLocks noGrp="1"/>
          </p:cNvSpPr>
          <p:nvPr>
            <p:ph type="title"/>
          </p:nvPr>
        </p:nvSpPr>
        <p:spPr>
          <a:xfrm>
            <a:off x="442900" y="432000"/>
            <a:ext cx="11306000" cy="5568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/>
          <a:p>
            <a:r>
              <a:rPr lang="en"/>
              <a:t>Hjerterom for byrom 2024 lagde en visjon for Tromsø 2040 og pekte på hva vi måtte gjøre for å komme dit</a:t>
            </a:r>
            <a:endParaRPr/>
          </a:p>
        </p:txBody>
      </p:sp>
      <p:sp>
        <p:nvSpPr>
          <p:cNvPr id="766" name="Google Shape;766;p16"/>
          <p:cNvSpPr/>
          <p:nvPr/>
        </p:nvSpPr>
        <p:spPr>
          <a:xfrm>
            <a:off x="3790417" y="2361075"/>
            <a:ext cx="1926800" cy="713600"/>
          </a:xfrm>
          <a:prstGeom prst="rect">
            <a:avLst/>
          </a:prstGeom>
          <a:solidFill>
            <a:srgbClr val="F3F3F3"/>
          </a:solidFill>
          <a:ln w="9525" cap="flat" cmpd="sng">
            <a:solidFill>
              <a:srgbClr val="F3F3F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1867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7" name="Google Shape;767;p16"/>
          <p:cNvSpPr/>
          <p:nvPr/>
        </p:nvSpPr>
        <p:spPr>
          <a:xfrm>
            <a:off x="310284" y="2331065"/>
            <a:ext cx="3885600" cy="7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43833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n" sz="1600" b="1">
                <a:solidFill>
                  <a:srgbClr val="22334A"/>
                </a:solidFill>
                <a:latin typeface="Arial"/>
                <a:ea typeface="Arial"/>
                <a:cs typeface="Arial"/>
                <a:sym typeface="Arial"/>
              </a:rPr>
              <a:t>Et sterkt levende sentrum med gode byrom og møteplasser </a:t>
            </a:r>
            <a:endParaRPr sz="1600">
              <a:solidFill>
                <a:srgbClr val="22334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8" name="Google Shape;768;p16"/>
          <p:cNvSpPr/>
          <p:nvPr/>
        </p:nvSpPr>
        <p:spPr>
          <a:xfrm>
            <a:off x="321684" y="3234355"/>
            <a:ext cx="3862800" cy="7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43833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SzPts val="1100"/>
            </a:pPr>
            <a:r>
              <a:rPr lang="en" sz="1600" b="1">
                <a:solidFill>
                  <a:srgbClr val="22334A"/>
                </a:solidFill>
                <a:latin typeface="Arial"/>
                <a:ea typeface="Arial"/>
                <a:cs typeface="Arial"/>
                <a:sym typeface="Arial"/>
              </a:rPr>
              <a:t>En klimanøytral by med god offentlig transport</a:t>
            </a:r>
            <a:endParaRPr sz="1600">
              <a:solidFill>
                <a:srgbClr val="22334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9" name="Google Shape;769;p16"/>
          <p:cNvSpPr/>
          <p:nvPr/>
        </p:nvSpPr>
        <p:spPr>
          <a:xfrm>
            <a:off x="310284" y="4137587"/>
            <a:ext cx="3862800" cy="7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43833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n" sz="1600" b="1">
                <a:solidFill>
                  <a:srgbClr val="22334A"/>
                </a:solidFill>
                <a:latin typeface="Arial"/>
                <a:ea typeface="Arial"/>
                <a:cs typeface="Arial"/>
                <a:sym typeface="Arial"/>
              </a:rPr>
              <a:t>Tilgjengelig og bevart natur</a:t>
            </a:r>
            <a:endParaRPr sz="1333" b="1">
              <a:solidFill>
                <a:srgbClr val="22334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16"/>
          <p:cNvSpPr/>
          <p:nvPr/>
        </p:nvSpPr>
        <p:spPr>
          <a:xfrm>
            <a:off x="321684" y="5047663"/>
            <a:ext cx="3862800" cy="7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43833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n" sz="1600" b="1">
                <a:solidFill>
                  <a:srgbClr val="22334A"/>
                </a:solidFill>
                <a:latin typeface="Arial"/>
                <a:ea typeface="Arial"/>
                <a:cs typeface="Arial"/>
                <a:sym typeface="Arial"/>
              </a:rPr>
              <a:t>En åpen og inkluderende by</a:t>
            </a:r>
            <a:endParaRPr sz="1333" b="1">
              <a:solidFill>
                <a:srgbClr val="22334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771" name="Google Shape;771;p16"/>
          <p:cNvGrpSpPr/>
          <p:nvPr/>
        </p:nvGrpSpPr>
        <p:grpSpPr>
          <a:xfrm>
            <a:off x="4408176" y="2132205"/>
            <a:ext cx="1309001" cy="931248"/>
            <a:chOff x="912001" y="1586534"/>
            <a:chExt cx="3473994" cy="2770473"/>
          </a:xfrm>
        </p:grpSpPr>
        <p:sp>
          <p:nvSpPr>
            <p:cNvPr id="772" name="Google Shape;772;p16"/>
            <p:cNvSpPr/>
            <p:nvPr/>
          </p:nvSpPr>
          <p:spPr>
            <a:xfrm>
              <a:off x="2089863" y="4304101"/>
              <a:ext cx="130138" cy="52563"/>
            </a:xfrm>
            <a:custGeom>
              <a:avLst/>
              <a:gdLst/>
              <a:ahLst/>
              <a:cxnLst/>
              <a:rect l="l" t="t" r="r" b="b"/>
              <a:pathLst>
                <a:path w="9844" h="3976" extrusionOk="0">
                  <a:moveTo>
                    <a:pt x="534" y="1"/>
                  </a:moveTo>
                  <a:lnTo>
                    <a:pt x="294" y="1201"/>
                  </a:lnTo>
                  <a:lnTo>
                    <a:pt x="107" y="2108"/>
                  </a:lnTo>
                  <a:lnTo>
                    <a:pt x="1" y="2722"/>
                  </a:lnTo>
                  <a:lnTo>
                    <a:pt x="1" y="2935"/>
                  </a:lnTo>
                  <a:lnTo>
                    <a:pt x="27" y="3148"/>
                  </a:lnTo>
                  <a:lnTo>
                    <a:pt x="107" y="3549"/>
                  </a:lnTo>
                  <a:lnTo>
                    <a:pt x="214" y="3842"/>
                  </a:lnTo>
                  <a:lnTo>
                    <a:pt x="241" y="3975"/>
                  </a:lnTo>
                  <a:lnTo>
                    <a:pt x="9817" y="3975"/>
                  </a:lnTo>
                  <a:lnTo>
                    <a:pt x="9843" y="3895"/>
                  </a:lnTo>
                  <a:lnTo>
                    <a:pt x="9843" y="3709"/>
                  </a:lnTo>
                  <a:lnTo>
                    <a:pt x="9843" y="3415"/>
                  </a:lnTo>
                  <a:lnTo>
                    <a:pt x="9790" y="3255"/>
                  </a:lnTo>
                  <a:lnTo>
                    <a:pt x="9737" y="3068"/>
                  </a:lnTo>
                  <a:lnTo>
                    <a:pt x="9683" y="2908"/>
                  </a:lnTo>
                  <a:lnTo>
                    <a:pt x="9577" y="2722"/>
                  </a:lnTo>
                  <a:lnTo>
                    <a:pt x="9416" y="2562"/>
                  </a:lnTo>
                  <a:lnTo>
                    <a:pt x="9256" y="2402"/>
                  </a:lnTo>
                  <a:lnTo>
                    <a:pt x="9016" y="2268"/>
                  </a:lnTo>
                  <a:lnTo>
                    <a:pt x="8750" y="2135"/>
                  </a:lnTo>
                  <a:lnTo>
                    <a:pt x="8430" y="2055"/>
                  </a:lnTo>
                  <a:lnTo>
                    <a:pt x="8056" y="2001"/>
                  </a:lnTo>
                  <a:lnTo>
                    <a:pt x="7789" y="1948"/>
                  </a:lnTo>
                  <a:lnTo>
                    <a:pt x="7496" y="1868"/>
                  </a:lnTo>
                  <a:lnTo>
                    <a:pt x="7203" y="1761"/>
                  </a:lnTo>
                  <a:lnTo>
                    <a:pt x="6882" y="1628"/>
                  </a:lnTo>
                  <a:lnTo>
                    <a:pt x="6242" y="1308"/>
                  </a:lnTo>
                  <a:lnTo>
                    <a:pt x="5629" y="961"/>
                  </a:lnTo>
                  <a:lnTo>
                    <a:pt x="5069" y="614"/>
                  </a:lnTo>
                  <a:lnTo>
                    <a:pt x="4615" y="321"/>
                  </a:lnTo>
                  <a:lnTo>
                    <a:pt x="4215" y="28"/>
                  </a:lnTo>
                  <a:lnTo>
                    <a:pt x="534" y="1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73" name="Google Shape;773;p16"/>
            <p:cNvSpPr/>
            <p:nvPr/>
          </p:nvSpPr>
          <p:spPr>
            <a:xfrm>
              <a:off x="1921294" y="4303757"/>
              <a:ext cx="95924" cy="53250"/>
            </a:xfrm>
            <a:custGeom>
              <a:avLst/>
              <a:gdLst/>
              <a:ahLst/>
              <a:cxnLst/>
              <a:rect l="l" t="t" r="r" b="b"/>
              <a:pathLst>
                <a:path w="7256" h="4028" extrusionOk="0">
                  <a:moveTo>
                    <a:pt x="427" y="0"/>
                  </a:moveTo>
                  <a:lnTo>
                    <a:pt x="374" y="134"/>
                  </a:lnTo>
                  <a:lnTo>
                    <a:pt x="267" y="587"/>
                  </a:lnTo>
                  <a:lnTo>
                    <a:pt x="187" y="934"/>
                  </a:lnTo>
                  <a:lnTo>
                    <a:pt x="134" y="1361"/>
                  </a:lnTo>
                  <a:lnTo>
                    <a:pt x="54" y="1921"/>
                  </a:lnTo>
                  <a:lnTo>
                    <a:pt x="1" y="2588"/>
                  </a:lnTo>
                  <a:lnTo>
                    <a:pt x="1" y="2908"/>
                  </a:lnTo>
                  <a:lnTo>
                    <a:pt x="54" y="3174"/>
                  </a:lnTo>
                  <a:lnTo>
                    <a:pt x="134" y="3415"/>
                  </a:lnTo>
                  <a:lnTo>
                    <a:pt x="214" y="3628"/>
                  </a:lnTo>
                  <a:lnTo>
                    <a:pt x="294" y="3788"/>
                  </a:lnTo>
                  <a:lnTo>
                    <a:pt x="374" y="3921"/>
                  </a:lnTo>
                  <a:lnTo>
                    <a:pt x="454" y="4028"/>
                  </a:lnTo>
                  <a:lnTo>
                    <a:pt x="7256" y="4028"/>
                  </a:lnTo>
                  <a:lnTo>
                    <a:pt x="7256" y="3761"/>
                  </a:lnTo>
                  <a:lnTo>
                    <a:pt x="7256" y="3468"/>
                  </a:lnTo>
                  <a:lnTo>
                    <a:pt x="7202" y="3121"/>
                  </a:lnTo>
                  <a:lnTo>
                    <a:pt x="7149" y="2961"/>
                  </a:lnTo>
                  <a:lnTo>
                    <a:pt x="7069" y="2774"/>
                  </a:lnTo>
                  <a:lnTo>
                    <a:pt x="6962" y="2614"/>
                  </a:lnTo>
                  <a:lnTo>
                    <a:pt x="6829" y="2454"/>
                  </a:lnTo>
                  <a:lnTo>
                    <a:pt x="6669" y="2321"/>
                  </a:lnTo>
                  <a:lnTo>
                    <a:pt x="6482" y="2188"/>
                  </a:lnTo>
                  <a:lnTo>
                    <a:pt x="6269" y="2107"/>
                  </a:lnTo>
                  <a:lnTo>
                    <a:pt x="6002" y="2054"/>
                  </a:lnTo>
                  <a:lnTo>
                    <a:pt x="5815" y="2001"/>
                  </a:lnTo>
                  <a:lnTo>
                    <a:pt x="5629" y="1921"/>
                  </a:lnTo>
                  <a:lnTo>
                    <a:pt x="5442" y="1814"/>
                  </a:lnTo>
                  <a:lnTo>
                    <a:pt x="5255" y="1681"/>
                  </a:lnTo>
                  <a:lnTo>
                    <a:pt x="4909" y="1361"/>
                  </a:lnTo>
                  <a:lnTo>
                    <a:pt x="4588" y="987"/>
                  </a:lnTo>
                  <a:lnTo>
                    <a:pt x="4322" y="640"/>
                  </a:lnTo>
                  <a:lnTo>
                    <a:pt x="4108" y="347"/>
                  </a:lnTo>
                  <a:lnTo>
                    <a:pt x="3922" y="54"/>
                  </a:lnTo>
                  <a:lnTo>
                    <a:pt x="427" y="0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774" name="Google Shape;774;p16"/>
            <p:cNvGrpSpPr/>
            <p:nvPr/>
          </p:nvGrpSpPr>
          <p:grpSpPr>
            <a:xfrm>
              <a:off x="912001" y="1586534"/>
              <a:ext cx="3473994" cy="2770473"/>
              <a:chOff x="6207901" y="4446859"/>
              <a:chExt cx="3473994" cy="2770473"/>
            </a:xfrm>
          </p:grpSpPr>
          <p:sp>
            <p:nvSpPr>
              <p:cNvPr id="775" name="Google Shape;775;p16"/>
              <p:cNvSpPr/>
              <p:nvPr/>
            </p:nvSpPr>
            <p:spPr>
              <a:xfrm>
                <a:off x="7553630" y="4446859"/>
                <a:ext cx="664358" cy="175614"/>
              </a:xfrm>
              <a:custGeom>
                <a:avLst/>
                <a:gdLst/>
                <a:ahLst/>
                <a:cxnLst/>
                <a:rect l="l" t="t" r="r" b="b"/>
                <a:pathLst>
                  <a:path w="50254" h="13284" extrusionOk="0">
                    <a:moveTo>
                      <a:pt x="24300" y="0"/>
                    </a:moveTo>
                    <a:lnTo>
                      <a:pt x="23447" y="27"/>
                    </a:lnTo>
                    <a:lnTo>
                      <a:pt x="22620" y="80"/>
                    </a:lnTo>
                    <a:lnTo>
                      <a:pt x="21793" y="160"/>
                    </a:lnTo>
                    <a:lnTo>
                      <a:pt x="20966" y="240"/>
                    </a:lnTo>
                    <a:lnTo>
                      <a:pt x="20139" y="347"/>
                    </a:lnTo>
                    <a:lnTo>
                      <a:pt x="19312" y="480"/>
                    </a:lnTo>
                    <a:lnTo>
                      <a:pt x="18485" y="640"/>
                    </a:lnTo>
                    <a:lnTo>
                      <a:pt x="17658" y="800"/>
                    </a:lnTo>
                    <a:lnTo>
                      <a:pt x="16832" y="987"/>
                    </a:lnTo>
                    <a:lnTo>
                      <a:pt x="16031" y="1200"/>
                    </a:lnTo>
                    <a:lnTo>
                      <a:pt x="15231" y="1414"/>
                    </a:lnTo>
                    <a:lnTo>
                      <a:pt x="14404" y="1680"/>
                    </a:lnTo>
                    <a:lnTo>
                      <a:pt x="13604" y="1947"/>
                    </a:lnTo>
                    <a:lnTo>
                      <a:pt x="12830" y="2214"/>
                    </a:lnTo>
                    <a:lnTo>
                      <a:pt x="12030" y="2534"/>
                    </a:lnTo>
                    <a:lnTo>
                      <a:pt x="11257" y="2854"/>
                    </a:lnTo>
                    <a:lnTo>
                      <a:pt x="10483" y="3201"/>
                    </a:lnTo>
                    <a:lnTo>
                      <a:pt x="9710" y="3574"/>
                    </a:lnTo>
                    <a:lnTo>
                      <a:pt x="8936" y="3974"/>
                    </a:lnTo>
                    <a:lnTo>
                      <a:pt x="8189" y="4375"/>
                    </a:lnTo>
                    <a:lnTo>
                      <a:pt x="7442" y="4801"/>
                    </a:lnTo>
                    <a:lnTo>
                      <a:pt x="6722" y="5255"/>
                    </a:lnTo>
                    <a:lnTo>
                      <a:pt x="5975" y="5708"/>
                    </a:lnTo>
                    <a:lnTo>
                      <a:pt x="5255" y="6188"/>
                    </a:lnTo>
                    <a:lnTo>
                      <a:pt x="4562" y="6695"/>
                    </a:lnTo>
                    <a:lnTo>
                      <a:pt x="3868" y="7229"/>
                    </a:lnTo>
                    <a:lnTo>
                      <a:pt x="3175" y="7789"/>
                    </a:lnTo>
                    <a:lnTo>
                      <a:pt x="2508" y="8349"/>
                    </a:lnTo>
                    <a:lnTo>
                      <a:pt x="1841" y="8936"/>
                    </a:lnTo>
                    <a:lnTo>
                      <a:pt x="1174" y="9549"/>
                    </a:lnTo>
                    <a:lnTo>
                      <a:pt x="534" y="10163"/>
                    </a:lnTo>
                    <a:lnTo>
                      <a:pt x="400" y="10296"/>
                    </a:lnTo>
                    <a:lnTo>
                      <a:pt x="294" y="10456"/>
                    </a:lnTo>
                    <a:lnTo>
                      <a:pt x="214" y="10616"/>
                    </a:lnTo>
                    <a:lnTo>
                      <a:pt x="134" y="10776"/>
                    </a:lnTo>
                    <a:lnTo>
                      <a:pt x="80" y="10936"/>
                    </a:lnTo>
                    <a:lnTo>
                      <a:pt x="27" y="11096"/>
                    </a:lnTo>
                    <a:lnTo>
                      <a:pt x="0" y="11283"/>
                    </a:lnTo>
                    <a:lnTo>
                      <a:pt x="0" y="11443"/>
                    </a:lnTo>
                    <a:lnTo>
                      <a:pt x="0" y="11630"/>
                    </a:lnTo>
                    <a:lnTo>
                      <a:pt x="27" y="11817"/>
                    </a:lnTo>
                    <a:lnTo>
                      <a:pt x="80" y="11977"/>
                    </a:lnTo>
                    <a:lnTo>
                      <a:pt x="134" y="12137"/>
                    </a:lnTo>
                    <a:lnTo>
                      <a:pt x="214" y="12297"/>
                    </a:lnTo>
                    <a:lnTo>
                      <a:pt x="294" y="12457"/>
                    </a:lnTo>
                    <a:lnTo>
                      <a:pt x="400" y="12617"/>
                    </a:lnTo>
                    <a:lnTo>
                      <a:pt x="534" y="12750"/>
                    </a:lnTo>
                    <a:lnTo>
                      <a:pt x="667" y="12883"/>
                    </a:lnTo>
                    <a:lnTo>
                      <a:pt x="827" y="12990"/>
                    </a:lnTo>
                    <a:lnTo>
                      <a:pt x="987" y="13070"/>
                    </a:lnTo>
                    <a:lnTo>
                      <a:pt x="1147" y="13150"/>
                    </a:lnTo>
                    <a:lnTo>
                      <a:pt x="1307" y="13204"/>
                    </a:lnTo>
                    <a:lnTo>
                      <a:pt x="1467" y="13257"/>
                    </a:lnTo>
                    <a:lnTo>
                      <a:pt x="1654" y="13284"/>
                    </a:lnTo>
                    <a:lnTo>
                      <a:pt x="2001" y="13284"/>
                    </a:lnTo>
                    <a:lnTo>
                      <a:pt x="2188" y="13257"/>
                    </a:lnTo>
                    <a:lnTo>
                      <a:pt x="2348" y="13204"/>
                    </a:lnTo>
                    <a:lnTo>
                      <a:pt x="2508" y="13150"/>
                    </a:lnTo>
                    <a:lnTo>
                      <a:pt x="2668" y="13070"/>
                    </a:lnTo>
                    <a:lnTo>
                      <a:pt x="2828" y="12990"/>
                    </a:lnTo>
                    <a:lnTo>
                      <a:pt x="2988" y="12883"/>
                    </a:lnTo>
                    <a:lnTo>
                      <a:pt x="3121" y="12750"/>
                    </a:lnTo>
                    <a:lnTo>
                      <a:pt x="3681" y="12190"/>
                    </a:lnTo>
                    <a:lnTo>
                      <a:pt x="4268" y="11656"/>
                    </a:lnTo>
                    <a:lnTo>
                      <a:pt x="4882" y="11123"/>
                    </a:lnTo>
                    <a:lnTo>
                      <a:pt x="5469" y="10616"/>
                    </a:lnTo>
                    <a:lnTo>
                      <a:pt x="6082" y="10136"/>
                    </a:lnTo>
                    <a:lnTo>
                      <a:pt x="6722" y="9656"/>
                    </a:lnTo>
                    <a:lnTo>
                      <a:pt x="7362" y="9202"/>
                    </a:lnTo>
                    <a:lnTo>
                      <a:pt x="8003" y="8776"/>
                    </a:lnTo>
                    <a:lnTo>
                      <a:pt x="8643" y="8349"/>
                    </a:lnTo>
                    <a:lnTo>
                      <a:pt x="9310" y="7949"/>
                    </a:lnTo>
                    <a:lnTo>
                      <a:pt x="9976" y="7575"/>
                    </a:lnTo>
                    <a:lnTo>
                      <a:pt x="10643" y="7202"/>
                    </a:lnTo>
                    <a:lnTo>
                      <a:pt x="11337" y="6855"/>
                    </a:lnTo>
                    <a:lnTo>
                      <a:pt x="12004" y="6535"/>
                    </a:lnTo>
                    <a:lnTo>
                      <a:pt x="12697" y="6215"/>
                    </a:lnTo>
                    <a:lnTo>
                      <a:pt x="13417" y="5922"/>
                    </a:lnTo>
                    <a:lnTo>
                      <a:pt x="14111" y="5655"/>
                    </a:lnTo>
                    <a:lnTo>
                      <a:pt x="14831" y="5388"/>
                    </a:lnTo>
                    <a:lnTo>
                      <a:pt x="15551" y="5148"/>
                    </a:lnTo>
                    <a:lnTo>
                      <a:pt x="16271" y="4935"/>
                    </a:lnTo>
                    <a:lnTo>
                      <a:pt x="16992" y="4721"/>
                    </a:lnTo>
                    <a:lnTo>
                      <a:pt x="17712" y="4535"/>
                    </a:lnTo>
                    <a:lnTo>
                      <a:pt x="18432" y="4375"/>
                    </a:lnTo>
                    <a:lnTo>
                      <a:pt x="19179" y="4214"/>
                    </a:lnTo>
                    <a:lnTo>
                      <a:pt x="19926" y="4081"/>
                    </a:lnTo>
                    <a:lnTo>
                      <a:pt x="20646" y="3974"/>
                    </a:lnTo>
                    <a:lnTo>
                      <a:pt x="21393" y="3868"/>
                    </a:lnTo>
                    <a:lnTo>
                      <a:pt x="22140" y="3788"/>
                    </a:lnTo>
                    <a:lnTo>
                      <a:pt x="22887" y="3734"/>
                    </a:lnTo>
                    <a:lnTo>
                      <a:pt x="23633" y="3681"/>
                    </a:lnTo>
                    <a:lnTo>
                      <a:pt x="24380" y="3654"/>
                    </a:lnTo>
                    <a:lnTo>
                      <a:pt x="25874" y="3654"/>
                    </a:lnTo>
                    <a:lnTo>
                      <a:pt x="26621" y="3681"/>
                    </a:lnTo>
                    <a:lnTo>
                      <a:pt x="27368" y="3734"/>
                    </a:lnTo>
                    <a:lnTo>
                      <a:pt x="28115" y="3788"/>
                    </a:lnTo>
                    <a:lnTo>
                      <a:pt x="28861" y="3868"/>
                    </a:lnTo>
                    <a:lnTo>
                      <a:pt x="29608" y="3974"/>
                    </a:lnTo>
                    <a:lnTo>
                      <a:pt x="30329" y="4081"/>
                    </a:lnTo>
                    <a:lnTo>
                      <a:pt x="31075" y="4214"/>
                    </a:lnTo>
                    <a:lnTo>
                      <a:pt x="31796" y="4375"/>
                    </a:lnTo>
                    <a:lnTo>
                      <a:pt x="32542" y="4535"/>
                    </a:lnTo>
                    <a:lnTo>
                      <a:pt x="33263" y="4721"/>
                    </a:lnTo>
                    <a:lnTo>
                      <a:pt x="33983" y="4935"/>
                    </a:lnTo>
                    <a:lnTo>
                      <a:pt x="34703" y="5148"/>
                    </a:lnTo>
                    <a:lnTo>
                      <a:pt x="35423" y="5388"/>
                    </a:lnTo>
                    <a:lnTo>
                      <a:pt x="36143" y="5655"/>
                    </a:lnTo>
                    <a:lnTo>
                      <a:pt x="36837" y="5922"/>
                    </a:lnTo>
                    <a:lnTo>
                      <a:pt x="37530" y="6215"/>
                    </a:lnTo>
                    <a:lnTo>
                      <a:pt x="38224" y="6535"/>
                    </a:lnTo>
                    <a:lnTo>
                      <a:pt x="38918" y="6855"/>
                    </a:lnTo>
                    <a:lnTo>
                      <a:pt x="39611" y="7202"/>
                    </a:lnTo>
                    <a:lnTo>
                      <a:pt x="40278" y="7575"/>
                    </a:lnTo>
                    <a:lnTo>
                      <a:pt x="40945" y="7949"/>
                    </a:lnTo>
                    <a:lnTo>
                      <a:pt x="41612" y="8349"/>
                    </a:lnTo>
                    <a:lnTo>
                      <a:pt x="42252" y="8776"/>
                    </a:lnTo>
                    <a:lnTo>
                      <a:pt x="42892" y="9202"/>
                    </a:lnTo>
                    <a:lnTo>
                      <a:pt x="43532" y="9656"/>
                    </a:lnTo>
                    <a:lnTo>
                      <a:pt x="44146" y="10136"/>
                    </a:lnTo>
                    <a:lnTo>
                      <a:pt x="44786" y="10616"/>
                    </a:lnTo>
                    <a:lnTo>
                      <a:pt x="45373" y="11123"/>
                    </a:lnTo>
                    <a:lnTo>
                      <a:pt x="45986" y="11656"/>
                    </a:lnTo>
                    <a:lnTo>
                      <a:pt x="46546" y="12190"/>
                    </a:lnTo>
                    <a:lnTo>
                      <a:pt x="47133" y="12750"/>
                    </a:lnTo>
                    <a:lnTo>
                      <a:pt x="47266" y="12883"/>
                    </a:lnTo>
                    <a:lnTo>
                      <a:pt x="47426" y="12990"/>
                    </a:lnTo>
                    <a:lnTo>
                      <a:pt x="47587" y="13070"/>
                    </a:lnTo>
                    <a:lnTo>
                      <a:pt x="47747" y="13150"/>
                    </a:lnTo>
                    <a:lnTo>
                      <a:pt x="47907" y="13204"/>
                    </a:lnTo>
                    <a:lnTo>
                      <a:pt x="48067" y="13257"/>
                    </a:lnTo>
                    <a:lnTo>
                      <a:pt x="48253" y="13284"/>
                    </a:lnTo>
                    <a:lnTo>
                      <a:pt x="48600" y="13284"/>
                    </a:lnTo>
                    <a:lnTo>
                      <a:pt x="48787" y="13257"/>
                    </a:lnTo>
                    <a:lnTo>
                      <a:pt x="48947" y="13204"/>
                    </a:lnTo>
                    <a:lnTo>
                      <a:pt x="49107" y="13150"/>
                    </a:lnTo>
                    <a:lnTo>
                      <a:pt x="49267" y="13070"/>
                    </a:lnTo>
                    <a:lnTo>
                      <a:pt x="49427" y="12990"/>
                    </a:lnTo>
                    <a:lnTo>
                      <a:pt x="49587" y="12883"/>
                    </a:lnTo>
                    <a:lnTo>
                      <a:pt x="49720" y="12750"/>
                    </a:lnTo>
                    <a:lnTo>
                      <a:pt x="49854" y="12617"/>
                    </a:lnTo>
                    <a:lnTo>
                      <a:pt x="49960" y="12457"/>
                    </a:lnTo>
                    <a:lnTo>
                      <a:pt x="50041" y="12297"/>
                    </a:lnTo>
                    <a:lnTo>
                      <a:pt x="50121" y="12137"/>
                    </a:lnTo>
                    <a:lnTo>
                      <a:pt x="50174" y="11977"/>
                    </a:lnTo>
                    <a:lnTo>
                      <a:pt x="50227" y="11817"/>
                    </a:lnTo>
                    <a:lnTo>
                      <a:pt x="50254" y="11630"/>
                    </a:lnTo>
                    <a:lnTo>
                      <a:pt x="50254" y="11443"/>
                    </a:lnTo>
                    <a:lnTo>
                      <a:pt x="50254" y="11283"/>
                    </a:lnTo>
                    <a:lnTo>
                      <a:pt x="50227" y="11096"/>
                    </a:lnTo>
                    <a:lnTo>
                      <a:pt x="50174" y="10936"/>
                    </a:lnTo>
                    <a:lnTo>
                      <a:pt x="50121" y="10776"/>
                    </a:lnTo>
                    <a:lnTo>
                      <a:pt x="50041" y="10616"/>
                    </a:lnTo>
                    <a:lnTo>
                      <a:pt x="49960" y="10456"/>
                    </a:lnTo>
                    <a:lnTo>
                      <a:pt x="49854" y="10296"/>
                    </a:lnTo>
                    <a:lnTo>
                      <a:pt x="49720" y="10163"/>
                    </a:lnTo>
                    <a:lnTo>
                      <a:pt x="49080" y="9549"/>
                    </a:lnTo>
                    <a:lnTo>
                      <a:pt x="48413" y="8936"/>
                    </a:lnTo>
                    <a:lnTo>
                      <a:pt x="47747" y="8349"/>
                    </a:lnTo>
                    <a:lnTo>
                      <a:pt x="47080" y="7789"/>
                    </a:lnTo>
                    <a:lnTo>
                      <a:pt x="46386" y="7229"/>
                    </a:lnTo>
                    <a:lnTo>
                      <a:pt x="45693" y="6695"/>
                    </a:lnTo>
                    <a:lnTo>
                      <a:pt x="44999" y="6188"/>
                    </a:lnTo>
                    <a:lnTo>
                      <a:pt x="44279" y="5708"/>
                    </a:lnTo>
                    <a:lnTo>
                      <a:pt x="43532" y="5255"/>
                    </a:lnTo>
                    <a:lnTo>
                      <a:pt x="42812" y="4801"/>
                    </a:lnTo>
                    <a:lnTo>
                      <a:pt x="42065" y="4375"/>
                    </a:lnTo>
                    <a:lnTo>
                      <a:pt x="41318" y="3974"/>
                    </a:lnTo>
                    <a:lnTo>
                      <a:pt x="40545" y="3574"/>
                    </a:lnTo>
                    <a:lnTo>
                      <a:pt x="39771" y="3201"/>
                    </a:lnTo>
                    <a:lnTo>
                      <a:pt x="38998" y="2854"/>
                    </a:lnTo>
                    <a:lnTo>
                      <a:pt x="38224" y="2534"/>
                    </a:lnTo>
                    <a:lnTo>
                      <a:pt x="37424" y="2214"/>
                    </a:lnTo>
                    <a:lnTo>
                      <a:pt x="36650" y="1947"/>
                    </a:lnTo>
                    <a:lnTo>
                      <a:pt x="35850" y="1680"/>
                    </a:lnTo>
                    <a:lnTo>
                      <a:pt x="35023" y="1414"/>
                    </a:lnTo>
                    <a:lnTo>
                      <a:pt x="34223" y="1200"/>
                    </a:lnTo>
                    <a:lnTo>
                      <a:pt x="33423" y="987"/>
                    </a:lnTo>
                    <a:lnTo>
                      <a:pt x="32596" y="800"/>
                    </a:lnTo>
                    <a:lnTo>
                      <a:pt x="31769" y="640"/>
                    </a:lnTo>
                    <a:lnTo>
                      <a:pt x="30942" y="480"/>
                    </a:lnTo>
                    <a:lnTo>
                      <a:pt x="30115" y="347"/>
                    </a:lnTo>
                    <a:lnTo>
                      <a:pt x="29288" y="240"/>
                    </a:lnTo>
                    <a:lnTo>
                      <a:pt x="28461" y="160"/>
                    </a:lnTo>
                    <a:lnTo>
                      <a:pt x="27634" y="80"/>
                    </a:lnTo>
                    <a:lnTo>
                      <a:pt x="26808" y="27"/>
                    </a:lnTo>
                    <a:lnTo>
                      <a:pt x="25954" y="0"/>
                    </a:lnTo>
                    <a:close/>
                  </a:path>
                </a:pathLst>
              </a:cu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76" name="Google Shape;776;p16"/>
              <p:cNvSpPr/>
              <p:nvPr/>
            </p:nvSpPr>
            <p:spPr>
              <a:xfrm>
                <a:off x="7646733" y="4594618"/>
                <a:ext cx="478167" cy="137184"/>
              </a:xfrm>
              <a:custGeom>
                <a:avLst/>
                <a:gdLst/>
                <a:ahLst/>
                <a:cxnLst/>
                <a:rect l="l" t="t" r="r" b="b"/>
                <a:pathLst>
                  <a:path w="36170" h="10377" extrusionOk="0">
                    <a:moveTo>
                      <a:pt x="18085" y="0"/>
                    </a:moveTo>
                    <a:lnTo>
                      <a:pt x="16885" y="27"/>
                    </a:lnTo>
                    <a:lnTo>
                      <a:pt x="15711" y="107"/>
                    </a:lnTo>
                    <a:lnTo>
                      <a:pt x="14511" y="240"/>
                    </a:lnTo>
                    <a:lnTo>
                      <a:pt x="13337" y="454"/>
                    </a:lnTo>
                    <a:lnTo>
                      <a:pt x="12164" y="694"/>
                    </a:lnTo>
                    <a:lnTo>
                      <a:pt x="11017" y="1014"/>
                    </a:lnTo>
                    <a:lnTo>
                      <a:pt x="9870" y="1387"/>
                    </a:lnTo>
                    <a:lnTo>
                      <a:pt x="8749" y="1814"/>
                    </a:lnTo>
                    <a:lnTo>
                      <a:pt x="7629" y="2294"/>
                    </a:lnTo>
                    <a:lnTo>
                      <a:pt x="6535" y="2828"/>
                    </a:lnTo>
                    <a:lnTo>
                      <a:pt x="5468" y="3415"/>
                    </a:lnTo>
                    <a:lnTo>
                      <a:pt x="4428" y="4081"/>
                    </a:lnTo>
                    <a:lnTo>
                      <a:pt x="3415" y="4775"/>
                    </a:lnTo>
                    <a:lnTo>
                      <a:pt x="2428" y="5549"/>
                    </a:lnTo>
                    <a:lnTo>
                      <a:pt x="1947" y="5949"/>
                    </a:lnTo>
                    <a:lnTo>
                      <a:pt x="1467" y="6375"/>
                    </a:lnTo>
                    <a:lnTo>
                      <a:pt x="1014" y="6802"/>
                    </a:lnTo>
                    <a:lnTo>
                      <a:pt x="534" y="7256"/>
                    </a:lnTo>
                    <a:lnTo>
                      <a:pt x="427" y="7389"/>
                    </a:lnTo>
                    <a:lnTo>
                      <a:pt x="320" y="7549"/>
                    </a:lnTo>
                    <a:lnTo>
                      <a:pt x="214" y="7682"/>
                    </a:lnTo>
                    <a:lnTo>
                      <a:pt x="134" y="7842"/>
                    </a:lnTo>
                    <a:lnTo>
                      <a:pt x="80" y="8029"/>
                    </a:lnTo>
                    <a:lnTo>
                      <a:pt x="54" y="8189"/>
                    </a:lnTo>
                    <a:lnTo>
                      <a:pt x="27" y="8376"/>
                    </a:lnTo>
                    <a:lnTo>
                      <a:pt x="0" y="8536"/>
                    </a:lnTo>
                    <a:lnTo>
                      <a:pt x="27" y="8723"/>
                    </a:lnTo>
                    <a:lnTo>
                      <a:pt x="54" y="8883"/>
                    </a:lnTo>
                    <a:lnTo>
                      <a:pt x="80" y="9069"/>
                    </a:lnTo>
                    <a:lnTo>
                      <a:pt x="134" y="9230"/>
                    </a:lnTo>
                    <a:lnTo>
                      <a:pt x="214" y="9390"/>
                    </a:lnTo>
                    <a:lnTo>
                      <a:pt x="320" y="9550"/>
                    </a:lnTo>
                    <a:lnTo>
                      <a:pt x="427" y="9683"/>
                    </a:lnTo>
                    <a:lnTo>
                      <a:pt x="534" y="9843"/>
                    </a:lnTo>
                    <a:lnTo>
                      <a:pt x="694" y="9950"/>
                    </a:lnTo>
                    <a:lnTo>
                      <a:pt x="827" y="10056"/>
                    </a:lnTo>
                    <a:lnTo>
                      <a:pt x="987" y="10163"/>
                    </a:lnTo>
                    <a:lnTo>
                      <a:pt x="1147" y="10243"/>
                    </a:lnTo>
                    <a:lnTo>
                      <a:pt x="1307" y="10296"/>
                    </a:lnTo>
                    <a:lnTo>
                      <a:pt x="1494" y="10323"/>
                    </a:lnTo>
                    <a:lnTo>
                      <a:pt x="1654" y="10350"/>
                    </a:lnTo>
                    <a:lnTo>
                      <a:pt x="1841" y="10376"/>
                    </a:lnTo>
                    <a:lnTo>
                      <a:pt x="2001" y="10350"/>
                    </a:lnTo>
                    <a:lnTo>
                      <a:pt x="2188" y="10323"/>
                    </a:lnTo>
                    <a:lnTo>
                      <a:pt x="2348" y="10296"/>
                    </a:lnTo>
                    <a:lnTo>
                      <a:pt x="2534" y="10243"/>
                    </a:lnTo>
                    <a:lnTo>
                      <a:pt x="2694" y="10163"/>
                    </a:lnTo>
                    <a:lnTo>
                      <a:pt x="2854" y="10056"/>
                    </a:lnTo>
                    <a:lnTo>
                      <a:pt x="2988" y="9950"/>
                    </a:lnTo>
                    <a:lnTo>
                      <a:pt x="3121" y="9843"/>
                    </a:lnTo>
                    <a:lnTo>
                      <a:pt x="3921" y="9096"/>
                    </a:lnTo>
                    <a:lnTo>
                      <a:pt x="4722" y="8376"/>
                    </a:lnTo>
                    <a:lnTo>
                      <a:pt x="5575" y="7736"/>
                    </a:lnTo>
                    <a:lnTo>
                      <a:pt x="6455" y="7122"/>
                    </a:lnTo>
                    <a:lnTo>
                      <a:pt x="7336" y="6562"/>
                    </a:lnTo>
                    <a:lnTo>
                      <a:pt x="8242" y="6055"/>
                    </a:lnTo>
                    <a:lnTo>
                      <a:pt x="9176" y="5602"/>
                    </a:lnTo>
                    <a:lnTo>
                      <a:pt x="10110" y="5202"/>
                    </a:lnTo>
                    <a:lnTo>
                      <a:pt x="11097" y="4828"/>
                    </a:lnTo>
                    <a:lnTo>
                      <a:pt x="12057" y="4508"/>
                    </a:lnTo>
                    <a:lnTo>
                      <a:pt x="13044" y="4242"/>
                    </a:lnTo>
                    <a:lnTo>
                      <a:pt x="14031" y="4028"/>
                    </a:lnTo>
                    <a:lnTo>
                      <a:pt x="15044" y="3868"/>
                    </a:lnTo>
                    <a:lnTo>
                      <a:pt x="16058" y="3735"/>
                    </a:lnTo>
                    <a:lnTo>
                      <a:pt x="17072" y="3681"/>
                    </a:lnTo>
                    <a:lnTo>
                      <a:pt x="18085" y="3655"/>
                    </a:lnTo>
                    <a:lnTo>
                      <a:pt x="19099" y="3681"/>
                    </a:lnTo>
                    <a:lnTo>
                      <a:pt x="20112" y="3735"/>
                    </a:lnTo>
                    <a:lnTo>
                      <a:pt x="21126" y="3868"/>
                    </a:lnTo>
                    <a:lnTo>
                      <a:pt x="22140" y="4028"/>
                    </a:lnTo>
                    <a:lnTo>
                      <a:pt x="23126" y="4242"/>
                    </a:lnTo>
                    <a:lnTo>
                      <a:pt x="24113" y="4508"/>
                    </a:lnTo>
                    <a:lnTo>
                      <a:pt x="25074" y="4828"/>
                    </a:lnTo>
                    <a:lnTo>
                      <a:pt x="26061" y="5202"/>
                    </a:lnTo>
                    <a:lnTo>
                      <a:pt x="26994" y="5602"/>
                    </a:lnTo>
                    <a:lnTo>
                      <a:pt x="27928" y="6055"/>
                    </a:lnTo>
                    <a:lnTo>
                      <a:pt x="28835" y="6562"/>
                    </a:lnTo>
                    <a:lnTo>
                      <a:pt x="29715" y="7122"/>
                    </a:lnTo>
                    <a:lnTo>
                      <a:pt x="30595" y="7736"/>
                    </a:lnTo>
                    <a:lnTo>
                      <a:pt x="31449" y="8376"/>
                    </a:lnTo>
                    <a:lnTo>
                      <a:pt x="32249" y="9096"/>
                    </a:lnTo>
                    <a:lnTo>
                      <a:pt x="33049" y="9843"/>
                    </a:lnTo>
                    <a:lnTo>
                      <a:pt x="33183" y="9950"/>
                    </a:lnTo>
                    <a:lnTo>
                      <a:pt x="33316" y="10056"/>
                    </a:lnTo>
                    <a:lnTo>
                      <a:pt x="33476" y="10163"/>
                    </a:lnTo>
                    <a:lnTo>
                      <a:pt x="33636" y="10243"/>
                    </a:lnTo>
                    <a:lnTo>
                      <a:pt x="33823" y="10296"/>
                    </a:lnTo>
                    <a:lnTo>
                      <a:pt x="33983" y="10323"/>
                    </a:lnTo>
                    <a:lnTo>
                      <a:pt x="34169" y="10350"/>
                    </a:lnTo>
                    <a:lnTo>
                      <a:pt x="34330" y="10376"/>
                    </a:lnTo>
                    <a:lnTo>
                      <a:pt x="34516" y="10350"/>
                    </a:lnTo>
                    <a:lnTo>
                      <a:pt x="34676" y="10323"/>
                    </a:lnTo>
                    <a:lnTo>
                      <a:pt x="34863" y="10296"/>
                    </a:lnTo>
                    <a:lnTo>
                      <a:pt x="35023" y="10243"/>
                    </a:lnTo>
                    <a:lnTo>
                      <a:pt x="35183" y="10163"/>
                    </a:lnTo>
                    <a:lnTo>
                      <a:pt x="35343" y="10056"/>
                    </a:lnTo>
                    <a:lnTo>
                      <a:pt x="35476" y="9950"/>
                    </a:lnTo>
                    <a:lnTo>
                      <a:pt x="35637" y="9843"/>
                    </a:lnTo>
                    <a:lnTo>
                      <a:pt x="35743" y="9683"/>
                    </a:lnTo>
                    <a:lnTo>
                      <a:pt x="35850" y="9550"/>
                    </a:lnTo>
                    <a:lnTo>
                      <a:pt x="35957" y="9390"/>
                    </a:lnTo>
                    <a:lnTo>
                      <a:pt x="36037" y="9230"/>
                    </a:lnTo>
                    <a:lnTo>
                      <a:pt x="36090" y="9069"/>
                    </a:lnTo>
                    <a:lnTo>
                      <a:pt x="36117" y="8883"/>
                    </a:lnTo>
                    <a:lnTo>
                      <a:pt x="36143" y="8723"/>
                    </a:lnTo>
                    <a:lnTo>
                      <a:pt x="36170" y="8536"/>
                    </a:lnTo>
                    <a:lnTo>
                      <a:pt x="36143" y="8376"/>
                    </a:lnTo>
                    <a:lnTo>
                      <a:pt x="36117" y="8189"/>
                    </a:lnTo>
                    <a:lnTo>
                      <a:pt x="36090" y="8029"/>
                    </a:lnTo>
                    <a:lnTo>
                      <a:pt x="36037" y="7842"/>
                    </a:lnTo>
                    <a:lnTo>
                      <a:pt x="35957" y="7682"/>
                    </a:lnTo>
                    <a:lnTo>
                      <a:pt x="35850" y="7549"/>
                    </a:lnTo>
                    <a:lnTo>
                      <a:pt x="35743" y="7389"/>
                    </a:lnTo>
                    <a:lnTo>
                      <a:pt x="35637" y="7256"/>
                    </a:lnTo>
                    <a:lnTo>
                      <a:pt x="35156" y="6802"/>
                    </a:lnTo>
                    <a:lnTo>
                      <a:pt x="34703" y="6375"/>
                    </a:lnTo>
                    <a:lnTo>
                      <a:pt x="34223" y="5949"/>
                    </a:lnTo>
                    <a:lnTo>
                      <a:pt x="33743" y="5549"/>
                    </a:lnTo>
                    <a:lnTo>
                      <a:pt x="32756" y="4775"/>
                    </a:lnTo>
                    <a:lnTo>
                      <a:pt x="31742" y="4081"/>
                    </a:lnTo>
                    <a:lnTo>
                      <a:pt x="30702" y="3415"/>
                    </a:lnTo>
                    <a:lnTo>
                      <a:pt x="29635" y="2828"/>
                    </a:lnTo>
                    <a:lnTo>
                      <a:pt x="28541" y="2294"/>
                    </a:lnTo>
                    <a:lnTo>
                      <a:pt x="27421" y="1814"/>
                    </a:lnTo>
                    <a:lnTo>
                      <a:pt x="26301" y="1387"/>
                    </a:lnTo>
                    <a:lnTo>
                      <a:pt x="25154" y="1014"/>
                    </a:lnTo>
                    <a:lnTo>
                      <a:pt x="24007" y="694"/>
                    </a:lnTo>
                    <a:lnTo>
                      <a:pt x="22833" y="454"/>
                    </a:lnTo>
                    <a:lnTo>
                      <a:pt x="21659" y="240"/>
                    </a:lnTo>
                    <a:lnTo>
                      <a:pt x="20459" y="107"/>
                    </a:lnTo>
                    <a:lnTo>
                      <a:pt x="19285" y="27"/>
                    </a:lnTo>
                    <a:lnTo>
                      <a:pt x="18085" y="0"/>
                    </a:lnTo>
                    <a:close/>
                  </a:path>
                </a:pathLst>
              </a:cu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77" name="Google Shape;777;p16"/>
              <p:cNvSpPr/>
              <p:nvPr/>
            </p:nvSpPr>
            <p:spPr>
              <a:xfrm>
                <a:off x="7756401" y="4733214"/>
                <a:ext cx="258848" cy="92051"/>
              </a:xfrm>
              <a:custGeom>
                <a:avLst/>
                <a:gdLst/>
                <a:ahLst/>
                <a:cxnLst/>
                <a:rect l="l" t="t" r="r" b="b"/>
                <a:pathLst>
                  <a:path w="19580" h="6963" extrusionOk="0">
                    <a:moveTo>
                      <a:pt x="9790" y="0"/>
                    </a:moveTo>
                    <a:lnTo>
                      <a:pt x="9150" y="27"/>
                    </a:lnTo>
                    <a:lnTo>
                      <a:pt x="8536" y="54"/>
                    </a:lnTo>
                    <a:lnTo>
                      <a:pt x="7896" y="134"/>
                    </a:lnTo>
                    <a:lnTo>
                      <a:pt x="7283" y="240"/>
                    </a:lnTo>
                    <a:lnTo>
                      <a:pt x="6669" y="374"/>
                    </a:lnTo>
                    <a:lnTo>
                      <a:pt x="6056" y="534"/>
                    </a:lnTo>
                    <a:lnTo>
                      <a:pt x="5442" y="747"/>
                    </a:lnTo>
                    <a:lnTo>
                      <a:pt x="4855" y="960"/>
                    </a:lnTo>
                    <a:lnTo>
                      <a:pt x="4269" y="1201"/>
                    </a:lnTo>
                    <a:lnTo>
                      <a:pt x="3682" y="1494"/>
                    </a:lnTo>
                    <a:lnTo>
                      <a:pt x="3122" y="1814"/>
                    </a:lnTo>
                    <a:lnTo>
                      <a:pt x="2588" y="2161"/>
                    </a:lnTo>
                    <a:lnTo>
                      <a:pt x="2055" y="2534"/>
                    </a:lnTo>
                    <a:lnTo>
                      <a:pt x="1521" y="2934"/>
                    </a:lnTo>
                    <a:lnTo>
                      <a:pt x="1014" y="3361"/>
                    </a:lnTo>
                    <a:lnTo>
                      <a:pt x="534" y="3841"/>
                    </a:lnTo>
                    <a:lnTo>
                      <a:pt x="401" y="3975"/>
                    </a:lnTo>
                    <a:lnTo>
                      <a:pt x="294" y="4108"/>
                    </a:lnTo>
                    <a:lnTo>
                      <a:pt x="188" y="4268"/>
                    </a:lnTo>
                    <a:lnTo>
                      <a:pt x="134" y="4428"/>
                    </a:lnTo>
                    <a:lnTo>
                      <a:pt x="54" y="4615"/>
                    </a:lnTo>
                    <a:lnTo>
                      <a:pt x="28" y="4775"/>
                    </a:lnTo>
                    <a:lnTo>
                      <a:pt x="1" y="4962"/>
                    </a:lnTo>
                    <a:lnTo>
                      <a:pt x="1" y="5122"/>
                    </a:lnTo>
                    <a:lnTo>
                      <a:pt x="1" y="5308"/>
                    </a:lnTo>
                    <a:lnTo>
                      <a:pt x="28" y="5468"/>
                    </a:lnTo>
                    <a:lnTo>
                      <a:pt x="54" y="5655"/>
                    </a:lnTo>
                    <a:lnTo>
                      <a:pt x="134" y="5815"/>
                    </a:lnTo>
                    <a:lnTo>
                      <a:pt x="188" y="5975"/>
                    </a:lnTo>
                    <a:lnTo>
                      <a:pt x="294" y="6135"/>
                    </a:lnTo>
                    <a:lnTo>
                      <a:pt x="401" y="6269"/>
                    </a:lnTo>
                    <a:lnTo>
                      <a:pt x="534" y="6429"/>
                    </a:lnTo>
                    <a:lnTo>
                      <a:pt x="668" y="6535"/>
                    </a:lnTo>
                    <a:lnTo>
                      <a:pt x="801" y="6642"/>
                    </a:lnTo>
                    <a:lnTo>
                      <a:pt x="961" y="6749"/>
                    </a:lnTo>
                    <a:lnTo>
                      <a:pt x="1121" y="6829"/>
                    </a:lnTo>
                    <a:lnTo>
                      <a:pt x="1308" y="6882"/>
                    </a:lnTo>
                    <a:lnTo>
                      <a:pt x="1468" y="6909"/>
                    </a:lnTo>
                    <a:lnTo>
                      <a:pt x="1655" y="6935"/>
                    </a:lnTo>
                    <a:lnTo>
                      <a:pt x="1815" y="6962"/>
                    </a:lnTo>
                    <a:lnTo>
                      <a:pt x="2001" y="6935"/>
                    </a:lnTo>
                    <a:lnTo>
                      <a:pt x="2161" y="6909"/>
                    </a:lnTo>
                    <a:lnTo>
                      <a:pt x="2348" y="6882"/>
                    </a:lnTo>
                    <a:lnTo>
                      <a:pt x="2508" y="6829"/>
                    </a:lnTo>
                    <a:lnTo>
                      <a:pt x="2668" y="6749"/>
                    </a:lnTo>
                    <a:lnTo>
                      <a:pt x="2828" y="6642"/>
                    </a:lnTo>
                    <a:lnTo>
                      <a:pt x="2962" y="6535"/>
                    </a:lnTo>
                    <a:lnTo>
                      <a:pt x="3122" y="6429"/>
                    </a:lnTo>
                    <a:lnTo>
                      <a:pt x="3468" y="6082"/>
                    </a:lnTo>
                    <a:lnTo>
                      <a:pt x="3815" y="5762"/>
                    </a:lnTo>
                    <a:lnTo>
                      <a:pt x="4215" y="5468"/>
                    </a:lnTo>
                    <a:lnTo>
                      <a:pt x="4589" y="5202"/>
                    </a:lnTo>
                    <a:lnTo>
                      <a:pt x="4989" y="4962"/>
                    </a:lnTo>
                    <a:lnTo>
                      <a:pt x="5389" y="4721"/>
                    </a:lnTo>
                    <a:lnTo>
                      <a:pt x="5816" y="4535"/>
                    </a:lnTo>
                    <a:lnTo>
                      <a:pt x="6243" y="4348"/>
                    </a:lnTo>
                    <a:lnTo>
                      <a:pt x="6669" y="4188"/>
                    </a:lnTo>
                    <a:lnTo>
                      <a:pt x="7096" y="4055"/>
                    </a:lnTo>
                    <a:lnTo>
                      <a:pt x="7550" y="3921"/>
                    </a:lnTo>
                    <a:lnTo>
                      <a:pt x="7976" y="3815"/>
                    </a:lnTo>
                    <a:lnTo>
                      <a:pt x="8430" y="3761"/>
                    </a:lnTo>
                    <a:lnTo>
                      <a:pt x="8883" y="3708"/>
                    </a:lnTo>
                    <a:lnTo>
                      <a:pt x="9337" y="3655"/>
                    </a:lnTo>
                    <a:lnTo>
                      <a:pt x="10244" y="3655"/>
                    </a:lnTo>
                    <a:lnTo>
                      <a:pt x="10697" y="3708"/>
                    </a:lnTo>
                    <a:lnTo>
                      <a:pt x="11151" y="3761"/>
                    </a:lnTo>
                    <a:lnTo>
                      <a:pt x="11604" y="3815"/>
                    </a:lnTo>
                    <a:lnTo>
                      <a:pt x="12031" y="3921"/>
                    </a:lnTo>
                    <a:lnTo>
                      <a:pt x="12484" y="4055"/>
                    </a:lnTo>
                    <a:lnTo>
                      <a:pt x="12911" y="4188"/>
                    </a:lnTo>
                    <a:lnTo>
                      <a:pt x="13338" y="4348"/>
                    </a:lnTo>
                    <a:lnTo>
                      <a:pt x="13765" y="4535"/>
                    </a:lnTo>
                    <a:lnTo>
                      <a:pt x="14191" y="4721"/>
                    </a:lnTo>
                    <a:lnTo>
                      <a:pt x="14591" y="4962"/>
                    </a:lnTo>
                    <a:lnTo>
                      <a:pt x="14992" y="5202"/>
                    </a:lnTo>
                    <a:lnTo>
                      <a:pt x="15365" y="5468"/>
                    </a:lnTo>
                    <a:lnTo>
                      <a:pt x="15738" y="5762"/>
                    </a:lnTo>
                    <a:lnTo>
                      <a:pt x="16112" y="6082"/>
                    </a:lnTo>
                    <a:lnTo>
                      <a:pt x="16459" y="6429"/>
                    </a:lnTo>
                    <a:lnTo>
                      <a:pt x="16619" y="6535"/>
                    </a:lnTo>
                    <a:lnTo>
                      <a:pt x="16752" y="6642"/>
                    </a:lnTo>
                    <a:lnTo>
                      <a:pt x="16912" y="6749"/>
                    </a:lnTo>
                    <a:lnTo>
                      <a:pt x="17072" y="6829"/>
                    </a:lnTo>
                    <a:lnTo>
                      <a:pt x="17232" y="6882"/>
                    </a:lnTo>
                    <a:lnTo>
                      <a:pt x="17419" y="6909"/>
                    </a:lnTo>
                    <a:lnTo>
                      <a:pt x="17579" y="6935"/>
                    </a:lnTo>
                    <a:lnTo>
                      <a:pt x="17766" y="6962"/>
                    </a:lnTo>
                    <a:lnTo>
                      <a:pt x="17926" y="6935"/>
                    </a:lnTo>
                    <a:lnTo>
                      <a:pt x="18112" y="6909"/>
                    </a:lnTo>
                    <a:lnTo>
                      <a:pt x="18272" y="6882"/>
                    </a:lnTo>
                    <a:lnTo>
                      <a:pt x="18459" y="6829"/>
                    </a:lnTo>
                    <a:lnTo>
                      <a:pt x="18619" y="6749"/>
                    </a:lnTo>
                    <a:lnTo>
                      <a:pt x="18779" y="6642"/>
                    </a:lnTo>
                    <a:lnTo>
                      <a:pt x="18913" y="6535"/>
                    </a:lnTo>
                    <a:lnTo>
                      <a:pt x="19046" y="6429"/>
                    </a:lnTo>
                    <a:lnTo>
                      <a:pt x="19179" y="6269"/>
                    </a:lnTo>
                    <a:lnTo>
                      <a:pt x="19286" y="6135"/>
                    </a:lnTo>
                    <a:lnTo>
                      <a:pt x="19366" y="5975"/>
                    </a:lnTo>
                    <a:lnTo>
                      <a:pt x="19446" y="5815"/>
                    </a:lnTo>
                    <a:lnTo>
                      <a:pt x="19499" y="5655"/>
                    </a:lnTo>
                    <a:lnTo>
                      <a:pt x="19553" y="5468"/>
                    </a:lnTo>
                    <a:lnTo>
                      <a:pt x="19579" y="5308"/>
                    </a:lnTo>
                    <a:lnTo>
                      <a:pt x="19579" y="5122"/>
                    </a:lnTo>
                    <a:lnTo>
                      <a:pt x="19579" y="4962"/>
                    </a:lnTo>
                    <a:lnTo>
                      <a:pt x="19553" y="4775"/>
                    </a:lnTo>
                    <a:lnTo>
                      <a:pt x="19499" y="4615"/>
                    </a:lnTo>
                    <a:lnTo>
                      <a:pt x="19446" y="4428"/>
                    </a:lnTo>
                    <a:lnTo>
                      <a:pt x="19366" y="4268"/>
                    </a:lnTo>
                    <a:lnTo>
                      <a:pt x="19286" y="4108"/>
                    </a:lnTo>
                    <a:lnTo>
                      <a:pt x="19179" y="3975"/>
                    </a:lnTo>
                    <a:lnTo>
                      <a:pt x="19046" y="3841"/>
                    </a:lnTo>
                    <a:lnTo>
                      <a:pt x="18566" y="3361"/>
                    </a:lnTo>
                    <a:lnTo>
                      <a:pt x="18059" y="2934"/>
                    </a:lnTo>
                    <a:lnTo>
                      <a:pt x="17526" y="2534"/>
                    </a:lnTo>
                    <a:lnTo>
                      <a:pt x="16992" y="2161"/>
                    </a:lnTo>
                    <a:lnTo>
                      <a:pt x="16459" y="1814"/>
                    </a:lnTo>
                    <a:lnTo>
                      <a:pt x="15872" y="1494"/>
                    </a:lnTo>
                    <a:lnTo>
                      <a:pt x="15312" y="1201"/>
                    </a:lnTo>
                    <a:lnTo>
                      <a:pt x="14725" y="960"/>
                    </a:lnTo>
                    <a:lnTo>
                      <a:pt x="14138" y="747"/>
                    </a:lnTo>
                    <a:lnTo>
                      <a:pt x="13524" y="534"/>
                    </a:lnTo>
                    <a:lnTo>
                      <a:pt x="12911" y="374"/>
                    </a:lnTo>
                    <a:lnTo>
                      <a:pt x="12297" y="240"/>
                    </a:lnTo>
                    <a:lnTo>
                      <a:pt x="11684" y="134"/>
                    </a:lnTo>
                    <a:lnTo>
                      <a:pt x="11044" y="54"/>
                    </a:lnTo>
                    <a:lnTo>
                      <a:pt x="10430" y="27"/>
                    </a:lnTo>
                    <a:lnTo>
                      <a:pt x="9790" y="0"/>
                    </a:lnTo>
                    <a:close/>
                  </a:path>
                </a:pathLst>
              </a:cu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78" name="Google Shape;778;p16"/>
              <p:cNvSpPr/>
              <p:nvPr/>
            </p:nvSpPr>
            <p:spPr>
              <a:xfrm>
                <a:off x="7540581" y="6555397"/>
                <a:ext cx="667888" cy="462303"/>
              </a:xfrm>
              <a:custGeom>
                <a:avLst/>
                <a:gdLst/>
                <a:ahLst/>
                <a:cxnLst/>
                <a:rect l="l" t="t" r="r" b="b"/>
                <a:pathLst>
                  <a:path w="50521" h="34970" extrusionOk="0">
                    <a:moveTo>
                      <a:pt x="4935" y="0"/>
                    </a:moveTo>
                    <a:lnTo>
                      <a:pt x="0" y="34970"/>
                    </a:lnTo>
                    <a:lnTo>
                      <a:pt x="50521" y="34970"/>
                    </a:lnTo>
                    <a:lnTo>
                      <a:pt x="45613" y="0"/>
                    </a:lnTo>
                    <a:close/>
                  </a:path>
                </a:pathLst>
              </a:custGeom>
              <a:solidFill>
                <a:srgbClr val="46464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79" name="Google Shape;779;p16"/>
              <p:cNvSpPr/>
              <p:nvPr/>
            </p:nvSpPr>
            <p:spPr>
              <a:xfrm>
                <a:off x="6660708" y="4883789"/>
                <a:ext cx="2427853" cy="1703212"/>
              </a:xfrm>
              <a:custGeom>
                <a:avLst/>
                <a:gdLst/>
                <a:ahLst/>
                <a:cxnLst/>
                <a:rect l="l" t="t" r="r" b="b"/>
                <a:pathLst>
                  <a:path w="183650" h="128836" extrusionOk="0">
                    <a:moveTo>
                      <a:pt x="1947" y="1"/>
                    </a:moveTo>
                    <a:lnTo>
                      <a:pt x="1734" y="28"/>
                    </a:lnTo>
                    <a:lnTo>
                      <a:pt x="1547" y="54"/>
                    </a:lnTo>
                    <a:lnTo>
                      <a:pt x="1361" y="108"/>
                    </a:lnTo>
                    <a:lnTo>
                      <a:pt x="1174" y="161"/>
                    </a:lnTo>
                    <a:lnTo>
                      <a:pt x="1014" y="241"/>
                    </a:lnTo>
                    <a:lnTo>
                      <a:pt x="854" y="348"/>
                    </a:lnTo>
                    <a:lnTo>
                      <a:pt x="694" y="454"/>
                    </a:lnTo>
                    <a:lnTo>
                      <a:pt x="560" y="588"/>
                    </a:lnTo>
                    <a:lnTo>
                      <a:pt x="427" y="721"/>
                    </a:lnTo>
                    <a:lnTo>
                      <a:pt x="320" y="881"/>
                    </a:lnTo>
                    <a:lnTo>
                      <a:pt x="240" y="1041"/>
                    </a:lnTo>
                    <a:lnTo>
                      <a:pt x="160" y="1201"/>
                    </a:lnTo>
                    <a:lnTo>
                      <a:pt x="80" y="1388"/>
                    </a:lnTo>
                    <a:lnTo>
                      <a:pt x="27" y="1575"/>
                    </a:lnTo>
                    <a:lnTo>
                      <a:pt x="0" y="1761"/>
                    </a:lnTo>
                    <a:lnTo>
                      <a:pt x="0" y="1948"/>
                    </a:lnTo>
                    <a:lnTo>
                      <a:pt x="0" y="126889"/>
                    </a:lnTo>
                    <a:lnTo>
                      <a:pt x="0" y="127075"/>
                    </a:lnTo>
                    <a:lnTo>
                      <a:pt x="27" y="127289"/>
                    </a:lnTo>
                    <a:lnTo>
                      <a:pt x="80" y="127475"/>
                    </a:lnTo>
                    <a:lnTo>
                      <a:pt x="160" y="127635"/>
                    </a:lnTo>
                    <a:lnTo>
                      <a:pt x="240" y="127822"/>
                    </a:lnTo>
                    <a:lnTo>
                      <a:pt x="320" y="127982"/>
                    </a:lnTo>
                    <a:lnTo>
                      <a:pt x="427" y="128116"/>
                    </a:lnTo>
                    <a:lnTo>
                      <a:pt x="560" y="128276"/>
                    </a:lnTo>
                    <a:lnTo>
                      <a:pt x="694" y="128382"/>
                    </a:lnTo>
                    <a:lnTo>
                      <a:pt x="854" y="128516"/>
                    </a:lnTo>
                    <a:lnTo>
                      <a:pt x="1014" y="128596"/>
                    </a:lnTo>
                    <a:lnTo>
                      <a:pt x="1174" y="128676"/>
                    </a:lnTo>
                    <a:lnTo>
                      <a:pt x="1361" y="128756"/>
                    </a:lnTo>
                    <a:lnTo>
                      <a:pt x="1547" y="128809"/>
                    </a:lnTo>
                    <a:lnTo>
                      <a:pt x="1734" y="128836"/>
                    </a:lnTo>
                    <a:lnTo>
                      <a:pt x="181889" y="128836"/>
                    </a:lnTo>
                    <a:lnTo>
                      <a:pt x="182076" y="128809"/>
                    </a:lnTo>
                    <a:lnTo>
                      <a:pt x="182263" y="128756"/>
                    </a:lnTo>
                    <a:lnTo>
                      <a:pt x="182449" y="128676"/>
                    </a:lnTo>
                    <a:lnTo>
                      <a:pt x="182609" y="128596"/>
                    </a:lnTo>
                    <a:lnTo>
                      <a:pt x="182769" y="128516"/>
                    </a:lnTo>
                    <a:lnTo>
                      <a:pt x="182929" y="128382"/>
                    </a:lnTo>
                    <a:lnTo>
                      <a:pt x="183063" y="128276"/>
                    </a:lnTo>
                    <a:lnTo>
                      <a:pt x="183196" y="128116"/>
                    </a:lnTo>
                    <a:lnTo>
                      <a:pt x="183303" y="127982"/>
                    </a:lnTo>
                    <a:lnTo>
                      <a:pt x="183410" y="127822"/>
                    </a:lnTo>
                    <a:lnTo>
                      <a:pt x="183490" y="127635"/>
                    </a:lnTo>
                    <a:lnTo>
                      <a:pt x="183543" y="127475"/>
                    </a:lnTo>
                    <a:lnTo>
                      <a:pt x="183596" y="127289"/>
                    </a:lnTo>
                    <a:lnTo>
                      <a:pt x="183623" y="127075"/>
                    </a:lnTo>
                    <a:lnTo>
                      <a:pt x="183650" y="126889"/>
                    </a:lnTo>
                    <a:lnTo>
                      <a:pt x="183650" y="1948"/>
                    </a:lnTo>
                    <a:lnTo>
                      <a:pt x="183623" y="1761"/>
                    </a:lnTo>
                    <a:lnTo>
                      <a:pt x="183596" y="1575"/>
                    </a:lnTo>
                    <a:lnTo>
                      <a:pt x="183543" y="1388"/>
                    </a:lnTo>
                    <a:lnTo>
                      <a:pt x="183490" y="1201"/>
                    </a:lnTo>
                    <a:lnTo>
                      <a:pt x="183410" y="1041"/>
                    </a:lnTo>
                    <a:lnTo>
                      <a:pt x="183303" y="881"/>
                    </a:lnTo>
                    <a:lnTo>
                      <a:pt x="183196" y="721"/>
                    </a:lnTo>
                    <a:lnTo>
                      <a:pt x="183063" y="588"/>
                    </a:lnTo>
                    <a:lnTo>
                      <a:pt x="182929" y="454"/>
                    </a:lnTo>
                    <a:lnTo>
                      <a:pt x="182769" y="348"/>
                    </a:lnTo>
                    <a:lnTo>
                      <a:pt x="182609" y="241"/>
                    </a:lnTo>
                    <a:lnTo>
                      <a:pt x="182449" y="161"/>
                    </a:lnTo>
                    <a:lnTo>
                      <a:pt x="182263" y="108"/>
                    </a:lnTo>
                    <a:lnTo>
                      <a:pt x="182076" y="54"/>
                    </a:lnTo>
                    <a:lnTo>
                      <a:pt x="181889" y="28"/>
                    </a:lnTo>
                    <a:lnTo>
                      <a:pt x="181676" y="1"/>
                    </a:lnTo>
                    <a:close/>
                  </a:path>
                </a:pathLst>
              </a:custGeom>
              <a:solidFill>
                <a:srgbClr val="2C2D2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80" name="Google Shape;780;p16"/>
              <p:cNvSpPr/>
              <p:nvPr/>
            </p:nvSpPr>
            <p:spPr>
              <a:xfrm>
                <a:off x="6660708" y="4883789"/>
                <a:ext cx="2427853" cy="1703212"/>
              </a:xfrm>
              <a:custGeom>
                <a:avLst/>
                <a:gdLst/>
                <a:ahLst/>
                <a:cxnLst/>
                <a:rect l="l" t="t" r="r" b="b"/>
                <a:pathLst>
                  <a:path w="183650" h="128836" fill="none" extrusionOk="0">
                    <a:moveTo>
                      <a:pt x="181676" y="128836"/>
                    </a:moveTo>
                    <a:lnTo>
                      <a:pt x="1947" y="128836"/>
                    </a:lnTo>
                    <a:lnTo>
                      <a:pt x="1947" y="128836"/>
                    </a:lnTo>
                    <a:lnTo>
                      <a:pt x="1734" y="128836"/>
                    </a:lnTo>
                    <a:lnTo>
                      <a:pt x="1547" y="128809"/>
                    </a:lnTo>
                    <a:lnTo>
                      <a:pt x="1361" y="128756"/>
                    </a:lnTo>
                    <a:lnTo>
                      <a:pt x="1174" y="128676"/>
                    </a:lnTo>
                    <a:lnTo>
                      <a:pt x="1014" y="128596"/>
                    </a:lnTo>
                    <a:lnTo>
                      <a:pt x="854" y="128516"/>
                    </a:lnTo>
                    <a:lnTo>
                      <a:pt x="694" y="128382"/>
                    </a:lnTo>
                    <a:lnTo>
                      <a:pt x="560" y="128276"/>
                    </a:lnTo>
                    <a:lnTo>
                      <a:pt x="427" y="128116"/>
                    </a:lnTo>
                    <a:lnTo>
                      <a:pt x="320" y="127982"/>
                    </a:lnTo>
                    <a:lnTo>
                      <a:pt x="240" y="127822"/>
                    </a:lnTo>
                    <a:lnTo>
                      <a:pt x="160" y="127635"/>
                    </a:lnTo>
                    <a:lnTo>
                      <a:pt x="80" y="127475"/>
                    </a:lnTo>
                    <a:lnTo>
                      <a:pt x="27" y="127289"/>
                    </a:lnTo>
                    <a:lnTo>
                      <a:pt x="0" y="127075"/>
                    </a:lnTo>
                    <a:lnTo>
                      <a:pt x="0" y="126889"/>
                    </a:lnTo>
                    <a:lnTo>
                      <a:pt x="0" y="1948"/>
                    </a:lnTo>
                    <a:lnTo>
                      <a:pt x="0" y="1948"/>
                    </a:lnTo>
                    <a:lnTo>
                      <a:pt x="0" y="1761"/>
                    </a:lnTo>
                    <a:lnTo>
                      <a:pt x="27" y="1575"/>
                    </a:lnTo>
                    <a:lnTo>
                      <a:pt x="80" y="1388"/>
                    </a:lnTo>
                    <a:lnTo>
                      <a:pt x="160" y="1201"/>
                    </a:lnTo>
                    <a:lnTo>
                      <a:pt x="240" y="1041"/>
                    </a:lnTo>
                    <a:lnTo>
                      <a:pt x="320" y="881"/>
                    </a:lnTo>
                    <a:lnTo>
                      <a:pt x="427" y="721"/>
                    </a:lnTo>
                    <a:lnTo>
                      <a:pt x="560" y="588"/>
                    </a:lnTo>
                    <a:lnTo>
                      <a:pt x="694" y="454"/>
                    </a:lnTo>
                    <a:lnTo>
                      <a:pt x="854" y="348"/>
                    </a:lnTo>
                    <a:lnTo>
                      <a:pt x="1014" y="241"/>
                    </a:lnTo>
                    <a:lnTo>
                      <a:pt x="1174" y="161"/>
                    </a:lnTo>
                    <a:lnTo>
                      <a:pt x="1361" y="108"/>
                    </a:lnTo>
                    <a:lnTo>
                      <a:pt x="1547" y="54"/>
                    </a:lnTo>
                    <a:lnTo>
                      <a:pt x="1734" y="28"/>
                    </a:lnTo>
                    <a:lnTo>
                      <a:pt x="1947" y="1"/>
                    </a:lnTo>
                    <a:lnTo>
                      <a:pt x="181676" y="1"/>
                    </a:lnTo>
                    <a:lnTo>
                      <a:pt x="181676" y="1"/>
                    </a:lnTo>
                    <a:lnTo>
                      <a:pt x="181889" y="28"/>
                    </a:lnTo>
                    <a:lnTo>
                      <a:pt x="182076" y="54"/>
                    </a:lnTo>
                    <a:lnTo>
                      <a:pt x="182263" y="108"/>
                    </a:lnTo>
                    <a:lnTo>
                      <a:pt x="182449" y="161"/>
                    </a:lnTo>
                    <a:lnTo>
                      <a:pt x="182609" y="241"/>
                    </a:lnTo>
                    <a:lnTo>
                      <a:pt x="182769" y="348"/>
                    </a:lnTo>
                    <a:lnTo>
                      <a:pt x="182929" y="454"/>
                    </a:lnTo>
                    <a:lnTo>
                      <a:pt x="183063" y="588"/>
                    </a:lnTo>
                    <a:lnTo>
                      <a:pt x="183196" y="721"/>
                    </a:lnTo>
                    <a:lnTo>
                      <a:pt x="183303" y="881"/>
                    </a:lnTo>
                    <a:lnTo>
                      <a:pt x="183410" y="1041"/>
                    </a:lnTo>
                    <a:lnTo>
                      <a:pt x="183490" y="1201"/>
                    </a:lnTo>
                    <a:lnTo>
                      <a:pt x="183543" y="1388"/>
                    </a:lnTo>
                    <a:lnTo>
                      <a:pt x="183596" y="1575"/>
                    </a:lnTo>
                    <a:lnTo>
                      <a:pt x="183623" y="1761"/>
                    </a:lnTo>
                    <a:lnTo>
                      <a:pt x="183650" y="1948"/>
                    </a:lnTo>
                    <a:lnTo>
                      <a:pt x="183650" y="126889"/>
                    </a:lnTo>
                    <a:lnTo>
                      <a:pt x="183650" y="126889"/>
                    </a:lnTo>
                    <a:lnTo>
                      <a:pt x="183623" y="127075"/>
                    </a:lnTo>
                    <a:lnTo>
                      <a:pt x="183596" y="127289"/>
                    </a:lnTo>
                    <a:lnTo>
                      <a:pt x="183543" y="127475"/>
                    </a:lnTo>
                    <a:lnTo>
                      <a:pt x="183490" y="127635"/>
                    </a:lnTo>
                    <a:lnTo>
                      <a:pt x="183410" y="127822"/>
                    </a:lnTo>
                    <a:lnTo>
                      <a:pt x="183303" y="127982"/>
                    </a:lnTo>
                    <a:lnTo>
                      <a:pt x="183196" y="128116"/>
                    </a:lnTo>
                    <a:lnTo>
                      <a:pt x="183063" y="128276"/>
                    </a:lnTo>
                    <a:lnTo>
                      <a:pt x="182929" y="128382"/>
                    </a:lnTo>
                    <a:lnTo>
                      <a:pt x="182769" y="128516"/>
                    </a:lnTo>
                    <a:lnTo>
                      <a:pt x="182609" y="128596"/>
                    </a:lnTo>
                    <a:lnTo>
                      <a:pt x="182449" y="128676"/>
                    </a:lnTo>
                    <a:lnTo>
                      <a:pt x="182263" y="128756"/>
                    </a:lnTo>
                    <a:lnTo>
                      <a:pt x="182076" y="128809"/>
                    </a:lnTo>
                    <a:lnTo>
                      <a:pt x="181889" y="128836"/>
                    </a:lnTo>
                    <a:lnTo>
                      <a:pt x="181676" y="128836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81" name="Google Shape;781;p16"/>
              <p:cNvSpPr/>
              <p:nvPr/>
            </p:nvSpPr>
            <p:spPr>
              <a:xfrm>
                <a:off x="6731586" y="4959268"/>
                <a:ext cx="2285751" cy="1411936"/>
              </a:xfrm>
              <a:custGeom>
                <a:avLst/>
                <a:gdLst/>
                <a:ahLst/>
                <a:cxnLst/>
                <a:rect l="l" t="t" r="r" b="b"/>
                <a:pathLst>
                  <a:path w="172901" h="106803" extrusionOk="0">
                    <a:moveTo>
                      <a:pt x="1" y="0"/>
                    </a:moveTo>
                    <a:lnTo>
                      <a:pt x="1" y="106802"/>
                    </a:lnTo>
                    <a:lnTo>
                      <a:pt x="172900" y="106802"/>
                    </a:lnTo>
                    <a:lnTo>
                      <a:pt x="17290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82" name="Google Shape;782;p16"/>
              <p:cNvSpPr/>
              <p:nvPr/>
            </p:nvSpPr>
            <p:spPr>
              <a:xfrm>
                <a:off x="6731586" y="4959268"/>
                <a:ext cx="2285751" cy="1411936"/>
              </a:xfrm>
              <a:custGeom>
                <a:avLst/>
                <a:gdLst/>
                <a:ahLst/>
                <a:cxnLst/>
                <a:rect l="l" t="t" r="r" b="b"/>
                <a:pathLst>
                  <a:path w="172901" h="106803" fill="none" extrusionOk="0">
                    <a:moveTo>
                      <a:pt x="172900" y="106802"/>
                    </a:moveTo>
                    <a:lnTo>
                      <a:pt x="1" y="106802"/>
                    </a:lnTo>
                    <a:lnTo>
                      <a:pt x="1" y="0"/>
                    </a:lnTo>
                    <a:lnTo>
                      <a:pt x="172900" y="0"/>
                    </a:lnTo>
                    <a:lnTo>
                      <a:pt x="172900" y="106802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83" name="Google Shape;783;p16"/>
              <p:cNvSpPr/>
              <p:nvPr/>
            </p:nvSpPr>
            <p:spPr>
              <a:xfrm>
                <a:off x="6731586" y="4959268"/>
                <a:ext cx="2285751" cy="42330"/>
              </a:xfrm>
              <a:custGeom>
                <a:avLst/>
                <a:gdLst/>
                <a:ahLst/>
                <a:cxnLst/>
                <a:rect l="l" t="t" r="r" b="b"/>
                <a:pathLst>
                  <a:path w="172901" h="3202" extrusionOk="0">
                    <a:moveTo>
                      <a:pt x="1" y="0"/>
                    </a:moveTo>
                    <a:lnTo>
                      <a:pt x="1" y="3201"/>
                    </a:lnTo>
                    <a:lnTo>
                      <a:pt x="172900" y="3201"/>
                    </a:lnTo>
                    <a:lnTo>
                      <a:pt x="17290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84" name="Google Shape;784;p16"/>
              <p:cNvSpPr/>
              <p:nvPr/>
            </p:nvSpPr>
            <p:spPr>
              <a:xfrm>
                <a:off x="6731586" y="4959268"/>
                <a:ext cx="2285751" cy="130481"/>
              </a:xfrm>
              <a:custGeom>
                <a:avLst/>
                <a:gdLst/>
                <a:ahLst/>
                <a:cxnLst/>
                <a:rect l="l" t="t" r="r" b="b"/>
                <a:pathLst>
                  <a:path w="172901" h="9870" extrusionOk="0">
                    <a:moveTo>
                      <a:pt x="1" y="0"/>
                    </a:moveTo>
                    <a:lnTo>
                      <a:pt x="1" y="9869"/>
                    </a:lnTo>
                    <a:lnTo>
                      <a:pt x="172900" y="9869"/>
                    </a:lnTo>
                    <a:lnTo>
                      <a:pt x="17290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85" name="Google Shape;785;p16"/>
              <p:cNvSpPr/>
              <p:nvPr/>
            </p:nvSpPr>
            <p:spPr>
              <a:xfrm>
                <a:off x="7483796" y="7028659"/>
                <a:ext cx="781791" cy="70886"/>
              </a:xfrm>
              <a:custGeom>
                <a:avLst/>
                <a:gdLst/>
                <a:ahLst/>
                <a:cxnLst/>
                <a:rect l="l" t="t" r="r" b="b"/>
                <a:pathLst>
                  <a:path w="59137" h="5362" extrusionOk="0">
                    <a:moveTo>
                      <a:pt x="4375" y="0"/>
                    </a:moveTo>
                    <a:lnTo>
                      <a:pt x="268" y="3681"/>
                    </a:lnTo>
                    <a:lnTo>
                      <a:pt x="161" y="3788"/>
                    </a:lnTo>
                    <a:lnTo>
                      <a:pt x="81" y="3948"/>
                    </a:lnTo>
                    <a:lnTo>
                      <a:pt x="28" y="4082"/>
                    </a:lnTo>
                    <a:lnTo>
                      <a:pt x="1" y="4215"/>
                    </a:lnTo>
                    <a:lnTo>
                      <a:pt x="1" y="4375"/>
                    </a:lnTo>
                    <a:lnTo>
                      <a:pt x="28" y="4508"/>
                    </a:lnTo>
                    <a:lnTo>
                      <a:pt x="54" y="4642"/>
                    </a:lnTo>
                    <a:lnTo>
                      <a:pt x="134" y="4775"/>
                    </a:lnTo>
                    <a:lnTo>
                      <a:pt x="214" y="4882"/>
                    </a:lnTo>
                    <a:lnTo>
                      <a:pt x="321" y="5015"/>
                    </a:lnTo>
                    <a:lnTo>
                      <a:pt x="428" y="5095"/>
                    </a:lnTo>
                    <a:lnTo>
                      <a:pt x="588" y="5175"/>
                    </a:lnTo>
                    <a:lnTo>
                      <a:pt x="721" y="5255"/>
                    </a:lnTo>
                    <a:lnTo>
                      <a:pt x="908" y="5309"/>
                    </a:lnTo>
                    <a:lnTo>
                      <a:pt x="1068" y="5335"/>
                    </a:lnTo>
                    <a:lnTo>
                      <a:pt x="1281" y="5362"/>
                    </a:lnTo>
                    <a:lnTo>
                      <a:pt x="57857" y="5362"/>
                    </a:lnTo>
                    <a:lnTo>
                      <a:pt x="58043" y="5335"/>
                    </a:lnTo>
                    <a:lnTo>
                      <a:pt x="58230" y="5309"/>
                    </a:lnTo>
                    <a:lnTo>
                      <a:pt x="58390" y="5255"/>
                    </a:lnTo>
                    <a:lnTo>
                      <a:pt x="58550" y="5175"/>
                    </a:lnTo>
                    <a:lnTo>
                      <a:pt x="58683" y="5095"/>
                    </a:lnTo>
                    <a:lnTo>
                      <a:pt x="58817" y="5015"/>
                    </a:lnTo>
                    <a:lnTo>
                      <a:pt x="58897" y="4882"/>
                    </a:lnTo>
                    <a:lnTo>
                      <a:pt x="59003" y="4775"/>
                    </a:lnTo>
                    <a:lnTo>
                      <a:pt x="59057" y="4642"/>
                    </a:lnTo>
                    <a:lnTo>
                      <a:pt x="59110" y="4508"/>
                    </a:lnTo>
                    <a:lnTo>
                      <a:pt x="59137" y="4375"/>
                    </a:lnTo>
                    <a:lnTo>
                      <a:pt x="59137" y="4215"/>
                    </a:lnTo>
                    <a:lnTo>
                      <a:pt x="59110" y="4082"/>
                    </a:lnTo>
                    <a:lnTo>
                      <a:pt x="59057" y="3948"/>
                    </a:lnTo>
                    <a:lnTo>
                      <a:pt x="58977" y="3788"/>
                    </a:lnTo>
                    <a:lnTo>
                      <a:pt x="58870" y="3681"/>
                    </a:lnTo>
                    <a:lnTo>
                      <a:pt x="54842" y="0"/>
                    </a:lnTo>
                    <a:close/>
                  </a:path>
                </a:pathLst>
              </a:custGeom>
              <a:solidFill>
                <a:srgbClr val="999999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86" name="Google Shape;786;p16"/>
              <p:cNvSpPr/>
              <p:nvPr/>
            </p:nvSpPr>
            <p:spPr>
              <a:xfrm>
                <a:off x="7483796" y="7014552"/>
                <a:ext cx="781791" cy="70542"/>
              </a:xfrm>
              <a:custGeom>
                <a:avLst/>
                <a:gdLst/>
                <a:ahLst/>
                <a:cxnLst/>
                <a:rect l="l" t="t" r="r" b="b"/>
                <a:pathLst>
                  <a:path w="59137" h="5336" extrusionOk="0">
                    <a:moveTo>
                      <a:pt x="4375" y="1"/>
                    </a:moveTo>
                    <a:lnTo>
                      <a:pt x="268" y="3655"/>
                    </a:lnTo>
                    <a:lnTo>
                      <a:pt x="161" y="3788"/>
                    </a:lnTo>
                    <a:lnTo>
                      <a:pt x="81" y="3922"/>
                    </a:lnTo>
                    <a:lnTo>
                      <a:pt x="28" y="4082"/>
                    </a:lnTo>
                    <a:lnTo>
                      <a:pt x="1" y="4215"/>
                    </a:lnTo>
                    <a:lnTo>
                      <a:pt x="1" y="4348"/>
                    </a:lnTo>
                    <a:lnTo>
                      <a:pt x="28" y="4482"/>
                    </a:lnTo>
                    <a:lnTo>
                      <a:pt x="54" y="4642"/>
                    </a:lnTo>
                    <a:lnTo>
                      <a:pt x="134" y="4748"/>
                    </a:lnTo>
                    <a:lnTo>
                      <a:pt x="214" y="4882"/>
                    </a:lnTo>
                    <a:lnTo>
                      <a:pt x="321" y="4989"/>
                    </a:lnTo>
                    <a:lnTo>
                      <a:pt x="428" y="5095"/>
                    </a:lnTo>
                    <a:lnTo>
                      <a:pt x="588" y="5175"/>
                    </a:lnTo>
                    <a:lnTo>
                      <a:pt x="721" y="5255"/>
                    </a:lnTo>
                    <a:lnTo>
                      <a:pt x="908" y="5309"/>
                    </a:lnTo>
                    <a:lnTo>
                      <a:pt x="1068" y="5335"/>
                    </a:lnTo>
                    <a:lnTo>
                      <a:pt x="58043" y="5335"/>
                    </a:lnTo>
                    <a:lnTo>
                      <a:pt x="58230" y="5309"/>
                    </a:lnTo>
                    <a:lnTo>
                      <a:pt x="58390" y="5255"/>
                    </a:lnTo>
                    <a:lnTo>
                      <a:pt x="58550" y="5175"/>
                    </a:lnTo>
                    <a:lnTo>
                      <a:pt x="58683" y="5095"/>
                    </a:lnTo>
                    <a:lnTo>
                      <a:pt x="58817" y="4989"/>
                    </a:lnTo>
                    <a:lnTo>
                      <a:pt x="58897" y="4882"/>
                    </a:lnTo>
                    <a:lnTo>
                      <a:pt x="59003" y="4748"/>
                    </a:lnTo>
                    <a:lnTo>
                      <a:pt x="59057" y="4642"/>
                    </a:lnTo>
                    <a:lnTo>
                      <a:pt x="59110" y="4482"/>
                    </a:lnTo>
                    <a:lnTo>
                      <a:pt x="59137" y="4348"/>
                    </a:lnTo>
                    <a:lnTo>
                      <a:pt x="59137" y="4215"/>
                    </a:lnTo>
                    <a:lnTo>
                      <a:pt x="59110" y="4082"/>
                    </a:lnTo>
                    <a:lnTo>
                      <a:pt x="59057" y="3922"/>
                    </a:lnTo>
                    <a:lnTo>
                      <a:pt x="58977" y="3788"/>
                    </a:lnTo>
                    <a:lnTo>
                      <a:pt x="58870" y="3655"/>
                    </a:lnTo>
                    <a:lnTo>
                      <a:pt x="54842" y="1"/>
                    </a:lnTo>
                    <a:close/>
                  </a:path>
                </a:pathLst>
              </a:custGeom>
              <a:solidFill>
                <a:srgbClr val="2D2D2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87" name="Google Shape;787;p16"/>
              <p:cNvSpPr/>
              <p:nvPr/>
            </p:nvSpPr>
            <p:spPr>
              <a:xfrm>
                <a:off x="6474860" y="4987482"/>
                <a:ext cx="512024" cy="325133"/>
              </a:xfrm>
              <a:custGeom>
                <a:avLst/>
                <a:gdLst/>
                <a:ahLst/>
                <a:cxnLst/>
                <a:rect l="l" t="t" r="r" b="b"/>
                <a:pathLst>
                  <a:path w="38731" h="24594" extrusionOk="0">
                    <a:moveTo>
                      <a:pt x="19525" y="0"/>
                    </a:moveTo>
                    <a:lnTo>
                      <a:pt x="0" y="24593"/>
                    </a:lnTo>
                    <a:lnTo>
                      <a:pt x="23526" y="24593"/>
                    </a:lnTo>
                    <a:lnTo>
                      <a:pt x="38731" y="0"/>
                    </a:lnTo>
                    <a:close/>
                  </a:path>
                </a:pathLst>
              </a:cu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88" name="Google Shape;788;p16"/>
              <p:cNvSpPr/>
              <p:nvPr/>
            </p:nvSpPr>
            <p:spPr>
              <a:xfrm>
                <a:off x="6785898" y="4987482"/>
                <a:ext cx="454900" cy="325133"/>
              </a:xfrm>
              <a:custGeom>
                <a:avLst/>
                <a:gdLst/>
                <a:ahLst/>
                <a:cxnLst/>
                <a:rect l="l" t="t" r="r" b="b"/>
                <a:pathLst>
                  <a:path w="34410" h="24594" extrusionOk="0">
                    <a:moveTo>
                      <a:pt x="15205" y="0"/>
                    </a:moveTo>
                    <a:lnTo>
                      <a:pt x="0" y="24593"/>
                    </a:lnTo>
                    <a:lnTo>
                      <a:pt x="23553" y="24593"/>
                    </a:lnTo>
                    <a:lnTo>
                      <a:pt x="34410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89" name="Google Shape;789;p16"/>
              <p:cNvSpPr/>
              <p:nvPr/>
            </p:nvSpPr>
            <p:spPr>
              <a:xfrm>
                <a:off x="7097293" y="4987482"/>
                <a:ext cx="397420" cy="325133"/>
              </a:xfrm>
              <a:custGeom>
                <a:avLst/>
                <a:gdLst/>
                <a:ahLst/>
                <a:cxnLst/>
                <a:rect l="l" t="t" r="r" b="b"/>
                <a:pathLst>
                  <a:path w="30062" h="24594" extrusionOk="0">
                    <a:moveTo>
                      <a:pt x="10857" y="0"/>
                    </a:moveTo>
                    <a:lnTo>
                      <a:pt x="0" y="24593"/>
                    </a:lnTo>
                    <a:lnTo>
                      <a:pt x="23553" y="24593"/>
                    </a:lnTo>
                    <a:lnTo>
                      <a:pt x="30062" y="0"/>
                    </a:lnTo>
                    <a:close/>
                  </a:path>
                </a:pathLst>
              </a:cu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90" name="Google Shape;790;p16"/>
              <p:cNvSpPr/>
              <p:nvPr/>
            </p:nvSpPr>
            <p:spPr>
              <a:xfrm>
                <a:off x="7408688" y="4987482"/>
                <a:ext cx="339952" cy="325133"/>
              </a:xfrm>
              <a:custGeom>
                <a:avLst/>
                <a:gdLst/>
                <a:ahLst/>
                <a:cxnLst/>
                <a:rect l="l" t="t" r="r" b="b"/>
                <a:pathLst>
                  <a:path w="25715" h="24594" extrusionOk="0">
                    <a:moveTo>
                      <a:pt x="6509" y="0"/>
                    </a:moveTo>
                    <a:lnTo>
                      <a:pt x="0" y="24593"/>
                    </a:lnTo>
                    <a:lnTo>
                      <a:pt x="23553" y="24593"/>
                    </a:lnTo>
                    <a:lnTo>
                      <a:pt x="25714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91" name="Google Shape;791;p16"/>
              <p:cNvSpPr/>
              <p:nvPr/>
            </p:nvSpPr>
            <p:spPr>
              <a:xfrm>
                <a:off x="7720083" y="4987482"/>
                <a:ext cx="311384" cy="325133"/>
              </a:xfrm>
              <a:custGeom>
                <a:avLst/>
                <a:gdLst/>
                <a:ahLst/>
                <a:cxnLst/>
                <a:rect l="l" t="t" r="r" b="b"/>
                <a:pathLst>
                  <a:path w="23554" h="24594" extrusionOk="0">
                    <a:moveTo>
                      <a:pt x="2161" y="0"/>
                    </a:moveTo>
                    <a:lnTo>
                      <a:pt x="0" y="24593"/>
                    </a:lnTo>
                    <a:lnTo>
                      <a:pt x="23553" y="24593"/>
                    </a:lnTo>
                    <a:lnTo>
                      <a:pt x="21366" y="0"/>
                    </a:lnTo>
                    <a:close/>
                  </a:path>
                </a:pathLst>
              </a:cu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92" name="Google Shape;792;p16"/>
              <p:cNvSpPr/>
              <p:nvPr/>
            </p:nvSpPr>
            <p:spPr>
              <a:xfrm>
                <a:off x="8002563" y="4987482"/>
                <a:ext cx="340296" cy="325133"/>
              </a:xfrm>
              <a:custGeom>
                <a:avLst/>
                <a:gdLst/>
                <a:ahLst/>
                <a:cxnLst/>
                <a:rect l="l" t="t" r="r" b="b"/>
                <a:pathLst>
                  <a:path w="25741" h="24594" extrusionOk="0">
                    <a:moveTo>
                      <a:pt x="0" y="0"/>
                    </a:moveTo>
                    <a:lnTo>
                      <a:pt x="2187" y="24593"/>
                    </a:lnTo>
                    <a:lnTo>
                      <a:pt x="25740" y="24593"/>
                    </a:lnTo>
                    <a:lnTo>
                      <a:pt x="19205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93" name="Google Shape;793;p16"/>
              <p:cNvSpPr/>
              <p:nvPr/>
            </p:nvSpPr>
            <p:spPr>
              <a:xfrm>
                <a:off x="8256473" y="4987482"/>
                <a:ext cx="397777" cy="325133"/>
              </a:xfrm>
              <a:custGeom>
                <a:avLst/>
                <a:gdLst/>
                <a:ahLst/>
                <a:cxnLst/>
                <a:rect l="l" t="t" r="r" b="b"/>
                <a:pathLst>
                  <a:path w="30089" h="24594" extrusionOk="0">
                    <a:moveTo>
                      <a:pt x="0" y="0"/>
                    </a:moveTo>
                    <a:lnTo>
                      <a:pt x="6535" y="24593"/>
                    </a:lnTo>
                    <a:lnTo>
                      <a:pt x="30088" y="24593"/>
                    </a:lnTo>
                    <a:lnTo>
                      <a:pt x="19206" y="0"/>
                    </a:lnTo>
                    <a:close/>
                  </a:path>
                </a:pathLst>
              </a:cu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94" name="Google Shape;794;p16"/>
              <p:cNvSpPr/>
              <p:nvPr/>
            </p:nvSpPr>
            <p:spPr>
              <a:xfrm>
                <a:off x="8510383" y="4987482"/>
                <a:ext cx="454900" cy="325133"/>
              </a:xfrm>
              <a:custGeom>
                <a:avLst/>
                <a:gdLst/>
                <a:ahLst/>
                <a:cxnLst/>
                <a:rect l="l" t="t" r="r" b="b"/>
                <a:pathLst>
                  <a:path w="34410" h="24594" extrusionOk="0">
                    <a:moveTo>
                      <a:pt x="1" y="0"/>
                    </a:moveTo>
                    <a:lnTo>
                      <a:pt x="10883" y="24593"/>
                    </a:lnTo>
                    <a:lnTo>
                      <a:pt x="34410" y="24593"/>
                    </a:lnTo>
                    <a:lnTo>
                      <a:pt x="19206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95" name="Google Shape;795;p16"/>
              <p:cNvSpPr/>
              <p:nvPr/>
            </p:nvSpPr>
            <p:spPr>
              <a:xfrm>
                <a:off x="8764293" y="4987482"/>
                <a:ext cx="512381" cy="325133"/>
              </a:xfrm>
              <a:custGeom>
                <a:avLst/>
                <a:gdLst/>
                <a:ahLst/>
                <a:cxnLst/>
                <a:rect l="l" t="t" r="r" b="b"/>
                <a:pathLst>
                  <a:path w="38758" h="24594" extrusionOk="0">
                    <a:moveTo>
                      <a:pt x="1" y="0"/>
                    </a:moveTo>
                    <a:lnTo>
                      <a:pt x="15205" y="24593"/>
                    </a:lnTo>
                    <a:lnTo>
                      <a:pt x="38758" y="24593"/>
                    </a:lnTo>
                    <a:lnTo>
                      <a:pt x="19206" y="0"/>
                    </a:lnTo>
                    <a:close/>
                  </a:path>
                </a:pathLst>
              </a:cu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96" name="Google Shape;796;p16"/>
              <p:cNvSpPr/>
              <p:nvPr/>
            </p:nvSpPr>
            <p:spPr>
              <a:xfrm>
                <a:off x="6474860" y="5312628"/>
                <a:ext cx="311027" cy="177743"/>
              </a:xfrm>
              <a:custGeom>
                <a:avLst/>
                <a:gdLst/>
                <a:ahLst/>
                <a:cxnLst/>
                <a:rect l="l" t="t" r="r" b="b"/>
                <a:pathLst>
                  <a:path w="23527" h="13445" extrusionOk="0">
                    <a:moveTo>
                      <a:pt x="0" y="0"/>
                    </a:moveTo>
                    <a:lnTo>
                      <a:pt x="0" y="4375"/>
                    </a:lnTo>
                    <a:lnTo>
                      <a:pt x="0" y="4855"/>
                    </a:lnTo>
                    <a:lnTo>
                      <a:pt x="53" y="5308"/>
                    </a:lnTo>
                    <a:lnTo>
                      <a:pt x="133" y="5762"/>
                    </a:lnTo>
                    <a:lnTo>
                      <a:pt x="240" y="6215"/>
                    </a:lnTo>
                    <a:lnTo>
                      <a:pt x="347" y="6642"/>
                    </a:lnTo>
                    <a:lnTo>
                      <a:pt x="507" y="7069"/>
                    </a:lnTo>
                    <a:lnTo>
                      <a:pt x="694" y="7496"/>
                    </a:lnTo>
                    <a:lnTo>
                      <a:pt x="907" y="7923"/>
                    </a:lnTo>
                    <a:lnTo>
                      <a:pt x="1147" y="8323"/>
                    </a:lnTo>
                    <a:lnTo>
                      <a:pt x="1414" y="8696"/>
                    </a:lnTo>
                    <a:lnTo>
                      <a:pt x="1681" y="9096"/>
                    </a:lnTo>
                    <a:lnTo>
                      <a:pt x="2001" y="9443"/>
                    </a:lnTo>
                    <a:lnTo>
                      <a:pt x="2321" y="9816"/>
                    </a:lnTo>
                    <a:lnTo>
                      <a:pt x="2667" y="10163"/>
                    </a:lnTo>
                    <a:lnTo>
                      <a:pt x="3041" y="10483"/>
                    </a:lnTo>
                    <a:lnTo>
                      <a:pt x="3441" y="10803"/>
                    </a:lnTo>
                    <a:lnTo>
                      <a:pt x="3841" y="11097"/>
                    </a:lnTo>
                    <a:lnTo>
                      <a:pt x="4268" y="11390"/>
                    </a:lnTo>
                    <a:lnTo>
                      <a:pt x="4721" y="11657"/>
                    </a:lnTo>
                    <a:lnTo>
                      <a:pt x="5175" y="11897"/>
                    </a:lnTo>
                    <a:lnTo>
                      <a:pt x="5655" y="12137"/>
                    </a:lnTo>
                    <a:lnTo>
                      <a:pt x="6162" y="12350"/>
                    </a:lnTo>
                    <a:lnTo>
                      <a:pt x="6669" y="12564"/>
                    </a:lnTo>
                    <a:lnTo>
                      <a:pt x="7175" y="12724"/>
                    </a:lnTo>
                    <a:lnTo>
                      <a:pt x="7709" y="12911"/>
                    </a:lnTo>
                    <a:lnTo>
                      <a:pt x="8269" y="13044"/>
                    </a:lnTo>
                    <a:lnTo>
                      <a:pt x="8829" y="13151"/>
                    </a:lnTo>
                    <a:lnTo>
                      <a:pt x="9389" y="13257"/>
                    </a:lnTo>
                    <a:lnTo>
                      <a:pt x="9976" y="13337"/>
                    </a:lnTo>
                    <a:lnTo>
                      <a:pt x="10563" y="13391"/>
                    </a:lnTo>
                    <a:lnTo>
                      <a:pt x="11150" y="13444"/>
                    </a:lnTo>
                    <a:lnTo>
                      <a:pt x="12377" y="13444"/>
                    </a:lnTo>
                    <a:lnTo>
                      <a:pt x="12964" y="13391"/>
                    </a:lnTo>
                    <a:lnTo>
                      <a:pt x="13550" y="13337"/>
                    </a:lnTo>
                    <a:lnTo>
                      <a:pt x="14137" y="13257"/>
                    </a:lnTo>
                    <a:lnTo>
                      <a:pt x="14697" y="13151"/>
                    </a:lnTo>
                    <a:lnTo>
                      <a:pt x="15258" y="13044"/>
                    </a:lnTo>
                    <a:lnTo>
                      <a:pt x="15818" y="12911"/>
                    </a:lnTo>
                    <a:lnTo>
                      <a:pt x="16351" y="12724"/>
                    </a:lnTo>
                    <a:lnTo>
                      <a:pt x="16858" y="12564"/>
                    </a:lnTo>
                    <a:lnTo>
                      <a:pt x="17365" y="12350"/>
                    </a:lnTo>
                    <a:lnTo>
                      <a:pt x="17872" y="12137"/>
                    </a:lnTo>
                    <a:lnTo>
                      <a:pt x="18352" y="11897"/>
                    </a:lnTo>
                    <a:lnTo>
                      <a:pt x="18805" y="11657"/>
                    </a:lnTo>
                    <a:lnTo>
                      <a:pt x="19259" y="11390"/>
                    </a:lnTo>
                    <a:lnTo>
                      <a:pt x="19685" y="11097"/>
                    </a:lnTo>
                    <a:lnTo>
                      <a:pt x="20086" y="10803"/>
                    </a:lnTo>
                    <a:lnTo>
                      <a:pt x="20486" y="10483"/>
                    </a:lnTo>
                    <a:lnTo>
                      <a:pt x="20859" y="10163"/>
                    </a:lnTo>
                    <a:lnTo>
                      <a:pt x="21206" y="9816"/>
                    </a:lnTo>
                    <a:lnTo>
                      <a:pt x="21526" y="9443"/>
                    </a:lnTo>
                    <a:lnTo>
                      <a:pt x="21846" y="9096"/>
                    </a:lnTo>
                    <a:lnTo>
                      <a:pt x="22113" y="8696"/>
                    </a:lnTo>
                    <a:lnTo>
                      <a:pt x="22379" y="8323"/>
                    </a:lnTo>
                    <a:lnTo>
                      <a:pt x="22620" y="7923"/>
                    </a:lnTo>
                    <a:lnTo>
                      <a:pt x="22833" y="7496"/>
                    </a:lnTo>
                    <a:lnTo>
                      <a:pt x="23020" y="7069"/>
                    </a:lnTo>
                    <a:lnTo>
                      <a:pt x="23180" y="6642"/>
                    </a:lnTo>
                    <a:lnTo>
                      <a:pt x="23286" y="6215"/>
                    </a:lnTo>
                    <a:lnTo>
                      <a:pt x="23393" y="5762"/>
                    </a:lnTo>
                    <a:lnTo>
                      <a:pt x="23473" y="5308"/>
                    </a:lnTo>
                    <a:lnTo>
                      <a:pt x="23526" y="4855"/>
                    </a:lnTo>
                    <a:lnTo>
                      <a:pt x="23526" y="4375"/>
                    </a:lnTo>
                    <a:lnTo>
                      <a:pt x="23526" y="0"/>
                    </a:lnTo>
                    <a:close/>
                  </a:path>
                </a:pathLst>
              </a:custGeom>
              <a:solidFill>
                <a:srgbClr val="C3050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97" name="Google Shape;797;p16"/>
              <p:cNvSpPr/>
              <p:nvPr/>
            </p:nvSpPr>
            <p:spPr>
              <a:xfrm>
                <a:off x="6474860" y="5312628"/>
                <a:ext cx="311027" cy="177743"/>
              </a:xfrm>
              <a:custGeom>
                <a:avLst/>
                <a:gdLst/>
                <a:ahLst/>
                <a:cxnLst/>
                <a:rect l="l" t="t" r="r" b="b"/>
                <a:pathLst>
                  <a:path w="23527" h="13445" fill="none" extrusionOk="0">
                    <a:moveTo>
                      <a:pt x="23526" y="0"/>
                    </a:moveTo>
                    <a:lnTo>
                      <a:pt x="19419" y="0"/>
                    </a:lnTo>
                    <a:lnTo>
                      <a:pt x="0" y="0"/>
                    </a:lnTo>
                    <a:lnTo>
                      <a:pt x="0" y="4375"/>
                    </a:lnTo>
                    <a:lnTo>
                      <a:pt x="0" y="4375"/>
                    </a:lnTo>
                    <a:lnTo>
                      <a:pt x="0" y="4855"/>
                    </a:lnTo>
                    <a:lnTo>
                      <a:pt x="53" y="5308"/>
                    </a:lnTo>
                    <a:lnTo>
                      <a:pt x="133" y="5762"/>
                    </a:lnTo>
                    <a:lnTo>
                      <a:pt x="240" y="6215"/>
                    </a:lnTo>
                    <a:lnTo>
                      <a:pt x="347" y="6642"/>
                    </a:lnTo>
                    <a:lnTo>
                      <a:pt x="507" y="7069"/>
                    </a:lnTo>
                    <a:lnTo>
                      <a:pt x="694" y="7496"/>
                    </a:lnTo>
                    <a:lnTo>
                      <a:pt x="907" y="7923"/>
                    </a:lnTo>
                    <a:lnTo>
                      <a:pt x="1147" y="8323"/>
                    </a:lnTo>
                    <a:lnTo>
                      <a:pt x="1414" y="8696"/>
                    </a:lnTo>
                    <a:lnTo>
                      <a:pt x="1681" y="9096"/>
                    </a:lnTo>
                    <a:lnTo>
                      <a:pt x="2001" y="9443"/>
                    </a:lnTo>
                    <a:lnTo>
                      <a:pt x="2321" y="9816"/>
                    </a:lnTo>
                    <a:lnTo>
                      <a:pt x="2667" y="10163"/>
                    </a:lnTo>
                    <a:lnTo>
                      <a:pt x="3041" y="10483"/>
                    </a:lnTo>
                    <a:lnTo>
                      <a:pt x="3441" y="10803"/>
                    </a:lnTo>
                    <a:lnTo>
                      <a:pt x="3841" y="11097"/>
                    </a:lnTo>
                    <a:lnTo>
                      <a:pt x="4268" y="11390"/>
                    </a:lnTo>
                    <a:lnTo>
                      <a:pt x="4721" y="11657"/>
                    </a:lnTo>
                    <a:lnTo>
                      <a:pt x="5175" y="11897"/>
                    </a:lnTo>
                    <a:lnTo>
                      <a:pt x="5655" y="12137"/>
                    </a:lnTo>
                    <a:lnTo>
                      <a:pt x="6162" y="12350"/>
                    </a:lnTo>
                    <a:lnTo>
                      <a:pt x="6669" y="12564"/>
                    </a:lnTo>
                    <a:lnTo>
                      <a:pt x="7175" y="12724"/>
                    </a:lnTo>
                    <a:lnTo>
                      <a:pt x="7709" y="12911"/>
                    </a:lnTo>
                    <a:lnTo>
                      <a:pt x="8269" y="13044"/>
                    </a:lnTo>
                    <a:lnTo>
                      <a:pt x="8829" y="13151"/>
                    </a:lnTo>
                    <a:lnTo>
                      <a:pt x="9389" y="13257"/>
                    </a:lnTo>
                    <a:lnTo>
                      <a:pt x="9976" y="13337"/>
                    </a:lnTo>
                    <a:lnTo>
                      <a:pt x="10563" y="13391"/>
                    </a:lnTo>
                    <a:lnTo>
                      <a:pt x="11150" y="13444"/>
                    </a:lnTo>
                    <a:lnTo>
                      <a:pt x="11763" y="13444"/>
                    </a:lnTo>
                    <a:lnTo>
                      <a:pt x="11763" y="13444"/>
                    </a:lnTo>
                    <a:lnTo>
                      <a:pt x="11763" y="13444"/>
                    </a:lnTo>
                    <a:lnTo>
                      <a:pt x="12377" y="13444"/>
                    </a:lnTo>
                    <a:lnTo>
                      <a:pt x="12964" y="13391"/>
                    </a:lnTo>
                    <a:lnTo>
                      <a:pt x="13550" y="13337"/>
                    </a:lnTo>
                    <a:lnTo>
                      <a:pt x="14137" y="13257"/>
                    </a:lnTo>
                    <a:lnTo>
                      <a:pt x="14697" y="13151"/>
                    </a:lnTo>
                    <a:lnTo>
                      <a:pt x="15258" y="13044"/>
                    </a:lnTo>
                    <a:lnTo>
                      <a:pt x="15818" y="12911"/>
                    </a:lnTo>
                    <a:lnTo>
                      <a:pt x="16351" y="12724"/>
                    </a:lnTo>
                    <a:lnTo>
                      <a:pt x="16858" y="12564"/>
                    </a:lnTo>
                    <a:lnTo>
                      <a:pt x="17365" y="12350"/>
                    </a:lnTo>
                    <a:lnTo>
                      <a:pt x="17872" y="12137"/>
                    </a:lnTo>
                    <a:lnTo>
                      <a:pt x="18352" y="11897"/>
                    </a:lnTo>
                    <a:lnTo>
                      <a:pt x="18805" y="11657"/>
                    </a:lnTo>
                    <a:lnTo>
                      <a:pt x="19259" y="11390"/>
                    </a:lnTo>
                    <a:lnTo>
                      <a:pt x="19685" y="11097"/>
                    </a:lnTo>
                    <a:lnTo>
                      <a:pt x="20086" y="10803"/>
                    </a:lnTo>
                    <a:lnTo>
                      <a:pt x="20486" y="10483"/>
                    </a:lnTo>
                    <a:lnTo>
                      <a:pt x="20859" y="10163"/>
                    </a:lnTo>
                    <a:lnTo>
                      <a:pt x="21206" y="9816"/>
                    </a:lnTo>
                    <a:lnTo>
                      <a:pt x="21526" y="9443"/>
                    </a:lnTo>
                    <a:lnTo>
                      <a:pt x="21846" y="9096"/>
                    </a:lnTo>
                    <a:lnTo>
                      <a:pt x="22113" y="8696"/>
                    </a:lnTo>
                    <a:lnTo>
                      <a:pt x="22379" y="8323"/>
                    </a:lnTo>
                    <a:lnTo>
                      <a:pt x="22620" y="7923"/>
                    </a:lnTo>
                    <a:lnTo>
                      <a:pt x="22833" y="7496"/>
                    </a:lnTo>
                    <a:lnTo>
                      <a:pt x="23020" y="7069"/>
                    </a:lnTo>
                    <a:lnTo>
                      <a:pt x="23180" y="6642"/>
                    </a:lnTo>
                    <a:lnTo>
                      <a:pt x="23286" y="6215"/>
                    </a:lnTo>
                    <a:lnTo>
                      <a:pt x="23393" y="5762"/>
                    </a:lnTo>
                    <a:lnTo>
                      <a:pt x="23473" y="5308"/>
                    </a:lnTo>
                    <a:lnTo>
                      <a:pt x="23526" y="4855"/>
                    </a:lnTo>
                    <a:lnTo>
                      <a:pt x="23526" y="4375"/>
                    </a:lnTo>
                    <a:lnTo>
                      <a:pt x="23526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98" name="Google Shape;798;p16"/>
              <p:cNvSpPr/>
              <p:nvPr/>
            </p:nvSpPr>
            <p:spPr>
              <a:xfrm>
                <a:off x="6785898" y="5312628"/>
                <a:ext cx="311384" cy="177743"/>
              </a:xfrm>
              <a:custGeom>
                <a:avLst/>
                <a:gdLst/>
                <a:ahLst/>
                <a:cxnLst/>
                <a:rect l="l" t="t" r="r" b="b"/>
                <a:pathLst>
                  <a:path w="23554" h="13445" extrusionOk="0">
                    <a:moveTo>
                      <a:pt x="0" y="0"/>
                    </a:moveTo>
                    <a:lnTo>
                      <a:pt x="0" y="4375"/>
                    </a:lnTo>
                    <a:lnTo>
                      <a:pt x="27" y="4855"/>
                    </a:lnTo>
                    <a:lnTo>
                      <a:pt x="80" y="5308"/>
                    </a:lnTo>
                    <a:lnTo>
                      <a:pt x="160" y="5762"/>
                    </a:lnTo>
                    <a:lnTo>
                      <a:pt x="240" y="6215"/>
                    </a:lnTo>
                    <a:lnTo>
                      <a:pt x="374" y="6642"/>
                    </a:lnTo>
                    <a:lnTo>
                      <a:pt x="534" y="7069"/>
                    </a:lnTo>
                    <a:lnTo>
                      <a:pt x="721" y="7496"/>
                    </a:lnTo>
                    <a:lnTo>
                      <a:pt x="934" y="7923"/>
                    </a:lnTo>
                    <a:lnTo>
                      <a:pt x="1174" y="8323"/>
                    </a:lnTo>
                    <a:lnTo>
                      <a:pt x="1441" y="8696"/>
                    </a:lnTo>
                    <a:lnTo>
                      <a:pt x="1708" y="9096"/>
                    </a:lnTo>
                    <a:lnTo>
                      <a:pt x="2028" y="9443"/>
                    </a:lnTo>
                    <a:lnTo>
                      <a:pt x="2348" y="9816"/>
                    </a:lnTo>
                    <a:lnTo>
                      <a:pt x="2694" y="10163"/>
                    </a:lnTo>
                    <a:lnTo>
                      <a:pt x="3068" y="10483"/>
                    </a:lnTo>
                    <a:lnTo>
                      <a:pt x="3468" y="10803"/>
                    </a:lnTo>
                    <a:lnTo>
                      <a:pt x="3868" y="11097"/>
                    </a:lnTo>
                    <a:lnTo>
                      <a:pt x="4295" y="11390"/>
                    </a:lnTo>
                    <a:lnTo>
                      <a:pt x="4748" y="11657"/>
                    </a:lnTo>
                    <a:lnTo>
                      <a:pt x="5202" y="11897"/>
                    </a:lnTo>
                    <a:lnTo>
                      <a:pt x="5682" y="12137"/>
                    </a:lnTo>
                    <a:lnTo>
                      <a:pt x="6162" y="12350"/>
                    </a:lnTo>
                    <a:lnTo>
                      <a:pt x="6669" y="12564"/>
                    </a:lnTo>
                    <a:lnTo>
                      <a:pt x="7202" y="12724"/>
                    </a:lnTo>
                    <a:lnTo>
                      <a:pt x="7736" y="12911"/>
                    </a:lnTo>
                    <a:lnTo>
                      <a:pt x="8296" y="13044"/>
                    </a:lnTo>
                    <a:lnTo>
                      <a:pt x="8856" y="13151"/>
                    </a:lnTo>
                    <a:lnTo>
                      <a:pt x="9416" y="13257"/>
                    </a:lnTo>
                    <a:lnTo>
                      <a:pt x="10003" y="13337"/>
                    </a:lnTo>
                    <a:lnTo>
                      <a:pt x="10590" y="13391"/>
                    </a:lnTo>
                    <a:lnTo>
                      <a:pt x="11177" y="13444"/>
                    </a:lnTo>
                    <a:lnTo>
                      <a:pt x="12404" y="13444"/>
                    </a:lnTo>
                    <a:lnTo>
                      <a:pt x="12991" y="13391"/>
                    </a:lnTo>
                    <a:lnTo>
                      <a:pt x="13577" y="13337"/>
                    </a:lnTo>
                    <a:lnTo>
                      <a:pt x="14164" y="13257"/>
                    </a:lnTo>
                    <a:lnTo>
                      <a:pt x="14724" y="13151"/>
                    </a:lnTo>
                    <a:lnTo>
                      <a:pt x="15285" y="13044"/>
                    </a:lnTo>
                    <a:lnTo>
                      <a:pt x="15845" y="12911"/>
                    </a:lnTo>
                    <a:lnTo>
                      <a:pt x="16378" y="12724"/>
                    </a:lnTo>
                    <a:lnTo>
                      <a:pt x="16885" y="12564"/>
                    </a:lnTo>
                    <a:lnTo>
                      <a:pt x="17392" y="12350"/>
                    </a:lnTo>
                    <a:lnTo>
                      <a:pt x="17899" y="12137"/>
                    </a:lnTo>
                    <a:lnTo>
                      <a:pt x="18379" y="11897"/>
                    </a:lnTo>
                    <a:lnTo>
                      <a:pt x="18832" y="11657"/>
                    </a:lnTo>
                    <a:lnTo>
                      <a:pt x="19286" y="11390"/>
                    </a:lnTo>
                    <a:lnTo>
                      <a:pt x="19712" y="11097"/>
                    </a:lnTo>
                    <a:lnTo>
                      <a:pt x="20113" y="10803"/>
                    </a:lnTo>
                    <a:lnTo>
                      <a:pt x="20513" y="10483"/>
                    </a:lnTo>
                    <a:lnTo>
                      <a:pt x="20859" y="10163"/>
                    </a:lnTo>
                    <a:lnTo>
                      <a:pt x="21233" y="9816"/>
                    </a:lnTo>
                    <a:lnTo>
                      <a:pt x="21553" y="9443"/>
                    </a:lnTo>
                    <a:lnTo>
                      <a:pt x="21846" y="9096"/>
                    </a:lnTo>
                    <a:lnTo>
                      <a:pt x="22140" y="8696"/>
                    </a:lnTo>
                    <a:lnTo>
                      <a:pt x="22406" y="8323"/>
                    </a:lnTo>
                    <a:lnTo>
                      <a:pt x="22647" y="7923"/>
                    </a:lnTo>
                    <a:lnTo>
                      <a:pt x="22833" y="7496"/>
                    </a:lnTo>
                    <a:lnTo>
                      <a:pt x="23020" y="7069"/>
                    </a:lnTo>
                    <a:lnTo>
                      <a:pt x="23180" y="6642"/>
                    </a:lnTo>
                    <a:lnTo>
                      <a:pt x="23313" y="6215"/>
                    </a:lnTo>
                    <a:lnTo>
                      <a:pt x="23420" y="5762"/>
                    </a:lnTo>
                    <a:lnTo>
                      <a:pt x="23500" y="5308"/>
                    </a:lnTo>
                    <a:lnTo>
                      <a:pt x="23553" y="4855"/>
                    </a:lnTo>
                    <a:lnTo>
                      <a:pt x="23553" y="4375"/>
                    </a:lnTo>
                    <a:lnTo>
                      <a:pt x="23553" y="0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99" name="Google Shape;799;p16"/>
              <p:cNvSpPr/>
              <p:nvPr/>
            </p:nvSpPr>
            <p:spPr>
              <a:xfrm>
                <a:off x="6785898" y="5312628"/>
                <a:ext cx="311384" cy="177743"/>
              </a:xfrm>
              <a:custGeom>
                <a:avLst/>
                <a:gdLst/>
                <a:ahLst/>
                <a:cxnLst/>
                <a:rect l="l" t="t" r="r" b="b"/>
                <a:pathLst>
                  <a:path w="23554" h="13445" fill="none" extrusionOk="0">
                    <a:moveTo>
                      <a:pt x="23553" y="0"/>
                    </a:moveTo>
                    <a:lnTo>
                      <a:pt x="0" y="0"/>
                    </a:lnTo>
                    <a:lnTo>
                      <a:pt x="0" y="4375"/>
                    </a:lnTo>
                    <a:lnTo>
                      <a:pt x="0" y="4375"/>
                    </a:lnTo>
                    <a:lnTo>
                      <a:pt x="0" y="4375"/>
                    </a:lnTo>
                    <a:lnTo>
                      <a:pt x="27" y="4855"/>
                    </a:lnTo>
                    <a:lnTo>
                      <a:pt x="80" y="5308"/>
                    </a:lnTo>
                    <a:lnTo>
                      <a:pt x="160" y="5762"/>
                    </a:lnTo>
                    <a:lnTo>
                      <a:pt x="240" y="6215"/>
                    </a:lnTo>
                    <a:lnTo>
                      <a:pt x="374" y="6642"/>
                    </a:lnTo>
                    <a:lnTo>
                      <a:pt x="534" y="7069"/>
                    </a:lnTo>
                    <a:lnTo>
                      <a:pt x="721" y="7496"/>
                    </a:lnTo>
                    <a:lnTo>
                      <a:pt x="934" y="7923"/>
                    </a:lnTo>
                    <a:lnTo>
                      <a:pt x="1174" y="8323"/>
                    </a:lnTo>
                    <a:lnTo>
                      <a:pt x="1441" y="8696"/>
                    </a:lnTo>
                    <a:lnTo>
                      <a:pt x="1708" y="9096"/>
                    </a:lnTo>
                    <a:lnTo>
                      <a:pt x="2028" y="9443"/>
                    </a:lnTo>
                    <a:lnTo>
                      <a:pt x="2348" y="9816"/>
                    </a:lnTo>
                    <a:lnTo>
                      <a:pt x="2694" y="10163"/>
                    </a:lnTo>
                    <a:lnTo>
                      <a:pt x="3068" y="10483"/>
                    </a:lnTo>
                    <a:lnTo>
                      <a:pt x="3468" y="10803"/>
                    </a:lnTo>
                    <a:lnTo>
                      <a:pt x="3868" y="11097"/>
                    </a:lnTo>
                    <a:lnTo>
                      <a:pt x="4295" y="11390"/>
                    </a:lnTo>
                    <a:lnTo>
                      <a:pt x="4748" y="11657"/>
                    </a:lnTo>
                    <a:lnTo>
                      <a:pt x="5202" y="11897"/>
                    </a:lnTo>
                    <a:lnTo>
                      <a:pt x="5682" y="12137"/>
                    </a:lnTo>
                    <a:lnTo>
                      <a:pt x="6162" y="12350"/>
                    </a:lnTo>
                    <a:lnTo>
                      <a:pt x="6669" y="12564"/>
                    </a:lnTo>
                    <a:lnTo>
                      <a:pt x="7202" y="12724"/>
                    </a:lnTo>
                    <a:lnTo>
                      <a:pt x="7736" y="12911"/>
                    </a:lnTo>
                    <a:lnTo>
                      <a:pt x="8296" y="13044"/>
                    </a:lnTo>
                    <a:lnTo>
                      <a:pt x="8856" y="13151"/>
                    </a:lnTo>
                    <a:lnTo>
                      <a:pt x="9416" y="13257"/>
                    </a:lnTo>
                    <a:lnTo>
                      <a:pt x="10003" y="13337"/>
                    </a:lnTo>
                    <a:lnTo>
                      <a:pt x="10590" y="13391"/>
                    </a:lnTo>
                    <a:lnTo>
                      <a:pt x="11177" y="13444"/>
                    </a:lnTo>
                    <a:lnTo>
                      <a:pt x="11790" y="13444"/>
                    </a:lnTo>
                    <a:lnTo>
                      <a:pt x="11790" y="13444"/>
                    </a:lnTo>
                    <a:lnTo>
                      <a:pt x="12404" y="13444"/>
                    </a:lnTo>
                    <a:lnTo>
                      <a:pt x="12991" y="13391"/>
                    </a:lnTo>
                    <a:lnTo>
                      <a:pt x="13577" y="13337"/>
                    </a:lnTo>
                    <a:lnTo>
                      <a:pt x="14164" y="13257"/>
                    </a:lnTo>
                    <a:lnTo>
                      <a:pt x="14724" y="13151"/>
                    </a:lnTo>
                    <a:lnTo>
                      <a:pt x="15285" y="13044"/>
                    </a:lnTo>
                    <a:lnTo>
                      <a:pt x="15845" y="12911"/>
                    </a:lnTo>
                    <a:lnTo>
                      <a:pt x="16378" y="12724"/>
                    </a:lnTo>
                    <a:lnTo>
                      <a:pt x="16885" y="12564"/>
                    </a:lnTo>
                    <a:lnTo>
                      <a:pt x="17392" y="12350"/>
                    </a:lnTo>
                    <a:lnTo>
                      <a:pt x="17899" y="12137"/>
                    </a:lnTo>
                    <a:lnTo>
                      <a:pt x="18379" y="11897"/>
                    </a:lnTo>
                    <a:lnTo>
                      <a:pt x="18832" y="11657"/>
                    </a:lnTo>
                    <a:lnTo>
                      <a:pt x="19286" y="11390"/>
                    </a:lnTo>
                    <a:lnTo>
                      <a:pt x="19712" y="11097"/>
                    </a:lnTo>
                    <a:lnTo>
                      <a:pt x="20113" y="10803"/>
                    </a:lnTo>
                    <a:lnTo>
                      <a:pt x="20513" y="10483"/>
                    </a:lnTo>
                    <a:lnTo>
                      <a:pt x="20859" y="10163"/>
                    </a:lnTo>
                    <a:lnTo>
                      <a:pt x="21233" y="9816"/>
                    </a:lnTo>
                    <a:lnTo>
                      <a:pt x="21553" y="9443"/>
                    </a:lnTo>
                    <a:lnTo>
                      <a:pt x="21846" y="9096"/>
                    </a:lnTo>
                    <a:lnTo>
                      <a:pt x="22140" y="8696"/>
                    </a:lnTo>
                    <a:lnTo>
                      <a:pt x="22406" y="8323"/>
                    </a:lnTo>
                    <a:lnTo>
                      <a:pt x="22647" y="7923"/>
                    </a:lnTo>
                    <a:lnTo>
                      <a:pt x="22833" y="7496"/>
                    </a:lnTo>
                    <a:lnTo>
                      <a:pt x="23020" y="7069"/>
                    </a:lnTo>
                    <a:lnTo>
                      <a:pt x="23180" y="6642"/>
                    </a:lnTo>
                    <a:lnTo>
                      <a:pt x="23313" y="6215"/>
                    </a:lnTo>
                    <a:lnTo>
                      <a:pt x="23420" y="5762"/>
                    </a:lnTo>
                    <a:lnTo>
                      <a:pt x="23500" y="5308"/>
                    </a:lnTo>
                    <a:lnTo>
                      <a:pt x="23553" y="4855"/>
                    </a:lnTo>
                    <a:lnTo>
                      <a:pt x="23553" y="4375"/>
                    </a:lnTo>
                    <a:lnTo>
                      <a:pt x="23553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00" name="Google Shape;800;p16"/>
              <p:cNvSpPr/>
              <p:nvPr/>
            </p:nvSpPr>
            <p:spPr>
              <a:xfrm>
                <a:off x="7097293" y="5312628"/>
                <a:ext cx="311384" cy="177743"/>
              </a:xfrm>
              <a:custGeom>
                <a:avLst/>
                <a:gdLst/>
                <a:ahLst/>
                <a:cxnLst/>
                <a:rect l="l" t="t" r="r" b="b"/>
                <a:pathLst>
                  <a:path w="23554" h="13445" extrusionOk="0">
                    <a:moveTo>
                      <a:pt x="0" y="0"/>
                    </a:moveTo>
                    <a:lnTo>
                      <a:pt x="0" y="4375"/>
                    </a:lnTo>
                    <a:lnTo>
                      <a:pt x="27" y="4855"/>
                    </a:lnTo>
                    <a:lnTo>
                      <a:pt x="80" y="5308"/>
                    </a:lnTo>
                    <a:lnTo>
                      <a:pt x="134" y="5762"/>
                    </a:lnTo>
                    <a:lnTo>
                      <a:pt x="240" y="6215"/>
                    </a:lnTo>
                    <a:lnTo>
                      <a:pt x="374" y="6642"/>
                    </a:lnTo>
                    <a:lnTo>
                      <a:pt x="534" y="7069"/>
                    </a:lnTo>
                    <a:lnTo>
                      <a:pt x="721" y="7496"/>
                    </a:lnTo>
                    <a:lnTo>
                      <a:pt x="934" y="7923"/>
                    </a:lnTo>
                    <a:lnTo>
                      <a:pt x="1174" y="8323"/>
                    </a:lnTo>
                    <a:lnTo>
                      <a:pt x="1441" y="8696"/>
                    </a:lnTo>
                    <a:lnTo>
                      <a:pt x="1708" y="9096"/>
                    </a:lnTo>
                    <a:lnTo>
                      <a:pt x="2028" y="9443"/>
                    </a:lnTo>
                    <a:lnTo>
                      <a:pt x="2348" y="9816"/>
                    </a:lnTo>
                    <a:lnTo>
                      <a:pt x="2694" y="10163"/>
                    </a:lnTo>
                    <a:lnTo>
                      <a:pt x="3068" y="10483"/>
                    </a:lnTo>
                    <a:lnTo>
                      <a:pt x="3468" y="10803"/>
                    </a:lnTo>
                    <a:lnTo>
                      <a:pt x="3868" y="11097"/>
                    </a:lnTo>
                    <a:lnTo>
                      <a:pt x="4295" y="11390"/>
                    </a:lnTo>
                    <a:lnTo>
                      <a:pt x="4748" y="11657"/>
                    </a:lnTo>
                    <a:lnTo>
                      <a:pt x="5202" y="11897"/>
                    </a:lnTo>
                    <a:lnTo>
                      <a:pt x="5682" y="12137"/>
                    </a:lnTo>
                    <a:lnTo>
                      <a:pt x="6162" y="12350"/>
                    </a:lnTo>
                    <a:lnTo>
                      <a:pt x="6669" y="12564"/>
                    </a:lnTo>
                    <a:lnTo>
                      <a:pt x="7202" y="12724"/>
                    </a:lnTo>
                    <a:lnTo>
                      <a:pt x="7736" y="12911"/>
                    </a:lnTo>
                    <a:lnTo>
                      <a:pt x="8269" y="13044"/>
                    </a:lnTo>
                    <a:lnTo>
                      <a:pt x="8829" y="13151"/>
                    </a:lnTo>
                    <a:lnTo>
                      <a:pt x="9416" y="13257"/>
                    </a:lnTo>
                    <a:lnTo>
                      <a:pt x="9976" y="13337"/>
                    </a:lnTo>
                    <a:lnTo>
                      <a:pt x="10590" y="13391"/>
                    </a:lnTo>
                    <a:lnTo>
                      <a:pt x="11177" y="13444"/>
                    </a:lnTo>
                    <a:lnTo>
                      <a:pt x="12377" y="13444"/>
                    </a:lnTo>
                    <a:lnTo>
                      <a:pt x="12991" y="13391"/>
                    </a:lnTo>
                    <a:lnTo>
                      <a:pt x="13577" y="13337"/>
                    </a:lnTo>
                    <a:lnTo>
                      <a:pt x="14164" y="13257"/>
                    </a:lnTo>
                    <a:lnTo>
                      <a:pt x="14724" y="13151"/>
                    </a:lnTo>
                    <a:lnTo>
                      <a:pt x="15285" y="13044"/>
                    </a:lnTo>
                    <a:lnTo>
                      <a:pt x="15818" y="12911"/>
                    </a:lnTo>
                    <a:lnTo>
                      <a:pt x="16378" y="12724"/>
                    </a:lnTo>
                    <a:lnTo>
                      <a:pt x="16885" y="12564"/>
                    </a:lnTo>
                    <a:lnTo>
                      <a:pt x="17392" y="12350"/>
                    </a:lnTo>
                    <a:lnTo>
                      <a:pt x="17899" y="12137"/>
                    </a:lnTo>
                    <a:lnTo>
                      <a:pt x="18379" y="11897"/>
                    </a:lnTo>
                    <a:lnTo>
                      <a:pt x="18832" y="11657"/>
                    </a:lnTo>
                    <a:lnTo>
                      <a:pt x="19286" y="11390"/>
                    </a:lnTo>
                    <a:lnTo>
                      <a:pt x="19712" y="11097"/>
                    </a:lnTo>
                    <a:lnTo>
                      <a:pt x="20113" y="10803"/>
                    </a:lnTo>
                    <a:lnTo>
                      <a:pt x="20486" y="10483"/>
                    </a:lnTo>
                    <a:lnTo>
                      <a:pt x="20859" y="10163"/>
                    </a:lnTo>
                    <a:lnTo>
                      <a:pt x="21206" y="9816"/>
                    </a:lnTo>
                    <a:lnTo>
                      <a:pt x="21553" y="9443"/>
                    </a:lnTo>
                    <a:lnTo>
                      <a:pt x="21846" y="9096"/>
                    </a:lnTo>
                    <a:lnTo>
                      <a:pt x="22140" y="8696"/>
                    </a:lnTo>
                    <a:lnTo>
                      <a:pt x="22406" y="8323"/>
                    </a:lnTo>
                    <a:lnTo>
                      <a:pt x="22620" y="7923"/>
                    </a:lnTo>
                    <a:lnTo>
                      <a:pt x="22833" y="7496"/>
                    </a:lnTo>
                    <a:lnTo>
                      <a:pt x="23020" y="7069"/>
                    </a:lnTo>
                    <a:lnTo>
                      <a:pt x="23180" y="6642"/>
                    </a:lnTo>
                    <a:lnTo>
                      <a:pt x="23313" y="6215"/>
                    </a:lnTo>
                    <a:lnTo>
                      <a:pt x="23420" y="5762"/>
                    </a:lnTo>
                    <a:lnTo>
                      <a:pt x="23500" y="5308"/>
                    </a:lnTo>
                    <a:lnTo>
                      <a:pt x="23553" y="4855"/>
                    </a:lnTo>
                    <a:lnTo>
                      <a:pt x="23553" y="4375"/>
                    </a:lnTo>
                    <a:lnTo>
                      <a:pt x="23553" y="0"/>
                    </a:lnTo>
                    <a:close/>
                  </a:path>
                </a:pathLst>
              </a:custGeom>
              <a:solidFill>
                <a:srgbClr val="C3050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01" name="Google Shape;801;p16"/>
              <p:cNvSpPr/>
              <p:nvPr/>
            </p:nvSpPr>
            <p:spPr>
              <a:xfrm>
                <a:off x="7097293" y="5312628"/>
                <a:ext cx="311384" cy="177743"/>
              </a:xfrm>
              <a:custGeom>
                <a:avLst/>
                <a:gdLst/>
                <a:ahLst/>
                <a:cxnLst/>
                <a:rect l="l" t="t" r="r" b="b"/>
                <a:pathLst>
                  <a:path w="23554" h="13445" fill="none" extrusionOk="0">
                    <a:moveTo>
                      <a:pt x="23553" y="0"/>
                    </a:moveTo>
                    <a:lnTo>
                      <a:pt x="0" y="0"/>
                    </a:lnTo>
                    <a:lnTo>
                      <a:pt x="0" y="4375"/>
                    </a:lnTo>
                    <a:lnTo>
                      <a:pt x="0" y="4375"/>
                    </a:lnTo>
                    <a:lnTo>
                      <a:pt x="0" y="4375"/>
                    </a:lnTo>
                    <a:lnTo>
                      <a:pt x="27" y="4855"/>
                    </a:lnTo>
                    <a:lnTo>
                      <a:pt x="80" y="5308"/>
                    </a:lnTo>
                    <a:lnTo>
                      <a:pt x="134" y="5762"/>
                    </a:lnTo>
                    <a:lnTo>
                      <a:pt x="240" y="6215"/>
                    </a:lnTo>
                    <a:lnTo>
                      <a:pt x="374" y="6642"/>
                    </a:lnTo>
                    <a:lnTo>
                      <a:pt x="534" y="7069"/>
                    </a:lnTo>
                    <a:lnTo>
                      <a:pt x="721" y="7496"/>
                    </a:lnTo>
                    <a:lnTo>
                      <a:pt x="934" y="7923"/>
                    </a:lnTo>
                    <a:lnTo>
                      <a:pt x="1174" y="8323"/>
                    </a:lnTo>
                    <a:lnTo>
                      <a:pt x="1441" y="8696"/>
                    </a:lnTo>
                    <a:lnTo>
                      <a:pt x="1708" y="9096"/>
                    </a:lnTo>
                    <a:lnTo>
                      <a:pt x="2028" y="9443"/>
                    </a:lnTo>
                    <a:lnTo>
                      <a:pt x="2348" y="9816"/>
                    </a:lnTo>
                    <a:lnTo>
                      <a:pt x="2694" y="10163"/>
                    </a:lnTo>
                    <a:lnTo>
                      <a:pt x="3068" y="10483"/>
                    </a:lnTo>
                    <a:lnTo>
                      <a:pt x="3468" y="10803"/>
                    </a:lnTo>
                    <a:lnTo>
                      <a:pt x="3868" y="11097"/>
                    </a:lnTo>
                    <a:lnTo>
                      <a:pt x="4295" y="11390"/>
                    </a:lnTo>
                    <a:lnTo>
                      <a:pt x="4748" y="11657"/>
                    </a:lnTo>
                    <a:lnTo>
                      <a:pt x="5202" y="11897"/>
                    </a:lnTo>
                    <a:lnTo>
                      <a:pt x="5682" y="12137"/>
                    </a:lnTo>
                    <a:lnTo>
                      <a:pt x="6162" y="12350"/>
                    </a:lnTo>
                    <a:lnTo>
                      <a:pt x="6669" y="12564"/>
                    </a:lnTo>
                    <a:lnTo>
                      <a:pt x="7202" y="12724"/>
                    </a:lnTo>
                    <a:lnTo>
                      <a:pt x="7736" y="12911"/>
                    </a:lnTo>
                    <a:lnTo>
                      <a:pt x="8269" y="13044"/>
                    </a:lnTo>
                    <a:lnTo>
                      <a:pt x="8829" y="13151"/>
                    </a:lnTo>
                    <a:lnTo>
                      <a:pt x="9416" y="13257"/>
                    </a:lnTo>
                    <a:lnTo>
                      <a:pt x="9976" y="13337"/>
                    </a:lnTo>
                    <a:lnTo>
                      <a:pt x="10590" y="13391"/>
                    </a:lnTo>
                    <a:lnTo>
                      <a:pt x="11177" y="13444"/>
                    </a:lnTo>
                    <a:lnTo>
                      <a:pt x="11790" y="13444"/>
                    </a:lnTo>
                    <a:lnTo>
                      <a:pt x="11790" y="13444"/>
                    </a:lnTo>
                    <a:lnTo>
                      <a:pt x="11790" y="13444"/>
                    </a:lnTo>
                    <a:lnTo>
                      <a:pt x="12377" y="13444"/>
                    </a:lnTo>
                    <a:lnTo>
                      <a:pt x="12991" y="13391"/>
                    </a:lnTo>
                    <a:lnTo>
                      <a:pt x="13577" y="13337"/>
                    </a:lnTo>
                    <a:lnTo>
                      <a:pt x="14164" y="13257"/>
                    </a:lnTo>
                    <a:lnTo>
                      <a:pt x="14724" y="13151"/>
                    </a:lnTo>
                    <a:lnTo>
                      <a:pt x="15285" y="13044"/>
                    </a:lnTo>
                    <a:lnTo>
                      <a:pt x="15818" y="12911"/>
                    </a:lnTo>
                    <a:lnTo>
                      <a:pt x="16378" y="12724"/>
                    </a:lnTo>
                    <a:lnTo>
                      <a:pt x="16885" y="12564"/>
                    </a:lnTo>
                    <a:lnTo>
                      <a:pt x="17392" y="12350"/>
                    </a:lnTo>
                    <a:lnTo>
                      <a:pt x="17899" y="12137"/>
                    </a:lnTo>
                    <a:lnTo>
                      <a:pt x="18379" y="11897"/>
                    </a:lnTo>
                    <a:lnTo>
                      <a:pt x="18832" y="11657"/>
                    </a:lnTo>
                    <a:lnTo>
                      <a:pt x="19286" y="11390"/>
                    </a:lnTo>
                    <a:lnTo>
                      <a:pt x="19712" y="11097"/>
                    </a:lnTo>
                    <a:lnTo>
                      <a:pt x="20113" y="10803"/>
                    </a:lnTo>
                    <a:lnTo>
                      <a:pt x="20486" y="10483"/>
                    </a:lnTo>
                    <a:lnTo>
                      <a:pt x="20859" y="10163"/>
                    </a:lnTo>
                    <a:lnTo>
                      <a:pt x="21206" y="9816"/>
                    </a:lnTo>
                    <a:lnTo>
                      <a:pt x="21553" y="9443"/>
                    </a:lnTo>
                    <a:lnTo>
                      <a:pt x="21846" y="9096"/>
                    </a:lnTo>
                    <a:lnTo>
                      <a:pt x="22140" y="8696"/>
                    </a:lnTo>
                    <a:lnTo>
                      <a:pt x="22406" y="8323"/>
                    </a:lnTo>
                    <a:lnTo>
                      <a:pt x="22620" y="7923"/>
                    </a:lnTo>
                    <a:lnTo>
                      <a:pt x="22833" y="7496"/>
                    </a:lnTo>
                    <a:lnTo>
                      <a:pt x="23020" y="7069"/>
                    </a:lnTo>
                    <a:lnTo>
                      <a:pt x="23180" y="6642"/>
                    </a:lnTo>
                    <a:lnTo>
                      <a:pt x="23313" y="6215"/>
                    </a:lnTo>
                    <a:lnTo>
                      <a:pt x="23420" y="5762"/>
                    </a:lnTo>
                    <a:lnTo>
                      <a:pt x="23500" y="5308"/>
                    </a:lnTo>
                    <a:lnTo>
                      <a:pt x="23553" y="4855"/>
                    </a:lnTo>
                    <a:lnTo>
                      <a:pt x="23553" y="4375"/>
                    </a:lnTo>
                    <a:lnTo>
                      <a:pt x="23553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02" name="Google Shape;802;p16"/>
              <p:cNvSpPr/>
              <p:nvPr/>
            </p:nvSpPr>
            <p:spPr>
              <a:xfrm>
                <a:off x="7408688" y="5312628"/>
                <a:ext cx="311384" cy="177743"/>
              </a:xfrm>
              <a:custGeom>
                <a:avLst/>
                <a:gdLst/>
                <a:ahLst/>
                <a:cxnLst/>
                <a:rect l="l" t="t" r="r" b="b"/>
                <a:pathLst>
                  <a:path w="23554" h="13445" extrusionOk="0">
                    <a:moveTo>
                      <a:pt x="0" y="0"/>
                    </a:moveTo>
                    <a:lnTo>
                      <a:pt x="0" y="4375"/>
                    </a:lnTo>
                    <a:lnTo>
                      <a:pt x="27" y="4855"/>
                    </a:lnTo>
                    <a:lnTo>
                      <a:pt x="54" y="5308"/>
                    </a:lnTo>
                    <a:lnTo>
                      <a:pt x="134" y="5762"/>
                    </a:lnTo>
                    <a:lnTo>
                      <a:pt x="240" y="6215"/>
                    </a:lnTo>
                    <a:lnTo>
                      <a:pt x="374" y="6642"/>
                    </a:lnTo>
                    <a:lnTo>
                      <a:pt x="534" y="7069"/>
                    </a:lnTo>
                    <a:lnTo>
                      <a:pt x="721" y="7496"/>
                    </a:lnTo>
                    <a:lnTo>
                      <a:pt x="934" y="7923"/>
                    </a:lnTo>
                    <a:lnTo>
                      <a:pt x="1174" y="8323"/>
                    </a:lnTo>
                    <a:lnTo>
                      <a:pt x="1414" y="8696"/>
                    </a:lnTo>
                    <a:lnTo>
                      <a:pt x="1708" y="9096"/>
                    </a:lnTo>
                    <a:lnTo>
                      <a:pt x="2028" y="9443"/>
                    </a:lnTo>
                    <a:lnTo>
                      <a:pt x="2348" y="9816"/>
                    </a:lnTo>
                    <a:lnTo>
                      <a:pt x="2694" y="10163"/>
                    </a:lnTo>
                    <a:lnTo>
                      <a:pt x="3068" y="10483"/>
                    </a:lnTo>
                    <a:lnTo>
                      <a:pt x="3441" y="10803"/>
                    </a:lnTo>
                    <a:lnTo>
                      <a:pt x="3868" y="11097"/>
                    </a:lnTo>
                    <a:lnTo>
                      <a:pt x="4295" y="11390"/>
                    </a:lnTo>
                    <a:lnTo>
                      <a:pt x="4722" y="11657"/>
                    </a:lnTo>
                    <a:lnTo>
                      <a:pt x="5202" y="11897"/>
                    </a:lnTo>
                    <a:lnTo>
                      <a:pt x="5682" y="12137"/>
                    </a:lnTo>
                    <a:lnTo>
                      <a:pt x="6162" y="12350"/>
                    </a:lnTo>
                    <a:lnTo>
                      <a:pt x="6669" y="12564"/>
                    </a:lnTo>
                    <a:lnTo>
                      <a:pt x="7202" y="12724"/>
                    </a:lnTo>
                    <a:lnTo>
                      <a:pt x="7736" y="12911"/>
                    </a:lnTo>
                    <a:lnTo>
                      <a:pt x="8269" y="13044"/>
                    </a:lnTo>
                    <a:lnTo>
                      <a:pt x="8829" y="13151"/>
                    </a:lnTo>
                    <a:lnTo>
                      <a:pt x="9416" y="13257"/>
                    </a:lnTo>
                    <a:lnTo>
                      <a:pt x="9976" y="13337"/>
                    </a:lnTo>
                    <a:lnTo>
                      <a:pt x="10563" y="13391"/>
                    </a:lnTo>
                    <a:lnTo>
                      <a:pt x="11177" y="13444"/>
                    </a:lnTo>
                    <a:lnTo>
                      <a:pt x="12377" y="13444"/>
                    </a:lnTo>
                    <a:lnTo>
                      <a:pt x="12991" y="13391"/>
                    </a:lnTo>
                    <a:lnTo>
                      <a:pt x="13577" y="13337"/>
                    </a:lnTo>
                    <a:lnTo>
                      <a:pt x="14164" y="13257"/>
                    </a:lnTo>
                    <a:lnTo>
                      <a:pt x="14724" y="13151"/>
                    </a:lnTo>
                    <a:lnTo>
                      <a:pt x="15285" y="13044"/>
                    </a:lnTo>
                    <a:lnTo>
                      <a:pt x="15818" y="12911"/>
                    </a:lnTo>
                    <a:lnTo>
                      <a:pt x="16351" y="12724"/>
                    </a:lnTo>
                    <a:lnTo>
                      <a:pt x="16885" y="12564"/>
                    </a:lnTo>
                    <a:lnTo>
                      <a:pt x="17392" y="12350"/>
                    </a:lnTo>
                    <a:lnTo>
                      <a:pt x="17872" y="12137"/>
                    </a:lnTo>
                    <a:lnTo>
                      <a:pt x="18352" y="11897"/>
                    </a:lnTo>
                    <a:lnTo>
                      <a:pt x="18832" y="11657"/>
                    </a:lnTo>
                    <a:lnTo>
                      <a:pt x="19259" y="11390"/>
                    </a:lnTo>
                    <a:lnTo>
                      <a:pt x="19686" y="11097"/>
                    </a:lnTo>
                    <a:lnTo>
                      <a:pt x="20113" y="10803"/>
                    </a:lnTo>
                    <a:lnTo>
                      <a:pt x="20486" y="10483"/>
                    </a:lnTo>
                    <a:lnTo>
                      <a:pt x="20859" y="10163"/>
                    </a:lnTo>
                    <a:lnTo>
                      <a:pt x="21206" y="9816"/>
                    </a:lnTo>
                    <a:lnTo>
                      <a:pt x="21553" y="9443"/>
                    </a:lnTo>
                    <a:lnTo>
                      <a:pt x="21846" y="9096"/>
                    </a:lnTo>
                    <a:lnTo>
                      <a:pt x="22140" y="8696"/>
                    </a:lnTo>
                    <a:lnTo>
                      <a:pt x="22380" y="8323"/>
                    </a:lnTo>
                    <a:lnTo>
                      <a:pt x="22620" y="7923"/>
                    </a:lnTo>
                    <a:lnTo>
                      <a:pt x="22833" y="7496"/>
                    </a:lnTo>
                    <a:lnTo>
                      <a:pt x="23020" y="7069"/>
                    </a:lnTo>
                    <a:lnTo>
                      <a:pt x="23180" y="6642"/>
                    </a:lnTo>
                    <a:lnTo>
                      <a:pt x="23313" y="6215"/>
                    </a:lnTo>
                    <a:lnTo>
                      <a:pt x="23420" y="5762"/>
                    </a:lnTo>
                    <a:lnTo>
                      <a:pt x="23500" y="5308"/>
                    </a:lnTo>
                    <a:lnTo>
                      <a:pt x="23527" y="4855"/>
                    </a:lnTo>
                    <a:lnTo>
                      <a:pt x="23553" y="4375"/>
                    </a:lnTo>
                    <a:lnTo>
                      <a:pt x="23553" y="0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03" name="Google Shape;803;p16"/>
              <p:cNvSpPr/>
              <p:nvPr/>
            </p:nvSpPr>
            <p:spPr>
              <a:xfrm>
                <a:off x="7408688" y="5312628"/>
                <a:ext cx="311384" cy="177743"/>
              </a:xfrm>
              <a:custGeom>
                <a:avLst/>
                <a:gdLst/>
                <a:ahLst/>
                <a:cxnLst/>
                <a:rect l="l" t="t" r="r" b="b"/>
                <a:pathLst>
                  <a:path w="23554" h="13445" fill="none" extrusionOk="0">
                    <a:moveTo>
                      <a:pt x="23553" y="0"/>
                    </a:moveTo>
                    <a:lnTo>
                      <a:pt x="0" y="0"/>
                    </a:lnTo>
                    <a:lnTo>
                      <a:pt x="0" y="4375"/>
                    </a:lnTo>
                    <a:lnTo>
                      <a:pt x="0" y="4375"/>
                    </a:lnTo>
                    <a:lnTo>
                      <a:pt x="0" y="4375"/>
                    </a:lnTo>
                    <a:lnTo>
                      <a:pt x="27" y="4855"/>
                    </a:lnTo>
                    <a:lnTo>
                      <a:pt x="54" y="5308"/>
                    </a:lnTo>
                    <a:lnTo>
                      <a:pt x="134" y="5762"/>
                    </a:lnTo>
                    <a:lnTo>
                      <a:pt x="240" y="6215"/>
                    </a:lnTo>
                    <a:lnTo>
                      <a:pt x="374" y="6642"/>
                    </a:lnTo>
                    <a:lnTo>
                      <a:pt x="534" y="7069"/>
                    </a:lnTo>
                    <a:lnTo>
                      <a:pt x="721" y="7496"/>
                    </a:lnTo>
                    <a:lnTo>
                      <a:pt x="934" y="7923"/>
                    </a:lnTo>
                    <a:lnTo>
                      <a:pt x="1174" y="8323"/>
                    </a:lnTo>
                    <a:lnTo>
                      <a:pt x="1414" y="8696"/>
                    </a:lnTo>
                    <a:lnTo>
                      <a:pt x="1708" y="9096"/>
                    </a:lnTo>
                    <a:lnTo>
                      <a:pt x="2028" y="9443"/>
                    </a:lnTo>
                    <a:lnTo>
                      <a:pt x="2348" y="9816"/>
                    </a:lnTo>
                    <a:lnTo>
                      <a:pt x="2694" y="10163"/>
                    </a:lnTo>
                    <a:lnTo>
                      <a:pt x="3068" y="10483"/>
                    </a:lnTo>
                    <a:lnTo>
                      <a:pt x="3441" y="10803"/>
                    </a:lnTo>
                    <a:lnTo>
                      <a:pt x="3868" y="11097"/>
                    </a:lnTo>
                    <a:lnTo>
                      <a:pt x="4295" y="11390"/>
                    </a:lnTo>
                    <a:lnTo>
                      <a:pt x="4722" y="11657"/>
                    </a:lnTo>
                    <a:lnTo>
                      <a:pt x="5202" y="11897"/>
                    </a:lnTo>
                    <a:lnTo>
                      <a:pt x="5682" y="12137"/>
                    </a:lnTo>
                    <a:lnTo>
                      <a:pt x="6162" y="12350"/>
                    </a:lnTo>
                    <a:lnTo>
                      <a:pt x="6669" y="12564"/>
                    </a:lnTo>
                    <a:lnTo>
                      <a:pt x="7202" y="12724"/>
                    </a:lnTo>
                    <a:lnTo>
                      <a:pt x="7736" y="12911"/>
                    </a:lnTo>
                    <a:lnTo>
                      <a:pt x="8269" y="13044"/>
                    </a:lnTo>
                    <a:lnTo>
                      <a:pt x="8829" y="13151"/>
                    </a:lnTo>
                    <a:lnTo>
                      <a:pt x="9416" y="13257"/>
                    </a:lnTo>
                    <a:lnTo>
                      <a:pt x="9976" y="13337"/>
                    </a:lnTo>
                    <a:lnTo>
                      <a:pt x="10563" y="13391"/>
                    </a:lnTo>
                    <a:lnTo>
                      <a:pt x="11177" y="13444"/>
                    </a:lnTo>
                    <a:lnTo>
                      <a:pt x="11790" y="13444"/>
                    </a:lnTo>
                    <a:lnTo>
                      <a:pt x="11790" y="13444"/>
                    </a:lnTo>
                    <a:lnTo>
                      <a:pt x="12377" y="13444"/>
                    </a:lnTo>
                    <a:lnTo>
                      <a:pt x="12991" y="13391"/>
                    </a:lnTo>
                    <a:lnTo>
                      <a:pt x="13577" y="13337"/>
                    </a:lnTo>
                    <a:lnTo>
                      <a:pt x="14164" y="13257"/>
                    </a:lnTo>
                    <a:lnTo>
                      <a:pt x="14724" y="13151"/>
                    </a:lnTo>
                    <a:lnTo>
                      <a:pt x="15285" y="13044"/>
                    </a:lnTo>
                    <a:lnTo>
                      <a:pt x="15818" y="12911"/>
                    </a:lnTo>
                    <a:lnTo>
                      <a:pt x="16351" y="12724"/>
                    </a:lnTo>
                    <a:lnTo>
                      <a:pt x="16885" y="12564"/>
                    </a:lnTo>
                    <a:lnTo>
                      <a:pt x="17392" y="12350"/>
                    </a:lnTo>
                    <a:lnTo>
                      <a:pt x="17872" y="12137"/>
                    </a:lnTo>
                    <a:lnTo>
                      <a:pt x="18352" y="11897"/>
                    </a:lnTo>
                    <a:lnTo>
                      <a:pt x="18832" y="11657"/>
                    </a:lnTo>
                    <a:lnTo>
                      <a:pt x="19259" y="11390"/>
                    </a:lnTo>
                    <a:lnTo>
                      <a:pt x="19686" y="11097"/>
                    </a:lnTo>
                    <a:lnTo>
                      <a:pt x="20113" y="10803"/>
                    </a:lnTo>
                    <a:lnTo>
                      <a:pt x="20486" y="10483"/>
                    </a:lnTo>
                    <a:lnTo>
                      <a:pt x="20859" y="10163"/>
                    </a:lnTo>
                    <a:lnTo>
                      <a:pt x="21206" y="9816"/>
                    </a:lnTo>
                    <a:lnTo>
                      <a:pt x="21553" y="9443"/>
                    </a:lnTo>
                    <a:lnTo>
                      <a:pt x="21846" y="9096"/>
                    </a:lnTo>
                    <a:lnTo>
                      <a:pt x="22140" y="8696"/>
                    </a:lnTo>
                    <a:lnTo>
                      <a:pt x="22380" y="8323"/>
                    </a:lnTo>
                    <a:lnTo>
                      <a:pt x="22620" y="7923"/>
                    </a:lnTo>
                    <a:lnTo>
                      <a:pt x="22833" y="7496"/>
                    </a:lnTo>
                    <a:lnTo>
                      <a:pt x="23020" y="7069"/>
                    </a:lnTo>
                    <a:lnTo>
                      <a:pt x="23180" y="6642"/>
                    </a:lnTo>
                    <a:lnTo>
                      <a:pt x="23313" y="6215"/>
                    </a:lnTo>
                    <a:lnTo>
                      <a:pt x="23420" y="5762"/>
                    </a:lnTo>
                    <a:lnTo>
                      <a:pt x="23500" y="5308"/>
                    </a:lnTo>
                    <a:lnTo>
                      <a:pt x="23527" y="4855"/>
                    </a:lnTo>
                    <a:lnTo>
                      <a:pt x="23553" y="4375"/>
                    </a:lnTo>
                    <a:lnTo>
                      <a:pt x="23553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04" name="Google Shape;804;p16"/>
              <p:cNvSpPr/>
              <p:nvPr/>
            </p:nvSpPr>
            <p:spPr>
              <a:xfrm>
                <a:off x="7720083" y="5312628"/>
                <a:ext cx="311384" cy="177743"/>
              </a:xfrm>
              <a:custGeom>
                <a:avLst/>
                <a:gdLst/>
                <a:ahLst/>
                <a:cxnLst/>
                <a:rect l="l" t="t" r="r" b="b"/>
                <a:pathLst>
                  <a:path w="23554" h="13445" extrusionOk="0">
                    <a:moveTo>
                      <a:pt x="0" y="0"/>
                    </a:moveTo>
                    <a:lnTo>
                      <a:pt x="0" y="4375"/>
                    </a:lnTo>
                    <a:lnTo>
                      <a:pt x="27" y="4855"/>
                    </a:lnTo>
                    <a:lnTo>
                      <a:pt x="54" y="5308"/>
                    </a:lnTo>
                    <a:lnTo>
                      <a:pt x="134" y="5762"/>
                    </a:lnTo>
                    <a:lnTo>
                      <a:pt x="240" y="6215"/>
                    </a:lnTo>
                    <a:lnTo>
                      <a:pt x="374" y="6642"/>
                    </a:lnTo>
                    <a:lnTo>
                      <a:pt x="534" y="7069"/>
                    </a:lnTo>
                    <a:lnTo>
                      <a:pt x="721" y="7496"/>
                    </a:lnTo>
                    <a:lnTo>
                      <a:pt x="934" y="7923"/>
                    </a:lnTo>
                    <a:lnTo>
                      <a:pt x="1174" y="8323"/>
                    </a:lnTo>
                    <a:lnTo>
                      <a:pt x="1414" y="8696"/>
                    </a:lnTo>
                    <a:lnTo>
                      <a:pt x="1708" y="9096"/>
                    </a:lnTo>
                    <a:lnTo>
                      <a:pt x="2001" y="9443"/>
                    </a:lnTo>
                    <a:lnTo>
                      <a:pt x="2348" y="9816"/>
                    </a:lnTo>
                    <a:lnTo>
                      <a:pt x="2694" y="10163"/>
                    </a:lnTo>
                    <a:lnTo>
                      <a:pt x="3068" y="10483"/>
                    </a:lnTo>
                    <a:lnTo>
                      <a:pt x="3441" y="10803"/>
                    </a:lnTo>
                    <a:lnTo>
                      <a:pt x="3868" y="11097"/>
                    </a:lnTo>
                    <a:lnTo>
                      <a:pt x="4295" y="11390"/>
                    </a:lnTo>
                    <a:lnTo>
                      <a:pt x="4722" y="11657"/>
                    </a:lnTo>
                    <a:lnTo>
                      <a:pt x="5202" y="11897"/>
                    </a:lnTo>
                    <a:lnTo>
                      <a:pt x="5682" y="12137"/>
                    </a:lnTo>
                    <a:lnTo>
                      <a:pt x="6162" y="12350"/>
                    </a:lnTo>
                    <a:lnTo>
                      <a:pt x="6669" y="12564"/>
                    </a:lnTo>
                    <a:lnTo>
                      <a:pt x="7202" y="12724"/>
                    </a:lnTo>
                    <a:lnTo>
                      <a:pt x="7736" y="12911"/>
                    </a:lnTo>
                    <a:lnTo>
                      <a:pt x="8269" y="13044"/>
                    </a:lnTo>
                    <a:lnTo>
                      <a:pt x="8829" y="13151"/>
                    </a:lnTo>
                    <a:lnTo>
                      <a:pt x="9390" y="13257"/>
                    </a:lnTo>
                    <a:lnTo>
                      <a:pt x="9976" y="13337"/>
                    </a:lnTo>
                    <a:lnTo>
                      <a:pt x="10563" y="13391"/>
                    </a:lnTo>
                    <a:lnTo>
                      <a:pt x="11177" y="13444"/>
                    </a:lnTo>
                    <a:lnTo>
                      <a:pt x="12377" y="13444"/>
                    </a:lnTo>
                    <a:lnTo>
                      <a:pt x="12991" y="13391"/>
                    </a:lnTo>
                    <a:lnTo>
                      <a:pt x="13577" y="13337"/>
                    </a:lnTo>
                    <a:lnTo>
                      <a:pt x="14138" y="13257"/>
                    </a:lnTo>
                    <a:lnTo>
                      <a:pt x="14724" y="13151"/>
                    </a:lnTo>
                    <a:lnTo>
                      <a:pt x="15285" y="13044"/>
                    </a:lnTo>
                    <a:lnTo>
                      <a:pt x="15818" y="12911"/>
                    </a:lnTo>
                    <a:lnTo>
                      <a:pt x="16351" y="12724"/>
                    </a:lnTo>
                    <a:lnTo>
                      <a:pt x="16885" y="12564"/>
                    </a:lnTo>
                    <a:lnTo>
                      <a:pt x="17392" y="12350"/>
                    </a:lnTo>
                    <a:lnTo>
                      <a:pt x="17872" y="12137"/>
                    </a:lnTo>
                    <a:lnTo>
                      <a:pt x="18352" y="11897"/>
                    </a:lnTo>
                    <a:lnTo>
                      <a:pt x="18832" y="11657"/>
                    </a:lnTo>
                    <a:lnTo>
                      <a:pt x="19259" y="11390"/>
                    </a:lnTo>
                    <a:lnTo>
                      <a:pt x="19686" y="11097"/>
                    </a:lnTo>
                    <a:lnTo>
                      <a:pt x="20113" y="10803"/>
                    </a:lnTo>
                    <a:lnTo>
                      <a:pt x="20486" y="10483"/>
                    </a:lnTo>
                    <a:lnTo>
                      <a:pt x="20859" y="10163"/>
                    </a:lnTo>
                    <a:lnTo>
                      <a:pt x="21206" y="9816"/>
                    </a:lnTo>
                    <a:lnTo>
                      <a:pt x="21526" y="9443"/>
                    </a:lnTo>
                    <a:lnTo>
                      <a:pt x="21846" y="9096"/>
                    </a:lnTo>
                    <a:lnTo>
                      <a:pt x="22140" y="8696"/>
                    </a:lnTo>
                    <a:lnTo>
                      <a:pt x="22380" y="8323"/>
                    </a:lnTo>
                    <a:lnTo>
                      <a:pt x="22620" y="7923"/>
                    </a:lnTo>
                    <a:lnTo>
                      <a:pt x="22833" y="7496"/>
                    </a:lnTo>
                    <a:lnTo>
                      <a:pt x="23020" y="7069"/>
                    </a:lnTo>
                    <a:lnTo>
                      <a:pt x="23180" y="6642"/>
                    </a:lnTo>
                    <a:lnTo>
                      <a:pt x="23313" y="6215"/>
                    </a:lnTo>
                    <a:lnTo>
                      <a:pt x="23420" y="5762"/>
                    </a:lnTo>
                    <a:lnTo>
                      <a:pt x="23500" y="5308"/>
                    </a:lnTo>
                    <a:lnTo>
                      <a:pt x="23527" y="4855"/>
                    </a:lnTo>
                    <a:lnTo>
                      <a:pt x="23553" y="4375"/>
                    </a:lnTo>
                    <a:lnTo>
                      <a:pt x="23553" y="0"/>
                    </a:lnTo>
                    <a:close/>
                  </a:path>
                </a:pathLst>
              </a:custGeom>
              <a:solidFill>
                <a:srgbClr val="C3050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05" name="Google Shape;805;p16"/>
              <p:cNvSpPr/>
              <p:nvPr/>
            </p:nvSpPr>
            <p:spPr>
              <a:xfrm>
                <a:off x="7720083" y="5312628"/>
                <a:ext cx="311384" cy="177743"/>
              </a:xfrm>
              <a:custGeom>
                <a:avLst/>
                <a:gdLst/>
                <a:ahLst/>
                <a:cxnLst/>
                <a:rect l="l" t="t" r="r" b="b"/>
                <a:pathLst>
                  <a:path w="23554" h="13445" fill="none" extrusionOk="0">
                    <a:moveTo>
                      <a:pt x="23553" y="0"/>
                    </a:moveTo>
                    <a:lnTo>
                      <a:pt x="0" y="0"/>
                    </a:lnTo>
                    <a:lnTo>
                      <a:pt x="0" y="4375"/>
                    </a:lnTo>
                    <a:lnTo>
                      <a:pt x="0" y="4375"/>
                    </a:lnTo>
                    <a:lnTo>
                      <a:pt x="0" y="4375"/>
                    </a:lnTo>
                    <a:lnTo>
                      <a:pt x="27" y="4855"/>
                    </a:lnTo>
                    <a:lnTo>
                      <a:pt x="54" y="5308"/>
                    </a:lnTo>
                    <a:lnTo>
                      <a:pt x="134" y="5762"/>
                    </a:lnTo>
                    <a:lnTo>
                      <a:pt x="240" y="6215"/>
                    </a:lnTo>
                    <a:lnTo>
                      <a:pt x="374" y="6642"/>
                    </a:lnTo>
                    <a:lnTo>
                      <a:pt x="534" y="7069"/>
                    </a:lnTo>
                    <a:lnTo>
                      <a:pt x="721" y="7496"/>
                    </a:lnTo>
                    <a:lnTo>
                      <a:pt x="934" y="7923"/>
                    </a:lnTo>
                    <a:lnTo>
                      <a:pt x="1174" y="8323"/>
                    </a:lnTo>
                    <a:lnTo>
                      <a:pt x="1414" y="8696"/>
                    </a:lnTo>
                    <a:lnTo>
                      <a:pt x="1708" y="9096"/>
                    </a:lnTo>
                    <a:lnTo>
                      <a:pt x="2001" y="9443"/>
                    </a:lnTo>
                    <a:lnTo>
                      <a:pt x="2348" y="9816"/>
                    </a:lnTo>
                    <a:lnTo>
                      <a:pt x="2694" y="10163"/>
                    </a:lnTo>
                    <a:lnTo>
                      <a:pt x="3068" y="10483"/>
                    </a:lnTo>
                    <a:lnTo>
                      <a:pt x="3441" y="10803"/>
                    </a:lnTo>
                    <a:lnTo>
                      <a:pt x="3868" y="11097"/>
                    </a:lnTo>
                    <a:lnTo>
                      <a:pt x="4295" y="11390"/>
                    </a:lnTo>
                    <a:lnTo>
                      <a:pt x="4722" y="11657"/>
                    </a:lnTo>
                    <a:lnTo>
                      <a:pt x="5202" y="11897"/>
                    </a:lnTo>
                    <a:lnTo>
                      <a:pt x="5682" y="12137"/>
                    </a:lnTo>
                    <a:lnTo>
                      <a:pt x="6162" y="12350"/>
                    </a:lnTo>
                    <a:lnTo>
                      <a:pt x="6669" y="12564"/>
                    </a:lnTo>
                    <a:lnTo>
                      <a:pt x="7202" y="12724"/>
                    </a:lnTo>
                    <a:lnTo>
                      <a:pt x="7736" y="12911"/>
                    </a:lnTo>
                    <a:lnTo>
                      <a:pt x="8269" y="13044"/>
                    </a:lnTo>
                    <a:lnTo>
                      <a:pt x="8829" y="13151"/>
                    </a:lnTo>
                    <a:lnTo>
                      <a:pt x="9390" y="13257"/>
                    </a:lnTo>
                    <a:lnTo>
                      <a:pt x="9976" y="13337"/>
                    </a:lnTo>
                    <a:lnTo>
                      <a:pt x="10563" y="13391"/>
                    </a:lnTo>
                    <a:lnTo>
                      <a:pt x="11177" y="13444"/>
                    </a:lnTo>
                    <a:lnTo>
                      <a:pt x="11764" y="13444"/>
                    </a:lnTo>
                    <a:lnTo>
                      <a:pt x="11764" y="13444"/>
                    </a:lnTo>
                    <a:lnTo>
                      <a:pt x="11764" y="13444"/>
                    </a:lnTo>
                    <a:lnTo>
                      <a:pt x="12377" y="13444"/>
                    </a:lnTo>
                    <a:lnTo>
                      <a:pt x="12991" y="13391"/>
                    </a:lnTo>
                    <a:lnTo>
                      <a:pt x="13577" y="13337"/>
                    </a:lnTo>
                    <a:lnTo>
                      <a:pt x="14138" y="13257"/>
                    </a:lnTo>
                    <a:lnTo>
                      <a:pt x="14724" y="13151"/>
                    </a:lnTo>
                    <a:lnTo>
                      <a:pt x="15285" y="13044"/>
                    </a:lnTo>
                    <a:lnTo>
                      <a:pt x="15818" y="12911"/>
                    </a:lnTo>
                    <a:lnTo>
                      <a:pt x="16351" y="12724"/>
                    </a:lnTo>
                    <a:lnTo>
                      <a:pt x="16885" y="12564"/>
                    </a:lnTo>
                    <a:lnTo>
                      <a:pt x="17392" y="12350"/>
                    </a:lnTo>
                    <a:lnTo>
                      <a:pt x="17872" y="12137"/>
                    </a:lnTo>
                    <a:lnTo>
                      <a:pt x="18352" y="11897"/>
                    </a:lnTo>
                    <a:lnTo>
                      <a:pt x="18832" y="11657"/>
                    </a:lnTo>
                    <a:lnTo>
                      <a:pt x="19259" y="11390"/>
                    </a:lnTo>
                    <a:lnTo>
                      <a:pt x="19686" y="11097"/>
                    </a:lnTo>
                    <a:lnTo>
                      <a:pt x="20113" y="10803"/>
                    </a:lnTo>
                    <a:lnTo>
                      <a:pt x="20486" y="10483"/>
                    </a:lnTo>
                    <a:lnTo>
                      <a:pt x="20859" y="10163"/>
                    </a:lnTo>
                    <a:lnTo>
                      <a:pt x="21206" y="9816"/>
                    </a:lnTo>
                    <a:lnTo>
                      <a:pt x="21526" y="9443"/>
                    </a:lnTo>
                    <a:lnTo>
                      <a:pt x="21846" y="9096"/>
                    </a:lnTo>
                    <a:lnTo>
                      <a:pt x="22140" y="8696"/>
                    </a:lnTo>
                    <a:lnTo>
                      <a:pt x="22380" y="8323"/>
                    </a:lnTo>
                    <a:lnTo>
                      <a:pt x="22620" y="7923"/>
                    </a:lnTo>
                    <a:lnTo>
                      <a:pt x="22833" y="7496"/>
                    </a:lnTo>
                    <a:lnTo>
                      <a:pt x="23020" y="7069"/>
                    </a:lnTo>
                    <a:lnTo>
                      <a:pt x="23180" y="6642"/>
                    </a:lnTo>
                    <a:lnTo>
                      <a:pt x="23313" y="6215"/>
                    </a:lnTo>
                    <a:lnTo>
                      <a:pt x="23420" y="5762"/>
                    </a:lnTo>
                    <a:lnTo>
                      <a:pt x="23500" y="5308"/>
                    </a:lnTo>
                    <a:lnTo>
                      <a:pt x="23527" y="4855"/>
                    </a:lnTo>
                    <a:lnTo>
                      <a:pt x="23553" y="4375"/>
                    </a:lnTo>
                    <a:lnTo>
                      <a:pt x="23553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06" name="Google Shape;806;p16"/>
              <p:cNvSpPr/>
              <p:nvPr/>
            </p:nvSpPr>
            <p:spPr>
              <a:xfrm>
                <a:off x="8031478" y="5312628"/>
                <a:ext cx="311384" cy="177743"/>
              </a:xfrm>
              <a:custGeom>
                <a:avLst/>
                <a:gdLst/>
                <a:ahLst/>
                <a:cxnLst/>
                <a:rect l="l" t="t" r="r" b="b"/>
                <a:pathLst>
                  <a:path w="23554" h="13445" extrusionOk="0">
                    <a:moveTo>
                      <a:pt x="0" y="0"/>
                    </a:moveTo>
                    <a:lnTo>
                      <a:pt x="0" y="4375"/>
                    </a:lnTo>
                    <a:lnTo>
                      <a:pt x="0" y="4855"/>
                    </a:lnTo>
                    <a:lnTo>
                      <a:pt x="54" y="5308"/>
                    </a:lnTo>
                    <a:lnTo>
                      <a:pt x="134" y="5762"/>
                    </a:lnTo>
                    <a:lnTo>
                      <a:pt x="241" y="6215"/>
                    </a:lnTo>
                    <a:lnTo>
                      <a:pt x="374" y="6642"/>
                    </a:lnTo>
                    <a:lnTo>
                      <a:pt x="534" y="7069"/>
                    </a:lnTo>
                    <a:lnTo>
                      <a:pt x="721" y="7496"/>
                    </a:lnTo>
                    <a:lnTo>
                      <a:pt x="934" y="7923"/>
                    </a:lnTo>
                    <a:lnTo>
                      <a:pt x="1147" y="8323"/>
                    </a:lnTo>
                    <a:lnTo>
                      <a:pt x="1414" y="8696"/>
                    </a:lnTo>
                    <a:lnTo>
                      <a:pt x="1708" y="9096"/>
                    </a:lnTo>
                    <a:lnTo>
                      <a:pt x="2001" y="9443"/>
                    </a:lnTo>
                    <a:lnTo>
                      <a:pt x="2348" y="9816"/>
                    </a:lnTo>
                    <a:lnTo>
                      <a:pt x="2694" y="10163"/>
                    </a:lnTo>
                    <a:lnTo>
                      <a:pt x="3068" y="10483"/>
                    </a:lnTo>
                    <a:lnTo>
                      <a:pt x="3441" y="10803"/>
                    </a:lnTo>
                    <a:lnTo>
                      <a:pt x="3841" y="11097"/>
                    </a:lnTo>
                    <a:lnTo>
                      <a:pt x="4268" y="11390"/>
                    </a:lnTo>
                    <a:lnTo>
                      <a:pt x="4722" y="11657"/>
                    </a:lnTo>
                    <a:lnTo>
                      <a:pt x="5175" y="11897"/>
                    </a:lnTo>
                    <a:lnTo>
                      <a:pt x="5655" y="12137"/>
                    </a:lnTo>
                    <a:lnTo>
                      <a:pt x="6162" y="12350"/>
                    </a:lnTo>
                    <a:lnTo>
                      <a:pt x="6669" y="12564"/>
                    </a:lnTo>
                    <a:lnTo>
                      <a:pt x="7176" y="12724"/>
                    </a:lnTo>
                    <a:lnTo>
                      <a:pt x="7736" y="12911"/>
                    </a:lnTo>
                    <a:lnTo>
                      <a:pt x="8269" y="13044"/>
                    </a:lnTo>
                    <a:lnTo>
                      <a:pt x="8829" y="13151"/>
                    </a:lnTo>
                    <a:lnTo>
                      <a:pt x="9390" y="13257"/>
                    </a:lnTo>
                    <a:lnTo>
                      <a:pt x="9976" y="13337"/>
                    </a:lnTo>
                    <a:lnTo>
                      <a:pt x="10563" y="13391"/>
                    </a:lnTo>
                    <a:lnTo>
                      <a:pt x="11177" y="13444"/>
                    </a:lnTo>
                    <a:lnTo>
                      <a:pt x="12377" y="13444"/>
                    </a:lnTo>
                    <a:lnTo>
                      <a:pt x="12964" y="13391"/>
                    </a:lnTo>
                    <a:lnTo>
                      <a:pt x="13577" y="13337"/>
                    </a:lnTo>
                    <a:lnTo>
                      <a:pt x="14138" y="13257"/>
                    </a:lnTo>
                    <a:lnTo>
                      <a:pt x="14724" y="13151"/>
                    </a:lnTo>
                    <a:lnTo>
                      <a:pt x="15285" y="13044"/>
                    </a:lnTo>
                    <a:lnTo>
                      <a:pt x="15818" y="12911"/>
                    </a:lnTo>
                    <a:lnTo>
                      <a:pt x="16351" y="12724"/>
                    </a:lnTo>
                    <a:lnTo>
                      <a:pt x="16885" y="12564"/>
                    </a:lnTo>
                    <a:lnTo>
                      <a:pt x="17392" y="12350"/>
                    </a:lnTo>
                    <a:lnTo>
                      <a:pt x="17872" y="12137"/>
                    </a:lnTo>
                    <a:lnTo>
                      <a:pt x="18352" y="11897"/>
                    </a:lnTo>
                    <a:lnTo>
                      <a:pt x="18805" y="11657"/>
                    </a:lnTo>
                    <a:lnTo>
                      <a:pt x="19259" y="11390"/>
                    </a:lnTo>
                    <a:lnTo>
                      <a:pt x="19686" y="11097"/>
                    </a:lnTo>
                    <a:lnTo>
                      <a:pt x="20086" y="10803"/>
                    </a:lnTo>
                    <a:lnTo>
                      <a:pt x="20486" y="10483"/>
                    </a:lnTo>
                    <a:lnTo>
                      <a:pt x="20859" y="10163"/>
                    </a:lnTo>
                    <a:lnTo>
                      <a:pt x="21206" y="9816"/>
                    </a:lnTo>
                    <a:lnTo>
                      <a:pt x="21526" y="9443"/>
                    </a:lnTo>
                    <a:lnTo>
                      <a:pt x="21846" y="9096"/>
                    </a:lnTo>
                    <a:lnTo>
                      <a:pt x="22113" y="8696"/>
                    </a:lnTo>
                    <a:lnTo>
                      <a:pt x="22380" y="8323"/>
                    </a:lnTo>
                    <a:lnTo>
                      <a:pt x="22620" y="7923"/>
                    </a:lnTo>
                    <a:lnTo>
                      <a:pt x="22833" y="7496"/>
                    </a:lnTo>
                    <a:lnTo>
                      <a:pt x="23020" y="7069"/>
                    </a:lnTo>
                    <a:lnTo>
                      <a:pt x="23180" y="6642"/>
                    </a:lnTo>
                    <a:lnTo>
                      <a:pt x="23313" y="6215"/>
                    </a:lnTo>
                    <a:lnTo>
                      <a:pt x="23420" y="5762"/>
                    </a:lnTo>
                    <a:lnTo>
                      <a:pt x="23473" y="5308"/>
                    </a:lnTo>
                    <a:lnTo>
                      <a:pt x="23527" y="4855"/>
                    </a:lnTo>
                    <a:lnTo>
                      <a:pt x="23553" y="4375"/>
                    </a:lnTo>
                    <a:lnTo>
                      <a:pt x="23553" y="0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07" name="Google Shape;807;p16"/>
              <p:cNvSpPr/>
              <p:nvPr/>
            </p:nvSpPr>
            <p:spPr>
              <a:xfrm>
                <a:off x="8031478" y="5312628"/>
                <a:ext cx="311384" cy="177743"/>
              </a:xfrm>
              <a:custGeom>
                <a:avLst/>
                <a:gdLst/>
                <a:ahLst/>
                <a:cxnLst/>
                <a:rect l="l" t="t" r="r" b="b"/>
                <a:pathLst>
                  <a:path w="23554" h="13445" fill="none" extrusionOk="0">
                    <a:moveTo>
                      <a:pt x="23553" y="0"/>
                    </a:moveTo>
                    <a:lnTo>
                      <a:pt x="0" y="0"/>
                    </a:lnTo>
                    <a:lnTo>
                      <a:pt x="0" y="4375"/>
                    </a:lnTo>
                    <a:lnTo>
                      <a:pt x="0" y="4375"/>
                    </a:lnTo>
                    <a:lnTo>
                      <a:pt x="0" y="4375"/>
                    </a:lnTo>
                    <a:lnTo>
                      <a:pt x="0" y="4855"/>
                    </a:lnTo>
                    <a:lnTo>
                      <a:pt x="54" y="5308"/>
                    </a:lnTo>
                    <a:lnTo>
                      <a:pt x="134" y="5762"/>
                    </a:lnTo>
                    <a:lnTo>
                      <a:pt x="241" y="6215"/>
                    </a:lnTo>
                    <a:lnTo>
                      <a:pt x="374" y="6642"/>
                    </a:lnTo>
                    <a:lnTo>
                      <a:pt x="534" y="7069"/>
                    </a:lnTo>
                    <a:lnTo>
                      <a:pt x="721" y="7496"/>
                    </a:lnTo>
                    <a:lnTo>
                      <a:pt x="934" y="7923"/>
                    </a:lnTo>
                    <a:lnTo>
                      <a:pt x="1147" y="8323"/>
                    </a:lnTo>
                    <a:lnTo>
                      <a:pt x="1414" y="8696"/>
                    </a:lnTo>
                    <a:lnTo>
                      <a:pt x="1708" y="9096"/>
                    </a:lnTo>
                    <a:lnTo>
                      <a:pt x="2001" y="9443"/>
                    </a:lnTo>
                    <a:lnTo>
                      <a:pt x="2348" y="9816"/>
                    </a:lnTo>
                    <a:lnTo>
                      <a:pt x="2694" y="10163"/>
                    </a:lnTo>
                    <a:lnTo>
                      <a:pt x="3068" y="10483"/>
                    </a:lnTo>
                    <a:lnTo>
                      <a:pt x="3441" y="10803"/>
                    </a:lnTo>
                    <a:lnTo>
                      <a:pt x="3841" y="11097"/>
                    </a:lnTo>
                    <a:lnTo>
                      <a:pt x="4268" y="11390"/>
                    </a:lnTo>
                    <a:lnTo>
                      <a:pt x="4722" y="11657"/>
                    </a:lnTo>
                    <a:lnTo>
                      <a:pt x="5175" y="11897"/>
                    </a:lnTo>
                    <a:lnTo>
                      <a:pt x="5655" y="12137"/>
                    </a:lnTo>
                    <a:lnTo>
                      <a:pt x="6162" y="12350"/>
                    </a:lnTo>
                    <a:lnTo>
                      <a:pt x="6669" y="12564"/>
                    </a:lnTo>
                    <a:lnTo>
                      <a:pt x="7176" y="12724"/>
                    </a:lnTo>
                    <a:lnTo>
                      <a:pt x="7736" y="12911"/>
                    </a:lnTo>
                    <a:lnTo>
                      <a:pt x="8269" y="13044"/>
                    </a:lnTo>
                    <a:lnTo>
                      <a:pt x="8829" y="13151"/>
                    </a:lnTo>
                    <a:lnTo>
                      <a:pt x="9390" y="13257"/>
                    </a:lnTo>
                    <a:lnTo>
                      <a:pt x="9976" y="13337"/>
                    </a:lnTo>
                    <a:lnTo>
                      <a:pt x="10563" y="13391"/>
                    </a:lnTo>
                    <a:lnTo>
                      <a:pt x="11177" y="13444"/>
                    </a:lnTo>
                    <a:lnTo>
                      <a:pt x="11764" y="13444"/>
                    </a:lnTo>
                    <a:lnTo>
                      <a:pt x="11764" y="13444"/>
                    </a:lnTo>
                    <a:lnTo>
                      <a:pt x="12377" y="13444"/>
                    </a:lnTo>
                    <a:lnTo>
                      <a:pt x="12964" y="13391"/>
                    </a:lnTo>
                    <a:lnTo>
                      <a:pt x="13577" y="13337"/>
                    </a:lnTo>
                    <a:lnTo>
                      <a:pt x="14138" y="13257"/>
                    </a:lnTo>
                    <a:lnTo>
                      <a:pt x="14724" y="13151"/>
                    </a:lnTo>
                    <a:lnTo>
                      <a:pt x="15285" y="13044"/>
                    </a:lnTo>
                    <a:lnTo>
                      <a:pt x="15818" y="12911"/>
                    </a:lnTo>
                    <a:lnTo>
                      <a:pt x="16351" y="12724"/>
                    </a:lnTo>
                    <a:lnTo>
                      <a:pt x="16885" y="12564"/>
                    </a:lnTo>
                    <a:lnTo>
                      <a:pt x="17392" y="12350"/>
                    </a:lnTo>
                    <a:lnTo>
                      <a:pt x="17872" y="12137"/>
                    </a:lnTo>
                    <a:lnTo>
                      <a:pt x="18352" y="11897"/>
                    </a:lnTo>
                    <a:lnTo>
                      <a:pt x="18805" y="11657"/>
                    </a:lnTo>
                    <a:lnTo>
                      <a:pt x="19259" y="11390"/>
                    </a:lnTo>
                    <a:lnTo>
                      <a:pt x="19686" y="11097"/>
                    </a:lnTo>
                    <a:lnTo>
                      <a:pt x="20086" y="10803"/>
                    </a:lnTo>
                    <a:lnTo>
                      <a:pt x="20486" y="10483"/>
                    </a:lnTo>
                    <a:lnTo>
                      <a:pt x="20859" y="10163"/>
                    </a:lnTo>
                    <a:lnTo>
                      <a:pt x="21206" y="9816"/>
                    </a:lnTo>
                    <a:lnTo>
                      <a:pt x="21526" y="9443"/>
                    </a:lnTo>
                    <a:lnTo>
                      <a:pt x="21846" y="9096"/>
                    </a:lnTo>
                    <a:lnTo>
                      <a:pt x="22113" y="8696"/>
                    </a:lnTo>
                    <a:lnTo>
                      <a:pt x="22380" y="8323"/>
                    </a:lnTo>
                    <a:lnTo>
                      <a:pt x="22620" y="7923"/>
                    </a:lnTo>
                    <a:lnTo>
                      <a:pt x="22833" y="7496"/>
                    </a:lnTo>
                    <a:lnTo>
                      <a:pt x="23020" y="7069"/>
                    </a:lnTo>
                    <a:lnTo>
                      <a:pt x="23180" y="6642"/>
                    </a:lnTo>
                    <a:lnTo>
                      <a:pt x="23313" y="6215"/>
                    </a:lnTo>
                    <a:lnTo>
                      <a:pt x="23420" y="5762"/>
                    </a:lnTo>
                    <a:lnTo>
                      <a:pt x="23473" y="5308"/>
                    </a:lnTo>
                    <a:lnTo>
                      <a:pt x="23527" y="4855"/>
                    </a:lnTo>
                    <a:lnTo>
                      <a:pt x="23553" y="4375"/>
                    </a:lnTo>
                    <a:lnTo>
                      <a:pt x="23553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08" name="Google Shape;808;p16"/>
              <p:cNvSpPr/>
              <p:nvPr/>
            </p:nvSpPr>
            <p:spPr>
              <a:xfrm>
                <a:off x="8342873" y="5312628"/>
                <a:ext cx="311384" cy="177743"/>
              </a:xfrm>
              <a:custGeom>
                <a:avLst/>
                <a:gdLst/>
                <a:ahLst/>
                <a:cxnLst/>
                <a:rect l="l" t="t" r="r" b="b"/>
                <a:pathLst>
                  <a:path w="23554" h="13445" extrusionOk="0">
                    <a:moveTo>
                      <a:pt x="0" y="0"/>
                    </a:moveTo>
                    <a:lnTo>
                      <a:pt x="0" y="4375"/>
                    </a:lnTo>
                    <a:lnTo>
                      <a:pt x="0" y="4855"/>
                    </a:lnTo>
                    <a:lnTo>
                      <a:pt x="54" y="5308"/>
                    </a:lnTo>
                    <a:lnTo>
                      <a:pt x="134" y="5762"/>
                    </a:lnTo>
                    <a:lnTo>
                      <a:pt x="241" y="6215"/>
                    </a:lnTo>
                    <a:lnTo>
                      <a:pt x="374" y="6642"/>
                    </a:lnTo>
                    <a:lnTo>
                      <a:pt x="534" y="7069"/>
                    </a:lnTo>
                    <a:lnTo>
                      <a:pt x="694" y="7496"/>
                    </a:lnTo>
                    <a:lnTo>
                      <a:pt x="907" y="7923"/>
                    </a:lnTo>
                    <a:lnTo>
                      <a:pt x="1147" y="8323"/>
                    </a:lnTo>
                    <a:lnTo>
                      <a:pt x="1414" y="8696"/>
                    </a:lnTo>
                    <a:lnTo>
                      <a:pt x="1708" y="9096"/>
                    </a:lnTo>
                    <a:lnTo>
                      <a:pt x="2001" y="9443"/>
                    </a:lnTo>
                    <a:lnTo>
                      <a:pt x="2321" y="9816"/>
                    </a:lnTo>
                    <a:lnTo>
                      <a:pt x="2694" y="10163"/>
                    </a:lnTo>
                    <a:lnTo>
                      <a:pt x="3041" y="10483"/>
                    </a:lnTo>
                    <a:lnTo>
                      <a:pt x="3441" y="10803"/>
                    </a:lnTo>
                    <a:lnTo>
                      <a:pt x="3841" y="11097"/>
                    </a:lnTo>
                    <a:lnTo>
                      <a:pt x="4268" y="11390"/>
                    </a:lnTo>
                    <a:lnTo>
                      <a:pt x="4722" y="11657"/>
                    </a:lnTo>
                    <a:lnTo>
                      <a:pt x="5175" y="11897"/>
                    </a:lnTo>
                    <a:lnTo>
                      <a:pt x="5655" y="12137"/>
                    </a:lnTo>
                    <a:lnTo>
                      <a:pt x="6162" y="12350"/>
                    </a:lnTo>
                    <a:lnTo>
                      <a:pt x="6669" y="12564"/>
                    </a:lnTo>
                    <a:lnTo>
                      <a:pt x="7176" y="12724"/>
                    </a:lnTo>
                    <a:lnTo>
                      <a:pt x="7709" y="12911"/>
                    </a:lnTo>
                    <a:lnTo>
                      <a:pt x="8269" y="13044"/>
                    </a:lnTo>
                    <a:lnTo>
                      <a:pt x="8829" y="13151"/>
                    </a:lnTo>
                    <a:lnTo>
                      <a:pt x="9390" y="13257"/>
                    </a:lnTo>
                    <a:lnTo>
                      <a:pt x="9976" y="13337"/>
                    </a:lnTo>
                    <a:lnTo>
                      <a:pt x="10563" y="13391"/>
                    </a:lnTo>
                    <a:lnTo>
                      <a:pt x="11150" y="13444"/>
                    </a:lnTo>
                    <a:lnTo>
                      <a:pt x="12377" y="13444"/>
                    </a:lnTo>
                    <a:lnTo>
                      <a:pt x="12964" y="13391"/>
                    </a:lnTo>
                    <a:lnTo>
                      <a:pt x="13551" y="13337"/>
                    </a:lnTo>
                    <a:lnTo>
                      <a:pt x="14138" y="13257"/>
                    </a:lnTo>
                    <a:lnTo>
                      <a:pt x="14698" y="13151"/>
                    </a:lnTo>
                    <a:lnTo>
                      <a:pt x="15258" y="13044"/>
                    </a:lnTo>
                    <a:lnTo>
                      <a:pt x="15818" y="12911"/>
                    </a:lnTo>
                    <a:lnTo>
                      <a:pt x="16352" y="12724"/>
                    </a:lnTo>
                    <a:lnTo>
                      <a:pt x="16885" y="12564"/>
                    </a:lnTo>
                    <a:lnTo>
                      <a:pt x="17392" y="12350"/>
                    </a:lnTo>
                    <a:lnTo>
                      <a:pt x="17872" y="12137"/>
                    </a:lnTo>
                    <a:lnTo>
                      <a:pt x="18352" y="11897"/>
                    </a:lnTo>
                    <a:lnTo>
                      <a:pt x="18805" y="11657"/>
                    </a:lnTo>
                    <a:lnTo>
                      <a:pt x="19259" y="11390"/>
                    </a:lnTo>
                    <a:lnTo>
                      <a:pt x="19686" y="11097"/>
                    </a:lnTo>
                    <a:lnTo>
                      <a:pt x="20086" y="10803"/>
                    </a:lnTo>
                    <a:lnTo>
                      <a:pt x="20486" y="10483"/>
                    </a:lnTo>
                    <a:lnTo>
                      <a:pt x="20859" y="10163"/>
                    </a:lnTo>
                    <a:lnTo>
                      <a:pt x="21206" y="9816"/>
                    </a:lnTo>
                    <a:lnTo>
                      <a:pt x="21526" y="9443"/>
                    </a:lnTo>
                    <a:lnTo>
                      <a:pt x="21846" y="9096"/>
                    </a:lnTo>
                    <a:lnTo>
                      <a:pt x="22113" y="8696"/>
                    </a:lnTo>
                    <a:lnTo>
                      <a:pt x="22380" y="8323"/>
                    </a:lnTo>
                    <a:lnTo>
                      <a:pt x="22620" y="7923"/>
                    </a:lnTo>
                    <a:lnTo>
                      <a:pt x="22833" y="7496"/>
                    </a:lnTo>
                    <a:lnTo>
                      <a:pt x="23020" y="7069"/>
                    </a:lnTo>
                    <a:lnTo>
                      <a:pt x="23180" y="6642"/>
                    </a:lnTo>
                    <a:lnTo>
                      <a:pt x="23313" y="6215"/>
                    </a:lnTo>
                    <a:lnTo>
                      <a:pt x="23393" y="5762"/>
                    </a:lnTo>
                    <a:lnTo>
                      <a:pt x="23473" y="5308"/>
                    </a:lnTo>
                    <a:lnTo>
                      <a:pt x="23527" y="4855"/>
                    </a:lnTo>
                    <a:lnTo>
                      <a:pt x="23553" y="4375"/>
                    </a:lnTo>
                    <a:lnTo>
                      <a:pt x="23553" y="0"/>
                    </a:lnTo>
                    <a:close/>
                  </a:path>
                </a:pathLst>
              </a:custGeom>
              <a:solidFill>
                <a:srgbClr val="C3050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09" name="Google Shape;809;p16"/>
              <p:cNvSpPr/>
              <p:nvPr/>
            </p:nvSpPr>
            <p:spPr>
              <a:xfrm>
                <a:off x="8342873" y="5312628"/>
                <a:ext cx="311384" cy="177743"/>
              </a:xfrm>
              <a:custGeom>
                <a:avLst/>
                <a:gdLst/>
                <a:ahLst/>
                <a:cxnLst/>
                <a:rect l="l" t="t" r="r" b="b"/>
                <a:pathLst>
                  <a:path w="23554" h="13445" fill="none" extrusionOk="0">
                    <a:moveTo>
                      <a:pt x="23553" y="0"/>
                    </a:moveTo>
                    <a:lnTo>
                      <a:pt x="0" y="0"/>
                    </a:lnTo>
                    <a:lnTo>
                      <a:pt x="0" y="4375"/>
                    </a:lnTo>
                    <a:lnTo>
                      <a:pt x="0" y="4375"/>
                    </a:lnTo>
                    <a:lnTo>
                      <a:pt x="0" y="4375"/>
                    </a:lnTo>
                    <a:lnTo>
                      <a:pt x="0" y="4855"/>
                    </a:lnTo>
                    <a:lnTo>
                      <a:pt x="54" y="5308"/>
                    </a:lnTo>
                    <a:lnTo>
                      <a:pt x="134" y="5762"/>
                    </a:lnTo>
                    <a:lnTo>
                      <a:pt x="241" y="6215"/>
                    </a:lnTo>
                    <a:lnTo>
                      <a:pt x="374" y="6642"/>
                    </a:lnTo>
                    <a:lnTo>
                      <a:pt x="534" y="7069"/>
                    </a:lnTo>
                    <a:lnTo>
                      <a:pt x="694" y="7496"/>
                    </a:lnTo>
                    <a:lnTo>
                      <a:pt x="907" y="7923"/>
                    </a:lnTo>
                    <a:lnTo>
                      <a:pt x="1147" y="8323"/>
                    </a:lnTo>
                    <a:lnTo>
                      <a:pt x="1414" y="8696"/>
                    </a:lnTo>
                    <a:lnTo>
                      <a:pt x="1708" y="9096"/>
                    </a:lnTo>
                    <a:lnTo>
                      <a:pt x="2001" y="9443"/>
                    </a:lnTo>
                    <a:lnTo>
                      <a:pt x="2321" y="9816"/>
                    </a:lnTo>
                    <a:lnTo>
                      <a:pt x="2694" y="10163"/>
                    </a:lnTo>
                    <a:lnTo>
                      <a:pt x="3041" y="10483"/>
                    </a:lnTo>
                    <a:lnTo>
                      <a:pt x="3441" y="10803"/>
                    </a:lnTo>
                    <a:lnTo>
                      <a:pt x="3841" y="11097"/>
                    </a:lnTo>
                    <a:lnTo>
                      <a:pt x="4268" y="11390"/>
                    </a:lnTo>
                    <a:lnTo>
                      <a:pt x="4722" y="11657"/>
                    </a:lnTo>
                    <a:lnTo>
                      <a:pt x="5175" y="11897"/>
                    </a:lnTo>
                    <a:lnTo>
                      <a:pt x="5655" y="12137"/>
                    </a:lnTo>
                    <a:lnTo>
                      <a:pt x="6162" y="12350"/>
                    </a:lnTo>
                    <a:lnTo>
                      <a:pt x="6669" y="12564"/>
                    </a:lnTo>
                    <a:lnTo>
                      <a:pt x="7176" y="12724"/>
                    </a:lnTo>
                    <a:lnTo>
                      <a:pt x="7709" y="12911"/>
                    </a:lnTo>
                    <a:lnTo>
                      <a:pt x="8269" y="13044"/>
                    </a:lnTo>
                    <a:lnTo>
                      <a:pt x="8829" y="13151"/>
                    </a:lnTo>
                    <a:lnTo>
                      <a:pt x="9390" y="13257"/>
                    </a:lnTo>
                    <a:lnTo>
                      <a:pt x="9976" y="13337"/>
                    </a:lnTo>
                    <a:lnTo>
                      <a:pt x="10563" y="13391"/>
                    </a:lnTo>
                    <a:lnTo>
                      <a:pt x="11150" y="13444"/>
                    </a:lnTo>
                    <a:lnTo>
                      <a:pt x="11764" y="13444"/>
                    </a:lnTo>
                    <a:lnTo>
                      <a:pt x="11764" y="13444"/>
                    </a:lnTo>
                    <a:lnTo>
                      <a:pt x="11764" y="13444"/>
                    </a:lnTo>
                    <a:lnTo>
                      <a:pt x="12377" y="13444"/>
                    </a:lnTo>
                    <a:lnTo>
                      <a:pt x="12964" y="13391"/>
                    </a:lnTo>
                    <a:lnTo>
                      <a:pt x="13551" y="13337"/>
                    </a:lnTo>
                    <a:lnTo>
                      <a:pt x="14138" y="13257"/>
                    </a:lnTo>
                    <a:lnTo>
                      <a:pt x="14698" y="13151"/>
                    </a:lnTo>
                    <a:lnTo>
                      <a:pt x="15258" y="13044"/>
                    </a:lnTo>
                    <a:lnTo>
                      <a:pt x="15818" y="12911"/>
                    </a:lnTo>
                    <a:lnTo>
                      <a:pt x="16352" y="12724"/>
                    </a:lnTo>
                    <a:lnTo>
                      <a:pt x="16885" y="12564"/>
                    </a:lnTo>
                    <a:lnTo>
                      <a:pt x="17392" y="12350"/>
                    </a:lnTo>
                    <a:lnTo>
                      <a:pt x="17872" y="12137"/>
                    </a:lnTo>
                    <a:lnTo>
                      <a:pt x="18352" y="11897"/>
                    </a:lnTo>
                    <a:lnTo>
                      <a:pt x="18805" y="11657"/>
                    </a:lnTo>
                    <a:lnTo>
                      <a:pt x="19259" y="11390"/>
                    </a:lnTo>
                    <a:lnTo>
                      <a:pt x="19686" y="11097"/>
                    </a:lnTo>
                    <a:lnTo>
                      <a:pt x="20086" y="10803"/>
                    </a:lnTo>
                    <a:lnTo>
                      <a:pt x="20486" y="10483"/>
                    </a:lnTo>
                    <a:lnTo>
                      <a:pt x="20859" y="10163"/>
                    </a:lnTo>
                    <a:lnTo>
                      <a:pt x="21206" y="9816"/>
                    </a:lnTo>
                    <a:lnTo>
                      <a:pt x="21526" y="9443"/>
                    </a:lnTo>
                    <a:lnTo>
                      <a:pt x="21846" y="9096"/>
                    </a:lnTo>
                    <a:lnTo>
                      <a:pt x="22113" y="8696"/>
                    </a:lnTo>
                    <a:lnTo>
                      <a:pt x="22380" y="8323"/>
                    </a:lnTo>
                    <a:lnTo>
                      <a:pt x="22620" y="7923"/>
                    </a:lnTo>
                    <a:lnTo>
                      <a:pt x="22833" y="7496"/>
                    </a:lnTo>
                    <a:lnTo>
                      <a:pt x="23020" y="7069"/>
                    </a:lnTo>
                    <a:lnTo>
                      <a:pt x="23180" y="6642"/>
                    </a:lnTo>
                    <a:lnTo>
                      <a:pt x="23313" y="6215"/>
                    </a:lnTo>
                    <a:lnTo>
                      <a:pt x="23393" y="5762"/>
                    </a:lnTo>
                    <a:lnTo>
                      <a:pt x="23473" y="5308"/>
                    </a:lnTo>
                    <a:lnTo>
                      <a:pt x="23527" y="4855"/>
                    </a:lnTo>
                    <a:lnTo>
                      <a:pt x="23553" y="4375"/>
                    </a:lnTo>
                    <a:lnTo>
                      <a:pt x="23553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10" name="Google Shape;810;p16"/>
              <p:cNvSpPr/>
              <p:nvPr/>
            </p:nvSpPr>
            <p:spPr>
              <a:xfrm>
                <a:off x="8654268" y="5312628"/>
                <a:ext cx="311027" cy="177743"/>
              </a:xfrm>
              <a:custGeom>
                <a:avLst/>
                <a:gdLst/>
                <a:ahLst/>
                <a:cxnLst/>
                <a:rect l="l" t="t" r="r" b="b"/>
                <a:pathLst>
                  <a:path w="23527" h="13445" extrusionOk="0">
                    <a:moveTo>
                      <a:pt x="0" y="0"/>
                    </a:moveTo>
                    <a:lnTo>
                      <a:pt x="0" y="4375"/>
                    </a:lnTo>
                    <a:lnTo>
                      <a:pt x="0" y="4855"/>
                    </a:lnTo>
                    <a:lnTo>
                      <a:pt x="54" y="5308"/>
                    </a:lnTo>
                    <a:lnTo>
                      <a:pt x="134" y="5762"/>
                    </a:lnTo>
                    <a:lnTo>
                      <a:pt x="241" y="6215"/>
                    </a:lnTo>
                    <a:lnTo>
                      <a:pt x="347" y="6642"/>
                    </a:lnTo>
                    <a:lnTo>
                      <a:pt x="507" y="7069"/>
                    </a:lnTo>
                    <a:lnTo>
                      <a:pt x="694" y="7496"/>
                    </a:lnTo>
                    <a:lnTo>
                      <a:pt x="907" y="7923"/>
                    </a:lnTo>
                    <a:lnTo>
                      <a:pt x="1147" y="8323"/>
                    </a:lnTo>
                    <a:lnTo>
                      <a:pt x="1414" y="8696"/>
                    </a:lnTo>
                    <a:lnTo>
                      <a:pt x="1681" y="9096"/>
                    </a:lnTo>
                    <a:lnTo>
                      <a:pt x="2001" y="9443"/>
                    </a:lnTo>
                    <a:lnTo>
                      <a:pt x="2321" y="9816"/>
                    </a:lnTo>
                    <a:lnTo>
                      <a:pt x="2668" y="10163"/>
                    </a:lnTo>
                    <a:lnTo>
                      <a:pt x="3041" y="10483"/>
                    </a:lnTo>
                    <a:lnTo>
                      <a:pt x="3441" y="10803"/>
                    </a:lnTo>
                    <a:lnTo>
                      <a:pt x="3841" y="11097"/>
                    </a:lnTo>
                    <a:lnTo>
                      <a:pt x="4268" y="11390"/>
                    </a:lnTo>
                    <a:lnTo>
                      <a:pt x="4722" y="11657"/>
                    </a:lnTo>
                    <a:lnTo>
                      <a:pt x="5175" y="11897"/>
                    </a:lnTo>
                    <a:lnTo>
                      <a:pt x="5655" y="12137"/>
                    </a:lnTo>
                    <a:lnTo>
                      <a:pt x="6162" y="12350"/>
                    </a:lnTo>
                    <a:lnTo>
                      <a:pt x="6669" y="12564"/>
                    </a:lnTo>
                    <a:lnTo>
                      <a:pt x="7176" y="12724"/>
                    </a:lnTo>
                    <a:lnTo>
                      <a:pt x="7709" y="12911"/>
                    </a:lnTo>
                    <a:lnTo>
                      <a:pt x="8269" y="13044"/>
                    </a:lnTo>
                    <a:lnTo>
                      <a:pt x="8829" y="13151"/>
                    </a:lnTo>
                    <a:lnTo>
                      <a:pt x="9390" y="13257"/>
                    </a:lnTo>
                    <a:lnTo>
                      <a:pt x="9976" y="13337"/>
                    </a:lnTo>
                    <a:lnTo>
                      <a:pt x="10563" y="13391"/>
                    </a:lnTo>
                    <a:lnTo>
                      <a:pt x="11150" y="13444"/>
                    </a:lnTo>
                    <a:lnTo>
                      <a:pt x="12377" y="13444"/>
                    </a:lnTo>
                    <a:lnTo>
                      <a:pt x="12964" y="13391"/>
                    </a:lnTo>
                    <a:lnTo>
                      <a:pt x="13551" y="13337"/>
                    </a:lnTo>
                    <a:lnTo>
                      <a:pt x="14138" y="13257"/>
                    </a:lnTo>
                    <a:lnTo>
                      <a:pt x="14698" y="13151"/>
                    </a:lnTo>
                    <a:lnTo>
                      <a:pt x="15258" y="13044"/>
                    </a:lnTo>
                    <a:lnTo>
                      <a:pt x="15818" y="12911"/>
                    </a:lnTo>
                    <a:lnTo>
                      <a:pt x="16352" y="12724"/>
                    </a:lnTo>
                    <a:lnTo>
                      <a:pt x="16858" y="12564"/>
                    </a:lnTo>
                    <a:lnTo>
                      <a:pt x="17365" y="12350"/>
                    </a:lnTo>
                    <a:lnTo>
                      <a:pt x="17872" y="12137"/>
                    </a:lnTo>
                    <a:lnTo>
                      <a:pt x="18352" y="11897"/>
                    </a:lnTo>
                    <a:lnTo>
                      <a:pt x="18805" y="11657"/>
                    </a:lnTo>
                    <a:lnTo>
                      <a:pt x="19259" y="11390"/>
                    </a:lnTo>
                    <a:lnTo>
                      <a:pt x="19686" y="11097"/>
                    </a:lnTo>
                    <a:lnTo>
                      <a:pt x="20086" y="10803"/>
                    </a:lnTo>
                    <a:lnTo>
                      <a:pt x="20486" y="10483"/>
                    </a:lnTo>
                    <a:lnTo>
                      <a:pt x="20859" y="10163"/>
                    </a:lnTo>
                    <a:lnTo>
                      <a:pt x="21206" y="9816"/>
                    </a:lnTo>
                    <a:lnTo>
                      <a:pt x="21526" y="9443"/>
                    </a:lnTo>
                    <a:lnTo>
                      <a:pt x="21846" y="9096"/>
                    </a:lnTo>
                    <a:lnTo>
                      <a:pt x="22113" y="8696"/>
                    </a:lnTo>
                    <a:lnTo>
                      <a:pt x="22380" y="8323"/>
                    </a:lnTo>
                    <a:lnTo>
                      <a:pt x="22620" y="7923"/>
                    </a:lnTo>
                    <a:lnTo>
                      <a:pt x="22833" y="7496"/>
                    </a:lnTo>
                    <a:lnTo>
                      <a:pt x="23020" y="7069"/>
                    </a:lnTo>
                    <a:lnTo>
                      <a:pt x="23180" y="6642"/>
                    </a:lnTo>
                    <a:lnTo>
                      <a:pt x="23287" y="6215"/>
                    </a:lnTo>
                    <a:lnTo>
                      <a:pt x="23393" y="5762"/>
                    </a:lnTo>
                    <a:lnTo>
                      <a:pt x="23473" y="5308"/>
                    </a:lnTo>
                    <a:lnTo>
                      <a:pt x="23527" y="4855"/>
                    </a:lnTo>
                    <a:lnTo>
                      <a:pt x="23527" y="4375"/>
                    </a:lnTo>
                    <a:lnTo>
                      <a:pt x="23527" y="0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11" name="Google Shape;811;p16"/>
              <p:cNvSpPr/>
              <p:nvPr/>
            </p:nvSpPr>
            <p:spPr>
              <a:xfrm>
                <a:off x="8654268" y="5312628"/>
                <a:ext cx="311027" cy="177743"/>
              </a:xfrm>
              <a:custGeom>
                <a:avLst/>
                <a:gdLst/>
                <a:ahLst/>
                <a:cxnLst/>
                <a:rect l="l" t="t" r="r" b="b"/>
                <a:pathLst>
                  <a:path w="23527" h="13445" fill="none" extrusionOk="0">
                    <a:moveTo>
                      <a:pt x="23527" y="0"/>
                    </a:moveTo>
                    <a:lnTo>
                      <a:pt x="0" y="0"/>
                    </a:lnTo>
                    <a:lnTo>
                      <a:pt x="0" y="4375"/>
                    </a:lnTo>
                    <a:lnTo>
                      <a:pt x="0" y="4375"/>
                    </a:lnTo>
                    <a:lnTo>
                      <a:pt x="0" y="4375"/>
                    </a:lnTo>
                    <a:lnTo>
                      <a:pt x="0" y="4855"/>
                    </a:lnTo>
                    <a:lnTo>
                      <a:pt x="54" y="5308"/>
                    </a:lnTo>
                    <a:lnTo>
                      <a:pt x="134" y="5762"/>
                    </a:lnTo>
                    <a:lnTo>
                      <a:pt x="241" y="6215"/>
                    </a:lnTo>
                    <a:lnTo>
                      <a:pt x="347" y="6642"/>
                    </a:lnTo>
                    <a:lnTo>
                      <a:pt x="507" y="7069"/>
                    </a:lnTo>
                    <a:lnTo>
                      <a:pt x="694" y="7496"/>
                    </a:lnTo>
                    <a:lnTo>
                      <a:pt x="907" y="7923"/>
                    </a:lnTo>
                    <a:lnTo>
                      <a:pt x="1147" y="8323"/>
                    </a:lnTo>
                    <a:lnTo>
                      <a:pt x="1414" y="8696"/>
                    </a:lnTo>
                    <a:lnTo>
                      <a:pt x="1681" y="9096"/>
                    </a:lnTo>
                    <a:lnTo>
                      <a:pt x="2001" y="9443"/>
                    </a:lnTo>
                    <a:lnTo>
                      <a:pt x="2321" y="9816"/>
                    </a:lnTo>
                    <a:lnTo>
                      <a:pt x="2668" y="10163"/>
                    </a:lnTo>
                    <a:lnTo>
                      <a:pt x="3041" y="10483"/>
                    </a:lnTo>
                    <a:lnTo>
                      <a:pt x="3441" y="10803"/>
                    </a:lnTo>
                    <a:lnTo>
                      <a:pt x="3841" y="11097"/>
                    </a:lnTo>
                    <a:lnTo>
                      <a:pt x="4268" y="11390"/>
                    </a:lnTo>
                    <a:lnTo>
                      <a:pt x="4722" y="11657"/>
                    </a:lnTo>
                    <a:lnTo>
                      <a:pt x="5175" y="11897"/>
                    </a:lnTo>
                    <a:lnTo>
                      <a:pt x="5655" y="12137"/>
                    </a:lnTo>
                    <a:lnTo>
                      <a:pt x="6162" y="12350"/>
                    </a:lnTo>
                    <a:lnTo>
                      <a:pt x="6669" y="12564"/>
                    </a:lnTo>
                    <a:lnTo>
                      <a:pt x="7176" y="12724"/>
                    </a:lnTo>
                    <a:lnTo>
                      <a:pt x="7709" y="12911"/>
                    </a:lnTo>
                    <a:lnTo>
                      <a:pt x="8269" y="13044"/>
                    </a:lnTo>
                    <a:lnTo>
                      <a:pt x="8829" y="13151"/>
                    </a:lnTo>
                    <a:lnTo>
                      <a:pt x="9390" y="13257"/>
                    </a:lnTo>
                    <a:lnTo>
                      <a:pt x="9976" y="13337"/>
                    </a:lnTo>
                    <a:lnTo>
                      <a:pt x="10563" y="13391"/>
                    </a:lnTo>
                    <a:lnTo>
                      <a:pt x="11150" y="13444"/>
                    </a:lnTo>
                    <a:lnTo>
                      <a:pt x="11764" y="13444"/>
                    </a:lnTo>
                    <a:lnTo>
                      <a:pt x="11764" y="13444"/>
                    </a:lnTo>
                    <a:lnTo>
                      <a:pt x="12377" y="13444"/>
                    </a:lnTo>
                    <a:lnTo>
                      <a:pt x="12964" y="13391"/>
                    </a:lnTo>
                    <a:lnTo>
                      <a:pt x="13551" y="13337"/>
                    </a:lnTo>
                    <a:lnTo>
                      <a:pt x="14138" y="13257"/>
                    </a:lnTo>
                    <a:lnTo>
                      <a:pt x="14698" y="13151"/>
                    </a:lnTo>
                    <a:lnTo>
                      <a:pt x="15258" y="13044"/>
                    </a:lnTo>
                    <a:lnTo>
                      <a:pt x="15818" y="12911"/>
                    </a:lnTo>
                    <a:lnTo>
                      <a:pt x="16352" y="12724"/>
                    </a:lnTo>
                    <a:lnTo>
                      <a:pt x="16858" y="12564"/>
                    </a:lnTo>
                    <a:lnTo>
                      <a:pt x="17365" y="12350"/>
                    </a:lnTo>
                    <a:lnTo>
                      <a:pt x="17872" y="12137"/>
                    </a:lnTo>
                    <a:lnTo>
                      <a:pt x="18352" y="11897"/>
                    </a:lnTo>
                    <a:lnTo>
                      <a:pt x="18805" y="11657"/>
                    </a:lnTo>
                    <a:lnTo>
                      <a:pt x="19259" y="11390"/>
                    </a:lnTo>
                    <a:lnTo>
                      <a:pt x="19686" y="11097"/>
                    </a:lnTo>
                    <a:lnTo>
                      <a:pt x="20086" y="10803"/>
                    </a:lnTo>
                    <a:lnTo>
                      <a:pt x="20486" y="10483"/>
                    </a:lnTo>
                    <a:lnTo>
                      <a:pt x="20859" y="10163"/>
                    </a:lnTo>
                    <a:lnTo>
                      <a:pt x="21206" y="9816"/>
                    </a:lnTo>
                    <a:lnTo>
                      <a:pt x="21526" y="9443"/>
                    </a:lnTo>
                    <a:lnTo>
                      <a:pt x="21846" y="9096"/>
                    </a:lnTo>
                    <a:lnTo>
                      <a:pt x="22113" y="8696"/>
                    </a:lnTo>
                    <a:lnTo>
                      <a:pt x="22380" y="8323"/>
                    </a:lnTo>
                    <a:lnTo>
                      <a:pt x="22620" y="7923"/>
                    </a:lnTo>
                    <a:lnTo>
                      <a:pt x="22833" y="7496"/>
                    </a:lnTo>
                    <a:lnTo>
                      <a:pt x="23020" y="7069"/>
                    </a:lnTo>
                    <a:lnTo>
                      <a:pt x="23180" y="6642"/>
                    </a:lnTo>
                    <a:lnTo>
                      <a:pt x="23287" y="6215"/>
                    </a:lnTo>
                    <a:lnTo>
                      <a:pt x="23393" y="5762"/>
                    </a:lnTo>
                    <a:lnTo>
                      <a:pt x="23473" y="5308"/>
                    </a:lnTo>
                    <a:lnTo>
                      <a:pt x="23527" y="4855"/>
                    </a:lnTo>
                    <a:lnTo>
                      <a:pt x="23527" y="4375"/>
                    </a:lnTo>
                    <a:lnTo>
                      <a:pt x="23527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12" name="Google Shape;812;p16"/>
              <p:cNvSpPr/>
              <p:nvPr/>
            </p:nvSpPr>
            <p:spPr>
              <a:xfrm>
                <a:off x="8965306" y="5312628"/>
                <a:ext cx="311384" cy="177743"/>
              </a:xfrm>
              <a:custGeom>
                <a:avLst/>
                <a:gdLst/>
                <a:ahLst/>
                <a:cxnLst/>
                <a:rect l="l" t="t" r="r" b="b"/>
                <a:pathLst>
                  <a:path w="23554" h="13445" extrusionOk="0">
                    <a:moveTo>
                      <a:pt x="1" y="0"/>
                    </a:moveTo>
                    <a:lnTo>
                      <a:pt x="1" y="4375"/>
                    </a:lnTo>
                    <a:lnTo>
                      <a:pt x="27" y="4855"/>
                    </a:lnTo>
                    <a:lnTo>
                      <a:pt x="81" y="5308"/>
                    </a:lnTo>
                    <a:lnTo>
                      <a:pt x="161" y="5762"/>
                    </a:lnTo>
                    <a:lnTo>
                      <a:pt x="241" y="6215"/>
                    </a:lnTo>
                    <a:lnTo>
                      <a:pt x="374" y="6642"/>
                    </a:lnTo>
                    <a:lnTo>
                      <a:pt x="534" y="7069"/>
                    </a:lnTo>
                    <a:lnTo>
                      <a:pt x="721" y="7496"/>
                    </a:lnTo>
                    <a:lnTo>
                      <a:pt x="934" y="7923"/>
                    </a:lnTo>
                    <a:lnTo>
                      <a:pt x="1174" y="8323"/>
                    </a:lnTo>
                    <a:lnTo>
                      <a:pt x="1441" y="8696"/>
                    </a:lnTo>
                    <a:lnTo>
                      <a:pt x="1708" y="9096"/>
                    </a:lnTo>
                    <a:lnTo>
                      <a:pt x="2028" y="9443"/>
                    </a:lnTo>
                    <a:lnTo>
                      <a:pt x="2348" y="9816"/>
                    </a:lnTo>
                    <a:lnTo>
                      <a:pt x="2695" y="10163"/>
                    </a:lnTo>
                    <a:lnTo>
                      <a:pt x="3068" y="10483"/>
                    </a:lnTo>
                    <a:lnTo>
                      <a:pt x="3468" y="10803"/>
                    </a:lnTo>
                    <a:lnTo>
                      <a:pt x="3868" y="11097"/>
                    </a:lnTo>
                    <a:lnTo>
                      <a:pt x="4295" y="11390"/>
                    </a:lnTo>
                    <a:lnTo>
                      <a:pt x="4749" y="11657"/>
                    </a:lnTo>
                    <a:lnTo>
                      <a:pt x="5202" y="11897"/>
                    </a:lnTo>
                    <a:lnTo>
                      <a:pt x="5682" y="12137"/>
                    </a:lnTo>
                    <a:lnTo>
                      <a:pt x="6162" y="12350"/>
                    </a:lnTo>
                    <a:lnTo>
                      <a:pt x="6669" y="12564"/>
                    </a:lnTo>
                    <a:lnTo>
                      <a:pt x="7203" y="12724"/>
                    </a:lnTo>
                    <a:lnTo>
                      <a:pt x="7736" y="12911"/>
                    </a:lnTo>
                    <a:lnTo>
                      <a:pt x="8296" y="13044"/>
                    </a:lnTo>
                    <a:lnTo>
                      <a:pt x="8856" y="13151"/>
                    </a:lnTo>
                    <a:lnTo>
                      <a:pt x="9417" y="13257"/>
                    </a:lnTo>
                    <a:lnTo>
                      <a:pt x="10003" y="13337"/>
                    </a:lnTo>
                    <a:lnTo>
                      <a:pt x="10590" y="13391"/>
                    </a:lnTo>
                    <a:lnTo>
                      <a:pt x="11177" y="13444"/>
                    </a:lnTo>
                    <a:lnTo>
                      <a:pt x="12404" y="13444"/>
                    </a:lnTo>
                    <a:lnTo>
                      <a:pt x="12991" y="13391"/>
                    </a:lnTo>
                    <a:lnTo>
                      <a:pt x="13578" y="13337"/>
                    </a:lnTo>
                    <a:lnTo>
                      <a:pt x="14165" y="13257"/>
                    </a:lnTo>
                    <a:lnTo>
                      <a:pt x="14725" y="13151"/>
                    </a:lnTo>
                    <a:lnTo>
                      <a:pt x="15285" y="13044"/>
                    </a:lnTo>
                    <a:lnTo>
                      <a:pt x="15845" y="12911"/>
                    </a:lnTo>
                    <a:lnTo>
                      <a:pt x="16379" y="12724"/>
                    </a:lnTo>
                    <a:lnTo>
                      <a:pt x="16885" y="12564"/>
                    </a:lnTo>
                    <a:lnTo>
                      <a:pt x="17392" y="12350"/>
                    </a:lnTo>
                    <a:lnTo>
                      <a:pt x="17899" y="12137"/>
                    </a:lnTo>
                    <a:lnTo>
                      <a:pt x="18379" y="11897"/>
                    </a:lnTo>
                    <a:lnTo>
                      <a:pt x="18832" y="11657"/>
                    </a:lnTo>
                    <a:lnTo>
                      <a:pt x="19286" y="11390"/>
                    </a:lnTo>
                    <a:lnTo>
                      <a:pt x="19713" y="11097"/>
                    </a:lnTo>
                    <a:lnTo>
                      <a:pt x="20113" y="10803"/>
                    </a:lnTo>
                    <a:lnTo>
                      <a:pt x="20513" y="10483"/>
                    </a:lnTo>
                    <a:lnTo>
                      <a:pt x="20860" y="10163"/>
                    </a:lnTo>
                    <a:lnTo>
                      <a:pt x="21233" y="9816"/>
                    </a:lnTo>
                    <a:lnTo>
                      <a:pt x="21553" y="9443"/>
                    </a:lnTo>
                    <a:lnTo>
                      <a:pt x="21847" y="9096"/>
                    </a:lnTo>
                    <a:lnTo>
                      <a:pt x="22140" y="8696"/>
                    </a:lnTo>
                    <a:lnTo>
                      <a:pt x="22407" y="8323"/>
                    </a:lnTo>
                    <a:lnTo>
                      <a:pt x="22647" y="7923"/>
                    </a:lnTo>
                    <a:lnTo>
                      <a:pt x="22834" y="7496"/>
                    </a:lnTo>
                    <a:lnTo>
                      <a:pt x="23020" y="7069"/>
                    </a:lnTo>
                    <a:lnTo>
                      <a:pt x="23180" y="6642"/>
                    </a:lnTo>
                    <a:lnTo>
                      <a:pt x="23314" y="6215"/>
                    </a:lnTo>
                    <a:lnTo>
                      <a:pt x="23420" y="5762"/>
                    </a:lnTo>
                    <a:lnTo>
                      <a:pt x="23500" y="5308"/>
                    </a:lnTo>
                    <a:lnTo>
                      <a:pt x="23554" y="4855"/>
                    </a:lnTo>
                    <a:lnTo>
                      <a:pt x="23554" y="4375"/>
                    </a:lnTo>
                    <a:lnTo>
                      <a:pt x="23554" y="0"/>
                    </a:lnTo>
                    <a:close/>
                  </a:path>
                </a:pathLst>
              </a:custGeom>
              <a:solidFill>
                <a:srgbClr val="C3050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13" name="Google Shape;813;p16"/>
              <p:cNvSpPr/>
              <p:nvPr/>
            </p:nvSpPr>
            <p:spPr>
              <a:xfrm>
                <a:off x="8965306" y="5312628"/>
                <a:ext cx="311384" cy="177743"/>
              </a:xfrm>
              <a:custGeom>
                <a:avLst/>
                <a:gdLst/>
                <a:ahLst/>
                <a:cxnLst/>
                <a:rect l="l" t="t" r="r" b="b"/>
                <a:pathLst>
                  <a:path w="23554" h="13445" fill="none" extrusionOk="0">
                    <a:moveTo>
                      <a:pt x="23554" y="0"/>
                    </a:moveTo>
                    <a:lnTo>
                      <a:pt x="3948" y="0"/>
                    </a:lnTo>
                    <a:lnTo>
                      <a:pt x="1" y="0"/>
                    </a:lnTo>
                    <a:lnTo>
                      <a:pt x="1" y="4375"/>
                    </a:lnTo>
                    <a:lnTo>
                      <a:pt x="1" y="4375"/>
                    </a:lnTo>
                    <a:lnTo>
                      <a:pt x="1" y="4375"/>
                    </a:lnTo>
                    <a:lnTo>
                      <a:pt x="27" y="4855"/>
                    </a:lnTo>
                    <a:lnTo>
                      <a:pt x="81" y="5308"/>
                    </a:lnTo>
                    <a:lnTo>
                      <a:pt x="161" y="5762"/>
                    </a:lnTo>
                    <a:lnTo>
                      <a:pt x="241" y="6215"/>
                    </a:lnTo>
                    <a:lnTo>
                      <a:pt x="374" y="6642"/>
                    </a:lnTo>
                    <a:lnTo>
                      <a:pt x="534" y="7069"/>
                    </a:lnTo>
                    <a:lnTo>
                      <a:pt x="721" y="7496"/>
                    </a:lnTo>
                    <a:lnTo>
                      <a:pt x="934" y="7923"/>
                    </a:lnTo>
                    <a:lnTo>
                      <a:pt x="1174" y="8323"/>
                    </a:lnTo>
                    <a:lnTo>
                      <a:pt x="1441" y="8696"/>
                    </a:lnTo>
                    <a:lnTo>
                      <a:pt x="1708" y="9096"/>
                    </a:lnTo>
                    <a:lnTo>
                      <a:pt x="2028" y="9443"/>
                    </a:lnTo>
                    <a:lnTo>
                      <a:pt x="2348" y="9816"/>
                    </a:lnTo>
                    <a:lnTo>
                      <a:pt x="2695" y="10163"/>
                    </a:lnTo>
                    <a:lnTo>
                      <a:pt x="3068" y="10483"/>
                    </a:lnTo>
                    <a:lnTo>
                      <a:pt x="3468" y="10803"/>
                    </a:lnTo>
                    <a:lnTo>
                      <a:pt x="3868" y="11097"/>
                    </a:lnTo>
                    <a:lnTo>
                      <a:pt x="4295" y="11390"/>
                    </a:lnTo>
                    <a:lnTo>
                      <a:pt x="4749" y="11657"/>
                    </a:lnTo>
                    <a:lnTo>
                      <a:pt x="5202" y="11897"/>
                    </a:lnTo>
                    <a:lnTo>
                      <a:pt x="5682" y="12137"/>
                    </a:lnTo>
                    <a:lnTo>
                      <a:pt x="6162" y="12350"/>
                    </a:lnTo>
                    <a:lnTo>
                      <a:pt x="6669" y="12564"/>
                    </a:lnTo>
                    <a:lnTo>
                      <a:pt x="7203" y="12724"/>
                    </a:lnTo>
                    <a:lnTo>
                      <a:pt x="7736" y="12911"/>
                    </a:lnTo>
                    <a:lnTo>
                      <a:pt x="8296" y="13044"/>
                    </a:lnTo>
                    <a:lnTo>
                      <a:pt x="8856" y="13151"/>
                    </a:lnTo>
                    <a:lnTo>
                      <a:pt x="9417" y="13257"/>
                    </a:lnTo>
                    <a:lnTo>
                      <a:pt x="10003" y="13337"/>
                    </a:lnTo>
                    <a:lnTo>
                      <a:pt x="10590" y="13391"/>
                    </a:lnTo>
                    <a:lnTo>
                      <a:pt x="11177" y="13444"/>
                    </a:lnTo>
                    <a:lnTo>
                      <a:pt x="11791" y="13444"/>
                    </a:lnTo>
                    <a:lnTo>
                      <a:pt x="11791" y="13444"/>
                    </a:lnTo>
                    <a:lnTo>
                      <a:pt x="12404" y="13444"/>
                    </a:lnTo>
                    <a:lnTo>
                      <a:pt x="12991" y="13391"/>
                    </a:lnTo>
                    <a:lnTo>
                      <a:pt x="13578" y="13337"/>
                    </a:lnTo>
                    <a:lnTo>
                      <a:pt x="14165" y="13257"/>
                    </a:lnTo>
                    <a:lnTo>
                      <a:pt x="14725" y="13151"/>
                    </a:lnTo>
                    <a:lnTo>
                      <a:pt x="15285" y="13044"/>
                    </a:lnTo>
                    <a:lnTo>
                      <a:pt x="15845" y="12911"/>
                    </a:lnTo>
                    <a:lnTo>
                      <a:pt x="16379" y="12724"/>
                    </a:lnTo>
                    <a:lnTo>
                      <a:pt x="16885" y="12564"/>
                    </a:lnTo>
                    <a:lnTo>
                      <a:pt x="17392" y="12350"/>
                    </a:lnTo>
                    <a:lnTo>
                      <a:pt x="17899" y="12137"/>
                    </a:lnTo>
                    <a:lnTo>
                      <a:pt x="18379" y="11897"/>
                    </a:lnTo>
                    <a:lnTo>
                      <a:pt x="18832" y="11657"/>
                    </a:lnTo>
                    <a:lnTo>
                      <a:pt x="19286" y="11390"/>
                    </a:lnTo>
                    <a:lnTo>
                      <a:pt x="19713" y="11097"/>
                    </a:lnTo>
                    <a:lnTo>
                      <a:pt x="20113" y="10803"/>
                    </a:lnTo>
                    <a:lnTo>
                      <a:pt x="20513" y="10483"/>
                    </a:lnTo>
                    <a:lnTo>
                      <a:pt x="20860" y="10163"/>
                    </a:lnTo>
                    <a:lnTo>
                      <a:pt x="21233" y="9816"/>
                    </a:lnTo>
                    <a:lnTo>
                      <a:pt x="21553" y="9443"/>
                    </a:lnTo>
                    <a:lnTo>
                      <a:pt x="21847" y="9096"/>
                    </a:lnTo>
                    <a:lnTo>
                      <a:pt x="22140" y="8696"/>
                    </a:lnTo>
                    <a:lnTo>
                      <a:pt x="22407" y="8323"/>
                    </a:lnTo>
                    <a:lnTo>
                      <a:pt x="22647" y="7923"/>
                    </a:lnTo>
                    <a:lnTo>
                      <a:pt x="22834" y="7496"/>
                    </a:lnTo>
                    <a:lnTo>
                      <a:pt x="23020" y="7069"/>
                    </a:lnTo>
                    <a:lnTo>
                      <a:pt x="23180" y="6642"/>
                    </a:lnTo>
                    <a:lnTo>
                      <a:pt x="23314" y="6215"/>
                    </a:lnTo>
                    <a:lnTo>
                      <a:pt x="23420" y="5762"/>
                    </a:lnTo>
                    <a:lnTo>
                      <a:pt x="23500" y="5308"/>
                    </a:lnTo>
                    <a:lnTo>
                      <a:pt x="23554" y="4855"/>
                    </a:lnTo>
                    <a:lnTo>
                      <a:pt x="23554" y="4375"/>
                    </a:lnTo>
                    <a:lnTo>
                      <a:pt x="23554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14" name="Google Shape;814;p16"/>
              <p:cNvSpPr/>
              <p:nvPr/>
            </p:nvSpPr>
            <p:spPr>
              <a:xfrm>
                <a:off x="7405872" y="5622266"/>
                <a:ext cx="508494" cy="508494"/>
              </a:xfrm>
              <a:custGeom>
                <a:avLst/>
                <a:gdLst/>
                <a:ahLst/>
                <a:cxnLst/>
                <a:rect l="l" t="t" r="r" b="b"/>
                <a:pathLst>
                  <a:path w="38464" h="38464" extrusionOk="0">
                    <a:moveTo>
                      <a:pt x="0" y="0"/>
                    </a:moveTo>
                    <a:lnTo>
                      <a:pt x="0" y="38464"/>
                    </a:lnTo>
                    <a:lnTo>
                      <a:pt x="38464" y="38464"/>
                    </a:lnTo>
                    <a:lnTo>
                      <a:pt x="38464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15" name="Google Shape;815;p16"/>
              <p:cNvSpPr/>
              <p:nvPr/>
            </p:nvSpPr>
            <p:spPr>
              <a:xfrm>
                <a:off x="7558561" y="5683625"/>
                <a:ext cx="217945" cy="385786"/>
              </a:xfrm>
              <a:custGeom>
                <a:avLst/>
                <a:gdLst/>
                <a:ahLst/>
                <a:cxnLst/>
                <a:rect l="l" t="t" r="r" b="b"/>
                <a:pathLst>
                  <a:path w="16486" h="29182" extrusionOk="0">
                    <a:moveTo>
                      <a:pt x="1815" y="0"/>
                    </a:moveTo>
                    <a:lnTo>
                      <a:pt x="1" y="29182"/>
                    </a:lnTo>
                    <a:lnTo>
                      <a:pt x="4135" y="29182"/>
                    </a:lnTo>
                    <a:lnTo>
                      <a:pt x="8003" y="8403"/>
                    </a:lnTo>
                    <a:lnTo>
                      <a:pt x="8510" y="8403"/>
                    </a:lnTo>
                    <a:lnTo>
                      <a:pt x="12377" y="29182"/>
                    </a:lnTo>
                    <a:lnTo>
                      <a:pt x="16485" y="29182"/>
                    </a:lnTo>
                    <a:lnTo>
                      <a:pt x="14698" y="0"/>
                    </a:lnTo>
                    <a:close/>
                  </a:path>
                </a:pathLst>
              </a:custGeom>
              <a:solidFill>
                <a:srgbClr val="CCCCCC">
                  <a:alpha val="74510"/>
                </a:srgbClr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16" name="Google Shape;816;p16"/>
              <p:cNvSpPr/>
              <p:nvPr/>
            </p:nvSpPr>
            <p:spPr>
              <a:xfrm>
                <a:off x="7986341" y="5622266"/>
                <a:ext cx="508150" cy="508494"/>
              </a:xfrm>
              <a:custGeom>
                <a:avLst/>
                <a:gdLst/>
                <a:ahLst/>
                <a:cxnLst/>
                <a:rect l="l" t="t" r="r" b="b"/>
                <a:pathLst>
                  <a:path w="38438" h="38464" extrusionOk="0">
                    <a:moveTo>
                      <a:pt x="0" y="0"/>
                    </a:moveTo>
                    <a:lnTo>
                      <a:pt x="0" y="38464"/>
                    </a:lnTo>
                    <a:lnTo>
                      <a:pt x="38437" y="38464"/>
                    </a:lnTo>
                    <a:lnTo>
                      <a:pt x="38437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17" name="Google Shape;817;p16"/>
              <p:cNvSpPr/>
              <p:nvPr/>
            </p:nvSpPr>
            <p:spPr>
              <a:xfrm>
                <a:off x="8050172" y="5839502"/>
                <a:ext cx="380498" cy="145645"/>
              </a:xfrm>
              <a:custGeom>
                <a:avLst/>
                <a:gdLst/>
                <a:ahLst/>
                <a:cxnLst/>
                <a:rect l="l" t="t" r="r" b="b"/>
                <a:pathLst>
                  <a:path w="28782" h="11017" extrusionOk="0">
                    <a:moveTo>
                      <a:pt x="12217" y="0"/>
                    </a:moveTo>
                    <a:lnTo>
                      <a:pt x="12057" y="54"/>
                    </a:lnTo>
                    <a:lnTo>
                      <a:pt x="11923" y="107"/>
                    </a:lnTo>
                    <a:lnTo>
                      <a:pt x="11790" y="160"/>
                    </a:lnTo>
                    <a:lnTo>
                      <a:pt x="11683" y="267"/>
                    </a:lnTo>
                    <a:lnTo>
                      <a:pt x="11550" y="400"/>
                    </a:lnTo>
                    <a:lnTo>
                      <a:pt x="11283" y="694"/>
                    </a:lnTo>
                    <a:lnTo>
                      <a:pt x="11016" y="1040"/>
                    </a:lnTo>
                    <a:lnTo>
                      <a:pt x="10696" y="1414"/>
                    </a:lnTo>
                    <a:lnTo>
                      <a:pt x="10510" y="1601"/>
                    </a:lnTo>
                    <a:lnTo>
                      <a:pt x="10296" y="1787"/>
                    </a:lnTo>
                    <a:lnTo>
                      <a:pt x="10056" y="1974"/>
                    </a:lnTo>
                    <a:lnTo>
                      <a:pt x="9789" y="2134"/>
                    </a:lnTo>
                    <a:lnTo>
                      <a:pt x="9469" y="2321"/>
                    </a:lnTo>
                    <a:lnTo>
                      <a:pt x="9123" y="2454"/>
                    </a:lnTo>
                    <a:lnTo>
                      <a:pt x="8722" y="2614"/>
                    </a:lnTo>
                    <a:lnTo>
                      <a:pt x="8269" y="2721"/>
                    </a:lnTo>
                    <a:lnTo>
                      <a:pt x="7762" y="2828"/>
                    </a:lnTo>
                    <a:lnTo>
                      <a:pt x="7229" y="2908"/>
                    </a:lnTo>
                    <a:lnTo>
                      <a:pt x="6455" y="2961"/>
                    </a:lnTo>
                    <a:lnTo>
                      <a:pt x="5735" y="2988"/>
                    </a:lnTo>
                    <a:lnTo>
                      <a:pt x="5095" y="2988"/>
                    </a:lnTo>
                    <a:lnTo>
                      <a:pt x="4481" y="2961"/>
                    </a:lnTo>
                    <a:lnTo>
                      <a:pt x="3948" y="2908"/>
                    </a:lnTo>
                    <a:lnTo>
                      <a:pt x="3441" y="2828"/>
                    </a:lnTo>
                    <a:lnTo>
                      <a:pt x="3014" y="2748"/>
                    </a:lnTo>
                    <a:lnTo>
                      <a:pt x="2614" y="2668"/>
                    </a:lnTo>
                    <a:lnTo>
                      <a:pt x="1494" y="2347"/>
                    </a:lnTo>
                    <a:lnTo>
                      <a:pt x="1307" y="2321"/>
                    </a:lnTo>
                    <a:lnTo>
                      <a:pt x="1174" y="2321"/>
                    </a:lnTo>
                    <a:lnTo>
                      <a:pt x="1067" y="2347"/>
                    </a:lnTo>
                    <a:lnTo>
                      <a:pt x="1014" y="2427"/>
                    </a:lnTo>
                    <a:lnTo>
                      <a:pt x="134" y="5842"/>
                    </a:lnTo>
                    <a:lnTo>
                      <a:pt x="80" y="6135"/>
                    </a:lnTo>
                    <a:lnTo>
                      <a:pt x="53" y="6482"/>
                    </a:lnTo>
                    <a:lnTo>
                      <a:pt x="0" y="7175"/>
                    </a:lnTo>
                    <a:lnTo>
                      <a:pt x="0" y="7842"/>
                    </a:lnTo>
                    <a:lnTo>
                      <a:pt x="27" y="8322"/>
                    </a:lnTo>
                    <a:lnTo>
                      <a:pt x="107" y="8883"/>
                    </a:lnTo>
                    <a:lnTo>
                      <a:pt x="214" y="9656"/>
                    </a:lnTo>
                    <a:lnTo>
                      <a:pt x="374" y="10590"/>
                    </a:lnTo>
                    <a:lnTo>
                      <a:pt x="587" y="10643"/>
                    </a:lnTo>
                    <a:lnTo>
                      <a:pt x="880" y="10696"/>
                    </a:lnTo>
                    <a:lnTo>
                      <a:pt x="1280" y="10750"/>
                    </a:lnTo>
                    <a:lnTo>
                      <a:pt x="1867" y="10830"/>
                    </a:lnTo>
                    <a:lnTo>
                      <a:pt x="2614" y="10883"/>
                    </a:lnTo>
                    <a:lnTo>
                      <a:pt x="3548" y="10910"/>
                    </a:lnTo>
                    <a:lnTo>
                      <a:pt x="4695" y="10936"/>
                    </a:lnTo>
                    <a:lnTo>
                      <a:pt x="21633" y="11016"/>
                    </a:lnTo>
                    <a:lnTo>
                      <a:pt x="22566" y="10910"/>
                    </a:lnTo>
                    <a:lnTo>
                      <a:pt x="23553" y="10803"/>
                    </a:lnTo>
                    <a:lnTo>
                      <a:pt x="24727" y="10643"/>
                    </a:lnTo>
                    <a:lnTo>
                      <a:pt x="25900" y="10456"/>
                    </a:lnTo>
                    <a:lnTo>
                      <a:pt x="26487" y="10350"/>
                    </a:lnTo>
                    <a:lnTo>
                      <a:pt x="26994" y="10243"/>
                    </a:lnTo>
                    <a:lnTo>
                      <a:pt x="27474" y="10110"/>
                    </a:lnTo>
                    <a:lnTo>
                      <a:pt x="27874" y="9976"/>
                    </a:lnTo>
                    <a:lnTo>
                      <a:pt x="28168" y="9843"/>
                    </a:lnTo>
                    <a:lnTo>
                      <a:pt x="28301" y="9789"/>
                    </a:lnTo>
                    <a:lnTo>
                      <a:pt x="28381" y="9709"/>
                    </a:lnTo>
                    <a:lnTo>
                      <a:pt x="28461" y="9656"/>
                    </a:lnTo>
                    <a:lnTo>
                      <a:pt x="28595" y="9469"/>
                    </a:lnTo>
                    <a:lnTo>
                      <a:pt x="28675" y="9309"/>
                    </a:lnTo>
                    <a:lnTo>
                      <a:pt x="28728" y="9149"/>
                    </a:lnTo>
                    <a:lnTo>
                      <a:pt x="28781" y="8936"/>
                    </a:lnTo>
                    <a:lnTo>
                      <a:pt x="28781" y="8696"/>
                    </a:lnTo>
                    <a:lnTo>
                      <a:pt x="28354" y="7042"/>
                    </a:lnTo>
                    <a:lnTo>
                      <a:pt x="28301" y="6935"/>
                    </a:lnTo>
                    <a:lnTo>
                      <a:pt x="28221" y="6829"/>
                    </a:lnTo>
                    <a:lnTo>
                      <a:pt x="28061" y="6695"/>
                    </a:lnTo>
                    <a:lnTo>
                      <a:pt x="27874" y="6535"/>
                    </a:lnTo>
                    <a:lnTo>
                      <a:pt x="27608" y="6375"/>
                    </a:lnTo>
                    <a:lnTo>
                      <a:pt x="27261" y="6242"/>
                    </a:lnTo>
                    <a:lnTo>
                      <a:pt x="26807" y="6108"/>
                    </a:lnTo>
                    <a:lnTo>
                      <a:pt x="25660" y="5842"/>
                    </a:lnTo>
                    <a:lnTo>
                      <a:pt x="24353" y="5495"/>
                    </a:lnTo>
                    <a:lnTo>
                      <a:pt x="23100" y="5122"/>
                    </a:lnTo>
                    <a:lnTo>
                      <a:pt x="22059" y="4801"/>
                    </a:lnTo>
                    <a:lnTo>
                      <a:pt x="21179" y="4508"/>
                    </a:lnTo>
                    <a:lnTo>
                      <a:pt x="20379" y="4188"/>
                    </a:lnTo>
                    <a:lnTo>
                      <a:pt x="19605" y="3868"/>
                    </a:lnTo>
                    <a:lnTo>
                      <a:pt x="18885" y="3548"/>
                    </a:lnTo>
                    <a:lnTo>
                      <a:pt x="18218" y="3228"/>
                    </a:lnTo>
                    <a:lnTo>
                      <a:pt x="17578" y="2908"/>
                    </a:lnTo>
                    <a:lnTo>
                      <a:pt x="16458" y="2294"/>
                    </a:lnTo>
                    <a:lnTo>
                      <a:pt x="15524" y="1734"/>
                    </a:lnTo>
                    <a:lnTo>
                      <a:pt x="14777" y="1254"/>
                    </a:lnTo>
                    <a:lnTo>
                      <a:pt x="13817" y="587"/>
                    </a:lnTo>
                    <a:lnTo>
                      <a:pt x="13497" y="400"/>
                    </a:lnTo>
                    <a:lnTo>
                      <a:pt x="13204" y="214"/>
                    </a:lnTo>
                    <a:lnTo>
                      <a:pt x="12910" y="107"/>
                    </a:lnTo>
                    <a:lnTo>
                      <a:pt x="12617" y="27"/>
                    </a:lnTo>
                    <a:lnTo>
                      <a:pt x="12484" y="0"/>
                    </a:lnTo>
                    <a:close/>
                  </a:path>
                </a:pathLst>
              </a:custGeom>
              <a:solidFill>
                <a:srgbClr val="CCCCCC">
                  <a:alpha val="74510"/>
                </a:srgbClr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18" name="Google Shape;818;p16"/>
              <p:cNvSpPr/>
              <p:nvPr/>
            </p:nvSpPr>
            <p:spPr>
              <a:xfrm>
                <a:off x="6825746" y="5622266"/>
                <a:ext cx="508507" cy="508494"/>
              </a:xfrm>
              <a:custGeom>
                <a:avLst/>
                <a:gdLst/>
                <a:ahLst/>
                <a:cxnLst/>
                <a:rect l="l" t="t" r="r" b="b"/>
                <a:pathLst>
                  <a:path w="38465" h="38464" extrusionOk="0">
                    <a:moveTo>
                      <a:pt x="1" y="0"/>
                    </a:moveTo>
                    <a:lnTo>
                      <a:pt x="1" y="38464"/>
                    </a:lnTo>
                    <a:lnTo>
                      <a:pt x="38464" y="38464"/>
                    </a:lnTo>
                    <a:lnTo>
                      <a:pt x="38464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19" name="Google Shape;819;p16"/>
              <p:cNvSpPr/>
              <p:nvPr/>
            </p:nvSpPr>
            <p:spPr>
              <a:xfrm>
                <a:off x="6896637" y="5700548"/>
                <a:ext cx="366736" cy="351943"/>
              </a:xfrm>
              <a:custGeom>
                <a:avLst/>
                <a:gdLst/>
                <a:ahLst/>
                <a:cxnLst/>
                <a:rect l="l" t="t" r="r" b="b"/>
                <a:pathLst>
                  <a:path w="27741" h="26622" extrusionOk="0">
                    <a:moveTo>
                      <a:pt x="9736" y="1"/>
                    </a:moveTo>
                    <a:lnTo>
                      <a:pt x="6082" y="1254"/>
                    </a:lnTo>
                    <a:lnTo>
                      <a:pt x="5708" y="1388"/>
                    </a:lnTo>
                    <a:lnTo>
                      <a:pt x="5388" y="1548"/>
                    </a:lnTo>
                    <a:lnTo>
                      <a:pt x="5068" y="1734"/>
                    </a:lnTo>
                    <a:lnTo>
                      <a:pt x="4748" y="1948"/>
                    </a:lnTo>
                    <a:lnTo>
                      <a:pt x="4481" y="2215"/>
                    </a:lnTo>
                    <a:lnTo>
                      <a:pt x="4214" y="2481"/>
                    </a:lnTo>
                    <a:lnTo>
                      <a:pt x="4001" y="2775"/>
                    </a:lnTo>
                    <a:lnTo>
                      <a:pt x="3814" y="3095"/>
                    </a:lnTo>
                    <a:lnTo>
                      <a:pt x="0" y="10457"/>
                    </a:lnTo>
                    <a:lnTo>
                      <a:pt x="4161" y="13818"/>
                    </a:lnTo>
                    <a:lnTo>
                      <a:pt x="6295" y="11764"/>
                    </a:lnTo>
                    <a:lnTo>
                      <a:pt x="6268" y="12644"/>
                    </a:lnTo>
                    <a:lnTo>
                      <a:pt x="6242" y="13738"/>
                    </a:lnTo>
                    <a:lnTo>
                      <a:pt x="6162" y="15311"/>
                    </a:lnTo>
                    <a:lnTo>
                      <a:pt x="6055" y="17365"/>
                    </a:lnTo>
                    <a:lnTo>
                      <a:pt x="5868" y="19926"/>
                    </a:lnTo>
                    <a:lnTo>
                      <a:pt x="5628" y="23020"/>
                    </a:lnTo>
                    <a:lnTo>
                      <a:pt x="5281" y="26621"/>
                    </a:lnTo>
                    <a:lnTo>
                      <a:pt x="22246" y="26621"/>
                    </a:lnTo>
                    <a:lnTo>
                      <a:pt x="21899" y="23020"/>
                    </a:lnTo>
                    <a:lnTo>
                      <a:pt x="21659" y="19926"/>
                    </a:lnTo>
                    <a:lnTo>
                      <a:pt x="21472" y="17365"/>
                    </a:lnTo>
                    <a:lnTo>
                      <a:pt x="21366" y="15311"/>
                    </a:lnTo>
                    <a:lnTo>
                      <a:pt x="21286" y="13738"/>
                    </a:lnTo>
                    <a:lnTo>
                      <a:pt x="21259" y="12644"/>
                    </a:lnTo>
                    <a:lnTo>
                      <a:pt x="21232" y="11764"/>
                    </a:lnTo>
                    <a:lnTo>
                      <a:pt x="23366" y="13818"/>
                    </a:lnTo>
                    <a:lnTo>
                      <a:pt x="27741" y="10457"/>
                    </a:lnTo>
                    <a:lnTo>
                      <a:pt x="23713" y="3095"/>
                    </a:lnTo>
                    <a:lnTo>
                      <a:pt x="23526" y="2775"/>
                    </a:lnTo>
                    <a:lnTo>
                      <a:pt x="23313" y="2481"/>
                    </a:lnTo>
                    <a:lnTo>
                      <a:pt x="23046" y="2215"/>
                    </a:lnTo>
                    <a:lnTo>
                      <a:pt x="22779" y="1948"/>
                    </a:lnTo>
                    <a:lnTo>
                      <a:pt x="22459" y="1734"/>
                    </a:lnTo>
                    <a:lnTo>
                      <a:pt x="22139" y="1548"/>
                    </a:lnTo>
                    <a:lnTo>
                      <a:pt x="21819" y="1388"/>
                    </a:lnTo>
                    <a:lnTo>
                      <a:pt x="21446" y="1254"/>
                    </a:lnTo>
                    <a:lnTo>
                      <a:pt x="17791" y="1"/>
                    </a:lnTo>
                    <a:lnTo>
                      <a:pt x="17765" y="187"/>
                    </a:lnTo>
                    <a:lnTo>
                      <a:pt x="17738" y="374"/>
                    </a:lnTo>
                    <a:lnTo>
                      <a:pt x="17711" y="561"/>
                    </a:lnTo>
                    <a:lnTo>
                      <a:pt x="17631" y="721"/>
                    </a:lnTo>
                    <a:lnTo>
                      <a:pt x="17551" y="881"/>
                    </a:lnTo>
                    <a:lnTo>
                      <a:pt x="17471" y="1041"/>
                    </a:lnTo>
                    <a:lnTo>
                      <a:pt x="17258" y="1334"/>
                    </a:lnTo>
                    <a:lnTo>
                      <a:pt x="16991" y="1601"/>
                    </a:lnTo>
                    <a:lnTo>
                      <a:pt x="16698" y="1841"/>
                    </a:lnTo>
                    <a:lnTo>
                      <a:pt x="16378" y="2055"/>
                    </a:lnTo>
                    <a:lnTo>
                      <a:pt x="16031" y="2241"/>
                    </a:lnTo>
                    <a:lnTo>
                      <a:pt x="15684" y="2401"/>
                    </a:lnTo>
                    <a:lnTo>
                      <a:pt x="15337" y="2535"/>
                    </a:lnTo>
                    <a:lnTo>
                      <a:pt x="14671" y="2721"/>
                    </a:lnTo>
                    <a:lnTo>
                      <a:pt x="14137" y="2855"/>
                    </a:lnTo>
                    <a:lnTo>
                      <a:pt x="13764" y="2935"/>
                    </a:lnTo>
                    <a:lnTo>
                      <a:pt x="13390" y="2881"/>
                    </a:lnTo>
                    <a:lnTo>
                      <a:pt x="12857" y="2801"/>
                    </a:lnTo>
                    <a:lnTo>
                      <a:pt x="12537" y="2721"/>
                    </a:lnTo>
                    <a:lnTo>
                      <a:pt x="12217" y="2641"/>
                    </a:lnTo>
                    <a:lnTo>
                      <a:pt x="11870" y="2508"/>
                    </a:lnTo>
                    <a:lnTo>
                      <a:pt x="11523" y="2375"/>
                    </a:lnTo>
                    <a:lnTo>
                      <a:pt x="11203" y="2215"/>
                    </a:lnTo>
                    <a:lnTo>
                      <a:pt x="10883" y="2001"/>
                    </a:lnTo>
                    <a:lnTo>
                      <a:pt x="10590" y="1788"/>
                    </a:lnTo>
                    <a:lnTo>
                      <a:pt x="10323" y="1521"/>
                    </a:lnTo>
                    <a:lnTo>
                      <a:pt x="10083" y="1201"/>
                    </a:lnTo>
                    <a:lnTo>
                      <a:pt x="10003" y="1014"/>
                    </a:lnTo>
                    <a:lnTo>
                      <a:pt x="9923" y="828"/>
                    </a:lnTo>
                    <a:lnTo>
                      <a:pt x="9843" y="641"/>
                    </a:lnTo>
                    <a:lnTo>
                      <a:pt x="9789" y="427"/>
                    </a:lnTo>
                    <a:lnTo>
                      <a:pt x="9763" y="214"/>
                    </a:lnTo>
                    <a:lnTo>
                      <a:pt x="9736" y="1"/>
                    </a:lnTo>
                    <a:close/>
                  </a:path>
                </a:pathLst>
              </a:custGeom>
              <a:solidFill>
                <a:srgbClr val="CCCCCC">
                  <a:alpha val="74510"/>
                </a:srgbClr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0" name="Google Shape;820;p16"/>
              <p:cNvSpPr/>
              <p:nvPr/>
            </p:nvSpPr>
            <p:spPr>
              <a:xfrm>
                <a:off x="7161124" y="6528942"/>
                <a:ext cx="51492" cy="63482"/>
              </a:xfrm>
              <a:custGeom>
                <a:avLst/>
                <a:gdLst/>
                <a:ahLst/>
                <a:cxnLst/>
                <a:rect l="l" t="t" r="r" b="b"/>
                <a:pathLst>
                  <a:path w="3895" h="4802" extrusionOk="0">
                    <a:moveTo>
                      <a:pt x="587" y="1"/>
                    </a:moveTo>
                    <a:lnTo>
                      <a:pt x="347" y="641"/>
                    </a:lnTo>
                    <a:lnTo>
                      <a:pt x="187" y="1148"/>
                    </a:lnTo>
                    <a:lnTo>
                      <a:pt x="80" y="1548"/>
                    </a:lnTo>
                    <a:lnTo>
                      <a:pt x="27" y="1868"/>
                    </a:lnTo>
                    <a:lnTo>
                      <a:pt x="0" y="2241"/>
                    </a:lnTo>
                    <a:lnTo>
                      <a:pt x="0" y="3068"/>
                    </a:lnTo>
                    <a:lnTo>
                      <a:pt x="27" y="4055"/>
                    </a:lnTo>
                    <a:lnTo>
                      <a:pt x="2428" y="4802"/>
                    </a:lnTo>
                    <a:lnTo>
                      <a:pt x="2694" y="4615"/>
                    </a:lnTo>
                    <a:lnTo>
                      <a:pt x="2935" y="4402"/>
                    </a:lnTo>
                    <a:lnTo>
                      <a:pt x="3228" y="4135"/>
                    </a:lnTo>
                    <a:lnTo>
                      <a:pt x="3495" y="3842"/>
                    </a:lnTo>
                    <a:lnTo>
                      <a:pt x="3735" y="3522"/>
                    </a:lnTo>
                    <a:lnTo>
                      <a:pt x="3815" y="3362"/>
                    </a:lnTo>
                    <a:lnTo>
                      <a:pt x="3868" y="3201"/>
                    </a:lnTo>
                    <a:lnTo>
                      <a:pt x="3895" y="3068"/>
                    </a:lnTo>
                    <a:lnTo>
                      <a:pt x="3895" y="2935"/>
                    </a:lnTo>
                    <a:lnTo>
                      <a:pt x="3788" y="2615"/>
                    </a:lnTo>
                    <a:lnTo>
                      <a:pt x="3601" y="2215"/>
                    </a:lnTo>
                    <a:lnTo>
                      <a:pt x="3175" y="1308"/>
                    </a:lnTo>
                    <a:lnTo>
                      <a:pt x="2748" y="534"/>
                    </a:lnTo>
                    <a:lnTo>
                      <a:pt x="2588" y="214"/>
                    </a:lnTo>
                    <a:lnTo>
                      <a:pt x="587" y="1"/>
                    </a:lnTo>
                    <a:close/>
                  </a:path>
                </a:pathLst>
              </a:custGeom>
              <a:solidFill>
                <a:srgbClr val="D99468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1" name="Google Shape;821;p16"/>
              <p:cNvSpPr/>
              <p:nvPr/>
            </p:nvSpPr>
            <p:spPr>
              <a:xfrm>
                <a:off x="7061675" y="6619572"/>
                <a:ext cx="226049" cy="285645"/>
              </a:xfrm>
              <a:custGeom>
                <a:avLst/>
                <a:gdLst/>
                <a:ahLst/>
                <a:cxnLst/>
                <a:rect l="l" t="t" r="r" b="b"/>
                <a:pathLst>
                  <a:path w="17099" h="21607" extrusionOk="0">
                    <a:moveTo>
                      <a:pt x="0" y="1"/>
                    </a:moveTo>
                    <a:lnTo>
                      <a:pt x="0" y="21607"/>
                    </a:lnTo>
                    <a:lnTo>
                      <a:pt x="17098" y="21607"/>
                    </a:lnTo>
                    <a:lnTo>
                      <a:pt x="17098" y="1"/>
                    </a:lnTo>
                    <a:close/>
                  </a:path>
                </a:pathLst>
              </a:custGeom>
              <a:solidFill>
                <a:srgbClr val="B67F4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2" name="Google Shape;822;p16"/>
              <p:cNvSpPr/>
              <p:nvPr/>
            </p:nvSpPr>
            <p:spPr>
              <a:xfrm>
                <a:off x="7133267" y="6562087"/>
                <a:ext cx="82876" cy="113560"/>
              </a:xfrm>
              <a:custGeom>
                <a:avLst/>
                <a:gdLst/>
                <a:ahLst/>
                <a:cxnLst/>
                <a:rect l="l" t="t" r="r" b="b"/>
                <a:pathLst>
                  <a:path w="6269" h="8590" extrusionOk="0">
                    <a:moveTo>
                      <a:pt x="3148" y="855"/>
                    </a:moveTo>
                    <a:lnTo>
                      <a:pt x="3308" y="881"/>
                    </a:lnTo>
                    <a:lnTo>
                      <a:pt x="3521" y="961"/>
                    </a:lnTo>
                    <a:lnTo>
                      <a:pt x="3708" y="1095"/>
                    </a:lnTo>
                    <a:lnTo>
                      <a:pt x="3895" y="1281"/>
                    </a:lnTo>
                    <a:lnTo>
                      <a:pt x="4081" y="1495"/>
                    </a:lnTo>
                    <a:lnTo>
                      <a:pt x="4268" y="1761"/>
                    </a:lnTo>
                    <a:lnTo>
                      <a:pt x="4455" y="2055"/>
                    </a:lnTo>
                    <a:lnTo>
                      <a:pt x="4641" y="2375"/>
                    </a:lnTo>
                    <a:lnTo>
                      <a:pt x="4801" y="2748"/>
                    </a:lnTo>
                    <a:lnTo>
                      <a:pt x="4935" y="3122"/>
                    </a:lnTo>
                    <a:lnTo>
                      <a:pt x="5068" y="3522"/>
                    </a:lnTo>
                    <a:lnTo>
                      <a:pt x="5202" y="3949"/>
                    </a:lnTo>
                    <a:lnTo>
                      <a:pt x="5282" y="4375"/>
                    </a:lnTo>
                    <a:lnTo>
                      <a:pt x="5362" y="4829"/>
                    </a:lnTo>
                    <a:lnTo>
                      <a:pt x="5388" y="5282"/>
                    </a:lnTo>
                    <a:lnTo>
                      <a:pt x="5415" y="5736"/>
                    </a:lnTo>
                    <a:lnTo>
                      <a:pt x="5415" y="6029"/>
                    </a:lnTo>
                    <a:lnTo>
                      <a:pt x="5388" y="6296"/>
                    </a:lnTo>
                    <a:lnTo>
                      <a:pt x="5335" y="6536"/>
                    </a:lnTo>
                    <a:lnTo>
                      <a:pt x="5282" y="6749"/>
                    </a:lnTo>
                    <a:lnTo>
                      <a:pt x="5202" y="6936"/>
                    </a:lnTo>
                    <a:lnTo>
                      <a:pt x="5095" y="7123"/>
                    </a:lnTo>
                    <a:lnTo>
                      <a:pt x="4988" y="7256"/>
                    </a:lnTo>
                    <a:lnTo>
                      <a:pt x="4828" y="7363"/>
                    </a:lnTo>
                    <a:lnTo>
                      <a:pt x="4695" y="7470"/>
                    </a:lnTo>
                    <a:lnTo>
                      <a:pt x="4508" y="7550"/>
                    </a:lnTo>
                    <a:lnTo>
                      <a:pt x="4321" y="7603"/>
                    </a:lnTo>
                    <a:lnTo>
                      <a:pt x="4135" y="7656"/>
                    </a:lnTo>
                    <a:lnTo>
                      <a:pt x="3681" y="7710"/>
                    </a:lnTo>
                    <a:lnTo>
                      <a:pt x="3148" y="7736"/>
                    </a:lnTo>
                    <a:lnTo>
                      <a:pt x="2614" y="7710"/>
                    </a:lnTo>
                    <a:lnTo>
                      <a:pt x="2134" y="7656"/>
                    </a:lnTo>
                    <a:lnTo>
                      <a:pt x="1947" y="7603"/>
                    </a:lnTo>
                    <a:lnTo>
                      <a:pt x="1761" y="7550"/>
                    </a:lnTo>
                    <a:lnTo>
                      <a:pt x="1574" y="7470"/>
                    </a:lnTo>
                    <a:lnTo>
                      <a:pt x="1441" y="7363"/>
                    </a:lnTo>
                    <a:lnTo>
                      <a:pt x="1307" y="7256"/>
                    </a:lnTo>
                    <a:lnTo>
                      <a:pt x="1174" y="7123"/>
                    </a:lnTo>
                    <a:lnTo>
                      <a:pt x="1094" y="6936"/>
                    </a:lnTo>
                    <a:lnTo>
                      <a:pt x="1014" y="6749"/>
                    </a:lnTo>
                    <a:lnTo>
                      <a:pt x="934" y="6536"/>
                    </a:lnTo>
                    <a:lnTo>
                      <a:pt x="907" y="6296"/>
                    </a:lnTo>
                    <a:lnTo>
                      <a:pt x="880" y="6029"/>
                    </a:lnTo>
                    <a:lnTo>
                      <a:pt x="854" y="5736"/>
                    </a:lnTo>
                    <a:lnTo>
                      <a:pt x="880" y="5282"/>
                    </a:lnTo>
                    <a:lnTo>
                      <a:pt x="907" y="4829"/>
                    </a:lnTo>
                    <a:lnTo>
                      <a:pt x="987" y="4375"/>
                    </a:lnTo>
                    <a:lnTo>
                      <a:pt x="1094" y="3949"/>
                    </a:lnTo>
                    <a:lnTo>
                      <a:pt x="1200" y="3522"/>
                    </a:lnTo>
                    <a:lnTo>
                      <a:pt x="1334" y="3122"/>
                    </a:lnTo>
                    <a:lnTo>
                      <a:pt x="1467" y="2748"/>
                    </a:lnTo>
                    <a:lnTo>
                      <a:pt x="1654" y="2375"/>
                    </a:lnTo>
                    <a:lnTo>
                      <a:pt x="1814" y="2055"/>
                    </a:lnTo>
                    <a:lnTo>
                      <a:pt x="2001" y="1761"/>
                    </a:lnTo>
                    <a:lnTo>
                      <a:pt x="2187" y="1495"/>
                    </a:lnTo>
                    <a:lnTo>
                      <a:pt x="2374" y="1281"/>
                    </a:lnTo>
                    <a:lnTo>
                      <a:pt x="2561" y="1095"/>
                    </a:lnTo>
                    <a:lnTo>
                      <a:pt x="2774" y="961"/>
                    </a:lnTo>
                    <a:lnTo>
                      <a:pt x="2961" y="881"/>
                    </a:lnTo>
                    <a:lnTo>
                      <a:pt x="3148" y="855"/>
                    </a:lnTo>
                    <a:close/>
                    <a:moveTo>
                      <a:pt x="3148" y="1"/>
                    </a:moveTo>
                    <a:lnTo>
                      <a:pt x="2961" y="28"/>
                    </a:lnTo>
                    <a:lnTo>
                      <a:pt x="2801" y="54"/>
                    </a:lnTo>
                    <a:lnTo>
                      <a:pt x="2641" y="108"/>
                    </a:lnTo>
                    <a:lnTo>
                      <a:pt x="2481" y="161"/>
                    </a:lnTo>
                    <a:lnTo>
                      <a:pt x="2187" y="348"/>
                    </a:lnTo>
                    <a:lnTo>
                      <a:pt x="1894" y="588"/>
                    </a:lnTo>
                    <a:lnTo>
                      <a:pt x="1601" y="881"/>
                    </a:lnTo>
                    <a:lnTo>
                      <a:pt x="1361" y="1201"/>
                    </a:lnTo>
                    <a:lnTo>
                      <a:pt x="1120" y="1601"/>
                    </a:lnTo>
                    <a:lnTo>
                      <a:pt x="907" y="2001"/>
                    </a:lnTo>
                    <a:lnTo>
                      <a:pt x="694" y="2455"/>
                    </a:lnTo>
                    <a:lnTo>
                      <a:pt x="534" y="2908"/>
                    </a:lnTo>
                    <a:lnTo>
                      <a:pt x="374" y="3389"/>
                    </a:lnTo>
                    <a:lnTo>
                      <a:pt x="240" y="3869"/>
                    </a:lnTo>
                    <a:lnTo>
                      <a:pt x="134" y="4349"/>
                    </a:lnTo>
                    <a:lnTo>
                      <a:pt x="80" y="4829"/>
                    </a:lnTo>
                    <a:lnTo>
                      <a:pt x="27" y="5282"/>
                    </a:lnTo>
                    <a:lnTo>
                      <a:pt x="0" y="5736"/>
                    </a:lnTo>
                    <a:lnTo>
                      <a:pt x="27" y="6163"/>
                    </a:lnTo>
                    <a:lnTo>
                      <a:pt x="80" y="6563"/>
                    </a:lnTo>
                    <a:lnTo>
                      <a:pt x="160" y="6936"/>
                    </a:lnTo>
                    <a:lnTo>
                      <a:pt x="294" y="7230"/>
                    </a:lnTo>
                    <a:lnTo>
                      <a:pt x="427" y="7496"/>
                    </a:lnTo>
                    <a:lnTo>
                      <a:pt x="587" y="7736"/>
                    </a:lnTo>
                    <a:lnTo>
                      <a:pt x="774" y="7923"/>
                    </a:lnTo>
                    <a:lnTo>
                      <a:pt x="987" y="8110"/>
                    </a:lnTo>
                    <a:lnTo>
                      <a:pt x="1227" y="8243"/>
                    </a:lnTo>
                    <a:lnTo>
                      <a:pt x="1467" y="8350"/>
                    </a:lnTo>
                    <a:lnTo>
                      <a:pt x="1734" y="8430"/>
                    </a:lnTo>
                    <a:lnTo>
                      <a:pt x="2001" y="8483"/>
                    </a:lnTo>
                    <a:lnTo>
                      <a:pt x="2267" y="8537"/>
                    </a:lnTo>
                    <a:lnTo>
                      <a:pt x="2561" y="8563"/>
                    </a:lnTo>
                    <a:lnTo>
                      <a:pt x="3148" y="8590"/>
                    </a:lnTo>
                    <a:lnTo>
                      <a:pt x="3708" y="8563"/>
                    </a:lnTo>
                    <a:lnTo>
                      <a:pt x="4001" y="8537"/>
                    </a:lnTo>
                    <a:lnTo>
                      <a:pt x="4268" y="8483"/>
                    </a:lnTo>
                    <a:lnTo>
                      <a:pt x="4535" y="8430"/>
                    </a:lnTo>
                    <a:lnTo>
                      <a:pt x="4801" y="8350"/>
                    </a:lnTo>
                    <a:lnTo>
                      <a:pt x="5042" y="8243"/>
                    </a:lnTo>
                    <a:lnTo>
                      <a:pt x="5282" y="8110"/>
                    </a:lnTo>
                    <a:lnTo>
                      <a:pt x="5495" y="7923"/>
                    </a:lnTo>
                    <a:lnTo>
                      <a:pt x="5682" y="7736"/>
                    </a:lnTo>
                    <a:lnTo>
                      <a:pt x="5842" y="7496"/>
                    </a:lnTo>
                    <a:lnTo>
                      <a:pt x="6002" y="7230"/>
                    </a:lnTo>
                    <a:lnTo>
                      <a:pt x="6108" y="6936"/>
                    </a:lnTo>
                    <a:lnTo>
                      <a:pt x="6188" y="6563"/>
                    </a:lnTo>
                    <a:lnTo>
                      <a:pt x="6242" y="6163"/>
                    </a:lnTo>
                    <a:lnTo>
                      <a:pt x="6269" y="5736"/>
                    </a:lnTo>
                    <a:lnTo>
                      <a:pt x="6242" y="5282"/>
                    </a:lnTo>
                    <a:lnTo>
                      <a:pt x="6188" y="4829"/>
                    </a:lnTo>
                    <a:lnTo>
                      <a:pt x="6135" y="4349"/>
                    </a:lnTo>
                    <a:lnTo>
                      <a:pt x="6028" y="3869"/>
                    </a:lnTo>
                    <a:lnTo>
                      <a:pt x="5895" y="3389"/>
                    </a:lnTo>
                    <a:lnTo>
                      <a:pt x="5762" y="2908"/>
                    </a:lnTo>
                    <a:lnTo>
                      <a:pt x="5575" y="2455"/>
                    </a:lnTo>
                    <a:lnTo>
                      <a:pt x="5388" y="2001"/>
                    </a:lnTo>
                    <a:lnTo>
                      <a:pt x="5148" y="1601"/>
                    </a:lnTo>
                    <a:lnTo>
                      <a:pt x="4908" y="1201"/>
                    </a:lnTo>
                    <a:lnTo>
                      <a:pt x="4668" y="881"/>
                    </a:lnTo>
                    <a:lnTo>
                      <a:pt x="4401" y="588"/>
                    </a:lnTo>
                    <a:lnTo>
                      <a:pt x="4108" y="348"/>
                    </a:lnTo>
                    <a:lnTo>
                      <a:pt x="3788" y="161"/>
                    </a:lnTo>
                    <a:lnTo>
                      <a:pt x="3628" y="108"/>
                    </a:lnTo>
                    <a:lnTo>
                      <a:pt x="3468" y="54"/>
                    </a:lnTo>
                    <a:lnTo>
                      <a:pt x="3308" y="28"/>
                    </a:lnTo>
                    <a:lnTo>
                      <a:pt x="3148" y="1"/>
                    </a:lnTo>
                    <a:close/>
                  </a:path>
                </a:pathLst>
              </a:custGeom>
              <a:solidFill>
                <a:srgbClr val="B67F4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3" name="Google Shape;823;p16"/>
              <p:cNvSpPr/>
              <p:nvPr/>
            </p:nvSpPr>
            <p:spPr>
              <a:xfrm>
                <a:off x="7245051" y="5913910"/>
                <a:ext cx="142128" cy="153048"/>
              </a:xfrm>
              <a:custGeom>
                <a:avLst/>
                <a:gdLst/>
                <a:ahLst/>
                <a:cxnLst/>
                <a:rect l="l" t="t" r="r" b="b"/>
                <a:pathLst>
                  <a:path w="10751" h="11577" extrusionOk="0">
                    <a:moveTo>
                      <a:pt x="8003" y="0"/>
                    </a:moveTo>
                    <a:lnTo>
                      <a:pt x="7203" y="27"/>
                    </a:lnTo>
                    <a:lnTo>
                      <a:pt x="6029" y="80"/>
                    </a:lnTo>
                    <a:lnTo>
                      <a:pt x="5362" y="134"/>
                    </a:lnTo>
                    <a:lnTo>
                      <a:pt x="4669" y="187"/>
                    </a:lnTo>
                    <a:lnTo>
                      <a:pt x="3948" y="294"/>
                    </a:lnTo>
                    <a:lnTo>
                      <a:pt x="3228" y="400"/>
                    </a:lnTo>
                    <a:lnTo>
                      <a:pt x="2561" y="534"/>
                    </a:lnTo>
                    <a:lnTo>
                      <a:pt x="1921" y="721"/>
                    </a:lnTo>
                    <a:lnTo>
                      <a:pt x="1361" y="907"/>
                    </a:lnTo>
                    <a:lnTo>
                      <a:pt x="1094" y="1041"/>
                    </a:lnTo>
                    <a:lnTo>
                      <a:pt x="854" y="1147"/>
                    </a:lnTo>
                    <a:lnTo>
                      <a:pt x="668" y="1281"/>
                    </a:lnTo>
                    <a:lnTo>
                      <a:pt x="481" y="1414"/>
                    </a:lnTo>
                    <a:lnTo>
                      <a:pt x="321" y="1574"/>
                    </a:lnTo>
                    <a:lnTo>
                      <a:pt x="214" y="1734"/>
                    </a:lnTo>
                    <a:lnTo>
                      <a:pt x="107" y="1974"/>
                    </a:lnTo>
                    <a:lnTo>
                      <a:pt x="27" y="2214"/>
                    </a:lnTo>
                    <a:lnTo>
                      <a:pt x="1" y="2481"/>
                    </a:lnTo>
                    <a:lnTo>
                      <a:pt x="1" y="2774"/>
                    </a:lnTo>
                    <a:lnTo>
                      <a:pt x="27" y="3068"/>
                    </a:lnTo>
                    <a:lnTo>
                      <a:pt x="81" y="3388"/>
                    </a:lnTo>
                    <a:lnTo>
                      <a:pt x="161" y="3735"/>
                    </a:lnTo>
                    <a:lnTo>
                      <a:pt x="268" y="4081"/>
                    </a:lnTo>
                    <a:lnTo>
                      <a:pt x="401" y="4428"/>
                    </a:lnTo>
                    <a:lnTo>
                      <a:pt x="561" y="4775"/>
                    </a:lnTo>
                    <a:lnTo>
                      <a:pt x="908" y="5522"/>
                    </a:lnTo>
                    <a:lnTo>
                      <a:pt x="1308" y="6242"/>
                    </a:lnTo>
                    <a:lnTo>
                      <a:pt x="1735" y="6962"/>
                    </a:lnTo>
                    <a:lnTo>
                      <a:pt x="2188" y="7682"/>
                    </a:lnTo>
                    <a:lnTo>
                      <a:pt x="2615" y="8323"/>
                    </a:lnTo>
                    <a:lnTo>
                      <a:pt x="3442" y="9443"/>
                    </a:lnTo>
                    <a:lnTo>
                      <a:pt x="4029" y="10216"/>
                    </a:lnTo>
                    <a:lnTo>
                      <a:pt x="4269" y="10483"/>
                    </a:lnTo>
                    <a:lnTo>
                      <a:pt x="4349" y="10590"/>
                    </a:lnTo>
                    <a:lnTo>
                      <a:pt x="4615" y="10803"/>
                    </a:lnTo>
                    <a:lnTo>
                      <a:pt x="4802" y="10937"/>
                    </a:lnTo>
                    <a:lnTo>
                      <a:pt x="5015" y="11097"/>
                    </a:lnTo>
                    <a:lnTo>
                      <a:pt x="5282" y="11230"/>
                    </a:lnTo>
                    <a:lnTo>
                      <a:pt x="5602" y="11363"/>
                    </a:lnTo>
                    <a:lnTo>
                      <a:pt x="5922" y="11470"/>
                    </a:lnTo>
                    <a:lnTo>
                      <a:pt x="6296" y="11550"/>
                    </a:lnTo>
                    <a:lnTo>
                      <a:pt x="6723" y="11577"/>
                    </a:lnTo>
                    <a:lnTo>
                      <a:pt x="7149" y="11577"/>
                    </a:lnTo>
                    <a:lnTo>
                      <a:pt x="7629" y="11523"/>
                    </a:lnTo>
                    <a:lnTo>
                      <a:pt x="8136" y="11390"/>
                    </a:lnTo>
                    <a:lnTo>
                      <a:pt x="8670" y="11203"/>
                    </a:lnTo>
                    <a:lnTo>
                      <a:pt x="8963" y="11070"/>
                    </a:lnTo>
                    <a:lnTo>
                      <a:pt x="9230" y="10937"/>
                    </a:lnTo>
                    <a:lnTo>
                      <a:pt x="9577" y="10697"/>
                    </a:lnTo>
                    <a:lnTo>
                      <a:pt x="9870" y="10457"/>
                    </a:lnTo>
                    <a:lnTo>
                      <a:pt x="10110" y="10163"/>
                    </a:lnTo>
                    <a:lnTo>
                      <a:pt x="10324" y="9843"/>
                    </a:lnTo>
                    <a:lnTo>
                      <a:pt x="10484" y="9496"/>
                    </a:lnTo>
                    <a:lnTo>
                      <a:pt x="10590" y="9123"/>
                    </a:lnTo>
                    <a:lnTo>
                      <a:pt x="10697" y="8723"/>
                    </a:lnTo>
                    <a:lnTo>
                      <a:pt x="10750" y="8323"/>
                    </a:lnTo>
                    <a:lnTo>
                      <a:pt x="10750" y="7896"/>
                    </a:lnTo>
                    <a:lnTo>
                      <a:pt x="10750" y="7442"/>
                    </a:lnTo>
                    <a:lnTo>
                      <a:pt x="10724" y="6989"/>
                    </a:lnTo>
                    <a:lnTo>
                      <a:pt x="10644" y="6535"/>
                    </a:lnTo>
                    <a:lnTo>
                      <a:pt x="10564" y="6055"/>
                    </a:lnTo>
                    <a:lnTo>
                      <a:pt x="10484" y="5602"/>
                    </a:lnTo>
                    <a:lnTo>
                      <a:pt x="10244" y="4668"/>
                    </a:lnTo>
                    <a:lnTo>
                      <a:pt x="9950" y="3761"/>
                    </a:lnTo>
                    <a:lnTo>
                      <a:pt x="9630" y="2881"/>
                    </a:lnTo>
                    <a:lnTo>
                      <a:pt x="9310" y="2108"/>
                    </a:lnTo>
                    <a:lnTo>
                      <a:pt x="8990" y="1414"/>
                    </a:lnTo>
                    <a:lnTo>
                      <a:pt x="8510" y="374"/>
                    </a:lnTo>
                    <a:lnTo>
                      <a:pt x="8323" y="0"/>
                    </a:lnTo>
                    <a:close/>
                  </a:path>
                </a:pathLst>
              </a:custGeom>
              <a:solidFill>
                <a:srgbClr val="D99468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4" name="Google Shape;824;p16"/>
              <p:cNvSpPr/>
              <p:nvPr/>
            </p:nvSpPr>
            <p:spPr>
              <a:xfrm>
                <a:off x="7295132" y="6020763"/>
                <a:ext cx="59252" cy="101926"/>
              </a:xfrm>
              <a:custGeom>
                <a:avLst/>
                <a:gdLst/>
                <a:ahLst/>
                <a:cxnLst/>
                <a:rect l="l" t="t" r="r" b="b"/>
                <a:pathLst>
                  <a:path w="4482" h="7710" extrusionOk="0">
                    <a:moveTo>
                      <a:pt x="2348" y="1"/>
                    </a:moveTo>
                    <a:lnTo>
                      <a:pt x="2188" y="27"/>
                    </a:lnTo>
                    <a:lnTo>
                      <a:pt x="2028" y="81"/>
                    </a:lnTo>
                    <a:lnTo>
                      <a:pt x="1734" y="214"/>
                    </a:lnTo>
                    <a:lnTo>
                      <a:pt x="1494" y="374"/>
                    </a:lnTo>
                    <a:lnTo>
                      <a:pt x="1281" y="614"/>
                    </a:lnTo>
                    <a:lnTo>
                      <a:pt x="1094" y="854"/>
                    </a:lnTo>
                    <a:lnTo>
                      <a:pt x="987" y="1148"/>
                    </a:lnTo>
                    <a:lnTo>
                      <a:pt x="934" y="1468"/>
                    </a:lnTo>
                    <a:lnTo>
                      <a:pt x="934" y="1628"/>
                    </a:lnTo>
                    <a:lnTo>
                      <a:pt x="934" y="1788"/>
                    </a:lnTo>
                    <a:lnTo>
                      <a:pt x="934" y="1814"/>
                    </a:lnTo>
                    <a:lnTo>
                      <a:pt x="907" y="1894"/>
                    </a:lnTo>
                    <a:lnTo>
                      <a:pt x="881" y="2241"/>
                    </a:lnTo>
                    <a:lnTo>
                      <a:pt x="801" y="2721"/>
                    </a:lnTo>
                    <a:lnTo>
                      <a:pt x="694" y="3255"/>
                    </a:lnTo>
                    <a:lnTo>
                      <a:pt x="561" y="3762"/>
                    </a:lnTo>
                    <a:lnTo>
                      <a:pt x="481" y="4002"/>
                    </a:lnTo>
                    <a:lnTo>
                      <a:pt x="401" y="4188"/>
                    </a:lnTo>
                    <a:lnTo>
                      <a:pt x="294" y="4428"/>
                    </a:lnTo>
                    <a:lnTo>
                      <a:pt x="241" y="4508"/>
                    </a:lnTo>
                    <a:lnTo>
                      <a:pt x="107" y="4855"/>
                    </a:lnTo>
                    <a:lnTo>
                      <a:pt x="54" y="5042"/>
                    </a:lnTo>
                    <a:lnTo>
                      <a:pt x="0" y="5229"/>
                    </a:lnTo>
                    <a:lnTo>
                      <a:pt x="0" y="5442"/>
                    </a:lnTo>
                    <a:lnTo>
                      <a:pt x="0" y="5682"/>
                    </a:lnTo>
                    <a:lnTo>
                      <a:pt x="27" y="5895"/>
                    </a:lnTo>
                    <a:lnTo>
                      <a:pt x="80" y="6109"/>
                    </a:lnTo>
                    <a:lnTo>
                      <a:pt x="134" y="6296"/>
                    </a:lnTo>
                    <a:lnTo>
                      <a:pt x="214" y="6482"/>
                    </a:lnTo>
                    <a:lnTo>
                      <a:pt x="321" y="6669"/>
                    </a:lnTo>
                    <a:lnTo>
                      <a:pt x="454" y="6856"/>
                    </a:lnTo>
                    <a:lnTo>
                      <a:pt x="587" y="7016"/>
                    </a:lnTo>
                    <a:lnTo>
                      <a:pt x="721" y="7149"/>
                    </a:lnTo>
                    <a:lnTo>
                      <a:pt x="907" y="7283"/>
                    </a:lnTo>
                    <a:lnTo>
                      <a:pt x="1067" y="7416"/>
                    </a:lnTo>
                    <a:lnTo>
                      <a:pt x="1254" y="7523"/>
                    </a:lnTo>
                    <a:lnTo>
                      <a:pt x="1468" y="7603"/>
                    </a:lnTo>
                    <a:lnTo>
                      <a:pt x="1681" y="7656"/>
                    </a:lnTo>
                    <a:lnTo>
                      <a:pt x="1894" y="7709"/>
                    </a:lnTo>
                    <a:lnTo>
                      <a:pt x="2348" y="7709"/>
                    </a:lnTo>
                    <a:lnTo>
                      <a:pt x="2561" y="7683"/>
                    </a:lnTo>
                    <a:lnTo>
                      <a:pt x="2775" y="7629"/>
                    </a:lnTo>
                    <a:lnTo>
                      <a:pt x="2961" y="7576"/>
                    </a:lnTo>
                    <a:lnTo>
                      <a:pt x="3175" y="7496"/>
                    </a:lnTo>
                    <a:lnTo>
                      <a:pt x="3361" y="7389"/>
                    </a:lnTo>
                    <a:lnTo>
                      <a:pt x="3521" y="7256"/>
                    </a:lnTo>
                    <a:lnTo>
                      <a:pt x="3681" y="7122"/>
                    </a:lnTo>
                    <a:lnTo>
                      <a:pt x="3841" y="6989"/>
                    </a:lnTo>
                    <a:lnTo>
                      <a:pt x="3975" y="6829"/>
                    </a:lnTo>
                    <a:lnTo>
                      <a:pt x="4082" y="6642"/>
                    </a:lnTo>
                    <a:lnTo>
                      <a:pt x="4188" y="6456"/>
                    </a:lnTo>
                    <a:lnTo>
                      <a:pt x="4268" y="6242"/>
                    </a:lnTo>
                    <a:lnTo>
                      <a:pt x="4322" y="6029"/>
                    </a:lnTo>
                    <a:lnTo>
                      <a:pt x="4375" y="5815"/>
                    </a:lnTo>
                    <a:lnTo>
                      <a:pt x="4375" y="5655"/>
                    </a:lnTo>
                    <a:lnTo>
                      <a:pt x="4428" y="5469"/>
                    </a:lnTo>
                    <a:lnTo>
                      <a:pt x="4455" y="4935"/>
                    </a:lnTo>
                    <a:lnTo>
                      <a:pt x="4482" y="4588"/>
                    </a:lnTo>
                    <a:lnTo>
                      <a:pt x="4482" y="4242"/>
                    </a:lnTo>
                    <a:lnTo>
                      <a:pt x="4455" y="3468"/>
                    </a:lnTo>
                    <a:lnTo>
                      <a:pt x="4375" y="2721"/>
                    </a:lnTo>
                    <a:lnTo>
                      <a:pt x="4268" y="2081"/>
                    </a:lnTo>
                    <a:lnTo>
                      <a:pt x="4162" y="1628"/>
                    </a:lnTo>
                    <a:lnTo>
                      <a:pt x="4135" y="1468"/>
                    </a:lnTo>
                    <a:lnTo>
                      <a:pt x="4135" y="1441"/>
                    </a:lnTo>
                    <a:lnTo>
                      <a:pt x="4108" y="1281"/>
                    </a:lnTo>
                    <a:lnTo>
                      <a:pt x="4055" y="1121"/>
                    </a:lnTo>
                    <a:lnTo>
                      <a:pt x="3922" y="827"/>
                    </a:lnTo>
                    <a:lnTo>
                      <a:pt x="3761" y="561"/>
                    </a:lnTo>
                    <a:lnTo>
                      <a:pt x="3548" y="347"/>
                    </a:lnTo>
                    <a:lnTo>
                      <a:pt x="3281" y="187"/>
                    </a:lnTo>
                    <a:lnTo>
                      <a:pt x="2988" y="81"/>
                    </a:lnTo>
                    <a:lnTo>
                      <a:pt x="2668" y="1"/>
                    </a:lnTo>
                    <a:close/>
                  </a:path>
                </a:pathLst>
              </a:custGeom>
              <a:solidFill>
                <a:srgbClr val="D99468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5" name="Google Shape;825;p16"/>
              <p:cNvSpPr/>
              <p:nvPr/>
            </p:nvSpPr>
            <p:spPr>
              <a:xfrm>
                <a:off x="7160066" y="6101517"/>
                <a:ext cx="136126" cy="434806"/>
              </a:xfrm>
              <a:custGeom>
                <a:avLst/>
                <a:gdLst/>
                <a:ahLst/>
                <a:cxnLst/>
                <a:rect l="l" t="t" r="r" b="b"/>
                <a:pathLst>
                  <a:path w="10297" h="32890" extrusionOk="0">
                    <a:moveTo>
                      <a:pt x="6962" y="1"/>
                    </a:moveTo>
                    <a:lnTo>
                      <a:pt x="6722" y="28"/>
                    </a:lnTo>
                    <a:lnTo>
                      <a:pt x="6482" y="54"/>
                    </a:lnTo>
                    <a:lnTo>
                      <a:pt x="6242" y="81"/>
                    </a:lnTo>
                    <a:lnTo>
                      <a:pt x="6002" y="161"/>
                    </a:lnTo>
                    <a:lnTo>
                      <a:pt x="5789" y="241"/>
                    </a:lnTo>
                    <a:lnTo>
                      <a:pt x="5415" y="454"/>
                    </a:lnTo>
                    <a:lnTo>
                      <a:pt x="5095" y="694"/>
                    </a:lnTo>
                    <a:lnTo>
                      <a:pt x="4802" y="988"/>
                    </a:lnTo>
                    <a:lnTo>
                      <a:pt x="4508" y="1308"/>
                    </a:lnTo>
                    <a:lnTo>
                      <a:pt x="4268" y="1681"/>
                    </a:lnTo>
                    <a:lnTo>
                      <a:pt x="4028" y="2055"/>
                    </a:lnTo>
                    <a:lnTo>
                      <a:pt x="3815" y="2482"/>
                    </a:lnTo>
                    <a:lnTo>
                      <a:pt x="3628" y="2908"/>
                    </a:lnTo>
                    <a:lnTo>
                      <a:pt x="3441" y="3362"/>
                    </a:lnTo>
                    <a:lnTo>
                      <a:pt x="3281" y="3789"/>
                    </a:lnTo>
                    <a:lnTo>
                      <a:pt x="2988" y="4695"/>
                    </a:lnTo>
                    <a:lnTo>
                      <a:pt x="2721" y="5522"/>
                    </a:lnTo>
                    <a:lnTo>
                      <a:pt x="2481" y="6269"/>
                    </a:lnTo>
                    <a:lnTo>
                      <a:pt x="2188" y="7176"/>
                    </a:lnTo>
                    <a:lnTo>
                      <a:pt x="1921" y="8083"/>
                    </a:lnTo>
                    <a:lnTo>
                      <a:pt x="1654" y="9017"/>
                    </a:lnTo>
                    <a:lnTo>
                      <a:pt x="1414" y="9924"/>
                    </a:lnTo>
                    <a:lnTo>
                      <a:pt x="1201" y="10830"/>
                    </a:lnTo>
                    <a:lnTo>
                      <a:pt x="1014" y="11764"/>
                    </a:lnTo>
                    <a:lnTo>
                      <a:pt x="854" y="12671"/>
                    </a:lnTo>
                    <a:lnTo>
                      <a:pt x="694" y="13605"/>
                    </a:lnTo>
                    <a:lnTo>
                      <a:pt x="534" y="14538"/>
                    </a:lnTo>
                    <a:lnTo>
                      <a:pt x="427" y="15472"/>
                    </a:lnTo>
                    <a:lnTo>
                      <a:pt x="320" y="16405"/>
                    </a:lnTo>
                    <a:lnTo>
                      <a:pt x="240" y="17339"/>
                    </a:lnTo>
                    <a:lnTo>
                      <a:pt x="107" y="19233"/>
                    </a:lnTo>
                    <a:lnTo>
                      <a:pt x="27" y="21127"/>
                    </a:lnTo>
                    <a:lnTo>
                      <a:pt x="0" y="22434"/>
                    </a:lnTo>
                    <a:lnTo>
                      <a:pt x="54" y="24087"/>
                    </a:lnTo>
                    <a:lnTo>
                      <a:pt x="107" y="25901"/>
                    </a:lnTo>
                    <a:lnTo>
                      <a:pt x="160" y="27715"/>
                    </a:lnTo>
                    <a:lnTo>
                      <a:pt x="320" y="30836"/>
                    </a:lnTo>
                    <a:lnTo>
                      <a:pt x="400" y="32170"/>
                    </a:lnTo>
                    <a:lnTo>
                      <a:pt x="427" y="32276"/>
                    </a:lnTo>
                    <a:lnTo>
                      <a:pt x="507" y="32410"/>
                    </a:lnTo>
                    <a:lnTo>
                      <a:pt x="587" y="32516"/>
                    </a:lnTo>
                    <a:lnTo>
                      <a:pt x="667" y="32596"/>
                    </a:lnTo>
                    <a:lnTo>
                      <a:pt x="774" y="32676"/>
                    </a:lnTo>
                    <a:lnTo>
                      <a:pt x="907" y="32756"/>
                    </a:lnTo>
                    <a:lnTo>
                      <a:pt x="1041" y="32810"/>
                    </a:lnTo>
                    <a:lnTo>
                      <a:pt x="1174" y="32863"/>
                    </a:lnTo>
                    <a:lnTo>
                      <a:pt x="1334" y="32890"/>
                    </a:lnTo>
                    <a:lnTo>
                      <a:pt x="1521" y="32890"/>
                    </a:lnTo>
                    <a:lnTo>
                      <a:pt x="1707" y="32863"/>
                    </a:lnTo>
                    <a:lnTo>
                      <a:pt x="1894" y="32836"/>
                    </a:lnTo>
                    <a:lnTo>
                      <a:pt x="2108" y="32783"/>
                    </a:lnTo>
                    <a:lnTo>
                      <a:pt x="2348" y="32703"/>
                    </a:lnTo>
                    <a:lnTo>
                      <a:pt x="2588" y="32596"/>
                    </a:lnTo>
                    <a:lnTo>
                      <a:pt x="2828" y="32463"/>
                    </a:lnTo>
                    <a:lnTo>
                      <a:pt x="2908" y="32196"/>
                    </a:lnTo>
                    <a:lnTo>
                      <a:pt x="2961" y="31929"/>
                    </a:lnTo>
                    <a:lnTo>
                      <a:pt x="3015" y="31369"/>
                    </a:lnTo>
                    <a:lnTo>
                      <a:pt x="3495" y="27528"/>
                    </a:lnTo>
                    <a:lnTo>
                      <a:pt x="4055" y="23154"/>
                    </a:lnTo>
                    <a:lnTo>
                      <a:pt x="4348" y="20967"/>
                    </a:lnTo>
                    <a:lnTo>
                      <a:pt x="4722" y="18779"/>
                    </a:lnTo>
                    <a:lnTo>
                      <a:pt x="4882" y="17819"/>
                    </a:lnTo>
                    <a:lnTo>
                      <a:pt x="5095" y="16859"/>
                    </a:lnTo>
                    <a:lnTo>
                      <a:pt x="5308" y="15898"/>
                    </a:lnTo>
                    <a:lnTo>
                      <a:pt x="5549" y="14965"/>
                    </a:lnTo>
                    <a:lnTo>
                      <a:pt x="5789" y="14031"/>
                    </a:lnTo>
                    <a:lnTo>
                      <a:pt x="6082" y="13124"/>
                    </a:lnTo>
                    <a:lnTo>
                      <a:pt x="6375" y="12191"/>
                    </a:lnTo>
                    <a:lnTo>
                      <a:pt x="6696" y="11284"/>
                    </a:lnTo>
                    <a:lnTo>
                      <a:pt x="7016" y="10404"/>
                    </a:lnTo>
                    <a:lnTo>
                      <a:pt x="7389" y="9497"/>
                    </a:lnTo>
                    <a:lnTo>
                      <a:pt x="7762" y="8617"/>
                    </a:lnTo>
                    <a:lnTo>
                      <a:pt x="8163" y="7736"/>
                    </a:lnTo>
                    <a:lnTo>
                      <a:pt x="8589" y="6883"/>
                    </a:lnTo>
                    <a:lnTo>
                      <a:pt x="9016" y="6002"/>
                    </a:lnTo>
                    <a:lnTo>
                      <a:pt x="9496" y="5149"/>
                    </a:lnTo>
                    <a:lnTo>
                      <a:pt x="9976" y="4295"/>
                    </a:lnTo>
                    <a:lnTo>
                      <a:pt x="10083" y="4082"/>
                    </a:lnTo>
                    <a:lnTo>
                      <a:pt x="10190" y="3842"/>
                    </a:lnTo>
                    <a:lnTo>
                      <a:pt x="10243" y="3628"/>
                    </a:lnTo>
                    <a:lnTo>
                      <a:pt x="10296" y="3415"/>
                    </a:lnTo>
                    <a:lnTo>
                      <a:pt x="10296" y="3175"/>
                    </a:lnTo>
                    <a:lnTo>
                      <a:pt x="10296" y="2962"/>
                    </a:lnTo>
                    <a:lnTo>
                      <a:pt x="10296" y="2748"/>
                    </a:lnTo>
                    <a:lnTo>
                      <a:pt x="10243" y="2535"/>
                    </a:lnTo>
                    <a:lnTo>
                      <a:pt x="10190" y="2321"/>
                    </a:lnTo>
                    <a:lnTo>
                      <a:pt x="10110" y="2108"/>
                    </a:lnTo>
                    <a:lnTo>
                      <a:pt x="10003" y="1895"/>
                    </a:lnTo>
                    <a:lnTo>
                      <a:pt x="9896" y="1708"/>
                    </a:lnTo>
                    <a:lnTo>
                      <a:pt x="9630" y="1335"/>
                    </a:lnTo>
                    <a:lnTo>
                      <a:pt x="9310" y="988"/>
                    </a:lnTo>
                    <a:lnTo>
                      <a:pt x="8963" y="694"/>
                    </a:lnTo>
                    <a:lnTo>
                      <a:pt x="8563" y="428"/>
                    </a:lnTo>
                    <a:lnTo>
                      <a:pt x="8109" y="241"/>
                    </a:lnTo>
                    <a:lnTo>
                      <a:pt x="7896" y="161"/>
                    </a:lnTo>
                    <a:lnTo>
                      <a:pt x="7656" y="81"/>
                    </a:lnTo>
                    <a:lnTo>
                      <a:pt x="7442" y="54"/>
                    </a:lnTo>
                    <a:lnTo>
                      <a:pt x="7202" y="28"/>
                    </a:lnTo>
                    <a:lnTo>
                      <a:pt x="6962" y="1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6" name="Google Shape;826;p16"/>
              <p:cNvSpPr/>
              <p:nvPr/>
            </p:nvSpPr>
            <p:spPr>
              <a:xfrm>
                <a:off x="7207675" y="6101517"/>
                <a:ext cx="88878" cy="286358"/>
              </a:xfrm>
              <a:custGeom>
                <a:avLst/>
                <a:gdLst/>
                <a:ahLst/>
                <a:cxnLst/>
                <a:rect l="l" t="t" r="r" b="b"/>
                <a:pathLst>
                  <a:path w="6723" h="21661" extrusionOk="0">
                    <a:moveTo>
                      <a:pt x="3441" y="1"/>
                    </a:moveTo>
                    <a:lnTo>
                      <a:pt x="3014" y="28"/>
                    </a:lnTo>
                    <a:lnTo>
                      <a:pt x="2854" y="481"/>
                    </a:lnTo>
                    <a:lnTo>
                      <a:pt x="2668" y="908"/>
                    </a:lnTo>
                    <a:lnTo>
                      <a:pt x="2428" y="1308"/>
                    </a:lnTo>
                    <a:lnTo>
                      <a:pt x="2161" y="1708"/>
                    </a:lnTo>
                    <a:lnTo>
                      <a:pt x="1868" y="2055"/>
                    </a:lnTo>
                    <a:lnTo>
                      <a:pt x="1521" y="2402"/>
                    </a:lnTo>
                    <a:lnTo>
                      <a:pt x="1147" y="2695"/>
                    </a:lnTo>
                    <a:lnTo>
                      <a:pt x="747" y="2988"/>
                    </a:lnTo>
                    <a:lnTo>
                      <a:pt x="694" y="3068"/>
                    </a:lnTo>
                    <a:lnTo>
                      <a:pt x="427" y="4002"/>
                    </a:lnTo>
                    <a:lnTo>
                      <a:pt x="294" y="4669"/>
                    </a:lnTo>
                    <a:lnTo>
                      <a:pt x="134" y="5336"/>
                    </a:lnTo>
                    <a:lnTo>
                      <a:pt x="134" y="5389"/>
                    </a:lnTo>
                    <a:lnTo>
                      <a:pt x="54" y="5762"/>
                    </a:lnTo>
                    <a:lnTo>
                      <a:pt x="0" y="6269"/>
                    </a:lnTo>
                    <a:lnTo>
                      <a:pt x="0" y="6616"/>
                    </a:lnTo>
                    <a:lnTo>
                      <a:pt x="0" y="7229"/>
                    </a:lnTo>
                    <a:lnTo>
                      <a:pt x="80" y="8910"/>
                    </a:lnTo>
                    <a:lnTo>
                      <a:pt x="214" y="12164"/>
                    </a:lnTo>
                    <a:lnTo>
                      <a:pt x="320" y="14591"/>
                    </a:lnTo>
                    <a:lnTo>
                      <a:pt x="427" y="16912"/>
                    </a:lnTo>
                    <a:lnTo>
                      <a:pt x="534" y="19233"/>
                    </a:lnTo>
                    <a:lnTo>
                      <a:pt x="667" y="21660"/>
                    </a:lnTo>
                    <a:lnTo>
                      <a:pt x="881" y="20220"/>
                    </a:lnTo>
                    <a:lnTo>
                      <a:pt x="1121" y="18779"/>
                    </a:lnTo>
                    <a:lnTo>
                      <a:pt x="1281" y="17819"/>
                    </a:lnTo>
                    <a:lnTo>
                      <a:pt x="1494" y="16859"/>
                    </a:lnTo>
                    <a:lnTo>
                      <a:pt x="1707" y="15898"/>
                    </a:lnTo>
                    <a:lnTo>
                      <a:pt x="1948" y="14965"/>
                    </a:lnTo>
                    <a:lnTo>
                      <a:pt x="2188" y="14031"/>
                    </a:lnTo>
                    <a:lnTo>
                      <a:pt x="2481" y="13124"/>
                    </a:lnTo>
                    <a:lnTo>
                      <a:pt x="2774" y="12191"/>
                    </a:lnTo>
                    <a:lnTo>
                      <a:pt x="3095" y="11284"/>
                    </a:lnTo>
                    <a:lnTo>
                      <a:pt x="3415" y="10404"/>
                    </a:lnTo>
                    <a:lnTo>
                      <a:pt x="3788" y="9497"/>
                    </a:lnTo>
                    <a:lnTo>
                      <a:pt x="4161" y="8617"/>
                    </a:lnTo>
                    <a:lnTo>
                      <a:pt x="4562" y="7736"/>
                    </a:lnTo>
                    <a:lnTo>
                      <a:pt x="4988" y="6883"/>
                    </a:lnTo>
                    <a:lnTo>
                      <a:pt x="5415" y="6002"/>
                    </a:lnTo>
                    <a:lnTo>
                      <a:pt x="5895" y="5149"/>
                    </a:lnTo>
                    <a:lnTo>
                      <a:pt x="6375" y="4295"/>
                    </a:lnTo>
                    <a:lnTo>
                      <a:pt x="6482" y="4109"/>
                    </a:lnTo>
                    <a:lnTo>
                      <a:pt x="6562" y="3895"/>
                    </a:lnTo>
                    <a:lnTo>
                      <a:pt x="6615" y="3709"/>
                    </a:lnTo>
                    <a:lnTo>
                      <a:pt x="6669" y="3495"/>
                    </a:lnTo>
                    <a:lnTo>
                      <a:pt x="6695" y="3308"/>
                    </a:lnTo>
                    <a:lnTo>
                      <a:pt x="6722" y="3095"/>
                    </a:lnTo>
                    <a:lnTo>
                      <a:pt x="6695" y="2908"/>
                    </a:lnTo>
                    <a:lnTo>
                      <a:pt x="6669" y="2722"/>
                    </a:lnTo>
                    <a:lnTo>
                      <a:pt x="6589" y="2321"/>
                    </a:lnTo>
                    <a:lnTo>
                      <a:pt x="6429" y="1948"/>
                    </a:lnTo>
                    <a:lnTo>
                      <a:pt x="6242" y="1601"/>
                    </a:lnTo>
                    <a:lnTo>
                      <a:pt x="6002" y="1281"/>
                    </a:lnTo>
                    <a:lnTo>
                      <a:pt x="5709" y="988"/>
                    </a:lnTo>
                    <a:lnTo>
                      <a:pt x="5388" y="721"/>
                    </a:lnTo>
                    <a:lnTo>
                      <a:pt x="5042" y="481"/>
                    </a:lnTo>
                    <a:lnTo>
                      <a:pt x="4668" y="294"/>
                    </a:lnTo>
                    <a:lnTo>
                      <a:pt x="4268" y="134"/>
                    </a:lnTo>
                    <a:lnTo>
                      <a:pt x="3841" y="54"/>
                    </a:lnTo>
                    <a:lnTo>
                      <a:pt x="3441" y="1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7" name="Google Shape;827;p16"/>
              <p:cNvSpPr/>
              <p:nvPr/>
            </p:nvSpPr>
            <p:spPr>
              <a:xfrm>
                <a:off x="7212607" y="6503557"/>
                <a:ext cx="106514" cy="689753"/>
              </a:xfrm>
              <a:custGeom>
                <a:avLst/>
                <a:gdLst/>
                <a:ahLst/>
                <a:cxnLst/>
                <a:rect l="l" t="t" r="r" b="b"/>
                <a:pathLst>
                  <a:path w="8057" h="52175" extrusionOk="0">
                    <a:moveTo>
                      <a:pt x="3762" y="0"/>
                    </a:moveTo>
                    <a:lnTo>
                      <a:pt x="3442" y="27"/>
                    </a:lnTo>
                    <a:lnTo>
                      <a:pt x="3122" y="80"/>
                    </a:lnTo>
                    <a:lnTo>
                      <a:pt x="2802" y="160"/>
                    </a:lnTo>
                    <a:lnTo>
                      <a:pt x="2508" y="267"/>
                    </a:lnTo>
                    <a:lnTo>
                      <a:pt x="2215" y="400"/>
                    </a:lnTo>
                    <a:lnTo>
                      <a:pt x="1921" y="560"/>
                    </a:lnTo>
                    <a:lnTo>
                      <a:pt x="1628" y="720"/>
                    </a:lnTo>
                    <a:lnTo>
                      <a:pt x="1361" y="960"/>
                    </a:lnTo>
                    <a:lnTo>
                      <a:pt x="1121" y="1200"/>
                    </a:lnTo>
                    <a:lnTo>
                      <a:pt x="881" y="1467"/>
                    </a:lnTo>
                    <a:lnTo>
                      <a:pt x="668" y="1761"/>
                    </a:lnTo>
                    <a:lnTo>
                      <a:pt x="508" y="2027"/>
                    </a:lnTo>
                    <a:lnTo>
                      <a:pt x="401" y="2267"/>
                    </a:lnTo>
                    <a:lnTo>
                      <a:pt x="294" y="2507"/>
                    </a:lnTo>
                    <a:lnTo>
                      <a:pt x="214" y="2774"/>
                    </a:lnTo>
                    <a:lnTo>
                      <a:pt x="134" y="3041"/>
                    </a:lnTo>
                    <a:lnTo>
                      <a:pt x="81" y="3308"/>
                    </a:lnTo>
                    <a:lnTo>
                      <a:pt x="27" y="3841"/>
                    </a:lnTo>
                    <a:lnTo>
                      <a:pt x="1" y="4401"/>
                    </a:lnTo>
                    <a:lnTo>
                      <a:pt x="1" y="4935"/>
                    </a:lnTo>
                    <a:lnTo>
                      <a:pt x="27" y="6055"/>
                    </a:lnTo>
                    <a:lnTo>
                      <a:pt x="81" y="7095"/>
                    </a:lnTo>
                    <a:lnTo>
                      <a:pt x="187" y="8509"/>
                    </a:lnTo>
                    <a:lnTo>
                      <a:pt x="508" y="11950"/>
                    </a:lnTo>
                    <a:lnTo>
                      <a:pt x="828" y="15364"/>
                    </a:lnTo>
                    <a:lnTo>
                      <a:pt x="934" y="16778"/>
                    </a:lnTo>
                    <a:lnTo>
                      <a:pt x="988" y="17845"/>
                    </a:lnTo>
                    <a:lnTo>
                      <a:pt x="1014" y="19339"/>
                    </a:lnTo>
                    <a:lnTo>
                      <a:pt x="1014" y="20646"/>
                    </a:lnTo>
                    <a:lnTo>
                      <a:pt x="988" y="21766"/>
                    </a:lnTo>
                    <a:lnTo>
                      <a:pt x="961" y="22726"/>
                    </a:lnTo>
                    <a:lnTo>
                      <a:pt x="908" y="23553"/>
                    </a:lnTo>
                    <a:lnTo>
                      <a:pt x="828" y="24327"/>
                    </a:lnTo>
                    <a:lnTo>
                      <a:pt x="668" y="25660"/>
                    </a:lnTo>
                    <a:lnTo>
                      <a:pt x="508" y="27021"/>
                    </a:lnTo>
                    <a:lnTo>
                      <a:pt x="428" y="27794"/>
                    </a:lnTo>
                    <a:lnTo>
                      <a:pt x="348" y="28621"/>
                    </a:lnTo>
                    <a:lnTo>
                      <a:pt x="294" y="29581"/>
                    </a:lnTo>
                    <a:lnTo>
                      <a:pt x="268" y="30702"/>
                    </a:lnTo>
                    <a:lnTo>
                      <a:pt x="241" y="32009"/>
                    </a:lnTo>
                    <a:lnTo>
                      <a:pt x="241" y="33502"/>
                    </a:lnTo>
                    <a:lnTo>
                      <a:pt x="268" y="35103"/>
                    </a:lnTo>
                    <a:lnTo>
                      <a:pt x="348" y="37050"/>
                    </a:lnTo>
                    <a:lnTo>
                      <a:pt x="588" y="41585"/>
                    </a:lnTo>
                    <a:lnTo>
                      <a:pt x="801" y="46093"/>
                    </a:lnTo>
                    <a:lnTo>
                      <a:pt x="854" y="48066"/>
                    </a:lnTo>
                    <a:lnTo>
                      <a:pt x="908" y="49640"/>
                    </a:lnTo>
                    <a:lnTo>
                      <a:pt x="908" y="50254"/>
                    </a:lnTo>
                    <a:lnTo>
                      <a:pt x="908" y="50574"/>
                    </a:lnTo>
                    <a:lnTo>
                      <a:pt x="961" y="50867"/>
                    </a:lnTo>
                    <a:lnTo>
                      <a:pt x="1041" y="51134"/>
                    </a:lnTo>
                    <a:lnTo>
                      <a:pt x="1174" y="51401"/>
                    </a:lnTo>
                    <a:lnTo>
                      <a:pt x="1254" y="51534"/>
                    </a:lnTo>
                    <a:lnTo>
                      <a:pt x="1361" y="51641"/>
                    </a:lnTo>
                    <a:lnTo>
                      <a:pt x="1495" y="51747"/>
                    </a:lnTo>
                    <a:lnTo>
                      <a:pt x="1628" y="51854"/>
                    </a:lnTo>
                    <a:lnTo>
                      <a:pt x="1868" y="52014"/>
                    </a:lnTo>
                    <a:lnTo>
                      <a:pt x="2108" y="52121"/>
                    </a:lnTo>
                    <a:lnTo>
                      <a:pt x="2348" y="52174"/>
                    </a:lnTo>
                    <a:lnTo>
                      <a:pt x="2802" y="52174"/>
                    </a:lnTo>
                    <a:lnTo>
                      <a:pt x="3015" y="52094"/>
                    </a:lnTo>
                    <a:lnTo>
                      <a:pt x="3202" y="52014"/>
                    </a:lnTo>
                    <a:lnTo>
                      <a:pt x="3388" y="51907"/>
                    </a:lnTo>
                    <a:lnTo>
                      <a:pt x="3548" y="51747"/>
                    </a:lnTo>
                    <a:lnTo>
                      <a:pt x="3708" y="51587"/>
                    </a:lnTo>
                    <a:lnTo>
                      <a:pt x="3842" y="51401"/>
                    </a:lnTo>
                    <a:lnTo>
                      <a:pt x="3949" y="51187"/>
                    </a:lnTo>
                    <a:lnTo>
                      <a:pt x="4055" y="50974"/>
                    </a:lnTo>
                    <a:lnTo>
                      <a:pt x="4135" y="50760"/>
                    </a:lnTo>
                    <a:lnTo>
                      <a:pt x="4215" y="50520"/>
                    </a:lnTo>
                    <a:lnTo>
                      <a:pt x="4242" y="50280"/>
                    </a:lnTo>
                    <a:lnTo>
                      <a:pt x="4669" y="47240"/>
                    </a:lnTo>
                    <a:lnTo>
                      <a:pt x="5069" y="44172"/>
                    </a:lnTo>
                    <a:lnTo>
                      <a:pt x="5442" y="41078"/>
                    </a:lnTo>
                    <a:lnTo>
                      <a:pt x="5789" y="37957"/>
                    </a:lnTo>
                    <a:lnTo>
                      <a:pt x="6109" y="34863"/>
                    </a:lnTo>
                    <a:lnTo>
                      <a:pt x="6376" y="31742"/>
                    </a:lnTo>
                    <a:lnTo>
                      <a:pt x="6643" y="28648"/>
                    </a:lnTo>
                    <a:lnTo>
                      <a:pt x="6856" y="25580"/>
                    </a:lnTo>
                    <a:lnTo>
                      <a:pt x="7016" y="22913"/>
                    </a:lnTo>
                    <a:lnTo>
                      <a:pt x="7176" y="20246"/>
                    </a:lnTo>
                    <a:lnTo>
                      <a:pt x="7416" y="14964"/>
                    </a:lnTo>
                    <a:lnTo>
                      <a:pt x="7549" y="12323"/>
                    </a:lnTo>
                    <a:lnTo>
                      <a:pt x="7683" y="9656"/>
                    </a:lnTo>
                    <a:lnTo>
                      <a:pt x="7843" y="7015"/>
                    </a:lnTo>
                    <a:lnTo>
                      <a:pt x="8056" y="4348"/>
                    </a:lnTo>
                    <a:lnTo>
                      <a:pt x="8056" y="3948"/>
                    </a:lnTo>
                    <a:lnTo>
                      <a:pt x="8056" y="3601"/>
                    </a:lnTo>
                    <a:lnTo>
                      <a:pt x="8003" y="3254"/>
                    </a:lnTo>
                    <a:lnTo>
                      <a:pt x="7923" y="2908"/>
                    </a:lnTo>
                    <a:lnTo>
                      <a:pt x="7816" y="2587"/>
                    </a:lnTo>
                    <a:lnTo>
                      <a:pt x="7683" y="2294"/>
                    </a:lnTo>
                    <a:lnTo>
                      <a:pt x="7549" y="2001"/>
                    </a:lnTo>
                    <a:lnTo>
                      <a:pt x="7363" y="1734"/>
                    </a:lnTo>
                    <a:lnTo>
                      <a:pt x="7176" y="1494"/>
                    </a:lnTo>
                    <a:lnTo>
                      <a:pt x="6936" y="1254"/>
                    </a:lnTo>
                    <a:lnTo>
                      <a:pt x="6723" y="1040"/>
                    </a:lnTo>
                    <a:lnTo>
                      <a:pt x="6456" y="827"/>
                    </a:lnTo>
                    <a:lnTo>
                      <a:pt x="6189" y="667"/>
                    </a:lnTo>
                    <a:lnTo>
                      <a:pt x="5922" y="507"/>
                    </a:lnTo>
                    <a:lnTo>
                      <a:pt x="5629" y="347"/>
                    </a:lnTo>
                    <a:lnTo>
                      <a:pt x="5336" y="240"/>
                    </a:lnTo>
                    <a:lnTo>
                      <a:pt x="5015" y="160"/>
                    </a:lnTo>
                    <a:lnTo>
                      <a:pt x="4722" y="80"/>
                    </a:lnTo>
                    <a:lnTo>
                      <a:pt x="4402" y="27"/>
                    </a:lnTo>
                    <a:lnTo>
                      <a:pt x="4082" y="0"/>
                    </a:lnTo>
                    <a:close/>
                  </a:path>
                </a:pathLst>
              </a:custGeom>
              <a:solidFill>
                <a:srgbClr val="D99468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8" name="Google Shape;828;p16"/>
              <p:cNvSpPr/>
              <p:nvPr/>
            </p:nvSpPr>
            <p:spPr>
              <a:xfrm>
                <a:off x="7310297" y="6513777"/>
                <a:ext cx="133654" cy="683765"/>
              </a:xfrm>
              <a:custGeom>
                <a:avLst/>
                <a:gdLst/>
                <a:ahLst/>
                <a:cxnLst/>
                <a:rect l="l" t="t" r="r" b="b"/>
                <a:pathLst>
                  <a:path w="10110" h="51722" extrusionOk="0">
                    <a:moveTo>
                      <a:pt x="3895" y="1"/>
                    </a:moveTo>
                    <a:lnTo>
                      <a:pt x="3575" y="27"/>
                    </a:lnTo>
                    <a:lnTo>
                      <a:pt x="3255" y="54"/>
                    </a:lnTo>
                    <a:lnTo>
                      <a:pt x="2935" y="107"/>
                    </a:lnTo>
                    <a:lnTo>
                      <a:pt x="2641" y="214"/>
                    </a:lnTo>
                    <a:lnTo>
                      <a:pt x="2348" y="321"/>
                    </a:lnTo>
                    <a:lnTo>
                      <a:pt x="2054" y="454"/>
                    </a:lnTo>
                    <a:lnTo>
                      <a:pt x="1761" y="614"/>
                    </a:lnTo>
                    <a:lnTo>
                      <a:pt x="1494" y="801"/>
                    </a:lnTo>
                    <a:lnTo>
                      <a:pt x="1254" y="1014"/>
                    </a:lnTo>
                    <a:lnTo>
                      <a:pt x="1014" y="1254"/>
                    </a:lnTo>
                    <a:lnTo>
                      <a:pt x="801" y="1521"/>
                    </a:lnTo>
                    <a:lnTo>
                      <a:pt x="587" y="1814"/>
                    </a:lnTo>
                    <a:lnTo>
                      <a:pt x="401" y="2108"/>
                    </a:lnTo>
                    <a:lnTo>
                      <a:pt x="267" y="2455"/>
                    </a:lnTo>
                    <a:lnTo>
                      <a:pt x="160" y="2695"/>
                    </a:lnTo>
                    <a:lnTo>
                      <a:pt x="107" y="2935"/>
                    </a:lnTo>
                    <a:lnTo>
                      <a:pt x="54" y="3175"/>
                    </a:lnTo>
                    <a:lnTo>
                      <a:pt x="27" y="3415"/>
                    </a:lnTo>
                    <a:lnTo>
                      <a:pt x="0" y="3895"/>
                    </a:lnTo>
                    <a:lnTo>
                      <a:pt x="0" y="4375"/>
                    </a:lnTo>
                    <a:lnTo>
                      <a:pt x="80" y="4829"/>
                    </a:lnTo>
                    <a:lnTo>
                      <a:pt x="160" y="5309"/>
                    </a:lnTo>
                    <a:lnTo>
                      <a:pt x="374" y="6269"/>
                    </a:lnTo>
                    <a:lnTo>
                      <a:pt x="427" y="6589"/>
                    </a:lnTo>
                    <a:lnTo>
                      <a:pt x="454" y="6856"/>
                    </a:lnTo>
                    <a:lnTo>
                      <a:pt x="481" y="7043"/>
                    </a:lnTo>
                    <a:lnTo>
                      <a:pt x="454" y="7176"/>
                    </a:lnTo>
                    <a:lnTo>
                      <a:pt x="427" y="7256"/>
                    </a:lnTo>
                    <a:lnTo>
                      <a:pt x="401" y="7283"/>
                    </a:lnTo>
                    <a:lnTo>
                      <a:pt x="347" y="7309"/>
                    </a:lnTo>
                    <a:lnTo>
                      <a:pt x="294" y="7336"/>
                    </a:lnTo>
                    <a:lnTo>
                      <a:pt x="214" y="7363"/>
                    </a:lnTo>
                    <a:lnTo>
                      <a:pt x="187" y="7363"/>
                    </a:lnTo>
                    <a:lnTo>
                      <a:pt x="134" y="7416"/>
                    </a:lnTo>
                    <a:lnTo>
                      <a:pt x="107" y="7496"/>
                    </a:lnTo>
                    <a:lnTo>
                      <a:pt x="80" y="7629"/>
                    </a:lnTo>
                    <a:lnTo>
                      <a:pt x="80" y="7816"/>
                    </a:lnTo>
                    <a:lnTo>
                      <a:pt x="107" y="8083"/>
                    </a:lnTo>
                    <a:lnTo>
                      <a:pt x="160" y="8403"/>
                    </a:lnTo>
                    <a:lnTo>
                      <a:pt x="374" y="9390"/>
                    </a:lnTo>
                    <a:lnTo>
                      <a:pt x="614" y="10297"/>
                    </a:lnTo>
                    <a:lnTo>
                      <a:pt x="881" y="11177"/>
                    </a:lnTo>
                    <a:lnTo>
                      <a:pt x="1147" y="12031"/>
                    </a:lnTo>
                    <a:lnTo>
                      <a:pt x="1441" y="12831"/>
                    </a:lnTo>
                    <a:lnTo>
                      <a:pt x="1734" y="13631"/>
                    </a:lnTo>
                    <a:lnTo>
                      <a:pt x="2348" y="15178"/>
                    </a:lnTo>
                    <a:lnTo>
                      <a:pt x="2935" y="16725"/>
                    </a:lnTo>
                    <a:lnTo>
                      <a:pt x="3228" y="17525"/>
                    </a:lnTo>
                    <a:lnTo>
                      <a:pt x="3495" y="18326"/>
                    </a:lnTo>
                    <a:lnTo>
                      <a:pt x="3735" y="19179"/>
                    </a:lnTo>
                    <a:lnTo>
                      <a:pt x="3975" y="20059"/>
                    </a:lnTo>
                    <a:lnTo>
                      <a:pt x="4162" y="20993"/>
                    </a:lnTo>
                    <a:lnTo>
                      <a:pt x="4322" y="21980"/>
                    </a:lnTo>
                    <a:lnTo>
                      <a:pt x="4375" y="22460"/>
                    </a:lnTo>
                    <a:lnTo>
                      <a:pt x="4402" y="22940"/>
                    </a:lnTo>
                    <a:lnTo>
                      <a:pt x="4402" y="23394"/>
                    </a:lnTo>
                    <a:lnTo>
                      <a:pt x="4375" y="23847"/>
                    </a:lnTo>
                    <a:lnTo>
                      <a:pt x="4295" y="24754"/>
                    </a:lnTo>
                    <a:lnTo>
                      <a:pt x="4188" y="25794"/>
                    </a:lnTo>
                    <a:lnTo>
                      <a:pt x="4055" y="26995"/>
                    </a:lnTo>
                    <a:lnTo>
                      <a:pt x="4028" y="27715"/>
                    </a:lnTo>
                    <a:lnTo>
                      <a:pt x="3975" y="28488"/>
                    </a:lnTo>
                    <a:lnTo>
                      <a:pt x="3975" y="29369"/>
                    </a:lnTo>
                    <a:lnTo>
                      <a:pt x="3975" y="30329"/>
                    </a:lnTo>
                    <a:lnTo>
                      <a:pt x="4002" y="31422"/>
                    </a:lnTo>
                    <a:lnTo>
                      <a:pt x="4055" y="32623"/>
                    </a:lnTo>
                    <a:lnTo>
                      <a:pt x="4108" y="33396"/>
                    </a:lnTo>
                    <a:lnTo>
                      <a:pt x="4188" y="34303"/>
                    </a:lnTo>
                    <a:lnTo>
                      <a:pt x="4482" y="36357"/>
                    </a:lnTo>
                    <a:lnTo>
                      <a:pt x="4828" y="38704"/>
                    </a:lnTo>
                    <a:lnTo>
                      <a:pt x="5229" y="41158"/>
                    </a:lnTo>
                    <a:lnTo>
                      <a:pt x="5629" y="43612"/>
                    </a:lnTo>
                    <a:lnTo>
                      <a:pt x="5975" y="45933"/>
                    </a:lnTo>
                    <a:lnTo>
                      <a:pt x="6269" y="48014"/>
                    </a:lnTo>
                    <a:lnTo>
                      <a:pt x="6349" y="48894"/>
                    </a:lnTo>
                    <a:lnTo>
                      <a:pt x="6402" y="49694"/>
                    </a:lnTo>
                    <a:lnTo>
                      <a:pt x="6429" y="50041"/>
                    </a:lnTo>
                    <a:lnTo>
                      <a:pt x="6402" y="50308"/>
                    </a:lnTo>
                    <a:lnTo>
                      <a:pt x="6375" y="50521"/>
                    </a:lnTo>
                    <a:lnTo>
                      <a:pt x="6375" y="50734"/>
                    </a:lnTo>
                    <a:lnTo>
                      <a:pt x="6429" y="50894"/>
                    </a:lnTo>
                    <a:lnTo>
                      <a:pt x="6455" y="50974"/>
                    </a:lnTo>
                    <a:lnTo>
                      <a:pt x="6536" y="51054"/>
                    </a:lnTo>
                    <a:lnTo>
                      <a:pt x="6749" y="51241"/>
                    </a:lnTo>
                    <a:lnTo>
                      <a:pt x="7069" y="51455"/>
                    </a:lnTo>
                    <a:lnTo>
                      <a:pt x="7309" y="51588"/>
                    </a:lnTo>
                    <a:lnTo>
                      <a:pt x="7549" y="51668"/>
                    </a:lnTo>
                    <a:lnTo>
                      <a:pt x="7763" y="51721"/>
                    </a:lnTo>
                    <a:lnTo>
                      <a:pt x="7976" y="51721"/>
                    </a:lnTo>
                    <a:lnTo>
                      <a:pt x="8189" y="51695"/>
                    </a:lnTo>
                    <a:lnTo>
                      <a:pt x="8403" y="51641"/>
                    </a:lnTo>
                    <a:lnTo>
                      <a:pt x="8589" y="51561"/>
                    </a:lnTo>
                    <a:lnTo>
                      <a:pt x="8749" y="51455"/>
                    </a:lnTo>
                    <a:lnTo>
                      <a:pt x="8909" y="51321"/>
                    </a:lnTo>
                    <a:lnTo>
                      <a:pt x="9070" y="51188"/>
                    </a:lnTo>
                    <a:lnTo>
                      <a:pt x="9203" y="51001"/>
                    </a:lnTo>
                    <a:lnTo>
                      <a:pt x="9310" y="50814"/>
                    </a:lnTo>
                    <a:lnTo>
                      <a:pt x="9416" y="50628"/>
                    </a:lnTo>
                    <a:lnTo>
                      <a:pt x="9496" y="50414"/>
                    </a:lnTo>
                    <a:lnTo>
                      <a:pt x="9550" y="50201"/>
                    </a:lnTo>
                    <a:lnTo>
                      <a:pt x="9603" y="49961"/>
                    </a:lnTo>
                    <a:lnTo>
                      <a:pt x="9683" y="49294"/>
                    </a:lnTo>
                    <a:lnTo>
                      <a:pt x="9763" y="48600"/>
                    </a:lnTo>
                    <a:lnTo>
                      <a:pt x="9870" y="47213"/>
                    </a:lnTo>
                    <a:lnTo>
                      <a:pt x="9950" y="45826"/>
                    </a:lnTo>
                    <a:lnTo>
                      <a:pt x="9976" y="44413"/>
                    </a:lnTo>
                    <a:lnTo>
                      <a:pt x="9976" y="41612"/>
                    </a:lnTo>
                    <a:lnTo>
                      <a:pt x="9976" y="38864"/>
                    </a:lnTo>
                    <a:lnTo>
                      <a:pt x="10083" y="31636"/>
                    </a:lnTo>
                    <a:lnTo>
                      <a:pt x="10110" y="29689"/>
                    </a:lnTo>
                    <a:lnTo>
                      <a:pt x="10083" y="27795"/>
                    </a:lnTo>
                    <a:lnTo>
                      <a:pt x="10083" y="26034"/>
                    </a:lnTo>
                    <a:lnTo>
                      <a:pt x="10030" y="24381"/>
                    </a:lnTo>
                    <a:lnTo>
                      <a:pt x="9870" y="21606"/>
                    </a:lnTo>
                    <a:lnTo>
                      <a:pt x="9683" y="18966"/>
                    </a:lnTo>
                    <a:lnTo>
                      <a:pt x="9470" y="16432"/>
                    </a:lnTo>
                    <a:lnTo>
                      <a:pt x="9203" y="13924"/>
                    </a:lnTo>
                    <a:lnTo>
                      <a:pt x="8936" y="11444"/>
                    </a:lnTo>
                    <a:lnTo>
                      <a:pt x="8643" y="8910"/>
                    </a:lnTo>
                    <a:lnTo>
                      <a:pt x="8003" y="3522"/>
                    </a:lnTo>
                    <a:lnTo>
                      <a:pt x="7949" y="3148"/>
                    </a:lnTo>
                    <a:lnTo>
                      <a:pt x="7869" y="2801"/>
                    </a:lnTo>
                    <a:lnTo>
                      <a:pt x="7736" y="2455"/>
                    </a:lnTo>
                    <a:lnTo>
                      <a:pt x="7602" y="2135"/>
                    </a:lnTo>
                    <a:lnTo>
                      <a:pt x="7442" y="1868"/>
                    </a:lnTo>
                    <a:lnTo>
                      <a:pt x="7256" y="1574"/>
                    </a:lnTo>
                    <a:lnTo>
                      <a:pt x="7042" y="1334"/>
                    </a:lnTo>
                    <a:lnTo>
                      <a:pt x="6802" y="1094"/>
                    </a:lnTo>
                    <a:lnTo>
                      <a:pt x="6562" y="881"/>
                    </a:lnTo>
                    <a:lnTo>
                      <a:pt x="6295" y="694"/>
                    </a:lnTo>
                    <a:lnTo>
                      <a:pt x="6029" y="534"/>
                    </a:lnTo>
                    <a:lnTo>
                      <a:pt x="5762" y="401"/>
                    </a:lnTo>
                    <a:lnTo>
                      <a:pt x="5469" y="267"/>
                    </a:lnTo>
                    <a:lnTo>
                      <a:pt x="5148" y="161"/>
                    </a:lnTo>
                    <a:lnTo>
                      <a:pt x="4855" y="107"/>
                    </a:lnTo>
                    <a:lnTo>
                      <a:pt x="4535" y="54"/>
                    </a:lnTo>
                    <a:lnTo>
                      <a:pt x="4215" y="1"/>
                    </a:lnTo>
                    <a:close/>
                  </a:path>
                </a:pathLst>
              </a:custGeom>
              <a:solidFill>
                <a:srgbClr val="D99468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9" name="Google Shape;829;p16"/>
              <p:cNvSpPr/>
              <p:nvPr/>
            </p:nvSpPr>
            <p:spPr>
              <a:xfrm>
                <a:off x="7286671" y="6317695"/>
                <a:ext cx="13" cy="370"/>
              </a:xfrm>
              <a:custGeom>
                <a:avLst/>
                <a:gdLst/>
                <a:ahLst/>
                <a:cxnLst/>
                <a:rect l="l" t="t" r="r" b="b"/>
                <a:pathLst>
                  <a:path w="1" h="28" extrusionOk="0">
                    <a:moveTo>
                      <a:pt x="0" y="1"/>
                    </a:moveTo>
                    <a:lnTo>
                      <a:pt x="0" y="28"/>
                    </a:lnTo>
                    <a:lnTo>
                      <a:pt x="0" y="28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FFB79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30" name="Google Shape;830;p16"/>
              <p:cNvSpPr/>
              <p:nvPr/>
            </p:nvSpPr>
            <p:spPr>
              <a:xfrm>
                <a:off x="7179105" y="6467582"/>
                <a:ext cx="289875" cy="388602"/>
              </a:xfrm>
              <a:custGeom>
                <a:avLst/>
                <a:gdLst/>
                <a:ahLst/>
                <a:cxnLst/>
                <a:rect l="l" t="t" r="r" b="b"/>
                <a:pathLst>
                  <a:path w="21927" h="29395" extrusionOk="0">
                    <a:moveTo>
                      <a:pt x="3042" y="0"/>
                    </a:moveTo>
                    <a:lnTo>
                      <a:pt x="2721" y="1841"/>
                    </a:lnTo>
                    <a:lnTo>
                      <a:pt x="2401" y="3841"/>
                    </a:lnTo>
                    <a:lnTo>
                      <a:pt x="2081" y="6029"/>
                    </a:lnTo>
                    <a:lnTo>
                      <a:pt x="1788" y="8296"/>
                    </a:lnTo>
                    <a:lnTo>
                      <a:pt x="1521" y="10643"/>
                    </a:lnTo>
                    <a:lnTo>
                      <a:pt x="1281" y="13017"/>
                    </a:lnTo>
                    <a:lnTo>
                      <a:pt x="828" y="17658"/>
                    </a:lnTo>
                    <a:lnTo>
                      <a:pt x="481" y="21846"/>
                    </a:lnTo>
                    <a:lnTo>
                      <a:pt x="214" y="25287"/>
                    </a:lnTo>
                    <a:lnTo>
                      <a:pt x="1" y="28435"/>
                    </a:lnTo>
                    <a:lnTo>
                      <a:pt x="1094" y="28648"/>
                    </a:lnTo>
                    <a:lnTo>
                      <a:pt x="2161" y="28835"/>
                    </a:lnTo>
                    <a:lnTo>
                      <a:pt x="3255" y="28995"/>
                    </a:lnTo>
                    <a:lnTo>
                      <a:pt x="4295" y="29128"/>
                    </a:lnTo>
                    <a:lnTo>
                      <a:pt x="5336" y="29208"/>
                    </a:lnTo>
                    <a:lnTo>
                      <a:pt x="6376" y="29288"/>
                    </a:lnTo>
                    <a:lnTo>
                      <a:pt x="7389" y="29342"/>
                    </a:lnTo>
                    <a:lnTo>
                      <a:pt x="8376" y="29368"/>
                    </a:lnTo>
                    <a:lnTo>
                      <a:pt x="9337" y="29395"/>
                    </a:lnTo>
                    <a:lnTo>
                      <a:pt x="10270" y="29395"/>
                    </a:lnTo>
                    <a:lnTo>
                      <a:pt x="11204" y="29368"/>
                    </a:lnTo>
                    <a:lnTo>
                      <a:pt x="12084" y="29315"/>
                    </a:lnTo>
                    <a:lnTo>
                      <a:pt x="13791" y="29208"/>
                    </a:lnTo>
                    <a:lnTo>
                      <a:pt x="15365" y="29048"/>
                    </a:lnTo>
                    <a:lnTo>
                      <a:pt x="16805" y="28861"/>
                    </a:lnTo>
                    <a:lnTo>
                      <a:pt x="18086" y="28648"/>
                    </a:lnTo>
                    <a:lnTo>
                      <a:pt x="19206" y="28435"/>
                    </a:lnTo>
                    <a:lnTo>
                      <a:pt x="20166" y="28248"/>
                    </a:lnTo>
                    <a:lnTo>
                      <a:pt x="20913" y="28061"/>
                    </a:lnTo>
                    <a:lnTo>
                      <a:pt x="21473" y="27928"/>
                    </a:lnTo>
                    <a:lnTo>
                      <a:pt x="21927" y="27795"/>
                    </a:lnTo>
                    <a:lnTo>
                      <a:pt x="21740" y="25474"/>
                    </a:lnTo>
                    <a:lnTo>
                      <a:pt x="21527" y="23127"/>
                    </a:lnTo>
                    <a:lnTo>
                      <a:pt x="21260" y="20753"/>
                    </a:lnTo>
                    <a:lnTo>
                      <a:pt x="20993" y="18379"/>
                    </a:lnTo>
                    <a:lnTo>
                      <a:pt x="20673" y="16031"/>
                    </a:lnTo>
                    <a:lnTo>
                      <a:pt x="20380" y="13764"/>
                    </a:lnTo>
                    <a:lnTo>
                      <a:pt x="19739" y="9496"/>
                    </a:lnTo>
                    <a:lnTo>
                      <a:pt x="19126" y="5815"/>
                    </a:lnTo>
                    <a:lnTo>
                      <a:pt x="18619" y="2908"/>
                    </a:lnTo>
                    <a:lnTo>
                      <a:pt x="18166" y="320"/>
                    </a:lnTo>
                    <a:lnTo>
                      <a:pt x="3042" y="0"/>
                    </a:lnTo>
                    <a:close/>
                  </a:path>
                </a:pathLst>
              </a:custGeom>
              <a:solidFill>
                <a:srgbClr val="FFB6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31" name="Google Shape;831;p16"/>
              <p:cNvSpPr/>
              <p:nvPr/>
            </p:nvSpPr>
            <p:spPr>
              <a:xfrm>
                <a:off x="7158652" y="6568089"/>
                <a:ext cx="34927" cy="24338"/>
              </a:xfrm>
              <a:custGeom>
                <a:avLst/>
                <a:gdLst/>
                <a:ahLst/>
                <a:cxnLst/>
                <a:rect l="l" t="t" r="r" b="b"/>
                <a:pathLst>
                  <a:path w="2642" h="1841" extrusionOk="0">
                    <a:moveTo>
                      <a:pt x="694" y="0"/>
                    </a:moveTo>
                    <a:lnTo>
                      <a:pt x="401" y="27"/>
                    </a:lnTo>
                    <a:lnTo>
                      <a:pt x="187" y="80"/>
                    </a:lnTo>
                    <a:lnTo>
                      <a:pt x="81" y="134"/>
                    </a:lnTo>
                    <a:lnTo>
                      <a:pt x="27" y="160"/>
                    </a:lnTo>
                    <a:lnTo>
                      <a:pt x="27" y="214"/>
                    </a:lnTo>
                    <a:lnTo>
                      <a:pt x="1" y="347"/>
                    </a:lnTo>
                    <a:lnTo>
                      <a:pt x="27" y="507"/>
                    </a:lnTo>
                    <a:lnTo>
                      <a:pt x="81" y="667"/>
                    </a:lnTo>
                    <a:lnTo>
                      <a:pt x="161" y="961"/>
                    </a:lnTo>
                    <a:lnTo>
                      <a:pt x="214" y="1094"/>
                    </a:lnTo>
                    <a:lnTo>
                      <a:pt x="321" y="1201"/>
                    </a:lnTo>
                    <a:lnTo>
                      <a:pt x="481" y="1307"/>
                    </a:lnTo>
                    <a:lnTo>
                      <a:pt x="641" y="1414"/>
                    </a:lnTo>
                    <a:lnTo>
                      <a:pt x="801" y="1494"/>
                    </a:lnTo>
                    <a:lnTo>
                      <a:pt x="1201" y="1601"/>
                    </a:lnTo>
                    <a:lnTo>
                      <a:pt x="1601" y="1708"/>
                    </a:lnTo>
                    <a:lnTo>
                      <a:pt x="2001" y="1761"/>
                    </a:lnTo>
                    <a:lnTo>
                      <a:pt x="2321" y="1814"/>
                    </a:lnTo>
                    <a:lnTo>
                      <a:pt x="2615" y="1841"/>
                    </a:lnTo>
                    <a:lnTo>
                      <a:pt x="2641" y="1734"/>
                    </a:lnTo>
                    <a:lnTo>
                      <a:pt x="2641" y="1601"/>
                    </a:lnTo>
                    <a:lnTo>
                      <a:pt x="2615" y="1414"/>
                    </a:lnTo>
                    <a:lnTo>
                      <a:pt x="2588" y="1227"/>
                    </a:lnTo>
                    <a:lnTo>
                      <a:pt x="2508" y="987"/>
                    </a:lnTo>
                    <a:lnTo>
                      <a:pt x="2375" y="747"/>
                    </a:lnTo>
                    <a:lnTo>
                      <a:pt x="2188" y="507"/>
                    </a:lnTo>
                    <a:lnTo>
                      <a:pt x="2081" y="374"/>
                    </a:lnTo>
                    <a:lnTo>
                      <a:pt x="1948" y="294"/>
                    </a:lnTo>
                    <a:lnTo>
                      <a:pt x="1814" y="214"/>
                    </a:lnTo>
                    <a:lnTo>
                      <a:pt x="1654" y="134"/>
                    </a:lnTo>
                    <a:lnTo>
                      <a:pt x="1334" y="54"/>
                    </a:lnTo>
                    <a:lnTo>
                      <a:pt x="1014" y="0"/>
                    </a:lnTo>
                    <a:close/>
                  </a:path>
                </a:pathLst>
              </a:custGeom>
              <a:solidFill>
                <a:srgbClr val="D99468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32" name="Google Shape;832;p16"/>
              <p:cNvSpPr/>
              <p:nvPr/>
            </p:nvSpPr>
            <p:spPr>
              <a:xfrm>
                <a:off x="7555045" y="6181928"/>
                <a:ext cx="56079" cy="66312"/>
              </a:xfrm>
              <a:custGeom>
                <a:avLst/>
                <a:gdLst/>
                <a:ahLst/>
                <a:cxnLst/>
                <a:rect l="l" t="t" r="r" b="b"/>
                <a:pathLst>
                  <a:path w="4242" h="5016" extrusionOk="0">
                    <a:moveTo>
                      <a:pt x="1120" y="0"/>
                    </a:moveTo>
                    <a:lnTo>
                      <a:pt x="987" y="214"/>
                    </a:lnTo>
                    <a:lnTo>
                      <a:pt x="827" y="481"/>
                    </a:lnTo>
                    <a:lnTo>
                      <a:pt x="640" y="801"/>
                    </a:lnTo>
                    <a:lnTo>
                      <a:pt x="454" y="1201"/>
                    </a:lnTo>
                    <a:lnTo>
                      <a:pt x="267" y="1654"/>
                    </a:lnTo>
                    <a:lnTo>
                      <a:pt x="107" y="2161"/>
                    </a:lnTo>
                    <a:lnTo>
                      <a:pt x="53" y="2401"/>
                    </a:lnTo>
                    <a:lnTo>
                      <a:pt x="27" y="2668"/>
                    </a:lnTo>
                    <a:lnTo>
                      <a:pt x="0" y="3015"/>
                    </a:lnTo>
                    <a:lnTo>
                      <a:pt x="53" y="3361"/>
                    </a:lnTo>
                    <a:lnTo>
                      <a:pt x="107" y="3681"/>
                    </a:lnTo>
                    <a:lnTo>
                      <a:pt x="213" y="3975"/>
                    </a:lnTo>
                    <a:lnTo>
                      <a:pt x="347" y="4242"/>
                    </a:lnTo>
                    <a:lnTo>
                      <a:pt x="480" y="4482"/>
                    </a:lnTo>
                    <a:lnTo>
                      <a:pt x="640" y="4668"/>
                    </a:lnTo>
                    <a:lnTo>
                      <a:pt x="774" y="4802"/>
                    </a:lnTo>
                    <a:lnTo>
                      <a:pt x="1040" y="4935"/>
                    </a:lnTo>
                    <a:lnTo>
                      <a:pt x="1307" y="5015"/>
                    </a:lnTo>
                    <a:lnTo>
                      <a:pt x="1574" y="5015"/>
                    </a:lnTo>
                    <a:lnTo>
                      <a:pt x="1867" y="4989"/>
                    </a:lnTo>
                    <a:lnTo>
                      <a:pt x="2161" y="4908"/>
                    </a:lnTo>
                    <a:lnTo>
                      <a:pt x="2481" y="4775"/>
                    </a:lnTo>
                    <a:lnTo>
                      <a:pt x="2774" y="4588"/>
                    </a:lnTo>
                    <a:lnTo>
                      <a:pt x="3094" y="4348"/>
                    </a:lnTo>
                    <a:lnTo>
                      <a:pt x="3281" y="4162"/>
                    </a:lnTo>
                    <a:lnTo>
                      <a:pt x="3388" y="3948"/>
                    </a:lnTo>
                    <a:lnTo>
                      <a:pt x="3494" y="3708"/>
                    </a:lnTo>
                    <a:lnTo>
                      <a:pt x="3601" y="3415"/>
                    </a:lnTo>
                    <a:lnTo>
                      <a:pt x="3814" y="2641"/>
                    </a:lnTo>
                    <a:lnTo>
                      <a:pt x="4001" y="2161"/>
                    </a:lnTo>
                    <a:lnTo>
                      <a:pt x="4241" y="1601"/>
                    </a:lnTo>
                    <a:lnTo>
                      <a:pt x="1120" y="0"/>
                    </a:lnTo>
                    <a:close/>
                  </a:path>
                </a:pathLst>
              </a:custGeom>
              <a:solidFill>
                <a:srgbClr val="D99468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33" name="Google Shape;833;p16"/>
              <p:cNvSpPr/>
              <p:nvPr/>
            </p:nvSpPr>
            <p:spPr>
              <a:xfrm>
                <a:off x="7593121" y="6185802"/>
                <a:ext cx="21178" cy="30340"/>
              </a:xfrm>
              <a:custGeom>
                <a:avLst/>
                <a:gdLst/>
                <a:ahLst/>
                <a:cxnLst/>
                <a:rect l="l" t="t" r="r" b="b"/>
                <a:pathLst>
                  <a:path w="1602" h="2295" extrusionOk="0">
                    <a:moveTo>
                      <a:pt x="1148" y="1"/>
                    </a:moveTo>
                    <a:lnTo>
                      <a:pt x="1014" y="54"/>
                    </a:lnTo>
                    <a:lnTo>
                      <a:pt x="908" y="161"/>
                    </a:lnTo>
                    <a:lnTo>
                      <a:pt x="81" y="1361"/>
                    </a:lnTo>
                    <a:lnTo>
                      <a:pt x="28" y="1495"/>
                    </a:lnTo>
                    <a:lnTo>
                      <a:pt x="1" y="1628"/>
                    </a:lnTo>
                    <a:lnTo>
                      <a:pt x="54" y="1735"/>
                    </a:lnTo>
                    <a:lnTo>
                      <a:pt x="134" y="1841"/>
                    </a:lnTo>
                    <a:lnTo>
                      <a:pt x="268" y="1895"/>
                    </a:lnTo>
                    <a:lnTo>
                      <a:pt x="401" y="1921"/>
                    </a:lnTo>
                    <a:lnTo>
                      <a:pt x="534" y="1868"/>
                    </a:lnTo>
                    <a:lnTo>
                      <a:pt x="641" y="1788"/>
                    </a:lnTo>
                    <a:lnTo>
                      <a:pt x="641" y="1815"/>
                    </a:lnTo>
                    <a:lnTo>
                      <a:pt x="641" y="2001"/>
                    </a:lnTo>
                    <a:lnTo>
                      <a:pt x="668" y="2135"/>
                    </a:lnTo>
                    <a:lnTo>
                      <a:pt x="694" y="2188"/>
                    </a:lnTo>
                    <a:lnTo>
                      <a:pt x="748" y="2242"/>
                    </a:lnTo>
                    <a:lnTo>
                      <a:pt x="801" y="2268"/>
                    </a:lnTo>
                    <a:lnTo>
                      <a:pt x="908" y="2295"/>
                    </a:lnTo>
                    <a:lnTo>
                      <a:pt x="988" y="2268"/>
                    </a:lnTo>
                    <a:lnTo>
                      <a:pt x="1068" y="2268"/>
                    </a:lnTo>
                    <a:lnTo>
                      <a:pt x="1148" y="2215"/>
                    </a:lnTo>
                    <a:lnTo>
                      <a:pt x="1228" y="2161"/>
                    </a:lnTo>
                    <a:lnTo>
                      <a:pt x="1335" y="2028"/>
                    </a:lnTo>
                    <a:lnTo>
                      <a:pt x="1415" y="1868"/>
                    </a:lnTo>
                    <a:lnTo>
                      <a:pt x="1468" y="1441"/>
                    </a:lnTo>
                    <a:lnTo>
                      <a:pt x="1548" y="961"/>
                    </a:lnTo>
                    <a:lnTo>
                      <a:pt x="1601" y="428"/>
                    </a:lnTo>
                    <a:lnTo>
                      <a:pt x="1601" y="401"/>
                    </a:lnTo>
                    <a:lnTo>
                      <a:pt x="1601" y="294"/>
                    </a:lnTo>
                    <a:lnTo>
                      <a:pt x="1575" y="214"/>
                    </a:lnTo>
                    <a:lnTo>
                      <a:pt x="1521" y="134"/>
                    </a:lnTo>
                    <a:lnTo>
                      <a:pt x="1441" y="54"/>
                    </a:lnTo>
                    <a:lnTo>
                      <a:pt x="1308" y="1"/>
                    </a:lnTo>
                    <a:close/>
                  </a:path>
                </a:pathLst>
              </a:custGeom>
              <a:solidFill>
                <a:srgbClr val="D99468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34" name="Google Shape;834;p16"/>
              <p:cNvSpPr/>
              <p:nvPr/>
            </p:nvSpPr>
            <p:spPr>
              <a:xfrm>
                <a:off x="7582187" y="6177697"/>
                <a:ext cx="24708" cy="32812"/>
              </a:xfrm>
              <a:custGeom>
                <a:avLst/>
                <a:gdLst/>
                <a:ahLst/>
                <a:cxnLst/>
                <a:rect l="l" t="t" r="r" b="b"/>
                <a:pathLst>
                  <a:path w="1869" h="2482" extrusionOk="0">
                    <a:moveTo>
                      <a:pt x="1468" y="0"/>
                    </a:moveTo>
                    <a:lnTo>
                      <a:pt x="1335" y="54"/>
                    </a:lnTo>
                    <a:lnTo>
                      <a:pt x="1228" y="134"/>
                    </a:lnTo>
                    <a:lnTo>
                      <a:pt x="1041" y="374"/>
                    </a:lnTo>
                    <a:lnTo>
                      <a:pt x="641" y="881"/>
                    </a:lnTo>
                    <a:lnTo>
                      <a:pt x="268" y="1414"/>
                    </a:lnTo>
                    <a:lnTo>
                      <a:pt x="134" y="1601"/>
                    </a:lnTo>
                    <a:lnTo>
                      <a:pt x="81" y="1654"/>
                    </a:lnTo>
                    <a:lnTo>
                      <a:pt x="54" y="1761"/>
                    </a:lnTo>
                    <a:lnTo>
                      <a:pt x="1" y="1868"/>
                    </a:lnTo>
                    <a:lnTo>
                      <a:pt x="1" y="1974"/>
                    </a:lnTo>
                    <a:lnTo>
                      <a:pt x="28" y="2081"/>
                    </a:lnTo>
                    <a:lnTo>
                      <a:pt x="54" y="2161"/>
                    </a:lnTo>
                    <a:lnTo>
                      <a:pt x="108" y="2268"/>
                    </a:lnTo>
                    <a:lnTo>
                      <a:pt x="161" y="2348"/>
                    </a:lnTo>
                    <a:lnTo>
                      <a:pt x="268" y="2401"/>
                    </a:lnTo>
                    <a:lnTo>
                      <a:pt x="348" y="2454"/>
                    </a:lnTo>
                    <a:lnTo>
                      <a:pt x="454" y="2481"/>
                    </a:lnTo>
                    <a:lnTo>
                      <a:pt x="668" y="2481"/>
                    </a:lnTo>
                    <a:lnTo>
                      <a:pt x="775" y="2428"/>
                    </a:lnTo>
                    <a:lnTo>
                      <a:pt x="855" y="2374"/>
                    </a:lnTo>
                    <a:lnTo>
                      <a:pt x="935" y="2321"/>
                    </a:lnTo>
                    <a:lnTo>
                      <a:pt x="988" y="2241"/>
                    </a:lnTo>
                    <a:lnTo>
                      <a:pt x="1041" y="2134"/>
                    </a:lnTo>
                    <a:lnTo>
                      <a:pt x="1068" y="2081"/>
                    </a:lnTo>
                    <a:lnTo>
                      <a:pt x="1148" y="1894"/>
                    </a:lnTo>
                    <a:lnTo>
                      <a:pt x="1388" y="1334"/>
                    </a:lnTo>
                    <a:lnTo>
                      <a:pt x="1681" y="801"/>
                    </a:lnTo>
                    <a:lnTo>
                      <a:pt x="1815" y="534"/>
                    </a:lnTo>
                    <a:lnTo>
                      <a:pt x="1868" y="427"/>
                    </a:lnTo>
                    <a:lnTo>
                      <a:pt x="1841" y="294"/>
                    </a:lnTo>
                    <a:lnTo>
                      <a:pt x="1815" y="187"/>
                    </a:lnTo>
                    <a:lnTo>
                      <a:pt x="1735" y="80"/>
                    </a:lnTo>
                    <a:lnTo>
                      <a:pt x="1601" y="27"/>
                    </a:lnTo>
                    <a:lnTo>
                      <a:pt x="1468" y="0"/>
                    </a:lnTo>
                    <a:close/>
                  </a:path>
                </a:pathLst>
              </a:custGeom>
              <a:solidFill>
                <a:srgbClr val="D99468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35" name="Google Shape;835;p16"/>
              <p:cNvSpPr/>
              <p:nvPr/>
            </p:nvSpPr>
            <p:spPr>
              <a:xfrm>
                <a:off x="7569495" y="6172409"/>
                <a:ext cx="28582" cy="34213"/>
              </a:xfrm>
              <a:custGeom>
                <a:avLst/>
                <a:gdLst/>
                <a:ahLst/>
                <a:cxnLst/>
                <a:rect l="l" t="t" r="r" b="b"/>
                <a:pathLst>
                  <a:path w="2162" h="2588" extrusionOk="0">
                    <a:moveTo>
                      <a:pt x="1788" y="0"/>
                    </a:moveTo>
                    <a:lnTo>
                      <a:pt x="1628" y="27"/>
                    </a:lnTo>
                    <a:lnTo>
                      <a:pt x="1548" y="80"/>
                    </a:lnTo>
                    <a:lnTo>
                      <a:pt x="1494" y="134"/>
                    </a:lnTo>
                    <a:lnTo>
                      <a:pt x="1254" y="347"/>
                    </a:lnTo>
                    <a:lnTo>
                      <a:pt x="774" y="881"/>
                    </a:lnTo>
                    <a:lnTo>
                      <a:pt x="294" y="1441"/>
                    </a:lnTo>
                    <a:lnTo>
                      <a:pt x="161" y="1654"/>
                    </a:lnTo>
                    <a:lnTo>
                      <a:pt x="107" y="1707"/>
                    </a:lnTo>
                    <a:lnTo>
                      <a:pt x="81" y="1734"/>
                    </a:lnTo>
                    <a:lnTo>
                      <a:pt x="81" y="1787"/>
                    </a:lnTo>
                    <a:lnTo>
                      <a:pt x="27" y="1867"/>
                    </a:lnTo>
                    <a:lnTo>
                      <a:pt x="1" y="1974"/>
                    </a:lnTo>
                    <a:lnTo>
                      <a:pt x="1" y="2081"/>
                    </a:lnTo>
                    <a:lnTo>
                      <a:pt x="27" y="2188"/>
                    </a:lnTo>
                    <a:lnTo>
                      <a:pt x="54" y="2268"/>
                    </a:lnTo>
                    <a:lnTo>
                      <a:pt x="107" y="2374"/>
                    </a:lnTo>
                    <a:lnTo>
                      <a:pt x="161" y="2454"/>
                    </a:lnTo>
                    <a:lnTo>
                      <a:pt x="267" y="2508"/>
                    </a:lnTo>
                    <a:lnTo>
                      <a:pt x="347" y="2561"/>
                    </a:lnTo>
                    <a:lnTo>
                      <a:pt x="454" y="2588"/>
                    </a:lnTo>
                    <a:lnTo>
                      <a:pt x="561" y="2588"/>
                    </a:lnTo>
                    <a:lnTo>
                      <a:pt x="668" y="2561"/>
                    </a:lnTo>
                    <a:lnTo>
                      <a:pt x="774" y="2534"/>
                    </a:lnTo>
                    <a:lnTo>
                      <a:pt x="854" y="2481"/>
                    </a:lnTo>
                    <a:lnTo>
                      <a:pt x="934" y="2401"/>
                    </a:lnTo>
                    <a:lnTo>
                      <a:pt x="988" y="2321"/>
                    </a:lnTo>
                    <a:lnTo>
                      <a:pt x="1041" y="2241"/>
                    </a:lnTo>
                    <a:lnTo>
                      <a:pt x="1041" y="2214"/>
                    </a:lnTo>
                    <a:lnTo>
                      <a:pt x="1068" y="2188"/>
                    </a:lnTo>
                    <a:lnTo>
                      <a:pt x="1148" y="2001"/>
                    </a:lnTo>
                    <a:lnTo>
                      <a:pt x="1521" y="1441"/>
                    </a:lnTo>
                    <a:lnTo>
                      <a:pt x="1895" y="907"/>
                    </a:lnTo>
                    <a:lnTo>
                      <a:pt x="2081" y="667"/>
                    </a:lnTo>
                    <a:lnTo>
                      <a:pt x="2161" y="534"/>
                    </a:lnTo>
                    <a:lnTo>
                      <a:pt x="2161" y="400"/>
                    </a:lnTo>
                    <a:lnTo>
                      <a:pt x="2135" y="240"/>
                    </a:lnTo>
                    <a:lnTo>
                      <a:pt x="2055" y="134"/>
                    </a:lnTo>
                    <a:lnTo>
                      <a:pt x="2001" y="80"/>
                    </a:lnTo>
                    <a:lnTo>
                      <a:pt x="1921" y="27"/>
                    </a:lnTo>
                    <a:lnTo>
                      <a:pt x="1788" y="0"/>
                    </a:lnTo>
                    <a:close/>
                  </a:path>
                </a:pathLst>
              </a:custGeom>
              <a:solidFill>
                <a:srgbClr val="D99468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36" name="Google Shape;836;p16"/>
              <p:cNvSpPr/>
              <p:nvPr/>
            </p:nvSpPr>
            <p:spPr>
              <a:xfrm>
                <a:off x="7559275" y="6148426"/>
                <a:ext cx="39858" cy="64897"/>
              </a:xfrm>
              <a:custGeom>
                <a:avLst/>
                <a:gdLst/>
                <a:ahLst/>
                <a:cxnLst/>
                <a:rect l="l" t="t" r="r" b="b"/>
                <a:pathLst>
                  <a:path w="3015" h="4909" extrusionOk="0">
                    <a:moveTo>
                      <a:pt x="2641" y="0"/>
                    </a:moveTo>
                    <a:lnTo>
                      <a:pt x="2534" y="54"/>
                    </a:lnTo>
                    <a:lnTo>
                      <a:pt x="2427" y="134"/>
                    </a:lnTo>
                    <a:lnTo>
                      <a:pt x="2294" y="294"/>
                    </a:lnTo>
                    <a:lnTo>
                      <a:pt x="1974" y="721"/>
                    </a:lnTo>
                    <a:lnTo>
                      <a:pt x="1521" y="1334"/>
                    </a:lnTo>
                    <a:lnTo>
                      <a:pt x="1040" y="2081"/>
                    </a:lnTo>
                    <a:lnTo>
                      <a:pt x="827" y="2481"/>
                    </a:lnTo>
                    <a:lnTo>
                      <a:pt x="614" y="2855"/>
                    </a:lnTo>
                    <a:lnTo>
                      <a:pt x="427" y="3228"/>
                    </a:lnTo>
                    <a:lnTo>
                      <a:pt x="267" y="3548"/>
                    </a:lnTo>
                    <a:lnTo>
                      <a:pt x="80" y="4082"/>
                    </a:lnTo>
                    <a:lnTo>
                      <a:pt x="27" y="4268"/>
                    </a:lnTo>
                    <a:lnTo>
                      <a:pt x="0" y="4322"/>
                    </a:lnTo>
                    <a:lnTo>
                      <a:pt x="0" y="4348"/>
                    </a:lnTo>
                    <a:lnTo>
                      <a:pt x="0" y="4428"/>
                    </a:lnTo>
                    <a:lnTo>
                      <a:pt x="0" y="4535"/>
                    </a:lnTo>
                    <a:lnTo>
                      <a:pt x="27" y="4615"/>
                    </a:lnTo>
                    <a:lnTo>
                      <a:pt x="80" y="4695"/>
                    </a:lnTo>
                    <a:lnTo>
                      <a:pt x="134" y="4748"/>
                    </a:lnTo>
                    <a:lnTo>
                      <a:pt x="187" y="4828"/>
                    </a:lnTo>
                    <a:lnTo>
                      <a:pt x="267" y="4855"/>
                    </a:lnTo>
                    <a:lnTo>
                      <a:pt x="374" y="4882"/>
                    </a:lnTo>
                    <a:lnTo>
                      <a:pt x="454" y="4908"/>
                    </a:lnTo>
                    <a:lnTo>
                      <a:pt x="534" y="4882"/>
                    </a:lnTo>
                    <a:lnTo>
                      <a:pt x="640" y="4855"/>
                    </a:lnTo>
                    <a:lnTo>
                      <a:pt x="720" y="4828"/>
                    </a:lnTo>
                    <a:lnTo>
                      <a:pt x="774" y="4775"/>
                    </a:lnTo>
                    <a:lnTo>
                      <a:pt x="827" y="4695"/>
                    </a:lnTo>
                    <a:lnTo>
                      <a:pt x="880" y="4615"/>
                    </a:lnTo>
                    <a:lnTo>
                      <a:pt x="907" y="4535"/>
                    </a:lnTo>
                    <a:lnTo>
                      <a:pt x="907" y="4508"/>
                    </a:lnTo>
                    <a:lnTo>
                      <a:pt x="907" y="4482"/>
                    </a:lnTo>
                    <a:lnTo>
                      <a:pt x="934" y="4348"/>
                    </a:lnTo>
                    <a:lnTo>
                      <a:pt x="1094" y="3895"/>
                    </a:lnTo>
                    <a:lnTo>
                      <a:pt x="1361" y="3228"/>
                    </a:lnTo>
                    <a:lnTo>
                      <a:pt x="1734" y="2481"/>
                    </a:lnTo>
                    <a:lnTo>
                      <a:pt x="2161" y="1761"/>
                    </a:lnTo>
                    <a:lnTo>
                      <a:pt x="2561" y="1147"/>
                    </a:lnTo>
                    <a:lnTo>
                      <a:pt x="2854" y="721"/>
                    </a:lnTo>
                    <a:lnTo>
                      <a:pt x="2961" y="561"/>
                    </a:lnTo>
                    <a:lnTo>
                      <a:pt x="2961" y="534"/>
                    </a:lnTo>
                    <a:lnTo>
                      <a:pt x="3014" y="427"/>
                    </a:lnTo>
                    <a:lnTo>
                      <a:pt x="3014" y="294"/>
                    </a:lnTo>
                    <a:lnTo>
                      <a:pt x="2988" y="187"/>
                    </a:lnTo>
                    <a:lnTo>
                      <a:pt x="2908" y="80"/>
                    </a:lnTo>
                    <a:lnTo>
                      <a:pt x="2774" y="27"/>
                    </a:lnTo>
                    <a:lnTo>
                      <a:pt x="2641" y="0"/>
                    </a:lnTo>
                    <a:close/>
                  </a:path>
                </a:pathLst>
              </a:custGeom>
              <a:solidFill>
                <a:srgbClr val="D99468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37" name="Google Shape;837;p16"/>
              <p:cNvSpPr/>
              <p:nvPr/>
            </p:nvSpPr>
            <p:spPr>
              <a:xfrm>
                <a:off x="7206961" y="6080720"/>
                <a:ext cx="231694" cy="409767"/>
              </a:xfrm>
              <a:custGeom>
                <a:avLst/>
                <a:gdLst/>
                <a:ahLst/>
                <a:cxnLst/>
                <a:rect l="l" t="t" r="r" b="b"/>
                <a:pathLst>
                  <a:path w="17526" h="30996" extrusionOk="0">
                    <a:moveTo>
                      <a:pt x="8563" y="0"/>
                    </a:moveTo>
                    <a:lnTo>
                      <a:pt x="7896" y="53"/>
                    </a:lnTo>
                    <a:lnTo>
                      <a:pt x="7176" y="133"/>
                    </a:lnTo>
                    <a:lnTo>
                      <a:pt x="6429" y="294"/>
                    </a:lnTo>
                    <a:lnTo>
                      <a:pt x="5629" y="480"/>
                    </a:lnTo>
                    <a:lnTo>
                      <a:pt x="4776" y="720"/>
                    </a:lnTo>
                    <a:lnTo>
                      <a:pt x="3842" y="1014"/>
                    </a:lnTo>
                    <a:lnTo>
                      <a:pt x="3309" y="1227"/>
                    </a:lnTo>
                    <a:lnTo>
                      <a:pt x="2802" y="1440"/>
                    </a:lnTo>
                    <a:lnTo>
                      <a:pt x="2348" y="1681"/>
                    </a:lnTo>
                    <a:lnTo>
                      <a:pt x="1948" y="1947"/>
                    </a:lnTo>
                    <a:lnTo>
                      <a:pt x="1601" y="2214"/>
                    </a:lnTo>
                    <a:lnTo>
                      <a:pt x="1281" y="2534"/>
                    </a:lnTo>
                    <a:lnTo>
                      <a:pt x="1015" y="2854"/>
                    </a:lnTo>
                    <a:lnTo>
                      <a:pt x="775" y="3174"/>
                    </a:lnTo>
                    <a:lnTo>
                      <a:pt x="561" y="3548"/>
                    </a:lnTo>
                    <a:lnTo>
                      <a:pt x="401" y="3894"/>
                    </a:lnTo>
                    <a:lnTo>
                      <a:pt x="268" y="4268"/>
                    </a:lnTo>
                    <a:lnTo>
                      <a:pt x="161" y="4668"/>
                    </a:lnTo>
                    <a:lnTo>
                      <a:pt x="81" y="5068"/>
                    </a:lnTo>
                    <a:lnTo>
                      <a:pt x="28" y="5468"/>
                    </a:lnTo>
                    <a:lnTo>
                      <a:pt x="1" y="5895"/>
                    </a:lnTo>
                    <a:lnTo>
                      <a:pt x="1" y="6322"/>
                    </a:lnTo>
                    <a:lnTo>
                      <a:pt x="1" y="6749"/>
                    </a:lnTo>
                    <a:lnTo>
                      <a:pt x="28" y="7175"/>
                    </a:lnTo>
                    <a:lnTo>
                      <a:pt x="134" y="8056"/>
                    </a:lnTo>
                    <a:lnTo>
                      <a:pt x="268" y="8936"/>
                    </a:lnTo>
                    <a:lnTo>
                      <a:pt x="454" y="9789"/>
                    </a:lnTo>
                    <a:lnTo>
                      <a:pt x="801" y="11470"/>
                    </a:lnTo>
                    <a:lnTo>
                      <a:pt x="935" y="12243"/>
                    </a:lnTo>
                    <a:lnTo>
                      <a:pt x="1041" y="12990"/>
                    </a:lnTo>
                    <a:lnTo>
                      <a:pt x="1121" y="13897"/>
                    </a:lnTo>
                    <a:lnTo>
                      <a:pt x="1201" y="15098"/>
                    </a:lnTo>
                    <a:lnTo>
                      <a:pt x="1228" y="16645"/>
                    </a:lnTo>
                    <a:lnTo>
                      <a:pt x="1255" y="18512"/>
                    </a:lnTo>
                    <a:lnTo>
                      <a:pt x="1175" y="20806"/>
                    </a:lnTo>
                    <a:lnTo>
                      <a:pt x="1068" y="23473"/>
                    </a:lnTo>
                    <a:lnTo>
                      <a:pt x="961" y="24967"/>
                    </a:lnTo>
                    <a:lnTo>
                      <a:pt x="855" y="26594"/>
                    </a:lnTo>
                    <a:lnTo>
                      <a:pt x="695" y="28328"/>
                    </a:lnTo>
                    <a:lnTo>
                      <a:pt x="534" y="30168"/>
                    </a:lnTo>
                    <a:lnTo>
                      <a:pt x="775" y="30275"/>
                    </a:lnTo>
                    <a:lnTo>
                      <a:pt x="1121" y="30408"/>
                    </a:lnTo>
                    <a:lnTo>
                      <a:pt x="1575" y="30568"/>
                    </a:lnTo>
                    <a:lnTo>
                      <a:pt x="2188" y="30702"/>
                    </a:lnTo>
                    <a:lnTo>
                      <a:pt x="2908" y="30835"/>
                    </a:lnTo>
                    <a:lnTo>
                      <a:pt x="3789" y="30942"/>
                    </a:lnTo>
                    <a:lnTo>
                      <a:pt x="4295" y="30968"/>
                    </a:lnTo>
                    <a:lnTo>
                      <a:pt x="4802" y="30995"/>
                    </a:lnTo>
                    <a:lnTo>
                      <a:pt x="7176" y="30995"/>
                    </a:lnTo>
                    <a:lnTo>
                      <a:pt x="8297" y="30942"/>
                    </a:lnTo>
                    <a:lnTo>
                      <a:pt x="9364" y="30888"/>
                    </a:lnTo>
                    <a:lnTo>
                      <a:pt x="10350" y="30808"/>
                    </a:lnTo>
                    <a:lnTo>
                      <a:pt x="11311" y="30728"/>
                    </a:lnTo>
                    <a:lnTo>
                      <a:pt x="12964" y="30542"/>
                    </a:lnTo>
                    <a:lnTo>
                      <a:pt x="14325" y="30355"/>
                    </a:lnTo>
                    <a:lnTo>
                      <a:pt x="15338" y="30195"/>
                    </a:lnTo>
                    <a:lnTo>
                      <a:pt x="16192" y="30035"/>
                    </a:lnTo>
                    <a:lnTo>
                      <a:pt x="16032" y="28648"/>
                    </a:lnTo>
                    <a:lnTo>
                      <a:pt x="15819" y="27154"/>
                    </a:lnTo>
                    <a:lnTo>
                      <a:pt x="15365" y="24060"/>
                    </a:lnTo>
                    <a:lnTo>
                      <a:pt x="15152" y="22620"/>
                    </a:lnTo>
                    <a:lnTo>
                      <a:pt x="15018" y="21313"/>
                    </a:lnTo>
                    <a:lnTo>
                      <a:pt x="14992" y="20726"/>
                    </a:lnTo>
                    <a:lnTo>
                      <a:pt x="14965" y="20219"/>
                    </a:lnTo>
                    <a:lnTo>
                      <a:pt x="14992" y="19792"/>
                    </a:lnTo>
                    <a:lnTo>
                      <a:pt x="15045" y="19419"/>
                    </a:lnTo>
                    <a:lnTo>
                      <a:pt x="15472" y="17391"/>
                    </a:lnTo>
                    <a:lnTo>
                      <a:pt x="15792" y="15924"/>
                    </a:lnTo>
                    <a:lnTo>
                      <a:pt x="15925" y="15151"/>
                    </a:lnTo>
                    <a:lnTo>
                      <a:pt x="16085" y="14271"/>
                    </a:lnTo>
                    <a:lnTo>
                      <a:pt x="16459" y="11683"/>
                    </a:lnTo>
                    <a:lnTo>
                      <a:pt x="16565" y="11203"/>
                    </a:lnTo>
                    <a:lnTo>
                      <a:pt x="16725" y="10643"/>
                    </a:lnTo>
                    <a:lnTo>
                      <a:pt x="16939" y="9949"/>
                    </a:lnTo>
                    <a:lnTo>
                      <a:pt x="17152" y="9203"/>
                    </a:lnTo>
                    <a:lnTo>
                      <a:pt x="17339" y="8376"/>
                    </a:lnTo>
                    <a:lnTo>
                      <a:pt x="17419" y="7949"/>
                    </a:lnTo>
                    <a:lnTo>
                      <a:pt x="17472" y="7522"/>
                    </a:lnTo>
                    <a:lnTo>
                      <a:pt x="17526" y="7095"/>
                    </a:lnTo>
                    <a:lnTo>
                      <a:pt x="17526" y="6642"/>
                    </a:lnTo>
                    <a:lnTo>
                      <a:pt x="17526" y="6188"/>
                    </a:lnTo>
                    <a:lnTo>
                      <a:pt x="17499" y="5735"/>
                    </a:lnTo>
                    <a:lnTo>
                      <a:pt x="17419" y="5282"/>
                    </a:lnTo>
                    <a:lnTo>
                      <a:pt x="17312" y="4855"/>
                    </a:lnTo>
                    <a:lnTo>
                      <a:pt x="17152" y="4401"/>
                    </a:lnTo>
                    <a:lnTo>
                      <a:pt x="16966" y="3975"/>
                    </a:lnTo>
                    <a:lnTo>
                      <a:pt x="16725" y="3548"/>
                    </a:lnTo>
                    <a:lnTo>
                      <a:pt x="16432" y="3121"/>
                    </a:lnTo>
                    <a:lnTo>
                      <a:pt x="16085" y="2721"/>
                    </a:lnTo>
                    <a:lnTo>
                      <a:pt x="15659" y="2347"/>
                    </a:lnTo>
                    <a:lnTo>
                      <a:pt x="15205" y="1974"/>
                    </a:lnTo>
                    <a:lnTo>
                      <a:pt x="14645" y="1627"/>
                    </a:lnTo>
                    <a:lnTo>
                      <a:pt x="14058" y="1307"/>
                    </a:lnTo>
                    <a:lnTo>
                      <a:pt x="13365" y="1014"/>
                    </a:lnTo>
                    <a:lnTo>
                      <a:pt x="12618" y="747"/>
                    </a:lnTo>
                    <a:lnTo>
                      <a:pt x="11764" y="507"/>
                    </a:lnTo>
                    <a:lnTo>
                      <a:pt x="10831" y="294"/>
                    </a:lnTo>
                    <a:lnTo>
                      <a:pt x="9817" y="107"/>
                    </a:lnTo>
                    <a:lnTo>
                      <a:pt x="9203" y="27"/>
                    </a:lnTo>
                    <a:lnTo>
                      <a:pt x="8563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38" name="Google Shape;838;p16"/>
              <p:cNvSpPr/>
              <p:nvPr/>
            </p:nvSpPr>
            <p:spPr>
              <a:xfrm>
                <a:off x="7361780" y="6170637"/>
                <a:ext cx="76544" cy="252145"/>
              </a:xfrm>
              <a:custGeom>
                <a:avLst/>
                <a:gdLst/>
                <a:ahLst/>
                <a:cxnLst/>
                <a:rect l="l" t="t" r="r" b="b"/>
                <a:pathLst>
                  <a:path w="5790" h="19073" extrusionOk="0">
                    <a:moveTo>
                      <a:pt x="1788" y="1"/>
                    </a:moveTo>
                    <a:lnTo>
                      <a:pt x="1601" y="321"/>
                    </a:lnTo>
                    <a:lnTo>
                      <a:pt x="1415" y="614"/>
                    </a:lnTo>
                    <a:lnTo>
                      <a:pt x="1201" y="908"/>
                    </a:lnTo>
                    <a:lnTo>
                      <a:pt x="961" y="1175"/>
                    </a:lnTo>
                    <a:lnTo>
                      <a:pt x="801" y="1335"/>
                    </a:lnTo>
                    <a:lnTo>
                      <a:pt x="748" y="1441"/>
                    </a:lnTo>
                    <a:lnTo>
                      <a:pt x="534" y="1788"/>
                    </a:lnTo>
                    <a:lnTo>
                      <a:pt x="374" y="2348"/>
                    </a:lnTo>
                    <a:lnTo>
                      <a:pt x="214" y="2908"/>
                    </a:lnTo>
                    <a:lnTo>
                      <a:pt x="108" y="3442"/>
                    </a:lnTo>
                    <a:lnTo>
                      <a:pt x="108" y="3495"/>
                    </a:lnTo>
                    <a:lnTo>
                      <a:pt x="54" y="4135"/>
                    </a:lnTo>
                    <a:lnTo>
                      <a:pt x="1" y="5362"/>
                    </a:lnTo>
                    <a:lnTo>
                      <a:pt x="27" y="5949"/>
                    </a:lnTo>
                    <a:lnTo>
                      <a:pt x="108" y="6909"/>
                    </a:lnTo>
                    <a:lnTo>
                      <a:pt x="401" y="9443"/>
                    </a:lnTo>
                    <a:lnTo>
                      <a:pt x="668" y="11817"/>
                    </a:lnTo>
                    <a:lnTo>
                      <a:pt x="828" y="12911"/>
                    </a:lnTo>
                    <a:lnTo>
                      <a:pt x="1094" y="13845"/>
                    </a:lnTo>
                    <a:lnTo>
                      <a:pt x="1361" y="14698"/>
                    </a:lnTo>
                    <a:lnTo>
                      <a:pt x="1601" y="15418"/>
                    </a:lnTo>
                    <a:lnTo>
                      <a:pt x="1868" y="16059"/>
                    </a:lnTo>
                    <a:lnTo>
                      <a:pt x="2108" y="16645"/>
                    </a:lnTo>
                    <a:lnTo>
                      <a:pt x="2348" y="17126"/>
                    </a:lnTo>
                    <a:lnTo>
                      <a:pt x="2588" y="17526"/>
                    </a:lnTo>
                    <a:lnTo>
                      <a:pt x="2802" y="17872"/>
                    </a:lnTo>
                    <a:lnTo>
                      <a:pt x="2988" y="18166"/>
                    </a:lnTo>
                    <a:lnTo>
                      <a:pt x="3175" y="18406"/>
                    </a:lnTo>
                    <a:lnTo>
                      <a:pt x="3362" y="18593"/>
                    </a:lnTo>
                    <a:lnTo>
                      <a:pt x="3522" y="18726"/>
                    </a:lnTo>
                    <a:lnTo>
                      <a:pt x="3762" y="18939"/>
                    </a:lnTo>
                    <a:lnTo>
                      <a:pt x="3922" y="19073"/>
                    </a:lnTo>
                    <a:lnTo>
                      <a:pt x="3628" y="17099"/>
                    </a:lnTo>
                    <a:lnTo>
                      <a:pt x="3495" y="16139"/>
                    </a:lnTo>
                    <a:lnTo>
                      <a:pt x="3388" y="15258"/>
                    </a:lnTo>
                    <a:lnTo>
                      <a:pt x="3308" y="14432"/>
                    </a:lnTo>
                    <a:lnTo>
                      <a:pt x="3255" y="13711"/>
                    </a:lnTo>
                    <a:lnTo>
                      <a:pt x="3282" y="13098"/>
                    </a:lnTo>
                    <a:lnTo>
                      <a:pt x="3282" y="12858"/>
                    </a:lnTo>
                    <a:lnTo>
                      <a:pt x="3335" y="12618"/>
                    </a:lnTo>
                    <a:lnTo>
                      <a:pt x="3762" y="10590"/>
                    </a:lnTo>
                    <a:lnTo>
                      <a:pt x="4082" y="9123"/>
                    </a:lnTo>
                    <a:lnTo>
                      <a:pt x="4215" y="8350"/>
                    </a:lnTo>
                    <a:lnTo>
                      <a:pt x="4375" y="7470"/>
                    </a:lnTo>
                    <a:lnTo>
                      <a:pt x="4749" y="4882"/>
                    </a:lnTo>
                    <a:lnTo>
                      <a:pt x="4829" y="4509"/>
                    </a:lnTo>
                    <a:lnTo>
                      <a:pt x="4962" y="4082"/>
                    </a:lnTo>
                    <a:lnTo>
                      <a:pt x="5256" y="3042"/>
                    </a:lnTo>
                    <a:lnTo>
                      <a:pt x="5416" y="2428"/>
                    </a:lnTo>
                    <a:lnTo>
                      <a:pt x="5576" y="1788"/>
                    </a:lnTo>
                    <a:lnTo>
                      <a:pt x="5709" y="1121"/>
                    </a:lnTo>
                    <a:lnTo>
                      <a:pt x="5789" y="428"/>
                    </a:lnTo>
                    <a:lnTo>
                      <a:pt x="3788" y="241"/>
                    </a:lnTo>
                    <a:lnTo>
                      <a:pt x="1788" y="1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39" name="Google Shape;839;p16"/>
              <p:cNvSpPr/>
              <p:nvPr/>
            </p:nvSpPr>
            <p:spPr>
              <a:xfrm>
                <a:off x="7355790" y="6121626"/>
                <a:ext cx="230279" cy="299036"/>
              </a:xfrm>
              <a:custGeom>
                <a:avLst/>
                <a:gdLst/>
                <a:ahLst/>
                <a:cxnLst/>
                <a:rect l="l" t="t" r="r" b="b"/>
                <a:pathLst>
                  <a:path w="17419" h="22620" extrusionOk="0">
                    <a:moveTo>
                      <a:pt x="3228" y="0"/>
                    </a:moveTo>
                    <a:lnTo>
                      <a:pt x="2881" y="54"/>
                    </a:lnTo>
                    <a:lnTo>
                      <a:pt x="2534" y="107"/>
                    </a:lnTo>
                    <a:lnTo>
                      <a:pt x="2161" y="240"/>
                    </a:lnTo>
                    <a:lnTo>
                      <a:pt x="1814" y="427"/>
                    </a:lnTo>
                    <a:lnTo>
                      <a:pt x="1654" y="560"/>
                    </a:lnTo>
                    <a:lnTo>
                      <a:pt x="1467" y="694"/>
                    </a:lnTo>
                    <a:lnTo>
                      <a:pt x="1307" y="854"/>
                    </a:lnTo>
                    <a:lnTo>
                      <a:pt x="1147" y="1041"/>
                    </a:lnTo>
                    <a:lnTo>
                      <a:pt x="987" y="1227"/>
                    </a:lnTo>
                    <a:lnTo>
                      <a:pt x="854" y="1467"/>
                    </a:lnTo>
                    <a:lnTo>
                      <a:pt x="721" y="1734"/>
                    </a:lnTo>
                    <a:lnTo>
                      <a:pt x="587" y="2027"/>
                    </a:lnTo>
                    <a:lnTo>
                      <a:pt x="480" y="2321"/>
                    </a:lnTo>
                    <a:lnTo>
                      <a:pt x="374" y="2668"/>
                    </a:lnTo>
                    <a:lnTo>
                      <a:pt x="267" y="3041"/>
                    </a:lnTo>
                    <a:lnTo>
                      <a:pt x="187" y="3441"/>
                    </a:lnTo>
                    <a:lnTo>
                      <a:pt x="107" y="3868"/>
                    </a:lnTo>
                    <a:lnTo>
                      <a:pt x="54" y="4321"/>
                    </a:lnTo>
                    <a:lnTo>
                      <a:pt x="27" y="4802"/>
                    </a:lnTo>
                    <a:lnTo>
                      <a:pt x="0" y="5335"/>
                    </a:lnTo>
                    <a:lnTo>
                      <a:pt x="0" y="5895"/>
                    </a:lnTo>
                    <a:lnTo>
                      <a:pt x="27" y="6482"/>
                    </a:lnTo>
                    <a:lnTo>
                      <a:pt x="54" y="7096"/>
                    </a:lnTo>
                    <a:lnTo>
                      <a:pt x="107" y="7762"/>
                    </a:lnTo>
                    <a:lnTo>
                      <a:pt x="187" y="8456"/>
                    </a:lnTo>
                    <a:lnTo>
                      <a:pt x="294" y="9176"/>
                    </a:lnTo>
                    <a:lnTo>
                      <a:pt x="400" y="9950"/>
                    </a:lnTo>
                    <a:lnTo>
                      <a:pt x="561" y="10750"/>
                    </a:lnTo>
                    <a:lnTo>
                      <a:pt x="721" y="11577"/>
                    </a:lnTo>
                    <a:lnTo>
                      <a:pt x="907" y="12457"/>
                    </a:lnTo>
                    <a:lnTo>
                      <a:pt x="1147" y="13391"/>
                    </a:lnTo>
                    <a:lnTo>
                      <a:pt x="1387" y="14351"/>
                    </a:lnTo>
                    <a:lnTo>
                      <a:pt x="1654" y="15338"/>
                    </a:lnTo>
                    <a:lnTo>
                      <a:pt x="1974" y="16405"/>
                    </a:lnTo>
                    <a:lnTo>
                      <a:pt x="2321" y="17472"/>
                    </a:lnTo>
                    <a:lnTo>
                      <a:pt x="2694" y="18619"/>
                    </a:lnTo>
                    <a:lnTo>
                      <a:pt x="2961" y="19392"/>
                    </a:lnTo>
                    <a:lnTo>
                      <a:pt x="3148" y="19899"/>
                    </a:lnTo>
                    <a:lnTo>
                      <a:pt x="3388" y="20459"/>
                    </a:lnTo>
                    <a:lnTo>
                      <a:pt x="3655" y="21019"/>
                    </a:lnTo>
                    <a:lnTo>
                      <a:pt x="3948" y="21526"/>
                    </a:lnTo>
                    <a:lnTo>
                      <a:pt x="4108" y="21739"/>
                    </a:lnTo>
                    <a:lnTo>
                      <a:pt x="4268" y="21953"/>
                    </a:lnTo>
                    <a:lnTo>
                      <a:pt x="4455" y="22113"/>
                    </a:lnTo>
                    <a:lnTo>
                      <a:pt x="4615" y="22273"/>
                    </a:lnTo>
                    <a:lnTo>
                      <a:pt x="4775" y="22353"/>
                    </a:lnTo>
                    <a:lnTo>
                      <a:pt x="4935" y="22433"/>
                    </a:lnTo>
                    <a:lnTo>
                      <a:pt x="5282" y="22566"/>
                    </a:lnTo>
                    <a:lnTo>
                      <a:pt x="5629" y="22620"/>
                    </a:lnTo>
                    <a:lnTo>
                      <a:pt x="5975" y="22620"/>
                    </a:lnTo>
                    <a:lnTo>
                      <a:pt x="6349" y="22566"/>
                    </a:lnTo>
                    <a:lnTo>
                      <a:pt x="6722" y="22486"/>
                    </a:lnTo>
                    <a:lnTo>
                      <a:pt x="7069" y="22380"/>
                    </a:lnTo>
                    <a:lnTo>
                      <a:pt x="7442" y="22220"/>
                    </a:lnTo>
                    <a:lnTo>
                      <a:pt x="7789" y="22060"/>
                    </a:lnTo>
                    <a:lnTo>
                      <a:pt x="8136" y="21846"/>
                    </a:lnTo>
                    <a:lnTo>
                      <a:pt x="8456" y="21633"/>
                    </a:lnTo>
                    <a:lnTo>
                      <a:pt x="8776" y="21419"/>
                    </a:lnTo>
                    <a:lnTo>
                      <a:pt x="9069" y="21179"/>
                    </a:lnTo>
                    <a:lnTo>
                      <a:pt x="9336" y="20966"/>
                    </a:lnTo>
                    <a:lnTo>
                      <a:pt x="9790" y="20512"/>
                    </a:lnTo>
                    <a:lnTo>
                      <a:pt x="10163" y="20059"/>
                    </a:lnTo>
                    <a:lnTo>
                      <a:pt x="10617" y="19552"/>
                    </a:lnTo>
                    <a:lnTo>
                      <a:pt x="11577" y="18272"/>
                    </a:lnTo>
                    <a:lnTo>
                      <a:pt x="12644" y="16805"/>
                    </a:lnTo>
                    <a:lnTo>
                      <a:pt x="13737" y="15204"/>
                    </a:lnTo>
                    <a:lnTo>
                      <a:pt x="14804" y="13604"/>
                    </a:lnTo>
                    <a:lnTo>
                      <a:pt x="15791" y="12057"/>
                    </a:lnTo>
                    <a:lnTo>
                      <a:pt x="16618" y="10696"/>
                    </a:lnTo>
                    <a:lnTo>
                      <a:pt x="17258" y="9603"/>
                    </a:lnTo>
                    <a:lnTo>
                      <a:pt x="17338" y="9416"/>
                    </a:lnTo>
                    <a:lnTo>
                      <a:pt x="17392" y="9256"/>
                    </a:lnTo>
                    <a:lnTo>
                      <a:pt x="17418" y="9096"/>
                    </a:lnTo>
                    <a:lnTo>
                      <a:pt x="17418" y="8963"/>
                    </a:lnTo>
                    <a:lnTo>
                      <a:pt x="17392" y="8829"/>
                    </a:lnTo>
                    <a:lnTo>
                      <a:pt x="17338" y="8696"/>
                    </a:lnTo>
                    <a:lnTo>
                      <a:pt x="17285" y="8589"/>
                    </a:lnTo>
                    <a:lnTo>
                      <a:pt x="17205" y="8509"/>
                    </a:lnTo>
                    <a:lnTo>
                      <a:pt x="17045" y="8349"/>
                    </a:lnTo>
                    <a:lnTo>
                      <a:pt x="16858" y="8216"/>
                    </a:lnTo>
                    <a:lnTo>
                      <a:pt x="16565" y="8029"/>
                    </a:lnTo>
                    <a:lnTo>
                      <a:pt x="16351" y="7869"/>
                    </a:lnTo>
                    <a:lnTo>
                      <a:pt x="16138" y="7762"/>
                    </a:lnTo>
                    <a:lnTo>
                      <a:pt x="15898" y="7682"/>
                    </a:lnTo>
                    <a:lnTo>
                      <a:pt x="15685" y="7629"/>
                    </a:lnTo>
                    <a:lnTo>
                      <a:pt x="15471" y="7629"/>
                    </a:lnTo>
                    <a:lnTo>
                      <a:pt x="15258" y="7682"/>
                    </a:lnTo>
                    <a:lnTo>
                      <a:pt x="15071" y="7762"/>
                    </a:lnTo>
                    <a:lnTo>
                      <a:pt x="14884" y="7922"/>
                    </a:lnTo>
                    <a:lnTo>
                      <a:pt x="13017" y="9736"/>
                    </a:lnTo>
                    <a:lnTo>
                      <a:pt x="12004" y="10696"/>
                    </a:lnTo>
                    <a:lnTo>
                      <a:pt x="11043" y="11577"/>
                    </a:lnTo>
                    <a:lnTo>
                      <a:pt x="9923" y="12590"/>
                    </a:lnTo>
                    <a:lnTo>
                      <a:pt x="9256" y="13257"/>
                    </a:lnTo>
                    <a:lnTo>
                      <a:pt x="8616" y="13924"/>
                    </a:lnTo>
                    <a:lnTo>
                      <a:pt x="7522" y="15018"/>
                    </a:lnTo>
                    <a:lnTo>
                      <a:pt x="7336" y="13364"/>
                    </a:lnTo>
                    <a:lnTo>
                      <a:pt x="7176" y="11817"/>
                    </a:lnTo>
                    <a:lnTo>
                      <a:pt x="6909" y="8803"/>
                    </a:lnTo>
                    <a:lnTo>
                      <a:pt x="6776" y="7336"/>
                    </a:lnTo>
                    <a:lnTo>
                      <a:pt x="6589" y="5815"/>
                    </a:lnTo>
                    <a:lnTo>
                      <a:pt x="6402" y="4268"/>
                    </a:lnTo>
                    <a:lnTo>
                      <a:pt x="6135" y="2614"/>
                    </a:lnTo>
                    <a:lnTo>
                      <a:pt x="6055" y="2268"/>
                    </a:lnTo>
                    <a:lnTo>
                      <a:pt x="5922" y="1894"/>
                    </a:lnTo>
                    <a:lnTo>
                      <a:pt x="5762" y="1574"/>
                    </a:lnTo>
                    <a:lnTo>
                      <a:pt x="5575" y="1281"/>
                    </a:lnTo>
                    <a:lnTo>
                      <a:pt x="5362" y="987"/>
                    </a:lnTo>
                    <a:lnTo>
                      <a:pt x="5122" y="747"/>
                    </a:lnTo>
                    <a:lnTo>
                      <a:pt x="4828" y="534"/>
                    </a:lnTo>
                    <a:lnTo>
                      <a:pt x="4562" y="347"/>
                    </a:lnTo>
                    <a:lnTo>
                      <a:pt x="4241" y="214"/>
                    </a:lnTo>
                    <a:lnTo>
                      <a:pt x="3921" y="107"/>
                    </a:lnTo>
                    <a:lnTo>
                      <a:pt x="3575" y="27"/>
                    </a:lnTo>
                    <a:lnTo>
                      <a:pt x="3228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40" name="Google Shape;840;p16"/>
              <p:cNvSpPr/>
              <p:nvPr/>
            </p:nvSpPr>
            <p:spPr>
              <a:xfrm>
                <a:off x="7210148" y="5889570"/>
                <a:ext cx="166797" cy="244742"/>
              </a:xfrm>
              <a:custGeom>
                <a:avLst/>
                <a:gdLst/>
                <a:ahLst/>
                <a:cxnLst/>
                <a:rect l="l" t="t" r="r" b="b"/>
                <a:pathLst>
                  <a:path w="12617" h="18513" extrusionOk="0">
                    <a:moveTo>
                      <a:pt x="7735" y="1"/>
                    </a:moveTo>
                    <a:lnTo>
                      <a:pt x="7309" y="28"/>
                    </a:lnTo>
                    <a:lnTo>
                      <a:pt x="6855" y="108"/>
                    </a:lnTo>
                    <a:lnTo>
                      <a:pt x="6428" y="188"/>
                    </a:lnTo>
                    <a:lnTo>
                      <a:pt x="6002" y="294"/>
                    </a:lnTo>
                    <a:lnTo>
                      <a:pt x="5575" y="428"/>
                    </a:lnTo>
                    <a:lnTo>
                      <a:pt x="5148" y="588"/>
                    </a:lnTo>
                    <a:lnTo>
                      <a:pt x="4748" y="801"/>
                    </a:lnTo>
                    <a:lnTo>
                      <a:pt x="4321" y="1014"/>
                    </a:lnTo>
                    <a:lnTo>
                      <a:pt x="3921" y="1255"/>
                    </a:lnTo>
                    <a:lnTo>
                      <a:pt x="3521" y="1548"/>
                    </a:lnTo>
                    <a:lnTo>
                      <a:pt x="3308" y="1735"/>
                    </a:lnTo>
                    <a:lnTo>
                      <a:pt x="3068" y="1975"/>
                    </a:lnTo>
                    <a:lnTo>
                      <a:pt x="2854" y="2268"/>
                    </a:lnTo>
                    <a:lnTo>
                      <a:pt x="2641" y="2615"/>
                    </a:lnTo>
                    <a:lnTo>
                      <a:pt x="2401" y="3015"/>
                    </a:lnTo>
                    <a:lnTo>
                      <a:pt x="2187" y="3415"/>
                    </a:lnTo>
                    <a:lnTo>
                      <a:pt x="2001" y="3895"/>
                    </a:lnTo>
                    <a:lnTo>
                      <a:pt x="1787" y="4375"/>
                    </a:lnTo>
                    <a:lnTo>
                      <a:pt x="1414" y="5442"/>
                    </a:lnTo>
                    <a:lnTo>
                      <a:pt x="1067" y="6589"/>
                    </a:lnTo>
                    <a:lnTo>
                      <a:pt x="774" y="7816"/>
                    </a:lnTo>
                    <a:lnTo>
                      <a:pt x="507" y="9043"/>
                    </a:lnTo>
                    <a:lnTo>
                      <a:pt x="293" y="10297"/>
                    </a:lnTo>
                    <a:lnTo>
                      <a:pt x="133" y="11524"/>
                    </a:lnTo>
                    <a:lnTo>
                      <a:pt x="27" y="12698"/>
                    </a:lnTo>
                    <a:lnTo>
                      <a:pt x="0" y="13258"/>
                    </a:lnTo>
                    <a:lnTo>
                      <a:pt x="0" y="13791"/>
                    </a:lnTo>
                    <a:lnTo>
                      <a:pt x="27" y="14298"/>
                    </a:lnTo>
                    <a:lnTo>
                      <a:pt x="53" y="14778"/>
                    </a:lnTo>
                    <a:lnTo>
                      <a:pt x="107" y="15232"/>
                    </a:lnTo>
                    <a:lnTo>
                      <a:pt x="160" y="15632"/>
                    </a:lnTo>
                    <a:lnTo>
                      <a:pt x="267" y="16005"/>
                    </a:lnTo>
                    <a:lnTo>
                      <a:pt x="373" y="16325"/>
                    </a:lnTo>
                    <a:lnTo>
                      <a:pt x="507" y="16592"/>
                    </a:lnTo>
                    <a:lnTo>
                      <a:pt x="667" y="16832"/>
                    </a:lnTo>
                    <a:lnTo>
                      <a:pt x="800" y="16939"/>
                    </a:lnTo>
                    <a:lnTo>
                      <a:pt x="934" y="17072"/>
                    </a:lnTo>
                    <a:lnTo>
                      <a:pt x="1334" y="17312"/>
                    </a:lnTo>
                    <a:lnTo>
                      <a:pt x="1841" y="17579"/>
                    </a:lnTo>
                    <a:lnTo>
                      <a:pt x="2454" y="17819"/>
                    </a:lnTo>
                    <a:lnTo>
                      <a:pt x="3148" y="18032"/>
                    </a:lnTo>
                    <a:lnTo>
                      <a:pt x="3894" y="18219"/>
                    </a:lnTo>
                    <a:lnTo>
                      <a:pt x="4695" y="18379"/>
                    </a:lnTo>
                    <a:lnTo>
                      <a:pt x="5522" y="18486"/>
                    </a:lnTo>
                    <a:lnTo>
                      <a:pt x="5948" y="18513"/>
                    </a:lnTo>
                    <a:lnTo>
                      <a:pt x="6802" y="18513"/>
                    </a:lnTo>
                    <a:lnTo>
                      <a:pt x="7202" y="18486"/>
                    </a:lnTo>
                    <a:lnTo>
                      <a:pt x="7629" y="18433"/>
                    </a:lnTo>
                    <a:lnTo>
                      <a:pt x="8029" y="18379"/>
                    </a:lnTo>
                    <a:lnTo>
                      <a:pt x="8456" y="18272"/>
                    </a:lnTo>
                    <a:lnTo>
                      <a:pt x="8829" y="18166"/>
                    </a:lnTo>
                    <a:lnTo>
                      <a:pt x="9229" y="18032"/>
                    </a:lnTo>
                    <a:lnTo>
                      <a:pt x="9603" y="17872"/>
                    </a:lnTo>
                    <a:lnTo>
                      <a:pt x="9949" y="17659"/>
                    </a:lnTo>
                    <a:lnTo>
                      <a:pt x="10269" y="17446"/>
                    </a:lnTo>
                    <a:lnTo>
                      <a:pt x="10590" y="17179"/>
                    </a:lnTo>
                    <a:lnTo>
                      <a:pt x="10883" y="16912"/>
                    </a:lnTo>
                    <a:lnTo>
                      <a:pt x="11150" y="16592"/>
                    </a:lnTo>
                    <a:lnTo>
                      <a:pt x="11416" y="16219"/>
                    </a:lnTo>
                    <a:lnTo>
                      <a:pt x="11523" y="16005"/>
                    </a:lnTo>
                    <a:lnTo>
                      <a:pt x="11657" y="15738"/>
                    </a:lnTo>
                    <a:lnTo>
                      <a:pt x="11737" y="15472"/>
                    </a:lnTo>
                    <a:lnTo>
                      <a:pt x="11843" y="15178"/>
                    </a:lnTo>
                    <a:lnTo>
                      <a:pt x="11977" y="14538"/>
                    </a:lnTo>
                    <a:lnTo>
                      <a:pt x="12057" y="13845"/>
                    </a:lnTo>
                    <a:lnTo>
                      <a:pt x="12137" y="13071"/>
                    </a:lnTo>
                    <a:lnTo>
                      <a:pt x="12137" y="12298"/>
                    </a:lnTo>
                    <a:lnTo>
                      <a:pt x="12137" y="11471"/>
                    </a:lnTo>
                    <a:lnTo>
                      <a:pt x="12110" y="10644"/>
                    </a:lnTo>
                    <a:lnTo>
                      <a:pt x="12003" y="9043"/>
                    </a:lnTo>
                    <a:lnTo>
                      <a:pt x="11870" y="7523"/>
                    </a:lnTo>
                    <a:lnTo>
                      <a:pt x="11763" y="6216"/>
                    </a:lnTo>
                    <a:lnTo>
                      <a:pt x="11683" y="5256"/>
                    </a:lnTo>
                    <a:lnTo>
                      <a:pt x="11683" y="5149"/>
                    </a:lnTo>
                    <a:lnTo>
                      <a:pt x="11710" y="5042"/>
                    </a:lnTo>
                    <a:lnTo>
                      <a:pt x="11817" y="4802"/>
                    </a:lnTo>
                    <a:lnTo>
                      <a:pt x="11950" y="4589"/>
                    </a:lnTo>
                    <a:lnTo>
                      <a:pt x="12137" y="4375"/>
                    </a:lnTo>
                    <a:lnTo>
                      <a:pt x="12457" y="4029"/>
                    </a:lnTo>
                    <a:lnTo>
                      <a:pt x="12617" y="3895"/>
                    </a:lnTo>
                    <a:lnTo>
                      <a:pt x="12590" y="3468"/>
                    </a:lnTo>
                    <a:lnTo>
                      <a:pt x="12483" y="2962"/>
                    </a:lnTo>
                    <a:lnTo>
                      <a:pt x="12350" y="2455"/>
                    </a:lnTo>
                    <a:lnTo>
                      <a:pt x="12243" y="2188"/>
                    </a:lnTo>
                    <a:lnTo>
                      <a:pt x="12110" y="1948"/>
                    </a:lnTo>
                    <a:lnTo>
                      <a:pt x="11977" y="1681"/>
                    </a:lnTo>
                    <a:lnTo>
                      <a:pt x="11817" y="1441"/>
                    </a:lnTo>
                    <a:lnTo>
                      <a:pt x="11657" y="1228"/>
                    </a:lnTo>
                    <a:lnTo>
                      <a:pt x="11470" y="1014"/>
                    </a:lnTo>
                    <a:lnTo>
                      <a:pt x="11256" y="828"/>
                    </a:lnTo>
                    <a:lnTo>
                      <a:pt x="11016" y="668"/>
                    </a:lnTo>
                    <a:lnTo>
                      <a:pt x="10776" y="534"/>
                    </a:lnTo>
                    <a:lnTo>
                      <a:pt x="10510" y="428"/>
                    </a:lnTo>
                    <a:lnTo>
                      <a:pt x="10056" y="294"/>
                    </a:lnTo>
                    <a:lnTo>
                      <a:pt x="9576" y="188"/>
                    </a:lnTo>
                    <a:lnTo>
                      <a:pt x="9123" y="108"/>
                    </a:lnTo>
                    <a:lnTo>
                      <a:pt x="8642" y="54"/>
                    </a:lnTo>
                    <a:lnTo>
                      <a:pt x="8189" y="1"/>
                    </a:lnTo>
                    <a:close/>
                  </a:path>
                </a:pathLst>
              </a:custGeom>
              <a:solidFill>
                <a:srgbClr val="2D2D2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41" name="Google Shape;841;p16"/>
              <p:cNvSpPr/>
              <p:nvPr/>
            </p:nvSpPr>
            <p:spPr>
              <a:xfrm>
                <a:off x="6814812" y="5979156"/>
                <a:ext cx="67012" cy="71586"/>
              </a:xfrm>
              <a:custGeom>
                <a:avLst/>
                <a:gdLst/>
                <a:ahLst/>
                <a:cxnLst/>
                <a:rect l="l" t="t" r="r" b="b"/>
                <a:pathLst>
                  <a:path w="5069" h="5415" extrusionOk="0">
                    <a:moveTo>
                      <a:pt x="2615" y="0"/>
                    </a:moveTo>
                    <a:lnTo>
                      <a:pt x="2375" y="160"/>
                    </a:lnTo>
                    <a:lnTo>
                      <a:pt x="2108" y="347"/>
                    </a:lnTo>
                    <a:lnTo>
                      <a:pt x="1761" y="614"/>
                    </a:lnTo>
                    <a:lnTo>
                      <a:pt x="1414" y="934"/>
                    </a:lnTo>
                    <a:lnTo>
                      <a:pt x="1041" y="1307"/>
                    </a:lnTo>
                    <a:lnTo>
                      <a:pt x="668" y="1760"/>
                    </a:lnTo>
                    <a:lnTo>
                      <a:pt x="507" y="1974"/>
                    </a:lnTo>
                    <a:lnTo>
                      <a:pt x="347" y="2241"/>
                    </a:lnTo>
                    <a:lnTo>
                      <a:pt x="187" y="2587"/>
                    </a:lnTo>
                    <a:lnTo>
                      <a:pt x="81" y="2934"/>
                    </a:lnTo>
                    <a:lnTo>
                      <a:pt x="27" y="3308"/>
                    </a:lnTo>
                    <a:lnTo>
                      <a:pt x="1" y="3654"/>
                    </a:lnTo>
                    <a:lnTo>
                      <a:pt x="27" y="3974"/>
                    </a:lnTo>
                    <a:lnTo>
                      <a:pt x="54" y="4268"/>
                    </a:lnTo>
                    <a:lnTo>
                      <a:pt x="134" y="4508"/>
                    </a:lnTo>
                    <a:lnTo>
                      <a:pt x="241" y="4695"/>
                    </a:lnTo>
                    <a:lnTo>
                      <a:pt x="321" y="4828"/>
                    </a:lnTo>
                    <a:lnTo>
                      <a:pt x="427" y="4935"/>
                    </a:lnTo>
                    <a:lnTo>
                      <a:pt x="668" y="5148"/>
                    </a:lnTo>
                    <a:lnTo>
                      <a:pt x="934" y="5281"/>
                    </a:lnTo>
                    <a:lnTo>
                      <a:pt x="1254" y="5361"/>
                    </a:lnTo>
                    <a:lnTo>
                      <a:pt x="1574" y="5415"/>
                    </a:lnTo>
                    <a:lnTo>
                      <a:pt x="1948" y="5388"/>
                    </a:lnTo>
                    <a:lnTo>
                      <a:pt x="2348" y="5335"/>
                    </a:lnTo>
                    <a:lnTo>
                      <a:pt x="2748" y="5228"/>
                    </a:lnTo>
                    <a:lnTo>
                      <a:pt x="3015" y="5121"/>
                    </a:lnTo>
                    <a:lnTo>
                      <a:pt x="3228" y="4961"/>
                    </a:lnTo>
                    <a:lnTo>
                      <a:pt x="3442" y="4748"/>
                    </a:lnTo>
                    <a:lnTo>
                      <a:pt x="3655" y="4481"/>
                    </a:lnTo>
                    <a:lnTo>
                      <a:pt x="4215" y="3841"/>
                    </a:lnTo>
                    <a:lnTo>
                      <a:pt x="4589" y="3414"/>
                    </a:lnTo>
                    <a:lnTo>
                      <a:pt x="5069" y="2961"/>
                    </a:lnTo>
                    <a:lnTo>
                      <a:pt x="2615" y="0"/>
                    </a:lnTo>
                    <a:close/>
                  </a:path>
                </a:pathLst>
              </a:custGeom>
              <a:solidFill>
                <a:srgbClr val="E5A78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42" name="Google Shape;842;p16"/>
              <p:cNvSpPr/>
              <p:nvPr/>
            </p:nvSpPr>
            <p:spPr>
              <a:xfrm>
                <a:off x="6862064" y="5999252"/>
                <a:ext cx="28939" cy="31041"/>
              </a:xfrm>
              <a:custGeom>
                <a:avLst/>
                <a:gdLst/>
                <a:ahLst/>
                <a:cxnLst/>
                <a:rect l="l" t="t" r="r" b="b"/>
                <a:pathLst>
                  <a:path w="2189" h="2348" extrusionOk="0">
                    <a:moveTo>
                      <a:pt x="1681" y="0"/>
                    </a:moveTo>
                    <a:lnTo>
                      <a:pt x="1601" y="27"/>
                    </a:lnTo>
                    <a:lnTo>
                      <a:pt x="1521" y="54"/>
                    </a:lnTo>
                    <a:lnTo>
                      <a:pt x="188" y="934"/>
                    </a:lnTo>
                    <a:lnTo>
                      <a:pt x="81" y="1041"/>
                    </a:lnTo>
                    <a:lnTo>
                      <a:pt x="1" y="1174"/>
                    </a:lnTo>
                    <a:lnTo>
                      <a:pt x="1" y="1307"/>
                    </a:lnTo>
                    <a:lnTo>
                      <a:pt x="54" y="1441"/>
                    </a:lnTo>
                    <a:lnTo>
                      <a:pt x="161" y="1574"/>
                    </a:lnTo>
                    <a:lnTo>
                      <a:pt x="294" y="1628"/>
                    </a:lnTo>
                    <a:lnTo>
                      <a:pt x="428" y="1654"/>
                    </a:lnTo>
                    <a:lnTo>
                      <a:pt x="588" y="1601"/>
                    </a:lnTo>
                    <a:lnTo>
                      <a:pt x="588" y="1601"/>
                    </a:lnTo>
                    <a:lnTo>
                      <a:pt x="561" y="1654"/>
                    </a:lnTo>
                    <a:lnTo>
                      <a:pt x="534" y="1734"/>
                    </a:lnTo>
                    <a:lnTo>
                      <a:pt x="508" y="1841"/>
                    </a:lnTo>
                    <a:lnTo>
                      <a:pt x="534" y="1921"/>
                    </a:lnTo>
                    <a:lnTo>
                      <a:pt x="534" y="2028"/>
                    </a:lnTo>
                    <a:lnTo>
                      <a:pt x="588" y="2108"/>
                    </a:lnTo>
                    <a:lnTo>
                      <a:pt x="641" y="2188"/>
                    </a:lnTo>
                    <a:lnTo>
                      <a:pt x="721" y="2241"/>
                    </a:lnTo>
                    <a:lnTo>
                      <a:pt x="801" y="2294"/>
                    </a:lnTo>
                    <a:lnTo>
                      <a:pt x="881" y="2321"/>
                    </a:lnTo>
                    <a:lnTo>
                      <a:pt x="988" y="2348"/>
                    </a:lnTo>
                    <a:lnTo>
                      <a:pt x="1068" y="2348"/>
                    </a:lnTo>
                    <a:lnTo>
                      <a:pt x="1175" y="2321"/>
                    </a:lnTo>
                    <a:lnTo>
                      <a:pt x="1255" y="2268"/>
                    </a:lnTo>
                    <a:lnTo>
                      <a:pt x="1335" y="2214"/>
                    </a:lnTo>
                    <a:lnTo>
                      <a:pt x="1388" y="2161"/>
                    </a:lnTo>
                    <a:lnTo>
                      <a:pt x="1441" y="2054"/>
                    </a:lnTo>
                    <a:lnTo>
                      <a:pt x="2135" y="641"/>
                    </a:lnTo>
                    <a:lnTo>
                      <a:pt x="2135" y="614"/>
                    </a:lnTo>
                    <a:lnTo>
                      <a:pt x="2188" y="507"/>
                    </a:lnTo>
                    <a:lnTo>
                      <a:pt x="2188" y="401"/>
                    </a:lnTo>
                    <a:lnTo>
                      <a:pt x="2162" y="294"/>
                    </a:lnTo>
                    <a:lnTo>
                      <a:pt x="2108" y="187"/>
                    </a:lnTo>
                    <a:lnTo>
                      <a:pt x="2055" y="134"/>
                    </a:lnTo>
                    <a:lnTo>
                      <a:pt x="2002" y="80"/>
                    </a:lnTo>
                    <a:lnTo>
                      <a:pt x="1841" y="0"/>
                    </a:lnTo>
                    <a:close/>
                  </a:path>
                </a:pathLst>
              </a:custGeom>
              <a:solidFill>
                <a:srgbClr val="E5A78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43" name="Google Shape;843;p16"/>
              <p:cNvSpPr/>
              <p:nvPr/>
            </p:nvSpPr>
            <p:spPr>
              <a:xfrm>
                <a:off x="6852201" y="5988318"/>
                <a:ext cx="34570" cy="28582"/>
              </a:xfrm>
              <a:custGeom>
                <a:avLst/>
                <a:gdLst/>
                <a:ahLst/>
                <a:cxnLst/>
                <a:rect l="l" t="t" r="r" b="b"/>
                <a:pathLst>
                  <a:path w="2615" h="2162" extrusionOk="0">
                    <a:moveTo>
                      <a:pt x="2107" y="1"/>
                    </a:moveTo>
                    <a:lnTo>
                      <a:pt x="2027" y="27"/>
                    </a:lnTo>
                    <a:lnTo>
                      <a:pt x="1761" y="187"/>
                    </a:lnTo>
                    <a:lnTo>
                      <a:pt x="1120" y="534"/>
                    </a:lnTo>
                    <a:lnTo>
                      <a:pt x="534" y="907"/>
                    </a:lnTo>
                    <a:lnTo>
                      <a:pt x="320" y="1041"/>
                    </a:lnTo>
                    <a:lnTo>
                      <a:pt x="240" y="1094"/>
                    </a:lnTo>
                    <a:lnTo>
                      <a:pt x="160" y="1174"/>
                    </a:lnTo>
                    <a:lnTo>
                      <a:pt x="80" y="1281"/>
                    </a:lnTo>
                    <a:lnTo>
                      <a:pt x="27" y="1388"/>
                    </a:lnTo>
                    <a:lnTo>
                      <a:pt x="0" y="1494"/>
                    </a:lnTo>
                    <a:lnTo>
                      <a:pt x="0" y="1601"/>
                    </a:lnTo>
                    <a:lnTo>
                      <a:pt x="0" y="1708"/>
                    </a:lnTo>
                    <a:lnTo>
                      <a:pt x="27" y="1814"/>
                    </a:lnTo>
                    <a:lnTo>
                      <a:pt x="107" y="1921"/>
                    </a:lnTo>
                    <a:lnTo>
                      <a:pt x="187" y="2001"/>
                    </a:lnTo>
                    <a:lnTo>
                      <a:pt x="267" y="2081"/>
                    </a:lnTo>
                    <a:lnTo>
                      <a:pt x="374" y="2134"/>
                    </a:lnTo>
                    <a:lnTo>
                      <a:pt x="480" y="2161"/>
                    </a:lnTo>
                    <a:lnTo>
                      <a:pt x="694" y="2161"/>
                    </a:lnTo>
                    <a:lnTo>
                      <a:pt x="827" y="2108"/>
                    </a:lnTo>
                    <a:lnTo>
                      <a:pt x="907" y="2054"/>
                    </a:lnTo>
                    <a:lnTo>
                      <a:pt x="1014" y="1974"/>
                    </a:lnTo>
                    <a:lnTo>
                      <a:pt x="1067" y="1921"/>
                    </a:lnTo>
                    <a:lnTo>
                      <a:pt x="1200" y="1788"/>
                    </a:lnTo>
                    <a:lnTo>
                      <a:pt x="1707" y="1334"/>
                    </a:lnTo>
                    <a:lnTo>
                      <a:pt x="2214" y="881"/>
                    </a:lnTo>
                    <a:lnTo>
                      <a:pt x="2454" y="694"/>
                    </a:lnTo>
                    <a:lnTo>
                      <a:pt x="2561" y="587"/>
                    </a:lnTo>
                    <a:lnTo>
                      <a:pt x="2614" y="481"/>
                    </a:lnTo>
                    <a:lnTo>
                      <a:pt x="2614" y="347"/>
                    </a:lnTo>
                    <a:lnTo>
                      <a:pt x="2561" y="214"/>
                    </a:lnTo>
                    <a:lnTo>
                      <a:pt x="2534" y="134"/>
                    </a:lnTo>
                    <a:lnTo>
                      <a:pt x="2454" y="81"/>
                    </a:lnTo>
                    <a:lnTo>
                      <a:pt x="2347" y="1"/>
                    </a:lnTo>
                    <a:close/>
                  </a:path>
                </a:pathLst>
              </a:custGeom>
              <a:solidFill>
                <a:srgbClr val="E5A78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44" name="Google Shape;844;p16"/>
              <p:cNvSpPr/>
              <p:nvPr/>
            </p:nvSpPr>
            <p:spPr>
              <a:xfrm>
                <a:off x="6840910" y="5978799"/>
                <a:ext cx="39158" cy="28925"/>
              </a:xfrm>
              <a:custGeom>
                <a:avLst/>
                <a:gdLst/>
                <a:ahLst/>
                <a:cxnLst/>
                <a:rect l="l" t="t" r="r" b="b"/>
                <a:pathLst>
                  <a:path w="2962" h="2188" extrusionOk="0">
                    <a:moveTo>
                      <a:pt x="2535" y="0"/>
                    </a:moveTo>
                    <a:lnTo>
                      <a:pt x="2455" y="27"/>
                    </a:lnTo>
                    <a:lnTo>
                      <a:pt x="2348" y="54"/>
                    </a:lnTo>
                    <a:lnTo>
                      <a:pt x="2028" y="187"/>
                    </a:lnTo>
                    <a:lnTo>
                      <a:pt x="1308" y="507"/>
                    </a:lnTo>
                    <a:lnTo>
                      <a:pt x="934" y="694"/>
                    </a:lnTo>
                    <a:lnTo>
                      <a:pt x="614" y="881"/>
                    </a:lnTo>
                    <a:lnTo>
                      <a:pt x="374" y="1014"/>
                    </a:lnTo>
                    <a:lnTo>
                      <a:pt x="294" y="1067"/>
                    </a:lnTo>
                    <a:lnTo>
                      <a:pt x="267" y="1094"/>
                    </a:lnTo>
                    <a:lnTo>
                      <a:pt x="214" y="1121"/>
                    </a:lnTo>
                    <a:lnTo>
                      <a:pt x="161" y="1174"/>
                    </a:lnTo>
                    <a:lnTo>
                      <a:pt x="81" y="1281"/>
                    </a:lnTo>
                    <a:lnTo>
                      <a:pt x="27" y="1387"/>
                    </a:lnTo>
                    <a:lnTo>
                      <a:pt x="1" y="1494"/>
                    </a:lnTo>
                    <a:lnTo>
                      <a:pt x="1" y="1601"/>
                    </a:lnTo>
                    <a:lnTo>
                      <a:pt x="1" y="1734"/>
                    </a:lnTo>
                    <a:lnTo>
                      <a:pt x="54" y="1841"/>
                    </a:lnTo>
                    <a:lnTo>
                      <a:pt x="107" y="1921"/>
                    </a:lnTo>
                    <a:lnTo>
                      <a:pt x="187" y="2028"/>
                    </a:lnTo>
                    <a:lnTo>
                      <a:pt x="267" y="2081"/>
                    </a:lnTo>
                    <a:lnTo>
                      <a:pt x="374" y="2134"/>
                    </a:lnTo>
                    <a:lnTo>
                      <a:pt x="481" y="2161"/>
                    </a:lnTo>
                    <a:lnTo>
                      <a:pt x="614" y="2188"/>
                    </a:lnTo>
                    <a:lnTo>
                      <a:pt x="721" y="2161"/>
                    </a:lnTo>
                    <a:lnTo>
                      <a:pt x="827" y="2134"/>
                    </a:lnTo>
                    <a:lnTo>
                      <a:pt x="934" y="2054"/>
                    </a:lnTo>
                    <a:lnTo>
                      <a:pt x="1014" y="1974"/>
                    </a:lnTo>
                    <a:lnTo>
                      <a:pt x="1068" y="1948"/>
                    </a:lnTo>
                    <a:lnTo>
                      <a:pt x="1228" y="1814"/>
                    </a:lnTo>
                    <a:lnTo>
                      <a:pt x="1814" y="1387"/>
                    </a:lnTo>
                    <a:lnTo>
                      <a:pt x="2455" y="1014"/>
                    </a:lnTo>
                    <a:lnTo>
                      <a:pt x="2748" y="827"/>
                    </a:lnTo>
                    <a:lnTo>
                      <a:pt x="2855" y="747"/>
                    </a:lnTo>
                    <a:lnTo>
                      <a:pt x="2935" y="614"/>
                    </a:lnTo>
                    <a:lnTo>
                      <a:pt x="2961" y="454"/>
                    </a:lnTo>
                    <a:lnTo>
                      <a:pt x="2935" y="294"/>
                    </a:lnTo>
                    <a:lnTo>
                      <a:pt x="2881" y="214"/>
                    </a:lnTo>
                    <a:lnTo>
                      <a:pt x="2828" y="134"/>
                    </a:lnTo>
                    <a:lnTo>
                      <a:pt x="2775" y="80"/>
                    </a:lnTo>
                    <a:lnTo>
                      <a:pt x="2695" y="54"/>
                    </a:lnTo>
                    <a:lnTo>
                      <a:pt x="2615" y="27"/>
                    </a:lnTo>
                    <a:lnTo>
                      <a:pt x="2535" y="0"/>
                    </a:lnTo>
                    <a:close/>
                  </a:path>
                </a:pathLst>
              </a:custGeom>
              <a:solidFill>
                <a:srgbClr val="E5A78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45" name="Google Shape;845;p16"/>
              <p:cNvSpPr/>
              <p:nvPr/>
            </p:nvSpPr>
            <p:spPr>
              <a:xfrm>
                <a:off x="6823274" y="5955517"/>
                <a:ext cx="69127" cy="57494"/>
              </a:xfrm>
              <a:custGeom>
                <a:avLst/>
                <a:gdLst/>
                <a:ahLst/>
                <a:cxnLst/>
                <a:rect l="l" t="t" r="r" b="b"/>
                <a:pathLst>
                  <a:path w="5229" h="4349" extrusionOk="0">
                    <a:moveTo>
                      <a:pt x="4775" y="1"/>
                    </a:moveTo>
                    <a:lnTo>
                      <a:pt x="4695" y="28"/>
                    </a:lnTo>
                    <a:lnTo>
                      <a:pt x="4642" y="54"/>
                    </a:lnTo>
                    <a:lnTo>
                      <a:pt x="4429" y="161"/>
                    </a:lnTo>
                    <a:lnTo>
                      <a:pt x="3869" y="481"/>
                    </a:lnTo>
                    <a:lnTo>
                      <a:pt x="3095" y="961"/>
                    </a:lnTo>
                    <a:lnTo>
                      <a:pt x="2695" y="1228"/>
                    </a:lnTo>
                    <a:lnTo>
                      <a:pt x="2241" y="1521"/>
                    </a:lnTo>
                    <a:lnTo>
                      <a:pt x="1841" y="1841"/>
                    </a:lnTo>
                    <a:lnTo>
                      <a:pt x="1441" y="2161"/>
                    </a:lnTo>
                    <a:lnTo>
                      <a:pt x="1068" y="2482"/>
                    </a:lnTo>
                    <a:lnTo>
                      <a:pt x="748" y="2775"/>
                    </a:lnTo>
                    <a:lnTo>
                      <a:pt x="481" y="3042"/>
                    </a:lnTo>
                    <a:lnTo>
                      <a:pt x="294" y="3282"/>
                    </a:lnTo>
                    <a:lnTo>
                      <a:pt x="161" y="3415"/>
                    </a:lnTo>
                    <a:lnTo>
                      <a:pt x="108" y="3495"/>
                    </a:lnTo>
                    <a:lnTo>
                      <a:pt x="108" y="3522"/>
                    </a:lnTo>
                    <a:lnTo>
                      <a:pt x="54" y="3602"/>
                    </a:lnTo>
                    <a:lnTo>
                      <a:pt x="1" y="3709"/>
                    </a:lnTo>
                    <a:lnTo>
                      <a:pt x="1" y="3815"/>
                    </a:lnTo>
                    <a:lnTo>
                      <a:pt x="1" y="3922"/>
                    </a:lnTo>
                    <a:lnTo>
                      <a:pt x="54" y="4029"/>
                    </a:lnTo>
                    <a:lnTo>
                      <a:pt x="81" y="4109"/>
                    </a:lnTo>
                    <a:lnTo>
                      <a:pt x="161" y="4189"/>
                    </a:lnTo>
                    <a:lnTo>
                      <a:pt x="241" y="4269"/>
                    </a:lnTo>
                    <a:lnTo>
                      <a:pt x="348" y="4322"/>
                    </a:lnTo>
                    <a:lnTo>
                      <a:pt x="454" y="4349"/>
                    </a:lnTo>
                    <a:lnTo>
                      <a:pt x="641" y="4349"/>
                    </a:lnTo>
                    <a:lnTo>
                      <a:pt x="748" y="4322"/>
                    </a:lnTo>
                    <a:lnTo>
                      <a:pt x="854" y="4269"/>
                    </a:lnTo>
                    <a:lnTo>
                      <a:pt x="934" y="4215"/>
                    </a:lnTo>
                    <a:lnTo>
                      <a:pt x="988" y="4109"/>
                    </a:lnTo>
                    <a:lnTo>
                      <a:pt x="1014" y="4109"/>
                    </a:lnTo>
                    <a:lnTo>
                      <a:pt x="1041" y="4055"/>
                    </a:lnTo>
                    <a:lnTo>
                      <a:pt x="1121" y="3949"/>
                    </a:lnTo>
                    <a:lnTo>
                      <a:pt x="1495" y="3522"/>
                    </a:lnTo>
                    <a:lnTo>
                      <a:pt x="1761" y="3228"/>
                    </a:lnTo>
                    <a:lnTo>
                      <a:pt x="2081" y="2908"/>
                    </a:lnTo>
                    <a:lnTo>
                      <a:pt x="2455" y="2588"/>
                    </a:lnTo>
                    <a:lnTo>
                      <a:pt x="2828" y="2295"/>
                    </a:lnTo>
                    <a:lnTo>
                      <a:pt x="3228" y="1975"/>
                    </a:lnTo>
                    <a:lnTo>
                      <a:pt x="3602" y="1681"/>
                    </a:lnTo>
                    <a:lnTo>
                      <a:pt x="4322" y="1201"/>
                    </a:lnTo>
                    <a:lnTo>
                      <a:pt x="4829" y="881"/>
                    </a:lnTo>
                    <a:lnTo>
                      <a:pt x="5016" y="748"/>
                    </a:lnTo>
                    <a:lnTo>
                      <a:pt x="5042" y="748"/>
                    </a:lnTo>
                    <a:lnTo>
                      <a:pt x="5149" y="641"/>
                    </a:lnTo>
                    <a:lnTo>
                      <a:pt x="5202" y="508"/>
                    </a:lnTo>
                    <a:lnTo>
                      <a:pt x="5229" y="348"/>
                    </a:lnTo>
                    <a:lnTo>
                      <a:pt x="5176" y="214"/>
                    </a:lnTo>
                    <a:lnTo>
                      <a:pt x="5122" y="134"/>
                    </a:lnTo>
                    <a:lnTo>
                      <a:pt x="5069" y="81"/>
                    </a:lnTo>
                    <a:lnTo>
                      <a:pt x="4936" y="28"/>
                    </a:lnTo>
                    <a:lnTo>
                      <a:pt x="4775" y="1"/>
                    </a:lnTo>
                    <a:close/>
                  </a:path>
                </a:pathLst>
              </a:custGeom>
              <a:solidFill>
                <a:srgbClr val="E5A78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46" name="Google Shape;846;p16"/>
              <p:cNvSpPr/>
              <p:nvPr/>
            </p:nvSpPr>
            <p:spPr>
              <a:xfrm>
                <a:off x="6207901" y="6004897"/>
                <a:ext cx="184075" cy="271883"/>
              </a:xfrm>
              <a:custGeom>
                <a:avLst/>
                <a:gdLst/>
                <a:ahLst/>
                <a:cxnLst/>
                <a:rect l="l" t="t" r="r" b="b"/>
                <a:pathLst>
                  <a:path w="13924" h="20566" extrusionOk="0">
                    <a:moveTo>
                      <a:pt x="10509" y="0"/>
                    </a:moveTo>
                    <a:lnTo>
                      <a:pt x="10163" y="27"/>
                    </a:lnTo>
                    <a:lnTo>
                      <a:pt x="9843" y="107"/>
                    </a:lnTo>
                    <a:lnTo>
                      <a:pt x="9496" y="214"/>
                    </a:lnTo>
                    <a:lnTo>
                      <a:pt x="9176" y="347"/>
                    </a:lnTo>
                    <a:lnTo>
                      <a:pt x="8856" y="534"/>
                    </a:lnTo>
                    <a:lnTo>
                      <a:pt x="8562" y="747"/>
                    </a:lnTo>
                    <a:lnTo>
                      <a:pt x="8242" y="960"/>
                    </a:lnTo>
                    <a:lnTo>
                      <a:pt x="7949" y="1227"/>
                    </a:lnTo>
                    <a:lnTo>
                      <a:pt x="7682" y="1521"/>
                    </a:lnTo>
                    <a:lnTo>
                      <a:pt x="7389" y="1814"/>
                    </a:lnTo>
                    <a:lnTo>
                      <a:pt x="7122" y="2161"/>
                    </a:lnTo>
                    <a:lnTo>
                      <a:pt x="6615" y="2854"/>
                    </a:lnTo>
                    <a:lnTo>
                      <a:pt x="6108" y="3575"/>
                    </a:lnTo>
                    <a:lnTo>
                      <a:pt x="5655" y="4321"/>
                    </a:lnTo>
                    <a:lnTo>
                      <a:pt x="5228" y="5068"/>
                    </a:lnTo>
                    <a:lnTo>
                      <a:pt x="4481" y="6509"/>
                    </a:lnTo>
                    <a:lnTo>
                      <a:pt x="3868" y="7656"/>
                    </a:lnTo>
                    <a:lnTo>
                      <a:pt x="3548" y="8189"/>
                    </a:lnTo>
                    <a:lnTo>
                      <a:pt x="3201" y="8856"/>
                    </a:lnTo>
                    <a:lnTo>
                      <a:pt x="2827" y="9603"/>
                    </a:lnTo>
                    <a:lnTo>
                      <a:pt x="2454" y="10430"/>
                    </a:lnTo>
                    <a:lnTo>
                      <a:pt x="2054" y="11337"/>
                    </a:lnTo>
                    <a:lnTo>
                      <a:pt x="1654" y="12244"/>
                    </a:lnTo>
                    <a:lnTo>
                      <a:pt x="1280" y="13204"/>
                    </a:lnTo>
                    <a:lnTo>
                      <a:pt x="934" y="14164"/>
                    </a:lnTo>
                    <a:lnTo>
                      <a:pt x="613" y="15098"/>
                    </a:lnTo>
                    <a:lnTo>
                      <a:pt x="347" y="16005"/>
                    </a:lnTo>
                    <a:lnTo>
                      <a:pt x="160" y="16858"/>
                    </a:lnTo>
                    <a:lnTo>
                      <a:pt x="80" y="17258"/>
                    </a:lnTo>
                    <a:lnTo>
                      <a:pt x="27" y="17658"/>
                    </a:lnTo>
                    <a:lnTo>
                      <a:pt x="0" y="18005"/>
                    </a:lnTo>
                    <a:lnTo>
                      <a:pt x="0" y="18352"/>
                    </a:lnTo>
                    <a:lnTo>
                      <a:pt x="0" y="18672"/>
                    </a:lnTo>
                    <a:lnTo>
                      <a:pt x="53" y="18939"/>
                    </a:lnTo>
                    <a:lnTo>
                      <a:pt x="107" y="19205"/>
                    </a:lnTo>
                    <a:lnTo>
                      <a:pt x="213" y="19419"/>
                    </a:lnTo>
                    <a:lnTo>
                      <a:pt x="347" y="19606"/>
                    </a:lnTo>
                    <a:lnTo>
                      <a:pt x="507" y="19766"/>
                    </a:lnTo>
                    <a:lnTo>
                      <a:pt x="747" y="19926"/>
                    </a:lnTo>
                    <a:lnTo>
                      <a:pt x="987" y="20059"/>
                    </a:lnTo>
                    <a:lnTo>
                      <a:pt x="1254" y="20166"/>
                    </a:lnTo>
                    <a:lnTo>
                      <a:pt x="1547" y="20272"/>
                    </a:lnTo>
                    <a:lnTo>
                      <a:pt x="1840" y="20379"/>
                    </a:lnTo>
                    <a:lnTo>
                      <a:pt x="2134" y="20432"/>
                    </a:lnTo>
                    <a:lnTo>
                      <a:pt x="2454" y="20486"/>
                    </a:lnTo>
                    <a:lnTo>
                      <a:pt x="2774" y="20539"/>
                    </a:lnTo>
                    <a:lnTo>
                      <a:pt x="3468" y="20566"/>
                    </a:lnTo>
                    <a:lnTo>
                      <a:pt x="4161" y="20566"/>
                    </a:lnTo>
                    <a:lnTo>
                      <a:pt x="4881" y="20512"/>
                    </a:lnTo>
                    <a:lnTo>
                      <a:pt x="5602" y="20406"/>
                    </a:lnTo>
                    <a:lnTo>
                      <a:pt x="6322" y="20299"/>
                    </a:lnTo>
                    <a:lnTo>
                      <a:pt x="7042" y="20139"/>
                    </a:lnTo>
                    <a:lnTo>
                      <a:pt x="7762" y="19979"/>
                    </a:lnTo>
                    <a:lnTo>
                      <a:pt x="8429" y="19792"/>
                    </a:lnTo>
                    <a:lnTo>
                      <a:pt x="9709" y="19445"/>
                    </a:lnTo>
                    <a:lnTo>
                      <a:pt x="10830" y="19125"/>
                    </a:lnTo>
                    <a:lnTo>
                      <a:pt x="11443" y="18939"/>
                    </a:lnTo>
                    <a:lnTo>
                      <a:pt x="11736" y="18832"/>
                    </a:lnTo>
                    <a:lnTo>
                      <a:pt x="12030" y="18725"/>
                    </a:lnTo>
                    <a:lnTo>
                      <a:pt x="12323" y="18565"/>
                    </a:lnTo>
                    <a:lnTo>
                      <a:pt x="12563" y="18379"/>
                    </a:lnTo>
                    <a:lnTo>
                      <a:pt x="12670" y="18245"/>
                    </a:lnTo>
                    <a:lnTo>
                      <a:pt x="12750" y="18138"/>
                    </a:lnTo>
                    <a:lnTo>
                      <a:pt x="12830" y="17978"/>
                    </a:lnTo>
                    <a:lnTo>
                      <a:pt x="12910" y="17818"/>
                    </a:lnTo>
                    <a:lnTo>
                      <a:pt x="12963" y="17685"/>
                    </a:lnTo>
                    <a:lnTo>
                      <a:pt x="12990" y="17525"/>
                    </a:lnTo>
                    <a:lnTo>
                      <a:pt x="12990" y="17232"/>
                    </a:lnTo>
                    <a:lnTo>
                      <a:pt x="12963" y="16911"/>
                    </a:lnTo>
                    <a:lnTo>
                      <a:pt x="12857" y="16645"/>
                    </a:lnTo>
                    <a:lnTo>
                      <a:pt x="12697" y="16378"/>
                    </a:lnTo>
                    <a:lnTo>
                      <a:pt x="12510" y="16138"/>
                    </a:lnTo>
                    <a:lnTo>
                      <a:pt x="12270" y="15951"/>
                    </a:lnTo>
                    <a:lnTo>
                      <a:pt x="12137" y="15871"/>
                    </a:lnTo>
                    <a:lnTo>
                      <a:pt x="11977" y="15818"/>
                    </a:lnTo>
                    <a:lnTo>
                      <a:pt x="11683" y="15738"/>
                    </a:lnTo>
                    <a:lnTo>
                      <a:pt x="11390" y="15711"/>
                    </a:lnTo>
                    <a:lnTo>
                      <a:pt x="11043" y="15711"/>
                    </a:lnTo>
                    <a:lnTo>
                      <a:pt x="10723" y="15738"/>
                    </a:lnTo>
                    <a:lnTo>
                      <a:pt x="10056" y="15818"/>
                    </a:lnTo>
                    <a:lnTo>
                      <a:pt x="9443" y="15898"/>
                    </a:lnTo>
                    <a:lnTo>
                      <a:pt x="8482" y="15951"/>
                    </a:lnTo>
                    <a:lnTo>
                      <a:pt x="6562" y="15951"/>
                    </a:lnTo>
                    <a:lnTo>
                      <a:pt x="5602" y="15871"/>
                    </a:lnTo>
                    <a:lnTo>
                      <a:pt x="6322" y="14698"/>
                    </a:lnTo>
                    <a:lnTo>
                      <a:pt x="7069" y="13551"/>
                    </a:lnTo>
                    <a:lnTo>
                      <a:pt x="7842" y="12404"/>
                    </a:lnTo>
                    <a:lnTo>
                      <a:pt x="8669" y="11283"/>
                    </a:lnTo>
                    <a:lnTo>
                      <a:pt x="9496" y="10190"/>
                    </a:lnTo>
                    <a:lnTo>
                      <a:pt x="10376" y="9123"/>
                    </a:lnTo>
                    <a:lnTo>
                      <a:pt x="12083" y="6989"/>
                    </a:lnTo>
                    <a:lnTo>
                      <a:pt x="12617" y="6349"/>
                    </a:lnTo>
                    <a:lnTo>
                      <a:pt x="12883" y="6055"/>
                    </a:lnTo>
                    <a:lnTo>
                      <a:pt x="13124" y="5735"/>
                    </a:lnTo>
                    <a:lnTo>
                      <a:pt x="13364" y="5388"/>
                    </a:lnTo>
                    <a:lnTo>
                      <a:pt x="13550" y="5042"/>
                    </a:lnTo>
                    <a:lnTo>
                      <a:pt x="13737" y="4668"/>
                    </a:lnTo>
                    <a:lnTo>
                      <a:pt x="13844" y="4295"/>
                    </a:lnTo>
                    <a:lnTo>
                      <a:pt x="13897" y="4028"/>
                    </a:lnTo>
                    <a:lnTo>
                      <a:pt x="13924" y="3761"/>
                    </a:lnTo>
                    <a:lnTo>
                      <a:pt x="13924" y="3494"/>
                    </a:lnTo>
                    <a:lnTo>
                      <a:pt x="13924" y="3228"/>
                    </a:lnTo>
                    <a:lnTo>
                      <a:pt x="13897" y="2961"/>
                    </a:lnTo>
                    <a:lnTo>
                      <a:pt x="13844" y="2694"/>
                    </a:lnTo>
                    <a:lnTo>
                      <a:pt x="13764" y="2454"/>
                    </a:lnTo>
                    <a:lnTo>
                      <a:pt x="13684" y="2214"/>
                    </a:lnTo>
                    <a:lnTo>
                      <a:pt x="13577" y="1974"/>
                    </a:lnTo>
                    <a:lnTo>
                      <a:pt x="13444" y="1734"/>
                    </a:lnTo>
                    <a:lnTo>
                      <a:pt x="13310" y="1521"/>
                    </a:lnTo>
                    <a:lnTo>
                      <a:pt x="13150" y="1307"/>
                    </a:lnTo>
                    <a:lnTo>
                      <a:pt x="12963" y="1094"/>
                    </a:lnTo>
                    <a:lnTo>
                      <a:pt x="12777" y="907"/>
                    </a:lnTo>
                    <a:lnTo>
                      <a:pt x="12563" y="747"/>
                    </a:lnTo>
                    <a:lnTo>
                      <a:pt x="12350" y="587"/>
                    </a:lnTo>
                    <a:lnTo>
                      <a:pt x="11977" y="374"/>
                    </a:lnTo>
                    <a:lnTo>
                      <a:pt x="11603" y="214"/>
                    </a:lnTo>
                    <a:lnTo>
                      <a:pt x="11230" y="80"/>
                    </a:lnTo>
                    <a:lnTo>
                      <a:pt x="10856" y="27"/>
                    </a:lnTo>
                    <a:lnTo>
                      <a:pt x="10509" y="0"/>
                    </a:lnTo>
                    <a:close/>
                  </a:path>
                </a:pathLst>
              </a:custGeom>
              <a:solidFill>
                <a:srgbClr val="46464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47" name="Google Shape;847;p16"/>
              <p:cNvSpPr/>
              <p:nvPr/>
            </p:nvSpPr>
            <p:spPr>
              <a:xfrm>
                <a:off x="6285482" y="6212614"/>
                <a:ext cx="94166" cy="61367"/>
              </a:xfrm>
              <a:custGeom>
                <a:avLst/>
                <a:gdLst/>
                <a:ahLst/>
                <a:cxnLst/>
                <a:rect l="l" t="t" r="r" b="b"/>
                <a:pathLst>
                  <a:path w="7123" h="4642" extrusionOk="0">
                    <a:moveTo>
                      <a:pt x="5175" y="0"/>
                    </a:moveTo>
                    <a:lnTo>
                      <a:pt x="4855" y="27"/>
                    </a:lnTo>
                    <a:lnTo>
                      <a:pt x="4188" y="107"/>
                    </a:lnTo>
                    <a:lnTo>
                      <a:pt x="3575" y="187"/>
                    </a:lnTo>
                    <a:lnTo>
                      <a:pt x="2214" y="240"/>
                    </a:lnTo>
                    <a:lnTo>
                      <a:pt x="880" y="240"/>
                    </a:lnTo>
                    <a:lnTo>
                      <a:pt x="854" y="720"/>
                    </a:lnTo>
                    <a:lnTo>
                      <a:pt x="827" y="1227"/>
                    </a:lnTo>
                    <a:lnTo>
                      <a:pt x="774" y="1707"/>
                    </a:lnTo>
                    <a:lnTo>
                      <a:pt x="720" y="2214"/>
                    </a:lnTo>
                    <a:lnTo>
                      <a:pt x="640" y="2694"/>
                    </a:lnTo>
                    <a:lnTo>
                      <a:pt x="534" y="3174"/>
                    </a:lnTo>
                    <a:lnTo>
                      <a:pt x="400" y="3628"/>
                    </a:lnTo>
                    <a:lnTo>
                      <a:pt x="240" y="4081"/>
                    </a:lnTo>
                    <a:lnTo>
                      <a:pt x="0" y="4641"/>
                    </a:lnTo>
                    <a:lnTo>
                      <a:pt x="694" y="4535"/>
                    </a:lnTo>
                    <a:lnTo>
                      <a:pt x="1387" y="4375"/>
                    </a:lnTo>
                    <a:lnTo>
                      <a:pt x="2694" y="4055"/>
                    </a:lnTo>
                    <a:lnTo>
                      <a:pt x="3921" y="3708"/>
                    </a:lnTo>
                    <a:lnTo>
                      <a:pt x="4962" y="3414"/>
                    </a:lnTo>
                    <a:lnTo>
                      <a:pt x="5575" y="3228"/>
                    </a:lnTo>
                    <a:lnTo>
                      <a:pt x="5868" y="3121"/>
                    </a:lnTo>
                    <a:lnTo>
                      <a:pt x="6162" y="3014"/>
                    </a:lnTo>
                    <a:lnTo>
                      <a:pt x="6455" y="2854"/>
                    </a:lnTo>
                    <a:lnTo>
                      <a:pt x="6695" y="2668"/>
                    </a:lnTo>
                    <a:lnTo>
                      <a:pt x="6802" y="2534"/>
                    </a:lnTo>
                    <a:lnTo>
                      <a:pt x="6882" y="2427"/>
                    </a:lnTo>
                    <a:lnTo>
                      <a:pt x="6962" y="2267"/>
                    </a:lnTo>
                    <a:lnTo>
                      <a:pt x="7042" y="2107"/>
                    </a:lnTo>
                    <a:lnTo>
                      <a:pt x="7095" y="1974"/>
                    </a:lnTo>
                    <a:lnTo>
                      <a:pt x="7122" y="1814"/>
                    </a:lnTo>
                    <a:lnTo>
                      <a:pt x="7122" y="1521"/>
                    </a:lnTo>
                    <a:lnTo>
                      <a:pt x="7095" y="1200"/>
                    </a:lnTo>
                    <a:lnTo>
                      <a:pt x="6989" y="934"/>
                    </a:lnTo>
                    <a:lnTo>
                      <a:pt x="6829" y="667"/>
                    </a:lnTo>
                    <a:lnTo>
                      <a:pt x="6642" y="427"/>
                    </a:lnTo>
                    <a:lnTo>
                      <a:pt x="6402" y="240"/>
                    </a:lnTo>
                    <a:lnTo>
                      <a:pt x="6269" y="160"/>
                    </a:lnTo>
                    <a:lnTo>
                      <a:pt x="6109" y="107"/>
                    </a:lnTo>
                    <a:lnTo>
                      <a:pt x="5815" y="27"/>
                    </a:lnTo>
                    <a:lnTo>
                      <a:pt x="5522" y="0"/>
                    </a:lnTo>
                    <a:close/>
                  </a:path>
                </a:pathLst>
              </a:custGeom>
              <a:solidFill>
                <a:srgbClr val="2D2D2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48" name="Google Shape;848;p16"/>
              <p:cNvSpPr/>
              <p:nvPr/>
            </p:nvSpPr>
            <p:spPr>
              <a:xfrm>
                <a:off x="6294644" y="6004897"/>
                <a:ext cx="97339" cy="187261"/>
              </a:xfrm>
              <a:custGeom>
                <a:avLst/>
                <a:gdLst/>
                <a:ahLst/>
                <a:cxnLst/>
                <a:rect l="l" t="t" r="r" b="b"/>
                <a:pathLst>
                  <a:path w="7363" h="14165" extrusionOk="0">
                    <a:moveTo>
                      <a:pt x="4029" y="0"/>
                    </a:moveTo>
                    <a:lnTo>
                      <a:pt x="3628" y="27"/>
                    </a:lnTo>
                    <a:lnTo>
                      <a:pt x="3228" y="107"/>
                    </a:lnTo>
                    <a:lnTo>
                      <a:pt x="2828" y="240"/>
                    </a:lnTo>
                    <a:lnTo>
                      <a:pt x="2455" y="427"/>
                    </a:lnTo>
                    <a:lnTo>
                      <a:pt x="2641" y="854"/>
                    </a:lnTo>
                    <a:lnTo>
                      <a:pt x="2802" y="1281"/>
                    </a:lnTo>
                    <a:lnTo>
                      <a:pt x="2882" y="1734"/>
                    </a:lnTo>
                    <a:lnTo>
                      <a:pt x="2935" y="2161"/>
                    </a:lnTo>
                    <a:lnTo>
                      <a:pt x="2962" y="2614"/>
                    </a:lnTo>
                    <a:lnTo>
                      <a:pt x="2908" y="3041"/>
                    </a:lnTo>
                    <a:lnTo>
                      <a:pt x="2855" y="3494"/>
                    </a:lnTo>
                    <a:lnTo>
                      <a:pt x="2721" y="3921"/>
                    </a:lnTo>
                    <a:lnTo>
                      <a:pt x="2588" y="4348"/>
                    </a:lnTo>
                    <a:lnTo>
                      <a:pt x="2375" y="4748"/>
                    </a:lnTo>
                    <a:lnTo>
                      <a:pt x="2161" y="5122"/>
                    </a:lnTo>
                    <a:lnTo>
                      <a:pt x="1921" y="5495"/>
                    </a:lnTo>
                    <a:lnTo>
                      <a:pt x="1628" y="5868"/>
                    </a:lnTo>
                    <a:lnTo>
                      <a:pt x="1308" y="6189"/>
                    </a:lnTo>
                    <a:lnTo>
                      <a:pt x="988" y="6482"/>
                    </a:lnTo>
                    <a:lnTo>
                      <a:pt x="614" y="6749"/>
                    </a:lnTo>
                    <a:lnTo>
                      <a:pt x="161" y="7175"/>
                    </a:lnTo>
                    <a:lnTo>
                      <a:pt x="134" y="7256"/>
                    </a:lnTo>
                    <a:lnTo>
                      <a:pt x="107" y="7442"/>
                    </a:lnTo>
                    <a:lnTo>
                      <a:pt x="54" y="8056"/>
                    </a:lnTo>
                    <a:lnTo>
                      <a:pt x="27" y="8963"/>
                    </a:lnTo>
                    <a:lnTo>
                      <a:pt x="1" y="10003"/>
                    </a:lnTo>
                    <a:lnTo>
                      <a:pt x="1" y="11150"/>
                    </a:lnTo>
                    <a:lnTo>
                      <a:pt x="27" y="12297"/>
                    </a:lnTo>
                    <a:lnTo>
                      <a:pt x="54" y="13310"/>
                    </a:lnTo>
                    <a:lnTo>
                      <a:pt x="107" y="14164"/>
                    </a:lnTo>
                    <a:lnTo>
                      <a:pt x="721" y="13230"/>
                    </a:lnTo>
                    <a:lnTo>
                      <a:pt x="1361" y="12297"/>
                    </a:lnTo>
                    <a:lnTo>
                      <a:pt x="2028" y="11390"/>
                    </a:lnTo>
                    <a:lnTo>
                      <a:pt x="2721" y="10483"/>
                    </a:lnTo>
                    <a:lnTo>
                      <a:pt x="4109" y="8723"/>
                    </a:lnTo>
                    <a:lnTo>
                      <a:pt x="5522" y="6989"/>
                    </a:lnTo>
                    <a:lnTo>
                      <a:pt x="6056" y="6349"/>
                    </a:lnTo>
                    <a:lnTo>
                      <a:pt x="6322" y="6055"/>
                    </a:lnTo>
                    <a:lnTo>
                      <a:pt x="6563" y="5735"/>
                    </a:lnTo>
                    <a:lnTo>
                      <a:pt x="6803" y="5388"/>
                    </a:lnTo>
                    <a:lnTo>
                      <a:pt x="6989" y="5042"/>
                    </a:lnTo>
                    <a:lnTo>
                      <a:pt x="7176" y="4668"/>
                    </a:lnTo>
                    <a:lnTo>
                      <a:pt x="7283" y="4295"/>
                    </a:lnTo>
                    <a:lnTo>
                      <a:pt x="7336" y="4028"/>
                    </a:lnTo>
                    <a:lnTo>
                      <a:pt x="7363" y="3761"/>
                    </a:lnTo>
                    <a:lnTo>
                      <a:pt x="7363" y="3494"/>
                    </a:lnTo>
                    <a:lnTo>
                      <a:pt x="7363" y="3228"/>
                    </a:lnTo>
                    <a:lnTo>
                      <a:pt x="7336" y="2961"/>
                    </a:lnTo>
                    <a:lnTo>
                      <a:pt x="7283" y="2694"/>
                    </a:lnTo>
                    <a:lnTo>
                      <a:pt x="7203" y="2454"/>
                    </a:lnTo>
                    <a:lnTo>
                      <a:pt x="7123" y="2214"/>
                    </a:lnTo>
                    <a:lnTo>
                      <a:pt x="7016" y="1974"/>
                    </a:lnTo>
                    <a:lnTo>
                      <a:pt x="6883" y="1734"/>
                    </a:lnTo>
                    <a:lnTo>
                      <a:pt x="6749" y="1521"/>
                    </a:lnTo>
                    <a:lnTo>
                      <a:pt x="6589" y="1307"/>
                    </a:lnTo>
                    <a:lnTo>
                      <a:pt x="6402" y="1094"/>
                    </a:lnTo>
                    <a:lnTo>
                      <a:pt x="6216" y="907"/>
                    </a:lnTo>
                    <a:lnTo>
                      <a:pt x="6002" y="747"/>
                    </a:lnTo>
                    <a:lnTo>
                      <a:pt x="5789" y="587"/>
                    </a:lnTo>
                    <a:lnTo>
                      <a:pt x="5789" y="587"/>
                    </a:lnTo>
                    <a:lnTo>
                      <a:pt x="5549" y="454"/>
                    </a:lnTo>
                    <a:lnTo>
                      <a:pt x="5336" y="347"/>
                    </a:lnTo>
                    <a:lnTo>
                      <a:pt x="5122" y="240"/>
                    </a:lnTo>
                    <a:lnTo>
                      <a:pt x="4882" y="160"/>
                    </a:lnTo>
                    <a:lnTo>
                      <a:pt x="4669" y="80"/>
                    </a:lnTo>
                    <a:lnTo>
                      <a:pt x="4455" y="54"/>
                    </a:lnTo>
                    <a:lnTo>
                      <a:pt x="4242" y="27"/>
                    </a:lnTo>
                    <a:lnTo>
                      <a:pt x="4029" y="0"/>
                    </a:lnTo>
                    <a:close/>
                  </a:path>
                </a:pathLst>
              </a:custGeom>
              <a:solidFill>
                <a:srgbClr val="2D2D2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49" name="Google Shape;849;p16"/>
              <p:cNvSpPr/>
              <p:nvPr/>
            </p:nvSpPr>
            <p:spPr>
              <a:xfrm>
                <a:off x="6365879" y="5824681"/>
                <a:ext cx="122034" cy="154476"/>
              </a:xfrm>
              <a:custGeom>
                <a:avLst/>
                <a:gdLst/>
                <a:ahLst/>
                <a:cxnLst/>
                <a:rect l="l" t="t" r="r" b="b"/>
                <a:pathLst>
                  <a:path w="9231" h="11685" extrusionOk="0">
                    <a:moveTo>
                      <a:pt x="2455" y="1"/>
                    </a:moveTo>
                    <a:lnTo>
                      <a:pt x="1868" y="54"/>
                    </a:lnTo>
                    <a:lnTo>
                      <a:pt x="1575" y="108"/>
                    </a:lnTo>
                    <a:lnTo>
                      <a:pt x="1335" y="161"/>
                    </a:lnTo>
                    <a:lnTo>
                      <a:pt x="1095" y="241"/>
                    </a:lnTo>
                    <a:lnTo>
                      <a:pt x="881" y="321"/>
                    </a:lnTo>
                    <a:lnTo>
                      <a:pt x="694" y="428"/>
                    </a:lnTo>
                    <a:lnTo>
                      <a:pt x="561" y="561"/>
                    </a:lnTo>
                    <a:lnTo>
                      <a:pt x="401" y="748"/>
                    </a:lnTo>
                    <a:lnTo>
                      <a:pt x="268" y="961"/>
                    </a:lnTo>
                    <a:lnTo>
                      <a:pt x="161" y="1228"/>
                    </a:lnTo>
                    <a:lnTo>
                      <a:pt x="81" y="1495"/>
                    </a:lnTo>
                    <a:lnTo>
                      <a:pt x="28" y="1788"/>
                    </a:lnTo>
                    <a:lnTo>
                      <a:pt x="1" y="2108"/>
                    </a:lnTo>
                    <a:lnTo>
                      <a:pt x="1" y="2455"/>
                    </a:lnTo>
                    <a:lnTo>
                      <a:pt x="28" y="2802"/>
                    </a:lnTo>
                    <a:lnTo>
                      <a:pt x="54" y="3175"/>
                    </a:lnTo>
                    <a:lnTo>
                      <a:pt x="108" y="3575"/>
                    </a:lnTo>
                    <a:lnTo>
                      <a:pt x="241" y="4349"/>
                    </a:lnTo>
                    <a:lnTo>
                      <a:pt x="454" y="5176"/>
                    </a:lnTo>
                    <a:lnTo>
                      <a:pt x="668" y="5976"/>
                    </a:lnTo>
                    <a:lnTo>
                      <a:pt x="934" y="6749"/>
                    </a:lnTo>
                    <a:lnTo>
                      <a:pt x="1201" y="7496"/>
                    </a:lnTo>
                    <a:lnTo>
                      <a:pt x="1681" y="8803"/>
                    </a:lnTo>
                    <a:lnTo>
                      <a:pt x="2081" y="9683"/>
                    </a:lnTo>
                    <a:lnTo>
                      <a:pt x="2215" y="10004"/>
                    </a:lnTo>
                    <a:lnTo>
                      <a:pt x="2295" y="10084"/>
                    </a:lnTo>
                    <a:lnTo>
                      <a:pt x="2482" y="10244"/>
                    </a:lnTo>
                    <a:lnTo>
                      <a:pt x="2855" y="10484"/>
                    </a:lnTo>
                    <a:lnTo>
                      <a:pt x="3335" y="10777"/>
                    </a:lnTo>
                    <a:lnTo>
                      <a:pt x="3655" y="10937"/>
                    </a:lnTo>
                    <a:lnTo>
                      <a:pt x="4002" y="11097"/>
                    </a:lnTo>
                    <a:lnTo>
                      <a:pt x="4375" y="11231"/>
                    </a:lnTo>
                    <a:lnTo>
                      <a:pt x="4802" y="11364"/>
                    </a:lnTo>
                    <a:lnTo>
                      <a:pt x="5256" y="11471"/>
                    </a:lnTo>
                    <a:lnTo>
                      <a:pt x="5762" y="11577"/>
                    </a:lnTo>
                    <a:lnTo>
                      <a:pt x="6323" y="11657"/>
                    </a:lnTo>
                    <a:lnTo>
                      <a:pt x="6909" y="11684"/>
                    </a:lnTo>
                    <a:lnTo>
                      <a:pt x="7229" y="11684"/>
                    </a:lnTo>
                    <a:lnTo>
                      <a:pt x="7390" y="11657"/>
                    </a:lnTo>
                    <a:lnTo>
                      <a:pt x="7550" y="11604"/>
                    </a:lnTo>
                    <a:lnTo>
                      <a:pt x="7816" y="11471"/>
                    </a:lnTo>
                    <a:lnTo>
                      <a:pt x="8056" y="11284"/>
                    </a:lnTo>
                    <a:lnTo>
                      <a:pt x="8270" y="11044"/>
                    </a:lnTo>
                    <a:lnTo>
                      <a:pt x="8456" y="10777"/>
                    </a:lnTo>
                    <a:lnTo>
                      <a:pt x="8617" y="10457"/>
                    </a:lnTo>
                    <a:lnTo>
                      <a:pt x="8777" y="10110"/>
                    </a:lnTo>
                    <a:lnTo>
                      <a:pt x="8883" y="9710"/>
                    </a:lnTo>
                    <a:lnTo>
                      <a:pt x="8990" y="9283"/>
                    </a:lnTo>
                    <a:lnTo>
                      <a:pt x="9070" y="8857"/>
                    </a:lnTo>
                    <a:lnTo>
                      <a:pt x="9123" y="8376"/>
                    </a:lnTo>
                    <a:lnTo>
                      <a:pt x="9177" y="7896"/>
                    </a:lnTo>
                    <a:lnTo>
                      <a:pt x="9203" y="7416"/>
                    </a:lnTo>
                    <a:lnTo>
                      <a:pt x="9230" y="6403"/>
                    </a:lnTo>
                    <a:lnTo>
                      <a:pt x="9230" y="5389"/>
                    </a:lnTo>
                    <a:lnTo>
                      <a:pt x="9177" y="4402"/>
                    </a:lnTo>
                    <a:lnTo>
                      <a:pt x="9097" y="3468"/>
                    </a:lnTo>
                    <a:lnTo>
                      <a:pt x="9017" y="2642"/>
                    </a:lnTo>
                    <a:lnTo>
                      <a:pt x="8857" y="1415"/>
                    </a:lnTo>
                    <a:lnTo>
                      <a:pt x="8777" y="934"/>
                    </a:lnTo>
                    <a:lnTo>
                      <a:pt x="8483" y="854"/>
                    </a:lnTo>
                    <a:lnTo>
                      <a:pt x="7710" y="668"/>
                    </a:lnTo>
                    <a:lnTo>
                      <a:pt x="6563" y="428"/>
                    </a:lnTo>
                    <a:lnTo>
                      <a:pt x="5922" y="321"/>
                    </a:lnTo>
                    <a:lnTo>
                      <a:pt x="5229" y="214"/>
                    </a:lnTo>
                    <a:lnTo>
                      <a:pt x="4509" y="108"/>
                    </a:lnTo>
                    <a:lnTo>
                      <a:pt x="3815" y="28"/>
                    </a:lnTo>
                    <a:lnTo>
                      <a:pt x="3122" y="1"/>
                    </a:lnTo>
                    <a:close/>
                  </a:path>
                </a:pathLst>
              </a:custGeom>
              <a:solidFill>
                <a:srgbClr val="E5A78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50" name="Google Shape;850;p16"/>
              <p:cNvSpPr/>
              <p:nvPr/>
            </p:nvSpPr>
            <p:spPr>
              <a:xfrm>
                <a:off x="6376813" y="5928017"/>
                <a:ext cx="73715" cy="98740"/>
              </a:xfrm>
              <a:custGeom>
                <a:avLst/>
                <a:gdLst/>
                <a:ahLst/>
                <a:cxnLst/>
                <a:rect l="l" t="t" r="r" b="b"/>
                <a:pathLst>
                  <a:path w="5576" h="7469" extrusionOk="0">
                    <a:moveTo>
                      <a:pt x="3282" y="0"/>
                    </a:moveTo>
                    <a:lnTo>
                      <a:pt x="2962" y="54"/>
                    </a:lnTo>
                    <a:lnTo>
                      <a:pt x="2641" y="160"/>
                    </a:lnTo>
                    <a:lnTo>
                      <a:pt x="2348" y="294"/>
                    </a:lnTo>
                    <a:lnTo>
                      <a:pt x="2081" y="454"/>
                    </a:lnTo>
                    <a:lnTo>
                      <a:pt x="1841" y="667"/>
                    </a:lnTo>
                    <a:lnTo>
                      <a:pt x="1655" y="934"/>
                    </a:lnTo>
                    <a:lnTo>
                      <a:pt x="1575" y="1067"/>
                    </a:lnTo>
                    <a:lnTo>
                      <a:pt x="1495" y="1227"/>
                    </a:lnTo>
                    <a:lnTo>
                      <a:pt x="1334" y="1707"/>
                    </a:lnTo>
                    <a:lnTo>
                      <a:pt x="1228" y="2214"/>
                    </a:lnTo>
                    <a:lnTo>
                      <a:pt x="988" y="3281"/>
                    </a:lnTo>
                    <a:lnTo>
                      <a:pt x="854" y="3868"/>
                    </a:lnTo>
                    <a:lnTo>
                      <a:pt x="668" y="4482"/>
                    </a:lnTo>
                    <a:lnTo>
                      <a:pt x="428" y="5122"/>
                    </a:lnTo>
                    <a:lnTo>
                      <a:pt x="268" y="5468"/>
                    </a:lnTo>
                    <a:lnTo>
                      <a:pt x="107" y="5815"/>
                    </a:lnTo>
                    <a:lnTo>
                      <a:pt x="27" y="5949"/>
                    </a:lnTo>
                    <a:lnTo>
                      <a:pt x="1" y="6109"/>
                    </a:lnTo>
                    <a:lnTo>
                      <a:pt x="1" y="6242"/>
                    </a:lnTo>
                    <a:lnTo>
                      <a:pt x="27" y="6375"/>
                    </a:lnTo>
                    <a:lnTo>
                      <a:pt x="54" y="6509"/>
                    </a:lnTo>
                    <a:lnTo>
                      <a:pt x="134" y="6642"/>
                    </a:lnTo>
                    <a:lnTo>
                      <a:pt x="241" y="6749"/>
                    </a:lnTo>
                    <a:lnTo>
                      <a:pt x="348" y="6855"/>
                    </a:lnTo>
                    <a:lnTo>
                      <a:pt x="481" y="6962"/>
                    </a:lnTo>
                    <a:lnTo>
                      <a:pt x="641" y="7042"/>
                    </a:lnTo>
                    <a:lnTo>
                      <a:pt x="1014" y="7202"/>
                    </a:lnTo>
                    <a:lnTo>
                      <a:pt x="1414" y="7336"/>
                    </a:lnTo>
                    <a:lnTo>
                      <a:pt x="1868" y="7416"/>
                    </a:lnTo>
                    <a:lnTo>
                      <a:pt x="2348" y="7469"/>
                    </a:lnTo>
                    <a:lnTo>
                      <a:pt x="2828" y="7469"/>
                    </a:lnTo>
                    <a:lnTo>
                      <a:pt x="3308" y="7442"/>
                    </a:lnTo>
                    <a:lnTo>
                      <a:pt x="3762" y="7362"/>
                    </a:lnTo>
                    <a:lnTo>
                      <a:pt x="4189" y="7229"/>
                    </a:lnTo>
                    <a:lnTo>
                      <a:pt x="4375" y="7149"/>
                    </a:lnTo>
                    <a:lnTo>
                      <a:pt x="4562" y="7069"/>
                    </a:lnTo>
                    <a:lnTo>
                      <a:pt x="4722" y="6962"/>
                    </a:lnTo>
                    <a:lnTo>
                      <a:pt x="4882" y="6829"/>
                    </a:lnTo>
                    <a:lnTo>
                      <a:pt x="5015" y="6695"/>
                    </a:lnTo>
                    <a:lnTo>
                      <a:pt x="5122" y="6562"/>
                    </a:lnTo>
                    <a:lnTo>
                      <a:pt x="5256" y="6322"/>
                    </a:lnTo>
                    <a:lnTo>
                      <a:pt x="5389" y="6029"/>
                    </a:lnTo>
                    <a:lnTo>
                      <a:pt x="5469" y="5762"/>
                    </a:lnTo>
                    <a:lnTo>
                      <a:pt x="5522" y="5442"/>
                    </a:lnTo>
                    <a:lnTo>
                      <a:pt x="5549" y="5122"/>
                    </a:lnTo>
                    <a:lnTo>
                      <a:pt x="5576" y="4802"/>
                    </a:lnTo>
                    <a:lnTo>
                      <a:pt x="5576" y="4135"/>
                    </a:lnTo>
                    <a:lnTo>
                      <a:pt x="5522" y="3441"/>
                    </a:lnTo>
                    <a:lnTo>
                      <a:pt x="5442" y="2801"/>
                    </a:lnTo>
                    <a:lnTo>
                      <a:pt x="5362" y="2161"/>
                    </a:lnTo>
                    <a:lnTo>
                      <a:pt x="5309" y="1601"/>
                    </a:lnTo>
                    <a:lnTo>
                      <a:pt x="5309" y="1414"/>
                    </a:lnTo>
                    <a:lnTo>
                      <a:pt x="5282" y="1227"/>
                    </a:lnTo>
                    <a:lnTo>
                      <a:pt x="5229" y="1067"/>
                    </a:lnTo>
                    <a:lnTo>
                      <a:pt x="5149" y="907"/>
                    </a:lnTo>
                    <a:lnTo>
                      <a:pt x="5095" y="774"/>
                    </a:lnTo>
                    <a:lnTo>
                      <a:pt x="4989" y="640"/>
                    </a:lnTo>
                    <a:lnTo>
                      <a:pt x="4882" y="507"/>
                    </a:lnTo>
                    <a:lnTo>
                      <a:pt x="4775" y="400"/>
                    </a:lnTo>
                    <a:lnTo>
                      <a:pt x="4535" y="240"/>
                    </a:lnTo>
                    <a:lnTo>
                      <a:pt x="4242" y="107"/>
                    </a:lnTo>
                    <a:lnTo>
                      <a:pt x="3948" y="27"/>
                    </a:lnTo>
                    <a:lnTo>
                      <a:pt x="3628" y="0"/>
                    </a:lnTo>
                    <a:close/>
                  </a:path>
                </a:pathLst>
              </a:custGeom>
              <a:solidFill>
                <a:srgbClr val="E5A78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51" name="Google Shape;851;p16"/>
              <p:cNvSpPr/>
              <p:nvPr/>
            </p:nvSpPr>
            <p:spPr>
              <a:xfrm>
                <a:off x="6357774" y="5804585"/>
                <a:ext cx="143530" cy="160107"/>
              </a:xfrm>
              <a:custGeom>
                <a:avLst/>
                <a:gdLst/>
                <a:ahLst/>
                <a:cxnLst/>
                <a:rect l="l" t="t" r="r" b="b"/>
                <a:pathLst>
                  <a:path w="10857" h="12111" extrusionOk="0">
                    <a:moveTo>
                      <a:pt x="5415" y="0"/>
                    </a:moveTo>
                    <a:lnTo>
                      <a:pt x="4775" y="27"/>
                    </a:lnTo>
                    <a:lnTo>
                      <a:pt x="4055" y="107"/>
                    </a:lnTo>
                    <a:lnTo>
                      <a:pt x="3308" y="267"/>
                    </a:lnTo>
                    <a:lnTo>
                      <a:pt x="3015" y="321"/>
                    </a:lnTo>
                    <a:lnTo>
                      <a:pt x="2748" y="427"/>
                    </a:lnTo>
                    <a:lnTo>
                      <a:pt x="2454" y="534"/>
                    </a:lnTo>
                    <a:lnTo>
                      <a:pt x="2214" y="667"/>
                    </a:lnTo>
                    <a:lnTo>
                      <a:pt x="1974" y="854"/>
                    </a:lnTo>
                    <a:lnTo>
                      <a:pt x="1734" y="1014"/>
                    </a:lnTo>
                    <a:lnTo>
                      <a:pt x="1494" y="1227"/>
                    </a:lnTo>
                    <a:lnTo>
                      <a:pt x="1281" y="1468"/>
                    </a:lnTo>
                    <a:lnTo>
                      <a:pt x="1094" y="1708"/>
                    </a:lnTo>
                    <a:lnTo>
                      <a:pt x="907" y="1974"/>
                    </a:lnTo>
                    <a:lnTo>
                      <a:pt x="721" y="2268"/>
                    </a:lnTo>
                    <a:lnTo>
                      <a:pt x="561" y="2561"/>
                    </a:lnTo>
                    <a:lnTo>
                      <a:pt x="427" y="2881"/>
                    </a:lnTo>
                    <a:lnTo>
                      <a:pt x="294" y="3228"/>
                    </a:lnTo>
                    <a:lnTo>
                      <a:pt x="160" y="3601"/>
                    </a:lnTo>
                    <a:lnTo>
                      <a:pt x="80" y="3975"/>
                    </a:lnTo>
                    <a:lnTo>
                      <a:pt x="27" y="4215"/>
                    </a:lnTo>
                    <a:lnTo>
                      <a:pt x="0" y="4482"/>
                    </a:lnTo>
                    <a:lnTo>
                      <a:pt x="0" y="4748"/>
                    </a:lnTo>
                    <a:lnTo>
                      <a:pt x="27" y="5042"/>
                    </a:lnTo>
                    <a:lnTo>
                      <a:pt x="54" y="5362"/>
                    </a:lnTo>
                    <a:lnTo>
                      <a:pt x="134" y="5735"/>
                    </a:lnTo>
                    <a:lnTo>
                      <a:pt x="214" y="6109"/>
                    </a:lnTo>
                    <a:lnTo>
                      <a:pt x="347" y="6562"/>
                    </a:lnTo>
                    <a:lnTo>
                      <a:pt x="694" y="7549"/>
                    </a:lnTo>
                    <a:lnTo>
                      <a:pt x="1174" y="8749"/>
                    </a:lnTo>
                    <a:lnTo>
                      <a:pt x="1814" y="10190"/>
                    </a:lnTo>
                    <a:lnTo>
                      <a:pt x="2614" y="11924"/>
                    </a:lnTo>
                    <a:lnTo>
                      <a:pt x="2694" y="11977"/>
                    </a:lnTo>
                    <a:lnTo>
                      <a:pt x="2774" y="12030"/>
                    </a:lnTo>
                    <a:lnTo>
                      <a:pt x="2935" y="12084"/>
                    </a:lnTo>
                    <a:lnTo>
                      <a:pt x="3095" y="12084"/>
                    </a:lnTo>
                    <a:lnTo>
                      <a:pt x="3521" y="12110"/>
                    </a:lnTo>
                    <a:lnTo>
                      <a:pt x="3975" y="12084"/>
                    </a:lnTo>
                    <a:lnTo>
                      <a:pt x="4802" y="12004"/>
                    </a:lnTo>
                    <a:lnTo>
                      <a:pt x="5175" y="11950"/>
                    </a:lnTo>
                    <a:lnTo>
                      <a:pt x="5415" y="11524"/>
                    </a:lnTo>
                    <a:lnTo>
                      <a:pt x="5655" y="11043"/>
                    </a:lnTo>
                    <a:lnTo>
                      <a:pt x="5895" y="10510"/>
                    </a:lnTo>
                    <a:lnTo>
                      <a:pt x="6135" y="9923"/>
                    </a:lnTo>
                    <a:lnTo>
                      <a:pt x="6242" y="9656"/>
                    </a:lnTo>
                    <a:lnTo>
                      <a:pt x="6295" y="9390"/>
                    </a:lnTo>
                    <a:lnTo>
                      <a:pt x="6349" y="9150"/>
                    </a:lnTo>
                    <a:lnTo>
                      <a:pt x="6349" y="8936"/>
                    </a:lnTo>
                    <a:lnTo>
                      <a:pt x="6322" y="8749"/>
                    </a:lnTo>
                    <a:lnTo>
                      <a:pt x="6295" y="8669"/>
                    </a:lnTo>
                    <a:lnTo>
                      <a:pt x="6242" y="8616"/>
                    </a:lnTo>
                    <a:lnTo>
                      <a:pt x="6162" y="8483"/>
                    </a:lnTo>
                    <a:lnTo>
                      <a:pt x="6162" y="8349"/>
                    </a:lnTo>
                    <a:lnTo>
                      <a:pt x="6189" y="8189"/>
                    </a:lnTo>
                    <a:lnTo>
                      <a:pt x="6269" y="8003"/>
                    </a:lnTo>
                    <a:lnTo>
                      <a:pt x="6375" y="7843"/>
                    </a:lnTo>
                    <a:lnTo>
                      <a:pt x="6509" y="7656"/>
                    </a:lnTo>
                    <a:lnTo>
                      <a:pt x="6829" y="7282"/>
                    </a:lnTo>
                    <a:lnTo>
                      <a:pt x="7176" y="6936"/>
                    </a:lnTo>
                    <a:lnTo>
                      <a:pt x="7496" y="6642"/>
                    </a:lnTo>
                    <a:lnTo>
                      <a:pt x="7842" y="6375"/>
                    </a:lnTo>
                    <a:lnTo>
                      <a:pt x="7949" y="6055"/>
                    </a:lnTo>
                    <a:lnTo>
                      <a:pt x="8083" y="5735"/>
                    </a:lnTo>
                    <a:lnTo>
                      <a:pt x="8269" y="5335"/>
                    </a:lnTo>
                    <a:lnTo>
                      <a:pt x="8509" y="4935"/>
                    </a:lnTo>
                    <a:lnTo>
                      <a:pt x="8643" y="4722"/>
                    </a:lnTo>
                    <a:lnTo>
                      <a:pt x="8803" y="4535"/>
                    </a:lnTo>
                    <a:lnTo>
                      <a:pt x="8989" y="4375"/>
                    </a:lnTo>
                    <a:lnTo>
                      <a:pt x="9176" y="4242"/>
                    </a:lnTo>
                    <a:lnTo>
                      <a:pt x="9390" y="4135"/>
                    </a:lnTo>
                    <a:lnTo>
                      <a:pt x="9603" y="4055"/>
                    </a:lnTo>
                    <a:lnTo>
                      <a:pt x="9763" y="4028"/>
                    </a:lnTo>
                    <a:lnTo>
                      <a:pt x="9896" y="3975"/>
                    </a:lnTo>
                    <a:lnTo>
                      <a:pt x="10110" y="3815"/>
                    </a:lnTo>
                    <a:lnTo>
                      <a:pt x="10323" y="3655"/>
                    </a:lnTo>
                    <a:lnTo>
                      <a:pt x="10483" y="3441"/>
                    </a:lnTo>
                    <a:lnTo>
                      <a:pt x="10590" y="3175"/>
                    </a:lnTo>
                    <a:lnTo>
                      <a:pt x="10697" y="2935"/>
                    </a:lnTo>
                    <a:lnTo>
                      <a:pt x="10750" y="2668"/>
                    </a:lnTo>
                    <a:lnTo>
                      <a:pt x="10803" y="2401"/>
                    </a:lnTo>
                    <a:lnTo>
                      <a:pt x="10857" y="1868"/>
                    </a:lnTo>
                    <a:lnTo>
                      <a:pt x="10857" y="1414"/>
                    </a:lnTo>
                    <a:lnTo>
                      <a:pt x="10830" y="987"/>
                    </a:lnTo>
                    <a:lnTo>
                      <a:pt x="10510" y="987"/>
                    </a:lnTo>
                    <a:lnTo>
                      <a:pt x="10216" y="961"/>
                    </a:lnTo>
                    <a:lnTo>
                      <a:pt x="9896" y="907"/>
                    </a:lnTo>
                    <a:lnTo>
                      <a:pt x="9576" y="801"/>
                    </a:lnTo>
                    <a:lnTo>
                      <a:pt x="8856" y="587"/>
                    </a:lnTo>
                    <a:lnTo>
                      <a:pt x="8056" y="347"/>
                    </a:lnTo>
                    <a:lnTo>
                      <a:pt x="7602" y="241"/>
                    </a:lnTo>
                    <a:lnTo>
                      <a:pt x="7122" y="134"/>
                    </a:lnTo>
                    <a:lnTo>
                      <a:pt x="6589" y="54"/>
                    </a:lnTo>
                    <a:lnTo>
                      <a:pt x="6029" y="0"/>
                    </a:lnTo>
                    <a:close/>
                  </a:path>
                </a:pathLst>
              </a:custGeom>
              <a:solidFill>
                <a:srgbClr val="46464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52" name="Google Shape;852;p16"/>
              <p:cNvSpPr/>
              <p:nvPr/>
            </p:nvSpPr>
            <p:spPr>
              <a:xfrm>
                <a:off x="6395864" y="6379067"/>
                <a:ext cx="175271" cy="725725"/>
              </a:xfrm>
              <a:custGeom>
                <a:avLst/>
                <a:gdLst/>
                <a:ahLst/>
                <a:cxnLst/>
                <a:rect l="l" t="t" r="r" b="b"/>
                <a:pathLst>
                  <a:path w="13258" h="54896" extrusionOk="0">
                    <a:moveTo>
                      <a:pt x="4828" y="0"/>
                    </a:moveTo>
                    <a:lnTo>
                      <a:pt x="4455" y="27"/>
                    </a:lnTo>
                    <a:lnTo>
                      <a:pt x="4108" y="80"/>
                    </a:lnTo>
                    <a:lnTo>
                      <a:pt x="3734" y="160"/>
                    </a:lnTo>
                    <a:lnTo>
                      <a:pt x="3361" y="267"/>
                    </a:lnTo>
                    <a:lnTo>
                      <a:pt x="3014" y="400"/>
                    </a:lnTo>
                    <a:lnTo>
                      <a:pt x="2668" y="560"/>
                    </a:lnTo>
                    <a:lnTo>
                      <a:pt x="2347" y="774"/>
                    </a:lnTo>
                    <a:lnTo>
                      <a:pt x="2027" y="987"/>
                    </a:lnTo>
                    <a:lnTo>
                      <a:pt x="1707" y="1227"/>
                    </a:lnTo>
                    <a:lnTo>
                      <a:pt x="1414" y="1521"/>
                    </a:lnTo>
                    <a:lnTo>
                      <a:pt x="1147" y="1814"/>
                    </a:lnTo>
                    <a:lnTo>
                      <a:pt x="880" y="2161"/>
                    </a:lnTo>
                    <a:lnTo>
                      <a:pt x="694" y="2428"/>
                    </a:lnTo>
                    <a:lnTo>
                      <a:pt x="560" y="2721"/>
                    </a:lnTo>
                    <a:lnTo>
                      <a:pt x="427" y="2988"/>
                    </a:lnTo>
                    <a:lnTo>
                      <a:pt x="294" y="3281"/>
                    </a:lnTo>
                    <a:lnTo>
                      <a:pt x="214" y="3574"/>
                    </a:lnTo>
                    <a:lnTo>
                      <a:pt x="134" y="3868"/>
                    </a:lnTo>
                    <a:lnTo>
                      <a:pt x="54" y="4161"/>
                    </a:lnTo>
                    <a:lnTo>
                      <a:pt x="27" y="4455"/>
                    </a:lnTo>
                    <a:lnTo>
                      <a:pt x="0" y="4775"/>
                    </a:lnTo>
                    <a:lnTo>
                      <a:pt x="0" y="5068"/>
                    </a:lnTo>
                    <a:lnTo>
                      <a:pt x="27" y="5682"/>
                    </a:lnTo>
                    <a:lnTo>
                      <a:pt x="134" y="6295"/>
                    </a:lnTo>
                    <a:lnTo>
                      <a:pt x="267" y="6909"/>
                    </a:lnTo>
                    <a:lnTo>
                      <a:pt x="480" y="7736"/>
                    </a:lnTo>
                    <a:lnTo>
                      <a:pt x="667" y="8563"/>
                    </a:lnTo>
                    <a:lnTo>
                      <a:pt x="800" y="9363"/>
                    </a:lnTo>
                    <a:lnTo>
                      <a:pt x="907" y="10136"/>
                    </a:lnTo>
                    <a:lnTo>
                      <a:pt x="1040" y="10936"/>
                    </a:lnTo>
                    <a:lnTo>
                      <a:pt x="1174" y="11737"/>
                    </a:lnTo>
                    <a:lnTo>
                      <a:pt x="1361" y="12537"/>
                    </a:lnTo>
                    <a:lnTo>
                      <a:pt x="1601" y="13364"/>
                    </a:lnTo>
                    <a:lnTo>
                      <a:pt x="2721" y="16858"/>
                    </a:lnTo>
                    <a:lnTo>
                      <a:pt x="3228" y="18485"/>
                    </a:lnTo>
                    <a:lnTo>
                      <a:pt x="3681" y="20006"/>
                    </a:lnTo>
                    <a:lnTo>
                      <a:pt x="4108" y="21499"/>
                    </a:lnTo>
                    <a:lnTo>
                      <a:pt x="4508" y="22940"/>
                    </a:lnTo>
                    <a:lnTo>
                      <a:pt x="4881" y="24353"/>
                    </a:lnTo>
                    <a:lnTo>
                      <a:pt x="5202" y="25740"/>
                    </a:lnTo>
                    <a:lnTo>
                      <a:pt x="5495" y="27154"/>
                    </a:lnTo>
                    <a:lnTo>
                      <a:pt x="5788" y="28541"/>
                    </a:lnTo>
                    <a:lnTo>
                      <a:pt x="6028" y="29982"/>
                    </a:lnTo>
                    <a:lnTo>
                      <a:pt x="6269" y="31475"/>
                    </a:lnTo>
                    <a:lnTo>
                      <a:pt x="6482" y="32996"/>
                    </a:lnTo>
                    <a:lnTo>
                      <a:pt x="6669" y="34623"/>
                    </a:lnTo>
                    <a:lnTo>
                      <a:pt x="6855" y="36303"/>
                    </a:lnTo>
                    <a:lnTo>
                      <a:pt x="7015" y="38090"/>
                    </a:lnTo>
                    <a:lnTo>
                      <a:pt x="7202" y="39878"/>
                    </a:lnTo>
                    <a:lnTo>
                      <a:pt x="7469" y="41771"/>
                    </a:lnTo>
                    <a:lnTo>
                      <a:pt x="7736" y="43692"/>
                    </a:lnTo>
                    <a:lnTo>
                      <a:pt x="8056" y="45666"/>
                    </a:lnTo>
                    <a:lnTo>
                      <a:pt x="8669" y="49587"/>
                    </a:lnTo>
                    <a:lnTo>
                      <a:pt x="8963" y="51454"/>
                    </a:lnTo>
                    <a:lnTo>
                      <a:pt x="9176" y="53241"/>
                    </a:lnTo>
                    <a:lnTo>
                      <a:pt x="9203" y="53588"/>
                    </a:lnTo>
                    <a:lnTo>
                      <a:pt x="9203" y="53775"/>
                    </a:lnTo>
                    <a:lnTo>
                      <a:pt x="9176" y="53881"/>
                    </a:lnTo>
                    <a:lnTo>
                      <a:pt x="9203" y="53935"/>
                    </a:lnTo>
                    <a:lnTo>
                      <a:pt x="9256" y="53961"/>
                    </a:lnTo>
                    <a:lnTo>
                      <a:pt x="9363" y="54015"/>
                    </a:lnTo>
                    <a:lnTo>
                      <a:pt x="9603" y="54148"/>
                    </a:lnTo>
                    <a:lnTo>
                      <a:pt x="9923" y="54362"/>
                    </a:lnTo>
                    <a:lnTo>
                      <a:pt x="10216" y="54548"/>
                    </a:lnTo>
                    <a:lnTo>
                      <a:pt x="10483" y="54708"/>
                    </a:lnTo>
                    <a:lnTo>
                      <a:pt x="10776" y="54788"/>
                    </a:lnTo>
                    <a:lnTo>
                      <a:pt x="11043" y="54868"/>
                    </a:lnTo>
                    <a:lnTo>
                      <a:pt x="11283" y="54895"/>
                    </a:lnTo>
                    <a:lnTo>
                      <a:pt x="11550" y="54895"/>
                    </a:lnTo>
                    <a:lnTo>
                      <a:pt x="11763" y="54842"/>
                    </a:lnTo>
                    <a:lnTo>
                      <a:pt x="12003" y="54788"/>
                    </a:lnTo>
                    <a:lnTo>
                      <a:pt x="12190" y="54682"/>
                    </a:lnTo>
                    <a:lnTo>
                      <a:pt x="12377" y="54548"/>
                    </a:lnTo>
                    <a:lnTo>
                      <a:pt x="12537" y="54388"/>
                    </a:lnTo>
                    <a:lnTo>
                      <a:pt x="12670" y="54202"/>
                    </a:lnTo>
                    <a:lnTo>
                      <a:pt x="12804" y="53988"/>
                    </a:lnTo>
                    <a:lnTo>
                      <a:pt x="12884" y="53748"/>
                    </a:lnTo>
                    <a:lnTo>
                      <a:pt x="12937" y="53508"/>
                    </a:lnTo>
                    <a:lnTo>
                      <a:pt x="12964" y="53241"/>
                    </a:lnTo>
                    <a:lnTo>
                      <a:pt x="13044" y="51214"/>
                    </a:lnTo>
                    <a:lnTo>
                      <a:pt x="13124" y="48440"/>
                    </a:lnTo>
                    <a:lnTo>
                      <a:pt x="13177" y="45159"/>
                    </a:lnTo>
                    <a:lnTo>
                      <a:pt x="13230" y="41611"/>
                    </a:lnTo>
                    <a:lnTo>
                      <a:pt x="13257" y="38090"/>
                    </a:lnTo>
                    <a:lnTo>
                      <a:pt x="13257" y="34836"/>
                    </a:lnTo>
                    <a:lnTo>
                      <a:pt x="13230" y="32142"/>
                    </a:lnTo>
                    <a:lnTo>
                      <a:pt x="13204" y="30275"/>
                    </a:lnTo>
                    <a:lnTo>
                      <a:pt x="13097" y="28701"/>
                    </a:lnTo>
                    <a:lnTo>
                      <a:pt x="12990" y="27128"/>
                    </a:lnTo>
                    <a:lnTo>
                      <a:pt x="12857" y="25527"/>
                    </a:lnTo>
                    <a:lnTo>
                      <a:pt x="12724" y="23900"/>
                    </a:lnTo>
                    <a:lnTo>
                      <a:pt x="12377" y="20619"/>
                    </a:lnTo>
                    <a:lnTo>
                      <a:pt x="11977" y="17312"/>
                    </a:lnTo>
                    <a:lnTo>
                      <a:pt x="11550" y="14031"/>
                    </a:lnTo>
                    <a:lnTo>
                      <a:pt x="11096" y="10750"/>
                    </a:lnTo>
                    <a:lnTo>
                      <a:pt x="10243" y="4428"/>
                    </a:lnTo>
                    <a:lnTo>
                      <a:pt x="10163" y="4001"/>
                    </a:lnTo>
                    <a:lnTo>
                      <a:pt x="10056" y="3601"/>
                    </a:lnTo>
                    <a:lnTo>
                      <a:pt x="9923" y="3228"/>
                    </a:lnTo>
                    <a:lnTo>
                      <a:pt x="9763" y="2854"/>
                    </a:lnTo>
                    <a:lnTo>
                      <a:pt x="9576" y="2508"/>
                    </a:lnTo>
                    <a:lnTo>
                      <a:pt x="9363" y="2187"/>
                    </a:lnTo>
                    <a:lnTo>
                      <a:pt x="9123" y="1894"/>
                    </a:lnTo>
                    <a:lnTo>
                      <a:pt x="8883" y="1601"/>
                    </a:lnTo>
                    <a:lnTo>
                      <a:pt x="8616" y="1361"/>
                    </a:lnTo>
                    <a:lnTo>
                      <a:pt x="8322" y="1120"/>
                    </a:lnTo>
                    <a:lnTo>
                      <a:pt x="8002" y="880"/>
                    </a:lnTo>
                    <a:lnTo>
                      <a:pt x="7709" y="694"/>
                    </a:lnTo>
                    <a:lnTo>
                      <a:pt x="7362" y="534"/>
                    </a:lnTo>
                    <a:lnTo>
                      <a:pt x="7015" y="374"/>
                    </a:lnTo>
                    <a:lnTo>
                      <a:pt x="6669" y="267"/>
                    </a:lnTo>
                    <a:lnTo>
                      <a:pt x="6322" y="160"/>
                    </a:lnTo>
                    <a:lnTo>
                      <a:pt x="5948" y="80"/>
                    </a:lnTo>
                    <a:lnTo>
                      <a:pt x="5575" y="27"/>
                    </a:lnTo>
                    <a:lnTo>
                      <a:pt x="5202" y="0"/>
                    </a:lnTo>
                    <a:close/>
                  </a:path>
                </a:pathLst>
              </a:cu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53" name="Google Shape;853;p16"/>
              <p:cNvSpPr/>
              <p:nvPr/>
            </p:nvSpPr>
            <p:spPr>
              <a:xfrm>
                <a:off x="6276306" y="6378010"/>
                <a:ext cx="161165" cy="725368"/>
              </a:xfrm>
              <a:custGeom>
                <a:avLst/>
                <a:gdLst/>
                <a:ahLst/>
                <a:cxnLst/>
                <a:rect l="l" t="t" r="r" b="b"/>
                <a:pathLst>
                  <a:path w="12191" h="54869" extrusionOk="0">
                    <a:moveTo>
                      <a:pt x="6829" y="0"/>
                    </a:moveTo>
                    <a:lnTo>
                      <a:pt x="6509" y="27"/>
                    </a:lnTo>
                    <a:lnTo>
                      <a:pt x="6189" y="80"/>
                    </a:lnTo>
                    <a:lnTo>
                      <a:pt x="5842" y="160"/>
                    </a:lnTo>
                    <a:lnTo>
                      <a:pt x="5522" y="240"/>
                    </a:lnTo>
                    <a:lnTo>
                      <a:pt x="5229" y="320"/>
                    </a:lnTo>
                    <a:lnTo>
                      <a:pt x="4935" y="454"/>
                    </a:lnTo>
                    <a:lnTo>
                      <a:pt x="4669" y="560"/>
                    </a:lnTo>
                    <a:lnTo>
                      <a:pt x="4402" y="694"/>
                    </a:lnTo>
                    <a:lnTo>
                      <a:pt x="4162" y="854"/>
                    </a:lnTo>
                    <a:lnTo>
                      <a:pt x="3948" y="987"/>
                    </a:lnTo>
                    <a:lnTo>
                      <a:pt x="3735" y="1174"/>
                    </a:lnTo>
                    <a:lnTo>
                      <a:pt x="3548" y="1334"/>
                    </a:lnTo>
                    <a:lnTo>
                      <a:pt x="3362" y="1521"/>
                    </a:lnTo>
                    <a:lnTo>
                      <a:pt x="3042" y="1921"/>
                    </a:lnTo>
                    <a:lnTo>
                      <a:pt x="2775" y="2347"/>
                    </a:lnTo>
                    <a:lnTo>
                      <a:pt x="2535" y="2801"/>
                    </a:lnTo>
                    <a:lnTo>
                      <a:pt x="2348" y="3281"/>
                    </a:lnTo>
                    <a:lnTo>
                      <a:pt x="2188" y="3788"/>
                    </a:lnTo>
                    <a:lnTo>
                      <a:pt x="2081" y="4321"/>
                    </a:lnTo>
                    <a:lnTo>
                      <a:pt x="1975" y="4855"/>
                    </a:lnTo>
                    <a:lnTo>
                      <a:pt x="1895" y="5415"/>
                    </a:lnTo>
                    <a:lnTo>
                      <a:pt x="1841" y="5975"/>
                    </a:lnTo>
                    <a:lnTo>
                      <a:pt x="1788" y="7095"/>
                    </a:lnTo>
                    <a:lnTo>
                      <a:pt x="1761" y="8429"/>
                    </a:lnTo>
                    <a:lnTo>
                      <a:pt x="1735" y="9843"/>
                    </a:lnTo>
                    <a:lnTo>
                      <a:pt x="1761" y="12964"/>
                    </a:lnTo>
                    <a:lnTo>
                      <a:pt x="1815" y="16245"/>
                    </a:lnTo>
                    <a:lnTo>
                      <a:pt x="1895" y="19552"/>
                    </a:lnTo>
                    <a:lnTo>
                      <a:pt x="1975" y="22700"/>
                    </a:lnTo>
                    <a:lnTo>
                      <a:pt x="2001" y="25500"/>
                    </a:lnTo>
                    <a:lnTo>
                      <a:pt x="1975" y="26727"/>
                    </a:lnTo>
                    <a:lnTo>
                      <a:pt x="1948" y="27821"/>
                    </a:lnTo>
                    <a:lnTo>
                      <a:pt x="1868" y="28701"/>
                    </a:lnTo>
                    <a:lnTo>
                      <a:pt x="1788" y="29421"/>
                    </a:lnTo>
                    <a:lnTo>
                      <a:pt x="1574" y="30755"/>
                    </a:lnTo>
                    <a:lnTo>
                      <a:pt x="1361" y="32142"/>
                    </a:lnTo>
                    <a:lnTo>
                      <a:pt x="1201" y="33583"/>
                    </a:lnTo>
                    <a:lnTo>
                      <a:pt x="1041" y="35076"/>
                    </a:lnTo>
                    <a:lnTo>
                      <a:pt x="908" y="36597"/>
                    </a:lnTo>
                    <a:lnTo>
                      <a:pt x="774" y="38170"/>
                    </a:lnTo>
                    <a:lnTo>
                      <a:pt x="561" y="41318"/>
                    </a:lnTo>
                    <a:lnTo>
                      <a:pt x="401" y="44439"/>
                    </a:lnTo>
                    <a:lnTo>
                      <a:pt x="267" y="47506"/>
                    </a:lnTo>
                    <a:lnTo>
                      <a:pt x="134" y="50387"/>
                    </a:lnTo>
                    <a:lnTo>
                      <a:pt x="1" y="53028"/>
                    </a:lnTo>
                    <a:lnTo>
                      <a:pt x="1" y="53161"/>
                    </a:lnTo>
                    <a:lnTo>
                      <a:pt x="1" y="53295"/>
                    </a:lnTo>
                    <a:lnTo>
                      <a:pt x="54" y="53428"/>
                    </a:lnTo>
                    <a:lnTo>
                      <a:pt x="107" y="53561"/>
                    </a:lnTo>
                    <a:lnTo>
                      <a:pt x="241" y="53828"/>
                    </a:lnTo>
                    <a:lnTo>
                      <a:pt x="454" y="54041"/>
                    </a:lnTo>
                    <a:lnTo>
                      <a:pt x="694" y="54255"/>
                    </a:lnTo>
                    <a:lnTo>
                      <a:pt x="961" y="54442"/>
                    </a:lnTo>
                    <a:lnTo>
                      <a:pt x="1254" y="54602"/>
                    </a:lnTo>
                    <a:lnTo>
                      <a:pt x="1548" y="54735"/>
                    </a:lnTo>
                    <a:lnTo>
                      <a:pt x="1868" y="54815"/>
                    </a:lnTo>
                    <a:lnTo>
                      <a:pt x="2161" y="54868"/>
                    </a:lnTo>
                    <a:lnTo>
                      <a:pt x="2455" y="54868"/>
                    </a:lnTo>
                    <a:lnTo>
                      <a:pt x="2721" y="54842"/>
                    </a:lnTo>
                    <a:lnTo>
                      <a:pt x="2962" y="54762"/>
                    </a:lnTo>
                    <a:lnTo>
                      <a:pt x="3068" y="54682"/>
                    </a:lnTo>
                    <a:lnTo>
                      <a:pt x="3148" y="54628"/>
                    </a:lnTo>
                    <a:lnTo>
                      <a:pt x="3228" y="54522"/>
                    </a:lnTo>
                    <a:lnTo>
                      <a:pt x="3282" y="54415"/>
                    </a:lnTo>
                    <a:lnTo>
                      <a:pt x="3335" y="54308"/>
                    </a:lnTo>
                    <a:lnTo>
                      <a:pt x="3362" y="54175"/>
                    </a:lnTo>
                    <a:lnTo>
                      <a:pt x="3575" y="52894"/>
                    </a:lnTo>
                    <a:lnTo>
                      <a:pt x="3842" y="51534"/>
                    </a:lnTo>
                    <a:lnTo>
                      <a:pt x="4162" y="50120"/>
                    </a:lnTo>
                    <a:lnTo>
                      <a:pt x="4482" y="48653"/>
                    </a:lnTo>
                    <a:lnTo>
                      <a:pt x="5229" y="45586"/>
                    </a:lnTo>
                    <a:lnTo>
                      <a:pt x="6029" y="42465"/>
                    </a:lnTo>
                    <a:lnTo>
                      <a:pt x="7656" y="36330"/>
                    </a:lnTo>
                    <a:lnTo>
                      <a:pt x="8376" y="33503"/>
                    </a:lnTo>
                    <a:lnTo>
                      <a:pt x="8670" y="32169"/>
                    </a:lnTo>
                    <a:lnTo>
                      <a:pt x="8963" y="30915"/>
                    </a:lnTo>
                    <a:lnTo>
                      <a:pt x="9257" y="29448"/>
                    </a:lnTo>
                    <a:lnTo>
                      <a:pt x="9523" y="27954"/>
                    </a:lnTo>
                    <a:lnTo>
                      <a:pt x="9763" y="26434"/>
                    </a:lnTo>
                    <a:lnTo>
                      <a:pt x="9950" y="24887"/>
                    </a:lnTo>
                    <a:lnTo>
                      <a:pt x="10137" y="23313"/>
                    </a:lnTo>
                    <a:lnTo>
                      <a:pt x="10324" y="21713"/>
                    </a:lnTo>
                    <a:lnTo>
                      <a:pt x="10644" y="18512"/>
                    </a:lnTo>
                    <a:lnTo>
                      <a:pt x="10937" y="15311"/>
                    </a:lnTo>
                    <a:lnTo>
                      <a:pt x="11257" y="12137"/>
                    </a:lnTo>
                    <a:lnTo>
                      <a:pt x="11444" y="10590"/>
                    </a:lnTo>
                    <a:lnTo>
                      <a:pt x="11657" y="9043"/>
                    </a:lnTo>
                    <a:lnTo>
                      <a:pt x="11871" y="7549"/>
                    </a:lnTo>
                    <a:lnTo>
                      <a:pt x="12111" y="6055"/>
                    </a:lnTo>
                    <a:lnTo>
                      <a:pt x="12164" y="5735"/>
                    </a:lnTo>
                    <a:lnTo>
                      <a:pt x="12191" y="5388"/>
                    </a:lnTo>
                    <a:lnTo>
                      <a:pt x="12191" y="5068"/>
                    </a:lnTo>
                    <a:lnTo>
                      <a:pt x="12164" y="4748"/>
                    </a:lnTo>
                    <a:lnTo>
                      <a:pt x="12137" y="4428"/>
                    </a:lnTo>
                    <a:lnTo>
                      <a:pt x="12084" y="4108"/>
                    </a:lnTo>
                    <a:lnTo>
                      <a:pt x="12004" y="3788"/>
                    </a:lnTo>
                    <a:lnTo>
                      <a:pt x="11897" y="3494"/>
                    </a:lnTo>
                    <a:lnTo>
                      <a:pt x="11791" y="3201"/>
                    </a:lnTo>
                    <a:lnTo>
                      <a:pt x="11657" y="2934"/>
                    </a:lnTo>
                    <a:lnTo>
                      <a:pt x="11497" y="2641"/>
                    </a:lnTo>
                    <a:lnTo>
                      <a:pt x="11337" y="2374"/>
                    </a:lnTo>
                    <a:lnTo>
                      <a:pt x="11177" y="2134"/>
                    </a:lnTo>
                    <a:lnTo>
                      <a:pt x="10964" y="1894"/>
                    </a:lnTo>
                    <a:lnTo>
                      <a:pt x="10777" y="1654"/>
                    </a:lnTo>
                    <a:lnTo>
                      <a:pt x="10537" y="1441"/>
                    </a:lnTo>
                    <a:lnTo>
                      <a:pt x="10324" y="1227"/>
                    </a:lnTo>
                    <a:lnTo>
                      <a:pt x="10083" y="1040"/>
                    </a:lnTo>
                    <a:lnTo>
                      <a:pt x="9817" y="854"/>
                    </a:lnTo>
                    <a:lnTo>
                      <a:pt x="9550" y="694"/>
                    </a:lnTo>
                    <a:lnTo>
                      <a:pt x="9283" y="560"/>
                    </a:lnTo>
                    <a:lnTo>
                      <a:pt x="9016" y="427"/>
                    </a:lnTo>
                    <a:lnTo>
                      <a:pt x="8723" y="294"/>
                    </a:lnTo>
                    <a:lnTo>
                      <a:pt x="8430" y="214"/>
                    </a:lnTo>
                    <a:lnTo>
                      <a:pt x="8110" y="134"/>
                    </a:lnTo>
                    <a:lnTo>
                      <a:pt x="7789" y="80"/>
                    </a:lnTo>
                    <a:lnTo>
                      <a:pt x="7496" y="27"/>
                    </a:lnTo>
                    <a:lnTo>
                      <a:pt x="7176" y="0"/>
                    </a:lnTo>
                    <a:close/>
                  </a:path>
                </a:pathLst>
              </a:cu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54" name="Google Shape;854;p16"/>
              <p:cNvSpPr/>
              <p:nvPr/>
            </p:nvSpPr>
            <p:spPr>
              <a:xfrm>
                <a:off x="6508706" y="7076969"/>
                <a:ext cx="161522" cy="52206"/>
              </a:xfrm>
              <a:custGeom>
                <a:avLst/>
                <a:gdLst/>
                <a:ahLst/>
                <a:cxnLst/>
                <a:rect l="l" t="t" r="r" b="b"/>
                <a:pathLst>
                  <a:path w="12218" h="3949" extrusionOk="0">
                    <a:moveTo>
                      <a:pt x="508" y="1"/>
                    </a:moveTo>
                    <a:lnTo>
                      <a:pt x="321" y="694"/>
                    </a:lnTo>
                    <a:lnTo>
                      <a:pt x="188" y="1308"/>
                    </a:lnTo>
                    <a:lnTo>
                      <a:pt x="81" y="1841"/>
                    </a:lnTo>
                    <a:lnTo>
                      <a:pt x="27" y="2295"/>
                    </a:lnTo>
                    <a:lnTo>
                      <a:pt x="1" y="2668"/>
                    </a:lnTo>
                    <a:lnTo>
                      <a:pt x="1" y="2988"/>
                    </a:lnTo>
                    <a:lnTo>
                      <a:pt x="27" y="3255"/>
                    </a:lnTo>
                    <a:lnTo>
                      <a:pt x="81" y="3468"/>
                    </a:lnTo>
                    <a:lnTo>
                      <a:pt x="134" y="3628"/>
                    </a:lnTo>
                    <a:lnTo>
                      <a:pt x="214" y="3735"/>
                    </a:lnTo>
                    <a:lnTo>
                      <a:pt x="268" y="3842"/>
                    </a:lnTo>
                    <a:lnTo>
                      <a:pt x="348" y="3895"/>
                    </a:lnTo>
                    <a:lnTo>
                      <a:pt x="454" y="3949"/>
                    </a:lnTo>
                    <a:lnTo>
                      <a:pt x="12191" y="3949"/>
                    </a:lnTo>
                    <a:lnTo>
                      <a:pt x="12191" y="3895"/>
                    </a:lnTo>
                    <a:lnTo>
                      <a:pt x="12217" y="3682"/>
                    </a:lnTo>
                    <a:lnTo>
                      <a:pt x="12191" y="3388"/>
                    </a:lnTo>
                    <a:lnTo>
                      <a:pt x="12164" y="3228"/>
                    </a:lnTo>
                    <a:lnTo>
                      <a:pt x="12084" y="3042"/>
                    </a:lnTo>
                    <a:lnTo>
                      <a:pt x="12004" y="2882"/>
                    </a:lnTo>
                    <a:lnTo>
                      <a:pt x="11871" y="2695"/>
                    </a:lnTo>
                    <a:lnTo>
                      <a:pt x="11711" y="2535"/>
                    </a:lnTo>
                    <a:lnTo>
                      <a:pt x="11471" y="2375"/>
                    </a:lnTo>
                    <a:lnTo>
                      <a:pt x="11204" y="2241"/>
                    </a:lnTo>
                    <a:lnTo>
                      <a:pt x="10884" y="2135"/>
                    </a:lnTo>
                    <a:lnTo>
                      <a:pt x="10510" y="2028"/>
                    </a:lnTo>
                    <a:lnTo>
                      <a:pt x="10030" y="1975"/>
                    </a:lnTo>
                    <a:lnTo>
                      <a:pt x="9710" y="1921"/>
                    </a:lnTo>
                    <a:lnTo>
                      <a:pt x="9310" y="1841"/>
                    </a:lnTo>
                    <a:lnTo>
                      <a:pt x="8883" y="1735"/>
                    </a:lnTo>
                    <a:lnTo>
                      <a:pt x="8456" y="1601"/>
                    </a:lnTo>
                    <a:lnTo>
                      <a:pt x="7523" y="1281"/>
                    </a:lnTo>
                    <a:lnTo>
                      <a:pt x="6589" y="934"/>
                    </a:lnTo>
                    <a:lnTo>
                      <a:pt x="5762" y="588"/>
                    </a:lnTo>
                    <a:lnTo>
                      <a:pt x="5069" y="268"/>
                    </a:lnTo>
                    <a:lnTo>
                      <a:pt x="4429" y="1"/>
                    </a:lnTo>
                    <a:close/>
                  </a:path>
                </a:pathLst>
              </a:custGeom>
              <a:solidFill>
                <a:srgbClr val="0C2D48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55" name="Google Shape;855;p16"/>
              <p:cNvSpPr/>
              <p:nvPr/>
            </p:nvSpPr>
            <p:spPr>
              <a:xfrm>
                <a:off x="6267845" y="7077326"/>
                <a:ext cx="113203" cy="52549"/>
              </a:xfrm>
              <a:custGeom>
                <a:avLst/>
                <a:gdLst/>
                <a:ahLst/>
                <a:cxnLst/>
                <a:rect l="l" t="t" r="r" b="b"/>
                <a:pathLst>
                  <a:path w="8563" h="3975" extrusionOk="0">
                    <a:moveTo>
                      <a:pt x="507" y="0"/>
                    </a:moveTo>
                    <a:lnTo>
                      <a:pt x="321" y="534"/>
                    </a:lnTo>
                    <a:lnTo>
                      <a:pt x="161" y="1041"/>
                    </a:lnTo>
                    <a:lnTo>
                      <a:pt x="81" y="1494"/>
                    </a:lnTo>
                    <a:lnTo>
                      <a:pt x="27" y="1894"/>
                    </a:lnTo>
                    <a:lnTo>
                      <a:pt x="1" y="2268"/>
                    </a:lnTo>
                    <a:lnTo>
                      <a:pt x="1" y="2588"/>
                    </a:lnTo>
                    <a:lnTo>
                      <a:pt x="27" y="2881"/>
                    </a:lnTo>
                    <a:lnTo>
                      <a:pt x="81" y="3121"/>
                    </a:lnTo>
                    <a:lnTo>
                      <a:pt x="134" y="3335"/>
                    </a:lnTo>
                    <a:lnTo>
                      <a:pt x="187" y="3495"/>
                    </a:lnTo>
                    <a:lnTo>
                      <a:pt x="347" y="3761"/>
                    </a:lnTo>
                    <a:lnTo>
                      <a:pt x="454" y="3895"/>
                    </a:lnTo>
                    <a:lnTo>
                      <a:pt x="507" y="3948"/>
                    </a:lnTo>
                    <a:lnTo>
                      <a:pt x="8536" y="3975"/>
                    </a:lnTo>
                    <a:lnTo>
                      <a:pt x="8563" y="3895"/>
                    </a:lnTo>
                    <a:lnTo>
                      <a:pt x="8563" y="3655"/>
                    </a:lnTo>
                    <a:lnTo>
                      <a:pt x="8563" y="3361"/>
                    </a:lnTo>
                    <a:lnTo>
                      <a:pt x="8510" y="3175"/>
                    </a:lnTo>
                    <a:lnTo>
                      <a:pt x="8456" y="2988"/>
                    </a:lnTo>
                    <a:lnTo>
                      <a:pt x="8349" y="2828"/>
                    </a:lnTo>
                    <a:lnTo>
                      <a:pt x="8216" y="2641"/>
                    </a:lnTo>
                    <a:lnTo>
                      <a:pt x="8056" y="2481"/>
                    </a:lnTo>
                    <a:lnTo>
                      <a:pt x="7843" y="2321"/>
                    </a:lnTo>
                    <a:lnTo>
                      <a:pt x="7549" y="2188"/>
                    </a:lnTo>
                    <a:lnTo>
                      <a:pt x="7229" y="2081"/>
                    </a:lnTo>
                    <a:lnTo>
                      <a:pt x="6829" y="2028"/>
                    </a:lnTo>
                    <a:lnTo>
                      <a:pt x="6376" y="1974"/>
                    </a:lnTo>
                    <a:lnTo>
                      <a:pt x="6269" y="1974"/>
                    </a:lnTo>
                    <a:lnTo>
                      <a:pt x="6136" y="1894"/>
                    </a:lnTo>
                    <a:lnTo>
                      <a:pt x="5842" y="1681"/>
                    </a:lnTo>
                    <a:lnTo>
                      <a:pt x="5469" y="1361"/>
                    </a:lnTo>
                    <a:lnTo>
                      <a:pt x="5095" y="987"/>
                    </a:lnTo>
                    <a:lnTo>
                      <a:pt x="4428" y="294"/>
                    </a:lnTo>
                    <a:lnTo>
                      <a:pt x="4135" y="0"/>
                    </a:lnTo>
                    <a:close/>
                  </a:path>
                </a:pathLst>
              </a:custGeom>
              <a:solidFill>
                <a:srgbClr val="0C2D48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56" name="Google Shape;856;p16"/>
              <p:cNvSpPr/>
              <p:nvPr/>
            </p:nvSpPr>
            <p:spPr>
              <a:xfrm>
                <a:off x="6296415" y="5992192"/>
                <a:ext cx="244028" cy="458787"/>
              </a:xfrm>
              <a:custGeom>
                <a:avLst/>
                <a:gdLst/>
                <a:ahLst/>
                <a:cxnLst/>
                <a:rect l="l" t="t" r="r" b="b"/>
                <a:pathLst>
                  <a:path w="18459" h="34704" extrusionOk="0">
                    <a:moveTo>
                      <a:pt x="6855" y="1"/>
                    </a:moveTo>
                    <a:lnTo>
                      <a:pt x="6055" y="54"/>
                    </a:lnTo>
                    <a:lnTo>
                      <a:pt x="5308" y="134"/>
                    </a:lnTo>
                    <a:lnTo>
                      <a:pt x="4615" y="294"/>
                    </a:lnTo>
                    <a:lnTo>
                      <a:pt x="4001" y="481"/>
                    </a:lnTo>
                    <a:lnTo>
                      <a:pt x="3414" y="694"/>
                    </a:lnTo>
                    <a:lnTo>
                      <a:pt x="2908" y="961"/>
                    </a:lnTo>
                    <a:lnTo>
                      <a:pt x="2454" y="1255"/>
                    </a:lnTo>
                    <a:lnTo>
                      <a:pt x="2027" y="1601"/>
                    </a:lnTo>
                    <a:lnTo>
                      <a:pt x="1654" y="1975"/>
                    </a:lnTo>
                    <a:lnTo>
                      <a:pt x="1334" y="2375"/>
                    </a:lnTo>
                    <a:lnTo>
                      <a:pt x="1067" y="2802"/>
                    </a:lnTo>
                    <a:lnTo>
                      <a:pt x="827" y="3255"/>
                    </a:lnTo>
                    <a:lnTo>
                      <a:pt x="614" y="3709"/>
                    </a:lnTo>
                    <a:lnTo>
                      <a:pt x="454" y="4215"/>
                    </a:lnTo>
                    <a:lnTo>
                      <a:pt x="320" y="4722"/>
                    </a:lnTo>
                    <a:lnTo>
                      <a:pt x="187" y="5229"/>
                    </a:lnTo>
                    <a:lnTo>
                      <a:pt x="107" y="5763"/>
                    </a:lnTo>
                    <a:lnTo>
                      <a:pt x="53" y="6323"/>
                    </a:lnTo>
                    <a:lnTo>
                      <a:pt x="27" y="6856"/>
                    </a:lnTo>
                    <a:lnTo>
                      <a:pt x="0" y="7416"/>
                    </a:lnTo>
                    <a:lnTo>
                      <a:pt x="27" y="8537"/>
                    </a:lnTo>
                    <a:lnTo>
                      <a:pt x="107" y="9630"/>
                    </a:lnTo>
                    <a:lnTo>
                      <a:pt x="187" y="10697"/>
                    </a:lnTo>
                    <a:lnTo>
                      <a:pt x="400" y="12671"/>
                    </a:lnTo>
                    <a:lnTo>
                      <a:pt x="507" y="13338"/>
                    </a:lnTo>
                    <a:lnTo>
                      <a:pt x="640" y="14245"/>
                    </a:lnTo>
                    <a:lnTo>
                      <a:pt x="800" y="15418"/>
                    </a:lnTo>
                    <a:lnTo>
                      <a:pt x="960" y="16912"/>
                    </a:lnTo>
                    <a:lnTo>
                      <a:pt x="1040" y="17792"/>
                    </a:lnTo>
                    <a:lnTo>
                      <a:pt x="1094" y="18753"/>
                    </a:lnTo>
                    <a:lnTo>
                      <a:pt x="1147" y="19820"/>
                    </a:lnTo>
                    <a:lnTo>
                      <a:pt x="1200" y="20993"/>
                    </a:lnTo>
                    <a:lnTo>
                      <a:pt x="1200" y="22274"/>
                    </a:lnTo>
                    <a:lnTo>
                      <a:pt x="1200" y="23687"/>
                    </a:lnTo>
                    <a:lnTo>
                      <a:pt x="1174" y="25208"/>
                    </a:lnTo>
                    <a:lnTo>
                      <a:pt x="1147" y="26835"/>
                    </a:lnTo>
                    <a:lnTo>
                      <a:pt x="1094" y="27555"/>
                    </a:lnTo>
                    <a:lnTo>
                      <a:pt x="1040" y="28329"/>
                    </a:lnTo>
                    <a:lnTo>
                      <a:pt x="854" y="29982"/>
                    </a:lnTo>
                    <a:lnTo>
                      <a:pt x="587" y="31850"/>
                    </a:lnTo>
                    <a:lnTo>
                      <a:pt x="267" y="33957"/>
                    </a:lnTo>
                    <a:lnTo>
                      <a:pt x="1200" y="34063"/>
                    </a:lnTo>
                    <a:lnTo>
                      <a:pt x="3548" y="34330"/>
                    </a:lnTo>
                    <a:lnTo>
                      <a:pt x="5015" y="34490"/>
                    </a:lnTo>
                    <a:lnTo>
                      <a:pt x="6562" y="34597"/>
                    </a:lnTo>
                    <a:lnTo>
                      <a:pt x="8109" y="34677"/>
                    </a:lnTo>
                    <a:lnTo>
                      <a:pt x="8856" y="34704"/>
                    </a:lnTo>
                    <a:lnTo>
                      <a:pt x="10936" y="34704"/>
                    </a:lnTo>
                    <a:lnTo>
                      <a:pt x="12377" y="34650"/>
                    </a:lnTo>
                    <a:lnTo>
                      <a:pt x="15044" y="34570"/>
                    </a:lnTo>
                    <a:lnTo>
                      <a:pt x="17845" y="34437"/>
                    </a:lnTo>
                    <a:lnTo>
                      <a:pt x="17818" y="34090"/>
                    </a:lnTo>
                    <a:lnTo>
                      <a:pt x="17685" y="33050"/>
                    </a:lnTo>
                    <a:lnTo>
                      <a:pt x="17552" y="31396"/>
                    </a:lnTo>
                    <a:lnTo>
                      <a:pt x="17498" y="30329"/>
                    </a:lnTo>
                    <a:lnTo>
                      <a:pt x="17418" y="29129"/>
                    </a:lnTo>
                    <a:lnTo>
                      <a:pt x="17391" y="27768"/>
                    </a:lnTo>
                    <a:lnTo>
                      <a:pt x="17365" y="26275"/>
                    </a:lnTo>
                    <a:lnTo>
                      <a:pt x="17365" y="24674"/>
                    </a:lnTo>
                    <a:lnTo>
                      <a:pt x="17391" y="22914"/>
                    </a:lnTo>
                    <a:lnTo>
                      <a:pt x="17445" y="21047"/>
                    </a:lnTo>
                    <a:lnTo>
                      <a:pt x="17552" y="19073"/>
                    </a:lnTo>
                    <a:lnTo>
                      <a:pt x="17712" y="16966"/>
                    </a:lnTo>
                    <a:lnTo>
                      <a:pt x="17925" y="14752"/>
                    </a:lnTo>
                    <a:lnTo>
                      <a:pt x="18032" y="13871"/>
                    </a:lnTo>
                    <a:lnTo>
                      <a:pt x="18165" y="12884"/>
                    </a:lnTo>
                    <a:lnTo>
                      <a:pt x="18298" y="11817"/>
                    </a:lnTo>
                    <a:lnTo>
                      <a:pt x="18405" y="10724"/>
                    </a:lnTo>
                    <a:lnTo>
                      <a:pt x="18432" y="10137"/>
                    </a:lnTo>
                    <a:lnTo>
                      <a:pt x="18458" y="9577"/>
                    </a:lnTo>
                    <a:lnTo>
                      <a:pt x="18458" y="8990"/>
                    </a:lnTo>
                    <a:lnTo>
                      <a:pt x="18432" y="8403"/>
                    </a:lnTo>
                    <a:lnTo>
                      <a:pt x="18405" y="7843"/>
                    </a:lnTo>
                    <a:lnTo>
                      <a:pt x="18325" y="7256"/>
                    </a:lnTo>
                    <a:lnTo>
                      <a:pt x="18218" y="6696"/>
                    </a:lnTo>
                    <a:lnTo>
                      <a:pt x="18085" y="6136"/>
                    </a:lnTo>
                    <a:lnTo>
                      <a:pt x="17925" y="5576"/>
                    </a:lnTo>
                    <a:lnTo>
                      <a:pt x="17712" y="5042"/>
                    </a:lnTo>
                    <a:lnTo>
                      <a:pt x="17445" y="4509"/>
                    </a:lnTo>
                    <a:lnTo>
                      <a:pt x="17125" y="4002"/>
                    </a:lnTo>
                    <a:lnTo>
                      <a:pt x="16778" y="3495"/>
                    </a:lnTo>
                    <a:lnTo>
                      <a:pt x="16378" y="3042"/>
                    </a:lnTo>
                    <a:lnTo>
                      <a:pt x="15898" y="2588"/>
                    </a:lnTo>
                    <a:lnTo>
                      <a:pt x="15391" y="2188"/>
                    </a:lnTo>
                    <a:lnTo>
                      <a:pt x="14804" y="1788"/>
                    </a:lnTo>
                    <a:lnTo>
                      <a:pt x="14137" y="1441"/>
                    </a:lnTo>
                    <a:lnTo>
                      <a:pt x="13417" y="1095"/>
                    </a:lnTo>
                    <a:lnTo>
                      <a:pt x="12644" y="801"/>
                    </a:lnTo>
                    <a:lnTo>
                      <a:pt x="11763" y="561"/>
                    </a:lnTo>
                    <a:lnTo>
                      <a:pt x="10830" y="348"/>
                    </a:lnTo>
                    <a:lnTo>
                      <a:pt x="9789" y="188"/>
                    </a:lnTo>
                    <a:lnTo>
                      <a:pt x="8669" y="54"/>
                    </a:lnTo>
                    <a:lnTo>
                      <a:pt x="7736" y="1"/>
                    </a:lnTo>
                    <a:close/>
                  </a:path>
                </a:pathLst>
              </a:custGeom>
              <a:solidFill>
                <a:srgbClr val="46464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57" name="Google Shape;857;p16"/>
              <p:cNvSpPr/>
              <p:nvPr/>
            </p:nvSpPr>
            <p:spPr>
              <a:xfrm>
                <a:off x="6438885" y="6007013"/>
                <a:ext cx="398477" cy="124493"/>
              </a:xfrm>
              <a:custGeom>
                <a:avLst/>
                <a:gdLst/>
                <a:ahLst/>
                <a:cxnLst/>
                <a:rect l="l" t="t" r="r" b="b"/>
                <a:pathLst>
                  <a:path w="30142" h="9417" extrusionOk="0">
                    <a:moveTo>
                      <a:pt x="2001" y="0"/>
                    </a:moveTo>
                    <a:lnTo>
                      <a:pt x="1814" y="27"/>
                    </a:lnTo>
                    <a:lnTo>
                      <a:pt x="1654" y="80"/>
                    </a:lnTo>
                    <a:lnTo>
                      <a:pt x="1494" y="134"/>
                    </a:lnTo>
                    <a:lnTo>
                      <a:pt x="1334" y="214"/>
                    </a:lnTo>
                    <a:lnTo>
                      <a:pt x="1201" y="294"/>
                    </a:lnTo>
                    <a:lnTo>
                      <a:pt x="1067" y="400"/>
                    </a:lnTo>
                    <a:lnTo>
                      <a:pt x="827" y="640"/>
                    </a:lnTo>
                    <a:lnTo>
                      <a:pt x="614" y="934"/>
                    </a:lnTo>
                    <a:lnTo>
                      <a:pt x="454" y="1254"/>
                    </a:lnTo>
                    <a:lnTo>
                      <a:pt x="294" y="1627"/>
                    </a:lnTo>
                    <a:lnTo>
                      <a:pt x="187" y="2027"/>
                    </a:lnTo>
                    <a:lnTo>
                      <a:pt x="107" y="2454"/>
                    </a:lnTo>
                    <a:lnTo>
                      <a:pt x="54" y="2881"/>
                    </a:lnTo>
                    <a:lnTo>
                      <a:pt x="0" y="3334"/>
                    </a:lnTo>
                    <a:lnTo>
                      <a:pt x="0" y="3788"/>
                    </a:lnTo>
                    <a:lnTo>
                      <a:pt x="27" y="4268"/>
                    </a:lnTo>
                    <a:lnTo>
                      <a:pt x="80" y="4722"/>
                    </a:lnTo>
                    <a:lnTo>
                      <a:pt x="134" y="5042"/>
                    </a:lnTo>
                    <a:lnTo>
                      <a:pt x="214" y="5362"/>
                    </a:lnTo>
                    <a:lnTo>
                      <a:pt x="320" y="5628"/>
                    </a:lnTo>
                    <a:lnTo>
                      <a:pt x="454" y="5895"/>
                    </a:lnTo>
                    <a:lnTo>
                      <a:pt x="614" y="6135"/>
                    </a:lnTo>
                    <a:lnTo>
                      <a:pt x="774" y="6375"/>
                    </a:lnTo>
                    <a:lnTo>
                      <a:pt x="987" y="6562"/>
                    </a:lnTo>
                    <a:lnTo>
                      <a:pt x="1201" y="6749"/>
                    </a:lnTo>
                    <a:lnTo>
                      <a:pt x="1441" y="6935"/>
                    </a:lnTo>
                    <a:lnTo>
                      <a:pt x="1681" y="7096"/>
                    </a:lnTo>
                    <a:lnTo>
                      <a:pt x="1948" y="7229"/>
                    </a:lnTo>
                    <a:lnTo>
                      <a:pt x="2214" y="7362"/>
                    </a:lnTo>
                    <a:lnTo>
                      <a:pt x="2801" y="7602"/>
                    </a:lnTo>
                    <a:lnTo>
                      <a:pt x="3388" y="7762"/>
                    </a:lnTo>
                    <a:lnTo>
                      <a:pt x="4588" y="8056"/>
                    </a:lnTo>
                    <a:lnTo>
                      <a:pt x="5895" y="8349"/>
                    </a:lnTo>
                    <a:lnTo>
                      <a:pt x="7362" y="8643"/>
                    </a:lnTo>
                    <a:lnTo>
                      <a:pt x="8909" y="8883"/>
                    </a:lnTo>
                    <a:lnTo>
                      <a:pt x="10590" y="9096"/>
                    </a:lnTo>
                    <a:lnTo>
                      <a:pt x="12324" y="9256"/>
                    </a:lnTo>
                    <a:lnTo>
                      <a:pt x="13231" y="9336"/>
                    </a:lnTo>
                    <a:lnTo>
                      <a:pt x="14164" y="9363"/>
                    </a:lnTo>
                    <a:lnTo>
                      <a:pt x="15098" y="9389"/>
                    </a:lnTo>
                    <a:lnTo>
                      <a:pt x="16031" y="9416"/>
                    </a:lnTo>
                    <a:lnTo>
                      <a:pt x="16618" y="9389"/>
                    </a:lnTo>
                    <a:lnTo>
                      <a:pt x="17205" y="9309"/>
                    </a:lnTo>
                    <a:lnTo>
                      <a:pt x="17792" y="9203"/>
                    </a:lnTo>
                    <a:lnTo>
                      <a:pt x="18432" y="9016"/>
                    </a:lnTo>
                    <a:lnTo>
                      <a:pt x="19099" y="8803"/>
                    </a:lnTo>
                    <a:lnTo>
                      <a:pt x="19792" y="8536"/>
                    </a:lnTo>
                    <a:lnTo>
                      <a:pt x="20539" y="8216"/>
                    </a:lnTo>
                    <a:lnTo>
                      <a:pt x="21339" y="7869"/>
                    </a:lnTo>
                    <a:lnTo>
                      <a:pt x="22193" y="7442"/>
                    </a:lnTo>
                    <a:lnTo>
                      <a:pt x="23100" y="6989"/>
                    </a:lnTo>
                    <a:lnTo>
                      <a:pt x="25074" y="5895"/>
                    </a:lnTo>
                    <a:lnTo>
                      <a:pt x="27368" y="4615"/>
                    </a:lnTo>
                    <a:lnTo>
                      <a:pt x="29982" y="3121"/>
                    </a:lnTo>
                    <a:lnTo>
                      <a:pt x="30062" y="3068"/>
                    </a:lnTo>
                    <a:lnTo>
                      <a:pt x="30115" y="2934"/>
                    </a:lnTo>
                    <a:lnTo>
                      <a:pt x="30142" y="2774"/>
                    </a:lnTo>
                    <a:lnTo>
                      <a:pt x="30142" y="2588"/>
                    </a:lnTo>
                    <a:lnTo>
                      <a:pt x="30142" y="2374"/>
                    </a:lnTo>
                    <a:lnTo>
                      <a:pt x="30088" y="2134"/>
                    </a:lnTo>
                    <a:lnTo>
                      <a:pt x="30035" y="1921"/>
                    </a:lnTo>
                    <a:lnTo>
                      <a:pt x="29928" y="1681"/>
                    </a:lnTo>
                    <a:lnTo>
                      <a:pt x="29822" y="1441"/>
                    </a:lnTo>
                    <a:lnTo>
                      <a:pt x="29662" y="1254"/>
                    </a:lnTo>
                    <a:lnTo>
                      <a:pt x="29502" y="1067"/>
                    </a:lnTo>
                    <a:lnTo>
                      <a:pt x="29288" y="907"/>
                    </a:lnTo>
                    <a:lnTo>
                      <a:pt x="29048" y="827"/>
                    </a:lnTo>
                    <a:lnTo>
                      <a:pt x="28781" y="774"/>
                    </a:lnTo>
                    <a:lnTo>
                      <a:pt x="28488" y="774"/>
                    </a:lnTo>
                    <a:lnTo>
                      <a:pt x="28168" y="827"/>
                    </a:lnTo>
                    <a:lnTo>
                      <a:pt x="26621" y="1334"/>
                    </a:lnTo>
                    <a:lnTo>
                      <a:pt x="24914" y="1921"/>
                    </a:lnTo>
                    <a:lnTo>
                      <a:pt x="21393" y="3174"/>
                    </a:lnTo>
                    <a:lnTo>
                      <a:pt x="19766" y="3708"/>
                    </a:lnTo>
                    <a:lnTo>
                      <a:pt x="19019" y="3948"/>
                    </a:lnTo>
                    <a:lnTo>
                      <a:pt x="18325" y="4135"/>
                    </a:lnTo>
                    <a:lnTo>
                      <a:pt x="17712" y="4295"/>
                    </a:lnTo>
                    <a:lnTo>
                      <a:pt x="17178" y="4401"/>
                    </a:lnTo>
                    <a:lnTo>
                      <a:pt x="16752" y="4428"/>
                    </a:lnTo>
                    <a:lnTo>
                      <a:pt x="16431" y="4428"/>
                    </a:lnTo>
                    <a:lnTo>
                      <a:pt x="15925" y="4295"/>
                    </a:lnTo>
                    <a:lnTo>
                      <a:pt x="14804" y="4001"/>
                    </a:lnTo>
                    <a:lnTo>
                      <a:pt x="13257" y="3548"/>
                    </a:lnTo>
                    <a:lnTo>
                      <a:pt x="11363" y="2961"/>
                    </a:lnTo>
                    <a:lnTo>
                      <a:pt x="9256" y="2321"/>
                    </a:lnTo>
                    <a:lnTo>
                      <a:pt x="7042" y="1601"/>
                    </a:lnTo>
                    <a:lnTo>
                      <a:pt x="4855" y="854"/>
                    </a:lnTo>
                    <a:lnTo>
                      <a:pt x="2801" y="80"/>
                    </a:lnTo>
                    <a:lnTo>
                      <a:pt x="2588" y="27"/>
                    </a:lnTo>
                    <a:lnTo>
                      <a:pt x="2374" y="0"/>
                    </a:lnTo>
                    <a:close/>
                  </a:path>
                </a:pathLst>
              </a:custGeom>
              <a:solidFill>
                <a:srgbClr val="46464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58" name="Google Shape;858;p16"/>
              <p:cNvSpPr/>
              <p:nvPr/>
            </p:nvSpPr>
            <p:spPr>
              <a:xfrm>
                <a:off x="6432883" y="5883938"/>
                <a:ext cx="23994" cy="37743"/>
              </a:xfrm>
              <a:custGeom>
                <a:avLst/>
                <a:gdLst/>
                <a:ahLst/>
                <a:cxnLst/>
                <a:rect l="l" t="t" r="r" b="b"/>
                <a:pathLst>
                  <a:path w="1815" h="2855" extrusionOk="0">
                    <a:moveTo>
                      <a:pt x="481" y="0"/>
                    </a:moveTo>
                    <a:lnTo>
                      <a:pt x="374" y="53"/>
                    </a:lnTo>
                    <a:lnTo>
                      <a:pt x="294" y="160"/>
                    </a:lnTo>
                    <a:lnTo>
                      <a:pt x="214" y="267"/>
                    </a:lnTo>
                    <a:lnTo>
                      <a:pt x="161" y="427"/>
                    </a:lnTo>
                    <a:lnTo>
                      <a:pt x="81" y="640"/>
                    </a:lnTo>
                    <a:lnTo>
                      <a:pt x="54" y="854"/>
                    </a:lnTo>
                    <a:lnTo>
                      <a:pt x="1" y="1334"/>
                    </a:lnTo>
                    <a:lnTo>
                      <a:pt x="1" y="1574"/>
                    </a:lnTo>
                    <a:lnTo>
                      <a:pt x="1" y="1814"/>
                    </a:lnTo>
                    <a:lnTo>
                      <a:pt x="28" y="2027"/>
                    </a:lnTo>
                    <a:lnTo>
                      <a:pt x="81" y="2267"/>
                    </a:lnTo>
                    <a:lnTo>
                      <a:pt x="161" y="2454"/>
                    </a:lnTo>
                    <a:lnTo>
                      <a:pt x="268" y="2614"/>
                    </a:lnTo>
                    <a:lnTo>
                      <a:pt x="401" y="2747"/>
                    </a:lnTo>
                    <a:lnTo>
                      <a:pt x="561" y="2827"/>
                    </a:lnTo>
                    <a:lnTo>
                      <a:pt x="748" y="2854"/>
                    </a:lnTo>
                    <a:lnTo>
                      <a:pt x="961" y="2827"/>
                    </a:lnTo>
                    <a:lnTo>
                      <a:pt x="1175" y="2747"/>
                    </a:lnTo>
                    <a:lnTo>
                      <a:pt x="1335" y="2667"/>
                    </a:lnTo>
                    <a:lnTo>
                      <a:pt x="1468" y="2534"/>
                    </a:lnTo>
                    <a:lnTo>
                      <a:pt x="1601" y="2374"/>
                    </a:lnTo>
                    <a:lnTo>
                      <a:pt x="1681" y="2214"/>
                    </a:lnTo>
                    <a:lnTo>
                      <a:pt x="1735" y="2027"/>
                    </a:lnTo>
                    <a:lnTo>
                      <a:pt x="1788" y="1841"/>
                    </a:lnTo>
                    <a:lnTo>
                      <a:pt x="1815" y="1654"/>
                    </a:lnTo>
                    <a:lnTo>
                      <a:pt x="1815" y="1280"/>
                    </a:lnTo>
                    <a:lnTo>
                      <a:pt x="1788" y="987"/>
                    </a:lnTo>
                    <a:lnTo>
                      <a:pt x="1735" y="694"/>
                    </a:lnTo>
                    <a:lnTo>
                      <a:pt x="1575" y="534"/>
                    </a:lnTo>
                    <a:lnTo>
                      <a:pt x="1388" y="373"/>
                    </a:lnTo>
                    <a:lnTo>
                      <a:pt x="1175" y="213"/>
                    </a:lnTo>
                    <a:lnTo>
                      <a:pt x="934" y="80"/>
                    </a:lnTo>
                    <a:lnTo>
                      <a:pt x="801" y="27"/>
                    </a:lnTo>
                    <a:lnTo>
                      <a:pt x="694" y="0"/>
                    </a:lnTo>
                    <a:close/>
                  </a:path>
                </a:pathLst>
              </a:custGeom>
              <a:solidFill>
                <a:srgbClr val="E5A78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59" name="Google Shape;859;p16"/>
              <p:cNvSpPr/>
              <p:nvPr/>
            </p:nvSpPr>
            <p:spPr>
              <a:xfrm>
                <a:off x="8279399" y="6630863"/>
                <a:ext cx="226049" cy="285645"/>
              </a:xfrm>
              <a:custGeom>
                <a:avLst/>
                <a:gdLst/>
                <a:ahLst/>
                <a:cxnLst/>
                <a:rect l="l" t="t" r="r" b="b"/>
                <a:pathLst>
                  <a:path w="17099" h="21607" extrusionOk="0">
                    <a:moveTo>
                      <a:pt x="0" y="0"/>
                    </a:moveTo>
                    <a:lnTo>
                      <a:pt x="0" y="21606"/>
                    </a:lnTo>
                    <a:lnTo>
                      <a:pt x="17098" y="21606"/>
                    </a:lnTo>
                    <a:lnTo>
                      <a:pt x="17098" y="0"/>
                    </a:lnTo>
                    <a:close/>
                  </a:path>
                </a:pathLst>
              </a:custGeom>
              <a:solidFill>
                <a:srgbClr val="B67F4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60" name="Google Shape;860;p16"/>
              <p:cNvSpPr/>
              <p:nvPr/>
            </p:nvSpPr>
            <p:spPr>
              <a:xfrm>
                <a:off x="8351334" y="6573378"/>
                <a:ext cx="82532" cy="113560"/>
              </a:xfrm>
              <a:custGeom>
                <a:avLst/>
                <a:gdLst/>
                <a:ahLst/>
                <a:cxnLst/>
                <a:rect l="l" t="t" r="r" b="b"/>
                <a:pathLst>
                  <a:path w="6243" h="8590" extrusionOk="0">
                    <a:moveTo>
                      <a:pt x="3121" y="854"/>
                    </a:moveTo>
                    <a:lnTo>
                      <a:pt x="3308" y="881"/>
                    </a:lnTo>
                    <a:lnTo>
                      <a:pt x="3495" y="961"/>
                    </a:lnTo>
                    <a:lnTo>
                      <a:pt x="3682" y="1094"/>
                    </a:lnTo>
                    <a:lnTo>
                      <a:pt x="3868" y="1281"/>
                    </a:lnTo>
                    <a:lnTo>
                      <a:pt x="4055" y="1494"/>
                    </a:lnTo>
                    <a:lnTo>
                      <a:pt x="4268" y="1761"/>
                    </a:lnTo>
                    <a:lnTo>
                      <a:pt x="4428" y="2054"/>
                    </a:lnTo>
                    <a:lnTo>
                      <a:pt x="4615" y="2374"/>
                    </a:lnTo>
                    <a:lnTo>
                      <a:pt x="4775" y="2748"/>
                    </a:lnTo>
                    <a:lnTo>
                      <a:pt x="4935" y="3121"/>
                    </a:lnTo>
                    <a:lnTo>
                      <a:pt x="5069" y="3521"/>
                    </a:lnTo>
                    <a:lnTo>
                      <a:pt x="5175" y="3948"/>
                    </a:lnTo>
                    <a:lnTo>
                      <a:pt x="5255" y="4375"/>
                    </a:lnTo>
                    <a:lnTo>
                      <a:pt x="5335" y="4828"/>
                    </a:lnTo>
                    <a:lnTo>
                      <a:pt x="5389" y="5282"/>
                    </a:lnTo>
                    <a:lnTo>
                      <a:pt x="5389" y="5735"/>
                    </a:lnTo>
                    <a:lnTo>
                      <a:pt x="5389" y="6029"/>
                    </a:lnTo>
                    <a:lnTo>
                      <a:pt x="5362" y="6296"/>
                    </a:lnTo>
                    <a:lnTo>
                      <a:pt x="5309" y="6536"/>
                    </a:lnTo>
                    <a:lnTo>
                      <a:pt x="5255" y="6749"/>
                    </a:lnTo>
                    <a:lnTo>
                      <a:pt x="5175" y="6936"/>
                    </a:lnTo>
                    <a:lnTo>
                      <a:pt x="5069" y="7122"/>
                    </a:lnTo>
                    <a:lnTo>
                      <a:pt x="4962" y="7256"/>
                    </a:lnTo>
                    <a:lnTo>
                      <a:pt x="4829" y="7362"/>
                    </a:lnTo>
                    <a:lnTo>
                      <a:pt x="4669" y="7469"/>
                    </a:lnTo>
                    <a:lnTo>
                      <a:pt x="4508" y="7549"/>
                    </a:lnTo>
                    <a:lnTo>
                      <a:pt x="4322" y="7603"/>
                    </a:lnTo>
                    <a:lnTo>
                      <a:pt x="4108" y="7656"/>
                    </a:lnTo>
                    <a:lnTo>
                      <a:pt x="3655" y="7709"/>
                    </a:lnTo>
                    <a:lnTo>
                      <a:pt x="3121" y="7736"/>
                    </a:lnTo>
                    <a:lnTo>
                      <a:pt x="2588" y="7709"/>
                    </a:lnTo>
                    <a:lnTo>
                      <a:pt x="2135" y="7656"/>
                    </a:lnTo>
                    <a:lnTo>
                      <a:pt x="1921" y="7603"/>
                    </a:lnTo>
                    <a:lnTo>
                      <a:pt x="1734" y="7549"/>
                    </a:lnTo>
                    <a:lnTo>
                      <a:pt x="1574" y="7469"/>
                    </a:lnTo>
                    <a:lnTo>
                      <a:pt x="1414" y="7362"/>
                    </a:lnTo>
                    <a:lnTo>
                      <a:pt x="1281" y="7256"/>
                    </a:lnTo>
                    <a:lnTo>
                      <a:pt x="1174" y="7122"/>
                    </a:lnTo>
                    <a:lnTo>
                      <a:pt x="1068" y="6936"/>
                    </a:lnTo>
                    <a:lnTo>
                      <a:pt x="988" y="6749"/>
                    </a:lnTo>
                    <a:lnTo>
                      <a:pt x="908" y="6536"/>
                    </a:lnTo>
                    <a:lnTo>
                      <a:pt x="881" y="6296"/>
                    </a:lnTo>
                    <a:lnTo>
                      <a:pt x="854" y="6029"/>
                    </a:lnTo>
                    <a:lnTo>
                      <a:pt x="827" y="5735"/>
                    </a:lnTo>
                    <a:lnTo>
                      <a:pt x="854" y="5282"/>
                    </a:lnTo>
                    <a:lnTo>
                      <a:pt x="908" y="4828"/>
                    </a:lnTo>
                    <a:lnTo>
                      <a:pt x="961" y="4375"/>
                    </a:lnTo>
                    <a:lnTo>
                      <a:pt x="1068" y="3948"/>
                    </a:lnTo>
                    <a:lnTo>
                      <a:pt x="1174" y="3521"/>
                    </a:lnTo>
                    <a:lnTo>
                      <a:pt x="1308" y="3121"/>
                    </a:lnTo>
                    <a:lnTo>
                      <a:pt x="1468" y="2748"/>
                    </a:lnTo>
                    <a:lnTo>
                      <a:pt x="1628" y="2374"/>
                    </a:lnTo>
                    <a:lnTo>
                      <a:pt x="1788" y="2054"/>
                    </a:lnTo>
                    <a:lnTo>
                      <a:pt x="1974" y="1761"/>
                    </a:lnTo>
                    <a:lnTo>
                      <a:pt x="2161" y="1494"/>
                    </a:lnTo>
                    <a:lnTo>
                      <a:pt x="2348" y="1281"/>
                    </a:lnTo>
                    <a:lnTo>
                      <a:pt x="2561" y="1094"/>
                    </a:lnTo>
                    <a:lnTo>
                      <a:pt x="2748" y="961"/>
                    </a:lnTo>
                    <a:lnTo>
                      <a:pt x="2935" y="881"/>
                    </a:lnTo>
                    <a:lnTo>
                      <a:pt x="3121" y="854"/>
                    </a:lnTo>
                    <a:close/>
                    <a:moveTo>
                      <a:pt x="3121" y="1"/>
                    </a:moveTo>
                    <a:lnTo>
                      <a:pt x="2961" y="27"/>
                    </a:lnTo>
                    <a:lnTo>
                      <a:pt x="2775" y="54"/>
                    </a:lnTo>
                    <a:lnTo>
                      <a:pt x="2615" y="81"/>
                    </a:lnTo>
                    <a:lnTo>
                      <a:pt x="2455" y="161"/>
                    </a:lnTo>
                    <a:lnTo>
                      <a:pt x="2161" y="347"/>
                    </a:lnTo>
                    <a:lnTo>
                      <a:pt x="1868" y="587"/>
                    </a:lnTo>
                    <a:lnTo>
                      <a:pt x="1601" y="881"/>
                    </a:lnTo>
                    <a:lnTo>
                      <a:pt x="1334" y="1201"/>
                    </a:lnTo>
                    <a:lnTo>
                      <a:pt x="1094" y="1601"/>
                    </a:lnTo>
                    <a:lnTo>
                      <a:pt x="881" y="2001"/>
                    </a:lnTo>
                    <a:lnTo>
                      <a:pt x="667" y="2455"/>
                    </a:lnTo>
                    <a:lnTo>
                      <a:pt x="507" y="2908"/>
                    </a:lnTo>
                    <a:lnTo>
                      <a:pt x="347" y="3388"/>
                    </a:lnTo>
                    <a:lnTo>
                      <a:pt x="214" y="3868"/>
                    </a:lnTo>
                    <a:lnTo>
                      <a:pt x="134" y="4348"/>
                    </a:lnTo>
                    <a:lnTo>
                      <a:pt x="54" y="4828"/>
                    </a:lnTo>
                    <a:lnTo>
                      <a:pt x="1" y="5282"/>
                    </a:lnTo>
                    <a:lnTo>
                      <a:pt x="1" y="5735"/>
                    </a:lnTo>
                    <a:lnTo>
                      <a:pt x="1" y="6162"/>
                    </a:lnTo>
                    <a:lnTo>
                      <a:pt x="54" y="6562"/>
                    </a:lnTo>
                    <a:lnTo>
                      <a:pt x="161" y="6936"/>
                    </a:lnTo>
                    <a:lnTo>
                      <a:pt x="267" y="7229"/>
                    </a:lnTo>
                    <a:lnTo>
                      <a:pt x="401" y="7496"/>
                    </a:lnTo>
                    <a:lnTo>
                      <a:pt x="587" y="7736"/>
                    </a:lnTo>
                    <a:lnTo>
                      <a:pt x="774" y="7923"/>
                    </a:lnTo>
                    <a:lnTo>
                      <a:pt x="988" y="8109"/>
                    </a:lnTo>
                    <a:lnTo>
                      <a:pt x="1201" y="8243"/>
                    </a:lnTo>
                    <a:lnTo>
                      <a:pt x="1441" y="8349"/>
                    </a:lnTo>
                    <a:lnTo>
                      <a:pt x="1708" y="8429"/>
                    </a:lnTo>
                    <a:lnTo>
                      <a:pt x="1974" y="8483"/>
                    </a:lnTo>
                    <a:lnTo>
                      <a:pt x="2268" y="8536"/>
                    </a:lnTo>
                    <a:lnTo>
                      <a:pt x="2535" y="8563"/>
                    </a:lnTo>
                    <a:lnTo>
                      <a:pt x="3121" y="8589"/>
                    </a:lnTo>
                    <a:lnTo>
                      <a:pt x="3682" y="8563"/>
                    </a:lnTo>
                    <a:lnTo>
                      <a:pt x="3975" y="8536"/>
                    </a:lnTo>
                    <a:lnTo>
                      <a:pt x="4268" y="8483"/>
                    </a:lnTo>
                    <a:lnTo>
                      <a:pt x="4535" y="8429"/>
                    </a:lnTo>
                    <a:lnTo>
                      <a:pt x="4775" y="8349"/>
                    </a:lnTo>
                    <a:lnTo>
                      <a:pt x="5015" y="8243"/>
                    </a:lnTo>
                    <a:lnTo>
                      <a:pt x="5255" y="8109"/>
                    </a:lnTo>
                    <a:lnTo>
                      <a:pt x="5469" y="7923"/>
                    </a:lnTo>
                    <a:lnTo>
                      <a:pt x="5655" y="7736"/>
                    </a:lnTo>
                    <a:lnTo>
                      <a:pt x="5816" y="7496"/>
                    </a:lnTo>
                    <a:lnTo>
                      <a:pt x="5976" y="7229"/>
                    </a:lnTo>
                    <a:lnTo>
                      <a:pt x="6082" y="6936"/>
                    </a:lnTo>
                    <a:lnTo>
                      <a:pt x="6162" y="6562"/>
                    </a:lnTo>
                    <a:lnTo>
                      <a:pt x="6216" y="6162"/>
                    </a:lnTo>
                    <a:lnTo>
                      <a:pt x="6242" y="5735"/>
                    </a:lnTo>
                    <a:lnTo>
                      <a:pt x="6216" y="5282"/>
                    </a:lnTo>
                    <a:lnTo>
                      <a:pt x="6189" y="4828"/>
                    </a:lnTo>
                    <a:lnTo>
                      <a:pt x="6109" y="4348"/>
                    </a:lnTo>
                    <a:lnTo>
                      <a:pt x="6002" y="3868"/>
                    </a:lnTo>
                    <a:lnTo>
                      <a:pt x="5869" y="3388"/>
                    </a:lnTo>
                    <a:lnTo>
                      <a:pt x="5735" y="2908"/>
                    </a:lnTo>
                    <a:lnTo>
                      <a:pt x="5549" y="2455"/>
                    </a:lnTo>
                    <a:lnTo>
                      <a:pt x="5362" y="2001"/>
                    </a:lnTo>
                    <a:lnTo>
                      <a:pt x="5149" y="1601"/>
                    </a:lnTo>
                    <a:lnTo>
                      <a:pt x="4909" y="1201"/>
                    </a:lnTo>
                    <a:lnTo>
                      <a:pt x="4642" y="881"/>
                    </a:lnTo>
                    <a:lnTo>
                      <a:pt x="4375" y="587"/>
                    </a:lnTo>
                    <a:lnTo>
                      <a:pt x="4082" y="347"/>
                    </a:lnTo>
                    <a:lnTo>
                      <a:pt x="3762" y="161"/>
                    </a:lnTo>
                    <a:lnTo>
                      <a:pt x="3602" y="81"/>
                    </a:lnTo>
                    <a:lnTo>
                      <a:pt x="3442" y="54"/>
                    </a:lnTo>
                    <a:lnTo>
                      <a:pt x="3281" y="27"/>
                    </a:lnTo>
                    <a:lnTo>
                      <a:pt x="3121" y="1"/>
                    </a:lnTo>
                    <a:close/>
                  </a:path>
                </a:pathLst>
              </a:custGeom>
              <a:solidFill>
                <a:srgbClr val="B67F4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61" name="Google Shape;861;p16"/>
              <p:cNvSpPr/>
              <p:nvPr/>
            </p:nvSpPr>
            <p:spPr>
              <a:xfrm>
                <a:off x="8383779" y="6080363"/>
                <a:ext cx="146702" cy="482411"/>
              </a:xfrm>
              <a:custGeom>
                <a:avLst/>
                <a:gdLst/>
                <a:ahLst/>
                <a:cxnLst/>
                <a:rect l="l" t="t" r="r" b="b"/>
                <a:pathLst>
                  <a:path w="11097" h="36491" extrusionOk="0">
                    <a:moveTo>
                      <a:pt x="7469" y="0"/>
                    </a:moveTo>
                    <a:lnTo>
                      <a:pt x="7229" y="27"/>
                    </a:lnTo>
                    <a:lnTo>
                      <a:pt x="7016" y="80"/>
                    </a:lnTo>
                    <a:lnTo>
                      <a:pt x="6802" y="134"/>
                    </a:lnTo>
                    <a:lnTo>
                      <a:pt x="6589" y="187"/>
                    </a:lnTo>
                    <a:lnTo>
                      <a:pt x="6376" y="267"/>
                    </a:lnTo>
                    <a:lnTo>
                      <a:pt x="6002" y="481"/>
                    </a:lnTo>
                    <a:lnTo>
                      <a:pt x="5655" y="721"/>
                    </a:lnTo>
                    <a:lnTo>
                      <a:pt x="5335" y="1014"/>
                    </a:lnTo>
                    <a:lnTo>
                      <a:pt x="5042" y="1361"/>
                    </a:lnTo>
                    <a:lnTo>
                      <a:pt x="4802" y="1734"/>
                    </a:lnTo>
                    <a:lnTo>
                      <a:pt x="4562" y="2108"/>
                    </a:lnTo>
                    <a:lnTo>
                      <a:pt x="4348" y="2534"/>
                    </a:lnTo>
                    <a:lnTo>
                      <a:pt x="4162" y="2961"/>
                    </a:lnTo>
                    <a:lnTo>
                      <a:pt x="4002" y="3388"/>
                    </a:lnTo>
                    <a:lnTo>
                      <a:pt x="3868" y="3841"/>
                    </a:lnTo>
                    <a:lnTo>
                      <a:pt x="3762" y="4268"/>
                    </a:lnTo>
                    <a:lnTo>
                      <a:pt x="3655" y="4695"/>
                    </a:lnTo>
                    <a:lnTo>
                      <a:pt x="3495" y="5682"/>
                    </a:lnTo>
                    <a:lnTo>
                      <a:pt x="3335" y="6642"/>
                    </a:lnTo>
                    <a:lnTo>
                      <a:pt x="3201" y="7629"/>
                    </a:lnTo>
                    <a:lnTo>
                      <a:pt x="3095" y="8589"/>
                    </a:lnTo>
                    <a:lnTo>
                      <a:pt x="2935" y="10563"/>
                    </a:lnTo>
                    <a:lnTo>
                      <a:pt x="2801" y="12537"/>
                    </a:lnTo>
                    <a:lnTo>
                      <a:pt x="2588" y="16485"/>
                    </a:lnTo>
                    <a:lnTo>
                      <a:pt x="2428" y="18459"/>
                    </a:lnTo>
                    <a:lnTo>
                      <a:pt x="2348" y="19446"/>
                    </a:lnTo>
                    <a:lnTo>
                      <a:pt x="2241" y="20433"/>
                    </a:lnTo>
                    <a:lnTo>
                      <a:pt x="2054" y="21846"/>
                    </a:lnTo>
                    <a:lnTo>
                      <a:pt x="1788" y="23607"/>
                    </a:lnTo>
                    <a:lnTo>
                      <a:pt x="1148" y="27795"/>
                    </a:lnTo>
                    <a:lnTo>
                      <a:pt x="507" y="31956"/>
                    </a:lnTo>
                    <a:lnTo>
                      <a:pt x="27" y="35157"/>
                    </a:lnTo>
                    <a:lnTo>
                      <a:pt x="1" y="35263"/>
                    </a:lnTo>
                    <a:lnTo>
                      <a:pt x="27" y="35397"/>
                    </a:lnTo>
                    <a:lnTo>
                      <a:pt x="81" y="35610"/>
                    </a:lnTo>
                    <a:lnTo>
                      <a:pt x="187" y="35797"/>
                    </a:lnTo>
                    <a:lnTo>
                      <a:pt x="347" y="35983"/>
                    </a:lnTo>
                    <a:lnTo>
                      <a:pt x="534" y="36144"/>
                    </a:lnTo>
                    <a:lnTo>
                      <a:pt x="774" y="36277"/>
                    </a:lnTo>
                    <a:lnTo>
                      <a:pt x="1014" y="36357"/>
                    </a:lnTo>
                    <a:lnTo>
                      <a:pt x="1281" y="36437"/>
                    </a:lnTo>
                    <a:lnTo>
                      <a:pt x="1548" y="36490"/>
                    </a:lnTo>
                    <a:lnTo>
                      <a:pt x="1814" y="36490"/>
                    </a:lnTo>
                    <a:lnTo>
                      <a:pt x="2081" y="36464"/>
                    </a:lnTo>
                    <a:lnTo>
                      <a:pt x="2321" y="36410"/>
                    </a:lnTo>
                    <a:lnTo>
                      <a:pt x="2508" y="36304"/>
                    </a:lnTo>
                    <a:lnTo>
                      <a:pt x="2695" y="36170"/>
                    </a:lnTo>
                    <a:lnTo>
                      <a:pt x="2828" y="36010"/>
                    </a:lnTo>
                    <a:lnTo>
                      <a:pt x="2881" y="35903"/>
                    </a:lnTo>
                    <a:lnTo>
                      <a:pt x="2935" y="35797"/>
                    </a:lnTo>
                    <a:lnTo>
                      <a:pt x="3682" y="32889"/>
                    </a:lnTo>
                    <a:lnTo>
                      <a:pt x="4642" y="29208"/>
                    </a:lnTo>
                    <a:lnTo>
                      <a:pt x="5602" y="25501"/>
                    </a:lnTo>
                    <a:lnTo>
                      <a:pt x="6002" y="23900"/>
                    </a:lnTo>
                    <a:lnTo>
                      <a:pt x="6296" y="22593"/>
                    </a:lnTo>
                    <a:lnTo>
                      <a:pt x="6829" y="20246"/>
                    </a:lnTo>
                    <a:lnTo>
                      <a:pt x="7309" y="17872"/>
                    </a:lnTo>
                    <a:lnTo>
                      <a:pt x="8269" y="13097"/>
                    </a:lnTo>
                    <a:lnTo>
                      <a:pt x="8723" y="10963"/>
                    </a:lnTo>
                    <a:lnTo>
                      <a:pt x="8963" y="9896"/>
                    </a:lnTo>
                    <a:lnTo>
                      <a:pt x="9230" y="8829"/>
                    </a:lnTo>
                    <a:lnTo>
                      <a:pt x="9336" y="8403"/>
                    </a:lnTo>
                    <a:lnTo>
                      <a:pt x="9470" y="8003"/>
                    </a:lnTo>
                    <a:lnTo>
                      <a:pt x="9790" y="7149"/>
                    </a:lnTo>
                    <a:lnTo>
                      <a:pt x="10083" y="6322"/>
                    </a:lnTo>
                    <a:lnTo>
                      <a:pt x="10217" y="5922"/>
                    </a:lnTo>
                    <a:lnTo>
                      <a:pt x="10289" y="5651"/>
                    </a:lnTo>
                    <a:lnTo>
                      <a:pt x="10289" y="5651"/>
                    </a:lnTo>
                    <a:lnTo>
                      <a:pt x="10377" y="5549"/>
                    </a:lnTo>
                    <a:lnTo>
                      <a:pt x="10510" y="5362"/>
                    </a:lnTo>
                    <a:lnTo>
                      <a:pt x="10643" y="5148"/>
                    </a:lnTo>
                    <a:lnTo>
                      <a:pt x="10750" y="4962"/>
                    </a:lnTo>
                    <a:lnTo>
                      <a:pt x="10857" y="4748"/>
                    </a:lnTo>
                    <a:lnTo>
                      <a:pt x="10937" y="4508"/>
                    </a:lnTo>
                    <a:lnTo>
                      <a:pt x="11044" y="4082"/>
                    </a:lnTo>
                    <a:lnTo>
                      <a:pt x="11097" y="3628"/>
                    </a:lnTo>
                    <a:lnTo>
                      <a:pt x="11097" y="3175"/>
                    </a:lnTo>
                    <a:lnTo>
                      <a:pt x="11017" y="2748"/>
                    </a:lnTo>
                    <a:lnTo>
                      <a:pt x="10910" y="2294"/>
                    </a:lnTo>
                    <a:lnTo>
                      <a:pt x="10750" y="1894"/>
                    </a:lnTo>
                    <a:lnTo>
                      <a:pt x="10510" y="1494"/>
                    </a:lnTo>
                    <a:lnTo>
                      <a:pt x="10243" y="1147"/>
                    </a:lnTo>
                    <a:lnTo>
                      <a:pt x="9923" y="827"/>
                    </a:lnTo>
                    <a:lnTo>
                      <a:pt x="9763" y="694"/>
                    </a:lnTo>
                    <a:lnTo>
                      <a:pt x="9577" y="561"/>
                    </a:lnTo>
                    <a:lnTo>
                      <a:pt x="9363" y="427"/>
                    </a:lnTo>
                    <a:lnTo>
                      <a:pt x="9176" y="321"/>
                    </a:lnTo>
                    <a:lnTo>
                      <a:pt x="8936" y="240"/>
                    </a:lnTo>
                    <a:lnTo>
                      <a:pt x="8723" y="160"/>
                    </a:lnTo>
                    <a:lnTo>
                      <a:pt x="8483" y="80"/>
                    </a:lnTo>
                    <a:lnTo>
                      <a:pt x="8243" y="54"/>
                    </a:lnTo>
                    <a:lnTo>
                      <a:pt x="7976" y="27"/>
                    </a:lnTo>
                    <a:lnTo>
                      <a:pt x="7709" y="0"/>
                    </a:lnTo>
                    <a:close/>
                  </a:path>
                </a:pathLst>
              </a:custGeom>
              <a:solidFill>
                <a:srgbClr val="FFB6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62" name="Google Shape;862;p16"/>
              <p:cNvSpPr/>
              <p:nvPr/>
            </p:nvSpPr>
            <p:spPr>
              <a:xfrm>
                <a:off x="8383779" y="6080363"/>
                <a:ext cx="146702" cy="482411"/>
              </a:xfrm>
              <a:custGeom>
                <a:avLst/>
                <a:gdLst/>
                <a:ahLst/>
                <a:cxnLst/>
                <a:rect l="l" t="t" r="r" b="b"/>
                <a:pathLst>
                  <a:path w="11097" h="36491" fill="none" extrusionOk="0">
                    <a:moveTo>
                      <a:pt x="10217" y="5735"/>
                    </a:moveTo>
                    <a:lnTo>
                      <a:pt x="10217" y="5735"/>
                    </a:lnTo>
                    <a:lnTo>
                      <a:pt x="10323" y="5522"/>
                    </a:lnTo>
                    <a:lnTo>
                      <a:pt x="10323" y="5522"/>
                    </a:lnTo>
                    <a:lnTo>
                      <a:pt x="10217" y="5922"/>
                    </a:lnTo>
                    <a:lnTo>
                      <a:pt x="10083" y="6322"/>
                    </a:lnTo>
                    <a:lnTo>
                      <a:pt x="9790" y="7149"/>
                    </a:lnTo>
                    <a:lnTo>
                      <a:pt x="9470" y="8003"/>
                    </a:lnTo>
                    <a:lnTo>
                      <a:pt x="9336" y="8403"/>
                    </a:lnTo>
                    <a:lnTo>
                      <a:pt x="9230" y="8829"/>
                    </a:lnTo>
                    <a:lnTo>
                      <a:pt x="9230" y="8829"/>
                    </a:lnTo>
                    <a:lnTo>
                      <a:pt x="8963" y="9896"/>
                    </a:lnTo>
                    <a:lnTo>
                      <a:pt x="8723" y="10963"/>
                    </a:lnTo>
                    <a:lnTo>
                      <a:pt x="8269" y="13097"/>
                    </a:lnTo>
                    <a:lnTo>
                      <a:pt x="8269" y="13097"/>
                    </a:lnTo>
                    <a:lnTo>
                      <a:pt x="7309" y="17872"/>
                    </a:lnTo>
                    <a:lnTo>
                      <a:pt x="6829" y="20246"/>
                    </a:lnTo>
                    <a:lnTo>
                      <a:pt x="6296" y="22593"/>
                    </a:lnTo>
                    <a:lnTo>
                      <a:pt x="6296" y="22593"/>
                    </a:lnTo>
                    <a:lnTo>
                      <a:pt x="6002" y="23900"/>
                    </a:lnTo>
                    <a:lnTo>
                      <a:pt x="5602" y="25501"/>
                    </a:lnTo>
                    <a:lnTo>
                      <a:pt x="4642" y="29208"/>
                    </a:lnTo>
                    <a:lnTo>
                      <a:pt x="3682" y="32889"/>
                    </a:lnTo>
                    <a:lnTo>
                      <a:pt x="2935" y="35797"/>
                    </a:lnTo>
                    <a:lnTo>
                      <a:pt x="2935" y="35797"/>
                    </a:lnTo>
                    <a:lnTo>
                      <a:pt x="2881" y="35903"/>
                    </a:lnTo>
                    <a:lnTo>
                      <a:pt x="2828" y="36010"/>
                    </a:lnTo>
                    <a:lnTo>
                      <a:pt x="2695" y="36170"/>
                    </a:lnTo>
                    <a:lnTo>
                      <a:pt x="2508" y="36304"/>
                    </a:lnTo>
                    <a:lnTo>
                      <a:pt x="2321" y="36410"/>
                    </a:lnTo>
                    <a:lnTo>
                      <a:pt x="2081" y="36464"/>
                    </a:lnTo>
                    <a:lnTo>
                      <a:pt x="1814" y="36490"/>
                    </a:lnTo>
                    <a:lnTo>
                      <a:pt x="1548" y="36490"/>
                    </a:lnTo>
                    <a:lnTo>
                      <a:pt x="1281" y="36437"/>
                    </a:lnTo>
                    <a:lnTo>
                      <a:pt x="1014" y="36357"/>
                    </a:lnTo>
                    <a:lnTo>
                      <a:pt x="774" y="36277"/>
                    </a:lnTo>
                    <a:lnTo>
                      <a:pt x="534" y="36144"/>
                    </a:lnTo>
                    <a:lnTo>
                      <a:pt x="347" y="35983"/>
                    </a:lnTo>
                    <a:lnTo>
                      <a:pt x="187" y="35797"/>
                    </a:lnTo>
                    <a:lnTo>
                      <a:pt x="81" y="35610"/>
                    </a:lnTo>
                    <a:lnTo>
                      <a:pt x="27" y="35397"/>
                    </a:lnTo>
                    <a:lnTo>
                      <a:pt x="1" y="35263"/>
                    </a:lnTo>
                    <a:lnTo>
                      <a:pt x="27" y="35157"/>
                    </a:lnTo>
                    <a:lnTo>
                      <a:pt x="27" y="35157"/>
                    </a:lnTo>
                    <a:lnTo>
                      <a:pt x="507" y="31956"/>
                    </a:lnTo>
                    <a:lnTo>
                      <a:pt x="1148" y="27795"/>
                    </a:lnTo>
                    <a:lnTo>
                      <a:pt x="1788" y="23607"/>
                    </a:lnTo>
                    <a:lnTo>
                      <a:pt x="2054" y="21846"/>
                    </a:lnTo>
                    <a:lnTo>
                      <a:pt x="2241" y="20433"/>
                    </a:lnTo>
                    <a:lnTo>
                      <a:pt x="2241" y="20433"/>
                    </a:lnTo>
                    <a:lnTo>
                      <a:pt x="2348" y="19446"/>
                    </a:lnTo>
                    <a:lnTo>
                      <a:pt x="2428" y="18459"/>
                    </a:lnTo>
                    <a:lnTo>
                      <a:pt x="2588" y="16485"/>
                    </a:lnTo>
                    <a:lnTo>
                      <a:pt x="2801" y="12537"/>
                    </a:lnTo>
                    <a:lnTo>
                      <a:pt x="2935" y="10563"/>
                    </a:lnTo>
                    <a:lnTo>
                      <a:pt x="3095" y="8589"/>
                    </a:lnTo>
                    <a:lnTo>
                      <a:pt x="3201" y="7629"/>
                    </a:lnTo>
                    <a:lnTo>
                      <a:pt x="3335" y="6642"/>
                    </a:lnTo>
                    <a:lnTo>
                      <a:pt x="3495" y="5682"/>
                    </a:lnTo>
                    <a:lnTo>
                      <a:pt x="3655" y="4695"/>
                    </a:lnTo>
                    <a:lnTo>
                      <a:pt x="3655" y="4695"/>
                    </a:lnTo>
                    <a:lnTo>
                      <a:pt x="3762" y="4268"/>
                    </a:lnTo>
                    <a:lnTo>
                      <a:pt x="3868" y="3841"/>
                    </a:lnTo>
                    <a:lnTo>
                      <a:pt x="4002" y="3388"/>
                    </a:lnTo>
                    <a:lnTo>
                      <a:pt x="4162" y="2961"/>
                    </a:lnTo>
                    <a:lnTo>
                      <a:pt x="4348" y="2534"/>
                    </a:lnTo>
                    <a:lnTo>
                      <a:pt x="4562" y="2108"/>
                    </a:lnTo>
                    <a:lnTo>
                      <a:pt x="4802" y="1734"/>
                    </a:lnTo>
                    <a:lnTo>
                      <a:pt x="5042" y="1361"/>
                    </a:lnTo>
                    <a:lnTo>
                      <a:pt x="5335" y="1014"/>
                    </a:lnTo>
                    <a:lnTo>
                      <a:pt x="5655" y="721"/>
                    </a:lnTo>
                    <a:lnTo>
                      <a:pt x="6002" y="481"/>
                    </a:lnTo>
                    <a:lnTo>
                      <a:pt x="6376" y="267"/>
                    </a:lnTo>
                    <a:lnTo>
                      <a:pt x="6589" y="187"/>
                    </a:lnTo>
                    <a:lnTo>
                      <a:pt x="6802" y="134"/>
                    </a:lnTo>
                    <a:lnTo>
                      <a:pt x="7016" y="80"/>
                    </a:lnTo>
                    <a:lnTo>
                      <a:pt x="7229" y="27"/>
                    </a:lnTo>
                    <a:lnTo>
                      <a:pt x="7469" y="0"/>
                    </a:lnTo>
                    <a:lnTo>
                      <a:pt x="7709" y="0"/>
                    </a:lnTo>
                    <a:lnTo>
                      <a:pt x="7976" y="27"/>
                    </a:lnTo>
                    <a:lnTo>
                      <a:pt x="8243" y="54"/>
                    </a:lnTo>
                    <a:lnTo>
                      <a:pt x="8243" y="54"/>
                    </a:lnTo>
                    <a:lnTo>
                      <a:pt x="8483" y="80"/>
                    </a:lnTo>
                    <a:lnTo>
                      <a:pt x="8723" y="160"/>
                    </a:lnTo>
                    <a:lnTo>
                      <a:pt x="8936" y="240"/>
                    </a:lnTo>
                    <a:lnTo>
                      <a:pt x="9176" y="321"/>
                    </a:lnTo>
                    <a:lnTo>
                      <a:pt x="9363" y="427"/>
                    </a:lnTo>
                    <a:lnTo>
                      <a:pt x="9577" y="561"/>
                    </a:lnTo>
                    <a:lnTo>
                      <a:pt x="9763" y="694"/>
                    </a:lnTo>
                    <a:lnTo>
                      <a:pt x="9923" y="827"/>
                    </a:lnTo>
                    <a:lnTo>
                      <a:pt x="10243" y="1147"/>
                    </a:lnTo>
                    <a:lnTo>
                      <a:pt x="10510" y="1494"/>
                    </a:lnTo>
                    <a:lnTo>
                      <a:pt x="10750" y="1894"/>
                    </a:lnTo>
                    <a:lnTo>
                      <a:pt x="10910" y="2294"/>
                    </a:lnTo>
                    <a:lnTo>
                      <a:pt x="11017" y="2748"/>
                    </a:lnTo>
                    <a:lnTo>
                      <a:pt x="11097" y="3175"/>
                    </a:lnTo>
                    <a:lnTo>
                      <a:pt x="11097" y="3628"/>
                    </a:lnTo>
                    <a:lnTo>
                      <a:pt x="11044" y="4082"/>
                    </a:lnTo>
                    <a:lnTo>
                      <a:pt x="10937" y="4508"/>
                    </a:lnTo>
                    <a:lnTo>
                      <a:pt x="10857" y="4748"/>
                    </a:lnTo>
                    <a:lnTo>
                      <a:pt x="10750" y="4962"/>
                    </a:lnTo>
                    <a:lnTo>
                      <a:pt x="10643" y="5148"/>
                    </a:lnTo>
                    <a:lnTo>
                      <a:pt x="10510" y="5362"/>
                    </a:lnTo>
                    <a:lnTo>
                      <a:pt x="10377" y="5549"/>
                    </a:lnTo>
                    <a:lnTo>
                      <a:pt x="10217" y="5735"/>
                    </a:lnTo>
                  </a:path>
                </a:pathLst>
              </a:custGeom>
              <a:solidFill>
                <a:srgbClr val="FFB6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63" name="Google Shape;863;p16"/>
              <p:cNvSpPr/>
              <p:nvPr/>
            </p:nvSpPr>
            <p:spPr>
              <a:xfrm>
                <a:off x="8410935" y="6190389"/>
                <a:ext cx="93465" cy="372037"/>
              </a:xfrm>
              <a:custGeom>
                <a:avLst/>
                <a:gdLst/>
                <a:ahLst/>
                <a:cxnLst/>
                <a:rect l="l" t="t" r="r" b="b"/>
                <a:pathLst>
                  <a:path w="7070" h="28142" extrusionOk="0">
                    <a:moveTo>
                      <a:pt x="2561" y="1"/>
                    </a:moveTo>
                    <a:lnTo>
                      <a:pt x="2054" y="5255"/>
                    </a:lnTo>
                    <a:lnTo>
                      <a:pt x="1628" y="9470"/>
                    </a:lnTo>
                    <a:lnTo>
                      <a:pt x="1254" y="13178"/>
                    </a:lnTo>
                    <a:lnTo>
                      <a:pt x="1014" y="15365"/>
                    </a:lnTo>
                    <a:lnTo>
                      <a:pt x="774" y="17525"/>
                    </a:lnTo>
                    <a:lnTo>
                      <a:pt x="561" y="19659"/>
                    </a:lnTo>
                    <a:lnTo>
                      <a:pt x="481" y="20726"/>
                    </a:lnTo>
                    <a:lnTo>
                      <a:pt x="427" y="21847"/>
                    </a:lnTo>
                    <a:lnTo>
                      <a:pt x="374" y="23420"/>
                    </a:lnTo>
                    <a:lnTo>
                      <a:pt x="294" y="24994"/>
                    </a:lnTo>
                    <a:lnTo>
                      <a:pt x="267" y="25794"/>
                    </a:lnTo>
                    <a:lnTo>
                      <a:pt x="187" y="26595"/>
                    </a:lnTo>
                    <a:lnTo>
                      <a:pt x="107" y="27368"/>
                    </a:lnTo>
                    <a:lnTo>
                      <a:pt x="0" y="28142"/>
                    </a:lnTo>
                    <a:lnTo>
                      <a:pt x="161" y="28115"/>
                    </a:lnTo>
                    <a:lnTo>
                      <a:pt x="294" y="28062"/>
                    </a:lnTo>
                    <a:lnTo>
                      <a:pt x="427" y="28008"/>
                    </a:lnTo>
                    <a:lnTo>
                      <a:pt x="561" y="27928"/>
                    </a:lnTo>
                    <a:lnTo>
                      <a:pt x="667" y="27848"/>
                    </a:lnTo>
                    <a:lnTo>
                      <a:pt x="747" y="27742"/>
                    </a:lnTo>
                    <a:lnTo>
                      <a:pt x="827" y="27608"/>
                    </a:lnTo>
                    <a:lnTo>
                      <a:pt x="881" y="27475"/>
                    </a:lnTo>
                    <a:lnTo>
                      <a:pt x="1628" y="24567"/>
                    </a:lnTo>
                    <a:lnTo>
                      <a:pt x="2588" y="20886"/>
                    </a:lnTo>
                    <a:lnTo>
                      <a:pt x="3548" y="17179"/>
                    </a:lnTo>
                    <a:lnTo>
                      <a:pt x="3948" y="15578"/>
                    </a:lnTo>
                    <a:lnTo>
                      <a:pt x="4242" y="14271"/>
                    </a:lnTo>
                    <a:lnTo>
                      <a:pt x="4775" y="11924"/>
                    </a:lnTo>
                    <a:lnTo>
                      <a:pt x="5255" y="9550"/>
                    </a:lnTo>
                    <a:lnTo>
                      <a:pt x="6215" y="4775"/>
                    </a:lnTo>
                    <a:lnTo>
                      <a:pt x="6616" y="2801"/>
                    </a:lnTo>
                    <a:lnTo>
                      <a:pt x="7069" y="854"/>
                    </a:lnTo>
                    <a:lnTo>
                      <a:pt x="6856" y="908"/>
                    </a:lnTo>
                    <a:lnTo>
                      <a:pt x="6616" y="934"/>
                    </a:lnTo>
                    <a:lnTo>
                      <a:pt x="6322" y="908"/>
                    </a:lnTo>
                    <a:lnTo>
                      <a:pt x="6029" y="881"/>
                    </a:lnTo>
                    <a:lnTo>
                      <a:pt x="5362" y="774"/>
                    </a:lnTo>
                    <a:lnTo>
                      <a:pt x="4668" y="587"/>
                    </a:lnTo>
                    <a:lnTo>
                      <a:pt x="4002" y="401"/>
                    </a:lnTo>
                    <a:lnTo>
                      <a:pt x="3388" y="214"/>
                    </a:lnTo>
                    <a:lnTo>
                      <a:pt x="2881" y="81"/>
                    </a:lnTo>
                    <a:lnTo>
                      <a:pt x="2561" y="1"/>
                    </a:lnTo>
                    <a:close/>
                  </a:path>
                </a:pathLst>
              </a:custGeom>
              <a:solidFill>
                <a:srgbClr val="C98F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64" name="Google Shape;864;p16"/>
              <p:cNvSpPr/>
              <p:nvPr/>
            </p:nvSpPr>
            <p:spPr>
              <a:xfrm>
                <a:off x="8460659" y="6042273"/>
                <a:ext cx="209127" cy="437278"/>
              </a:xfrm>
              <a:custGeom>
                <a:avLst/>
                <a:gdLst/>
                <a:ahLst/>
                <a:cxnLst/>
                <a:rect l="l" t="t" r="r" b="b"/>
                <a:pathLst>
                  <a:path w="15819" h="33077" extrusionOk="0">
                    <a:moveTo>
                      <a:pt x="6856" y="1"/>
                    </a:moveTo>
                    <a:lnTo>
                      <a:pt x="6322" y="54"/>
                    </a:lnTo>
                    <a:lnTo>
                      <a:pt x="5789" y="161"/>
                    </a:lnTo>
                    <a:lnTo>
                      <a:pt x="5309" y="321"/>
                    </a:lnTo>
                    <a:lnTo>
                      <a:pt x="4855" y="534"/>
                    </a:lnTo>
                    <a:lnTo>
                      <a:pt x="4402" y="801"/>
                    </a:lnTo>
                    <a:lnTo>
                      <a:pt x="3975" y="1094"/>
                    </a:lnTo>
                    <a:lnTo>
                      <a:pt x="3601" y="1441"/>
                    </a:lnTo>
                    <a:lnTo>
                      <a:pt x="3228" y="1841"/>
                    </a:lnTo>
                    <a:lnTo>
                      <a:pt x="2855" y="2268"/>
                    </a:lnTo>
                    <a:lnTo>
                      <a:pt x="2535" y="2721"/>
                    </a:lnTo>
                    <a:lnTo>
                      <a:pt x="2241" y="3202"/>
                    </a:lnTo>
                    <a:lnTo>
                      <a:pt x="1948" y="3708"/>
                    </a:lnTo>
                    <a:lnTo>
                      <a:pt x="1681" y="4242"/>
                    </a:lnTo>
                    <a:lnTo>
                      <a:pt x="1441" y="4802"/>
                    </a:lnTo>
                    <a:lnTo>
                      <a:pt x="1201" y="5389"/>
                    </a:lnTo>
                    <a:lnTo>
                      <a:pt x="1014" y="5976"/>
                    </a:lnTo>
                    <a:lnTo>
                      <a:pt x="827" y="6562"/>
                    </a:lnTo>
                    <a:lnTo>
                      <a:pt x="667" y="7176"/>
                    </a:lnTo>
                    <a:lnTo>
                      <a:pt x="507" y="7789"/>
                    </a:lnTo>
                    <a:lnTo>
                      <a:pt x="374" y="8430"/>
                    </a:lnTo>
                    <a:lnTo>
                      <a:pt x="267" y="9043"/>
                    </a:lnTo>
                    <a:lnTo>
                      <a:pt x="187" y="9657"/>
                    </a:lnTo>
                    <a:lnTo>
                      <a:pt x="107" y="10270"/>
                    </a:lnTo>
                    <a:lnTo>
                      <a:pt x="54" y="10857"/>
                    </a:lnTo>
                    <a:lnTo>
                      <a:pt x="27" y="11444"/>
                    </a:lnTo>
                    <a:lnTo>
                      <a:pt x="0" y="12031"/>
                    </a:lnTo>
                    <a:lnTo>
                      <a:pt x="0" y="12564"/>
                    </a:lnTo>
                    <a:lnTo>
                      <a:pt x="0" y="13098"/>
                    </a:lnTo>
                    <a:lnTo>
                      <a:pt x="27" y="13604"/>
                    </a:lnTo>
                    <a:lnTo>
                      <a:pt x="81" y="14084"/>
                    </a:lnTo>
                    <a:lnTo>
                      <a:pt x="134" y="14538"/>
                    </a:lnTo>
                    <a:lnTo>
                      <a:pt x="347" y="16032"/>
                    </a:lnTo>
                    <a:lnTo>
                      <a:pt x="507" y="17605"/>
                    </a:lnTo>
                    <a:lnTo>
                      <a:pt x="614" y="19179"/>
                    </a:lnTo>
                    <a:lnTo>
                      <a:pt x="667" y="20753"/>
                    </a:lnTo>
                    <a:lnTo>
                      <a:pt x="694" y="22327"/>
                    </a:lnTo>
                    <a:lnTo>
                      <a:pt x="694" y="23874"/>
                    </a:lnTo>
                    <a:lnTo>
                      <a:pt x="667" y="25367"/>
                    </a:lnTo>
                    <a:lnTo>
                      <a:pt x="614" y="26755"/>
                    </a:lnTo>
                    <a:lnTo>
                      <a:pt x="561" y="28088"/>
                    </a:lnTo>
                    <a:lnTo>
                      <a:pt x="481" y="29289"/>
                    </a:lnTo>
                    <a:lnTo>
                      <a:pt x="321" y="31289"/>
                    </a:lnTo>
                    <a:lnTo>
                      <a:pt x="214" y="32596"/>
                    </a:lnTo>
                    <a:lnTo>
                      <a:pt x="161" y="33076"/>
                    </a:lnTo>
                    <a:lnTo>
                      <a:pt x="15818" y="33050"/>
                    </a:lnTo>
                    <a:lnTo>
                      <a:pt x="15765" y="32196"/>
                    </a:lnTo>
                    <a:lnTo>
                      <a:pt x="15658" y="31369"/>
                    </a:lnTo>
                    <a:lnTo>
                      <a:pt x="15498" y="30569"/>
                    </a:lnTo>
                    <a:lnTo>
                      <a:pt x="15338" y="29822"/>
                    </a:lnTo>
                    <a:lnTo>
                      <a:pt x="15125" y="29075"/>
                    </a:lnTo>
                    <a:lnTo>
                      <a:pt x="14911" y="28382"/>
                    </a:lnTo>
                    <a:lnTo>
                      <a:pt x="14431" y="27075"/>
                    </a:lnTo>
                    <a:lnTo>
                      <a:pt x="13978" y="25901"/>
                    </a:lnTo>
                    <a:lnTo>
                      <a:pt x="13791" y="25341"/>
                    </a:lnTo>
                    <a:lnTo>
                      <a:pt x="13631" y="24834"/>
                    </a:lnTo>
                    <a:lnTo>
                      <a:pt x="13497" y="24327"/>
                    </a:lnTo>
                    <a:lnTo>
                      <a:pt x="13391" y="23874"/>
                    </a:lnTo>
                    <a:lnTo>
                      <a:pt x="13364" y="23447"/>
                    </a:lnTo>
                    <a:lnTo>
                      <a:pt x="13364" y="23234"/>
                    </a:lnTo>
                    <a:lnTo>
                      <a:pt x="13391" y="23020"/>
                    </a:lnTo>
                    <a:lnTo>
                      <a:pt x="13791" y="20460"/>
                    </a:lnTo>
                    <a:lnTo>
                      <a:pt x="14191" y="17872"/>
                    </a:lnTo>
                    <a:lnTo>
                      <a:pt x="14378" y="16512"/>
                    </a:lnTo>
                    <a:lnTo>
                      <a:pt x="14564" y="15071"/>
                    </a:lnTo>
                    <a:lnTo>
                      <a:pt x="14724" y="13551"/>
                    </a:lnTo>
                    <a:lnTo>
                      <a:pt x="14858" y="11924"/>
                    </a:lnTo>
                    <a:lnTo>
                      <a:pt x="14885" y="11444"/>
                    </a:lnTo>
                    <a:lnTo>
                      <a:pt x="14885" y="10804"/>
                    </a:lnTo>
                    <a:lnTo>
                      <a:pt x="14831" y="10057"/>
                    </a:lnTo>
                    <a:lnTo>
                      <a:pt x="14751" y="9203"/>
                    </a:lnTo>
                    <a:lnTo>
                      <a:pt x="14591" y="8296"/>
                    </a:lnTo>
                    <a:lnTo>
                      <a:pt x="14404" y="7336"/>
                    </a:lnTo>
                    <a:lnTo>
                      <a:pt x="14271" y="6829"/>
                    </a:lnTo>
                    <a:lnTo>
                      <a:pt x="14111" y="6322"/>
                    </a:lnTo>
                    <a:lnTo>
                      <a:pt x="13951" y="5842"/>
                    </a:lnTo>
                    <a:lnTo>
                      <a:pt x="13764" y="5335"/>
                    </a:lnTo>
                    <a:lnTo>
                      <a:pt x="13577" y="4855"/>
                    </a:lnTo>
                    <a:lnTo>
                      <a:pt x="13337" y="4375"/>
                    </a:lnTo>
                    <a:lnTo>
                      <a:pt x="13097" y="3895"/>
                    </a:lnTo>
                    <a:lnTo>
                      <a:pt x="12831" y="3442"/>
                    </a:lnTo>
                    <a:lnTo>
                      <a:pt x="12537" y="2988"/>
                    </a:lnTo>
                    <a:lnTo>
                      <a:pt x="12217" y="2561"/>
                    </a:lnTo>
                    <a:lnTo>
                      <a:pt x="11870" y="2161"/>
                    </a:lnTo>
                    <a:lnTo>
                      <a:pt x="11497" y="1788"/>
                    </a:lnTo>
                    <a:lnTo>
                      <a:pt x="11097" y="1441"/>
                    </a:lnTo>
                    <a:lnTo>
                      <a:pt x="10643" y="1121"/>
                    </a:lnTo>
                    <a:lnTo>
                      <a:pt x="10190" y="854"/>
                    </a:lnTo>
                    <a:lnTo>
                      <a:pt x="9710" y="587"/>
                    </a:lnTo>
                    <a:lnTo>
                      <a:pt x="9176" y="401"/>
                    </a:lnTo>
                    <a:lnTo>
                      <a:pt x="8616" y="214"/>
                    </a:lnTo>
                    <a:lnTo>
                      <a:pt x="8029" y="107"/>
                    </a:lnTo>
                    <a:lnTo>
                      <a:pt x="7416" y="27"/>
                    </a:lnTo>
                    <a:lnTo>
                      <a:pt x="6856" y="1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65" name="Google Shape;865;p16"/>
              <p:cNvSpPr/>
              <p:nvPr/>
            </p:nvSpPr>
            <p:spPr>
              <a:xfrm>
                <a:off x="8460659" y="6042273"/>
                <a:ext cx="209127" cy="437278"/>
              </a:xfrm>
              <a:custGeom>
                <a:avLst/>
                <a:gdLst/>
                <a:ahLst/>
                <a:cxnLst/>
                <a:rect l="l" t="t" r="r" b="b"/>
                <a:pathLst>
                  <a:path w="15819" h="33077" fill="none" extrusionOk="0">
                    <a:moveTo>
                      <a:pt x="14858" y="11924"/>
                    </a:moveTo>
                    <a:lnTo>
                      <a:pt x="14858" y="11924"/>
                    </a:lnTo>
                    <a:lnTo>
                      <a:pt x="14724" y="13551"/>
                    </a:lnTo>
                    <a:lnTo>
                      <a:pt x="14564" y="15071"/>
                    </a:lnTo>
                    <a:lnTo>
                      <a:pt x="14378" y="16512"/>
                    </a:lnTo>
                    <a:lnTo>
                      <a:pt x="14191" y="17872"/>
                    </a:lnTo>
                    <a:lnTo>
                      <a:pt x="13791" y="20460"/>
                    </a:lnTo>
                    <a:lnTo>
                      <a:pt x="13391" y="23020"/>
                    </a:lnTo>
                    <a:lnTo>
                      <a:pt x="13391" y="23020"/>
                    </a:lnTo>
                    <a:lnTo>
                      <a:pt x="13364" y="23234"/>
                    </a:lnTo>
                    <a:lnTo>
                      <a:pt x="13364" y="23447"/>
                    </a:lnTo>
                    <a:lnTo>
                      <a:pt x="13391" y="23874"/>
                    </a:lnTo>
                    <a:lnTo>
                      <a:pt x="13497" y="24327"/>
                    </a:lnTo>
                    <a:lnTo>
                      <a:pt x="13631" y="24834"/>
                    </a:lnTo>
                    <a:lnTo>
                      <a:pt x="13791" y="25341"/>
                    </a:lnTo>
                    <a:lnTo>
                      <a:pt x="13978" y="25901"/>
                    </a:lnTo>
                    <a:lnTo>
                      <a:pt x="14431" y="27075"/>
                    </a:lnTo>
                    <a:lnTo>
                      <a:pt x="14911" y="28382"/>
                    </a:lnTo>
                    <a:lnTo>
                      <a:pt x="15125" y="29075"/>
                    </a:lnTo>
                    <a:lnTo>
                      <a:pt x="15338" y="29822"/>
                    </a:lnTo>
                    <a:lnTo>
                      <a:pt x="15498" y="30569"/>
                    </a:lnTo>
                    <a:lnTo>
                      <a:pt x="15658" y="31369"/>
                    </a:lnTo>
                    <a:lnTo>
                      <a:pt x="15765" y="32196"/>
                    </a:lnTo>
                    <a:lnTo>
                      <a:pt x="15818" y="33050"/>
                    </a:lnTo>
                    <a:lnTo>
                      <a:pt x="161" y="33076"/>
                    </a:lnTo>
                    <a:lnTo>
                      <a:pt x="161" y="33076"/>
                    </a:lnTo>
                    <a:lnTo>
                      <a:pt x="214" y="32596"/>
                    </a:lnTo>
                    <a:lnTo>
                      <a:pt x="321" y="31289"/>
                    </a:lnTo>
                    <a:lnTo>
                      <a:pt x="481" y="29289"/>
                    </a:lnTo>
                    <a:lnTo>
                      <a:pt x="561" y="28088"/>
                    </a:lnTo>
                    <a:lnTo>
                      <a:pt x="614" y="26755"/>
                    </a:lnTo>
                    <a:lnTo>
                      <a:pt x="667" y="25367"/>
                    </a:lnTo>
                    <a:lnTo>
                      <a:pt x="694" y="23874"/>
                    </a:lnTo>
                    <a:lnTo>
                      <a:pt x="694" y="22327"/>
                    </a:lnTo>
                    <a:lnTo>
                      <a:pt x="667" y="20753"/>
                    </a:lnTo>
                    <a:lnTo>
                      <a:pt x="614" y="19179"/>
                    </a:lnTo>
                    <a:lnTo>
                      <a:pt x="507" y="17605"/>
                    </a:lnTo>
                    <a:lnTo>
                      <a:pt x="347" y="16032"/>
                    </a:lnTo>
                    <a:lnTo>
                      <a:pt x="134" y="14538"/>
                    </a:lnTo>
                    <a:lnTo>
                      <a:pt x="134" y="14538"/>
                    </a:lnTo>
                    <a:lnTo>
                      <a:pt x="81" y="14084"/>
                    </a:lnTo>
                    <a:lnTo>
                      <a:pt x="27" y="13604"/>
                    </a:lnTo>
                    <a:lnTo>
                      <a:pt x="0" y="13098"/>
                    </a:lnTo>
                    <a:lnTo>
                      <a:pt x="0" y="12564"/>
                    </a:lnTo>
                    <a:lnTo>
                      <a:pt x="0" y="12031"/>
                    </a:lnTo>
                    <a:lnTo>
                      <a:pt x="27" y="11444"/>
                    </a:lnTo>
                    <a:lnTo>
                      <a:pt x="54" y="10857"/>
                    </a:lnTo>
                    <a:lnTo>
                      <a:pt x="107" y="10270"/>
                    </a:lnTo>
                    <a:lnTo>
                      <a:pt x="187" y="9657"/>
                    </a:lnTo>
                    <a:lnTo>
                      <a:pt x="267" y="9043"/>
                    </a:lnTo>
                    <a:lnTo>
                      <a:pt x="374" y="8430"/>
                    </a:lnTo>
                    <a:lnTo>
                      <a:pt x="507" y="7789"/>
                    </a:lnTo>
                    <a:lnTo>
                      <a:pt x="667" y="7176"/>
                    </a:lnTo>
                    <a:lnTo>
                      <a:pt x="827" y="6562"/>
                    </a:lnTo>
                    <a:lnTo>
                      <a:pt x="1014" y="5976"/>
                    </a:lnTo>
                    <a:lnTo>
                      <a:pt x="1201" y="5389"/>
                    </a:lnTo>
                    <a:lnTo>
                      <a:pt x="1441" y="4802"/>
                    </a:lnTo>
                    <a:lnTo>
                      <a:pt x="1681" y="4242"/>
                    </a:lnTo>
                    <a:lnTo>
                      <a:pt x="1948" y="3708"/>
                    </a:lnTo>
                    <a:lnTo>
                      <a:pt x="2241" y="3202"/>
                    </a:lnTo>
                    <a:lnTo>
                      <a:pt x="2535" y="2721"/>
                    </a:lnTo>
                    <a:lnTo>
                      <a:pt x="2855" y="2268"/>
                    </a:lnTo>
                    <a:lnTo>
                      <a:pt x="3228" y="1841"/>
                    </a:lnTo>
                    <a:lnTo>
                      <a:pt x="3601" y="1441"/>
                    </a:lnTo>
                    <a:lnTo>
                      <a:pt x="3975" y="1094"/>
                    </a:lnTo>
                    <a:lnTo>
                      <a:pt x="4402" y="801"/>
                    </a:lnTo>
                    <a:lnTo>
                      <a:pt x="4855" y="534"/>
                    </a:lnTo>
                    <a:lnTo>
                      <a:pt x="5309" y="321"/>
                    </a:lnTo>
                    <a:lnTo>
                      <a:pt x="5789" y="161"/>
                    </a:lnTo>
                    <a:lnTo>
                      <a:pt x="6322" y="54"/>
                    </a:lnTo>
                    <a:lnTo>
                      <a:pt x="6856" y="1"/>
                    </a:lnTo>
                    <a:lnTo>
                      <a:pt x="7416" y="27"/>
                    </a:lnTo>
                    <a:lnTo>
                      <a:pt x="7416" y="27"/>
                    </a:lnTo>
                    <a:lnTo>
                      <a:pt x="8029" y="107"/>
                    </a:lnTo>
                    <a:lnTo>
                      <a:pt x="8616" y="214"/>
                    </a:lnTo>
                    <a:lnTo>
                      <a:pt x="9176" y="401"/>
                    </a:lnTo>
                    <a:lnTo>
                      <a:pt x="9710" y="587"/>
                    </a:lnTo>
                    <a:lnTo>
                      <a:pt x="10190" y="854"/>
                    </a:lnTo>
                    <a:lnTo>
                      <a:pt x="10643" y="1121"/>
                    </a:lnTo>
                    <a:lnTo>
                      <a:pt x="11097" y="1441"/>
                    </a:lnTo>
                    <a:lnTo>
                      <a:pt x="11497" y="1788"/>
                    </a:lnTo>
                    <a:lnTo>
                      <a:pt x="11870" y="2161"/>
                    </a:lnTo>
                    <a:lnTo>
                      <a:pt x="12217" y="2561"/>
                    </a:lnTo>
                    <a:lnTo>
                      <a:pt x="12537" y="2988"/>
                    </a:lnTo>
                    <a:lnTo>
                      <a:pt x="12831" y="3442"/>
                    </a:lnTo>
                    <a:lnTo>
                      <a:pt x="13097" y="3895"/>
                    </a:lnTo>
                    <a:lnTo>
                      <a:pt x="13337" y="4375"/>
                    </a:lnTo>
                    <a:lnTo>
                      <a:pt x="13577" y="4855"/>
                    </a:lnTo>
                    <a:lnTo>
                      <a:pt x="13764" y="5335"/>
                    </a:lnTo>
                    <a:lnTo>
                      <a:pt x="13951" y="5842"/>
                    </a:lnTo>
                    <a:lnTo>
                      <a:pt x="14111" y="6322"/>
                    </a:lnTo>
                    <a:lnTo>
                      <a:pt x="14271" y="6829"/>
                    </a:lnTo>
                    <a:lnTo>
                      <a:pt x="14404" y="7336"/>
                    </a:lnTo>
                    <a:lnTo>
                      <a:pt x="14591" y="8296"/>
                    </a:lnTo>
                    <a:lnTo>
                      <a:pt x="14751" y="9203"/>
                    </a:lnTo>
                    <a:lnTo>
                      <a:pt x="14831" y="10057"/>
                    </a:lnTo>
                    <a:lnTo>
                      <a:pt x="14885" y="10804"/>
                    </a:lnTo>
                    <a:lnTo>
                      <a:pt x="14885" y="11444"/>
                    </a:lnTo>
                    <a:lnTo>
                      <a:pt x="14858" y="11924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66" name="Google Shape;866;p16"/>
              <p:cNvSpPr/>
              <p:nvPr/>
            </p:nvSpPr>
            <p:spPr>
              <a:xfrm>
                <a:off x="8440563" y="6469698"/>
                <a:ext cx="114617" cy="721138"/>
              </a:xfrm>
              <a:custGeom>
                <a:avLst/>
                <a:gdLst/>
                <a:ahLst/>
                <a:cxnLst/>
                <a:rect l="l" t="t" r="r" b="b"/>
                <a:pathLst>
                  <a:path w="8670" h="54549" extrusionOk="0">
                    <a:moveTo>
                      <a:pt x="3654" y="0"/>
                    </a:moveTo>
                    <a:lnTo>
                      <a:pt x="3308" y="54"/>
                    </a:lnTo>
                    <a:lnTo>
                      <a:pt x="2988" y="134"/>
                    </a:lnTo>
                    <a:lnTo>
                      <a:pt x="2641" y="240"/>
                    </a:lnTo>
                    <a:lnTo>
                      <a:pt x="2321" y="374"/>
                    </a:lnTo>
                    <a:lnTo>
                      <a:pt x="2027" y="507"/>
                    </a:lnTo>
                    <a:lnTo>
                      <a:pt x="1734" y="694"/>
                    </a:lnTo>
                    <a:lnTo>
                      <a:pt x="1440" y="907"/>
                    </a:lnTo>
                    <a:lnTo>
                      <a:pt x="1200" y="1147"/>
                    </a:lnTo>
                    <a:lnTo>
                      <a:pt x="934" y="1414"/>
                    </a:lnTo>
                    <a:lnTo>
                      <a:pt x="720" y="1708"/>
                    </a:lnTo>
                    <a:lnTo>
                      <a:pt x="560" y="1948"/>
                    </a:lnTo>
                    <a:lnTo>
                      <a:pt x="427" y="2214"/>
                    </a:lnTo>
                    <a:lnTo>
                      <a:pt x="320" y="2508"/>
                    </a:lnTo>
                    <a:lnTo>
                      <a:pt x="213" y="2774"/>
                    </a:lnTo>
                    <a:lnTo>
                      <a:pt x="133" y="3068"/>
                    </a:lnTo>
                    <a:lnTo>
                      <a:pt x="80" y="3361"/>
                    </a:lnTo>
                    <a:lnTo>
                      <a:pt x="27" y="3948"/>
                    </a:lnTo>
                    <a:lnTo>
                      <a:pt x="0" y="4562"/>
                    </a:lnTo>
                    <a:lnTo>
                      <a:pt x="0" y="5175"/>
                    </a:lnTo>
                    <a:lnTo>
                      <a:pt x="0" y="6349"/>
                    </a:lnTo>
                    <a:lnTo>
                      <a:pt x="0" y="9416"/>
                    </a:lnTo>
                    <a:lnTo>
                      <a:pt x="0" y="12457"/>
                    </a:lnTo>
                    <a:lnTo>
                      <a:pt x="53" y="15845"/>
                    </a:lnTo>
                    <a:lnTo>
                      <a:pt x="133" y="19259"/>
                    </a:lnTo>
                    <a:lnTo>
                      <a:pt x="240" y="22647"/>
                    </a:lnTo>
                    <a:lnTo>
                      <a:pt x="374" y="26034"/>
                    </a:lnTo>
                    <a:lnTo>
                      <a:pt x="534" y="29422"/>
                    </a:lnTo>
                    <a:lnTo>
                      <a:pt x="720" y="32809"/>
                    </a:lnTo>
                    <a:lnTo>
                      <a:pt x="934" y="36197"/>
                    </a:lnTo>
                    <a:lnTo>
                      <a:pt x="1174" y="39584"/>
                    </a:lnTo>
                    <a:lnTo>
                      <a:pt x="1681" y="46493"/>
                    </a:lnTo>
                    <a:lnTo>
                      <a:pt x="1974" y="50121"/>
                    </a:lnTo>
                    <a:lnTo>
                      <a:pt x="2241" y="53401"/>
                    </a:lnTo>
                    <a:lnTo>
                      <a:pt x="2321" y="53828"/>
                    </a:lnTo>
                    <a:lnTo>
                      <a:pt x="2347" y="54015"/>
                    </a:lnTo>
                    <a:lnTo>
                      <a:pt x="2401" y="54175"/>
                    </a:lnTo>
                    <a:lnTo>
                      <a:pt x="2481" y="54282"/>
                    </a:lnTo>
                    <a:lnTo>
                      <a:pt x="2561" y="54388"/>
                    </a:lnTo>
                    <a:lnTo>
                      <a:pt x="2641" y="54468"/>
                    </a:lnTo>
                    <a:lnTo>
                      <a:pt x="2774" y="54522"/>
                    </a:lnTo>
                    <a:lnTo>
                      <a:pt x="2908" y="54548"/>
                    </a:lnTo>
                    <a:lnTo>
                      <a:pt x="3068" y="54548"/>
                    </a:lnTo>
                    <a:lnTo>
                      <a:pt x="3228" y="54522"/>
                    </a:lnTo>
                    <a:lnTo>
                      <a:pt x="3441" y="54468"/>
                    </a:lnTo>
                    <a:lnTo>
                      <a:pt x="3948" y="54308"/>
                    </a:lnTo>
                    <a:lnTo>
                      <a:pt x="4561" y="54042"/>
                    </a:lnTo>
                    <a:lnTo>
                      <a:pt x="4828" y="53935"/>
                    </a:lnTo>
                    <a:lnTo>
                      <a:pt x="5015" y="53882"/>
                    </a:lnTo>
                    <a:lnTo>
                      <a:pt x="5255" y="53855"/>
                    </a:lnTo>
                    <a:lnTo>
                      <a:pt x="5335" y="53855"/>
                    </a:lnTo>
                    <a:lnTo>
                      <a:pt x="5362" y="53775"/>
                    </a:lnTo>
                    <a:lnTo>
                      <a:pt x="5388" y="53642"/>
                    </a:lnTo>
                    <a:lnTo>
                      <a:pt x="5415" y="53401"/>
                    </a:lnTo>
                    <a:lnTo>
                      <a:pt x="5522" y="51614"/>
                    </a:lnTo>
                    <a:lnTo>
                      <a:pt x="5682" y="49720"/>
                    </a:lnTo>
                    <a:lnTo>
                      <a:pt x="6028" y="45853"/>
                    </a:lnTo>
                    <a:lnTo>
                      <a:pt x="6215" y="43879"/>
                    </a:lnTo>
                    <a:lnTo>
                      <a:pt x="6348" y="41958"/>
                    </a:lnTo>
                    <a:lnTo>
                      <a:pt x="6455" y="40091"/>
                    </a:lnTo>
                    <a:lnTo>
                      <a:pt x="6482" y="39158"/>
                    </a:lnTo>
                    <a:lnTo>
                      <a:pt x="6482" y="38277"/>
                    </a:lnTo>
                    <a:lnTo>
                      <a:pt x="6455" y="36997"/>
                    </a:lnTo>
                    <a:lnTo>
                      <a:pt x="6428" y="35717"/>
                    </a:lnTo>
                    <a:lnTo>
                      <a:pt x="6322" y="33076"/>
                    </a:lnTo>
                    <a:lnTo>
                      <a:pt x="6268" y="31742"/>
                    </a:lnTo>
                    <a:lnTo>
                      <a:pt x="6242" y="30435"/>
                    </a:lnTo>
                    <a:lnTo>
                      <a:pt x="6242" y="29128"/>
                    </a:lnTo>
                    <a:lnTo>
                      <a:pt x="6268" y="27875"/>
                    </a:lnTo>
                    <a:lnTo>
                      <a:pt x="6348" y="26381"/>
                    </a:lnTo>
                    <a:lnTo>
                      <a:pt x="6455" y="24887"/>
                    </a:lnTo>
                    <a:lnTo>
                      <a:pt x="6669" y="21926"/>
                    </a:lnTo>
                    <a:lnTo>
                      <a:pt x="6962" y="18966"/>
                    </a:lnTo>
                    <a:lnTo>
                      <a:pt x="7282" y="16005"/>
                    </a:lnTo>
                    <a:lnTo>
                      <a:pt x="7976" y="10110"/>
                    </a:lnTo>
                    <a:lnTo>
                      <a:pt x="8322" y="7149"/>
                    </a:lnTo>
                    <a:lnTo>
                      <a:pt x="8642" y="4188"/>
                    </a:lnTo>
                    <a:lnTo>
                      <a:pt x="8669" y="3815"/>
                    </a:lnTo>
                    <a:lnTo>
                      <a:pt x="8642" y="3468"/>
                    </a:lnTo>
                    <a:lnTo>
                      <a:pt x="8589" y="3121"/>
                    </a:lnTo>
                    <a:lnTo>
                      <a:pt x="8509" y="2801"/>
                    </a:lnTo>
                    <a:lnTo>
                      <a:pt x="8402" y="2508"/>
                    </a:lnTo>
                    <a:lnTo>
                      <a:pt x="8269" y="2188"/>
                    </a:lnTo>
                    <a:lnTo>
                      <a:pt x="8082" y="1921"/>
                    </a:lnTo>
                    <a:lnTo>
                      <a:pt x="7896" y="1654"/>
                    </a:lnTo>
                    <a:lnTo>
                      <a:pt x="7682" y="1414"/>
                    </a:lnTo>
                    <a:lnTo>
                      <a:pt x="7442" y="1174"/>
                    </a:lnTo>
                    <a:lnTo>
                      <a:pt x="7202" y="987"/>
                    </a:lnTo>
                    <a:lnTo>
                      <a:pt x="6909" y="774"/>
                    </a:lnTo>
                    <a:lnTo>
                      <a:pt x="6615" y="614"/>
                    </a:lnTo>
                    <a:lnTo>
                      <a:pt x="6322" y="454"/>
                    </a:lnTo>
                    <a:lnTo>
                      <a:pt x="6002" y="320"/>
                    </a:lnTo>
                    <a:lnTo>
                      <a:pt x="5682" y="214"/>
                    </a:lnTo>
                    <a:lnTo>
                      <a:pt x="5362" y="134"/>
                    </a:lnTo>
                    <a:lnTo>
                      <a:pt x="5015" y="54"/>
                    </a:lnTo>
                    <a:lnTo>
                      <a:pt x="4668" y="0"/>
                    </a:lnTo>
                    <a:close/>
                  </a:path>
                </a:pathLst>
              </a:custGeom>
              <a:solidFill>
                <a:srgbClr val="46464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67" name="Google Shape;867;p16"/>
              <p:cNvSpPr/>
              <p:nvPr/>
            </p:nvSpPr>
            <p:spPr>
              <a:xfrm>
                <a:off x="8547415" y="6484162"/>
                <a:ext cx="125894" cy="713021"/>
              </a:xfrm>
              <a:custGeom>
                <a:avLst/>
                <a:gdLst/>
                <a:ahLst/>
                <a:cxnLst/>
                <a:rect l="l" t="t" r="r" b="b"/>
                <a:pathLst>
                  <a:path w="9523" h="53935" extrusionOk="0">
                    <a:moveTo>
                      <a:pt x="7512" y="52409"/>
                    </a:moveTo>
                    <a:lnTo>
                      <a:pt x="7522" y="52441"/>
                    </a:lnTo>
                    <a:lnTo>
                      <a:pt x="7549" y="52494"/>
                    </a:lnTo>
                    <a:lnTo>
                      <a:pt x="7549" y="52468"/>
                    </a:lnTo>
                    <a:lnTo>
                      <a:pt x="7522" y="52414"/>
                    </a:lnTo>
                    <a:lnTo>
                      <a:pt x="7512" y="52409"/>
                    </a:lnTo>
                    <a:close/>
                    <a:moveTo>
                      <a:pt x="5202" y="0"/>
                    </a:moveTo>
                    <a:lnTo>
                      <a:pt x="4962" y="27"/>
                    </a:lnTo>
                    <a:lnTo>
                      <a:pt x="4695" y="80"/>
                    </a:lnTo>
                    <a:lnTo>
                      <a:pt x="4428" y="133"/>
                    </a:lnTo>
                    <a:lnTo>
                      <a:pt x="3761" y="347"/>
                    </a:lnTo>
                    <a:lnTo>
                      <a:pt x="3174" y="560"/>
                    </a:lnTo>
                    <a:lnTo>
                      <a:pt x="2641" y="800"/>
                    </a:lnTo>
                    <a:lnTo>
                      <a:pt x="2188" y="1067"/>
                    </a:lnTo>
                    <a:lnTo>
                      <a:pt x="1787" y="1360"/>
                    </a:lnTo>
                    <a:lnTo>
                      <a:pt x="1441" y="1680"/>
                    </a:lnTo>
                    <a:lnTo>
                      <a:pt x="1174" y="2001"/>
                    </a:lnTo>
                    <a:lnTo>
                      <a:pt x="934" y="2347"/>
                    </a:lnTo>
                    <a:lnTo>
                      <a:pt x="720" y="2721"/>
                    </a:lnTo>
                    <a:lnTo>
                      <a:pt x="560" y="3121"/>
                    </a:lnTo>
                    <a:lnTo>
                      <a:pt x="427" y="3548"/>
                    </a:lnTo>
                    <a:lnTo>
                      <a:pt x="347" y="4001"/>
                    </a:lnTo>
                    <a:lnTo>
                      <a:pt x="267" y="4455"/>
                    </a:lnTo>
                    <a:lnTo>
                      <a:pt x="214" y="4961"/>
                    </a:lnTo>
                    <a:lnTo>
                      <a:pt x="134" y="6028"/>
                    </a:lnTo>
                    <a:lnTo>
                      <a:pt x="54" y="7629"/>
                    </a:lnTo>
                    <a:lnTo>
                      <a:pt x="27" y="9256"/>
                    </a:lnTo>
                    <a:lnTo>
                      <a:pt x="0" y="10910"/>
                    </a:lnTo>
                    <a:lnTo>
                      <a:pt x="27" y="12590"/>
                    </a:lnTo>
                    <a:lnTo>
                      <a:pt x="80" y="14271"/>
                    </a:lnTo>
                    <a:lnTo>
                      <a:pt x="134" y="15924"/>
                    </a:lnTo>
                    <a:lnTo>
                      <a:pt x="294" y="19099"/>
                    </a:lnTo>
                    <a:lnTo>
                      <a:pt x="507" y="22006"/>
                    </a:lnTo>
                    <a:lnTo>
                      <a:pt x="694" y="24567"/>
                    </a:lnTo>
                    <a:lnTo>
                      <a:pt x="987" y="27981"/>
                    </a:lnTo>
                    <a:lnTo>
                      <a:pt x="1067" y="28914"/>
                    </a:lnTo>
                    <a:lnTo>
                      <a:pt x="1201" y="30088"/>
                    </a:lnTo>
                    <a:lnTo>
                      <a:pt x="1547" y="32996"/>
                    </a:lnTo>
                    <a:lnTo>
                      <a:pt x="2001" y="36463"/>
                    </a:lnTo>
                    <a:lnTo>
                      <a:pt x="2508" y="40198"/>
                    </a:lnTo>
                    <a:lnTo>
                      <a:pt x="3521" y="47399"/>
                    </a:lnTo>
                    <a:lnTo>
                      <a:pt x="4215" y="52388"/>
                    </a:lnTo>
                    <a:lnTo>
                      <a:pt x="4241" y="52841"/>
                    </a:lnTo>
                    <a:lnTo>
                      <a:pt x="4295" y="53268"/>
                    </a:lnTo>
                    <a:lnTo>
                      <a:pt x="4295" y="53454"/>
                    </a:lnTo>
                    <a:lnTo>
                      <a:pt x="4348" y="53615"/>
                    </a:lnTo>
                    <a:lnTo>
                      <a:pt x="4401" y="53748"/>
                    </a:lnTo>
                    <a:lnTo>
                      <a:pt x="4481" y="53855"/>
                    </a:lnTo>
                    <a:lnTo>
                      <a:pt x="4588" y="53908"/>
                    </a:lnTo>
                    <a:lnTo>
                      <a:pt x="4748" y="53935"/>
                    </a:lnTo>
                    <a:lnTo>
                      <a:pt x="4935" y="53908"/>
                    </a:lnTo>
                    <a:lnTo>
                      <a:pt x="5175" y="53801"/>
                    </a:lnTo>
                    <a:lnTo>
                      <a:pt x="5468" y="53641"/>
                    </a:lnTo>
                    <a:lnTo>
                      <a:pt x="5788" y="53428"/>
                    </a:lnTo>
                    <a:lnTo>
                      <a:pt x="6215" y="53134"/>
                    </a:lnTo>
                    <a:lnTo>
                      <a:pt x="6695" y="52761"/>
                    </a:lnTo>
                    <a:lnTo>
                      <a:pt x="6909" y="52601"/>
                    </a:lnTo>
                    <a:lnTo>
                      <a:pt x="7069" y="52494"/>
                    </a:lnTo>
                    <a:lnTo>
                      <a:pt x="7202" y="52414"/>
                    </a:lnTo>
                    <a:lnTo>
                      <a:pt x="7336" y="52388"/>
                    </a:lnTo>
                    <a:lnTo>
                      <a:pt x="7469" y="52388"/>
                    </a:lnTo>
                    <a:lnTo>
                      <a:pt x="7512" y="52409"/>
                    </a:lnTo>
                    <a:lnTo>
                      <a:pt x="7512" y="52409"/>
                    </a:lnTo>
                    <a:lnTo>
                      <a:pt x="7469" y="52281"/>
                    </a:lnTo>
                    <a:lnTo>
                      <a:pt x="7442" y="51881"/>
                    </a:lnTo>
                    <a:lnTo>
                      <a:pt x="7442" y="50814"/>
                    </a:lnTo>
                    <a:lnTo>
                      <a:pt x="7469" y="49240"/>
                    </a:lnTo>
                    <a:lnTo>
                      <a:pt x="7602" y="45239"/>
                    </a:lnTo>
                    <a:lnTo>
                      <a:pt x="7709" y="41238"/>
                    </a:lnTo>
                    <a:lnTo>
                      <a:pt x="7736" y="39664"/>
                    </a:lnTo>
                    <a:lnTo>
                      <a:pt x="7736" y="38624"/>
                    </a:lnTo>
                    <a:lnTo>
                      <a:pt x="7576" y="35556"/>
                    </a:lnTo>
                    <a:lnTo>
                      <a:pt x="7442" y="32515"/>
                    </a:lnTo>
                    <a:lnTo>
                      <a:pt x="7336" y="29475"/>
                    </a:lnTo>
                    <a:lnTo>
                      <a:pt x="7309" y="27954"/>
                    </a:lnTo>
                    <a:lnTo>
                      <a:pt x="7309" y="26407"/>
                    </a:lnTo>
                    <a:lnTo>
                      <a:pt x="7309" y="23420"/>
                    </a:lnTo>
                    <a:lnTo>
                      <a:pt x="7389" y="20672"/>
                    </a:lnTo>
                    <a:lnTo>
                      <a:pt x="7442" y="19339"/>
                    </a:lnTo>
                    <a:lnTo>
                      <a:pt x="7522" y="18058"/>
                    </a:lnTo>
                    <a:lnTo>
                      <a:pt x="7602" y="16778"/>
                    </a:lnTo>
                    <a:lnTo>
                      <a:pt x="7709" y="15498"/>
                    </a:lnTo>
                    <a:lnTo>
                      <a:pt x="7842" y="14244"/>
                    </a:lnTo>
                    <a:lnTo>
                      <a:pt x="7976" y="12964"/>
                    </a:lnTo>
                    <a:lnTo>
                      <a:pt x="8162" y="11683"/>
                    </a:lnTo>
                    <a:lnTo>
                      <a:pt x="8349" y="10376"/>
                    </a:lnTo>
                    <a:lnTo>
                      <a:pt x="8563" y="9042"/>
                    </a:lnTo>
                    <a:lnTo>
                      <a:pt x="8829" y="7655"/>
                    </a:lnTo>
                    <a:lnTo>
                      <a:pt x="9074" y="6335"/>
                    </a:lnTo>
                    <a:lnTo>
                      <a:pt x="9074" y="6335"/>
                    </a:lnTo>
                    <a:lnTo>
                      <a:pt x="9416" y="4721"/>
                    </a:lnTo>
                    <a:lnTo>
                      <a:pt x="9523" y="4214"/>
                    </a:lnTo>
                    <a:lnTo>
                      <a:pt x="9422" y="4668"/>
                    </a:lnTo>
                    <a:lnTo>
                      <a:pt x="9443" y="4481"/>
                    </a:lnTo>
                    <a:lnTo>
                      <a:pt x="9469" y="4214"/>
                    </a:lnTo>
                    <a:lnTo>
                      <a:pt x="9496" y="3948"/>
                    </a:lnTo>
                    <a:lnTo>
                      <a:pt x="9469" y="3681"/>
                    </a:lnTo>
                    <a:lnTo>
                      <a:pt x="9443" y="3441"/>
                    </a:lnTo>
                    <a:lnTo>
                      <a:pt x="9416" y="3201"/>
                    </a:lnTo>
                    <a:lnTo>
                      <a:pt x="9336" y="2961"/>
                    </a:lnTo>
                    <a:lnTo>
                      <a:pt x="9283" y="2721"/>
                    </a:lnTo>
                    <a:lnTo>
                      <a:pt x="9069" y="2267"/>
                    </a:lnTo>
                    <a:lnTo>
                      <a:pt x="8829" y="1841"/>
                    </a:lnTo>
                    <a:lnTo>
                      <a:pt x="8536" y="1440"/>
                    </a:lnTo>
                    <a:lnTo>
                      <a:pt x="8189" y="1094"/>
                    </a:lnTo>
                    <a:lnTo>
                      <a:pt x="7789" y="774"/>
                    </a:lnTo>
                    <a:lnTo>
                      <a:pt x="7389" y="507"/>
                    </a:lnTo>
                    <a:lnTo>
                      <a:pt x="6935" y="293"/>
                    </a:lnTo>
                    <a:lnTo>
                      <a:pt x="6455" y="133"/>
                    </a:lnTo>
                    <a:lnTo>
                      <a:pt x="6215" y="80"/>
                    </a:lnTo>
                    <a:lnTo>
                      <a:pt x="5975" y="27"/>
                    </a:lnTo>
                    <a:lnTo>
                      <a:pt x="5708" y="0"/>
                    </a:lnTo>
                    <a:close/>
                  </a:path>
                </a:pathLst>
              </a:custGeom>
              <a:solidFill>
                <a:srgbClr val="46464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68" name="Google Shape;868;p16"/>
              <p:cNvSpPr/>
              <p:nvPr/>
            </p:nvSpPr>
            <p:spPr>
              <a:xfrm>
                <a:off x="8453956" y="6453833"/>
                <a:ext cx="214415" cy="141057"/>
              </a:xfrm>
              <a:custGeom>
                <a:avLst/>
                <a:gdLst/>
                <a:ahLst/>
                <a:cxnLst/>
                <a:rect l="l" t="t" r="r" b="b"/>
                <a:pathLst>
                  <a:path w="16219" h="10670" extrusionOk="0">
                    <a:moveTo>
                      <a:pt x="561" y="0"/>
                    </a:moveTo>
                    <a:lnTo>
                      <a:pt x="1" y="5602"/>
                    </a:lnTo>
                    <a:lnTo>
                      <a:pt x="81" y="6108"/>
                    </a:lnTo>
                    <a:lnTo>
                      <a:pt x="187" y="6642"/>
                    </a:lnTo>
                    <a:lnTo>
                      <a:pt x="347" y="7149"/>
                    </a:lnTo>
                    <a:lnTo>
                      <a:pt x="588" y="7629"/>
                    </a:lnTo>
                    <a:lnTo>
                      <a:pt x="721" y="7869"/>
                    </a:lnTo>
                    <a:lnTo>
                      <a:pt x="881" y="8109"/>
                    </a:lnTo>
                    <a:lnTo>
                      <a:pt x="1041" y="8349"/>
                    </a:lnTo>
                    <a:lnTo>
                      <a:pt x="1228" y="8562"/>
                    </a:lnTo>
                    <a:lnTo>
                      <a:pt x="1414" y="8776"/>
                    </a:lnTo>
                    <a:lnTo>
                      <a:pt x="1628" y="8962"/>
                    </a:lnTo>
                    <a:lnTo>
                      <a:pt x="1868" y="9176"/>
                    </a:lnTo>
                    <a:lnTo>
                      <a:pt x="2108" y="9363"/>
                    </a:lnTo>
                    <a:lnTo>
                      <a:pt x="2375" y="9523"/>
                    </a:lnTo>
                    <a:lnTo>
                      <a:pt x="2668" y="9709"/>
                    </a:lnTo>
                    <a:lnTo>
                      <a:pt x="2988" y="9843"/>
                    </a:lnTo>
                    <a:lnTo>
                      <a:pt x="3308" y="10003"/>
                    </a:lnTo>
                    <a:lnTo>
                      <a:pt x="3655" y="10136"/>
                    </a:lnTo>
                    <a:lnTo>
                      <a:pt x="4028" y="10243"/>
                    </a:lnTo>
                    <a:lnTo>
                      <a:pt x="4402" y="10350"/>
                    </a:lnTo>
                    <a:lnTo>
                      <a:pt x="4829" y="10456"/>
                    </a:lnTo>
                    <a:lnTo>
                      <a:pt x="5255" y="10536"/>
                    </a:lnTo>
                    <a:lnTo>
                      <a:pt x="5709" y="10590"/>
                    </a:lnTo>
                    <a:lnTo>
                      <a:pt x="6189" y="10643"/>
                    </a:lnTo>
                    <a:lnTo>
                      <a:pt x="6669" y="10670"/>
                    </a:lnTo>
                    <a:lnTo>
                      <a:pt x="7736" y="10670"/>
                    </a:lnTo>
                    <a:lnTo>
                      <a:pt x="8323" y="10643"/>
                    </a:lnTo>
                    <a:lnTo>
                      <a:pt x="8910" y="10616"/>
                    </a:lnTo>
                    <a:lnTo>
                      <a:pt x="9657" y="10510"/>
                    </a:lnTo>
                    <a:lnTo>
                      <a:pt x="10377" y="10376"/>
                    </a:lnTo>
                    <a:lnTo>
                      <a:pt x="11070" y="10163"/>
                    </a:lnTo>
                    <a:lnTo>
                      <a:pt x="11764" y="9949"/>
                    </a:lnTo>
                    <a:lnTo>
                      <a:pt x="12404" y="9656"/>
                    </a:lnTo>
                    <a:lnTo>
                      <a:pt x="13018" y="9363"/>
                    </a:lnTo>
                    <a:lnTo>
                      <a:pt x="13604" y="9016"/>
                    </a:lnTo>
                    <a:lnTo>
                      <a:pt x="14138" y="8642"/>
                    </a:lnTo>
                    <a:lnTo>
                      <a:pt x="14618" y="8216"/>
                    </a:lnTo>
                    <a:lnTo>
                      <a:pt x="15045" y="7789"/>
                    </a:lnTo>
                    <a:lnTo>
                      <a:pt x="15418" y="7335"/>
                    </a:lnTo>
                    <a:lnTo>
                      <a:pt x="15578" y="7095"/>
                    </a:lnTo>
                    <a:lnTo>
                      <a:pt x="15738" y="6882"/>
                    </a:lnTo>
                    <a:lnTo>
                      <a:pt x="15872" y="6615"/>
                    </a:lnTo>
                    <a:lnTo>
                      <a:pt x="15978" y="6375"/>
                    </a:lnTo>
                    <a:lnTo>
                      <a:pt x="16058" y="6135"/>
                    </a:lnTo>
                    <a:lnTo>
                      <a:pt x="16138" y="5868"/>
                    </a:lnTo>
                    <a:lnTo>
                      <a:pt x="16192" y="5628"/>
                    </a:lnTo>
                    <a:lnTo>
                      <a:pt x="16218" y="5362"/>
                    </a:lnTo>
                    <a:lnTo>
                      <a:pt x="16218" y="5095"/>
                    </a:lnTo>
                    <a:lnTo>
                      <a:pt x="16218" y="4828"/>
                    </a:lnTo>
                    <a:lnTo>
                      <a:pt x="15818" y="854"/>
                    </a:lnTo>
                    <a:lnTo>
                      <a:pt x="561" y="0"/>
                    </a:lnTo>
                    <a:close/>
                  </a:path>
                </a:pathLst>
              </a:custGeom>
              <a:solidFill>
                <a:srgbClr val="46464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69" name="Google Shape;869;p16"/>
              <p:cNvSpPr/>
              <p:nvPr/>
            </p:nvSpPr>
            <p:spPr>
              <a:xfrm>
                <a:off x="8390125" y="7163368"/>
                <a:ext cx="128022" cy="53964"/>
              </a:xfrm>
              <a:custGeom>
                <a:avLst/>
                <a:gdLst/>
                <a:ahLst/>
                <a:cxnLst/>
                <a:rect l="l" t="t" r="r" b="b"/>
                <a:pathLst>
                  <a:path w="9684" h="4082" extrusionOk="0">
                    <a:moveTo>
                      <a:pt x="6002" y="1"/>
                    </a:moveTo>
                    <a:lnTo>
                      <a:pt x="5522" y="321"/>
                    </a:lnTo>
                    <a:lnTo>
                      <a:pt x="5015" y="614"/>
                    </a:lnTo>
                    <a:lnTo>
                      <a:pt x="4402" y="988"/>
                    </a:lnTo>
                    <a:lnTo>
                      <a:pt x="3682" y="1335"/>
                    </a:lnTo>
                    <a:lnTo>
                      <a:pt x="2988" y="1681"/>
                    </a:lnTo>
                    <a:lnTo>
                      <a:pt x="2641" y="1815"/>
                    </a:lnTo>
                    <a:lnTo>
                      <a:pt x="2321" y="1921"/>
                    </a:lnTo>
                    <a:lnTo>
                      <a:pt x="2028" y="2001"/>
                    </a:lnTo>
                    <a:lnTo>
                      <a:pt x="1761" y="2055"/>
                    </a:lnTo>
                    <a:lnTo>
                      <a:pt x="1388" y="2108"/>
                    </a:lnTo>
                    <a:lnTo>
                      <a:pt x="1068" y="2215"/>
                    </a:lnTo>
                    <a:lnTo>
                      <a:pt x="801" y="2322"/>
                    </a:lnTo>
                    <a:lnTo>
                      <a:pt x="588" y="2482"/>
                    </a:lnTo>
                    <a:lnTo>
                      <a:pt x="428" y="2642"/>
                    </a:lnTo>
                    <a:lnTo>
                      <a:pt x="267" y="2802"/>
                    </a:lnTo>
                    <a:lnTo>
                      <a:pt x="187" y="2988"/>
                    </a:lnTo>
                    <a:lnTo>
                      <a:pt x="107" y="3175"/>
                    </a:lnTo>
                    <a:lnTo>
                      <a:pt x="54" y="3335"/>
                    </a:lnTo>
                    <a:lnTo>
                      <a:pt x="27" y="3522"/>
                    </a:lnTo>
                    <a:lnTo>
                      <a:pt x="1" y="3815"/>
                    </a:lnTo>
                    <a:lnTo>
                      <a:pt x="27" y="4002"/>
                    </a:lnTo>
                    <a:lnTo>
                      <a:pt x="27" y="4082"/>
                    </a:lnTo>
                    <a:lnTo>
                      <a:pt x="9443" y="4055"/>
                    </a:lnTo>
                    <a:lnTo>
                      <a:pt x="9577" y="3655"/>
                    </a:lnTo>
                    <a:lnTo>
                      <a:pt x="9657" y="3282"/>
                    </a:lnTo>
                    <a:lnTo>
                      <a:pt x="9683" y="3095"/>
                    </a:lnTo>
                    <a:lnTo>
                      <a:pt x="9683" y="2935"/>
                    </a:lnTo>
                    <a:lnTo>
                      <a:pt x="9657" y="2402"/>
                    </a:lnTo>
                    <a:lnTo>
                      <a:pt x="9630" y="1895"/>
                    </a:lnTo>
                    <a:lnTo>
                      <a:pt x="9550" y="1415"/>
                    </a:lnTo>
                    <a:lnTo>
                      <a:pt x="9470" y="961"/>
                    </a:lnTo>
                    <a:lnTo>
                      <a:pt x="9337" y="268"/>
                    </a:lnTo>
                    <a:lnTo>
                      <a:pt x="9257" y="1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70" name="Google Shape;870;p16"/>
              <p:cNvSpPr/>
              <p:nvPr/>
            </p:nvSpPr>
            <p:spPr>
              <a:xfrm>
                <a:off x="8559751" y="7163368"/>
                <a:ext cx="92051" cy="53964"/>
              </a:xfrm>
              <a:custGeom>
                <a:avLst/>
                <a:gdLst/>
                <a:ahLst/>
                <a:cxnLst/>
                <a:rect l="l" t="t" r="r" b="b"/>
                <a:pathLst>
                  <a:path w="6963" h="4082" extrusionOk="0">
                    <a:moveTo>
                      <a:pt x="3095" y="1"/>
                    </a:moveTo>
                    <a:lnTo>
                      <a:pt x="2935" y="321"/>
                    </a:lnTo>
                    <a:lnTo>
                      <a:pt x="2775" y="614"/>
                    </a:lnTo>
                    <a:lnTo>
                      <a:pt x="2535" y="961"/>
                    </a:lnTo>
                    <a:lnTo>
                      <a:pt x="2268" y="1335"/>
                    </a:lnTo>
                    <a:lnTo>
                      <a:pt x="2108" y="1495"/>
                    </a:lnTo>
                    <a:lnTo>
                      <a:pt x="1948" y="1655"/>
                    </a:lnTo>
                    <a:lnTo>
                      <a:pt x="1788" y="1815"/>
                    </a:lnTo>
                    <a:lnTo>
                      <a:pt x="1601" y="1921"/>
                    </a:lnTo>
                    <a:lnTo>
                      <a:pt x="1441" y="2001"/>
                    </a:lnTo>
                    <a:lnTo>
                      <a:pt x="1255" y="2055"/>
                    </a:lnTo>
                    <a:lnTo>
                      <a:pt x="988" y="2108"/>
                    </a:lnTo>
                    <a:lnTo>
                      <a:pt x="774" y="2215"/>
                    </a:lnTo>
                    <a:lnTo>
                      <a:pt x="588" y="2322"/>
                    </a:lnTo>
                    <a:lnTo>
                      <a:pt x="428" y="2455"/>
                    </a:lnTo>
                    <a:lnTo>
                      <a:pt x="294" y="2615"/>
                    </a:lnTo>
                    <a:lnTo>
                      <a:pt x="214" y="2802"/>
                    </a:lnTo>
                    <a:lnTo>
                      <a:pt x="134" y="2962"/>
                    </a:lnTo>
                    <a:lnTo>
                      <a:pt x="81" y="3148"/>
                    </a:lnTo>
                    <a:lnTo>
                      <a:pt x="28" y="3495"/>
                    </a:lnTo>
                    <a:lnTo>
                      <a:pt x="1" y="3789"/>
                    </a:lnTo>
                    <a:lnTo>
                      <a:pt x="28" y="4082"/>
                    </a:lnTo>
                    <a:lnTo>
                      <a:pt x="6696" y="4055"/>
                    </a:lnTo>
                    <a:lnTo>
                      <a:pt x="6749" y="4002"/>
                    </a:lnTo>
                    <a:lnTo>
                      <a:pt x="6829" y="3789"/>
                    </a:lnTo>
                    <a:lnTo>
                      <a:pt x="6883" y="3575"/>
                    </a:lnTo>
                    <a:lnTo>
                      <a:pt x="6936" y="3335"/>
                    </a:lnTo>
                    <a:lnTo>
                      <a:pt x="6963" y="2988"/>
                    </a:lnTo>
                    <a:lnTo>
                      <a:pt x="6963" y="2562"/>
                    </a:lnTo>
                    <a:lnTo>
                      <a:pt x="6936" y="2161"/>
                    </a:lnTo>
                    <a:lnTo>
                      <a:pt x="6883" y="1761"/>
                    </a:lnTo>
                    <a:lnTo>
                      <a:pt x="6803" y="1335"/>
                    </a:lnTo>
                    <a:lnTo>
                      <a:pt x="6696" y="908"/>
                    </a:lnTo>
                    <a:lnTo>
                      <a:pt x="6509" y="268"/>
                    </a:lnTo>
                    <a:lnTo>
                      <a:pt x="6429" y="1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71" name="Google Shape;871;p16"/>
              <p:cNvSpPr/>
              <p:nvPr/>
            </p:nvSpPr>
            <p:spPr>
              <a:xfrm>
                <a:off x="8555877" y="6052850"/>
                <a:ext cx="124136" cy="505335"/>
              </a:xfrm>
              <a:custGeom>
                <a:avLst/>
                <a:gdLst/>
                <a:ahLst/>
                <a:cxnLst/>
                <a:rect l="l" t="t" r="r" b="b"/>
                <a:pathLst>
                  <a:path w="9390" h="38225" extrusionOk="0">
                    <a:moveTo>
                      <a:pt x="2454" y="1"/>
                    </a:moveTo>
                    <a:lnTo>
                      <a:pt x="2454" y="54"/>
                    </a:lnTo>
                    <a:lnTo>
                      <a:pt x="2454" y="188"/>
                    </a:lnTo>
                    <a:lnTo>
                      <a:pt x="2401" y="508"/>
                    </a:lnTo>
                    <a:lnTo>
                      <a:pt x="2161" y="1495"/>
                    </a:lnTo>
                    <a:lnTo>
                      <a:pt x="2028" y="2135"/>
                    </a:lnTo>
                    <a:lnTo>
                      <a:pt x="1868" y="2855"/>
                    </a:lnTo>
                    <a:lnTo>
                      <a:pt x="1734" y="3629"/>
                    </a:lnTo>
                    <a:lnTo>
                      <a:pt x="1628" y="4482"/>
                    </a:lnTo>
                    <a:lnTo>
                      <a:pt x="1548" y="5282"/>
                    </a:lnTo>
                    <a:lnTo>
                      <a:pt x="1441" y="6029"/>
                    </a:lnTo>
                    <a:lnTo>
                      <a:pt x="1227" y="7336"/>
                    </a:lnTo>
                    <a:lnTo>
                      <a:pt x="1014" y="8483"/>
                    </a:lnTo>
                    <a:lnTo>
                      <a:pt x="827" y="9630"/>
                    </a:lnTo>
                    <a:lnTo>
                      <a:pt x="641" y="10884"/>
                    </a:lnTo>
                    <a:lnTo>
                      <a:pt x="561" y="11577"/>
                    </a:lnTo>
                    <a:lnTo>
                      <a:pt x="507" y="12378"/>
                    </a:lnTo>
                    <a:lnTo>
                      <a:pt x="454" y="13231"/>
                    </a:lnTo>
                    <a:lnTo>
                      <a:pt x="427" y="14218"/>
                    </a:lnTo>
                    <a:lnTo>
                      <a:pt x="401" y="15312"/>
                    </a:lnTo>
                    <a:lnTo>
                      <a:pt x="374" y="16565"/>
                    </a:lnTo>
                    <a:lnTo>
                      <a:pt x="374" y="18086"/>
                    </a:lnTo>
                    <a:lnTo>
                      <a:pt x="321" y="20166"/>
                    </a:lnTo>
                    <a:lnTo>
                      <a:pt x="214" y="25608"/>
                    </a:lnTo>
                    <a:lnTo>
                      <a:pt x="80" y="31876"/>
                    </a:lnTo>
                    <a:lnTo>
                      <a:pt x="27" y="35050"/>
                    </a:lnTo>
                    <a:lnTo>
                      <a:pt x="0" y="38064"/>
                    </a:lnTo>
                    <a:lnTo>
                      <a:pt x="1227" y="38171"/>
                    </a:lnTo>
                    <a:lnTo>
                      <a:pt x="2401" y="38198"/>
                    </a:lnTo>
                    <a:lnTo>
                      <a:pt x="3548" y="38225"/>
                    </a:lnTo>
                    <a:lnTo>
                      <a:pt x="4668" y="38198"/>
                    </a:lnTo>
                    <a:lnTo>
                      <a:pt x="6936" y="38118"/>
                    </a:lnTo>
                    <a:lnTo>
                      <a:pt x="8136" y="38091"/>
                    </a:lnTo>
                    <a:lnTo>
                      <a:pt x="9336" y="38064"/>
                    </a:lnTo>
                    <a:lnTo>
                      <a:pt x="9230" y="36651"/>
                    </a:lnTo>
                    <a:lnTo>
                      <a:pt x="9016" y="34970"/>
                    </a:lnTo>
                    <a:lnTo>
                      <a:pt x="8803" y="33130"/>
                    </a:lnTo>
                    <a:lnTo>
                      <a:pt x="8509" y="31156"/>
                    </a:lnTo>
                    <a:lnTo>
                      <a:pt x="8216" y="29182"/>
                    </a:lnTo>
                    <a:lnTo>
                      <a:pt x="7896" y="27208"/>
                    </a:lnTo>
                    <a:lnTo>
                      <a:pt x="7576" y="25341"/>
                    </a:lnTo>
                    <a:lnTo>
                      <a:pt x="7256" y="23634"/>
                    </a:lnTo>
                    <a:lnTo>
                      <a:pt x="7149" y="22914"/>
                    </a:lnTo>
                    <a:lnTo>
                      <a:pt x="7096" y="22220"/>
                    </a:lnTo>
                    <a:lnTo>
                      <a:pt x="7096" y="21553"/>
                    </a:lnTo>
                    <a:lnTo>
                      <a:pt x="7149" y="20887"/>
                    </a:lnTo>
                    <a:lnTo>
                      <a:pt x="7229" y="20246"/>
                    </a:lnTo>
                    <a:lnTo>
                      <a:pt x="7336" y="19606"/>
                    </a:lnTo>
                    <a:lnTo>
                      <a:pt x="7469" y="18966"/>
                    </a:lnTo>
                    <a:lnTo>
                      <a:pt x="7629" y="18326"/>
                    </a:lnTo>
                    <a:lnTo>
                      <a:pt x="7976" y="17072"/>
                    </a:lnTo>
                    <a:lnTo>
                      <a:pt x="8323" y="15792"/>
                    </a:lnTo>
                    <a:lnTo>
                      <a:pt x="8456" y="15152"/>
                    </a:lnTo>
                    <a:lnTo>
                      <a:pt x="8589" y="14511"/>
                    </a:lnTo>
                    <a:lnTo>
                      <a:pt x="8696" y="13845"/>
                    </a:lnTo>
                    <a:lnTo>
                      <a:pt x="8776" y="13178"/>
                    </a:lnTo>
                    <a:lnTo>
                      <a:pt x="8883" y="12298"/>
                    </a:lnTo>
                    <a:lnTo>
                      <a:pt x="8990" y="11391"/>
                    </a:lnTo>
                    <a:lnTo>
                      <a:pt x="9123" y="10457"/>
                    </a:lnTo>
                    <a:lnTo>
                      <a:pt x="9256" y="9523"/>
                    </a:lnTo>
                    <a:lnTo>
                      <a:pt x="9363" y="8590"/>
                    </a:lnTo>
                    <a:lnTo>
                      <a:pt x="9390" y="8110"/>
                    </a:lnTo>
                    <a:lnTo>
                      <a:pt x="9390" y="7630"/>
                    </a:lnTo>
                    <a:lnTo>
                      <a:pt x="9390" y="7176"/>
                    </a:lnTo>
                    <a:lnTo>
                      <a:pt x="9363" y="6723"/>
                    </a:lnTo>
                    <a:lnTo>
                      <a:pt x="9336" y="6243"/>
                    </a:lnTo>
                    <a:lnTo>
                      <a:pt x="9256" y="5789"/>
                    </a:lnTo>
                    <a:lnTo>
                      <a:pt x="9150" y="5362"/>
                    </a:lnTo>
                    <a:lnTo>
                      <a:pt x="9016" y="4909"/>
                    </a:lnTo>
                    <a:lnTo>
                      <a:pt x="8856" y="4482"/>
                    </a:lnTo>
                    <a:lnTo>
                      <a:pt x="8643" y="4055"/>
                    </a:lnTo>
                    <a:lnTo>
                      <a:pt x="8403" y="3655"/>
                    </a:lnTo>
                    <a:lnTo>
                      <a:pt x="8136" y="3228"/>
                    </a:lnTo>
                    <a:lnTo>
                      <a:pt x="7789" y="2855"/>
                    </a:lnTo>
                    <a:lnTo>
                      <a:pt x="7442" y="2482"/>
                    </a:lnTo>
                    <a:lnTo>
                      <a:pt x="7016" y="2108"/>
                    </a:lnTo>
                    <a:lnTo>
                      <a:pt x="6536" y="1761"/>
                    </a:lnTo>
                    <a:lnTo>
                      <a:pt x="6002" y="1415"/>
                    </a:lnTo>
                    <a:lnTo>
                      <a:pt x="5415" y="1094"/>
                    </a:lnTo>
                    <a:lnTo>
                      <a:pt x="4775" y="801"/>
                    </a:lnTo>
                    <a:lnTo>
                      <a:pt x="4055" y="508"/>
                    </a:lnTo>
                    <a:lnTo>
                      <a:pt x="3281" y="241"/>
                    </a:lnTo>
                    <a:lnTo>
                      <a:pt x="2454" y="1"/>
                    </a:lnTo>
                    <a:close/>
                  </a:path>
                </a:pathLst>
              </a:custGeom>
              <a:solidFill>
                <a:srgbClr val="FFB6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72" name="Google Shape;872;p16"/>
              <p:cNvSpPr/>
              <p:nvPr/>
            </p:nvSpPr>
            <p:spPr>
              <a:xfrm>
                <a:off x="8555877" y="6052850"/>
                <a:ext cx="124136" cy="505335"/>
              </a:xfrm>
              <a:custGeom>
                <a:avLst/>
                <a:gdLst/>
                <a:ahLst/>
                <a:cxnLst/>
                <a:rect l="l" t="t" r="r" b="b"/>
                <a:pathLst>
                  <a:path w="9390" h="38225" fill="none" extrusionOk="0">
                    <a:moveTo>
                      <a:pt x="0" y="38064"/>
                    </a:moveTo>
                    <a:lnTo>
                      <a:pt x="0" y="38064"/>
                    </a:lnTo>
                    <a:lnTo>
                      <a:pt x="1227" y="38171"/>
                    </a:lnTo>
                    <a:lnTo>
                      <a:pt x="2401" y="38198"/>
                    </a:lnTo>
                    <a:lnTo>
                      <a:pt x="3548" y="38225"/>
                    </a:lnTo>
                    <a:lnTo>
                      <a:pt x="4668" y="38198"/>
                    </a:lnTo>
                    <a:lnTo>
                      <a:pt x="6936" y="38118"/>
                    </a:lnTo>
                    <a:lnTo>
                      <a:pt x="8136" y="38091"/>
                    </a:lnTo>
                    <a:lnTo>
                      <a:pt x="9336" y="38064"/>
                    </a:lnTo>
                    <a:lnTo>
                      <a:pt x="9336" y="38064"/>
                    </a:lnTo>
                    <a:lnTo>
                      <a:pt x="9230" y="36651"/>
                    </a:lnTo>
                    <a:lnTo>
                      <a:pt x="9016" y="34970"/>
                    </a:lnTo>
                    <a:lnTo>
                      <a:pt x="8803" y="33130"/>
                    </a:lnTo>
                    <a:lnTo>
                      <a:pt x="8509" y="31156"/>
                    </a:lnTo>
                    <a:lnTo>
                      <a:pt x="8216" y="29182"/>
                    </a:lnTo>
                    <a:lnTo>
                      <a:pt x="7896" y="27208"/>
                    </a:lnTo>
                    <a:lnTo>
                      <a:pt x="7576" y="25341"/>
                    </a:lnTo>
                    <a:lnTo>
                      <a:pt x="7256" y="23634"/>
                    </a:lnTo>
                    <a:lnTo>
                      <a:pt x="7256" y="23634"/>
                    </a:lnTo>
                    <a:lnTo>
                      <a:pt x="7149" y="22914"/>
                    </a:lnTo>
                    <a:lnTo>
                      <a:pt x="7096" y="22220"/>
                    </a:lnTo>
                    <a:lnTo>
                      <a:pt x="7096" y="21553"/>
                    </a:lnTo>
                    <a:lnTo>
                      <a:pt x="7149" y="20887"/>
                    </a:lnTo>
                    <a:lnTo>
                      <a:pt x="7229" y="20246"/>
                    </a:lnTo>
                    <a:lnTo>
                      <a:pt x="7336" y="19606"/>
                    </a:lnTo>
                    <a:lnTo>
                      <a:pt x="7469" y="18966"/>
                    </a:lnTo>
                    <a:lnTo>
                      <a:pt x="7629" y="18326"/>
                    </a:lnTo>
                    <a:lnTo>
                      <a:pt x="7976" y="17072"/>
                    </a:lnTo>
                    <a:lnTo>
                      <a:pt x="8323" y="15792"/>
                    </a:lnTo>
                    <a:lnTo>
                      <a:pt x="8456" y="15152"/>
                    </a:lnTo>
                    <a:lnTo>
                      <a:pt x="8589" y="14511"/>
                    </a:lnTo>
                    <a:lnTo>
                      <a:pt x="8696" y="13845"/>
                    </a:lnTo>
                    <a:lnTo>
                      <a:pt x="8776" y="13178"/>
                    </a:lnTo>
                    <a:lnTo>
                      <a:pt x="8776" y="13178"/>
                    </a:lnTo>
                    <a:lnTo>
                      <a:pt x="8883" y="12298"/>
                    </a:lnTo>
                    <a:lnTo>
                      <a:pt x="8990" y="11391"/>
                    </a:lnTo>
                    <a:lnTo>
                      <a:pt x="9123" y="10457"/>
                    </a:lnTo>
                    <a:lnTo>
                      <a:pt x="9256" y="9523"/>
                    </a:lnTo>
                    <a:lnTo>
                      <a:pt x="9363" y="8590"/>
                    </a:lnTo>
                    <a:lnTo>
                      <a:pt x="9390" y="8110"/>
                    </a:lnTo>
                    <a:lnTo>
                      <a:pt x="9390" y="7630"/>
                    </a:lnTo>
                    <a:lnTo>
                      <a:pt x="9390" y="7176"/>
                    </a:lnTo>
                    <a:lnTo>
                      <a:pt x="9363" y="6723"/>
                    </a:lnTo>
                    <a:lnTo>
                      <a:pt x="9336" y="6243"/>
                    </a:lnTo>
                    <a:lnTo>
                      <a:pt x="9256" y="5789"/>
                    </a:lnTo>
                    <a:lnTo>
                      <a:pt x="9150" y="5362"/>
                    </a:lnTo>
                    <a:lnTo>
                      <a:pt x="9016" y="4909"/>
                    </a:lnTo>
                    <a:lnTo>
                      <a:pt x="8856" y="4482"/>
                    </a:lnTo>
                    <a:lnTo>
                      <a:pt x="8643" y="4055"/>
                    </a:lnTo>
                    <a:lnTo>
                      <a:pt x="8403" y="3655"/>
                    </a:lnTo>
                    <a:lnTo>
                      <a:pt x="8136" y="3228"/>
                    </a:lnTo>
                    <a:lnTo>
                      <a:pt x="7789" y="2855"/>
                    </a:lnTo>
                    <a:lnTo>
                      <a:pt x="7442" y="2482"/>
                    </a:lnTo>
                    <a:lnTo>
                      <a:pt x="7016" y="2108"/>
                    </a:lnTo>
                    <a:lnTo>
                      <a:pt x="6536" y="1761"/>
                    </a:lnTo>
                    <a:lnTo>
                      <a:pt x="6002" y="1415"/>
                    </a:lnTo>
                    <a:lnTo>
                      <a:pt x="5415" y="1094"/>
                    </a:lnTo>
                    <a:lnTo>
                      <a:pt x="4775" y="801"/>
                    </a:lnTo>
                    <a:lnTo>
                      <a:pt x="4055" y="508"/>
                    </a:lnTo>
                    <a:lnTo>
                      <a:pt x="3281" y="241"/>
                    </a:lnTo>
                    <a:lnTo>
                      <a:pt x="2454" y="1"/>
                    </a:lnTo>
                    <a:lnTo>
                      <a:pt x="2454" y="1"/>
                    </a:lnTo>
                    <a:lnTo>
                      <a:pt x="2454" y="54"/>
                    </a:lnTo>
                    <a:lnTo>
                      <a:pt x="2454" y="188"/>
                    </a:lnTo>
                    <a:lnTo>
                      <a:pt x="2401" y="508"/>
                    </a:lnTo>
                    <a:lnTo>
                      <a:pt x="2161" y="1495"/>
                    </a:lnTo>
                    <a:lnTo>
                      <a:pt x="2028" y="2135"/>
                    </a:lnTo>
                    <a:lnTo>
                      <a:pt x="1868" y="2855"/>
                    </a:lnTo>
                    <a:lnTo>
                      <a:pt x="1734" y="3629"/>
                    </a:lnTo>
                    <a:lnTo>
                      <a:pt x="1628" y="4482"/>
                    </a:lnTo>
                    <a:lnTo>
                      <a:pt x="1628" y="4482"/>
                    </a:lnTo>
                    <a:lnTo>
                      <a:pt x="1548" y="5282"/>
                    </a:lnTo>
                    <a:lnTo>
                      <a:pt x="1441" y="6029"/>
                    </a:lnTo>
                    <a:lnTo>
                      <a:pt x="1227" y="7336"/>
                    </a:lnTo>
                    <a:lnTo>
                      <a:pt x="1014" y="8483"/>
                    </a:lnTo>
                    <a:lnTo>
                      <a:pt x="827" y="9630"/>
                    </a:lnTo>
                    <a:lnTo>
                      <a:pt x="641" y="10884"/>
                    </a:lnTo>
                    <a:lnTo>
                      <a:pt x="561" y="11577"/>
                    </a:lnTo>
                    <a:lnTo>
                      <a:pt x="507" y="12378"/>
                    </a:lnTo>
                    <a:lnTo>
                      <a:pt x="454" y="13231"/>
                    </a:lnTo>
                    <a:lnTo>
                      <a:pt x="427" y="14218"/>
                    </a:lnTo>
                    <a:lnTo>
                      <a:pt x="401" y="15312"/>
                    </a:lnTo>
                    <a:lnTo>
                      <a:pt x="374" y="16565"/>
                    </a:lnTo>
                    <a:lnTo>
                      <a:pt x="374" y="16565"/>
                    </a:lnTo>
                    <a:lnTo>
                      <a:pt x="374" y="18086"/>
                    </a:lnTo>
                    <a:lnTo>
                      <a:pt x="321" y="20166"/>
                    </a:lnTo>
                    <a:lnTo>
                      <a:pt x="214" y="25608"/>
                    </a:lnTo>
                    <a:lnTo>
                      <a:pt x="80" y="31876"/>
                    </a:lnTo>
                    <a:lnTo>
                      <a:pt x="27" y="35050"/>
                    </a:lnTo>
                    <a:lnTo>
                      <a:pt x="0" y="38064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73" name="Google Shape;873;p16"/>
              <p:cNvSpPr/>
              <p:nvPr/>
            </p:nvSpPr>
            <p:spPr>
              <a:xfrm>
                <a:off x="8602785" y="6118453"/>
                <a:ext cx="77231" cy="239798"/>
              </a:xfrm>
              <a:custGeom>
                <a:avLst/>
                <a:gdLst/>
                <a:ahLst/>
                <a:cxnLst/>
                <a:rect l="l" t="t" r="r" b="b"/>
                <a:pathLst>
                  <a:path w="5842" h="18139" extrusionOk="0">
                    <a:moveTo>
                      <a:pt x="5495" y="0"/>
                    </a:moveTo>
                    <a:lnTo>
                      <a:pt x="3494" y="54"/>
                    </a:lnTo>
                    <a:lnTo>
                      <a:pt x="1761" y="107"/>
                    </a:lnTo>
                    <a:lnTo>
                      <a:pt x="0" y="160"/>
                    </a:lnTo>
                    <a:lnTo>
                      <a:pt x="107" y="667"/>
                    </a:lnTo>
                    <a:lnTo>
                      <a:pt x="133" y="1201"/>
                    </a:lnTo>
                    <a:lnTo>
                      <a:pt x="160" y="2321"/>
                    </a:lnTo>
                    <a:lnTo>
                      <a:pt x="213" y="3468"/>
                    </a:lnTo>
                    <a:lnTo>
                      <a:pt x="320" y="4588"/>
                    </a:lnTo>
                    <a:lnTo>
                      <a:pt x="347" y="4641"/>
                    </a:lnTo>
                    <a:lnTo>
                      <a:pt x="694" y="6615"/>
                    </a:lnTo>
                    <a:lnTo>
                      <a:pt x="907" y="7629"/>
                    </a:lnTo>
                    <a:lnTo>
                      <a:pt x="1120" y="8616"/>
                    </a:lnTo>
                    <a:lnTo>
                      <a:pt x="1627" y="10590"/>
                    </a:lnTo>
                    <a:lnTo>
                      <a:pt x="2134" y="12564"/>
                    </a:lnTo>
                    <a:lnTo>
                      <a:pt x="2694" y="14511"/>
                    </a:lnTo>
                    <a:lnTo>
                      <a:pt x="3228" y="16485"/>
                    </a:lnTo>
                    <a:lnTo>
                      <a:pt x="3628" y="18138"/>
                    </a:lnTo>
                    <a:lnTo>
                      <a:pt x="3574" y="17472"/>
                    </a:lnTo>
                    <a:lnTo>
                      <a:pt x="3548" y="16831"/>
                    </a:lnTo>
                    <a:lnTo>
                      <a:pt x="3574" y="16191"/>
                    </a:lnTo>
                    <a:lnTo>
                      <a:pt x="3654" y="15578"/>
                    </a:lnTo>
                    <a:lnTo>
                      <a:pt x="3734" y="14964"/>
                    </a:lnTo>
                    <a:lnTo>
                      <a:pt x="3868" y="14351"/>
                    </a:lnTo>
                    <a:lnTo>
                      <a:pt x="4001" y="13737"/>
                    </a:lnTo>
                    <a:lnTo>
                      <a:pt x="4161" y="13124"/>
                    </a:lnTo>
                    <a:lnTo>
                      <a:pt x="4481" y="11923"/>
                    </a:lnTo>
                    <a:lnTo>
                      <a:pt x="4801" y="10723"/>
                    </a:lnTo>
                    <a:lnTo>
                      <a:pt x="4935" y="10110"/>
                    </a:lnTo>
                    <a:lnTo>
                      <a:pt x="5068" y="9469"/>
                    </a:lnTo>
                    <a:lnTo>
                      <a:pt x="5148" y="8856"/>
                    </a:lnTo>
                    <a:lnTo>
                      <a:pt x="5228" y="8216"/>
                    </a:lnTo>
                    <a:lnTo>
                      <a:pt x="5335" y="7229"/>
                    </a:lnTo>
                    <a:lnTo>
                      <a:pt x="5468" y="6215"/>
                    </a:lnTo>
                    <a:lnTo>
                      <a:pt x="5628" y="5175"/>
                    </a:lnTo>
                    <a:lnTo>
                      <a:pt x="5762" y="4108"/>
                    </a:lnTo>
                    <a:lnTo>
                      <a:pt x="5815" y="3574"/>
                    </a:lnTo>
                    <a:lnTo>
                      <a:pt x="5842" y="3068"/>
                    </a:lnTo>
                    <a:lnTo>
                      <a:pt x="5842" y="2534"/>
                    </a:lnTo>
                    <a:lnTo>
                      <a:pt x="5842" y="2027"/>
                    </a:lnTo>
                    <a:lnTo>
                      <a:pt x="5815" y="1494"/>
                    </a:lnTo>
                    <a:lnTo>
                      <a:pt x="5735" y="987"/>
                    </a:lnTo>
                    <a:lnTo>
                      <a:pt x="5628" y="480"/>
                    </a:lnTo>
                    <a:lnTo>
                      <a:pt x="5495" y="0"/>
                    </a:lnTo>
                    <a:close/>
                  </a:path>
                </a:pathLst>
              </a:custGeom>
              <a:solidFill>
                <a:srgbClr val="C98F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74" name="Google Shape;874;p16"/>
              <p:cNvSpPr/>
              <p:nvPr/>
            </p:nvSpPr>
            <p:spPr>
              <a:xfrm>
                <a:off x="8431388" y="6049677"/>
                <a:ext cx="86763" cy="508864"/>
              </a:xfrm>
              <a:custGeom>
                <a:avLst/>
                <a:gdLst/>
                <a:ahLst/>
                <a:cxnLst/>
                <a:rect l="l" t="t" r="r" b="b"/>
                <a:pathLst>
                  <a:path w="6563" h="38492" extrusionOk="0">
                    <a:moveTo>
                      <a:pt x="6562" y="1"/>
                    </a:moveTo>
                    <a:lnTo>
                      <a:pt x="5869" y="348"/>
                    </a:lnTo>
                    <a:lnTo>
                      <a:pt x="5229" y="694"/>
                    </a:lnTo>
                    <a:lnTo>
                      <a:pt x="4615" y="1041"/>
                    </a:lnTo>
                    <a:lnTo>
                      <a:pt x="4082" y="1415"/>
                    </a:lnTo>
                    <a:lnTo>
                      <a:pt x="3602" y="1815"/>
                    </a:lnTo>
                    <a:lnTo>
                      <a:pt x="3175" y="2215"/>
                    </a:lnTo>
                    <a:lnTo>
                      <a:pt x="2775" y="2615"/>
                    </a:lnTo>
                    <a:lnTo>
                      <a:pt x="2428" y="3042"/>
                    </a:lnTo>
                    <a:lnTo>
                      <a:pt x="2134" y="3468"/>
                    </a:lnTo>
                    <a:lnTo>
                      <a:pt x="1868" y="3922"/>
                    </a:lnTo>
                    <a:lnTo>
                      <a:pt x="1628" y="4402"/>
                    </a:lnTo>
                    <a:lnTo>
                      <a:pt x="1441" y="4882"/>
                    </a:lnTo>
                    <a:lnTo>
                      <a:pt x="1281" y="5362"/>
                    </a:lnTo>
                    <a:lnTo>
                      <a:pt x="1148" y="5869"/>
                    </a:lnTo>
                    <a:lnTo>
                      <a:pt x="1041" y="6376"/>
                    </a:lnTo>
                    <a:lnTo>
                      <a:pt x="961" y="6909"/>
                    </a:lnTo>
                    <a:lnTo>
                      <a:pt x="907" y="7469"/>
                    </a:lnTo>
                    <a:lnTo>
                      <a:pt x="881" y="8030"/>
                    </a:lnTo>
                    <a:lnTo>
                      <a:pt x="854" y="8616"/>
                    </a:lnTo>
                    <a:lnTo>
                      <a:pt x="854" y="9203"/>
                    </a:lnTo>
                    <a:lnTo>
                      <a:pt x="881" y="10430"/>
                    </a:lnTo>
                    <a:lnTo>
                      <a:pt x="934" y="11711"/>
                    </a:lnTo>
                    <a:lnTo>
                      <a:pt x="1014" y="13071"/>
                    </a:lnTo>
                    <a:lnTo>
                      <a:pt x="1068" y="14485"/>
                    </a:lnTo>
                    <a:lnTo>
                      <a:pt x="1094" y="15978"/>
                    </a:lnTo>
                    <a:lnTo>
                      <a:pt x="1068" y="17526"/>
                    </a:lnTo>
                    <a:lnTo>
                      <a:pt x="1041" y="18459"/>
                    </a:lnTo>
                    <a:lnTo>
                      <a:pt x="988" y="19446"/>
                    </a:lnTo>
                    <a:lnTo>
                      <a:pt x="827" y="21580"/>
                    </a:lnTo>
                    <a:lnTo>
                      <a:pt x="614" y="23874"/>
                    </a:lnTo>
                    <a:lnTo>
                      <a:pt x="401" y="26355"/>
                    </a:lnTo>
                    <a:lnTo>
                      <a:pt x="214" y="29049"/>
                    </a:lnTo>
                    <a:lnTo>
                      <a:pt x="134" y="30489"/>
                    </a:lnTo>
                    <a:lnTo>
                      <a:pt x="81" y="31956"/>
                    </a:lnTo>
                    <a:lnTo>
                      <a:pt x="27" y="33503"/>
                    </a:lnTo>
                    <a:lnTo>
                      <a:pt x="1" y="35104"/>
                    </a:lnTo>
                    <a:lnTo>
                      <a:pt x="1" y="36757"/>
                    </a:lnTo>
                    <a:lnTo>
                      <a:pt x="54" y="38491"/>
                    </a:lnTo>
                    <a:lnTo>
                      <a:pt x="854" y="38491"/>
                    </a:lnTo>
                    <a:lnTo>
                      <a:pt x="1521" y="38465"/>
                    </a:lnTo>
                    <a:lnTo>
                      <a:pt x="2214" y="38411"/>
                    </a:lnTo>
                    <a:lnTo>
                      <a:pt x="3148" y="38304"/>
                    </a:lnTo>
                    <a:lnTo>
                      <a:pt x="3121" y="34517"/>
                    </a:lnTo>
                    <a:lnTo>
                      <a:pt x="3175" y="30516"/>
                    </a:lnTo>
                    <a:lnTo>
                      <a:pt x="3281" y="26435"/>
                    </a:lnTo>
                    <a:lnTo>
                      <a:pt x="3388" y="22487"/>
                    </a:lnTo>
                    <a:lnTo>
                      <a:pt x="3522" y="18886"/>
                    </a:lnTo>
                    <a:lnTo>
                      <a:pt x="3655" y="15765"/>
                    </a:lnTo>
                    <a:lnTo>
                      <a:pt x="3815" y="13338"/>
                    </a:lnTo>
                    <a:lnTo>
                      <a:pt x="3895" y="12457"/>
                    </a:lnTo>
                    <a:lnTo>
                      <a:pt x="3948" y="11817"/>
                    </a:lnTo>
                    <a:lnTo>
                      <a:pt x="4108" y="10617"/>
                    </a:lnTo>
                    <a:lnTo>
                      <a:pt x="4348" y="9150"/>
                    </a:lnTo>
                    <a:lnTo>
                      <a:pt x="4615" y="7576"/>
                    </a:lnTo>
                    <a:lnTo>
                      <a:pt x="4909" y="5896"/>
                    </a:lnTo>
                    <a:lnTo>
                      <a:pt x="5282" y="4242"/>
                    </a:lnTo>
                    <a:lnTo>
                      <a:pt x="5655" y="2695"/>
                    </a:lnTo>
                    <a:lnTo>
                      <a:pt x="5842" y="1975"/>
                    </a:lnTo>
                    <a:lnTo>
                      <a:pt x="6056" y="1281"/>
                    </a:lnTo>
                    <a:lnTo>
                      <a:pt x="6269" y="694"/>
                    </a:lnTo>
                    <a:lnTo>
                      <a:pt x="6482" y="161"/>
                    </a:lnTo>
                    <a:lnTo>
                      <a:pt x="6562" y="1"/>
                    </a:lnTo>
                    <a:close/>
                  </a:path>
                </a:pathLst>
              </a:custGeom>
              <a:solidFill>
                <a:srgbClr val="FFB6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75" name="Google Shape;875;p16"/>
              <p:cNvSpPr/>
              <p:nvPr/>
            </p:nvSpPr>
            <p:spPr>
              <a:xfrm>
                <a:off x="8431388" y="6049677"/>
                <a:ext cx="86763" cy="508864"/>
              </a:xfrm>
              <a:custGeom>
                <a:avLst/>
                <a:gdLst/>
                <a:ahLst/>
                <a:cxnLst/>
                <a:rect l="l" t="t" r="r" b="b"/>
                <a:pathLst>
                  <a:path w="6563" h="38492" fill="none" extrusionOk="0">
                    <a:moveTo>
                      <a:pt x="54" y="38491"/>
                    </a:moveTo>
                    <a:lnTo>
                      <a:pt x="54" y="38491"/>
                    </a:lnTo>
                    <a:lnTo>
                      <a:pt x="854" y="38491"/>
                    </a:lnTo>
                    <a:lnTo>
                      <a:pt x="1521" y="38465"/>
                    </a:lnTo>
                    <a:lnTo>
                      <a:pt x="2214" y="38411"/>
                    </a:lnTo>
                    <a:lnTo>
                      <a:pt x="3148" y="38304"/>
                    </a:lnTo>
                    <a:lnTo>
                      <a:pt x="3148" y="38304"/>
                    </a:lnTo>
                    <a:lnTo>
                      <a:pt x="3121" y="34517"/>
                    </a:lnTo>
                    <a:lnTo>
                      <a:pt x="3175" y="30516"/>
                    </a:lnTo>
                    <a:lnTo>
                      <a:pt x="3281" y="26435"/>
                    </a:lnTo>
                    <a:lnTo>
                      <a:pt x="3388" y="22487"/>
                    </a:lnTo>
                    <a:lnTo>
                      <a:pt x="3522" y="18886"/>
                    </a:lnTo>
                    <a:lnTo>
                      <a:pt x="3655" y="15765"/>
                    </a:lnTo>
                    <a:lnTo>
                      <a:pt x="3815" y="13338"/>
                    </a:lnTo>
                    <a:lnTo>
                      <a:pt x="3895" y="12457"/>
                    </a:lnTo>
                    <a:lnTo>
                      <a:pt x="3948" y="11817"/>
                    </a:lnTo>
                    <a:lnTo>
                      <a:pt x="3948" y="11817"/>
                    </a:lnTo>
                    <a:lnTo>
                      <a:pt x="4108" y="10617"/>
                    </a:lnTo>
                    <a:lnTo>
                      <a:pt x="4348" y="9150"/>
                    </a:lnTo>
                    <a:lnTo>
                      <a:pt x="4615" y="7576"/>
                    </a:lnTo>
                    <a:lnTo>
                      <a:pt x="4909" y="5896"/>
                    </a:lnTo>
                    <a:lnTo>
                      <a:pt x="5282" y="4242"/>
                    </a:lnTo>
                    <a:lnTo>
                      <a:pt x="5655" y="2695"/>
                    </a:lnTo>
                    <a:lnTo>
                      <a:pt x="5842" y="1975"/>
                    </a:lnTo>
                    <a:lnTo>
                      <a:pt x="6056" y="1281"/>
                    </a:lnTo>
                    <a:lnTo>
                      <a:pt x="6269" y="694"/>
                    </a:lnTo>
                    <a:lnTo>
                      <a:pt x="6482" y="161"/>
                    </a:lnTo>
                    <a:lnTo>
                      <a:pt x="6482" y="161"/>
                    </a:lnTo>
                    <a:lnTo>
                      <a:pt x="6562" y="1"/>
                    </a:lnTo>
                    <a:lnTo>
                      <a:pt x="6562" y="1"/>
                    </a:lnTo>
                    <a:lnTo>
                      <a:pt x="5869" y="348"/>
                    </a:lnTo>
                    <a:lnTo>
                      <a:pt x="5229" y="694"/>
                    </a:lnTo>
                    <a:lnTo>
                      <a:pt x="4615" y="1041"/>
                    </a:lnTo>
                    <a:lnTo>
                      <a:pt x="4082" y="1415"/>
                    </a:lnTo>
                    <a:lnTo>
                      <a:pt x="3602" y="1815"/>
                    </a:lnTo>
                    <a:lnTo>
                      <a:pt x="3175" y="2215"/>
                    </a:lnTo>
                    <a:lnTo>
                      <a:pt x="2775" y="2615"/>
                    </a:lnTo>
                    <a:lnTo>
                      <a:pt x="2428" y="3042"/>
                    </a:lnTo>
                    <a:lnTo>
                      <a:pt x="2134" y="3468"/>
                    </a:lnTo>
                    <a:lnTo>
                      <a:pt x="1868" y="3922"/>
                    </a:lnTo>
                    <a:lnTo>
                      <a:pt x="1628" y="4402"/>
                    </a:lnTo>
                    <a:lnTo>
                      <a:pt x="1441" y="4882"/>
                    </a:lnTo>
                    <a:lnTo>
                      <a:pt x="1281" y="5362"/>
                    </a:lnTo>
                    <a:lnTo>
                      <a:pt x="1148" y="5869"/>
                    </a:lnTo>
                    <a:lnTo>
                      <a:pt x="1041" y="6376"/>
                    </a:lnTo>
                    <a:lnTo>
                      <a:pt x="961" y="6909"/>
                    </a:lnTo>
                    <a:lnTo>
                      <a:pt x="907" y="7469"/>
                    </a:lnTo>
                    <a:lnTo>
                      <a:pt x="881" y="8030"/>
                    </a:lnTo>
                    <a:lnTo>
                      <a:pt x="854" y="8616"/>
                    </a:lnTo>
                    <a:lnTo>
                      <a:pt x="854" y="9203"/>
                    </a:lnTo>
                    <a:lnTo>
                      <a:pt x="881" y="10430"/>
                    </a:lnTo>
                    <a:lnTo>
                      <a:pt x="934" y="11711"/>
                    </a:lnTo>
                    <a:lnTo>
                      <a:pt x="1014" y="13071"/>
                    </a:lnTo>
                    <a:lnTo>
                      <a:pt x="1068" y="14485"/>
                    </a:lnTo>
                    <a:lnTo>
                      <a:pt x="1094" y="15978"/>
                    </a:lnTo>
                    <a:lnTo>
                      <a:pt x="1068" y="17526"/>
                    </a:lnTo>
                    <a:lnTo>
                      <a:pt x="1068" y="17526"/>
                    </a:lnTo>
                    <a:lnTo>
                      <a:pt x="1041" y="18459"/>
                    </a:lnTo>
                    <a:lnTo>
                      <a:pt x="988" y="19446"/>
                    </a:lnTo>
                    <a:lnTo>
                      <a:pt x="827" y="21580"/>
                    </a:lnTo>
                    <a:lnTo>
                      <a:pt x="614" y="23874"/>
                    </a:lnTo>
                    <a:lnTo>
                      <a:pt x="401" y="26355"/>
                    </a:lnTo>
                    <a:lnTo>
                      <a:pt x="214" y="29049"/>
                    </a:lnTo>
                    <a:lnTo>
                      <a:pt x="134" y="30489"/>
                    </a:lnTo>
                    <a:lnTo>
                      <a:pt x="81" y="31956"/>
                    </a:lnTo>
                    <a:lnTo>
                      <a:pt x="27" y="33503"/>
                    </a:lnTo>
                    <a:lnTo>
                      <a:pt x="1" y="35104"/>
                    </a:lnTo>
                    <a:lnTo>
                      <a:pt x="1" y="36757"/>
                    </a:lnTo>
                    <a:lnTo>
                      <a:pt x="54" y="3849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76" name="Google Shape;876;p16"/>
              <p:cNvSpPr/>
              <p:nvPr/>
            </p:nvSpPr>
            <p:spPr>
              <a:xfrm>
                <a:off x="8484986" y="5873705"/>
                <a:ext cx="146002" cy="157635"/>
              </a:xfrm>
              <a:custGeom>
                <a:avLst/>
                <a:gdLst/>
                <a:ahLst/>
                <a:cxnLst/>
                <a:rect l="l" t="t" r="r" b="b"/>
                <a:pathLst>
                  <a:path w="11044" h="11924" extrusionOk="0">
                    <a:moveTo>
                      <a:pt x="3149" y="1"/>
                    </a:moveTo>
                    <a:lnTo>
                      <a:pt x="2908" y="374"/>
                    </a:lnTo>
                    <a:lnTo>
                      <a:pt x="2322" y="1361"/>
                    </a:lnTo>
                    <a:lnTo>
                      <a:pt x="1975" y="2028"/>
                    </a:lnTo>
                    <a:lnTo>
                      <a:pt x="1575" y="2801"/>
                    </a:lnTo>
                    <a:lnTo>
                      <a:pt x="1201" y="3655"/>
                    </a:lnTo>
                    <a:lnTo>
                      <a:pt x="828" y="4535"/>
                    </a:lnTo>
                    <a:lnTo>
                      <a:pt x="508" y="5469"/>
                    </a:lnTo>
                    <a:lnTo>
                      <a:pt x="348" y="5922"/>
                    </a:lnTo>
                    <a:lnTo>
                      <a:pt x="241" y="6402"/>
                    </a:lnTo>
                    <a:lnTo>
                      <a:pt x="134" y="6856"/>
                    </a:lnTo>
                    <a:lnTo>
                      <a:pt x="54" y="7309"/>
                    </a:lnTo>
                    <a:lnTo>
                      <a:pt x="1" y="7763"/>
                    </a:lnTo>
                    <a:lnTo>
                      <a:pt x="1" y="8216"/>
                    </a:lnTo>
                    <a:lnTo>
                      <a:pt x="1" y="8616"/>
                    </a:lnTo>
                    <a:lnTo>
                      <a:pt x="54" y="9043"/>
                    </a:lnTo>
                    <a:lnTo>
                      <a:pt x="134" y="9416"/>
                    </a:lnTo>
                    <a:lnTo>
                      <a:pt x="268" y="9790"/>
                    </a:lnTo>
                    <a:lnTo>
                      <a:pt x="428" y="10137"/>
                    </a:lnTo>
                    <a:lnTo>
                      <a:pt x="641" y="10457"/>
                    </a:lnTo>
                    <a:lnTo>
                      <a:pt x="908" y="10750"/>
                    </a:lnTo>
                    <a:lnTo>
                      <a:pt x="1201" y="10990"/>
                    </a:lnTo>
                    <a:lnTo>
                      <a:pt x="1468" y="11177"/>
                    </a:lnTo>
                    <a:lnTo>
                      <a:pt x="1735" y="11337"/>
                    </a:lnTo>
                    <a:lnTo>
                      <a:pt x="2002" y="11470"/>
                    </a:lnTo>
                    <a:lnTo>
                      <a:pt x="2242" y="11577"/>
                    </a:lnTo>
                    <a:lnTo>
                      <a:pt x="2722" y="11764"/>
                    </a:lnTo>
                    <a:lnTo>
                      <a:pt x="3202" y="11870"/>
                    </a:lnTo>
                    <a:lnTo>
                      <a:pt x="3629" y="11924"/>
                    </a:lnTo>
                    <a:lnTo>
                      <a:pt x="4029" y="11897"/>
                    </a:lnTo>
                    <a:lnTo>
                      <a:pt x="4402" y="11870"/>
                    </a:lnTo>
                    <a:lnTo>
                      <a:pt x="4749" y="11790"/>
                    </a:lnTo>
                    <a:lnTo>
                      <a:pt x="5069" y="11684"/>
                    </a:lnTo>
                    <a:lnTo>
                      <a:pt x="5336" y="11577"/>
                    </a:lnTo>
                    <a:lnTo>
                      <a:pt x="5576" y="11444"/>
                    </a:lnTo>
                    <a:lnTo>
                      <a:pt x="5763" y="11310"/>
                    </a:lnTo>
                    <a:lnTo>
                      <a:pt x="6029" y="11124"/>
                    </a:lnTo>
                    <a:lnTo>
                      <a:pt x="6136" y="11044"/>
                    </a:lnTo>
                    <a:lnTo>
                      <a:pt x="6376" y="10777"/>
                    </a:lnTo>
                    <a:lnTo>
                      <a:pt x="7043" y="10057"/>
                    </a:lnTo>
                    <a:lnTo>
                      <a:pt x="7950" y="8990"/>
                    </a:lnTo>
                    <a:lnTo>
                      <a:pt x="8430" y="8376"/>
                    </a:lnTo>
                    <a:lnTo>
                      <a:pt x="8937" y="7709"/>
                    </a:lnTo>
                    <a:lnTo>
                      <a:pt x="9444" y="7016"/>
                    </a:lnTo>
                    <a:lnTo>
                      <a:pt x="9897" y="6322"/>
                    </a:lnTo>
                    <a:lnTo>
                      <a:pt x="10297" y="5602"/>
                    </a:lnTo>
                    <a:lnTo>
                      <a:pt x="10484" y="5255"/>
                    </a:lnTo>
                    <a:lnTo>
                      <a:pt x="10644" y="4909"/>
                    </a:lnTo>
                    <a:lnTo>
                      <a:pt x="10777" y="4562"/>
                    </a:lnTo>
                    <a:lnTo>
                      <a:pt x="10884" y="4242"/>
                    </a:lnTo>
                    <a:lnTo>
                      <a:pt x="10964" y="3922"/>
                    </a:lnTo>
                    <a:lnTo>
                      <a:pt x="11017" y="3601"/>
                    </a:lnTo>
                    <a:lnTo>
                      <a:pt x="11044" y="3308"/>
                    </a:lnTo>
                    <a:lnTo>
                      <a:pt x="11044" y="3041"/>
                    </a:lnTo>
                    <a:lnTo>
                      <a:pt x="10991" y="2775"/>
                    </a:lnTo>
                    <a:lnTo>
                      <a:pt x="10911" y="2535"/>
                    </a:lnTo>
                    <a:lnTo>
                      <a:pt x="10804" y="2374"/>
                    </a:lnTo>
                    <a:lnTo>
                      <a:pt x="10671" y="2188"/>
                    </a:lnTo>
                    <a:lnTo>
                      <a:pt x="10510" y="2028"/>
                    </a:lnTo>
                    <a:lnTo>
                      <a:pt x="10324" y="1894"/>
                    </a:lnTo>
                    <a:lnTo>
                      <a:pt x="10110" y="1734"/>
                    </a:lnTo>
                    <a:lnTo>
                      <a:pt x="9870" y="1601"/>
                    </a:lnTo>
                    <a:lnTo>
                      <a:pt x="9337" y="1334"/>
                    </a:lnTo>
                    <a:lnTo>
                      <a:pt x="8723" y="1094"/>
                    </a:lnTo>
                    <a:lnTo>
                      <a:pt x="8083" y="907"/>
                    </a:lnTo>
                    <a:lnTo>
                      <a:pt x="7390" y="721"/>
                    </a:lnTo>
                    <a:lnTo>
                      <a:pt x="6696" y="561"/>
                    </a:lnTo>
                    <a:lnTo>
                      <a:pt x="6029" y="427"/>
                    </a:lnTo>
                    <a:lnTo>
                      <a:pt x="5362" y="294"/>
                    </a:lnTo>
                    <a:lnTo>
                      <a:pt x="4242" y="134"/>
                    </a:lnTo>
                    <a:lnTo>
                      <a:pt x="3442" y="27"/>
                    </a:lnTo>
                    <a:lnTo>
                      <a:pt x="3149" y="1"/>
                    </a:lnTo>
                    <a:close/>
                  </a:path>
                </a:pathLst>
              </a:custGeom>
              <a:solidFill>
                <a:srgbClr val="E5A78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77" name="Google Shape;877;p16"/>
              <p:cNvSpPr/>
              <p:nvPr/>
            </p:nvSpPr>
            <p:spPr>
              <a:xfrm>
                <a:off x="8526249" y="5983731"/>
                <a:ext cx="57851" cy="99454"/>
              </a:xfrm>
              <a:custGeom>
                <a:avLst/>
                <a:gdLst/>
                <a:ahLst/>
                <a:cxnLst/>
                <a:rect l="l" t="t" r="r" b="b"/>
                <a:pathLst>
                  <a:path w="4376" h="7523" extrusionOk="0">
                    <a:moveTo>
                      <a:pt x="2215" y="1"/>
                    </a:moveTo>
                    <a:lnTo>
                      <a:pt x="1895" y="81"/>
                    </a:lnTo>
                    <a:lnTo>
                      <a:pt x="1601" y="214"/>
                    </a:lnTo>
                    <a:lnTo>
                      <a:pt x="1361" y="401"/>
                    </a:lnTo>
                    <a:lnTo>
                      <a:pt x="1148" y="614"/>
                    </a:lnTo>
                    <a:lnTo>
                      <a:pt x="1041" y="748"/>
                    </a:lnTo>
                    <a:lnTo>
                      <a:pt x="961" y="881"/>
                    </a:lnTo>
                    <a:lnTo>
                      <a:pt x="908" y="1041"/>
                    </a:lnTo>
                    <a:lnTo>
                      <a:pt x="854" y="1201"/>
                    </a:lnTo>
                    <a:lnTo>
                      <a:pt x="694" y="1788"/>
                    </a:lnTo>
                    <a:lnTo>
                      <a:pt x="534" y="2375"/>
                    </a:lnTo>
                    <a:lnTo>
                      <a:pt x="374" y="3042"/>
                    </a:lnTo>
                    <a:lnTo>
                      <a:pt x="241" y="3762"/>
                    </a:lnTo>
                    <a:lnTo>
                      <a:pt x="134" y="4375"/>
                    </a:lnTo>
                    <a:lnTo>
                      <a:pt x="54" y="4829"/>
                    </a:lnTo>
                    <a:lnTo>
                      <a:pt x="28" y="5015"/>
                    </a:lnTo>
                    <a:lnTo>
                      <a:pt x="28" y="5069"/>
                    </a:lnTo>
                    <a:lnTo>
                      <a:pt x="1" y="5389"/>
                    </a:lnTo>
                    <a:lnTo>
                      <a:pt x="54" y="5709"/>
                    </a:lnTo>
                    <a:lnTo>
                      <a:pt x="108" y="5949"/>
                    </a:lnTo>
                    <a:lnTo>
                      <a:pt x="161" y="6136"/>
                    </a:lnTo>
                    <a:lnTo>
                      <a:pt x="268" y="6349"/>
                    </a:lnTo>
                    <a:lnTo>
                      <a:pt x="374" y="6536"/>
                    </a:lnTo>
                    <a:lnTo>
                      <a:pt x="481" y="6696"/>
                    </a:lnTo>
                    <a:lnTo>
                      <a:pt x="641" y="6856"/>
                    </a:lnTo>
                    <a:lnTo>
                      <a:pt x="774" y="6989"/>
                    </a:lnTo>
                    <a:lnTo>
                      <a:pt x="961" y="7123"/>
                    </a:lnTo>
                    <a:lnTo>
                      <a:pt x="1121" y="7229"/>
                    </a:lnTo>
                    <a:lnTo>
                      <a:pt x="1308" y="7336"/>
                    </a:lnTo>
                    <a:lnTo>
                      <a:pt x="1521" y="7416"/>
                    </a:lnTo>
                    <a:lnTo>
                      <a:pt x="1708" y="7469"/>
                    </a:lnTo>
                    <a:lnTo>
                      <a:pt x="1921" y="7496"/>
                    </a:lnTo>
                    <a:lnTo>
                      <a:pt x="2135" y="7523"/>
                    </a:lnTo>
                    <a:lnTo>
                      <a:pt x="2375" y="7523"/>
                    </a:lnTo>
                    <a:lnTo>
                      <a:pt x="2588" y="7496"/>
                    </a:lnTo>
                    <a:lnTo>
                      <a:pt x="2802" y="7443"/>
                    </a:lnTo>
                    <a:lnTo>
                      <a:pt x="3015" y="7363"/>
                    </a:lnTo>
                    <a:lnTo>
                      <a:pt x="3202" y="7283"/>
                    </a:lnTo>
                    <a:lnTo>
                      <a:pt x="3388" y="7176"/>
                    </a:lnTo>
                    <a:lnTo>
                      <a:pt x="3575" y="7043"/>
                    </a:lnTo>
                    <a:lnTo>
                      <a:pt x="3708" y="6909"/>
                    </a:lnTo>
                    <a:lnTo>
                      <a:pt x="3869" y="6749"/>
                    </a:lnTo>
                    <a:lnTo>
                      <a:pt x="4002" y="6589"/>
                    </a:lnTo>
                    <a:lnTo>
                      <a:pt x="4109" y="6403"/>
                    </a:lnTo>
                    <a:lnTo>
                      <a:pt x="4189" y="6216"/>
                    </a:lnTo>
                    <a:lnTo>
                      <a:pt x="4269" y="6029"/>
                    </a:lnTo>
                    <a:lnTo>
                      <a:pt x="4322" y="5816"/>
                    </a:lnTo>
                    <a:lnTo>
                      <a:pt x="4375" y="5602"/>
                    </a:lnTo>
                    <a:lnTo>
                      <a:pt x="4375" y="5389"/>
                    </a:lnTo>
                    <a:lnTo>
                      <a:pt x="4375" y="5176"/>
                    </a:lnTo>
                    <a:lnTo>
                      <a:pt x="4349" y="4962"/>
                    </a:lnTo>
                    <a:lnTo>
                      <a:pt x="4322" y="4829"/>
                    </a:lnTo>
                    <a:lnTo>
                      <a:pt x="4269" y="4455"/>
                    </a:lnTo>
                    <a:lnTo>
                      <a:pt x="4189" y="3949"/>
                    </a:lnTo>
                    <a:lnTo>
                      <a:pt x="4135" y="3335"/>
                    </a:lnTo>
                    <a:lnTo>
                      <a:pt x="4055" y="2161"/>
                    </a:lnTo>
                    <a:lnTo>
                      <a:pt x="4029" y="1655"/>
                    </a:lnTo>
                    <a:lnTo>
                      <a:pt x="4029" y="1548"/>
                    </a:lnTo>
                    <a:lnTo>
                      <a:pt x="4002" y="1308"/>
                    </a:lnTo>
                    <a:lnTo>
                      <a:pt x="3949" y="1068"/>
                    </a:lnTo>
                    <a:lnTo>
                      <a:pt x="3842" y="828"/>
                    </a:lnTo>
                    <a:lnTo>
                      <a:pt x="3682" y="614"/>
                    </a:lnTo>
                    <a:lnTo>
                      <a:pt x="3522" y="428"/>
                    </a:lnTo>
                    <a:lnTo>
                      <a:pt x="3335" y="268"/>
                    </a:lnTo>
                    <a:lnTo>
                      <a:pt x="3095" y="161"/>
                    </a:lnTo>
                    <a:lnTo>
                      <a:pt x="2855" y="54"/>
                    </a:lnTo>
                    <a:lnTo>
                      <a:pt x="2695" y="27"/>
                    </a:lnTo>
                    <a:lnTo>
                      <a:pt x="2508" y="1"/>
                    </a:lnTo>
                    <a:close/>
                  </a:path>
                </a:pathLst>
              </a:custGeom>
              <a:solidFill>
                <a:srgbClr val="E5A78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78" name="Google Shape;878;p16"/>
              <p:cNvSpPr/>
              <p:nvPr/>
            </p:nvSpPr>
            <p:spPr>
              <a:xfrm>
                <a:off x="8526249" y="5983731"/>
                <a:ext cx="57851" cy="99454"/>
              </a:xfrm>
              <a:custGeom>
                <a:avLst/>
                <a:gdLst/>
                <a:ahLst/>
                <a:cxnLst/>
                <a:rect l="l" t="t" r="r" b="b"/>
                <a:pathLst>
                  <a:path w="4376" h="7523" fill="none" extrusionOk="0">
                    <a:moveTo>
                      <a:pt x="4029" y="1655"/>
                    </a:moveTo>
                    <a:lnTo>
                      <a:pt x="4029" y="1655"/>
                    </a:lnTo>
                    <a:lnTo>
                      <a:pt x="4055" y="2161"/>
                    </a:lnTo>
                    <a:lnTo>
                      <a:pt x="4055" y="2161"/>
                    </a:lnTo>
                    <a:lnTo>
                      <a:pt x="4135" y="3335"/>
                    </a:lnTo>
                    <a:lnTo>
                      <a:pt x="4135" y="3335"/>
                    </a:lnTo>
                    <a:lnTo>
                      <a:pt x="4189" y="3949"/>
                    </a:lnTo>
                    <a:lnTo>
                      <a:pt x="4269" y="4455"/>
                    </a:lnTo>
                    <a:lnTo>
                      <a:pt x="4269" y="4455"/>
                    </a:lnTo>
                    <a:lnTo>
                      <a:pt x="4322" y="4829"/>
                    </a:lnTo>
                    <a:lnTo>
                      <a:pt x="4322" y="4829"/>
                    </a:lnTo>
                    <a:lnTo>
                      <a:pt x="4349" y="4962"/>
                    </a:lnTo>
                    <a:lnTo>
                      <a:pt x="4349" y="4962"/>
                    </a:lnTo>
                    <a:lnTo>
                      <a:pt x="4375" y="5176"/>
                    </a:lnTo>
                    <a:lnTo>
                      <a:pt x="4375" y="5389"/>
                    </a:lnTo>
                    <a:lnTo>
                      <a:pt x="4375" y="5602"/>
                    </a:lnTo>
                    <a:lnTo>
                      <a:pt x="4322" y="5816"/>
                    </a:lnTo>
                    <a:lnTo>
                      <a:pt x="4269" y="6029"/>
                    </a:lnTo>
                    <a:lnTo>
                      <a:pt x="4189" y="6216"/>
                    </a:lnTo>
                    <a:lnTo>
                      <a:pt x="4109" y="6403"/>
                    </a:lnTo>
                    <a:lnTo>
                      <a:pt x="4002" y="6589"/>
                    </a:lnTo>
                    <a:lnTo>
                      <a:pt x="3869" y="6749"/>
                    </a:lnTo>
                    <a:lnTo>
                      <a:pt x="3708" y="6909"/>
                    </a:lnTo>
                    <a:lnTo>
                      <a:pt x="3575" y="7043"/>
                    </a:lnTo>
                    <a:lnTo>
                      <a:pt x="3388" y="7176"/>
                    </a:lnTo>
                    <a:lnTo>
                      <a:pt x="3202" y="7283"/>
                    </a:lnTo>
                    <a:lnTo>
                      <a:pt x="3015" y="7363"/>
                    </a:lnTo>
                    <a:lnTo>
                      <a:pt x="2802" y="7443"/>
                    </a:lnTo>
                    <a:lnTo>
                      <a:pt x="2588" y="7496"/>
                    </a:lnTo>
                    <a:lnTo>
                      <a:pt x="2588" y="7496"/>
                    </a:lnTo>
                    <a:lnTo>
                      <a:pt x="2375" y="7523"/>
                    </a:lnTo>
                    <a:lnTo>
                      <a:pt x="2135" y="7523"/>
                    </a:lnTo>
                    <a:lnTo>
                      <a:pt x="1921" y="7496"/>
                    </a:lnTo>
                    <a:lnTo>
                      <a:pt x="1708" y="7469"/>
                    </a:lnTo>
                    <a:lnTo>
                      <a:pt x="1521" y="7416"/>
                    </a:lnTo>
                    <a:lnTo>
                      <a:pt x="1308" y="7336"/>
                    </a:lnTo>
                    <a:lnTo>
                      <a:pt x="1121" y="7229"/>
                    </a:lnTo>
                    <a:lnTo>
                      <a:pt x="961" y="7123"/>
                    </a:lnTo>
                    <a:lnTo>
                      <a:pt x="774" y="6989"/>
                    </a:lnTo>
                    <a:lnTo>
                      <a:pt x="641" y="6856"/>
                    </a:lnTo>
                    <a:lnTo>
                      <a:pt x="481" y="6696"/>
                    </a:lnTo>
                    <a:lnTo>
                      <a:pt x="374" y="6536"/>
                    </a:lnTo>
                    <a:lnTo>
                      <a:pt x="268" y="6349"/>
                    </a:lnTo>
                    <a:lnTo>
                      <a:pt x="161" y="6136"/>
                    </a:lnTo>
                    <a:lnTo>
                      <a:pt x="108" y="5949"/>
                    </a:lnTo>
                    <a:lnTo>
                      <a:pt x="54" y="5709"/>
                    </a:lnTo>
                    <a:lnTo>
                      <a:pt x="54" y="5709"/>
                    </a:lnTo>
                    <a:lnTo>
                      <a:pt x="1" y="5389"/>
                    </a:lnTo>
                    <a:lnTo>
                      <a:pt x="28" y="5069"/>
                    </a:lnTo>
                    <a:lnTo>
                      <a:pt x="28" y="5015"/>
                    </a:lnTo>
                    <a:lnTo>
                      <a:pt x="28" y="5015"/>
                    </a:lnTo>
                    <a:lnTo>
                      <a:pt x="54" y="4829"/>
                    </a:lnTo>
                    <a:lnTo>
                      <a:pt x="54" y="4829"/>
                    </a:lnTo>
                    <a:lnTo>
                      <a:pt x="134" y="4375"/>
                    </a:lnTo>
                    <a:lnTo>
                      <a:pt x="134" y="4375"/>
                    </a:lnTo>
                    <a:lnTo>
                      <a:pt x="241" y="3762"/>
                    </a:lnTo>
                    <a:lnTo>
                      <a:pt x="374" y="3042"/>
                    </a:lnTo>
                    <a:lnTo>
                      <a:pt x="374" y="3042"/>
                    </a:lnTo>
                    <a:lnTo>
                      <a:pt x="534" y="2375"/>
                    </a:lnTo>
                    <a:lnTo>
                      <a:pt x="694" y="1788"/>
                    </a:lnTo>
                    <a:lnTo>
                      <a:pt x="694" y="1788"/>
                    </a:lnTo>
                    <a:lnTo>
                      <a:pt x="854" y="1201"/>
                    </a:lnTo>
                    <a:lnTo>
                      <a:pt x="854" y="1201"/>
                    </a:lnTo>
                    <a:lnTo>
                      <a:pt x="908" y="1041"/>
                    </a:lnTo>
                    <a:lnTo>
                      <a:pt x="961" y="881"/>
                    </a:lnTo>
                    <a:lnTo>
                      <a:pt x="1041" y="748"/>
                    </a:lnTo>
                    <a:lnTo>
                      <a:pt x="1148" y="614"/>
                    </a:lnTo>
                    <a:lnTo>
                      <a:pt x="1361" y="401"/>
                    </a:lnTo>
                    <a:lnTo>
                      <a:pt x="1601" y="214"/>
                    </a:lnTo>
                    <a:lnTo>
                      <a:pt x="1895" y="81"/>
                    </a:lnTo>
                    <a:lnTo>
                      <a:pt x="2215" y="1"/>
                    </a:lnTo>
                    <a:lnTo>
                      <a:pt x="2348" y="1"/>
                    </a:lnTo>
                    <a:lnTo>
                      <a:pt x="2508" y="1"/>
                    </a:lnTo>
                    <a:lnTo>
                      <a:pt x="2695" y="27"/>
                    </a:lnTo>
                    <a:lnTo>
                      <a:pt x="2855" y="54"/>
                    </a:lnTo>
                    <a:lnTo>
                      <a:pt x="2855" y="54"/>
                    </a:lnTo>
                    <a:lnTo>
                      <a:pt x="3095" y="161"/>
                    </a:lnTo>
                    <a:lnTo>
                      <a:pt x="3335" y="268"/>
                    </a:lnTo>
                    <a:lnTo>
                      <a:pt x="3522" y="428"/>
                    </a:lnTo>
                    <a:lnTo>
                      <a:pt x="3682" y="614"/>
                    </a:lnTo>
                    <a:lnTo>
                      <a:pt x="3842" y="828"/>
                    </a:lnTo>
                    <a:lnTo>
                      <a:pt x="3949" y="1068"/>
                    </a:lnTo>
                    <a:lnTo>
                      <a:pt x="4002" y="1308"/>
                    </a:lnTo>
                    <a:lnTo>
                      <a:pt x="4029" y="1548"/>
                    </a:lnTo>
                    <a:lnTo>
                      <a:pt x="4029" y="1655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79" name="Google Shape;879;p16"/>
              <p:cNvSpPr/>
              <p:nvPr/>
            </p:nvSpPr>
            <p:spPr>
              <a:xfrm>
                <a:off x="8510026" y="5858897"/>
                <a:ext cx="123435" cy="155163"/>
              </a:xfrm>
              <a:custGeom>
                <a:avLst/>
                <a:gdLst/>
                <a:ahLst/>
                <a:cxnLst/>
                <a:rect l="l" t="t" r="r" b="b"/>
                <a:pathLst>
                  <a:path w="9337" h="11737" extrusionOk="0">
                    <a:moveTo>
                      <a:pt x="3628" y="0"/>
                    </a:moveTo>
                    <a:lnTo>
                      <a:pt x="3202" y="27"/>
                    </a:lnTo>
                    <a:lnTo>
                      <a:pt x="2748" y="80"/>
                    </a:lnTo>
                    <a:lnTo>
                      <a:pt x="2295" y="134"/>
                    </a:lnTo>
                    <a:lnTo>
                      <a:pt x="1815" y="240"/>
                    </a:lnTo>
                    <a:lnTo>
                      <a:pt x="1388" y="374"/>
                    </a:lnTo>
                    <a:lnTo>
                      <a:pt x="1041" y="534"/>
                    </a:lnTo>
                    <a:lnTo>
                      <a:pt x="748" y="720"/>
                    </a:lnTo>
                    <a:lnTo>
                      <a:pt x="508" y="907"/>
                    </a:lnTo>
                    <a:lnTo>
                      <a:pt x="321" y="1147"/>
                    </a:lnTo>
                    <a:lnTo>
                      <a:pt x="188" y="1387"/>
                    </a:lnTo>
                    <a:lnTo>
                      <a:pt x="108" y="1627"/>
                    </a:lnTo>
                    <a:lnTo>
                      <a:pt x="28" y="1841"/>
                    </a:lnTo>
                    <a:lnTo>
                      <a:pt x="1" y="2081"/>
                    </a:lnTo>
                    <a:lnTo>
                      <a:pt x="1" y="2294"/>
                    </a:lnTo>
                    <a:lnTo>
                      <a:pt x="28" y="2668"/>
                    </a:lnTo>
                    <a:lnTo>
                      <a:pt x="81" y="2934"/>
                    </a:lnTo>
                    <a:lnTo>
                      <a:pt x="108" y="3041"/>
                    </a:lnTo>
                    <a:lnTo>
                      <a:pt x="801" y="3281"/>
                    </a:lnTo>
                    <a:lnTo>
                      <a:pt x="1521" y="3521"/>
                    </a:lnTo>
                    <a:lnTo>
                      <a:pt x="2321" y="3868"/>
                    </a:lnTo>
                    <a:lnTo>
                      <a:pt x="3175" y="4215"/>
                    </a:lnTo>
                    <a:lnTo>
                      <a:pt x="3548" y="4428"/>
                    </a:lnTo>
                    <a:lnTo>
                      <a:pt x="3922" y="4615"/>
                    </a:lnTo>
                    <a:lnTo>
                      <a:pt x="4215" y="4828"/>
                    </a:lnTo>
                    <a:lnTo>
                      <a:pt x="4482" y="5015"/>
                    </a:lnTo>
                    <a:lnTo>
                      <a:pt x="4642" y="5202"/>
                    </a:lnTo>
                    <a:lnTo>
                      <a:pt x="4722" y="5282"/>
                    </a:lnTo>
                    <a:lnTo>
                      <a:pt x="4749" y="5388"/>
                    </a:lnTo>
                    <a:lnTo>
                      <a:pt x="4829" y="5735"/>
                    </a:lnTo>
                    <a:lnTo>
                      <a:pt x="4855" y="6135"/>
                    </a:lnTo>
                    <a:lnTo>
                      <a:pt x="4855" y="6535"/>
                    </a:lnTo>
                    <a:lnTo>
                      <a:pt x="4829" y="6909"/>
                    </a:lnTo>
                    <a:lnTo>
                      <a:pt x="4749" y="7496"/>
                    </a:lnTo>
                    <a:lnTo>
                      <a:pt x="4722" y="7736"/>
                    </a:lnTo>
                    <a:lnTo>
                      <a:pt x="4722" y="7736"/>
                    </a:lnTo>
                    <a:lnTo>
                      <a:pt x="4962" y="7602"/>
                    </a:lnTo>
                    <a:lnTo>
                      <a:pt x="5229" y="7496"/>
                    </a:lnTo>
                    <a:lnTo>
                      <a:pt x="5522" y="7442"/>
                    </a:lnTo>
                    <a:lnTo>
                      <a:pt x="5682" y="7416"/>
                    </a:lnTo>
                    <a:lnTo>
                      <a:pt x="5816" y="7416"/>
                    </a:lnTo>
                    <a:lnTo>
                      <a:pt x="5949" y="7469"/>
                    </a:lnTo>
                    <a:lnTo>
                      <a:pt x="6082" y="7522"/>
                    </a:lnTo>
                    <a:lnTo>
                      <a:pt x="6162" y="7629"/>
                    </a:lnTo>
                    <a:lnTo>
                      <a:pt x="6243" y="7762"/>
                    </a:lnTo>
                    <a:lnTo>
                      <a:pt x="6269" y="7949"/>
                    </a:lnTo>
                    <a:lnTo>
                      <a:pt x="6269" y="8189"/>
                    </a:lnTo>
                    <a:lnTo>
                      <a:pt x="6243" y="8456"/>
                    </a:lnTo>
                    <a:lnTo>
                      <a:pt x="6216" y="8669"/>
                    </a:lnTo>
                    <a:lnTo>
                      <a:pt x="6162" y="8909"/>
                    </a:lnTo>
                    <a:lnTo>
                      <a:pt x="6082" y="9096"/>
                    </a:lnTo>
                    <a:lnTo>
                      <a:pt x="6002" y="9256"/>
                    </a:lnTo>
                    <a:lnTo>
                      <a:pt x="5922" y="9416"/>
                    </a:lnTo>
                    <a:lnTo>
                      <a:pt x="5842" y="9549"/>
                    </a:lnTo>
                    <a:lnTo>
                      <a:pt x="5736" y="9683"/>
                    </a:lnTo>
                    <a:lnTo>
                      <a:pt x="5629" y="9763"/>
                    </a:lnTo>
                    <a:lnTo>
                      <a:pt x="5549" y="9843"/>
                    </a:lnTo>
                    <a:lnTo>
                      <a:pt x="5442" y="9896"/>
                    </a:lnTo>
                    <a:lnTo>
                      <a:pt x="5336" y="9923"/>
                    </a:lnTo>
                    <a:lnTo>
                      <a:pt x="5229" y="9950"/>
                    </a:lnTo>
                    <a:lnTo>
                      <a:pt x="5122" y="9923"/>
                    </a:lnTo>
                    <a:lnTo>
                      <a:pt x="5042" y="9896"/>
                    </a:lnTo>
                    <a:lnTo>
                      <a:pt x="4962" y="9843"/>
                    </a:lnTo>
                    <a:lnTo>
                      <a:pt x="5282" y="11683"/>
                    </a:lnTo>
                    <a:lnTo>
                      <a:pt x="5282" y="11710"/>
                    </a:lnTo>
                    <a:lnTo>
                      <a:pt x="5282" y="11737"/>
                    </a:lnTo>
                    <a:lnTo>
                      <a:pt x="5309" y="11737"/>
                    </a:lnTo>
                    <a:lnTo>
                      <a:pt x="5416" y="11683"/>
                    </a:lnTo>
                    <a:lnTo>
                      <a:pt x="5602" y="11550"/>
                    </a:lnTo>
                    <a:lnTo>
                      <a:pt x="5922" y="11283"/>
                    </a:lnTo>
                    <a:lnTo>
                      <a:pt x="6376" y="10856"/>
                    </a:lnTo>
                    <a:lnTo>
                      <a:pt x="7043" y="10216"/>
                    </a:lnTo>
                    <a:lnTo>
                      <a:pt x="7389" y="9816"/>
                    </a:lnTo>
                    <a:lnTo>
                      <a:pt x="7736" y="9363"/>
                    </a:lnTo>
                    <a:lnTo>
                      <a:pt x="8083" y="8883"/>
                    </a:lnTo>
                    <a:lnTo>
                      <a:pt x="8376" y="8376"/>
                    </a:lnTo>
                    <a:lnTo>
                      <a:pt x="8643" y="7842"/>
                    </a:lnTo>
                    <a:lnTo>
                      <a:pt x="8857" y="7256"/>
                    </a:lnTo>
                    <a:lnTo>
                      <a:pt x="9043" y="6695"/>
                    </a:lnTo>
                    <a:lnTo>
                      <a:pt x="9203" y="6109"/>
                    </a:lnTo>
                    <a:lnTo>
                      <a:pt x="9283" y="5522"/>
                    </a:lnTo>
                    <a:lnTo>
                      <a:pt x="9337" y="4935"/>
                    </a:lnTo>
                    <a:lnTo>
                      <a:pt x="9310" y="4375"/>
                    </a:lnTo>
                    <a:lnTo>
                      <a:pt x="9283" y="4081"/>
                    </a:lnTo>
                    <a:lnTo>
                      <a:pt x="9257" y="3815"/>
                    </a:lnTo>
                    <a:lnTo>
                      <a:pt x="9177" y="3548"/>
                    </a:lnTo>
                    <a:lnTo>
                      <a:pt x="9097" y="3308"/>
                    </a:lnTo>
                    <a:lnTo>
                      <a:pt x="8990" y="3041"/>
                    </a:lnTo>
                    <a:lnTo>
                      <a:pt x="8883" y="2801"/>
                    </a:lnTo>
                    <a:lnTo>
                      <a:pt x="8750" y="2588"/>
                    </a:lnTo>
                    <a:lnTo>
                      <a:pt x="8590" y="2348"/>
                    </a:lnTo>
                    <a:lnTo>
                      <a:pt x="8403" y="2161"/>
                    </a:lnTo>
                    <a:lnTo>
                      <a:pt x="8216" y="1947"/>
                    </a:lnTo>
                    <a:lnTo>
                      <a:pt x="7843" y="1627"/>
                    </a:lnTo>
                    <a:lnTo>
                      <a:pt x="7496" y="1334"/>
                    </a:lnTo>
                    <a:lnTo>
                      <a:pt x="7123" y="1094"/>
                    </a:lnTo>
                    <a:lnTo>
                      <a:pt x="6749" y="854"/>
                    </a:lnTo>
                    <a:lnTo>
                      <a:pt x="6403" y="640"/>
                    </a:lnTo>
                    <a:lnTo>
                      <a:pt x="6029" y="480"/>
                    </a:lnTo>
                    <a:lnTo>
                      <a:pt x="5629" y="320"/>
                    </a:lnTo>
                    <a:lnTo>
                      <a:pt x="5256" y="214"/>
                    </a:lnTo>
                    <a:lnTo>
                      <a:pt x="4855" y="107"/>
                    </a:lnTo>
                    <a:lnTo>
                      <a:pt x="4455" y="54"/>
                    </a:lnTo>
                    <a:lnTo>
                      <a:pt x="4055" y="27"/>
                    </a:lnTo>
                    <a:lnTo>
                      <a:pt x="3628" y="0"/>
                    </a:lnTo>
                    <a:close/>
                  </a:path>
                </a:pathLst>
              </a:custGeom>
              <a:solidFill>
                <a:srgbClr val="66463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80" name="Google Shape;880;p16"/>
              <p:cNvSpPr/>
              <p:nvPr/>
            </p:nvSpPr>
            <p:spPr>
              <a:xfrm>
                <a:off x="8603129" y="5895916"/>
                <a:ext cx="55379" cy="81118"/>
              </a:xfrm>
              <a:custGeom>
                <a:avLst/>
                <a:gdLst/>
                <a:ahLst/>
                <a:cxnLst/>
                <a:rect l="l" t="t" r="r" b="b"/>
                <a:pathLst>
                  <a:path w="4189" h="6136" extrusionOk="0">
                    <a:moveTo>
                      <a:pt x="2108" y="1"/>
                    </a:moveTo>
                    <a:lnTo>
                      <a:pt x="1868" y="28"/>
                    </a:lnTo>
                    <a:lnTo>
                      <a:pt x="1628" y="54"/>
                    </a:lnTo>
                    <a:lnTo>
                      <a:pt x="1228" y="161"/>
                    </a:lnTo>
                    <a:lnTo>
                      <a:pt x="961" y="268"/>
                    </a:lnTo>
                    <a:lnTo>
                      <a:pt x="854" y="321"/>
                    </a:lnTo>
                    <a:lnTo>
                      <a:pt x="774" y="481"/>
                    </a:lnTo>
                    <a:lnTo>
                      <a:pt x="588" y="908"/>
                    </a:lnTo>
                    <a:lnTo>
                      <a:pt x="347" y="1548"/>
                    </a:lnTo>
                    <a:lnTo>
                      <a:pt x="214" y="1948"/>
                    </a:lnTo>
                    <a:lnTo>
                      <a:pt x="107" y="2348"/>
                    </a:lnTo>
                    <a:lnTo>
                      <a:pt x="27" y="2802"/>
                    </a:lnTo>
                    <a:lnTo>
                      <a:pt x="1" y="3255"/>
                    </a:lnTo>
                    <a:lnTo>
                      <a:pt x="1" y="3709"/>
                    </a:lnTo>
                    <a:lnTo>
                      <a:pt x="54" y="4162"/>
                    </a:lnTo>
                    <a:lnTo>
                      <a:pt x="107" y="4375"/>
                    </a:lnTo>
                    <a:lnTo>
                      <a:pt x="161" y="4616"/>
                    </a:lnTo>
                    <a:lnTo>
                      <a:pt x="241" y="4829"/>
                    </a:lnTo>
                    <a:lnTo>
                      <a:pt x="347" y="5042"/>
                    </a:lnTo>
                    <a:lnTo>
                      <a:pt x="454" y="5256"/>
                    </a:lnTo>
                    <a:lnTo>
                      <a:pt x="614" y="5442"/>
                    </a:lnTo>
                    <a:lnTo>
                      <a:pt x="774" y="5629"/>
                    </a:lnTo>
                    <a:lnTo>
                      <a:pt x="961" y="5816"/>
                    </a:lnTo>
                    <a:lnTo>
                      <a:pt x="1094" y="5949"/>
                    </a:lnTo>
                    <a:lnTo>
                      <a:pt x="1254" y="6029"/>
                    </a:lnTo>
                    <a:lnTo>
                      <a:pt x="1414" y="6109"/>
                    </a:lnTo>
                    <a:lnTo>
                      <a:pt x="1601" y="6136"/>
                    </a:lnTo>
                    <a:lnTo>
                      <a:pt x="1761" y="6136"/>
                    </a:lnTo>
                    <a:lnTo>
                      <a:pt x="1921" y="6109"/>
                    </a:lnTo>
                    <a:lnTo>
                      <a:pt x="2081" y="6056"/>
                    </a:lnTo>
                    <a:lnTo>
                      <a:pt x="2241" y="5976"/>
                    </a:lnTo>
                    <a:lnTo>
                      <a:pt x="2401" y="5869"/>
                    </a:lnTo>
                    <a:lnTo>
                      <a:pt x="2561" y="5763"/>
                    </a:lnTo>
                    <a:lnTo>
                      <a:pt x="2855" y="5469"/>
                    </a:lnTo>
                    <a:lnTo>
                      <a:pt x="3148" y="5122"/>
                    </a:lnTo>
                    <a:lnTo>
                      <a:pt x="3415" y="4722"/>
                    </a:lnTo>
                    <a:lnTo>
                      <a:pt x="3655" y="4269"/>
                    </a:lnTo>
                    <a:lnTo>
                      <a:pt x="3842" y="3789"/>
                    </a:lnTo>
                    <a:lnTo>
                      <a:pt x="4002" y="3309"/>
                    </a:lnTo>
                    <a:lnTo>
                      <a:pt x="4109" y="2802"/>
                    </a:lnTo>
                    <a:lnTo>
                      <a:pt x="4189" y="2322"/>
                    </a:lnTo>
                    <a:lnTo>
                      <a:pt x="4189" y="1868"/>
                    </a:lnTo>
                    <a:lnTo>
                      <a:pt x="4162" y="1655"/>
                    </a:lnTo>
                    <a:lnTo>
                      <a:pt x="4135" y="1441"/>
                    </a:lnTo>
                    <a:lnTo>
                      <a:pt x="4055" y="1255"/>
                    </a:lnTo>
                    <a:lnTo>
                      <a:pt x="4002" y="1068"/>
                    </a:lnTo>
                    <a:lnTo>
                      <a:pt x="3815" y="748"/>
                    </a:lnTo>
                    <a:lnTo>
                      <a:pt x="3628" y="508"/>
                    </a:lnTo>
                    <a:lnTo>
                      <a:pt x="3388" y="321"/>
                    </a:lnTo>
                    <a:lnTo>
                      <a:pt x="3148" y="161"/>
                    </a:lnTo>
                    <a:lnTo>
                      <a:pt x="2882" y="81"/>
                    </a:lnTo>
                    <a:lnTo>
                      <a:pt x="2615" y="1"/>
                    </a:lnTo>
                    <a:close/>
                  </a:path>
                </a:pathLst>
              </a:custGeom>
              <a:solidFill>
                <a:srgbClr val="66463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81" name="Google Shape;881;p16"/>
              <p:cNvSpPr/>
              <p:nvPr/>
            </p:nvSpPr>
            <p:spPr>
              <a:xfrm>
                <a:off x="8566097" y="6291954"/>
                <a:ext cx="13" cy="13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FFB79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82" name="Google Shape;882;p16"/>
              <p:cNvSpPr/>
              <p:nvPr/>
            </p:nvSpPr>
            <p:spPr>
              <a:xfrm>
                <a:off x="8516029" y="6042630"/>
                <a:ext cx="11647" cy="12347"/>
              </a:xfrm>
              <a:custGeom>
                <a:avLst/>
                <a:gdLst/>
                <a:ahLst/>
                <a:cxnLst/>
                <a:rect l="l" t="t" r="r" b="b"/>
                <a:pathLst>
                  <a:path w="881" h="934" extrusionOk="0">
                    <a:moveTo>
                      <a:pt x="881" y="0"/>
                    </a:moveTo>
                    <a:lnTo>
                      <a:pt x="0" y="934"/>
                    </a:lnTo>
                    <a:lnTo>
                      <a:pt x="0" y="934"/>
                    </a:lnTo>
                    <a:lnTo>
                      <a:pt x="400" y="667"/>
                    </a:lnTo>
                    <a:lnTo>
                      <a:pt x="827" y="427"/>
                    </a:lnTo>
                    <a:lnTo>
                      <a:pt x="827" y="374"/>
                    </a:lnTo>
                    <a:lnTo>
                      <a:pt x="881" y="0"/>
                    </a:lnTo>
                    <a:close/>
                  </a:path>
                </a:pathLst>
              </a:custGeom>
              <a:solidFill>
                <a:srgbClr val="E3E3E3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83" name="Google Shape;883;p16"/>
              <p:cNvSpPr/>
              <p:nvPr/>
            </p:nvSpPr>
            <p:spPr>
              <a:xfrm>
                <a:off x="8516029" y="6042630"/>
                <a:ext cx="11647" cy="12347"/>
              </a:xfrm>
              <a:custGeom>
                <a:avLst/>
                <a:gdLst/>
                <a:ahLst/>
                <a:cxnLst/>
                <a:rect l="l" t="t" r="r" b="b"/>
                <a:pathLst>
                  <a:path w="881" h="934" fill="none" extrusionOk="0">
                    <a:moveTo>
                      <a:pt x="881" y="0"/>
                    </a:moveTo>
                    <a:lnTo>
                      <a:pt x="0" y="934"/>
                    </a:lnTo>
                    <a:lnTo>
                      <a:pt x="0" y="934"/>
                    </a:lnTo>
                    <a:lnTo>
                      <a:pt x="400" y="667"/>
                    </a:lnTo>
                    <a:lnTo>
                      <a:pt x="827" y="427"/>
                    </a:lnTo>
                    <a:lnTo>
                      <a:pt x="827" y="427"/>
                    </a:lnTo>
                    <a:lnTo>
                      <a:pt x="827" y="374"/>
                    </a:lnTo>
                    <a:lnTo>
                      <a:pt x="827" y="374"/>
                    </a:lnTo>
                    <a:lnTo>
                      <a:pt x="88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84" name="Google Shape;884;p16"/>
              <p:cNvSpPr/>
              <p:nvPr/>
            </p:nvSpPr>
            <p:spPr>
              <a:xfrm>
                <a:off x="8509683" y="6048276"/>
                <a:ext cx="33856" cy="55022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4162" extrusionOk="0">
                    <a:moveTo>
                      <a:pt x="1307" y="0"/>
                    </a:moveTo>
                    <a:lnTo>
                      <a:pt x="880" y="240"/>
                    </a:lnTo>
                    <a:lnTo>
                      <a:pt x="480" y="507"/>
                    </a:lnTo>
                    <a:lnTo>
                      <a:pt x="454" y="507"/>
                    </a:lnTo>
                    <a:lnTo>
                      <a:pt x="240" y="1147"/>
                    </a:lnTo>
                    <a:lnTo>
                      <a:pt x="0" y="1841"/>
                    </a:lnTo>
                    <a:lnTo>
                      <a:pt x="27" y="2161"/>
                    </a:lnTo>
                    <a:lnTo>
                      <a:pt x="80" y="2401"/>
                    </a:lnTo>
                    <a:lnTo>
                      <a:pt x="160" y="2694"/>
                    </a:lnTo>
                    <a:lnTo>
                      <a:pt x="427" y="3361"/>
                    </a:lnTo>
                    <a:lnTo>
                      <a:pt x="747" y="4161"/>
                    </a:lnTo>
                    <a:lnTo>
                      <a:pt x="2561" y="2881"/>
                    </a:lnTo>
                    <a:lnTo>
                      <a:pt x="2374" y="2801"/>
                    </a:lnTo>
                    <a:lnTo>
                      <a:pt x="2241" y="2667"/>
                    </a:lnTo>
                    <a:lnTo>
                      <a:pt x="2081" y="2534"/>
                    </a:lnTo>
                    <a:lnTo>
                      <a:pt x="1974" y="2374"/>
                    </a:lnTo>
                    <a:lnTo>
                      <a:pt x="1867" y="2214"/>
                    </a:lnTo>
                    <a:lnTo>
                      <a:pt x="1761" y="2027"/>
                    </a:lnTo>
                    <a:lnTo>
                      <a:pt x="1627" y="1654"/>
                    </a:lnTo>
                    <a:lnTo>
                      <a:pt x="1521" y="1467"/>
                    </a:lnTo>
                    <a:lnTo>
                      <a:pt x="1414" y="1254"/>
                    </a:lnTo>
                    <a:lnTo>
                      <a:pt x="1361" y="1067"/>
                    </a:lnTo>
                    <a:lnTo>
                      <a:pt x="1307" y="827"/>
                    </a:lnTo>
                    <a:lnTo>
                      <a:pt x="1254" y="507"/>
                    </a:lnTo>
                    <a:lnTo>
                      <a:pt x="1281" y="187"/>
                    </a:lnTo>
                    <a:lnTo>
                      <a:pt x="1281" y="133"/>
                    </a:lnTo>
                    <a:lnTo>
                      <a:pt x="1307" y="0"/>
                    </a:lnTo>
                    <a:close/>
                  </a:path>
                </a:pathLst>
              </a:custGeom>
              <a:solidFill>
                <a:srgbClr val="D7D7D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85" name="Google Shape;885;p16"/>
              <p:cNvSpPr/>
              <p:nvPr/>
            </p:nvSpPr>
            <p:spPr>
              <a:xfrm>
                <a:off x="8509683" y="6048276"/>
                <a:ext cx="33856" cy="55022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4162" fill="none" extrusionOk="0">
                    <a:moveTo>
                      <a:pt x="1307" y="0"/>
                    </a:moveTo>
                    <a:lnTo>
                      <a:pt x="1307" y="0"/>
                    </a:lnTo>
                    <a:lnTo>
                      <a:pt x="880" y="240"/>
                    </a:lnTo>
                    <a:lnTo>
                      <a:pt x="480" y="507"/>
                    </a:lnTo>
                    <a:lnTo>
                      <a:pt x="454" y="507"/>
                    </a:lnTo>
                    <a:lnTo>
                      <a:pt x="454" y="507"/>
                    </a:lnTo>
                    <a:lnTo>
                      <a:pt x="240" y="1147"/>
                    </a:lnTo>
                    <a:lnTo>
                      <a:pt x="0" y="1841"/>
                    </a:lnTo>
                    <a:lnTo>
                      <a:pt x="0" y="1841"/>
                    </a:lnTo>
                    <a:lnTo>
                      <a:pt x="27" y="2161"/>
                    </a:lnTo>
                    <a:lnTo>
                      <a:pt x="27" y="2161"/>
                    </a:lnTo>
                    <a:lnTo>
                      <a:pt x="80" y="2401"/>
                    </a:lnTo>
                    <a:lnTo>
                      <a:pt x="160" y="2694"/>
                    </a:lnTo>
                    <a:lnTo>
                      <a:pt x="427" y="3361"/>
                    </a:lnTo>
                    <a:lnTo>
                      <a:pt x="747" y="4161"/>
                    </a:lnTo>
                    <a:lnTo>
                      <a:pt x="2561" y="2881"/>
                    </a:lnTo>
                    <a:lnTo>
                      <a:pt x="2561" y="2881"/>
                    </a:lnTo>
                    <a:lnTo>
                      <a:pt x="2374" y="2801"/>
                    </a:lnTo>
                    <a:lnTo>
                      <a:pt x="2241" y="2667"/>
                    </a:lnTo>
                    <a:lnTo>
                      <a:pt x="2081" y="2534"/>
                    </a:lnTo>
                    <a:lnTo>
                      <a:pt x="1974" y="2374"/>
                    </a:lnTo>
                    <a:lnTo>
                      <a:pt x="1867" y="2214"/>
                    </a:lnTo>
                    <a:lnTo>
                      <a:pt x="1761" y="2027"/>
                    </a:lnTo>
                    <a:lnTo>
                      <a:pt x="1627" y="1654"/>
                    </a:lnTo>
                    <a:lnTo>
                      <a:pt x="1627" y="1654"/>
                    </a:lnTo>
                    <a:lnTo>
                      <a:pt x="1521" y="1467"/>
                    </a:lnTo>
                    <a:lnTo>
                      <a:pt x="1414" y="1254"/>
                    </a:lnTo>
                    <a:lnTo>
                      <a:pt x="1361" y="1067"/>
                    </a:lnTo>
                    <a:lnTo>
                      <a:pt x="1307" y="827"/>
                    </a:lnTo>
                    <a:lnTo>
                      <a:pt x="1307" y="827"/>
                    </a:lnTo>
                    <a:lnTo>
                      <a:pt x="1254" y="507"/>
                    </a:lnTo>
                    <a:lnTo>
                      <a:pt x="1281" y="187"/>
                    </a:lnTo>
                    <a:lnTo>
                      <a:pt x="1281" y="133"/>
                    </a:lnTo>
                    <a:lnTo>
                      <a:pt x="1281" y="133"/>
                    </a:lnTo>
                    <a:lnTo>
                      <a:pt x="1307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86" name="Google Shape;886;p16"/>
              <p:cNvSpPr/>
              <p:nvPr/>
            </p:nvSpPr>
            <p:spPr>
              <a:xfrm>
                <a:off x="8509683" y="6054966"/>
                <a:ext cx="6002" cy="17649"/>
              </a:xfrm>
              <a:custGeom>
                <a:avLst/>
                <a:gdLst/>
                <a:ahLst/>
                <a:cxnLst/>
                <a:rect l="l" t="t" r="r" b="b"/>
                <a:pathLst>
                  <a:path w="454" h="1335" extrusionOk="0">
                    <a:moveTo>
                      <a:pt x="454" y="1"/>
                    </a:moveTo>
                    <a:lnTo>
                      <a:pt x="374" y="108"/>
                    </a:lnTo>
                    <a:lnTo>
                      <a:pt x="320" y="214"/>
                    </a:lnTo>
                    <a:lnTo>
                      <a:pt x="187" y="481"/>
                    </a:lnTo>
                    <a:lnTo>
                      <a:pt x="134" y="668"/>
                    </a:lnTo>
                    <a:lnTo>
                      <a:pt x="54" y="881"/>
                    </a:lnTo>
                    <a:lnTo>
                      <a:pt x="27" y="1095"/>
                    </a:lnTo>
                    <a:lnTo>
                      <a:pt x="0" y="1335"/>
                    </a:lnTo>
                    <a:lnTo>
                      <a:pt x="240" y="641"/>
                    </a:lnTo>
                    <a:lnTo>
                      <a:pt x="454" y="1"/>
                    </a:lnTo>
                    <a:close/>
                  </a:path>
                </a:pathLst>
              </a:custGeom>
              <a:solidFill>
                <a:srgbClr val="DDAD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87" name="Google Shape;887;p16"/>
              <p:cNvSpPr/>
              <p:nvPr/>
            </p:nvSpPr>
            <p:spPr>
              <a:xfrm>
                <a:off x="8509683" y="6054966"/>
                <a:ext cx="6002" cy="17649"/>
              </a:xfrm>
              <a:custGeom>
                <a:avLst/>
                <a:gdLst/>
                <a:ahLst/>
                <a:cxnLst/>
                <a:rect l="l" t="t" r="r" b="b"/>
                <a:pathLst>
                  <a:path w="454" h="1335" fill="none" extrusionOk="0">
                    <a:moveTo>
                      <a:pt x="454" y="1"/>
                    </a:moveTo>
                    <a:lnTo>
                      <a:pt x="374" y="108"/>
                    </a:lnTo>
                    <a:lnTo>
                      <a:pt x="374" y="108"/>
                    </a:lnTo>
                    <a:lnTo>
                      <a:pt x="320" y="214"/>
                    </a:lnTo>
                    <a:lnTo>
                      <a:pt x="187" y="481"/>
                    </a:lnTo>
                    <a:lnTo>
                      <a:pt x="134" y="668"/>
                    </a:lnTo>
                    <a:lnTo>
                      <a:pt x="54" y="881"/>
                    </a:lnTo>
                    <a:lnTo>
                      <a:pt x="27" y="1095"/>
                    </a:lnTo>
                    <a:lnTo>
                      <a:pt x="0" y="1335"/>
                    </a:lnTo>
                    <a:lnTo>
                      <a:pt x="0" y="1335"/>
                    </a:lnTo>
                    <a:lnTo>
                      <a:pt x="240" y="641"/>
                    </a:lnTo>
                    <a:lnTo>
                      <a:pt x="454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88" name="Google Shape;888;p16"/>
              <p:cNvSpPr/>
              <p:nvPr/>
            </p:nvSpPr>
            <p:spPr>
              <a:xfrm>
                <a:off x="8526249" y="6042273"/>
                <a:ext cx="4957" cy="27868"/>
              </a:xfrm>
              <a:custGeom>
                <a:avLst/>
                <a:gdLst/>
                <a:ahLst/>
                <a:cxnLst/>
                <a:rect l="l" t="t" r="r" b="b"/>
                <a:pathLst>
                  <a:path w="375" h="2108" extrusionOk="0">
                    <a:moveTo>
                      <a:pt x="134" y="1"/>
                    </a:moveTo>
                    <a:lnTo>
                      <a:pt x="108" y="27"/>
                    </a:lnTo>
                    <a:lnTo>
                      <a:pt x="54" y="401"/>
                    </a:lnTo>
                    <a:lnTo>
                      <a:pt x="54" y="454"/>
                    </a:lnTo>
                    <a:lnTo>
                      <a:pt x="28" y="587"/>
                    </a:lnTo>
                    <a:lnTo>
                      <a:pt x="28" y="641"/>
                    </a:lnTo>
                    <a:lnTo>
                      <a:pt x="1" y="961"/>
                    </a:lnTo>
                    <a:lnTo>
                      <a:pt x="54" y="1281"/>
                    </a:lnTo>
                    <a:lnTo>
                      <a:pt x="108" y="1521"/>
                    </a:lnTo>
                    <a:lnTo>
                      <a:pt x="161" y="1708"/>
                    </a:lnTo>
                    <a:lnTo>
                      <a:pt x="268" y="1921"/>
                    </a:lnTo>
                    <a:lnTo>
                      <a:pt x="374" y="2108"/>
                    </a:lnTo>
                    <a:lnTo>
                      <a:pt x="268" y="1734"/>
                    </a:lnTo>
                    <a:lnTo>
                      <a:pt x="188" y="1361"/>
                    </a:lnTo>
                    <a:lnTo>
                      <a:pt x="161" y="988"/>
                    </a:lnTo>
                    <a:lnTo>
                      <a:pt x="134" y="667"/>
                    </a:lnTo>
                    <a:lnTo>
                      <a:pt x="134" y="187"/>
                    </a:lnTo>
                    <a:lnTo>
                      <a:pt x="134" y="1"/>
                    </a:lnTo>
                    <a:close/>
                  </a:path>
                </a:pathLst>
              </a:custGeom>
              <a:solidFill>
                <a:srgbClr val="CC957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89" name="Google Shape;889;p16"/>
              <p:cNvSpPr/>
              <p:nvPr/>
            </p:nvSpPr>
            <p:spPr>
              <a:xfrm>
                <a:off x="8526249" y="6042273"/>
                <a:ext cx="4957" cy="27868"/>
              </a:xfrm>
              <a:custGeom>
                <a:avLst/>
                <a:gdLst/>
                <a:ahLst/>
                <a:cxnLst/>
                <a:rect l="l" t="t" r="r" b="b"/>
                <a:pathLst>
                  <a:path w="375" h="2108" fill="none" extrusionOk="0">
                    <a:moveTo>
                      <a:pt x="134" y="1"/>
                    </a:moveTo>
                    <a:lnTo>
                      <a:pt x="108" y="27"/>
                    </a:lnTo>
                    <a:lnTo>
                      <a:pt x="108" y="27"/>
                    </a:lnTo>
                    <a:lnTo>
                      <a:pt x="54" y="401"/>
                    </a:lnTo>
                    <a:lnTo>
                      <a:pt x="54" y="401"/>
                    </a:lnTo>
                    <a:lnTo>
                      <a:pt x="54" y="454"/>
                    </a:lnTo>
                    <a:lnTo>
                      <a:pt x="54" y="454"/>
                    </a:lnTo>
                    <a:lnTo>
                      <a:pt x="28" y="587"/>
                    </a:lnTo>
                    <a:lnTo>
                      <a:pt x="28" y="641"/>
                    </a:lnTo>
                    <a:lnTo>
                      <a:pt x="28" y="641"/>
                    </a:lnTo>
                    <a:lnTo>
                      <a:pt x="1" y="961"/>
                    </a:lnTo>
                    <a:lnTo>
                      <a:pt x="54" y="1281"/>
                    </a:lnTo>
                    <a:lnTo>
                      <a:pt x="54" y="1281"/>
                    </a:lnTo>
                    <a:lnTo>
                      <a:pt x="108" y="1521"/>
                    </a:lnTo>
                    <a:lnTo>
                      <a:pt x="161" y="1708"/>
                    </a:lnTo>
                    <a:lnTo>
                      <a:pt x="268" y="1921"/>
                    </a:lnTo>
                    <a:lnTo>
                      <a:pt x="374" y="2108"/>
                    </a:lnTo>
                    <a:lnTo>
                      <a:pt x="374" y="2108"/>
                    </a:lnTo>
                    <a:lnTo>
                      <a:pt x="268" y="1734"/>
                    </a:lnTo>
                    <a:lnTo>
                      <a:pt x="188" y="1361"/>
                    </a:lnTo>
                    <a:lnTo>
                      <a:pt x="161" y="988"/>
                    </a:lnTo>
                    <a:lnTo>
                      <a:pt x="134" y="667"/>
                    </a:lnTo>
                    <a:lnTo>
                      <a:pt x="134" y="187"/>
                    </a:lnTo>
                    <a:lnTo>
                      <a:pt x="134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90" name="Google Shape;890;p16"/>
              <p:cNvSpPr/>
              <p:nvPr/>
            </p:nvSpPr>
            <p:spPr>
              <a:xfrm>
                <a:off x="8582319" y="6038743"/>
                <a:ext cx="12718" cy="14476"/>
              </a:xfrm>
              <a:custGeom>
                <a:avLst/>
                <a:gdLst/>
                <a:ahLst/>
                <a:cxnLst/>
                <a:rect l="l" t="t" r="r" b="b"/>
                <a:pathLst>
                  <a:path w="962" h="1095" extrusionOk="0">
                    <a:moveTo>
                      <a:pt x="1" y="1"/>
                    </a:moveTo>
                    <a:lnTo>
                      <a:pt x="1" y="54"/>
                    </a:lnTo>
                    <a:lnTo>
                      <a:pt x="28" y="294"/>
                    </a:lnTo>
                    <a:lnTo>
                      <a:pt x="81" y="668"/>
                    </a:lnTo>
                    <a:lnTo>
                      <a:pt x="81" y="694"/>
                    </a:lnTo>
                    <a:lnTo>
                      <a:pt x="534" y="881"/>
                    </a:lnTo>
                    <a:lnTo>
                      <a:pt x="961" y="1095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E3E3E3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91" name="Google Shape;891;p16"/>
              <p:cNvSpPr/>
              <p:nvPr/>
            </p:nvSpPr>
            <p:spPr>
              <a:xfrm>
                <a:off x="8582319" y="6038743"/>
                <a:ext cx="12718" cy="14476"/>
              </a:xfrm>
              <a:custGeom>
                <a:avLst/>
                <a:gdLst/>
                <a:ahLst/>
                <a:cxnLst/>
                <a:rect l="l" t="t" r="r" b="b"/>
                <a:pathLst>
                  <a:path w="962" h="1095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54"/>
                    </a:lnTo>
                    <a:lnTo>
                      <a:pt x="1" y="54"/>
                    </a:lnTo>
                    <a:lnTo>
                      <a:pt x="28" y="294"/>
                    </a:lnTo>
                    <a:lnTo>
                      <a:pt x="28" y="294"/>
                    </a:lnTo>
                    <a:lnTo>
                      <a:pt x="81" y="668"/>
                    </a:lnTo>
                    <a:lnTo>
                      <a:pt x="81" y="668"/>
                    </a:lnTo>
                    <a:lnTo>
                      <a:pt x="81" y="694"/>
                    </a:lnTo>
                    <a:lnTo>
                      <a:pt x="81" y="694"/>
                    </a:lnTo>
                    <a:lnTo>
                      <a:pt x="534" y="881"/>
                    </a:lnTo>
                    <a:lnTo>
                      <a:pt x="961" y="1095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92" name="Google Shape;892;p16"/>
              <p:cNvSpPr/>
              <p:nvPr/>
            </p:nvSpPr>
            <p:spPr>
              <a:xfrm>
                <a:off x="8543528" y="6047919"/>
                <a:ext cx="53263" cy="56780"/>
              </a:xfrm>
              <a:custGeom>
                <a:avLst/>
                <a:gdLst/>
                <a:ahLst/>
                <a:cxnLst/>
                <a:rect l="l" t="t" r="r" b="b"/>
                <a:pathLst>
                  <a:path w="4029" h="4295" extrusionOk="0">
                    <a:moveTo>
                      <a:pt x="3015" y="0"/>
                    </a:moveTo>
                    <a:lnTo>
                      <a:pt x="3042" y="107"/>
                    </a:lnTo>
                    <a:lnTo>
                      <a:pt x="3068" y="321"/>
                    </a:lnTo>
                    <a:lnTo>
                      <a:pt x="3068" y="534"/>
                    </a:lnTo>
                    <a:lnTo>
                      <a:pt x="3068" y="747"/>
                    </a:lnTo>
                    <a:lnTo>
                      <a:pt x="3015" y="961"/>
                    </a:lnTo>
                    <a:lnTo>
                      <a:pt x="2962" y="1174"/>
                    </a:lnTo>
                    <a:lnTo>
                      <a:pt x="2882" y="1361"/>
                    </a:lnTo>
                    <a:lnTo>
                      <a:pt x="2802" y="1548"/>
                    </a:lnTo>
                    <a:lnTo>
                      <a:pt x="2695" y="1734"/>
                    </a:lnTo>
                    <a:lnTo>
                      <a:pt x="2562" y="1894"/>
                    </a:lnTo>
                    <a:lnTo>
                      <a:pt x="2401" y="2054"/>
                    </a:lnTo>
                    <a:lnTo>
                      <a:pt x="2268" y="2188"/>
                    </a:lnTo>
                    <a:lnTo>
                      <a:pt x="2081" y="2321"/>
                    </a:lnTo>
                    <a:lnTo>
                      <a:pt x="1895" y="2428"/>
                    </a:lnTo>
                    <a:lnTo>
                      <a:pt x="1708" y="2508"/>
                    </a:lnTo>
                    <a:lnTo>
                      <a:pt x="1495" y="2588"/>
                    </a:lnTo>
                    <a:lnTo>
                      <a:pt x="1281" y="2641"/>
                    </a:lnTo>
                    <a:lnTo>
                      <a:pt x="934" y="2668"/>
                    </a:lnTo>
                    <a:lnTo>
                      <a:pt x="721" y="2748"/>
                    </a:lnTo>
                    <a:lnTo>
                      <a:pt x="481" y="2828"/>
                    </a:lnTo>
                    <a:lnTo>
                      <a:pt x="241" y="2881"/>
                    </a:lnTo>
                    <a:lnTo>
                      <a:pt x="1" y="2908"/>
                    </a:lnTo>
                    <a:lnTo>
                      <a:pt x="588" y="4295"/>
                    </a:lnTo>
                    <a:lnTo>
                      <a:pt x="801" y="4295"/>
                    </a:lnTo>
                    <a:lnTo>
                      <a:pt x="1014" y="4242"/>
                    </a:lnTo>
                    <a:lnTo>
                      <a:pt x="1308" y="4135"/>
                    </a:lnTo>
                    <a:lnTo>
                      <a:pt x="1655" y="4002"/>
                    </a:lnTo>
                    <a:lnTo>
                      <a:pt x="2028" y="3815"/>
                    </a:lnTo>
                    <a:lnTo>
                      <a:pt x="2428" y="3548"/>
                    </a:lnTo>
                    <a:lnTo>
                      <a:pt x="2615" y="3361"/>
                    </a:lnTo>
                    <a:lnTo>
                      <a:pt x="2828" y="3175"/>
                    </a:lnTo>
                    <a:lnTo>
                      <a:pt x="3042" y="2161"/>
                    </a:lnTo>
                    <a:lnTo>
                      <a:pt x="3228" y="1307"/>
                    </a:lnTo>
                    <a:lnTo>
                      <a:pt x="3362" y="694"/>
                    </a:lnTo>
                    <a:lnTo>
                      <a:pt x="3388" y="481"/>
                    </a:lnTo>
                    <a:lnTo>
                      <a:pt x="3388" y="374"/>
                    </a:lnTo>
                    <a:lnTo>
                      <a:pt x="4029" y="561"/>
                    </a:lnTo>
                    <a:lnTo>
                      <a:pt x="4029" y="561"/>
                    </a:lnTo>
                    <a:lnTo>
                      <a:pt x="3895" y="401"/>
                    </a:lnTo>
                    <a:lnTo>
                      <a:pt x="3468" y="187"/>
                    </a:lnTo>
                    <a:lnTo>
                      <a:pt x="3015" y="0"/>
                    </a:lnTo>
                    <a:close/>
                  </a:path>
                </a:pathLst>
              </a:custGeom>
              <a:solidFill>
                <a:srgbClr val="D7D7D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93" name="Google Shape;893;p16"/>
              <p:cNvSpPr/>
              <p:nvPr/>
            </p:nvSpPr>
            <p:spPr>
              <a:xfrm>
                <a:off x="8543528" y="6047919"/>
                <a:ext cx="53263" cy="56780"/>
              </a:xfrm>
              <a:custGeom>
                <a:avLst/>
                <a:gdLst/>
                <a:ahLst/>
                <a:cxnLst/>
                <a:rect l="l" t="t" r="r" b="b"/>
                <a:pathLst>
                  <a:path w="4029" h="4295" fill="none" extrusionOk="0">
                    <a:moveTo>
                      <a:pt x="3015" y="0"/>
                    </a:moveTo>
                    <a:lnTo>
                      <a:pt x="3015" y="0"/>
                    </a:lnTo>
                    <a:lnTo>
                      <a:pt x="3042" y="107"/>
                    </a:lnTo>
                    <a:lnTo>
                      <a:pt x="3042" y="107"/>
                    </a:lnTo>
                    <a:lnTo>
                      <a:pt x="3068" y="321"/>
                    </a:lnTo>
                    <a:lnTo>
                      <a:pt x="3068" y="534"/>
                    </a:lnTo>
                    <a:lnTo>
                      <a:pt x="3068" y="747"/>
                    </a:lnTo>
                    <a:lnTo>
                      <a:pt x="3015" y="961"/>
                    </a:lnTo>
                    <a:lnTo>
                      <a:pt x="2962" y="1174"/>
                    </a:lnTo>
                    <a:lnTo>
                      <a:pt x="2882" y="1361"/>
                    </a:lnTo>
                    <a:lnTo>
                      <a:pt x="2802" y="1548"/>
                    </a:lnTo>
                    <a:lnTo>
                      <a:pt x="2695" y="1734"/>
                    </a:lnTo>
                    <a:lnTo>
                      <a:pt x="2562" y="1894"/>
                    </a:lnTo>
                    <a:lnTo>
                      <a:pt x="2401" y="2054"/>
                    </a:lnTo>
                    <a:lnTo>
                      <a:pt x="2268" y="2188"/>
                    </a:lnTo>
                    <a:lnTo>
                      <a:pt x="2081" y="2321"/>
                    </a:lnTo>
                    <a:lnTo>
                      <a:pt x="1895" y="2428"/>
                    </a:lnTo>
                    <a:lnTo>
                      <a:pt x="1708" y="2508"/>
                    </a:lnTo>
                    <a:lnTo>
                      <a:pt x="1495" y="2588"/>
                    </a:lnTo>
                    <a:lnTo>
                      <a:pt x="1281" y="2641"/>
                    </a:lnTo>
                    <a:lnTo>
                      <a:pt x="1281" y="2641"/>
                    </a:lnTo>
                    <a:lnTo>
                      <a:pt x="934" y="2668"/>
                    </a:lnTo>
                    <a:lnTo>
                      <a:pt x="934" y="2668"/>
                    </a:lnTo>
                    <a:lnTo>
                      <a:pt x="721" y="2748"/>
                    </a:lnTo>
                    <a:lnTo>
                      <a:pt x="481" y="2828"/>
                    </a:lnTo>
                    <a:lnTo>
                      <a:pt x="241" y="2881"/>
                    </a:lnTo>
                    <a:lnTo>
                      <a:pt x="1" y="2908"/>
                    </a:lnTo>
                    <a:lnTo>
                      <a:pt x="588" y="4295"/>
                    </a:lnTo>
                    <a:lnTo>
                      <a:pt x="588" y="4295"/>
                    </a:lnTo>
                    <a:lnTo>
                      <a:pt x="801" y="4295"/>
                    </a:lnTo>
                    <a:lnTo>
                      <a:pt x="1014" y="4242"/>
                    </a:lnTo>
                    <a:lnTo>
                      <a:pt x="1308" y="4135"/>
                    </a:lnTo>
                    <a:lnTo>
                      <a:pt x="1655" y="4002"/>
                    </a:lnTo>
                    <a:lnTo>
                      <a:pt x="2028" y="3815"/>
                    </a:lnTo>
                    <a:lnTo>
                      <a:pt x="2428" y="3548"/>
                    </a:lnTo>
                    <a:lnTo>
                      <a:pt x="2615" y="3361"/>
                    </a:lnTo>
                    <a:lnTo>
                      <a:pt x="2828" y="3175"/>
                    </a:lnTo>
                    <a:lnTo>
                      <a:pt x="2828" y="3175"/>
                    </a:lnTo>
                    <a:lnTo>
                      <a:pt x="3042" y="2161"/>
                    </a:lnTo>
                    <a:lnTo>
                      <a:pt x="3228" y="1307"/>
                    </a:lnTo>
                    <a:lnTo>
                      <a:pt x="3362" y="694"/>
                    </a:lnTo>
                    <a:lnTo>
                      <a:pt x="3388" y="481"/>
                    </a:lnTo>
                    <a:lnTo>
                      <a:pt x="3388" y="374"/>
                    </a:lnTo>
                    <a:lnTo>
                      <a:pt x="3388" y="374"/>
                    </a:lnTo>
                    <a:lnTo>
                      <a:pt x="4029" y="561"/>
                    </a:lnTo>
                    <a:lnTo>
                      <a:pt x="3895" y="401"/>
                    </a:lnTo>
                    <a:lnTo>
                      <a:pt x="3895" y="401"/>
                    </a:lnTo>
                    <a:lnTo>
                      <a:pt x="3468" y="187"/>
                    </a:lnTo>
                    <a:lnTo>
                      <a:pt x="3015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94" name="Google Shape;894;p16"/>
              <p:cNvSpPr/>
              <p:nvPr/>
            </p:nvSpPr>
            <p:spPr>
              <a:xfrm>
                <a:off x="8580918" y="6052850"/>
                <a:ext cx="18349" cy="37042"/>
              </a:xfrm>
              <a:custGeom>
                <a:avLst/>
                <a:gdLst/>
                <a:ahLst/>
                <a:cxnLst/>
                <a:rect l="l" t="t" r="r" b="b"/>
                <a:pathLst>
                  <a:path w="1388" h="2802" extrusionOk="0">
                    <a:moveTo>
                      <a:pt x="560" y="1"/>
                    </a:moveTo>
                    <a:lnTo>
                      <a:pt x="560" y="108"/>
                    </a:lnTo>
                    <a:lnTo>
                      <a:pt x="534" y="321"/>
                    </a:lnTo>
                    <a:lnTo>
                      <a:pt x="400" y="934"/>
                    </a:lnTo>
                    <a:lnTo>
                      <a:pt x="214" y="1788"/>
                    </a:lnTo>
                    <a:lnTo>
                      <a:pt x="0" y="2802"/>
                    </a:lnTo>
                    <a:lnTo>
                      <a:pt x="187" y="2588"/>
                    </a:lnTo>
                    <a:lnTo>
                      <a:pt x="374" y="2375"/>
                    </a:lnTo>
                    <a:lnTo>
                      <a:pt x="587" y="2108"/>
                    </a:lnTo>
                    <a:lnTo>
                      <a:pt x="747" y="1815"/>
                    </a:lnTo>
                    <a:lnTo>
                      <a:pt x="934" y="1521"/>
                    </a:lnTo>
                    <a:lnTo>
                      <a:pt x="1094" y="1175"/>
                    </a:lnTo>
                    <a:lnTo>
                      <a:pt x="1254" y="801"/>
                    </a:lnTo>
                    <a:lnTo>
                      <a:pt x="1387" y="374"/>
                    </a:lnTo>
                    <a:lnTo>
                      <a:pt x="1201" y="188"/>
                    </a:lnTo>
                    <a:lnTo>
                      <a:pt x="560" y="1"/>
                    </a:lnTo>
                    <a:close/>
                  </a:path>
                </a:pathLst>
              </a:custGeom>
              <a:solidFill>
                <a:srgbClr val="DDAD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95" name="Google Shape;895;p16"/>
              <p:cNvSpPr/>
              <p:nvPr/>
            </p:nvSpPr>
            <p:spPr>
              <a:xfrm>
                <a:off x="8580918" y="6052850"/>
                <a:ext cx="18349" cy="37042"/>
              </a:xfrm>
              <a:custGeom>
                <a:avLst/>
                <a:gdLst/>
                <a:ahLst/>
                <a:cxnLst/>
                <a:rect l="l" t="t" r="r" b="b"/>
                <a:pathLst>
                  <a:path w="1388" h="2802" fill="none" extrusionOk="0">
                    <a:moveTo>
                      <a:pt x="560" y="1"/>
                    </a:moveTo>
                    <a:lnTo>
                      <a:pt x="560" y="1"/>
                    </a:lnTo>
                    <a:lnTo>
                      <a:pt x="560" y="108"/>
                    </a:lnTo>
                    <a:lnTo>
                      <a:pt x="534" y="321"/>
                    </a:lnTo>
                    <a:lnTo>
                      <a:pt x="400" y="934"/>
                    </a:lnTo>
                    <a:lnTo>
                      <a:pt x="214" y="1788"/>
                    </a:lnTo>
                    <a:lnTo>
                      <a:pt x="0" y="2802"/>
                    </a:lnTo>
                    <a:lnTo>
                      <a:pt x="0" y="2802"/>
                    </a:lnTo>
                    <a:lnTo>
                      <a:pt x="187" y="2588"/>
                    </a:lnTo>
                    <a:lnTo>
                      <a:pt x="374" y="2375"/>
                    </a:lnTo>
                    <a:lnTo>
                      <a:pt x="587" y="2108"/>
                    </a:lnTo>
                    <a:lnTo>
                      <a:pt x="747" y="1815"/>
                    </a:lnTo>
                    <a:lnTo>
                      <a:pt x="934" y="1521"/>
                    </a:lnTo>
                    <a:lnTo>
                      <a:pt x="1094" y="1175"/>
                    </a:lnTo>
                    <a:lnTo>
                      <a:pt x="1254" y="801"/>
                    </a:lnTo>
                    <a:lnTo>
                      <a:pt x="1387" y="374"/>
                    </a:lnTo>
                    <a:lnTo>
                      <a:pt x="1201" y="188"/>
                    </a:lnTo>
                    <a:lnTo>
                      <a:pt x="1201" y="188"/>
                    </a:lnTo>
                    <a:lnTo>
                      <a:pt x="56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96" name="Google Shape;896;p16"/>
              <p:cNvSpPr/>
              <p:nvPr/>
            </p:nvSpPr>
            <p:spPr>
              <a:xfrm>
                <a:off x="8555877" y="6039457"/>
                <a:ext cx="28225" cy="43732"/>
              </a:xfrm>
              <a:custGeom>
                <a:avLst/>
                <a:gdLst/>
                <a:ahLst/>
                <a:cxnLst/>
                <a:rect l="l" t="t" r="r" b="b"/>
                <a:pathLst>
                  <a:path w="2135" h="3308" extrusionOk="0">
                    <a:moveTo>
                      <a:pt x="2001" y="0"/>
                    </a:moveTo>
                    <a:lnTo>
                      <a:pt x="1948" y="187"/>
                    </a:lnTo>
                    <a:lnTo>
                      <a:pt x="1894" y="534"/>
                    </a:lnTo>
                    <a:lnTo>
                      <a:pt x="1761" y="961"/>
                    </a:lnTo>
                    <a:lnTo>
                      <a:pt x="1574" y="1467"/>
                    </a:lnTo>
                    <a:lnTo>
                      <a:pt x="1441" y="1734"/>
                    </a:lnTo>
                    <a:lnTo>
                      <a:pt x="1307" y="2001"/>
                    </a:lnTo>
                    <a:lnTo>
                      <a:pt x="1147" y="2268"/>
                    </a:lnTo>
                    <a:lnTo>
                      <a:pt x="961" y="2508"/>
                    </a:lnTo>
                    <a:lnTo>
                      <a:pt x="747" y="2748"/>
                    </a:lnTo>
                    <a:lnTo>
                      <a:pt x="534" y="2961"/>
                    </a:lnTo>
                    <a:lnTo>
                      <a:pt x="267" y="3148"/>
                    </a:lnTo>
                    <a:lnTo>
                      <a:pt x="0" y="3308"/>
                    </a:lnTo>
                    <a:lnTo>
                      <a:pt x="347" y="3281"/>
                    </a:lnTo>
                    <a:lnTo>
                      <a:pt x="561" y="3228"/>
                    </a:lnTo>
                    <a:lnTo>
                      <a:pt x="774" y="3148"/>
                    </a:lnTo>
                    <a:lnTo>
                      <a:pt x="961" y="3068"/>
                    </a:lnTo>
                    <a:lnTo>
                      <a:pt x="1147" y="2961"/>
                    </a:lnTo>
                    <a:lnTo>
                      <a:pt x="1334" y="2828"/>
                    </a:lnTo>
                    <a:lnTo>
                      <a:pt x="1467" y="2694"/>
                    </a:lnTo>
                    <a:lnTo>
                      <a:pt x="1628" y="2534"/>
                    </a:lnTo>
                    <a:lnTo>
                      <a:pt x="1761" y="2374"/>
                    </a:lnTo>
                    <a:lnTo>
                      <a:pt x="1868" y="2188"/>
                    </a:lnTo>
                    <a:lnTo>
                      <a:pt x="1948" y="2001"/>
                    </a:lnTo>
                    <a:lnTo>
                      <a:pt x="2028" y="1814"/>
                    </a:lnTo>
                    <a:lnTo>
                      <a:pt x="2081" y="1601"/>
                    </a:lnTo>
                    <a:lnTo>
                      <a:pt x="2134" y="1387"/>
                    </a:lnTo>
                    <a:lnTo>
                      <a:pt x="2134" y="1174"/>
                    </a:lnTo>
                    <a:lnTo>
                      <a:pt x="2134" y="961"/>
                    </a:lnTo>
                    <a:lnTo>
                      <a:pt x="2108" y="747"/>
                    </a:lnTo>
                    <a:lnTo>
                      <a:pt x="2081" y="640"/>
                    </a:lnTo>
                    <a:lnTo>
                      <a:pt x="2081" y="614"/>
                    </a:lnTo>
                    <a:lnTo>
                      <a:pt x="2028" y="240"/>
                    </a:lnTo>
                    <a:lnTo>
                      <a:pt x="2001" y="0"/>
                    </a:lnTo>
                    <a:close/>
                  </a:path>
                </a:pathLst>
              </a:custGeom>
              <a:solidFill>
                <a:srgbClr val="CC957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97" name="Google Shape;897;p16"/>
              <p:cNvSpPr/>
              <p:nvPr/>
            </p:nvSpPr>
            <p:spPr>
              <a:xfrm>
                <a:off x="8555877" y="6039457"/>
                <a:ext cx="28225" cy="43732"/>
              </a:xfrm>
              <a:custGeom>
                <a:avLst/>
                <a:gdLst/>
                <a:ahLst/>
                <a:cxnLst/>
                <a:rect l="l" t="t" r="r" b="b"/>
                <a:pathLst>
                  <a:path w="2135" h="3308" fill="none" extrusionOk="0">
                    <a:moveTo>
                      <a:pt x="2001" y="0"/>
                    </a:moveTo>
                    <a:lnTo>
                      <a:pt x="2001" y="0"/>
                    </a:lnTo>
                    <a:lnTo>
                      <a:pt x="1948" y="187"/>
                    </a:lnTo>
                    <a:lnTo>
                      <a:pt x="1894" y="534"/>
                    </a:lnTo>
                    <a:lnTo>
                      <a:pt x="1761" y="961"/>
                    </a:lnTo>
                    <a:lnTo>
                      <a:pt x="1574" y="1467"/>
                    </a:lnTo>
                    <a:lnTo>
                      <a:pt x="1441" y="1734"/>
                    </a:lnTo>
                    <a:lnTo>
                      <a:pt x="1307" y="2001"/>
                    </a:lnTo>
                    <a:lnTo>
                      <a:pt x="1147" y="2268"/>
                    </a:lnTo>
                    <a:lnTo>
                      <a:pt x="961" y="2508"/>
                    </a:lnTo>
                    <a:lnTo>
                      <a:pt x="747" y="2748"/>
                    </a:lnTo>
                    <a:lnTo>
                      <a:pt x="534" y="2961"/>
                    </a:lnTo>
                    <a:lnTo>
                      <a:pt x="267" y="3148"/>
                    </a:lnTo>
                    <a:lnTo>
                      <a:pt x="0" y="3308"/>
                    </a:lnTo>
                    <a:lnTo>
                      <a:pt x="0" y="3308"/>
                    </a:lnTo>
                    <a:lnTo>
                      <a:pt x="347" y="3281"/>
                    </a:lnTo>
                    <a:lnTo>
                      <a:pt x="347" y="3281"/>
                    </a:lnTo>
                    <a:lnTo>
                      <a:pt x="561" y="3228"/>
                    </a:lnTo>
                    <a:lnTo>
                      <a:pt x="774" y="3148"/>
                    </a:lnTo>
                    <a:lnTo>
                      <a:pt x="961" y="3068"/>
                    </a:lnTo>
                    <a:lnTo>
                      <a:pt x="1147" y="2961"/>
                    </a:lnTo>
                    <a:lnTo>
                      <a:pt x="1334" y="2828"/>
                    </a:lnTo>
                    <a:lnTo>
                      <a:pt x="1467" y="2694"/>
                    </a:lnTo>
                    <a:lnTo>
                      <a:pt x="1628" y="2534"/>
                    </a:lnTo>
                    <a:lnTo>
                      <a:pt x="1761" y="2374"/>
                    </a:lnTo>
                    <a:lnTo>
                      <a:pt x="1868" y="2188"/>
                    </a:lnTo>
                    <a:lnTo>
                      <a:pt x="1948" y="2001"/>
                    </a:lnTo>
                    <a:lnTo>
                      <a:pt x="2028" y="1814"/>
                    </a:lnTo>
                    <a:lnTo>
                      <a:pt x="2081" y="1601"/>
                    </a:lnTo>
                    <a:lnTo>
                      <a:pt x="2134" y="1387"/>
                    </a:lnTo>
                    <a:lnTo>
                      <a:pt x="2134" y="1174"/>
                    </a:lnTo>
                    <a:lnTo>
                      <a:pt x="2134" y="961"/>
                    </a:lnTo>
                    <a:lnTo>
                      <a:pt x="2108" y="747"/>
                    </a:lnTo>
                    <a:lnTo>
                      <a:pt x="2108" y="747"/>
                    </a:lnTo>
                    <a:lnTo>
                      <a:pt x="2081" y="640"/>
                    </a:lnTo>
                    <a:lnTo>
                      <a:pt x="2081" y="640"/>
                    </a:lnTo>
                    <a:lnTo>
                      <a:pt x="2081" y="614"/>
                    </a:lnTo>
                    <a:lnTo>
                      <a:pt x="2081" y="614"/>
                    </a:lnTo>
                    <a:lnTo>
                      <a:pt x="2028" y="240"/>
                    </a:lnTo>
                    <a:lnTo>
                      <a:pt x="2028" y="240"/>
                    </a:lnTo>
                    <a:lnTo>
                      <a:pt x="200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98" name="Google Shape;898;p16"/>
              <p:cNvSpPr/>
              <p:nvPr/>
            </p:nvSpPr>
            <p:spPr>
              <a:xfrm>
                <a:off x="8512499" y="6036284"/>
                <a:ext cx="31041" cy="60667"/>
              </a:xfrm>
              <a:custGeom>
                <a:avLst/>
                <a:gdLst/>
                <a:ahLst/>
                <a:cxnLst/>
                <a:rect l="l" t="t" r="r" b="b"/>
                <a:pathLst>
                  <a:path w="2348" h="4589" extrusionOk="0">
                    <a:moveTo>
                      <a:pt x="1174" y="0"/>
                    </a:moveTo>
                    <a:lnTo>
                      <a:pt x="161" y="1094"/>
                    </a:lnTo>
                    <a:lnTo>
                      <a:pt x="107" y="1227"/>
                    </a:lnTo>
                    <a:lnTo>
                      <a:pt x="54" y="1574"/>
                    </a:lnTo>
                    <a:lnTo>
                      <a:pt x="1" y="1814"/>
                    </a:lnTo>
                    <a:lnTo>
                      <a:pt x="1" y="2081"/>
                    </a:lnTo>
                    <a:lnTo>
                      <a:pt x="1" y="2347"/>
                    </a:lnTo>
                    <a:lnTo>
                      <a:pt x="27" y="2641"/>
                    </a:lnTo>
                    <a:lnTo>
                      <a:pt x="81" y="2881"/>
                    </a:lnTo>
                    <a:lnTo>
                      <a:pt x="161" y="3174"/>
                    </a:lnTo>
                    <a:lnTo>
                      <a:pt x="347" y="3815"/>
                    </a:lnTo>
                    <a:lnTo>
                      <a:pt x="614" y="4588"/>
                    </a:lnTo>
                    <a:lnTo>
                      <a:pt x="2348" y="3361"/>
                    </a:lnTo>
                    <a:lnTo>
                      <a:pt x="2108" y="3201"/>
                    </a:lnTo>
                    <a:lnTo>
                      <a:pt x="1894" y="3014"/>
                    </a:lnTo>
                    <a:lnTo>
                      <a:pt x="1708" y="2801"/>
                    </a:lnTo>
                    <a:lnTo>
                      <a:pt x="1574" y="2534"/>
                    </a:lnTo>
                    <a:lnTo>
                      <a:pt x="1468" y="2267"/>
                    </a:lnTo>
                    <a:lnTo>
                      <a:pt x="1361" y="2001"/>
                    </a:lnTo>
                    <a:lnTo>
                      <a:pt x="1281" y="1707"/>
                    </a:lnTo>
                    <a:lnTo>
                      <a:pt x="1228" y="1414"/>
                    </a:lnTo>
                    <a:lnTo>
                      <a:pt x="1174" y="880"/>
                    </a:lnTo>
                    <a:lnTo>
                      <a:pt x="1174" y="427"/>
                    </a:lnTo>
                    <a:lnTo>
                      <a:pt x="1174" y="0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99" name="Google Shape;899;p16"/>
              <p:cNvSpPr/>
              <p:nvPr/>
            </p:nvSpPr>
            <p:spPr>
              <a:xfrm>
                <a:off x="8543528" y="6033111"/>
                <a:ext cx="55736" cy="65955"/>
              </a:xfrm>
              <a:custGeom>
                <a:avLst/>
                <a:gdLst/>
                <a:ahLst/>
                <a:cxnLst/>
                <a:rect l="l" t="t" r="r" b="b"/>
                <a:pathLst>
                  <a:path w="4216" h="4989" extrusionOk="0">
                    <a:moveTo>
                      <a:pt x="2935" y="0"/>
                    </a:moveTo>
                    <a:lnTo>
                      <a:pt x="2908" y="160"/>
                    </a:lnTo>
                    <a:lnTo>
                      <a:pt x="2828" y="534"/>
                    </a:lnTo>
                    <a:lnTo>
                      <a:pt x="2668" y="1094"/>
                    </a:lnTo>
                    <a:lnTo>
                      <a:pt x="2562" y="1414"/>
                    </a:lnTo>
                    <a:lnTo>
                      <a:pt x="2401" y="1734"/>
                    </a:lnTo>
                    <a:lnTo>
                      <a:pt x="2241" y="2054"/>
                    </a:lnTo>
                    <a:lnTo>
                      <a:pt x="2028" y="2374"/>
                    </a:lnTo>
                    <a:lnTo>
                      <a:pt x="1788" y="2668"/>
                    </a:lnTo>
                    <a:lnTo>
                      <a:pt x="1521" y="2961"/>
                    </a:lnTo>
                    <a:lnTo>
                      <a:pt x="1201" y="3201"/>
                    </a:lnTo>
                    <a:lnTo>
                      <a:pt x="1041" y="3308"/>
                    </a:lnTo>
                    <a:lnTo>
                      <a:pt x="854" y="3388"/>
                    </a:lnTo>
                    <a:lnTo>
                      <a:pt x="641" y="3468"/>
                    </a:lnTo>
                    <a:lnTo>
                      <a:pt x="454" y="3521"/>
                    </a:lnTo>
                    <a:lnTo>
                      <a:pt x="241" y="3574"/>
                    </a:lnTo>
                    <a:lnTo>
                      <a:pt x="1" y="3601"/>
                    </a:lnTo>
                    <a:lnTo>
                      <a:pt x="588" y="4988"/>
                    </a:lnTo>
                    <a:lnTo>
                      <a:pt x="721" y="4988"/>
                    </a:lnTo>
                    <a:lnTo>
                      <a:pt x="1014" y="4961"/>
                    </a:lnTo>
                    <a:lnTo>
                      <a:pt x="1228" y="4908"/>
                    </a:lnTo>
                    <a:lnTo>
                      <a:pt x="1468" y="4855"/>
                    </a:lnTo>
                    <a:lnTo>
                      <a:pt x="1735" y="4748"/>
                    </a:lnTo>
                    <a:lnTo>
                      <a:pt x="2001" y="4641"/>
                    </a:lnTo>
                    <a:lnTo>
                      <a:pt x="2295" y="4455"/>
                    </a:lnTo>
                    <a:lnTo>
                      <a:pt x="2615" y="4241"/>
                    </a:lnTo>
                    <a:lnTo>
                      <a:pt x="2908" y="3975"/>
                    </a:lnTo>
                    <a:lnTo>
                      <a:pt x="3202" y="3654"/>
                    </a:lnTo>
                    <a:lnTo>
                      <a:pt x="3495" y="3281"/>
                    </a:lnTo>
                    <a:lnTo>
                      <a:pt x="3762" y="2828"/>
                    </a:lnTo>
                    <a:lnTo>
                      <a:pt x="4002" y="2294"/>
                    </a:lnTo>
                    <a:lnTo>
                      <a:pt x="4215" y="1681"/>
                    </a:lnTo>
                    <a:lnTo>
                      <a:pt x="2935" y="0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0" name="Google Shape;900;p16"/>
              <p:cNvSpPr/>
              <p:nvPr/>
            </p:nvSpPr>
            <p:spPr>
              <a:xfrm>
                <a:off x="8587621" y="6643555"/>
                <a:ext cx="226036" cy="285645"/>
              </a:xfrm>
              <a:custGeom>
                <a:avLst/>
                <a:gdLst/>
                <a:ahLst/>
                <a:cxnLst/>
                <a:rect l="l" t="t" r="r" b="b"/>
                <a:pathLst>
                  <a:path w="17098" h="21607" extrusionOk="0">
                    <a:moveTo>
                      <a:pt x="0" y="1"/>
                    </a:moveTo>
                    <a:lnTo>
                      <a:pt x="0" y="21606"/>
                    </a:lnTo>
                    <a:lnTo>
                      <a:pt x="17098" y="21606"/>
                    </a:lnTo>
                    <a:lnTo>
                      <a:pt x="17098" y="1"/>
                    </a:lnTo>
                    <a:close/>
                  </a:path>
                </a:pathLst>
              </a:custGeom>
              <a:solidFill>
                <a:srgbClr val="B67F4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1" name="Google Shape;901;p16"/>
              <p:cNvSpPr/>
              <p:nvPr/>
            </p:nvSpPr>
            <p:spPr>
              <a:xfrm>
                <a:off x="8659199" y="6586070"/>
                <a:ext cx="82532" cy="113560"/>
              </a:xfrm>
              <a:custGeom>
                <a:avLst/>
                <a:gdLst/>
                <a:ahLst/>
                <a:cxnLst/>
                <a:rect l="l" t="t" r="r" b="b"/>
                <a:pathLst>
                  <a:path w="6243" h="8590" extrusionOk="0">
                    <a:moveTo>
                      <a:pt x="3122" y="854"/>
                    </a:moveTo>
                    <a:lnTo>
                      <a:pt x="3308" y="881"/>
                    </a:lnTo>
                    <a:lnTo>
                      <a:pt x="3495" y="961"/>
                    </a:lnTo>
                    <a:lnTo>
                      <a:pt x="3682" y="1094"/>
                    </a:lnTo>
                    <a:lnTo>
                      <a:pt x="3895" y="1281"/>
                    </a:lnTo>
                    <a:lnTo>
                      <a:pt x="4082" y="1495"/>
                    </a:lnTo>
                    <a:lnTo>
                      <a:pt x="4269" y="1761"/>
                    </a:lnTo>
                    <a:lnTo>
                      <a:pt x="4455" y="2055"/>
                    </a:lnTo>
                    <a:lnTo>
                      <a:pt x="4615" y="2375"/>
                    </a:lnTo>
                    <a:lnTo>
                      <a:pt x="4802" y="2748"/>
                    </a:lnTo>
                    <a:lnTo>
                      <a:pt x="4936" y="3122"/>
                    </a:lnTo>
                    <a:lnTo>
                      <a:pt x="5069" y="3522"/>
                    </a:lnTo>
                    <a:lnTo>
                      <a:pt x="5176" y="3948"/>
                    </a:lnTo>
                    <a:lnTo>
                      <a:pt x="5282" y="4375"/>
                    </a:lnTo>
                    <a:lnTo>
                      <a:pt x="5362" y="4829"/>
                    </a:lnTo>
                    <a:lnTo>
                      <a:pt x="5389" y="5282"/>
                    </a:lnTo>
                    <a:lnTo>
                      <a:pt x="5416" y="5736"/>
                    </a:lnTo>
                    <a:lnTo>
                      <a:pt x="5389" y="6029"/>
                    </a:lnTo>
                    <a:lnTo>
                      <a:pt x="5362" y="6296"/>
                    </a:lnTo>
                    <a:lnTo>
                      <a:pt x="5336" y="6536"/>
                    </a:lnTo>
                    <a:lnTo>
                      <a:pt x="5256" y="6749"/>
                    </a:lnTo>
                    <a:lnTo>
                      <a:pt x="5176" y="6936"/>
                    </a:lnTo>
                    <a:lnTo>
                      <a:pt x="5096" y="7123"/>
                    </a:lnTo>
                    <a:lnTo>
                      <a:pt x="4962" y="7256"/>
                    </a:lnTo>
                    <a:lnTo>
                      <a:pt x="4829" y="7363"/>
                    </a:lnTo>
                    <a:lnTo>
                      <a:pt x="4695" y="7469"/>
                    </a:lnTo>
                    <a:lnTo>
                      <a:pt x="4509" y="7549"/>
                    </a:lnTo>
                    <a:lnTo>
                      <a:pt x="4322" y="7603"/>
                    </a:lnTo>
                    <a:lnTo>
                      <a:pt x="4135" y="7656"/>
                    </a:lnTo>
                    <a:lnTo>
                      <a:pt x="3655" y="7710"/>
                    </a:lnTo>
                    <a:lnTo>
                      <a:pt x="3122" y="7736"/>
                    </a:lnTo>
                    <a:lnTo>
                      <a:pt x="2588" y="7710"/>
                    </a:lnTo>
                    <a:lnTo>
                      <a:pt x="2135" y="7656"/>
                    </a:lnTo>
                    <a:lnTo>
                      <a:pt x="1921" y="7603"/>
                    </a:lnTo>
                    <a:lnTo>
                      <a:pt x="1735" y="7549"/>
                    </a:lnTo>
                    <a:lnTo>
                      <a:pt x="1575" y="7469"/>
                    </a:lnTo>
                    <a:lnTo>
                      <a:pt x="1415" y="7363"/>
                    </a:lnTo>
                    <a:lnTo>
                      <a:pt x="1281" y="7256"/>
                    </a:lnTo>
                    <a:lnTo>
                      <a:pt x="1175" y="7123"/>
                    </a:lnTo>
                    <a:lnTo>
                      <a:pt x="1068" y="6936"/>
                    </a:lnTo>
                    <a:lnTo>
                      <a:pt x="988" y="6749"/>
                    </a:lnTo>
                    <a:lnTo>
                      <a:pt x="934" y="6536"/>
                    </a:lnTo>
                    <a:lnTo>
                      <a:pt x="881" y="6296"/>
                    </a:lnTo>
                    <a:lnTo>
                      <a:pt x="854" y="6029"/>
                    </a:lnTo>
                    <a:lnTo>
                      <a:pt x="854" y="5736"/>
                    </a:lnTo>
                    <a:lnTo>
                      <a:pt x="881" y="5282"/>
                    </a:lnTo>
                    <a:lnTo>
                      <a:pt x="908" y="4829"/>
                    </a:lnTo>
                    <a:lnTo>
                      <a:pt x="988" y="4375"/>
                    </a:lnTo>
                    <a:lnTo>
                      <a:pt x="1068" y="3948"/>
                    </a:lnTo>
                    <a:lnTo>
                      <a:pt x="1201" y="3522"/>
                    </a:lnTo>
                    <a:lnTo>
                      <a:pt x="1335" y="3122"/>
                    </a:lnTo>
                    <a:lnTo>
                      <a:pt x="1468" y="2748"/>
                    </a:lnTo>
                    <a:lnTo>
                      <a:pt x="1628" y="2375"/>
                    </a:lnTo>
                    <a:lnTo>
                      <a:pt x="1815" y="2055"/>
                    </a:lnTo>
                    <a:lnTo>
                      <a:pt x="2001" y="1761"/>
                    </a:lnTo>
                    <a:lnTo>
                      <a:pt x="2188" y="1495"/>
                    </a:lnTo>
                    <a:lnTo>
                      <a:pt x="2375" y="1281"/>
                    </a:lnTo>
                    <a:lnTo>
                      <a:pt x="2562" y="1094"/>
                    </a:lnTo>
                    <a:lnTo>
                      <a:pt x="2748" y="961"/>
                    </a:lnTo>
                    <a:lnTo>
                      <a:pt x="2962" y="881"/>
                    </a:lnTo>
                    <a:lnTo>
                      <a:pt x="3122" y="854"/>
                    </a:lnTo>
                    <a:close/>
                    <a:moveTo>
                      <a:pt x="3122" y="1"/>
                    </a:moveTo>
                    <a:lnTo>
                      <a:pt x="2962" y="27"/>
                    </a:lnTo>
                    <a:lnTo>
                      <a:pt x="2802" y="54"/>
                    </a:lnTo>
                    <a:lnTo>
                      <a:pt x="2642" y="107"/>
                    </a:lnTo>
                    <a:lnTo>
                      <a:pt x="2482" y="161"/>
                    </a:lnTo>
                    <a:lnTo>
                      <a:pt x="2161" y="348"/>
                    </a:lnTo>
                    <a:lnTo>
                      <a:pt x="1868" y="588"/>
                    </a:lnTo>
                    <a:lnTo>
                      <a:pt x="1601" y="881"/>
                    </a:lnTo>
                    <a:lnTo>
                      <a:pt x="1335" y="1201"/>
                    </a:lnTo>
                    <a:lnTo>
                      <a:pt x="1121" y="1601"/>
                    </a:lnTo>
                    <a:lnTo>
                      <a:pt x="881" y="2001"/>
                    </a:lnTo>
                    <a:lnTo>
                      <a:pt x="694" y="2455"/>
                    </a:lnTo>
                    <a:lnTo>
                      <a:pt x="508" y="2908"/>
                    </a:lnTo>
                    <a:lnTo>
                      <a:pt x="374" y="3388"/>
                    </a:lnTo>
                    <a:lnTo>
                      <a:pt x="241" y="3868"/>
                    </a:lnTo>
                    <a:lnTo>
                      <a:pt x="134" y="4349"/>
                    </a:lnTo>
                    <a:lnTo>
                      <a:pt x="81" y="4829"/>
                    </a:lnTo>
                    <a:lnTo>
                      <a:pt x="28" y="5282"/>
                    </a:lnTo>
                    <a:lnTo>
                      <a:pt x="1" y="5736"/>
                    </a:lnTo>
                    <a:lnTo>
                      <a:pt x="28" y="6162"/>
                    </a:lnTo>
                    <a:lnTo>
                      <a:pt x="81" y="6563"/>
                    </a:lnTo>
                    <a:lnTo>
                      <a:pt x="161" y="6936"/>
                    </a:lnTo>
                    <a:lnTo>
                      <a:pt x="268" y="7229"/>
                    </a:lnTo>
                    <a:lnTo>
                      <a:pt x="428" y="7496"/>
                    </a:lnTo>
                    <a:lnTo>
                      <a:pt x="588" y="7736"/>
                    </a:lnTo>
                    <a:lnTo>
                      <a:pt x="774" y="7923"/>
                    </a:lnTo>
                    <a:lnTo>
                      <a:pt x="988" y="8110"/>
                    </a:lnTo>
                    <a:lnTo>
                      <a:pt x="1228" y="8243"/>
                    </a:lnTo>
                    <a:lnTo>
                      <a:pt x="1468" y="8350"/>
                    </a:lnTo>
                    <a:lnTo>
                      <a:pt x="1735" y="8430"/>
                    </a:lnTo>
                    <a:lnTo>
                      <a:pt x="2001" y="8483"/>
                    </a:lnTo>
                    <a:lnTo>
                      <a:pt x="2268" y="8536"/>
                    </a:lnTo>
                    <a:lnTo>
                      <a:pt x="2562" y="8563"/>
                    </a:lnTo>
                    <a:lnTo>
                      <a:pt x="3122" y="8590"/>
                    </a:lnTo>
                    <a:lnTo>
                      <a:pt x="3709" y="8563"/>
                    </a:lnTo>
                    <a:lnTo>
                      <a:pt x="4002" y="8536"/>
                    </a:lnTo>
                    <a:lnTo>
                      <a:pt x="4269" y="8483"/>
                    </a:lnTo>
                    <a:lnTo>
                      <a:pt x="4535" y="8430"/>
                    </a:lnTo>
                    <a:lnTo>
                      <a:pt x="4802" y="8350"/>
                    </a:lnTo>
                    <a:lnTo>
                      <a:pt x="5042" y="8243"/>
                    </a:lnTo>
                    <a:lnTo>
                      <a:pt x="5282" y="8110"/>
                    </a:lnTo>
                    <a:lnTo>
                      <a:pt x="5496" y="7923"/>
                    </a:lnTo>
                    <a:lnTo>
                      <a:pt x="5682" y="7736"/>
                    </a:lnTo>
                    <a:lnTo>
                      <a:pt x="5842" y="7496"/>
                    </a:lnTo>
                    <a:lnTo>
                      <a:pt x="5976" y="7229"/>
                    </a:lnTo>
                    <a:lnTo>
                      <a:pt x="6109" y="6936"/>
                    </a:lnTo>
                    <a:lnTo>
                      <a:pt x="6189" y="6563"/>
                    </a:lnTo>
                    <a:lnTo>
                      <a:pt x="6243" y="6162"/>
                    </a:lnTo>
                    <a:lnTo>
                      <a:pt x="6243" y="5736"/>
                    </a:lnTo>
                    <a:lnTo>
                      <a:pt x="6243" y="5282"/>
                    </a:lnTo>
                    <a:lnTo>
                      <a:pt x="6189" y="4829"/>
                    </a:lnTo>
                    <a:lnTo>
                      <a:pt x="6109" y="4349"/>
                    </a:lnTo>
                    <a:lnTo>
                      <a:pt x="6029" y="3868"/>
                    </a:lnTo>
                    <a:lnTo>
                      <a:pt x="5896" y="3388"/>
                    </a:lnTo>
                    <a:lnTo>
                      <a:pt x="5736" y="2908"/>
                    </a:lnTo>
                    <a:lnTo>
                      <a:pt x="5576" y="2455"/>
                    </a:lnTo>
                    <a:lnTo>
                      <a:pt x="5362" y="2001"/>
                    </a:lnTo>
                    <a:lnTo>
                      <a:pt x="5149" y="1601"/>
                    </a:lnTo>
                    <a:lnTo>
                      <a:pt x="4909" y="1201"/>
                    </a:lnTo>
                    <a:lnTo>
                      <a:pt x="4669" y="881"/>
                    </a:lnTo>
                    <a:lnTo>
                      <a:pt x="4375" y="588"/>
                    </a:lnTo>
                    <a:lnTo>
                      <a:pt x="4082" y="348"/>
                    </a:lnTo>
                    <a:lnTo>
                      <a:pt x="3789" y="161"/>
                    </a:lnTo>
                    <a:lnTo>
                      <a:pt x="3629" y="107"/>
                    </a:lnTo>
                    <a:lnTo>
                      <a:pt x="3468" y="54"/>
                    </a:lnTo>
                    <a:lnTo>
                      <a:pt x="3308" y="27"/>
                    </a:lnTo>
                    <a:lnTo>
                      <a:pt x="3122" y="1"/>
                    </a:lnTo>
                    <a:close/>
                  </a:path>
                </a:pathLst>
              </a:custGeom>
              <a:solidFill>
                <a:srgbClr val="B67F4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2" name="Google Shape;902;p16"/>
              <p:cNvSpPr/>
              <p:nvPr/>
            </p:nvSpPr>
            <p:spPr>
              <a:xfrm>
                <a:off x="8671191" y="6545521"/>
                <a:ext cx="59609" cy="77945"/>
              </a:xfrm>
              <a:custGeom>
                <a:avLst/>
                <a:gdLst/>
                <a:ahLst/>
                <a:cxnLst/>
                <a:rect l="l" t="t" r="r" b="b"/>
                <a:pathLst>
                  <a:path w="4509" h="5896" extrusionOk="0">
                    <a:moveTo>
                      <a:pt x="2695" y="0"/>
                    </a:moveTo>
                    <a:lnTo>
                      <a:pt x="2481" y="27"/>
                    </a:lnTo>
                    <a:lnTo>
                      <a:pt x="2268" y="80"/>
                    </a:lnTo>
                    <a:lnTo>
                      <a:pt x="2055" y="160"/>
                    </a:lnTo>
                    <a:lnTo>
                      <a:pt x="1841" y="294"/>
                    </a:lnTo>
                    <a:lnTo>
                      <a:pt x="1655" y="454"/>
                    </a:lnTo>
                    <a:lnTo>
                      <a:pt x="1495" y="667"/>
                    </a:lnTo>
                    <a:lnTo>
                      <a:pt x="1334" y="907"/>
                    </a:lnTo>
                    <a:lnTo>
                      <a:pt x="1148" y="1307"/>
                    </a:lnTo>
                    <a:lnTo>
                      <a:pt x="988" y="1707"/>
                    </a:lnTo>
                    <a:lnTo>
                      <a:pt x="694" y="2481"/>
                    </a:lnTo>
                    <a:lnTo>
                      <a:pt x="428" y="3254"/>
                    </a:lnTo>
                    <a:lnTo>
                      <a:pt x="134" y="4081"/>
                    </a:lnTo>
                    <a:lnTo>
                      <a:pt x="81" y="4161"/>
                    </a:lnTo>
                    <a:lnTo>
                      <a:pt x="1" y="4321"/>
                    </a:lnTo>
                    <a:lnTo>
                      <a:pt x="1" y="4401"/>
                    </a:lnTo>
                    <a:lnTo>
                      <a:pt x="27" y="4481"/>
                    </a:lnTo>
                    <a:lnTo>
                      <a:pt x="107" y="4535"/>
                    </a:lnTo>
                    <a:lnTo>
                      <a:pt x="268" y="4562"/>
                    </a:lnTo>
                    <a:lnTo>
                      <a:pt x="374" y="4562"/>
                    </a:lnTo>
                    <a:lnTo>
                      <a:pt x="454" y="4508"/>
                    </a:lnTo>
                    <a:lnTo>
                      <a:pt x="534" y="4455"/>
                    </a:lnTo>
                    <a:lnTo>
                      <a:pt x="614" y="4401"/>
                    </a:lnTo>
                    <a:lnTo>
                      <a:pt x="748" y="4215"/>
                    </a:lnTo>
                    <a:lnTo>
                      <a:pt x="854" y="3975"/>
                    </a:lnTo>
                    <a:lnTo>
                      <a:pt x="988" y="3761"/>
                    </a:lnTo>
                    <a:lnTo>
                      <a:pt x="1121" y="3575"/>
                    </a:lnTo>
                    <a:lnTo>
                      <a:pt x="1174" y="3495"/>
                    </a:lnTo>
                    <a:lnTo>
                      <a:pt x="1281" y="3441"/>
                    </a:lnTo>
                    <a:lnTo>
                      <a:pt x="1361" y="3415"/>
                    </a:lnTo>
                    <a:lnTo>
                      <a:pt x="1468" y="3388"/>
                    </a:lnTo>
                    <a:lnTo>
                      <a:pt x="1548" y="3415"/>
                    </a:lnTo>
                    <a:lnTo>
                      <a:pt x="1601" y="3468"/>
                    </a:lnTo>
                    <a:lnTo>
                      <a:pt x="1628" y="3548"/>
                    </a:lnTo>
                    <a:lnTo>
                      <a:pt x="1628" y="3655"/>
                    </a:lnTo>
                    <a:lnTo>
                      <a:pt x="1548" y="3921"/>
                    </a:lnTo>
                    <a:lnTo>
                      <a:pt x="1414" y="4215"/>
                    </a:lnTo>
                    <a:lnTo>
                      <a:pt x="1254" y="4535"/>
                    </a:lnTo>
                    <a:lnTo>
                      <a:pt x="1094" y="4802"/>
                    </a:lnTo>
                    <a:lnTo>
                      <a:pt x="934" y="5042"/>
                    </a:lnTo>
                    <a:lnTo>
                      <a:pt x="934" y="5122"/>
                    </a:lnTo>
                    <a:lnTo>
                      <a:pt x="988" y="5282"/>
                    </a:lnTo>
                    <a:lnTo>
                      <a:pt x="1041" y="5388"/>
                    </a:lnTo>
                    <a:lnTo>
                      <a:pt x="1121" y="5495"/>
                    </a:lnTo>
                    <a:lnTo>
                      <a:pt x="1228" y="5575"/>
                    </a:lnTo>
                    <a:lnTo>
                      <a:pt x="1388" y="5628"/>
                    </a:lnTo>
                    <a:lnTo>
                      <a:pt x="2028" y="5788"/>
                    </a:lnTo>
                    <a:lnTo>
                      <a:pt x="2561" y="5869"/>
                    </a:lnTo>
                    <a:lnTo>
                      <a:pt x="2962" y="5895"/>
                    </a:lnTo>
                    <a:lnTo>
                      <a:pt x="3282" y="5842"/>
                    </a:lnTo>
                    <a:lnTo>
                      <a:pt x="3522" y="5788"/>
                    </a:lnTo>
                    <a:lnTo>
                      <a:pt x="3655" y="5735"/>
                    </a:lnTo>
                    <a:lnTo>
                      <a:pt x="3762" y="5655"/>
                    </a:lnTo>
                    <a:lnTo>
                      <a:pt x="3922" y="5522"/>
                    </a:lnTo>
                    <a:lnTo>
                      <a:pt x="4055" y="5335"/>
                    </a:lnTo>
                    <a:lnTo>
                      <a:pt x="4189" y="5095"/>
                    </a:lnTo>
                    <a:lnTo>
                      <a:pt x="4269" y="4802"/>
                    </a:lnTo>
                    <a:lnTo>
                      <a:pt x="4375" y="4481"/>
                    </a:lnTo>
                    <a:lnTo>
                      <a:pt x="4429" y="4135"/>
                    </a:lnTo>
                    <a:lnTo>
                      <a:pt x="4482" y="3761"/>
                    </a:lnTo>
                    <a:lnTo>
                      <a:pt x="4509" y="3388"/>
                    </a:lnTo>
                    <a:lnTo>
                      <a:pt x="4509" y="2988"/>
                    </a:lnTo>
                    <a:lnTo>
                      <a:pt x="4509" y="2614"/>
                    </a:lnTo>
                    <a:lnTo>
                      <a:pt x="4509" y="2241"/>
                    </a:lnTo>
                    <a:lnTo>
                      <a:pt x="4455" y="1867"/>
                    </a:lnTo>
                    <a:lnTo>
                      <a:pt x="4402" y="1521"/>
                    </a:lnTo>
                    <a:lnTo>
                      <a:pt x="4349" y="1201"/>
                    </a:lnTo>
                    <a:lnTo>
                      <a:pt x="4269" y="907"/>
                    </a:lnTo>
                    <a:lnTo>
                      <a:pt x="4162" y="667"/>
                    </a:lnTo>
                    <a:lnTo>
                      <a:pt x="4082" y="560"/>
                    </a:lnTo>
                    <a:lnTo>
                      <a:pt x="3975" y="454"/>
                    </a:lnTo>
                    <a:lnTo>
                      <a:pt x="3868" y="347"/>
                    </a:lnTo>
                    <a:lnTo>
                      <a:pt x="3708" y="240"/>
                    </a:lnTo>
                    <a:lnTo>
                      <a:pt x="3522" y="160"/>
                    </a:lnTo>
                    <a:lnTo>
                      <a:pt x="3335" y="80"/>
                    </a:lnTo>
                    <a:lnTo>
                      <a:pt x="3122" y="27"/>
                    </a:lnTo>
                    <a:lnTo>
                      <a:pt x="2908" y="0"/>
                    </a:lnTo>
                    <a:close/>
                  </a:path>
                </a:pathLst>
              </a:custGeom>
              <a:solidFill>
                <a:srgbClr val="E5A78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3" name="Google Shape;903;p16"/>
              <p:cNvSpPr/>
              <p:nvPr/>
            </p:nvSpPr>
            <p:spPr>
              <a:xfrm>
                <a:off x="8369315" y="6541991"/>
                <a:ext cx="59966" cy="65254"/>
              </a:xfrm>
              <a:custGeom>
                <a:avLst/>
                <a:gdLst/>
                <a:ahLst/>
                <a:cxnLst/>
                <a:rect l="l" t="t" r="r" b="b"/>
                <a:pathLst>
                  <a:path w="4536" h="4936" extrusionOk="0">
                    <a:moveTo>
                      <a:pt x="2268" y="1"/>
                    </a:moveTo>
                    <a:lnTo>
                      <a:pt x="1948" y="27"/>
                    </a:lnTo>
                    <a:lnTo>
                      <a:pt x="1681" y="81"/>
                    </a:lnTo>
                    <a:lnTo>
                      <a:pt x="1441" y="134"/>
                    </a:lnTo>
                    <a:lnTo>
                      <a:pt x="1201" y="534"/>
                    </a:lnTo>
                    <a:lnTo>
                      <a:pt x="935" y="961"/>
                    </a:lnTo>
                    <a:lnTo>
                      <a:pt x="641" y="1468"/>
                    </a:lnTo>
                    <a:lnTo>
                      <a:pt x="374" y="2001"/>
                    </a:lnTo>
                    <a:lnTo>
                      <a:pt x="161" y="2508"/>
                    </a:lnTo>
                    <a:lnTo>
                      <a:pt x="54" y="2748"/>
                    </a:lnTo>
                    <a:lnTo>
                      <a:pt x="1" y="2935"/>
                    </a:lnTo>
                    <a:lnTo>
                      <a:pt x="1" y="3121"/>
                    </a:lnTo>
                    <a:lnTo>
                      <a:pt x="1" y="3255"/>
                    </a:lnTo>
                    <a:lnTo>
                      <a:pt x="81" y="3468"/>
                    </a:lnTo>
                    <a:lnTo>
                      <a:pt x="188" y="3655"/>
                    </a:lnTo>
                    <a:lnTo>
                      <a:pt x="294" y="3815"/>
                    </a:lnTo>
                    <a:lnTo>
                      <a:pt x="428" y="3975"/>
                    </a:lnTo>
                    <a:lnTo>
                      <a:pt x="561" y="4135"/>
                    </a:lnTo>
                    <a:lnTo>
                      <a:pt x="694" y="4268"/>
                    </a:lnTo>
                    <a:lnTo>
                      <a:pt x="1015" y="4482"/>
                    </a:lnTo>
                    <a:lnTo>
                      <a:pt x="1361" y="4668"/>
                    </a:lnTo>
                    <a:lnTo>
                      <a:pt x="1681" y="4802"/>
                    </a:lnTo>
                    <a:lnTo>
                      <a:pt x="2002" y="4882"/>
                    </a:lnTo>
                    <a:lnTo>
                      <a:pt x="2268" y="4935"/>
                    </a:lnTo>
                    <a:lnTo>
                      <a:pt x="2695" y="4935"/>
                    </a:lnTo>
                    <a:lnTo>
                      <a:pt x="2882" y="4882"/>
                    </a:lnTo>
                    <a:lnTo>
                      <a:pt x="3015" y="4829"/>
                    </a:lnTo>
                    <a:lnTo>
                      <a:pt x="3202" y="4748"/>
                    </a:lnTo>
                    <a:lnTo>
                      <a:pt x="3255" y="4695"/>
                    </a:lnTo>
                    <a:lnTo>
                      <a:pt x="3202" y="4562"/>
                    </a:lnTo>
                    <a:lnTo>
                      <a:pt x="3122" y="4428"/>
                    </a:lnTo>
                    <a:lnTo>
                      <a:pt x="3095" y="4268"/>
                    </a:lnTo>
                    <a:lnTo>
                      <a:pt x="3068" y="4082"/>
                    </a:lnTo>
                    <a:lnTo>
                      <a:pt x="3095" y="3922"/>
                    </a:lnTo>
                    <a:lnTo>
                      <a:pt x="3122" y="3868"/>
                    </a:lnTo>
                    <a:lnTo>
                      <a:pt x="3175" y="3815"/>
                    </a:lnTo>
                    <a:lnTo>
                      <a:pt x="3255" y="3762"/>
                    </a:lnTo>
                    <a:lnTo>
                      <a:pt x="3362" y="3735"/>
                    </a:lnTo>
                    <a:lnTo>
                      <a:pt x="3442" y="3708"/>
                    </a:lnTo>
                    <a:lnTo>
                      <a:pt x="3495" y="3735"/>
                    </a:lnTo>
                    <a:lnTo>
                      <a:pt x="3575" y="3762"/>
                    </a:lnTo>
                    <a:lnTo>
                      <a:pt x="3655" y="3815"/>
                    </a:lnTo>
                    <a:lnTo>
                      <a:pt x="3762" y="3948"/>
                    </a:lnTo>
                    <a:lnTo>
                      <a:pt x="3869" y="4108"/>
                    </a:lnTo>
                    <a:lnTo>
                      <a:pt x="4029" y="4402"/>
                    </a:lnTo>
                    <a:lnTo>
                      <a:pt x="4082" y="4562"/>
                    </a:lnTo>
                    <a:lnTo>
                      <a:pt x="4135" y="4482"/>
                    </a:lnTo>
                    <a:lnTo>
                      <a:pt x="4269" y="4295"/>
                    </a:lnTo>
                    <a:lnTo>
                      <a:pt x="4349" y="4135"/>
                    </a:lnTo>
                    <a:lnTo>
                      <a:pt x="4429" y="3948"/>
                    </a:lnTo>
                    <a:lnTo>
                      <a:pt x="4482" y="3735"/>
                    </a:lnTo>
                    <a:lnTo>
                      <a:pt x="4536" y="3468"/>
                    </a:lnTo>
                    <a:lnTo>
                      <a:pt x="4536" y="3041"/>
                    </a:lnTo>
                    <a:lnTo>
                      <a:pt x="4482" y="2561"/>
                    </a:lnTo>
                    <a:lnTo>
                      <a:pt x="4402" y="2108"/>
                    </a:lnTo>
                    <a:lnTo>
                      <a:pt x="4295" y="1654"/>
                    </a:lnTo>
                    <a:lnTo>
                      <a:pt x="4189" y="1254"/>
                    </a:lnTo>
                    <a:lnTo>
                      <a:pt x="4082" y="934"/>
                    </a:lnTo>
                    <a:lnTo>
                      <a:pt x="3975" y="694"/>
                    </a:lnTo>
                    <a:lnTo>
                      <a:pt x="3922" y="561"/>
                    </a:lnTo>
                    <a:lnTo>
                      <a:pt x="3709" y="427"/>
                    </a:lnTo>
                    <a:lnTo>
                      <a:pt x="3495" y="294"/>
                    </a:lnTo>
                    <a:lnTo>
                      <a:pt x="3282" y="187"/>
                    </a:lnTo>
                    <a:lnTo>
                      <a:pt x="3068" y="107"/>
                    </a:lnTo>
                    <a:lnTo>
                      <a:pt x="2855" y="54"/>
                    </a:lnTo>
                    <a:lnTo>
                      <a:pt x="2668" y="27"/>
                    </a:lnTo>
                    <a:lnTo>
                      <a:pt x="2268" y="1"/>
                    </a:lnTo>
                    <a:close/>
                  </a:path>
                </a:pathLst>
              </a:custGeom>
              <a:solidFill>
                <a:srgbClr val="E5A78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4" name="Google Shape;904;p16"/>
              <p:cNvSpPr/>
              <p:nvPr/>
            </p:nvSpPr>
            <p:spPr>
              <a:xfrm>
                <a:off x="8585148" y="6082479"/>
                <a:ext cx="145645" cy="475008"/>
              </a:xfrm>
              <a:custGeom>
                <a:avLst/>
                <a:gdLst/>
                <a:ahLst/>
                <a:cxnLst/>
                <a:rect l="l" t="t" r="r" b="b"/>
                <a:pathLst>
                  <a:path w="11017" h="35931" extrusionOk="0">
                    <a:moveTo>
                      <a:pt x="2828" y="0"/>
                    </a:moveTo>
                    <a:lnTo>
                      <a:pt x="2588" y="27"/>
                    </a:lnTo>
                    <a:lnTo>
                      <a:pt x="2374" y="80"/>
                    </a:lnTo>
                    <a:lnTo>
                      <a:pt x="2134" y="161"/>
                    </a:lnTo>
                    <a:lnTo>
                      <a:pt x="1921" y="241"/>
                    </a:lnTo>
                    <a:lnTo>
                      <a:pt x="1707" y="321"/>
                    </a:lnTo>
                    <a:lnTo>
                      <a:pt x="1494" y="427"/>
                    </a:lnTo>
                    <a:lnTo>
                      <a:pt x="1307" y="561"/>
                    </a:lnTo>
                    <a:lnTo>
                      <a:pt x="1094" y="721"/>
                    </a:lnTo>
                    <a:lnTo>
                      <a:pt x="934" y="881"/>
                    </a:lnTo>
                    <a:lnTo>
                      <a:pt x="747" y="1067"/>
                    </a:lnTo>
                    <a:lnTo>
                      <a:pt x="587" y="1254"/>
                    </a:lnTo>
                    <a:lnTo>
                      <a:pt x="454" y="1468"/>
                    </a:lnTo>
                    <a:lnTo>
                      <a:pt x="240" y="1868"/>
                    </a:lnTo>
                    <a:lnTo>
                      <a:pt x="107" y="2294"/>
                    </a:lnTo>
                    <a:lnTo>
                      <a:pt x="27" y="2695"/>
                    </a:lnTo>
                    <a:lnTo>
                      <a:pt x="0" y="3095"/>
                    </a:lnTo>
                    <a:lnTo>
                      <a:pt x="27" y="3521"/>
                    </a:lnTo>
                    <a:lnTo>
                      <a:pt x="80" y="3922"/>
                    </a:lnTo>
                    <a:lnTo>
                      <a:pt x="187" y="4348"/>
                    </a:lnTo>
                    <a:lnTo>
                      <a:pt x="320" y="4748"/>
                    </a:lnTo>
                    <a:lnTo>
                      <a:pt x="480" y="5175"/>
                    </a:lnTo>
                    <a:lnTo>
                      <a:pt x="641" y="5575"/>
                    </a:lnTo>
                    <a:lnTo>
                      <a:pt x="1041" y="6376"/>
                    </a:lnTo>
                    <a:lnTo>
                      <a:pt x="1414" y="7149"/>
                    </a:lnTo>
                    <a:lnTo>
                      <a:pt x="1761" y="7896"/>
                    </a:lnTo>
                    <a:lnTo>
                      <a:pt x="2188" y="8936"/>
                    </a:lnTo>
                    <a:lnTo>
                      <a:pt x="2588" y="9976"/>
                    </a:lnTo>
                    <a:lnTo>
                      <a:pt x="2961" y="11017"/>
                    </a:lnTo>
                    <a:lnTo>
                      <a:pt x="3335" y="12057"/>
                    </a:lnTo>
                    <a:lnTo>
                      <a:pt x="3681" y="13097"/>
                    </a:lnTo>
                    <a:lnTo>
                      <a:pt x="4028" y="14164"/>
                    </a:lnTo>
                    <a:lnTo>
                      <a:pt x="4642" y="16272"/>
                    </a:lnTo>
                    <a:lnTo>
                      <a:pt x="5202" y="18405"/>
                    </a:lnTo>
                    <a:lnTo>
                      <a:pt x="5735" y="20566"/>
                    </a:lnTo>
                    <a:lnTo>
                      <a:pt x="6189" y="22727"/>
                    </a:lnTo>
                    <a:lnTo>
                      <a:pt x="6615" y="24914"/>
                    </a:lnTo>
                    <a:lnTo>
                      <a:pt x="7042" y="27341"/>
                    </a:lnTo>
                    <a:lnTo>
                      <a:pt x="7496" y="30035"/>
                    </a:lnTo>
                    <a:lnTo>
                      <a:pt x="7682" y="31396"/>
                    </a:lnTo>
                    <a:lnTo>
                      <a:pt x="7869" y="32756"/>
                    </a:lnTo>
                    <a:lnTo>
                      <a:pt x="8003" y="34010"/>
                    </a:lnTo>
                    <a:lnTo>
                      <a:pt x="8109" y="35210"/>
                    </a:lnTo>
                    <a:lnTo>
                      <a:pt x="8136" y="35343"/>
                    </a:lnTo>
                    <a:lnTo>
                      <a:pt x="8216" y="35450"/>
                    </a:lnTo>
                    <a:lnTo>
                      <a:pt x="8349" y="35583"/>
                    </a:lnTo>
                    <a:lnTo>
                      <a:pt x="8509" y="35663"/>
                    </a:lnTo>
                    <a:lnTo>
                      <a:pt x="8723" y="35770"/>
                    </a:lnTo>
                    <a:lnTo>
                      <a:pt x="8936" y="35823"/>
                    </a:lnTo>
                    <a:lnTo>
                      <a:pt x="9149" y="35877"/>
                    </a:lnTo>
                    <a:lnTo>
                      <a:pt x="9390" y="35930"/>
                    </a:lnTo>
                    <a:lnTo>
                      <a:pt x="9896" y="35930"/>
                    </a:lnTo>
                    <a:lnTo>
                      <a:pt x="10110" y="35904"/>
                    </a:lnTo>
                    <a:lnTo>
                      <a:pt x="10323" y="35850"/>
                    </a:lnTo>
                    <a:lnTo>
                      <a:pt x="10510" y="35770"/>
                    </a:lnTo>
                    <a:lnTo>
                      <a:pt x="10670" y="35663"/>
                    </a:lnTo>
                    <a:lnTo>
                      <a:pt x="10803" y="35530"/>
                    </a:lnTo>
                    <a:lnTo>
                      <a:pt x="10857" y="35370"/>
                    </a:lnTo>
                    <a:lnTo>
                      <a:pt x="10910" y="35103"/>
                    </a:lnTo>
                    <a:lnTo>
                      <a:pt x="10937" y="34623"/>
                    </a:lnTo>
                    <a:lnTo>
                      <a:pt x="10990" y="33236"/>
                    </a:lnTo>
                    <a:lnTo>
                      <a:pt x="11017" y="31369"/>
                    </a:lnTo>
                    <a:lnTo>
                      <a:pt x="10990" y="29288"/>
                    </a:lnTo>
                    <a:lnTo>
                      <a:pt x="10937" y="25234"/>
                    </a:lnTo>
                    <a:lnTo>
                      <a:pt x="10857" y="22780"/>
                    </a:lnTo>
                    <a:lnTo>
                      <a:pt x="10750" y="20913"/>
                    </a:lnTo>
                    <a:lnTo>
                      <a:pt x="10590" y="19152"/>
                    </a:lnTo>
                    <a:lnTo>
                      <a:pt x="10430" y="17499"/>
                    </a:lnTo>
                    <a:lnTo>
                      <a:pt x="10243" y="15978"/>
                    </a:lnTo>
                    <a:lnTo>
                      <a:pt x="10030" y="14511"/>
                    </a:lnTo>
                    <a:lnTo>
                      <a:pt x="9790" y="13177"/>
                    </a:lnTo>
                    <a:lnTo>
                      <a:pt x="9550" y="11897"/>
                    </a:lnTo>
                    <a:lnTo>
                      <a:pt x="9283" y="10670"/>
                    </a:lnTo>
                    <a:lnTo>
                      <a:pt x="9016" y="9523"/>
                    </a:lnTo>
                    <a:lnTo>
                      <a:pt x="8723" y="8429"/>
                    </a:lnTo>
                    <a:lnTo>
                      <a:pt x="8403" y="7362"/>
                    </a:lnTo>
                    <a:lnTo>
                      <a:pt x="8109" y="6349"/>
                    </a:lnTo>
                    <a:lnTo>
                      <a:pt x="7442" y="4375"/>
                    </a:lnTo>
                    <a:lnTo>
                      <a:pt x="6749" y="2401"/>
                    </a:lnTo>
                    <a:lnTo>
                      <a:pt x="6642" y="2161"/>
                    </a:lnTo>
                    <a:lnTo>
                      <a:pt x="6535" y="1948"/>
                    </a:lnTo>
                    <a:lnTo>
                      <a:pt x="6402" y="1708"/>
                    </a:lnTo>
                    <a:lnTo>
                      <a:pt x="6269" y="1521"/>
                    </a:lnTo>
                    <a:lnTo>
                      <a:pt x="6109" y="1307"/>
                    </a:lnTo>
                    <a:lnTo>
                      <a:pt x="5922" y="1147"/>
                    </a:lnTo>
                    <a:lnTo>
                      <a:pt x="5762" y="961"/>
                    </a:lnTo>
                    <a:lnTo>
                      <a:pt x="5549" y="801"/>
                    </a:lnTo>
                    <a:lnTo>
                      <a:pt x="5148" y="534"/>
                    </a:lnTo>
                    <a:lnTo>
                      <a:pt x="4722" y="321"/>
                    </a:lnTo>
                    <a:lnTo>
                      <a:pt x="4268" y="161"/>
                    </a:lnTo>
                    <a:lnTo>
                      <a:pt x="3788" y="54"/>
                    </a:lnTo>
                    <a:lnTo>
                      <a:pt x="3308" y="0"/>
                    </a:lnTo>
                    <a:close/>
                  </a:path>
                </a:pathLst>
              </a:custGeom>
              <a:solidFill>
                <a:srgbClr val="FFB6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5" name="Google Shape;905;p16"/>
              <p:cNvSpPr/>
              <p:nvPr/>
            </p:nvSpPr>
            <p:spPr>
              <a:xfrm>
                <a:off x="8691300" y="5599341"/>
                <a:ext cx="553283" cy="363219"/>
              </a:xfrm>
              <a:custGeom>
                <a:avLst/>
                <a:gdLst/>
                <a:ahLst/>
                <a:cxnLst/>
                <a:rect l="l" t="t" r="r" b="b"/>
                <a:pathLst>
                  <a:path w="41852" h="27475" extrusionOk="0">
                    <a:moveTo>
                      <a:pt x="907" y="0"/>
                    </a:moveTo>
                    <a:lnTo>
                      <a:pt x="720" y="27"/>
                    </a:lnTo>
                    <a:lnTo>
                      <a:pt x="560" y="80"/>
                    </a:lnTo>
                    <a:lnTo>
                      <a:pt x="400" y="160"/>
                    </a:lnTo>
                    <a:lnTo>
                      <a:pt x="267" y="267"/>
                    </a:lnTo>
                    <a:lnTo>
                      <a:pt x="160" y="400"/>
                    </a:lnTo>
                    <a:lnTo>
                      <a:pt x="54" y="560"/>
                    </a:lnTo>
                    <a:lnTo>
                      <a:pt x="0" y="747"/>
                    </a:lnTo>
                    <a:lnTo>
                      <a:pt x="0" y="934"/>
                    </a:lnTo>
                    <a:lnTo>
                      <a:pt x="0" y="26567"/>
                    </a:lnTo>
                    <a:lnTo>
                      <a:pt x="0" y="26727"/>
                    </a:lnTo>
                    <a:lnTo>
                      <a:pt x="54" y="26914"/>
                    </a:lnTo>
                    <a:lnTo>
                      <a:pt x="160" y="27074"/>
                    </a:lnTo>
                    <a:lnTo>
                      <a:pt x="267" y="27208"/>
                    </a:lnTo>
                    <a:lnTo>
                      <a:pt x="400" y="27314"/>
                    </a:lnTo>
                    <a:lnTo>
                      <a:pt x="560" y="27394"/>
                    </a:lnTo>
                    <a:lnTo>
                      <a:pt x="720" y="27448"/>
                    </a:lnTo>
                    <a:lnTo>
                      <a:pt x="907" y="27474"/>
                    </a:lnTo>
                    <a:lnTo>
                      <a:pt x="40945" y="27474"/>
                    </a:lnTo>
                    <a:lnTo>
                      <a:pt x="41105" y="27448"/>
                    </a:lnTo>
                    <a:lnTo>
                      <a:pt x="41291" y="27394"/>
                    </a:lnTo>
                    <a:lnTo>
                      <a:pt x="41451" y="27314"/>
                    </a:lnTo>
                    <a:lnTo>
                      <a:pt x="41585" y="27208"/>
                    </a:lnTo>
                    <a:lnTo>
                      <a:pt x="41691" y="27074"/>
                    </a:lnTo>
                    <a:lnTo>
                      <a:pt x="41771" y="26914"/>
                    </a:lnTo>
                    <a:lnTo>
                      <a:pt x="41825" y="26727"/>
                    </a:lnTo>
                    <a:lnTo>
                      <a:pt x="41851" y="26567"/>
                    </a:lnTo>
                    <a:lnTo>
                      <a:pt x="41851" y="934"/>
                    </a:lnTo>
                    <a:lnTo>
                      <a:pt x="41825" y="747"/>
                    </a:lnTo>
                    <a:lnTo>
                      <a:pt x="41771" y="560"/>
                    </a:lnTo>
                    <a:lnTo>
                      <a:pt x="41691" y="400"/>
                    </a:lnTo>
                    <a:lnTo>
                      <a:pt x="41585" y="267"/>
                    </a:lnTo>
                    <a:lnTo>
                      <a:pt x="41451" y="160"/>
                    </a:lnTo>
                    <a:lnTo>
                      <a:pt x="41291" y="80"/>
                    </a:lnTo>
                    <a:lnTo>
                      <a:pt x="41105" y="27"/>
                    </a:lnTo>
                    <a:lnTo>
                      <a:pt x="40945" y="0"/>
                    </a:lnTo>
                    <a:close/>
                  </a:path>
                </a:pathLst>
              </a:custGeom>
              <a:solidFill>
                <a:srgbClr val="D04A0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6" name="Google Shape;906;p16"/>
              <p:cNvSpPr/>
              <p:nvPr/>
            </p:nvSpPr>
            <p:spPr>
              <a:xfrm>
                <a:off x="9089438" y="5719943"/>
                <a:ext cx="96638" cy="66312"/>
              </a:xfrm>
              <a:custGeom>
                <a:avLst/>
                <a:gdLst/>
                <a:ahLst/>
                <a:cxnLst/>
                <a:rect l="l" t="t" r="r" b="b"/>
                <a:pathLst>
                  <a:path w="7310" h="5016" extrusionOk="0">
                    <a:moveTo>
                      <a:pt x="1388" y="1"/>
                    </a:moveTo>
                    <a:lnTo>
                      <a:pt x="1121" y="27"/>
                    </a:lnTo>
                    <a:lnTo>
                      <a:pt x="855" y="81"/>
                    </a:lnTo>
                    <a:lnTo>
                      <a:pt x="614" y="214"/>
                    </a:lnTo>
                    <a:lnTo>
                      <a:pt x="401" y="374"/>
                    </a:lnTo>
                    <a:lnTo>
                      <a:pt x="241" y="588"/>
                    </a:lnTo>
                    <a:lnTo>
                      <a:pt x="108" y="801"/>
                    </a:lnTo>
                    <a:lnTo>
                      <a:pt x="28" y="1041"/>
                    </a:lnTo>
                    <a:lnTo>
                      <a:pt x="1" y="1308"/>
                    </a:lnTo>
                    <a:lnTo>
                      <a:pt x="1" y="3682"/>
                    </a:lnTo>
                    <a:lnTo>
                      <a:pt x="28" y="3948"/>
                    </a:lnTo>
                    <a:lnTo>
                      <a:pt x="108" y="4215"/>
                    </a:lnTo>
                    <a:lnTo>
                      <a:pt x="241" y="4429"/>
                    </a:lnTo>
                    <a:lnTo>
                      <a:pt x="401" y="4615"/>
                    </a:lnTo>
                    <a:lnTo>
                      <a:pt x="614" y="4775"/>
                    </a:lnTo>
                    <a:lnTo>
                      <a:pt x="855" y="4909"/>
                    </a:lnTo>
                    <a:lnTo>
                      <a:pt x="1121" y="4989"/>
                    </a:lnTo>
                    <a:lnTo>
                      <a:pt x="1388" y="5015"/>
                    </a:lnTo>
                    <a:lnTo>
                      <a:pt x="5923" y="5015"/>
                    </a:lnTo>
                    <a:lnTo>
                      <a:pt x="6189" y="4989"/>
                    </a:lnTo>
                    <a:lnTo>
                      <a:pt x="6456" y="4909"/>
                    </a:lnTo>
                    <a:lnTo>
                      <a:pt x="6696" y="4775"/>
                    </a:lnTo>
                    <a:lnTo>
                      <a:pt x="6909" y="4615"/>
                    </a:lnTo>
                    <a:lnTo>
                      <a:pt x="7070" y="4429"/>
                    </a:lnTo>
                    <a:lnTo>
                      <a:pt x="7203" y="4215"/>
                    </a:lnTo>
                    <a:lnTo>
                      <a:pt x="7283" y="3948"/>
                    </a:lnTo>
                    <a:lnTo>
                      <a:pt x="7310" y="3682"/>
                    </a:lnTo>
                    <a:lnTo>
                      <a:pt x="7310" y="1308"/>
                    </a:lnTo>
                    <a:lnTo>
                      <a:pt x="7283" y="1041"/>
                    </a:lnTo>
                    <a:lnTo>
                      <a:pt x="7203" y="801"/>
                    </a:lnTo>
                    <a:lnTo>
                      <a:pt x="7070" y="588"/>
                    </a:lnTo>
                    <a:lnTo>
                      <a:pt x="6909" y="374"/>
                    </a:lnTo>
                    <a:lnTo>
                      <a:pt x="6696" y="214"/>
                    </a:lnTo>
                    <a:lnTo>
                      <a:pt x="6456" y="81"/>
                    </a:lnTo>
                    <a:lnTo>
                      <a:pt x="6189" y="27"/>
                    </a:lnTo>
                    <a:lnTo>
                      <a:pt x="5923" y="1"/>
                    </a:lnTo>
                    <a:close/>
                  </a:path>
                </a:pathLst>
              </a:custGeom>
              <a:solidFill>
                <a:srgbClr val="FBB12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7" name="Google Shape;907;p16"/>
              <p:cNvSpPr/>
              <p:nvPr/>
            </p:nvSpPr>
            <p:spPr>
              <a:xfrm>
                <a:off x="9089438" y="5810230"/>
                <a:ext cx="96638" cy="22580"/>
              </a:xfrm>
              <a:custGeom>
                <a:avLst/>
                <a:gdLst/>
                <a:ahLst/>
                <a:cxnLst/>
                <a:rect l="l" t="t" r="r" b="b"/>
                <a:pathLst>
                  <a:path w="7310" h="1708" extrusionOk="0">
                    <a:moveTo>
                      <a:pt x="1" y="0"/>
                    </a:moveTo>
                    <a:lnTo>
                      <a:pt x="1" y="1707"/>
                    </a:lnTo>
                    <a:lnTo>
                      <a:pt x="7310" y="1707"/>
                    </a:lnTo>
                    <a:lnTo>
                      <a:pt x="731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8" name="Google Shape;908;p16"/>
              <p:cNvSpPr/>
              <p:nvPr/>
            </p:nvSpPr>
            <p:spPr>
              <a:xfrm>
                <a:off x="8974124" y="5810230"/>
                <a:ext cx="96281" cy="22580"/>
              </a:xfrm>
              <a:custGeom>
                <a:avLst/>
                <a:gdLst/>
                <a:ahLst/>
                <a:cxnLst/>
                <a:rect l="l" t="t" r="r" b="b"/>
                <a:pathLst>
                  <a:path w="7283" h="1708" extrusionOk="0">
                    <a:moveTo>
                      <a:pt x="1" y="0"/>
                    </a:moveTo>
                    <a:lnTo>
                      <a:pt x="1" y="1707"/>
                    </a:lnTo>
                    <a:lnTo>
                      <a:pt x="7283" y="1707"/>
                    </a:lnTo>
                    <a:lnTo>
                      <a:pt x="728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9" name="Google Shape;909;p16"/>
              <p:cNvSpPr/>
              <p:nvPr/>
            </p:nvSpPr>
            <p:spPr>
              <a:xfrm>
                <a:off x="8858453" y="5810230"/>
                <a:ext cx="96638" cy="22580"/>
              </a:xfrm>
              <a:custGeom>
                <a:avLst/>
                <a:gdLst/>
                <a:ahLst/>
                <a:cxnLst/>
                <a:rect l="l" t="t" r="r" b="b"/>
                <a:pathLst>
                  <a:path w="7310" h="1708" extrusionOk="0">
                    <a:moveTo>
                      <a:pt x="1" y="0"/>
                    </a:moveTo>
                    <a:lnTo>
                      <a:pt x="1" y="1707"/>
                    </a:lnTo>
                    <a:lnTo>
                      <a:pt x="7309" y="1707"/>
                    </a:lnTo>
                    <a:lnTo>
                      <a:pt x="73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10" name="Google Shape;910;p16"/>
              <p:cNvSpPr/>
              <p:nvPr/>
            </p:nvSpPr>
            <p:spPr>
              <a:xfrm>
                <a:off x="8749843" y="5810230"/>
                <a:ext cx="89579" cy="22580"/>
              </a:xfrm>
              <a:custGeom>
                <a:avLst/>
                <a:gdLst/>
                <a:ahLst/>
                <a:cxnLst/>
                <a:rect l="l" t="t" r="r" b="b"/>
                <a:pathLst>
                  <a:path w="6776" h="1708" extrusionOk="0">
                    <a:moveTo>
                      <a:pt x="0" y="0"/>
                    </a:moveTo>
                    <a:lnTo>
                      <a:pt x="0" y="1707"/>
                    </a:lnTo>
                    <a:lnTo>
                      <a:pt x="6775" y="1707"/>
                    </a:lnTo>
                    <a:lnTo>
                      <a:pt x="677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11" name="Google Shape;911;p16"/>
              <p:cNvSpPr/>
              <p:nvPr/>
            </p:nvSpPr>
            <p:spPr>
              <a:xfrm>
                <a:off x="8749843" y="5874062"/>
                <a:ext cx="89579" cy="41974"/>
              </a:xfrm>
              <a:custGeom>
                <a:avLst/>
                <a:gdLst/>
                <a:ahLst/>
                <a:cxnLst/>
                <a:rect l="l" t="t" r="r" b="b"/>
                <a:pathLst>
                  <a:path w="6776" h="3175" extrusionOk="0">
                    <a:moveTo>
                      <a:pt x="0" y="0"/>
                    </a:moveTo>
                    <a:lnTo>
                      <a:pt x="0" y="3174"/>
                    </a:lnTo>
                    <a:lnTo>
                      <a:pt x="6775" y="3174"/>
                    </a:lnTo>
                    <a:lnTo>
                      <a:pt x="677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12" name="Google Shape;912;p16"/>
              <p:cNvSpPr/>
              <p:nvPr/>
            </p:nvSpPr>
            <p:spPr>
              <a:xfrm>
                <a:off x="9305629" y="6362845"/>
                <a:ext cx="270825" cy="740888"/>
              </a:xfrm>
              <a:custGeom>
                <a:avLst/>
                <a:gdLst/>
                <a:ahLst/>
                <a:cxnLst/>
                <a:rect l="l" t="t" r="r" b="b"/>
                <a:pathLst>
                  <a:path w="20486" h="56043" extrusionOk="0">
                    <a:moveTo>
                      <a:pt x="347" y="0"/>
                    </a:moveTo>
                    <a:lnTo>
                      <a:pt x="240" y="6749"/>
                    </a:lnTo>
                    <a:lnTo>
                      <a:pt x="107" y="16538"/>
                    </a:lnTo>
                    <a:lnTo>
                      <a:pt x="53" y="21739"/>
                    </a:lnTo>
                    <a:lnTo>
                      <a:pt x="27" y="26701"/>
                    </a:lnTo>
                    <a:lnTo>
                      <a:pt x="0" y="31075"/>
                    </a:lnTo>
                    <a:lnTo>
                      <a:pt x="27" y="34516"/>
                    </a:lnTo>
                    <a:lnTo>
                      <a:pt x="133" y="44279"/>
                    </a:lnTo>
                    <a:lnTo>
                      <a:pt x="240" y="54041"/>
                    </a:lnTo>
                    <a:lnTo>
                      <a:pt x="240" y="54602"/>
                    </a:lnTo>
                    <a:lnTo>
                      <a:pt x="187" y="55002"/>
                    </a:lnTo>
                    <a:lnTo>
                      <a:pt x="187" y="55268"/>
                    </a:lnTo>
                    <a:lnTo>
                      <a:pt x="213" y="55348"/>
                    </a:lnTo>
                    <a:lnTo>
                      <a:pt x="240" y="55402"/>
                    </a:lnTo>
                    <a:lnTo>
                      <a:pt x="320" y="55455"/>
                    </a:lnTo>
                    <a:lnTo>
                      <a:pt x="427" y="55509"/>
                    </a:lnTo>
                    <a:lnTo>
                      <a:pt x="774" y="55562"/>
                    </a:lnTo>
                    <a:lnTo>
                      <a:pt x="1334" y="55669"/>
                    </a:lnTo>
                    <a:lnTo>
                      <a:pt x="2161" y="55802"/>
                    </a:lnTo>
                    <a:lnTo>
                      <a:pt x="3174" y="55962"/>
                    </a:lnTo>
                    <a:lnTo>
                      <a:pt x="3548" y="56015"/>
                    </a:lnTo>
                    <a:lnTo>
                      <a:pt x="3841" y="56042"/>
                    </a:lnTo>
                    <a:lnTo>
                      <a:pt x="4081" y="56015"/>
                    </a:lnTo>
                    <a:lnTo>
                      <a:pt x="4268" y="55989"/>
                    </a:lnTo>
                    <a:lnTo>
                      <a:pt x="4401" y="55935"/>
                    </a:lnTo>
                    <a:lnTo>
                      <a:pt x="4481" y="55829"/>
                    </a:lnTo>
                    <a:lnTo>
                      <a:pt x="4535" y="55722"/>
                    </a:lnTo>
                    <a:lnTo>
                      <a:pt x="4561" y="55589"/>
                    </a:lnTo>
                    <a:lnTo>
                      <a:pt x="4561" y="55215"/>
                    </a:lnTo>
                    <a:lnTo>
                      <a:pt x="4535" y="54708"/>
                    </a:lnTo>
                    <a:lnTo>
                      <a:pt x="4535" y="54415"/>
                    </a:lnTo>
                    <a:lnTo>
                      <a:pt x="4561" y="54095"/>
                    </a:lnTo>
                    <a:lnTo>
                      <a:pt x="4668" y="53028"/>
                    </a:lnTo>
                    <a:lnTo>
                      <a:pt x="4855" y="51828"/>
                    </a:lnTo>
                    <a:lnTo>
                      <a:pt x="5281" y="49027"/>
                    </a:lnTo>
                    <a:lnTo>
                      <a:pt x="5522" y="47480"/>
                    </a:lnTo>
                    <a:lnTo>
                      <a:pt x="5762" y="45933"/>
                    </a:lnTo>
                    <a:lnTo>
                      <a:pt x="5948" y="44332"/>
                    </a:lnTo>
                    <a:lnTo>
                      <a:pt x="6135" y="42758"/>
                    </a:lnTo>
                    <a:lnTo>
                      <a:pt x="6348" y="40278"/>
                    </a:lnTo>
                    <a:lnTo>
                      <a:pt x="6588" y="37237"/>
                    </a:lnTo>
                    <a:lnTo>
                      <a:pt x="6802" y="34383"/>
                    </a:lnTo>
                    <a:lnTo>
                      <a:pt x="6989" y="32436"/>
                    </a:lnTo>
                    <a:lnTo>
                      <a:pt x="7575" y="27608"/>
                    </a:lnTo>
                    <a:lnTo>
                      <a:pt x="8109" y="23500"/>
                    </a:lnTo>
                    <a:lnTo>
                      <a:pt x="8722" y="19365"/>
                    </a:lnTo>
                    <a:lnTo>
                      <a:pt x="9496" y="14591"/>
                    </a:lnTo>
                    <a:lnTo>
                      <a:pt x="10136" y="18539"/>
                    </a:lnTo>
                    <a:lnTo>
                      <a:pt x="10776" y="22486"/>
                    </a:lnTo>
                    <a:lnTo>
                      <a:pt x="11096" y="24460"/>
                    </a:lnTo>
                    <a:lnTo>
                      <a:pt x="11443" y="26434"/>
                    </a:lnTo>
                    <a:lnTo>
                      <a:pt x="11817" y="28408"/>
                    </a:lnTo>
                    <a:lnTo>
                      <a:pt x="12243" y="30355"/>
                    </a:lnTo>
                    <a:lnTo>
                      <a:pt x="13017" y="33956"/>
                    </a:lnTo>
                    <a:lnTo>
                      <a:pt x="13764" y="37530"/>
                    </a:lnTo>
                    <a:lnTo>
                      <a:pt x="14457" y="41158"/>
                    </a:lnTo>
                    <a:lnTo>
                      <a:pt x="14804" y="42945"/>
                    </a:lnTo>
                    <a:lnTo>
                      <a:pt x="15097" y="44759"/>
                    </a:lnTo>
                    <a:lnTo>
                      <a:pt x="15871" y="49320"/>
                    </a:lnTo>
                    <a:lnTo>
                      <a:pt x="16271" y="51774"/>
                    </a:lnTo>
                    <a:lnTo>
                      <a:pt x="16618" y="53881"/>
                    </a:lnTo>
                    <a:lnTo>
                      <a:pt x="16671" y="54415"/>
                    </a:lnTo>
                    <a:lnTo>
                      <a:pt x="16725" y="54842"/>
                    </a:lnTo>
                    <a:lnTo>
                      <a:pt x="16778" y="55188"/>
                    </a:lnTo>
                    <a:lnTo>
                      <a:pt x="16831" y="55348"/>
                    </a:lnTo>
                    <a:lnTo>
                      <a:pt x="16911" y="55482"/>
                    </a:lnTo>
                    <a:lnTo>
                      <a:pt x="16991" y="55589"/>
                    </a:lnTo>
                    <a:lnTo>
                      <a:pt x="17125" y="55695"/>
                    </a:lnTo>
                    <a:lnTo>
                      <a:pt x="17258" y="55749"/>
                    </a:lnTo>
                    <a:lnTo>
                      <a:pt x="17445" y="55802"/>
                    </a:lnTo>
                    <a:lnTo>
                      <a:pt x="17685" y="55855"/>
                    </a:lnTo>
                    <a:lnTo>
                      <a:pt x="17952" y="55882"/>
                    </a:lnTo>
                    <a:lnTo>
                      <a:pt x="18645" y="55882"/>
                    </a:lnTo>
                    <a:lnTo>
                      <a:pt x="19232" y="55829"/>
                    </a:lnTo>
                    <a:lnTo>
                      <a:pt x="19685" y="55775"/>
                    </a:lnTo>
                    <a:lnTo>
                      <a:pt x="19872" y="55722"/>
                    </a:lnTo>
                    <a:lnTo>
                      <a:pt x="20032" y="55669"/>
                    </a:lnTo>
                    <a:lnTo>
                      <a:pt x="20165" y="55589"/>
                    </a:lnTo>
                    <a:lnTo>
                      <a:pt x="20245" y="55509"/>
                    </a:lnTo>
                    <a:lnTo>
                      <a:pt x="20325" y="55402"/>
                    </a:lnTo>
                    <a:lnTo>
                      <a:pt x="20406" y="55295"/>
                    </a:lnTo>
                    <a:lnTo>
                      <a:pt x="20432" y="55162"/>
                    </a:lnTo>
                    <a:lnTo>
                      <a:pt x="20459" y="55002"/>
                    </a:lnTo>
                    <a:lnTo>
                      <a:pt x="20486" y="54628"/>
                    </a:lnTo>
                    <a:lnTo>
                      <a:pt x="20486" y="54175"/>
                    </a:lnTo>
                    <a:lnTo>
                      <a:pt x="20459" y="53135"/>
                    </a:lnTo>
                    <a:lnTo>
                      <a:pt x="20432" y="51748"/>
                    </a:lnTo>
                    <a:lnTo>
                      <a:pt x="20406" y="48253"/>
                    </a:lnTo>
                    <a:lnTo>
                      <a:pt x="20379" y="44306"/>
                    </a:lnTo>
                    <a:lnTo>
                      <a:pt x="20325" y="42358"/>
                    </a:lnTo>
                    <a:lnTo>
                      <a:pt x="20272" y="40544"/>
                    </a:lnTo>
                    <a:lnTo>
                      <a:pt x="20139" y="38677"/>
                    </a:lnTo>
                    <a:lnTo>
                      <a:pt x="20005" y="37210"/>
                    </a:lnTo>
                    <a:lnTo>
                      <a:pt x="19872" y="35983"/>
                    </a:lnTo>
                    <a:lnTo>
                      <a:pt x="19712" y="34890"/>
                    </a:lnTo>
                    <a:lnTo>
                      <a:pt x="19525" y="33796"/>
                    </a:lnTo>
                    <a:lnTo>
                      <a:pt x="19365" y="32596"/>
                    </a:lnTo>
                    <a:lnTo>
                      <a:pt x="19205" y="31102"/>
                    </a:lnTo>
                    <a:lnTo>
                      <a:pt x="19045" y="29261"/>
                    </a:lnTo>
                    <a:lnTo>
                      <a:pt x="18885" y="26514"/>
                    </a:lnTo>
                    <a:lnTo>
                      <a:pt x="18778" y="23767"/>
                    </a:lnTo>
                    <a:lnTo>
                      <a:pt x="18725" y="21019"/>
                    </a:lnTo>
                    <a:lnTo>
                      <a:pt x="18698" y="18272"/>
                    </a:lnTo>
                    <a:lnTo>
                      <a:pt x="18698" y="15524"/>
                    </a:lnTo>
                    <a:lnTo>
                      <a:pt x="18698" y="12750"/>
                    </a:lnTo>
                    <a:lnTo>
                      <a:pt x="18725" y="7282"/>
                    </a:lnTo>
                    <a:lnTo>
                      <a:pt x="18698" y="6455"/>
                    </a:lnTo>
                    <a:lnTo>
                      <a:pt x="18672" y="5628"/>
                    </a:lnTo>
                    <a:lnTo>
                      <a:pt x="18512" y="4001"/>
                    </a:lnTo>
                    <a:lnTo>
                      <a:pt x="18352" y="2347"/>
                    </a:lnTo>
                    <a:lnTo>
                      <a:pt x="18272" y="1521"/>
                    </a:lnTo>
                    <a:lnTo>
                      <a:pt x="18218" y="720"/>
                    </a:lnTo>
                    <a:lnTo>
                      <a:pt x="17925" y="827"/>
                    </a:lnTo>
                    <a:lnTo>
                      <a:pt x="17658" y="934"/>
                    </a:lnTo>
                    <a:lnTo>
                      <a:pt x="17418" y="1014"/>
                    </a:lnTo>
                    <a:lnTo>
                      <a:pt x="17258" y="1040"/>
                    </a:lnTo>
                    <a:lnTo>
                      <a:pt x="17098" y="1040"/>
                    </a:lnTo>
                    <a:lnTo>
                      <a:pt x="15658" y="1014"/>
                    </a:lnTo>
                    <a:lnTo>
                      <a:pt x="14217" y="934"/>
                    </a:lnTo>
                    <a:lnTo>
                      <a:pt x="12803" y="800"/>
                    </a:lnTo>
                    <a:lnTo>
                      <a:pt x="11363" y="667"/>
                    </a:lnTo>
                    <a:lnTo>
                      <a:pt x="8509" y="400"/>
                    </a:lnTo>
                    <a:lnTo>
                      <a:pt x="7095" y="267"/>
                    </a:lnTo>
                    <a:lnTo>
                      <a:pt x="5655" y="160"/>
                    </a:lnTo>
                    <a:lnTo>
                      <a:pt x="4348" y="80"/>
                    </a:lnTo>
                    <a:lnTo>
                      <a:pt x="3014" y="54"/>
                    </a:lnTo>
                    <a:lnTo>
                      <a:pt x="347" y="0"/>
                    </a:lnTo>
                    <a:close/>
                  </a:path>
                </a:pathLst>
              </a:custGeom>
              <a:solidFill>
                <a:srgbClr val="2D2D2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13" name="Google Shape;913;p16"/>
              <p:cNvSpPr/>
              <p:nvPr/>
            </p:nvSpPr>
            <p:spPr>
              <a:xfrm>
                <a:off x="9202994" y="7073796"/>
                <a:ext cx="170697" cy="55379"/>
              </a:xfrm>
              <a:custGeom>
                <a:avLst/>
                <a:gdLst/>
                <a:ahLst/>
                <a:cxnLst/>
                <a:rect l="l" t="t" r="r" b="b"/>
                <a:pathLst>
                  <a:path w="12912" h="4189" extrusionOk="0">
                    <a:moveTo>
                      <a:pt x="7843" y="1"/>
                    </a:moveTo>
                    <a:lnTo>
                      <a:pt x="7230" y="294"/>
                    </a:lnTo>
                    <a:lnTo>
                      <a:pt x="6563" y="614"/>
                    </a:lnTo>
                    <a:lnTo>
                      <a:pt x="5736" y="988"/>
                    </a:lnTo>
                    <a:lnTo>
                      <a:pt x="4829" y="1361"/>
                    </a:lnTo>
                    <a:lnTo>
                      <a:pt x="3922" y="1708"/>
                    </a:lnTo>
                    <a:lnTo>
                      <a:pt x="3469" y="1841"/>
                    </a:lnTo>
                    <a:lnTo>
                      <a:pt x="3042" y="1975"/>
                    </a:lnTo>
                    <a:lnTo>
                      <a:pt x="2668" y="2055"/>
                    </a:lnTo>
                    <a:lnTo>
                      <a:pt x="2295" y="2108"/>
                    </a:lnTo>
                    <a:lnTo>
                      <a:pt x="1815" y="2161"/>
                    </a:lnTo>
                    <a:lnTo>
                      <a:pt x="1415" y="2268"/>
                    </a:lnTo>
                    <a:lnTo>
                      <a:pt x="1068" y="2375"/>
                    </a:lnTo>
                    <a:lnTo>
                      <a:pt x="774" y="2535"/>
                    </a:lnTo>
                    <a:lnTo>
                      <a:pt x="534" y="2695"/>
                    </a:lnTo>
                    <a:lnTo>
                      <a:pt x="374" y="2882"/>
                    </a:lnTo>
                    <a:lnTo>
                      <a:pt x="214" y="3042"/>
                    </a:lnTo>
                    <a:lnTo>
                      <a:pt x="134" y="3228"/>
                    </a:lnTo>
                    <a:lnTo>
                      <a:pt x="54" y="3415"/>
                    </a:lnTo>
                    <a:lnTo>
                      <a:pt x="28" y="3602"/>
                    </a:lnTo>
                    <a:lnTo>
                      <a:pt x="1" y="3762"/>
                    </a:lnTo>
                    <a:lnTo>
                      <a:pt x="1" y="3895"/>
                    </a:lnTo>
                    <a:lnTo>
                      <a:pt x="28" y="4109"/>
                    </a:lnTo>
                    <a:lnTo>
                      <a:pt x="28" y="4189"/>
                    </a:lnTo>
                    <a:lnTo>
                      <a:pt x="12458" y="4189"/>
                    </a:lnTo>
                    <a:lnTo>
                      <a:pt x="12564" y="4135"/>
                    </a:lnTo>
                    <a:lnTo>
                      <a:pt x="12644" y="4055"/>
                    </a:lnTo>
                    <a:lnTo>
                      <a:pt x="12724" y="3975"/>
                    </a:lnTo>
                    <a:lnTo>
                      <a:pt x="12778" y="3842"/>
                    </a:lnTo>
                    <a:lnTo>
                      <a:pt x="12858" y="3682"/>
                    </a:lnTo>
                    <a:lnTo>
                      <a:pt x="12884" y="3442"/>
                    </a:lnTo>
                    <a:lnTo>
                      <a:pt x="12911" y="3175"/>
                    </a:lnTo>
                    <a:lnTo>
                      <a:pt x="12911" y="2828"/>
                    </a:lnTo>
                    <a:lnTo>
                      <a:pt x="12911" y="2428"/>
                    </a:lnTo>
                    <a:lnTo>
                      <a:pt x="12831" y="1948"/>
                    </a:lnTo>
                    <a:lnTo>
                      <a:pt x="12751" y="1388"/>
                    </a:lnTo>
                    <a:lnTo>
                      <a:pt x="12591" y="748"/>
                    </a:lnTo>
                    <a:lnTo>
                      <a:pt x="12404" y="1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14" name="Google Shape;914;p16"/>
              <p:cNvSpPr/>
              <p:nvPr/>
            </p:nvSpPr>
            <p:spPr>
              <a:xfrm>
                <a:off x="9465378" y="7074153"/>
                <a:ext cx="119205" cy="55722"/>
              </a:xfrm>
              <a:custGeom>
                <a:avLst/>
                <a:gdLst/>
                <a:ahLst/>
                <a:cxnLst/>
                <a:rect l="l" t="t" r="r" b="b"/>
                <a:pathLst>
                  <a:path w="9017" h="4215" extrusionOk="0">
                    <a:moveTo>
                      <a:pt x="4375" y="0"/>
                    </a:moveTo>
                    <a:lnTo>
                      <a:pt x="4108" y="320"/>
                    </a:lnTo>
                    <a:lnTo>
                      <a:pt x="3521" y="1041"/>
                    </a:lnTo>
                    <a:lnTo>
                      <a:pt x="3174" y="1441"/>
                    </a:lnTo>
                    <a:lnTo>
                      <a:pt x="2854" y="1788"/>
                    </a:lnTo>
                    <a:lnTo>
                      <a:pt x="2694" y="1921"/>
                    </a:lnTo>
                    <a:lnTo>
                      <a:pt x="2561" y="2028"/>
                    </a:lnTo>
                    <a:lnTo>
                      <a:pt x="2428" y="2081"/>
                    </a:lnTo>
                    <a:lnTo>
                      <a:pt x="2321" y="2108"/>
                    </a:lnTo>
                    <a:lnTo>
                      <a:pt x="1841" y="2134"/>
                    </a:lnTo>
                    <a:lnTo>
                      <a:pt x="1414" y="2214"/>
                    </a:lnTo>
                    <a:lnTo>
                      <a:pt x="1067" y="2321"/>
                    </a:lnTo>
                    <a:lnTo>
                      <a:pt x="800" y="2454"/>
                    </a:lnTo>
                    <a:lnTo>
                      <a:pt x="560" y="2614"/>
                    </a:lnTo>
                    <a:lnTo>
                      <a:pt x="374" y="2801"/>
                    </a:lnTo>
                    <a:lnTo>
                      <a:pt x="240" y="2988"/>
                    </a:lnTo>
                    <a:lnTo>
                      <a:pt x="134" y="3175"/>
                    </a:lnTo>
                    <a:lnTo>
                      <a:pt x="80" y="3388"/>
                    </a:lnTo>
                    <a:lnTo>
                      <a:pt x="27" y="3548"/>
                    </a:lnTo>
                    <a:lnTo>
                      <a:pt x="27" y="3735"/>
                    </a:lnTo>
                    <a:lnTo>
                      <a:pt x="0" y="3895"/>
                    </a:lnTo>
                    <a:lnTo>
                      <a:pt x="27" y="4108"/>
                    </a:lnTo>
                    <a:lnTo>
                      <a:pt x="54" y="4215"/>
                    </a:lnTo>
                    <a:lnTo>
                      <a:pt x="8483" y="4188"/>
                    </a:lnTo>
                    <a:lnTo>
                      <a:pt x="8536" y="4135"/>
                    </a:lnTo>
                    <a:lnTo>
                      <a:pt x="8643" y="4001"/>
                    </a:lnTo>
                    <a:lnTo>
                      <a:pt x="8803" y="3708"/>
                    </a:lnTo>
                    <a:lnTo>
                      <a:pt x="8883" y="3521"/>
                    </a:lnTo>
                    <a:lnTo>
                      <a:pt x="8936" y="3308"/>
                    </a:lnTo>
                    <a:lnTo>
                      <a:pt x="8989" y="3041"/>
                    </a:lnTo>
                    <a:lnTo>
                      <a:pt x="9016" y="2748"/>
                    </a:lnTo>
                    <a:lnTo>
                      <a:pt x="9016" y="2401"/>
                    </a:lnTo>
                    <a:lnTo>
                      <a:pt x="8989" y="2028"/>
                    </a:lnTo>
                    <a:lnTo>
                      <a:pt x="8936" y="1601"/>
                    </a:lnTo>
                    <a:lnTo>
                      <a:pt x="8829" y="1121"/>
                    </a:lnTo>
                    <a:lnTo>
                      <a:pt x="8669" y="587"/>
                    </a:lnTo>
                    <a:lnTo>
                      <a:pt x="8483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15" name="Google Shape;915;p16"/>
              <p:cNvSpPr/>
              <p:nvPr/>
            </p:nvSpPr>
            <p:spPr>
              <a:xfrm>
                <a:off x="9020319" y="5941767"/>
                <a:ext cx="390373" cy="232037"/>
              </a:xfrm>
              <a:custGeom>
                <a:avLst/>
                <a:gdLst/>
                <a:ahLst/>
                <a:cxnLst/>
                <a:rect l="l" t="t" r="r" b="b"/>
                <a:pathLst>
                  <a:path w="29529" h="17552" extrusionOk="0">
                    <a:moveTo>
                      <a:pt x="25608" y="1"/>
                    </a:moveTo>
                    <a:lnTo>
                      <a:pt x="25341" y="27"/>
                    </a:lnTo>
                    <a:lnTo>
                      <a:pt x="25101" y="81"/>
                    </a:lnTo>
                    <a:lnTo>
                      <a:pt x="24861" y="161"/>
                    </a:lnTo>
                    <a:lnTo>
                      <a:pt x="24648" y="241"/>
                    </a:lnTo>
                    <a:lnTo>
                      <a:pt x="24407" y="347"/>
                    </a:lnTo>
                    <a:lnTo>
                      <a:pt x="24194" y="454"/>
                    </a:lnTo>
                    <a:lnTo>
                      <a:pt x="23767" y="747"/>
                    </a:lnTo>
                    <a:lnTo>
                      <a:pt x="23367" y="1068"/>
                    </a:lnTo>
                    <a:lnTo>
                      <a:pt x="22994" y="1441"/>
                    </a:lnTo>
                    <a:lnTo>
                      <a:pt x="22620" y="1841"/>
                    </a:lnTo>
                    <a:lnTo>
                      <a:pt x="22274" y="2268"/>
                    </a:lnTo>
                    <a:lnTo>
                      <a:pt x="21927" y="2695"/>
                    </a:lnTo>
                    <a:lnTo>
                      <a:pt x="21607" y="3148"/>
                    </a:lnTo>
                    <a:lnTo>
                      <a:pt x="21020" y="4002"/>
                    </a:lnTo>
                    <a:lnTo>
                      <a:pt x="20780" y="4322"/>
                    </a:lnTo>
                    <a:lnTo>
                      <a:pt x="20460" y="4722"/>
                    </a:lnTo>
                    <a:lnTo>
                      <a:pt x="19633" y="5682"/>
                    </a:lnTo>
                    <a:lnTo>
                      <a:pt x="18646" y="6802"/>
                    </a:lnTo>
                    <a:lnTo>
                      <a:pt x="17552" y="7976"/>
                    </a:lnTo>
                    <a:lnTo>
                      <a:pt x="15552" y="10110"/>
                    </a:lnTo>
                    <a:lnTo>
                      <a:pt x="14351" y="11310"/>
                    </a:lnTo>
                    <a:lnTo>
                      <a:pt x="14298" y="11310"/>
                    </a:lnTo>
                    <a:lnTo>
                      <a:pt x="14191" y="11284"/>
                    </a:lnTo>
                    <a:lnTo>
                      <a:pt x="13818" y="11177"/>
                    </a:lnTo>
                    <a:lnTo>
                      <a:pt x="12564" y="10723"/>
                    </a:lnTo>
                    <a:lnTo>
                      <a:pt x="10777" y="10057"/>
                    </a:lnTo>
                    <a:lnTo>
                      <a:pt x="8750" y="9256"/>
                    </a:lnTo>
                    <a:lnTo>
                      <a:pt x="4802" y="7656"/>
                    </a:lnTo>
                    <a:lnTo>
                      <a:pt x="2588" y="6749"/>
                    </a:lnTo>
                    <a:lnTo>
                      <a:pt x="2428" y="6669"/>
                    </a:lnTo>
                    <a:lnTo>
                      <a:pt x="2241" y="6616"/>
                    </a:lnTo>
                    <a:lnTo>
                      <a:pt x="2081" y="6589"/>
                    </a:lnTo>
                    <a:lnTo>
                      <a:pt x="1575" y="6589"/>
                    </a:lnTo>
                    <a:lnTo>
                      <a:pt x="1281" y="6669"/>
                    </a:lnTo>
                    <a:lnTo>
                      <a:pt x="988" y="6802"/>
                    </a:lnTo>
                    <a:lnTo>
                      <a:pt x="721" y="6962"/>
                    </a:lnTo>
                    <a:lnTo>
                      <a:pt x="481" y="7176"/>
                    </a:lnTo>
                    <a:lnTo>
                      <a:pt x="294" y="7416"/>
                    </a:lnTo>
                    <a:lnTo>
                      <a:pt x="161" y="7656"/>
                    </a:lnTo>
                    <a:lnTo>
                      <a:pt x="54" y="7923"/>
                    </a:lnTo>
                    <a:lnTo>
                      <a:pt x="1" y="8189"/>
                    </a:lnTo>
                    <a:lnTo>
                      <a:pt x="28" y="8456"/>
                    </a:lnTo>
                    <a:lnTo>
                      <a:pt x="54" y="8563"/>
                    </a:lnTo>
                    <a:lnTo>
                      <a:pt x="108" y="8696"/>
                    </a:lnTo>
                    <a:lnTo>
                      <a:pt x="161" y="8830"/>
                    </a:lnTo>
                    <a:lnTo>
                      <a:pt x="241" y="8936"/>
                    </a:lnTo>
                    <a:lnTo>
                      <a:pt x="348" y="9043"/>
                    </a:lnTo>
                    <a:lnTo>
                      <a:pt x="481" y="9150"/>
                    </a:lnTo>
                    <a:lnTo>
                      <a:pt x="614" y="9230"/>
                    </a:lnTo>
                    <a:lnTo>
                      <a:pt x="774" y="9310"/>
                    </a:lnTo>
                    <a:lnTo>
                      <a:pt x="1175" y="9523"/>
                    </a:lnTo>
                    <a:lnTo>
                      <a:pt x="1735" y="9897"/>
                    </a:lnTo>
                    <a:lnTo>
                      <a:pt x="3282" y="10937"/>
                    </a:lnTo>
                    <a:lnTo>
                      <a:pt x="5202" y="12271"/>
                    </a:lnTo>
                    <a:lnTo>
                      <a:pt x="7363" y="13738"/>
                    </a:lnTo>
                    <a:lnTo>
                      <a:pt x="8456" y="14485"/>
                    </a:lnTo>
                    <a:lnTo>
                      <a:pt x="9523" y="15178"/>
                    </a:lnTo>
                    <a:lnTo>
                      <a:pt x="10564" y="15818"/>
                    </a:lnTo>
                    <a:lnTo>
                      <a:pt x="11524" y="16405"/>
                    </a:lnTo>
                    <a:lnTo>
                      <a:pt x="12404" y="16885"/>
                    </a:lnTo>
                    <a:lnTo>
                      <a:pt x="13178" y="17259"/>
                    </a:lnTo>
                    <a:lnTo>
                      <a:pt x="13525" y="17392"/>
                    </a:lnTo>
                    <a:lnTo>
                      <a:pt x="13818" y="17472"/>
                    </a:lnTo>
                    <a:lnTo>
                      <a:pt x="14058" y="17525"/>
                    </a:lnTo>
                    <a:lnTo>
                      <a:pt x="14298" y="17552"/>
                    </a:lnTo>
                    <a:lnTo>
                      <a:pt x="14671" y="17525"/>
                    </a:lnTo>
                    <a:lnTo>
                      <a:pt x="15072" y="17472"/>
                    </a:lnTo>
                    <a:lnTo>
                      <a:pt x="15445" y="17392"/>
                    </a:lnTo>
                    <a:lnTo>
                      <a:pt x="15818" y="17285"/>
                    </a:lnTo>
                    <a:lnTo>
                      <a:pt x="16192" y="17179"/>
                    </a:lnTo>
                    <a:lnTo>
                      <a:pt x="16565" y="17045"/>
                    </a:lnTo>
                    <a:lnTo>
                      <a:pt x="16939" y="16885"/>
                    </a:lnTo>
                    <a:lnTo>
                      <a:pt x="17286" y="16725"/>
                    </a:lnTo>
                    <a:lnTo>
                      <a:pt x="18006" y="16325"/>
                    </a:lnTo>
                    <a:lnTo>
                      <a:pt x="18726" y="15872"/>
                    </a:lnTo>
                    <a:lnTo>
                      <a:pt x="19393" y="15391"/>
                    </a:lnTo>
                    <a:lnTo>
                      <a:pt x="20060" y="14858"/>
                    </a:lnTo>
                    <a:lnTo>
                      <a:pt x="20726" y="14298"/>
                    </a:lnTo>
                    <a:lnTo>
                      <a:pt x="21367" y="13738"/>
                    </a:lnTo>
                    <a:lnTo>
                      <a:pt x="21980" y="13151"/>
                    </a:lnTo>
                    <a:lnTo>
                      <a:pt x="22567" y="12537"/>
                    </a:lnTo>
                    <a:lnTo>
                      <a:pt x="23687" y="11364"/>
                    </a:lnTo>
                    <a:lnTo>
                      <a:pt x="24728" y="10243"/>
                    </a:lnTo>
                    <a:lnTo>
                      <a:pt x="25661" y="9310"/>
                    </a:lnTo>
                    <a:lnTo>
                      <a:pt x="26728" y="8216"/>
                    </a:lnTo>
                    <a:lnTo>
                      <a:pt x="27288" y="7603"/>
                    </a:lnTo>
                    <a:lnTo>
                      <a:pt x="27822" y="6962"/>
                    </a:lnTo>
                    <a:lnTo>
                      <a:pt x="28302" y="6322"/>
                    </a:lnTo>
                    <a:lnTo>
                      <a:pt x="28542" y="6002"/>
                    </a:lnTo>
                    <a:lnTo>
                      <a:pt x="28729" y="5655"/>
                    </a:lnTo>
                    <a:lnTo>
                      <a:pt x="28942" y="5335"/>
                    </a:lnTo>
                    <a:lnTo>
                      <a:pt x="29102" y="4989"/>
                    </a:lnTo>
                    <a:lnTo>
                      <a:pt x="29235" y="4642"/>
                    </a:lnTo>
                    <a:lnTo>
                      <a:pt x="29369" y="4322"/>
                    </a:lnTo>
                    <a:lnTo>
                      <a:pt x="29449" y="3975"/>
                    </a:lnTo>
                    <a:lnTo>
                      <a:pt x="29502" y="3655"/>
                    </a:lnTo>
                    <a:lnTo>
                      <a:pt x="29529" y="3335"/>
                    </a:lnTo>
                    <a:lnTo>
                      <a:pt x="29502" y="2988"/>
                    </a:lnTo>
                    <a:lnTo>
                      <a:pt x="29449" y="2668"/>
                    </a:lnTo>
                    <a:lnTo>
                      <a:pt x="29369" y="2375"/>
                    </a:lnTo>
                    <a:lnTo>
                      <a:pt x="29209" y="2054"/>
                    </a:lnTo>
                    <a:lnTo>
                      <a:pt x="29022" y="1761"/>
                    </a:lnTo>
                    <a:lnTo>
                      <a:pt x="28809" y="1468"/>
                    </a:lnTo>
                    <a:lnTo>
                      <a:pt x="28515" y="1174"/>
                    </a:lnTo>
                    <a:lnTo>
                      <a:pt x="28168" y="907"/>
                    </a:lnTo>
                    <a:lnTo>
                      <a:pt x="27795" y="641"/>
                    </a:lnTo>
                    <a:lnTo>
                      <a:pt x="27502" y="454"/>
                    </a:lnTo>
                    <a:lnTo>
                      <a:pt x="27208" y="321"/>
                    </a:lnTo>
                    <a:lnTo>
                      <a:pt x="26915" y="214"/>
                    </a:lnTo>
                    <a:lnTo>
                      <a:pt x="26648" y="107"/>
                    </a:lnTo>
                    <a:lnTo>
                      <a:pt x="26381" y="54"/>
                    </a:lnTo>
                    <a:lnTo>
                      <a:pt x="26115" y="27"/>
                    </a:lnTo>
                    <a:lnTo>
                      <a:pt x="25848" y="1"/>
                    </a:lnTo>
                    <a:close/>
                  </a:path>
                </a:pathLst>
              </a:cu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16" name="Google Shape;916;p16"/>
              <p:cNvSpPr/>
              <p:nvPr/>
            </p:nvSpPr>
            <p:spPr>
              <a:xfrm>
                <a:off x="9273885" y="6024994"/>
                <a:ext cx="62425" cy="122734"/>
              </a:xfrm>
              <a:custGeom>
                <a:avLst/>
                <a:gdLst/>
                <a:ahLst/>
                <a:cxnLst/>
                <a:rect l="l" t="t" r="r" b="b"/>
                <a:pathLst>
                  <a:path w="4722" h="9284" extrusionOk="0">
                    <a:moveTo>
                      <a:pt x="3228" y="1"/>
                    </a:moveTo>
                    <a:lnTo>
                      <a:pt x="2561" y="881"/>
                    </a:lnTo>
                    <a:lnTo>
                      <a:pt x="2508" y="908"/>
                    </a:lnTo>
                    <a:lnTo>
                      <a:pt x="2401" y="1254"/>
                    </a:lnTo>
                    <a:lnTo>
                      <a:pt x="2214" y="3015"/>
                    </a:lnTo>
                    <a:lnTo>
                      <a:pt x="2108" y="3868"/>
                    </a:lnTo>
                    <a:lnTo>
                      <a:pt x="1974" y="4722"/>
                    </a:lnTo>
                    <a:lnTo>
                      <a:pt x="1841" y="5335"/>
                    </a:lnTo>
                    <a:lnTo>
                      <a:pt x="1681" y="5922"/>
                    </a:lnTo>
                    <a:lnTo>
                      <a:pt x="1494" y="6536"/>
                    </a:lnTo>
                    <a:lnTo>
                      <a:pt x="1254" y="7123"/>
                    </a:lnTo>
                    <a:lnTo>
                      <a:pt x="987" y="7683"/>
                    </a:lnTo>
                    <a:lnTo>
                      <a:pt x="694" y="8243"/>
                    </a:lnTo>
                    <a:lnTo>
                      <a:pt x="347" y="8776"/>
                    </a:lnTo>
                    <a:lnTo>
                      <a:pt x="0" y="9283"/>
                    </a:lnTo>
                    <a:lnTo>
                      <a:pt x="0" y="9283"/>
                    </a:lnTo>
                    <a:lnTo>
                      <a:pt x="641" y="8776"/>
                    </a:lnTo>
                    <a:lnTo>
                      <a:pt x="1281" y="8243"/>
                    </a:lnTo>
                    <a:lnTo>
                      <a:pt x="1894" y="7709"/>
                    </a:lnTo>
                    <a:lnTo>
                      <a:pt x="2481" y="7123"/>
                    </a:lnTo>
                    <a:lnTo>
                      <a:pt x="3628" y="5976"/>
                    </a:lnTo>
                    <a:lnTo>
                      <a:pt x="4722" y="4855"/>
                    </a:lnTo>
                    <a:lnTo>
                      <a:pt x="4482" y="4615"/>
                    </a:lnTo>
                    <a:lnTo>
                      <a:pt x="4268" y="4375"/>
                    </a:lnTo>
                    <a:lnTo>
                      <a:pt x="4081" y="4108"/>
                    </a:lnTo>
                    <a:lnTo>
                      <a:pt x="3895" y="3842"/>
                    </a:lnTo>
                    <a:lnTo>
                      <a:pt x="3735" y="3575"/>
                    </a:lnTo>
                    <a:lnTo>
                      <a:pt x="3601" y="3255"/>
                    </a:lnTo>
                    <a:lnTo>
                      <a:pt x="3495" y="2961"/>
                    </a:lnTo>
                    <a:lnTo>
                      <a:pt x="3388" y="2641"/>
                    </a:lnTo>
                    <a:lnTo>
                      <a:pt x="3308" y="2321"/>
                    </a:lnTo>
                    <a:lnTo>
                      <a:pt x="3228" y="2001"/>
                    </a:lnTo>
                    <a:lnTo>
                      <a:pt x="3201" y="1681"/>
                    </a:lnTo>
                    <a:lnTo>
                      <a:pt x="3175" y="1334"/>
                    </a:lnTo>
                    <a:lnTo>
                      <a:pt x="3148" y="1014"/>
                    </a:lnTo>
                    <a:lnTo>
                      <a:pt x="3175" y="667"/>
                    </a:lnTo>
                    <a:lnTo>
                      <a:pt x="3201" y="347"/>
                    </a:lnTo>
                    <a:lnTo>
                      <a:pt x="3228" y="27"/>
                    </a:lnTo>
                    <a:lnTo>
                      <a:pt x="3228" y="1"/>
                    </a:lnTo>
                    <a:close/>
                  </a:path>
                </a:pathLst>
              </a:custGeom>
              <a:solidFill>
                <a:srgbClr val="DE4F1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17" name="Google Shape;917;p16"/>
              <p:cNvSpPr/>
              <p:nvPr/>
            </p:nvSpPr>
            <p:spPr>
              <a:xfrm>
                <a:off x="9304558" y="5926245"/>
                <a:ext cx="282128" cy="481353"/>
              </a:xfrm>
              <a:custGeom>
                <a:avLst/>
                <a:gdLst/>
                <a:ahLst/>
                <a:cxnLst/>
                <a:rect l="l" t="t" r="r" b="b"/>
                <a:pathLst>
                  <a:path w="21341" h="36411" extrusionOk="0">
                    <a:moveTo>
                      <a:pt x="8777" y="1"/>
                    </a:moveTo>
                    <a:lnTo>
                      <a:pt x="8217" y="28"/>
                    </a:lnTo>
                    <a:lnTo>
                      <a:pt x="7683" y="54"/>
                    </a:lnTo>
                    <a:lnTo>
                      <a:pt x="7176" y="81"/>
                    </a:lnTo>
                    <a:lnTo>
                      <a:pt x="6696" y="161"/>
                    </a:lnTo>
                    <a:lnTo>
                      <a:pt x="6216" y="214"/>
                    </a:lnTo>
                    <a:lnTo>
                      <a:pt x="5763" y="321"/>
                    </a:lnTo>
                    <a:lnTo>
                      <a:pt x="5336" y="401"/>
                    </a:lnTo>
                    <a:lnTo>
                      <a:pt x="4936" y="508"/>
                    </a:lnTo>
                    <a:lnTo>
                      <a:pt x="4562" y="641"/>
                    </a:lnTo>
                    <a:lnTo>
                      <a:pt x="4189" y="774"/>
                    </a:lnTo>
                    <a:lnTo>
                      <a:pt x="3842" y="935"/>
                    </a:lnTo>
                    <a:lnTo>
                      <a:pt x="3522" y="1095"/>
                    </a:lnTo>
                    <a:lnTo>
                      <a:pt x="3229" y="1255"/>
                    </a:lnTo>
                    <a:lnTo>
                      <a:pt x="2935" y="1441"/>
                    </a:lnTo>
                    <a:lnTo>
                      <a:pt x="2668" y="1628"/>
                    </a:lnTo>
                    <a:lnTo>
                      <a:pt x="2402" y="1815"/>
                    </a:lnTo>
                    <a:lnTo>
                      <a:pt x="2162" y="2028"/>
                    </a:lnTo>
                    <a:lnTo>
                      <a:pt x="1948" y="2242"/>
                    </a:lnTo>
                    <a:lnTo>
                      <a:pt x="1735" y="2455"/>
                    </a:lnTo>
                    <a:lnTo>
                      <a:pt x="1548" y="2695"/>
                    </a:lnTo>
                    <a:lnTo>
                      <a:pt x="1201" y="3202"/>
                    </a:lnTo>
                    <a:lnTo>
                      <a:pt x="908" y="3709"/>
                    </a:lnTo>
                    <a:lnTo>
                      <a:pt x="668" y="4242"/>
                    </a:lnTo>
                    <a:lnTo>
                      <a:pt x="454" y="4802"/>
                    </a:lnTo>
                    <a:lnTo>
                      <a:pt x="294" y="5389"/>
                    </a:lnTo>
                    <a:lnTo>
                      <a:pt x="188" y="5976"/>
                    </a:lnTo>
                    <a:lnTo>
                      <a:pt x="108" y="6589"/>
                    </a:lnTo>
                    <a:lnTo>
                      <a:pt x="54" y="7203"/>
                    </a:lnTo>
                    <a:lnTo>
                      <a:pt x="28" y="7816"/>
                    </a:lnTo>
                    <a:lnTo>
                      <a:pt x="1" y="8430"/>
                    </a:lnTo>
                    <a:lnTo>
                      <a:pt x="54" y="9657"/>
                    </a:lnTo>
                    <a:lnTo>
                      <a:pt x="134" y="10884"/>
                    </a:lnTo>
                    <a:lnTo>
                      <a:pt x="214" y="12031"/>
                    </a:lnTo>
                    <a:lnTo>
                      <a:pt x="294" y="13098"/>
                    </a:lnTo>
                    <a:lnTo>
                      <a:pt x="294" y="13578"/>
                    </a:lnTo>
                    <a:lnTo>
                      <a:pt x="294" y="14058"/>
                    </a:lnTo>
                    <a:lnTo>
                      <a:pt x="241" y="17766"/>
                    </a:lnTo>
                    <a:lnTo>
                      <a:pt x="214" y="21527"/>
                    </a:lnTo>
                    <a:lnTo>
                      <a:pt x="214" y="25181"/>
                    </a:lnTo>
                    <a:lnTo>
                      <a:pt x="214" y="28542"/>
                    </a:lnTo>
                    <a:lnTo>
                      <a:pt x="241" y="33743"/>
                    </a:lnTo>
                    <a:lnTo>
                      <a:pt x="268" y="35797"/>
                    </a:lnTo>
                    <a:lnTo>
                      <a:pt x="401" y="35824"/>
                    </a:lnTo>
                    <a:lnTo>
                      <a:pt x="801" y="35904"/>
                    </a:lnTo>
                    <a:lnTo>
                      <a:pt x="1521" y="36011"/>
                    </a:lnTo>
                    <a:lnTo>
                      <a:pt x="2588" y="36117"/>
                    </a:lnTo>
                    <a:lnTo>
                      <a:pt x="4109" y="36251"/>
                    </a:lnTo>
                    <a:lnTo>
                      <a:pt x="6083" y="36331"/>
                    </a:lnTo>
                    <a:lnTo>
                      <a:pt x="8563" y="36411"/>
                    </a:lnTo>
                    <a:lnTo>
                      <a:pt x="11604" y="36411"/>
                    </a:lnTo>
                    <a:lnTo>
                      <a:pt x="12324" y="36384"/>
                    </a:lnTo>
                    <a:lnTo>
                      <a:pt x="13018" y="36357"/>
                    </a:lnTo>
                    <a:lnTo>
                      <a:pt x="13711" y="36304"/>
                    </a:lnTo>
                    <a:lnTo>
                      <a:pt x="14352" y="36251"/>
                    </a:lnTo>
                    <a:lnTo>
                      <a:pt x="15579" y="36091"/>
                    </a:lnTo>
                    <a:lnTo>
                      <a:pt x="16645" y="35904"/>
                    </a:lnTo>
                    <a:lnTo>
                      <a:pt x="17499" y="35717"/>
                    </a:lnTo>
                    <a:lnTo>
                      <a:pt x="18166" y="35557"/>
                    </a:lnTo>
                    <a:lnTo>
                      <a:pt x="18726" y="35424"/>
                    </a:lnTo>
                    <a:lnTo>
                      <a:pt x="18513" y="32650"/>
                    </a:lnTo>
                    <a:lnTo>
                      <a:pt x="18353" y="30142"/>
                    </a:lnTo>
                    <a:lnTo>
                      <a:pt x="18219" y="27875"/>
                    </a:lnTo>
                    <a:lnTo>
                      <a:pt x="18139" y="25821"/>
                    </a:lnTo>
                    <a:lnTo>
                      <a:pt x="18113" y="24007"/>
                    </a:lnTo>
                    <a:lnTo>
                      <a:pt x="18113" y="22380"/>
                    </a:lnTo>
                    <a:lnTo>
                      <a:pt x="18139" y="20913"/>
                    </a:lnTo>
                    <a:lnTo>
                      <a:pt x="18193" y="19633"/>
                    </a:lnTo>
                    <a:lnTo>
                      <a:pt x="18273" y="18513"/>
                    </a:lnTo>
                    <a:lnTo>
                      <a:pt x="18379" y="17526"/>
                    </a:lnTo>
                    <a:lnTo>
                      <a:pt x="18513" y="16645"/>
                    </a:lnTo>
                    <a:lnTo>
                      <a:pt x="18646" y="15845"/>
                    </a:lnTo>
                    <a:lnTo>
                      <a:pt x="18779" y="15178"/>
                    </a:lnTo>
                    <a:lnTo>
                      <a:pt x="18939" y="14538"/>
                    </a:lnTo>
                    <a:lnTo>
                      <a:pt x="19260" y="13445"/>
                    </a:lnTo>
                    <a:lnTo>
                      <a:pt x="19500" y="12831"/>
                    </a:lnTo>
                    <a:lnTo>
                      <a:pt x="19820" y="12084"/>
                    </a:lnTo>
                    <a:lnTo>
                      <a:pt x="20193" y="11231"/>
                    </a:lnTo>
                    <a:lnTo>
                      <a:pt x="20567" y="10297"/>
                    </a:lnTo>
                    <a:lnTo>
                      <a:pt x="20727" y="9817"/>
                    </a:lnTo>
                    <a:lnTo>
                      <a:pt x="20887" y="9310"/>
                    </a:lnTo>
                    <a:lnTo>
                      <a:pt x="21047" y="8803"/>
                    </a:lnTo>
                    <a:lnTo>
                      <a:pt x="21153" y="8270"/>
                    </a:lnTo>
                    <a:lnTo>
                      <a:pt x="21260" y="7763"/>
                    </a:lnTo>
                    <a:lnTo>
                      <a:pt x="21313" y="7230"/>
                    </a:lnTo>
                    <a:lnTo>
                      <a:pt x="21340" y="6696"/>
                    </a:lnTo>
                    <a:lnTo>
                      <a:pt x="21313" y="6163"/>
                    </a:lnTo>
                    <a:lnTo>
                      <a:pt x="21260" y="5656"/>
                    </a:lnTo>
                    <a:lnTo>
                      <a:pt x="21127" y="5122"/>
                    </a:lnTo>
                    <a:lnTo>
                      <a:pt x="20967" y="4642"/>
                    </a:lnTo>
                    <a:lnTo>
                      <a:pt x="20833" y="4375"/>
                    </a:lnTo>
                    <a:lnTo>
                      <a:pt x="20727" y="4135"/>
                    </a:lnTo>
                    <a:lnTo>
                      <a:pt x="20567" y="3895"/>
                    </a:lnTo>
                    <a:lnTo>
                      <a:pt x="20406" y="3655"/>
                    </a:lnTo>
                    <a:lnTo>
                      <a:pt x="20220" y="3442"/>
                    </a:lnTo>
                    <a:lnTo>
                      <a:pt x="20033" y="3202"/>
                    </a:lnTo>
                    <a:lnTo>
                      <a:pt x="19820" y="2988"/>
                    </a:lnTo>
                    <a:lnTo>
                      <a:pt x="19580" y="2775"/>
                    </a:lnTo>
                    <a:lnTo>
                      <a:pt x="19313" y="2562"/>
                    </a:lnTo>
                    <a:lnTo>
                      <a:pt x="19046" y="2348"/>
                    </a:lnTo>
                    <a:lnTo>
                      <a:pt x="18753" y="2135"/>
                    </a:lnTo>
                    <a:lnTo>
                      <a:pt x="18433" y="1948"/>
                    </a:lnTo>
                    <a:lnTo>
                      <a:pt x="18086" y="1761"/>
                    </a:lnTo>
                    <a:lnTo>
                      <a:pt x="17712" y="1601"/>
                    </a:lnTo>
                    <a:lnTo>
                      <a:pt x="17312" y="1415"/>
                    </a:lnTo>
                    <a:lnTo>
                      <a:pt x="16912" y="1255"/>
                    </a:lnTo>
                    <a:lnTo>
                      <a:pt x="16459" y="1095"/>
                    </a:lnTo>
                    <a:lnTo>
                      <a:pt x="16005" y="961"/>
                    </a:lnTo>
                    <a:lnTo>
                      <a:pt x="14992" y="694"/>
                    </a:lnTo>
                    <a:lnTo>
                      <a:pt x="13845" y="454"/>
                    </a:lnTo>
                    <a:lnTo>
                      <a:pt x="12618" y="268"/>
                    </a:lnTo>
                    <a:lnTo>
                      <a:pt x="11257" y="108"/>
                    </a:lnTo>
                    <a:lnTo>
                      <a:pt x="9950" y="28"/>
                    </a:lnTo>
                    <a:lnTo>
                      <a:pt x="8777" y="1"/>
                    </a:lnTo>
                    <a:close/>
                  </a:path>
                </a:pathLst>
              </a:cu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18" name="Google Shape;918;p16"/>
              <p:cNvSpPr/>
              <p:nvPr/>
            </p:nvSpPr>
            <p:spPr>
              <a:xfrm>
                <a:off x="9512987" y="6004540"/>
                <a:ext cx="73715" cy="217932"/>
              </a:xfrm>
              <a:custGeom>
                <a:avLst/>
                <a:gdLst/>
                <a:ahLst/>
                <a:cxnLst/>
                <a:rect l="l" t="t" r="r" b="b"/>
                <a:pathLst>
                  <a:path w="5576" h="16485" extrusionOk="0">
                    <a:moveTo>
                      <a:pt x="5522" y="1"/>
                    </a:moveTo>
                    <a:lnTo>
                      <a:pt x="5148" y="107"/>
                    </a:lnTo>
                    <a:lnTo>
                      <a:pt x="4748" y="187"/>
                    </a:lnTo>
                    <a:lnTo>
                      <a:pt x="3948" y="294"/>
                    </a:lnTo>
                    <a:lnTo>
                      <a:pt x="2774" y="454"/>
                    </a:lnTo>
                    <a:lnTo>
                      <a:pt x="2721" y="454"/>
                    </a:lnTo>
                    <a:lnTo>
                      <a:pt x="1921" y="614"/>
                    </a:lnTo>
                    <a:lnTo>
                      <a:pt x="1521" y="694"/>
                    </a:lnTo>
                    <a:lnTo>
                      <a:pt x="1121" y="801"/>
                    </a:lnTo>
                    <a:lnTo>
                      <a:pt x="961" y="854"/>
                    </a:lnTo>
                    <a:lnTo>
                      <a:pt x="1014" y="854"/>
                    </a:lnTo>
                    <a:lnTo>
                      <a:pt x="987" y="907"/>
                    </a:lnTo>
                    <a:lnTo>
                      <a:pt x="827" y="961"/>
                    </a:lnTo>
                    <a:lnTo>
                      <a:pt x="534" y="1014"/>
                    </a:lnTo>
                    <a:lnTo>
                      <a:pt x="507" y="1094"/>
                    </a:lnTo>
                    <a:lnTo>
                      <a:pt x="427" y="1254"/>
                    </a:lnTo>
                    <a:lnTo>
                      <a:pt x="294" y="1708"/>
                    </a:lnTo>
                    <a:lnTo>
                      <a:pt x="214" y="2241"/>
                    </a:lnTo>
                    <a:lnTo>
                      <a:pt x="160" y="2455"/>
                    </a:lnTo>
                    <a:lnTo>
                      <a:pt x="160" y="2641"/>
                    </a:lnTo>
                    <a:lnTo>
                      <a:pt x="80" y="3308"/>
                    </a:lnTo>
                    <a:lnTo>
                      <a:pt x="0" y="3975"/>
                    </a:lnTo>
                    <a:lnTo>
                      <a:pt x="107" y="4588"/>
                    </a:lnTo>
                    <a:lnTo>
                      <a:pt x="214" y="5149"/>
                    </a:lnTo>
                    <a:lnTo>
                      <a:pt x="374" y="6322"/>
                    </a:lnTo>
                    <a:lnTo>
                      <a:pt x="454" y="6989"/>
                    </a:lnTo>
                    <a:lnTo>
                      <a:pt x="587" y="7763"/>
                    </a:lnTo>
                    <a:lnTo>
                      <a:pt x="747" y="8643"/>
                    </a:lnTo>
                    <a:lnTo>
                      <a:pt x="987" y="9683"/>
                    </a:lnTo>
                    <a:lnTo>
                      <a:pt x="1334" y="11364"/>
                    </a:lnTo>
                    <a:lnTo>
                      <a:pt x="1681" y="13071"/>
                    </a:lnTo>
                    <a:lnTo>
                      <a:pt x="2348" y="16485"/>
                    </a:lnTo>
                    <a:lnTo>
                      <a:pt x="2374" y="14698"/>
                    </a:lnTo>
                    <a:lnTo>
                      <a:pt x="2454" y="13151"/>
                    </a:lnTo>
                    <a:lnTo>
                      <a:pt x="2588" y="11844"/>
                    </a:lnTo>
                    <a:lnTo>
                      <a:pt x="2748" y="10723"/>
                    </a:lnTo>
                    <a:lnTo>
                      <a:pt x="2908" y="9763"/>
                    </a:lnTo>
                    <a:lnTo>
                      <a:pt x="3094" y="8936"/>
                    </a:lnTo>
                    <a:lnTo>
                      <a:pt x="3308" y="8189"/>
                    </a:lnTo>
                    <a:lnTo>
                      <a:pt x="3495" y="7523"/>
                    </a:lnTo>
                    <a:lnTo>
                      <a:pt x="3735" y="6882"/>
                    </a:lnTo>
                    <a:lnTo>
                      <a:pt x="4081" y="6109"/>
                    </a:lnTo>
                    <a:lnTo>
                      <a:pt x="4455" y="5229"/>
                    </a:lnTo>
                    <a:lnTo>
                      <a:pt x="4828" y="4268"/>
                    </a:lnTo>
                    <a:lnTo>
                      <a:pt x="5015" y="3762"/>
                    </a:lnTo>
                    <a:lnTo>
                      <a:pt x="5175" y="3228"/>
                    </a:lnTo>
                    <a:lnTo>
                      <a:pt x="5308" y="2695"/>
                    </a:lnTo>
                    <a:lnTo>
                      <a:pt x="5415" y="2161"/>
                    </a:lnTo>
                    <a:lnTo>
                      <a:pt x="5522" y="1628"/>
                    </a:lnTo>
                    <a:lnTo>
                      <a:pt x="5548" y="1067"/>
                    </a:lnTo>
                    <a:lnTo>
                      <a:pt x="5575" y="534"/>
                    </a:lnTo>
                    <a:lnTo>
                      <a:pt x="5522" y="1"/>
                    </a:lnTo>
                    <a:close/>
                  </a:path>
                </a:pathLst>
              </a:custGeom>
              <a:solidFill>
                <a:srgbClr val="DE4F1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19" name="Google Shape;919;p16"/>
              <p:cNvSpPr/>
              <p:nvPr/>
            </p:nvSpPr>
            <p:spPr>
              <a:xfrm>
                <a:off x="9386026" y="5743226"/>
                <a:ext cx="134725" cy="160808"/>
              </a:xfrm>
              <a:custGeom>
                <a:avLst/>
                <a:gdLst/>
                <a:ahLst/>
                <a:cxnLst/>
                <a:rect l="l" t="t" r="r" b="b"/>
                <a:pathLst>
                  <a:path w="10191" h="12164" extrusionOk="0">
                    <a:moveTo>
                      <a:pt x="5575" y="0"/>
                    </a:moveTo>
                    <a:lnTo>
                      <a:pt x="4829" y="54"/>
                    </a:lnTo>
                    <a:lnTo>
                      <a:pt x="4082" y="134"/>
                    </a:lnTo>
                    <a:lnTo>
                      <a:pt x="3388" y="214"/>
                    </a:lnTo>
                    <a:lnTo>
                      <a:pt x="2161" y="374"/>
                    </a:lnTo>
                    <a:lnTo>
                      <a:pt x="1308" y="507"/>
                    </a:lnTo>
                    <a:lnTo>
                      <a:pt x="988" y="587"/>
                    </a:lnTo>
                    <a:lnTo>
                      <a:pt x="934" y="907"/>
                    </a:lnTo>
                    <a:lnTo>
                      <a:pt x="721" y="1841"/>
                    </a:lnTo>
                    <a:lnTo>
                      <a:pt x="481" y="3201"/>
                    </a:lnTo>
                    <a:lnTo>
                      <a:pt x="374" y="3975"/>
                    </a:lnTo>
                    <a:lnTo>
                      <a:pt x="267" y="4828"/>
                    </a:lnTo>
                    <a:lnTo>
                      <a:pt x="134" y="6055"/>
                    </a:lnTo>
                    <a:lnTo>
                      <a:pt x="27" y="7255"/>
                    </a:lnTo>
                    <a:lnTo>
                      <a:pt x="1" y="7842"/>
                    </a:lnTo>
                    <a:lnTo>
                      <a:pt x="1" y="8429"/>
                    </a:lnTo>
                    <a:lnTo>
                      <a:pt x="27" y="8963"/>
                    </a:lnTo>
                    <a:lnTo>
                      <a:pt x="81" y="9496"/>
                    </a:lnTo>
                    <a:lnTo>
                      <a:pt x="187" y="9976"/>
                    </a:lnTo>
                    <a:lnTo>
                      <a:pt x="294" y="10430"/>
                    </a:lnTo>
                    <a:lnTo>
                      <a:pt x="481" y="10830"/>
                    </a:lnTo>
                    <a:lnTo>
                      <a:pt x="561" y="11016"/>
                    </a:lnTo>
                    <a:lnTo>
                      <a:pt x="668" y="11177"/>
                    </a:lnTo>
                    <a:lnTo>
                      <a:pt x="801" y="11337"/>
                    </a:lnTo>
                    <a:lnTo>
                      <a:pt x="934" y="11497"/>
                    </a:lnTo>
                    <a:lnTo>
                      <a:pt x="1094" y="11630"/>
                    </a:lnTo>
                    <a:lnTo>
                      <a:pt x="1254" y="11737"/>
                    </a:lnTo>
                    <a:lnTo>
                      <a:pt x="1441" y="11843"/>
                    </a:lnTo>
                    <a:lnTo>
                      <a:pt x="1628" y="11923"/>
                    </a:lnTo>
                    <a:lnTo>
                      <a:pt x="1841" y="11977"/>
                    </a:lnTo>
                    <a:lnTo>
                      <a:pt x="2055" y="12030"/>
                    </a:lnTo>
                    <a:lnTo>
                      <a:pt x="2721" y="12137"/>
                    </a:lnTo>
                    <a:lnTo>
                      <a:pt x="3335" y="12163"/>
                    </a:lnTo>
                    <a:lnTo>
                      <a:pt x="3895" y="12137"/>
                    </a:lnTo>
                    <a:lnTo>
                      <a:pt x="4429" y="12083"/>
                    </a:lnTo>
                    <a:lnTo>
                      <a:pt x="4909" y="12003"/>
                    </a:lnTo>
                    <a:lnTo>
                      <a:pt x="5335" y="11870"/>
                    </a:lnTo>
                    <a:lnTo>
                      <a:pt x="5709" y="11737"/>
                    </a:lnTo>
                    <a:lnTo>
                      <a:pt x="6056" y="11577"/>
                    </a:lnTo>
                    <a:lnTo>
                      <a:pt x="6349" y="11417"/>
                    </a:lnTo>
                    <a:lnTo>
                      <a:pt x="6589" y="11257"/>
                    </a:lnTo>
                    <a:lnTo>
                      <a:pt x="6802" y="11097"/>
                    </a:lnTo>
                    <a:lnTo>
                      <a:pt x="6989" y="10936"/>
                    </a:lnTo>
                    <a:lnTo>
                      <a:pt x="7203" y="10723"/>
                    </a:lnTo>
                    <a:lnTo>
                      <a:pt x="7283" y="10643"/>
                    </a:lnTo>
                    <a:lnTo>
                      <a:pt x="7469" y="10296"/>
                    </a:lnTo>
                    <a:lnTo>
                      <a:pt x="7923" y="9389"/>
                    </a:lnTo>
                    <a:lnTo>
                      <a:pt x="8536" y="8056"/>
                    </a:lnTo>
                    <a:lnTo>
                      <a:pt x="8883" y="7309"/>
                    </a:lnTo>
                    <a:lnTo>
                      <a:pt x="9203" y="6482"/>
                    </a:lnTo>
                    <a:lnTo>
                      <a:pt x="9497" y="5655"/>
                    </a:lnTo>
                    <a:lnTo>
                      <a:pt x="9763" y="4801"/>
                    </a:lnTo>
                    <a:lnTo>
                      <a:pt x="9977" y="3975"/>
                    </a:lnTo>
                    <a:lnTo>
                      <a:pt x="10057" y="3574"/>
                    </a:lnTo>
                    <a:lnTo>
                      <a:pt x="10137" y="3201"/>
                    </a:lnTo>
                    <a:lnTo>
                      <a:pt x="10163" y="2828"/>
                    </a:lnTo>
                    <a:lnTo>
                      <a:pt x="10190" y="2454"/>
                    </a:lnTo>
                    <a:lnTo>
                      <a:pt x="10190" y="2107"/>
                    </a:lnTo>
                    <a:lnTo>
                      <a:pt x="10163" y="1787"/>
                    </a:lnTo>
                    <a:lnTo>
                      <a:pt x="10083" y="1494"/>
                    </a:lnTo>
                    <a:lnTo>
                      <a:pt x="10003" y="1227"/>
                    </a:lnTo>
                    <a:lnTo>
                      <a:pt x="9870" y="987"/>
                    </a:lnTo>
                    <a:lnTo>
                      <a:pt x="9710" y="774"/>
                    </a:lnTo>
                    <a:lnTo>
                      <a:pt x="9577" y="614"/>
                    </a:lnTo>
                    <a:lnTo>
                      <a:pt x="9390" y="507"/>
                    </a:lnTo>
                    <a:lnTo>
                      <a:pt x="9176" y="374"/>
                    </a:lnTo>
                    <a:lnTo>
                      <a:pt x="8936" y="294"/>
                    </a:lnTo>
                    <a:lnTo>
                      <a:pt x="8670" y="214"/>
                    </a:lnTo>
                    <a:lnTo>
                      <a:pt x="8376" y="134"/>
                    </a:lnTo>
                    <a:lnTo>
                      <a:pt x="7736" y="54"/>
                    </a:lnTo>
                    <a:lnTo>
                      <a:pt x="7069" y="0"/>
                    </a:lnTo>
                    <a:close/>
                  </a:path>
                </a:pathLst>
              </a:custGeom>
              <a:solidFill>
                <a:srgbClr val="A16E4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0" name="Google Shape;920;p16"/>
              <p:cNvSpPr/>
              <p:nvPr/>
            </p:nvSpPr>
            <p:spPr>
              <a:xfrm>
                <a:off x="9415297" y="5858897"/>
                <a:ext cx="66312" cy="98040"/>
              </a:xfrm>
              <a:custGeom>
                <a:avLst/>
                <a:gdLst/>
                <a:ahLst/>
                <a:cxnLst/>
                <a:rect l="l" t="t" r="r" b="b"/>
                <a:pathLst>
                  <a:path w="5016" h="7416" extrusionOk="0">
                    <a:moveTo>
                      <a:pt x="2641" y="0"/>
                    </a:moveTo>
                    <a:lnTo>
                      <a:pt x="2455" y="27"/>
                    </a:lnTo>
                    <a:lnTo>
                      <a:pt x="2295" y="80"/>
                    </a:lnTo>
                    <a:lnTo>
                      <a:pt x="1948" y="187"/>
                    </a:lnTo>
                    <a:lnTo>
                      <a:pt x="1814" y="267"/>
                    </a:lnTo>
                    <a:lnTo>
                      <a:pt x="1654" y="374"/>
                    </a:lnTo>
                    <a:lnTo>
                      <a:pt x="1521" y="480"/>
                    </a:lnTo>
                    <a:lnTo>
                      <a:pt x="1414" y="614"/>
                    </a:lnTo>
                    <a:lnTo>
                      <a:pt x="1281" y="747"/>
                    </a:lnTo>
                    <a:lnTo>
                      <a:pt x="1201" y="880"/>
                    </a:lnTo>
                    <a:lnTo>
                      <a:pt x="1121" y="1041"/>
                    </a:lnTo>
                    <a:lnTo>
                      <a:pt x="1041" y="1201"/>
                    </a:lnTo>
                    <a:lnTo>
                      <a:pt x="881" y="1734"/>
                    </a:lnTo>
                    <a:lnTo>
                      <a:pt x="534" y="2881"/>
                    </a:lnTo>
                    <a:lnTo>
                      <a:pt x="187" y="4028"/>
                    </a:lnTo>
                    <a:lnTo>
                      <a:pt x="54" y="4561"/>
                    </a:lnTo>
                    <a:lnTo>
                      <a:pt x="54" y="4588"/>
                    </a:lnTo>
                    <a:lnTo>
                      <a:pt x="27" y="4775"/>
                    </a:lnTo>
                    <a:lnTo>
                      <a:pt x="1" y="4988"/>
                    </a:lnTo>
                    <a:lnTo>
                      <a:pt x="1" y="5175"/>
                    </a:lnTo>
                    <a:lnTo>
                      <a:pt x="1" y="5388"/>
                    </a:lnTo>
                    <a:lnTo>
                      <a:pt x="54" y="5602"/>
                    </a:lnTo>
                    <a:lnTo>
                      <a:pt x="134" y="5842"/>
                    </a:lnTo>
                    <a:lnTo>
                      <a:pt x="214" y="6055"/>
                    </a:lnTo>
                    <a:lnTo>
                      <a:pt x="321" y="6242"/>
                    </a:lnTo>
                    <a:lnTo>
                      <a:pt x="454" y="6429"/>
                    </a:lnTo>
                    <a:lnTo>
                      <a:pt x="614" y="6615"/>
                    </a:lnTo>
                    <a:lnTo>
                      <a:pt x="774" y="6775"/>
                    </a:lnTo>
                    <a:lnTo>
                      <a:pt x="961" y="6909"/>
                    </a:lnTo>
                    <a:lnTo>
                      <a:pt x="1148" y="7042"/>
                    </a:lnTo>
                    <a:lnTo>
                      <a:pt x="1361" y="7149"/>
                    </a:lnTo>
                    <a:lnTo>
                      <a:pt x="1574" y="7256"/>
                    </a:lnTo>
                    <a:lnTo>
                      <a:pt x="1814" y="7309"/>
                    </a:lnTo>
                    <a:lnTo>
                      <a:pt x="2054" y="7362"/>
                    </a:lnTo>
                    <a:lnTo>
                      <a:pt x="2295" y="7416"/>
                    </a:lnTo>
                    <a:lnTo>
                      <a:pt x="2535" y="7416"/>
                    </a:lnTo>
                    <a:lnTo>
                      <a:pt x="2801" y="7389"/>
                    </a:lnTo>
                    <a:lnTo>
                      <a:pt x="3041" y="7362"/>
                    </a:lnTo>
                    <a:lnTo>
                      <a:pt x="3308" y="7282"/>
                    </a:lnTo>
                    <a:lnTo>
                      <a:pt x="3522" y="7202"/>
                    </a:lnTo>
                    <a:lnTo>
                      <a:pt x="3735" y="7095"/>
                    </a:lnTo>
                    <a:lnTo>
                      <a:pt x="3948" y="6989"/>
                    </a:lnTo>
                    <a:lnTo>
                      <a:pt x="4135" y="6855"/>
                    </a:lnTo>
                    <a:lnTo>
                      <a:pt x="4322" y="6695"/>
                    </a:lnTo>
                    <a:lnTo>
                      <a:pt x="4482" y="6535"/>
                    </a:lnTo>
                    <a:lnTo>
                      <a:pt x="4615" y="6349"/>
                    </a:lnTo>
                    <a:lnTo>
                      <a:pt x="4749" y="6162"/>
                    </a:lnTo>
                    <a:lnTo>
                      <a:pt x="4829" y="5948"/>
                    </a:lnTo>
                    <a:lnTo>
                      <a:pt x="4909" y="5735"/>
                    </a:lnTo>
                    <a:lnTo>
                      <a:pt x="4962" y="5522"/>
                    </a:lnTo>
                    <a:lnTo>
                      <a:pt x="5015" y="5308"/>
                    </a:lnTo>
                    <a:lnTo>
                      <a:pt x="5015" y="5068"/>
                    </a:lnTo>
                    <a:lnTo>
                      <a:pt x="4989" y="4828"/>
                    </a:lnTo>
                    <a:lnTo>
                      <a:pt x="4935" y="4348"/>
                    </a:lnTo>
                    <a:lnTo>
                      <a:pt x="4829" y="3254"/>
                    </a:lnTo>
                    <a:lnTo>
                      <a:pt x="4749" y="2161"/>
                    </a:lnTo>
                    <a:lnTo>
                      <a:pt x="4695" y="1681"/>
                    </a:lnTo>
                    <a:lnTo>
                      <a:pt x="4695" y="1601"/>
                    </a:lnTo>
                    <a:lnTo>
                      <a:pt x="4669" y="1361"/>
                    </a:lnTo>
                    <a:lnTo>
                      <a:pt x="4588" y="1094"/>
                    </a:lnTo>
                    <a:lnTo>
                      <a:pt x="4482" y="880"/>
                    </a:lnTo>
                    <a:lnTo>
                      <a:pt x="4322" y="667"/>
                    </a:lnTo>
                    <a:lnTo>
                      <a:pt x="4135" y="454"/>
                    </a:lnTo>
                    <a:lnTo>
                      <a:pt x="3895" y="294"/>
                    </a:lnTo>
                    <a:lnTo>
                      <a:pt x="3655" y="160"/>
                    </a:lnTo>
                    <a:lnTo>
                      <a:pt x="3388" y="54"/>
                    </a:lnTo>
                    <a:lnTo>
                      <a:pt x="3201" y="27"/>
                    </a:lnTo>
                    <a:lnTo>
                      <a:pt x="3015" y="0"/>
                    </a:lnTo>
                    <a:close/>
                  </a:path>
                </a:pathLst>
              </a:custGeom>
              <a:solidFill>
                <a:srgbClr val="A16E4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1" name="Google Shape;921;p16"/>
              <p:cNvSpPr/>
              <p:nvPr/>
            </p:nvSpPr>
            <p:spPr>
              <a:xfrm>
                <a:off x="9387797" y="5725232"/>
                <a:ext cx="139299" cy="163637"/>
              </a:xfrm>
              <a:custGeom>
                <a:avLst/>
                <a:gdLst/>
                <a:ahLst/>
                <a:cxnLst/>
                <a:rect l="l" t="t" r="r" b="b"/>
                <a:pathLst>
                  <a:path w="10537" h="12378" extrusionOk="0">
                    <a:moveTo>
                      <a:pt x="5095" y="1"/>
                    </a:moveTo>
                    <a:lnTo>
                      <a:pt x="4641" y="54"/>
                    </a:lnTo>
                    <a:lnTo>
                      <a:pt x="4214" y="108"/>
                    </a:lnTo>
                    <a:lnTo>
                      <a:pt x="3761" y="188"/>
                    </a:lnTo>
                    <a:lnTo>
                      <a:pt x="2881" y="348"/>
                    </a:lnTo>
                    <a:lnTo>
                      <a:pt x="1307" y="721"/>
                    </a:lnTo>
                    <a:lnTo>
                      <a:pt x="694" y="854"/>
                    </a:lnTo>
                    <a:lnTo>
                      <a:pt x="427" y="881"/>
                    </a:lnTo>
                    <a:lnTo>
                      <a:pt x="213" y="881"/>
                    </a:lnTo>
                    <a:lnTo>
                      <a:pt x="160" y="1014"/>
                    </a:lnTo>
                    <a:lnTo>
                      <a:pt x="80" y="1388"/>
                    </a:lnTo>
                    <a:lnTo>
                      <a:pt x="27" y="1601"/>
                    </a:lnTo>
                    <a:lnTo>
                      <a:pt x="0" y="1868"/>
                    </a:lnTo>
                    <a:lnTo>
                      <a:pt x="0" y="2161"/>
                    </a:lnTo>
                    <a:lnTo>
                      <a:pt x="27" y="2455"/>
                    </a:lnTo>
                    <a:lnTo>
                      <a:pt x="80" y="2748"/>
                    </a:lnTo>
                    <a:lnTo>
                      <a:pt x="187" y="3042"/>
                    </a:lnTo>
                    <a:lnTo>
                      <a:pt x="347" y="3335"/>
                    </a:lnTo>
                    <a:lnTo>
                      <a:pt x="427" y="3442"/>
                    </a:lnTo>
                    <a:lnTo>
                      <a:pt x="560" y="3575"/>
                    </a:lnTo>
                    <a:lnTo>
                      <a:pt x="694" y="3708"/>
                    </a:lnTo>
                    <a:lnTo>
                      <a:pt x="827" y="3815"/>
                    </a:lnTo>
                    <a:lnTo>
                      <a:pt x="1014" y="3895"/>
                    </a:lnTo>
                    <a:lnTo>
                      <a:pt x="1200" y="3975"/>
                    </a:lnTo>
                    <a:lnTo>
                      <a:pt x="1414" y="4055"/>
                    </a:lnTo>
                    <a:lnTo>
                      <a:pt x="1627" y="4109"/>
                    </a:lnTo>
                    <a:lnTo>
                      <a:pt x="1894" y="4162"/>
                    </a:lnTo>
                    <a:lnTo>
                      <a:pt x="2161" y="4189"/>
                    </a:lnTo>
                    <a:lnTo>
                      <a:pt x="3228" y="4295"/>
                    </a:lnTo>
                    <a:lnTo>
                      <a:pt x="4108" y="4402"/>
                    </a:lnTo>
                    <a:lnTo>
                      <a:pt x="4801" y="4509"/>
                    </a:lnTo>
                    <a:lnTo>
                      <a:pt x="5335" y="4642"/>
                    </a:lnTo>
                    <a:lnTo>
                      <a:pt x="5548" y="4722"/>
                    </a:lnTo>
                    <a:lnTo>
                      <a:pt x="5735" y="4802"/>
                    </a:lnTo>
                    <a:lnTo>
                      <a:pt x="5868" y="4882"/>
                    </a:lnTo>
                    <a:lnTo>
                      <a:pt x="5975" y="4989"/>
                    </a:lnTo>
                    <a:lnTo>
                      <a:pt x="6055" y="5096"/>
                    </a:lnTo>
                    <a:lnTo>
                      <a:pt x="6108" y="5202"/>
                    </a:lnTo>
                    <a:lnTo>
                      <a:pt x="6135" y="5336"/>
                    </a:lnTo>
                    <a:lnTo>
                      <a:pt x="6135" y="5469"/>
                    </a:lnTo>
                    <a:lnTo>
                      <a:pt x="6082" y="5736"/>
                    </a:lnTo>
                    <a:lnTo>
                      <a:pt x="6055" y="6029"/>
                    </a:lnTo>
                    <a:lnTo>
                      <a:pt x="5922" y="6536"/>
                    </a:lnTo>
                    <a:lnTo>
                      <a:pt x="5762" y="7043"/>
                    </a:lnTo>
                    <a:lnTo>
                      <a:pt x="6455" y="7470"/>
                    </a:lnTo>
                    <a:lnTo>
                      <a:pt x="6668" y="7389"/>
                    </a:lnTo>
                    <a:lnTo>
                      <a:pt x="6909" y="7309"/>
                    </a:lnTo>
                    <a:lnTo>
                      <a:pt x="7149" y="7229"/>
                    </a:lnTo>
                    <a:lnTo>
                      <a:pt x="7415" y="7176"/>
                    </a:lnTo>
                    <a:lnTo>
                      <a:pt x="7655" y="7176"/>
                    </a:lnTo>
                    <a:lnTo>
                      <a:pt x="7762" y="7229"/>
                    </a:lnTo>
                    <a:lnTo>
                      <a:pt x="7842" y="7283"/>
                    </a:lnTo>
                    <a:lnTo>
                      <a:pt x="7895" y="7363"/>
                    </a:lnTo>
                    <a:lnTo>
                      <a:pt x="7949" y="7470"/>
                    </a:lnTo>
                    <a:lnTo>
                      <a:pt x="8002" y="7843"/>
                    </a:lnTo>
                    <a:lnTo>
                      <a:pt x="7976" y="8216"/>
                    </a:lnTo>
                    <a:lnTo>
                      <a:pt x="7922" y="8590"/>
                    </a:lnTo>
                    <a:lnTo>
                      <a:pt x="7815" y="8937"/>
                    </a:lnTo>
                    <a:lnTo>
                      <a:pt x="7762" y="9097"/>
                    </a:lnTo>
                    <a:lnTo>
                      <a:pt x="7655" y="9257"/>
                    </a:lnTo>
                    <a:lnTo>
                      <a:pt x="7575" y="9390"/>
                    </a:lnTo>
                    <a:lnTo>
                      <a:pt x="7469" y="9497"/>
                    </a:lnTo>
                    <a:lnTo>
                      <a:pt x="7335" y="9603"/>
                    </a:lnTo>
                    <a:lnTo>
                      <a:pt x="7202" y="9683"/>
                    </a:lnTo>
                    <a:lnTo>
                      <a:pt x="7069" y="9737"/>
                    </a:lnTo>
                    <a:lnTo>
                      <a:pt x="6909" y="9763"/>
                    </a:lnTo>
                    <a:lnTo>
                      <a:pt x="6935" y="9977"/>
                    </a:lnTo>
                    <a:lnTo>
                      <a:pt x="6989" y="10564"/>
                    </a:lnTo>
                    <a:lnTo>
                      <a:pt x="6989" y="10937"/>
                    </a:lnTo>
                    <a:lnTo>
                      <a:pt x="6962" y="11391"/>
                    </a:lnTo>
                    <a:lnTo>
                      <a:pt x="6935" y="11871"/>
                    </a:lnTo>
                    <a:lnTo>
                      <a:pt x="6855" y="12377"/>
                    </a:lnTo>
                    <a:lnTo>
                      <a:pt x="7042" y="12297"/>
                    </a:lnTo>
                    <a:lnTo>
                      <a:pt x="7469" y="11977"/>
                    </a:lnTo>
                    <a:lnTo>
                      <a:pt x="7762" y="11737"/>
                    </a:lnTo>
                    <a:lnTo>
                      <a:pt x="8082" y="11444"/>
                    </a:lnTo>
                    <a:lnTo>
                      <a:pt x="8429" y="11070"/>
                    </a:lnTo>
                    <a:lnTo>
                      <a:pt x="8776" y="10644"/>
                    </a:lnTo>
                    <a:lnTo>
                      <a:pt x="9149" y="10164"/>
                    </a:lnTo>
                    <a:lnTo>
                      <a:pt x="9469" y="9577"/>
                    </a:lnTo>
                    <a:lnTo>
                      <a:pt x="9789" y="8937"/>
                    </a:lnTo>
                    <a:lnTo>
                      <a:pt x="9923" y="8590"/>
                    </a:lnTo>
                    <a:lnTo>
                      <a:pt x="10056" y="8216"/>
                    </a:lnTo>
                    <a:lnTo>
                      <a:pt x="10163" y="7843"/>
                    </a:lnTo>
                    <a:lnTo>
                      <a:pt x="10269" y="7416"/>
                    </a:lnTo>
                    <a:lnTo>
                      <a:pt x="10376" y="6989"/>
                    </a:lnTo>
                    <a:lnTo>
                      <a:pt x="10430" y="6536"/>
                    </a:lnTo>
                    <a:lnTo>
                      <a:pt x="10483" y="6082"/>
                    </a:lnTo>
                    <a:lnTo>
                      <a:pt x="10536" y="5576"/>
                    </a:lnTo>
                    <a:lnTo>
                      <a:pt x="10536" y="5069"/>
                    </a:lnTo>
                    <a:lnTo>
                      <a:pt x="10536" y="4535"/>
                    </a:lnTo>
                    <a:lnTo>
                      <a:pt x="10483" y="3949"/>
                    </a:lnTo>
                    <a:lnTo>
                      <a:pt x="10403" y="3415"/>
                    </a:lnTo>
                    <a:lnTo>
                      <a:pt x="10269" y="2935"/>
                    </a:lnTo>
                    <a:lnTo>
                      <a:pt x="10109" y="2508"/>
                    </a:lnTo>
                    <a:lnTo>
                      <a:pt x="9923" y="2135"/>
                    </a:lnTo>
                    <a:lnTo>
                      <a:pt x="9709" y="1788"/>
                    </a:lnTo>
                    <a:lnTo>
                      <a:pt x="9469" y="1468"/>
                    </a:lnTo>
                    <a:lnTo>
                      <a:pt x="9176" y="1201"/>
                    </a:lnTo>
                    <a:lnTo>
                      <a:pt x="8882" y="961"/>
                    </a:lnTo>
                    <a:lnTo>
                      <a:pt x="8562" y="774"/>
                    </a:lnTo>
                    <a:lnTo>
                      <a:pt x="8242" y="588"/>
                    </a:lnTo>
                    <a:lnTo>
                      <a:pt x="7869" y="428"/>
                    </a:lnTo>
                    <a:lnTo>
                      <a:pt x="7522" y="321"/>
                    </a:lnTo>
                    <a:lnTo>
                      <a:pt x="7122" y="214"/>
                    </a:lnTo>
                    <a:lnTo>
                      <a:pt x="6749" y="134"/>
                    </a:lnTo>
                    <a:lnTo>
                      <a:pt x="6348" y="54"/>
                    </a:lnTo>
                    <a:lnTo>
                      <a:pt x="5948" y="1"/>
                    </a:lnTo>
                    <a:close/>
                  </a:path>
                </a:pathLst>
              </a:custGeom>
              <a:solidFill>
                <a:srgbClr val="46464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2" name="Google Shape;922;p16"/>
              <p:cNvSpPr/>
              <p:nvPr/>
            </p:nvSpPr>
            <p:spPr>
              <a:xfrm>
                <a:off x="9430818" y="5911081"/>
                <a:ext cx="60667" cy="64196"/>
              </a:xfrm>
              <a:custGeom>
                <a:avLst/>
                <a:gdLst/>
                <a:ahLst/>
                <a:cxnLst/>
                <a:rect l="l" t="t" r="r" b="b"/>
                <a:pathLst>
                  <a:path w="4589" h="4856" extrusionOk="0">
                    <a:moveTo>
                      <a:pt x="3735" y="1"/>
                    </a:moveTo>
                    <a:lnTo>
                      <a:pt x="3521" y="321"/>
                    </a:lnTo>
                    <a:lnTo>
                      <a:pt x="3228" y="668"/>
                    </a:lnTo>
                    <a:lnTo>
                      <a:pt x="2828" y="1121"/>
                    </a:lnTo>
                    <a:lnTo>
                      <a:pt x="2294" y="1628"/>
                    </a:lnTo>
                    <a:lnTo>
                      <a:pt x="1974" y="1921"/>
                    </a:lnTo>
                    <a:lnTo>
                      <a:pt x="1654" y="2188"/>
                    </a:lnTo>
                    <a:lnTo>
                      <a:pt x="1281" y="2455"/>
                    </a:lnTo>
                    <a:lnTo>
                      <a:pt x="880" y="2748"/>
                    </a:lnTo>
                    <a:lnTo>
                      <a:pt x="454" y="3015"/>
                    </a:lnTo>
                    <a:lnTo>
                      <a:pt x="0" y="3255"/>
                    </a:lnTo>
                    <a:lnTo>
                      <a:pt x="1227" y="4856"/>
                    </a:lnTo>
                    <a:lnTo>
                      <a:pt x="1681" y="4642"/>
                    </a:lnTo>
                    <a:lnTo>
                      <a:pt x="2187" y="4375"/>
                    </a:lnTo>
                    <a:lnTo>
                      <a:pt x="2748" y="4029"/>
                    </a:lnTo>
                    <a:lnTo>
                      <a:pt x="3041" y="3815"/>
                    </a:lnTo>
                    <a:lnTo>
                      <a:pt x="3334" y="3575"/>
                    </a:lnTo>
                    <a:lnTo>
                      <a:pt x="3628" y="3309"/>
                    </a:lnTo>
                    <a:lnTo>
                      <a:pt x="3895" y="3015"/>
                    </a:lnTo>
                    <a:lnTo>
                      <a:pt x="4135" y="2722"/>
                    </a:lnTo>
                    <a:lnTo>
                      <a:pt x="4321" y="2375"/>
                    </a:lnTo>
                    <a:lnTo>
                      <a:pt x="4481" y="2028"/>
                    </a:lnTo>
                    <a:lnTo>
                      <a:pt x="4588" y="1655"/>
                    </a:lnTo>
                    <a:lnTo>
                      <a:pt x="3735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3" name="Google Shape;923;p16"/>
              <p:cNvSpPr/>
              <p:nvPr/>
            </p:nvSpPr>
            <p:spPr>
              <a:xfrm>
                <a:off x="9401547" y="5909322"/>
                <a:ext cx="31741" cy="63482"/>
              </a:xfrm>
              <a:custGeom>
                <a:avLst/>
                <a:gdLst/>
                <a:ahLst/>
                <a:cxnLst/>
                <a:rect l="l" t="t" r="r" b="b"/>
                <a:pathLst>
                  <a:path w="2401" h="4802" extrusionOk="0">
                    <a:moveTo>
                      <a:pt x="1281" y="1"/>
                    </a:moveTo>
                    <a:lnTo>
                      <a:pt x="0" y="1494"/>
                    </a:lnTo>
                    <a:lnTo>
                      <a:pt x="0" y="1868"/>
                    </a:lnTo>
                    <a:lnTo>
                      <a:pt x="54" y="2241"/>
                    </a:lnTo>
                    <a:lnTo>
                      <a:pt x="134" y="2561"/>
                    </a:lnTo>
                    <a:lnTo>
                      <a:pt x="214" y="2881"/>
                    </a:lnTo>
                    <a:lnTo>
                      <a:pt x="294" y="3175"/>
                    </a:lnTo>
                    <a:lnTo>
                      <a:pt x="400" y="3468"/>
                    </a:lnTo>
                    <a:lnTo>
                      <a:pt x="640" y="3922"/>
                    </a:lnTo>
                    <a:lnTo>
                      <a:pt x="854" y="4295"/>
                    </a:lnTo>
                    <a:lnTo>
                      <a:pt x="1067" y="4588"/>
                    </a:lnTo>
                    <a:lnTo>
                      <a:pt x="1254" y="4802"/>
                    </a:lnTo>
                    <a:lnTo>
                      <a:pt x="2401" y="3415"/>
                    </a:lnTo>
                    <a:lnTo>
                      <a:pt x="2161" y="3148"/>
                    </a:lnTo>
                    <a:lnTo>
                      <a:pt x="1948" y="2881"/>
                    </a:lnTo>
                    <a:lnTo>
                      <a:pt x="1787" y="2615"/>
                    </a:lnTo>
                    <a:lnTo>
                      <a:pt x="1627" y="2321"/>
                    </a:lnTo>
                    <a:lnTo>
                      <a:pt x="1521" y="2054"/>
                    </a:lnTo>
                    <a:lnTo>
                      <a:pt x="1441" y="1761"/>
                    </a:lnTo>
                    <a:lnTo>
                      <a:pt x="1361" y="1494"/>
                    </a:lnTo>
                    <a:lnTo>
                      <a:pt x="1307" y="1228"/>
                    </a:lnTo>
                    <a:lnTo>
                      <a:pt x="1281" y="721"/>
                    </a:lnTo>
                    <a:lnTo>
                      <a:pt x="1254" y="347"/>
                    </a:lnTo>
                    <a:lnTo>
                      <a:pt x="128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4" name="Google Shape;924;p16"/>
              <p:cNvSpPr/>
              <p:nvPr/>
            </p:nvSpPr>
            <p:spPr>
              <a:xfrm>
                <a:off x="9620540" y="6246116"/>
                <a:ext cx="13" cy="13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extrusionOk="0">
                    <a:moveTo>
                      <a:pt x="1" y="0"/>
                    </a:move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EF551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5" name="Google Shape;925;p16"/>
              <p:cNvSpPr/>
              <p:nvPr/>
            </p:nvSpPr>
            <p:spPr>
              <a:xfrm>
                <a:off x="9620540" y="6246116"/>
                <a:ext cx="13" cy="13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6" name="Google Shape;926;p16"/>
              <p:cNvSpPr/>
              <p:nvPr/>
            </p:nvSpPr>
            <p:spPr>
              <a:xfrm>
                <a:off x="9455859" y="6507074"/>
                <a:ext cx="226036" cy="285645"/>
              </a:xfrm>
              <a:custGeom>
                <a:avLst/>
                <a:gdLst/>
                <a:ahLst/>
                <a:cxnLst/>
                <a:rect l="l" t="t" r="r" b="b"/>
                <a:pathLst>
                  <a:path w="17098" h="21607" extrusionOk="0">
                    <a:moveTo>
                      <a:pt x="0" y="1"/>
                    </a:moveTo>
                    <a:lnTo>
                      <a:pt x="0" y="21607"/>
                    </a:lnTo>
                    <a:lnTo>
                      <a:pt x="17098" y="21607"/>
                    </a:lnTo>
                    <a:lnTo>
                      <a:pt x="17098" y="1"/>
                    </a:lnTo>
                    <a:close/>
                  </a:path>
                </a:pathLst>
              </a:custGeom>
              <a:solidFill>
                <a:srgbClr val="B67F4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7" name="Google Shape;927;p16"/>
              <p:cNvSpPr/>
              <p:nvPr/>
            </p:nvSpPr>
            <p:spPr>
              <a:xfrm>
                <a:off x="9527438" y="6449589"/>
                <a:ext cx="82889" cy="113560"/>
              </a:xfrm>
              <a:custGeom>
                <a:avLst/>
                <a:gdLst/>
                <a:ahLst/>
                <a:cxnLst/>
                <a:rect l="l" t="t" r="r" b="b"/>
                <a:pathLst>
                  <a:path w="6270" h="8590" extrusionOk="0">
                    <a:moveTo>
                      <a:pt x="3122" y="855"/>
                    </a:moveTo>
                    <a:lnTo>
                      <a:pt x="3308" y="881"/>
                    </a:lnTo>
                    <a:lnTo>
                      <a:pt x="3495" y="961"/>
                    </a:lnTo>
                    <a:lnTo>
                      <a:pt x="3709" y="1095"/>
                    </a:lnTo>
                    <a:lnTo>
                      <a:pt x="3895" y="1281"/>
                    </a:lnTo>
                    <a:lnTo>
                      <a:pt x="4082" y="1495"/>
                    </a:lnTo>
                    <a:lnTo>
                      <a:pt x="4269" y="1761"/>
                    </a:lnTo>
                    <a:lnTo>
                      <a:pt x="4455" y="2055"/>
                    </a:lnTo>
                    <a:lnTo>
                      <a:pt x="4642" y="2375"/>
                    </a:lnTo>
                    <a:lnTo>
                      <a:pt x="4802" y="2748"/>
                    </a:lnTo>
                    <a:lnTo>
                      <a:pt x="4936" y="3122"/>
                    </a:lnTo>
                    <a:lnTo>
                      <a:pt x="5069" y="3522"/>
                    </a:lnTo>
                    <a:lnTo>
                      <a:pt x="5202" y="3949"/>
                    </a:lnTo>
                    <a:lnTo>
                      <a:pt x="5282" y="4375"/>
                    </a:lnTo>
                    <a:lnTo>
                      <a:pt x="5362" y="4829"/>
                    </a:lnTo>
                    <a:lnTo>
                      <a:pt x="5389" y="5282"/>
                    </a:lnTo>
                    <a:lnTo>
                      <a:pt x="5416" y="5736"/>
                    </a:lnTo>
                    <a:lnTo>
                      <a:pt x="5389" y="6029"/>
                    </a:lnTo>
                    <a:lnTo>
                      <a:pt x="5362" y="6296"/>
                    </a:lnTo>
                    <a:lnTo>
                      <a:pt x="5336" y="6536"/>
                    </a:lnTo>
                    <a:lnTo>
                      <a:pt x="5256" y="6749"/>
                    </a:lnTo>
                    <a:lnTo>
                      <a:pt x="5176" y="6936"/>
                    </a:lnTo>
                    <a:lnTo>
                      <a:pt x="5096" y="7123"/>
                    </a:lnTo>
                    <a:lnTo>
                      <a:pt x="4962" y="7256"/>
                    </a:lnTo>
                    <a:lnTo>
                      <a:pt x="4829" y="7363"/>
                    </a:lnTo>
                    <a:lnTo>
                      <a:pt x="4695" y="7470"/>
                    </a:lnTo>
                    <a:lnTo>
                      <a:pt x="4509" y="7550"/>
                    </a:lnTo>
                    <a:lnTo>
                      <a:pt x="4322" y="7630"/>
                    </a:lnTo>
                    <a:lnTo>
                      <a:pt x="4135" y="7656"/>
                    </a:lnTo>
                    <a:lnTo>
                      <a:pt x="3655" y="7736"/>
                    </a:lnTo>
                    <a:lnTo>
                      <a:pt x="2615" y="7736"/>
                    </a:lnTo>
                    <a:lnTo>
                      <a:pt x="2135" y="7656"/>
                    </a:lnTo>
                    <a:lnTo>
                      <a:pt x="1948" y="7630"/>
                    </a:lnTo>
                    <a:lnTo>
                      <a:pt x="1761" y="7550"/>
                    </a:lnTo>
                    <a:lnTo>
                      <a:pt x="1575" y="7470"/>
                    </a:lnTo>
                    <a:lnTo>
                      <a:pt x="1441" y="7363"/>
                    </a:lnTo>
                    <a:lnTo>
                      <a:pt x="1308" y="7256"/>
                    </a:lnTo>
                    <a:lnTo>
                      <a:pt x="1175" y="7123"/>
                    </a:lnTo>
                    <a:lnTo>
                      <a:pt x="1095" y="6936"/>
                    </a:lnTo>
                    <a:lnTo>
                      <a:pt x="1014" y="6749"/>
                    </a:lnTo>
                    <a:lnTo>
                      <a:pt x="934" y="6536"/>
                    </a:lnTo>
                    <a:lnTo>
                      <a:pt x="881" y="6296"/>
                    </a:lnTo>
                    <a:lnTo>
                      <a:pt x="854" y="6029"/>
                    </a:lnTo>
                    <a:lnTo>
                      <a:pt x="854" y="5736"/>
                    </a:lnTo>
                    <a:lnTo>
                      <a:pt x="881" y="5282"/>
                    </a:lnTo>
                    <a:lnTo>
                      <a:pt x="908" y="4829"/>
                    </a:lnTo>
                    <a:lnTo>
                      <a:pt x="988" y="4375"/>
                    </a:lnTo>
                    <a:lnTo>
                      <a:pt x="1068" y="3949"/>
                    </a:lnTo>
                    <a:lnTo>
                      <a:pt x="1201" y="3522"/>
                    </a:lnTo>
                    <a:lnTo>
                      <a:pt x="1335" y="3122"/>
                    </a:lnTo>
                    <a:lnTo>
                      <a:pt x="1468" y="2748"/>
                    </a:lnTo>
                    <a:lnTo>
                      <a:pt x="1628" y="2375"/>
                    </a:lnTo>
                    <a:lnTo>
                      <a:pt x="1815" y="2055"/>
                    </a:lnTo>
                    <a:lnTo>
                      <a:pt x="2001" y="1761"/>
                    </a:lnTo>
                    <a:lnTo>
                      <a:pt x="2188" y="1495"/>
                    </a:lnTo>
                    <a:lnTo>
                      <a:pt x="2375" y="1281"/>
                    </a:lnTo>
                    <a:lnTo>
                      <a:pt x="2562" y="1095"/>
                    </a:lnTo>
                    <a:lnTo>
                      <a:pt x="2775" y="961"/>
                    </a:lnTo>
                    <a:lnTo>
                      <a:pt x="2962" y="881"/>
                    </a:lnTo>
                    <a:lnTo>
                      <a:pt x="3122" y="855"/>
                    </a:lnTo>
                    <a:close/>
                    <a:moveTo>
                      <a:pt x="3122" y="1"/>
                    </a:moveTo>
                    <a:lnTo>
                      <a:pt x="2962" y="28"/>
                    </a:lnTo>
                    <a:lnTo>
                      <a:pt x="2802" y="54"/>
                    </a:lnTo>
                    <a:lnTo>
                      <a:pt x="2642" y="108"/>
                    </a:lnTo>
                    <a:lnTo>
                      <a:pt x="2482" y="161"/>
                    </a:lnTo>
                    <a:lnTo>
                      <a:pt x="2161" y="348"/>
                    </a:lnTo>
                    <a:lnTo>
                      <a:pt x="1895" y="588"/>
                    </a:lnTo>
                    <a:lnTo>
                      <a:pt x="1601" y="881"/>
                    </a:lnTo>
                    <a:lnTo>
                      <a:pt x="1361" y="1201"/>
                    </a:lnTo>
                    <a:lnTo>
                      <a:pt x="1121" y="1601"/>
                    </a:lnTo>
                    <a:lnTo>
                      <a:pt x="881" y="2002"/>
                    </a:lnTo>
                    <a:lnTo>
                      <a:pt x="694" y="2455"/>
                    </a:lnTo>
                    <a:lnTo>
                      <a:pt x="534" y="2908"/>
                    </a:lnTo>
                    <a:lnTo>
                      <a:pt x="374" y="3389"/>
                    </a:lnTo>
                    <a:lnTo>
                      <a:pt x="241" y="3869"/>
                    </a:lnTo>
                    <a:lnTo>
                      <a:pt x="134" y="4349"/>
                    </a:lnTo>
                    <a:lnTo>
                      <a:pt x="81" y="4829"/>
                    </a:lnTo>
                    <a:lnTo>
                      <a:pt x="28" y="5282"/>
                    </a:lnTo>
                    <a:lnTo>
                      <a:pt x="1" y="5736"/>
                    </a:lnTo>
                    <a:lnTo>
                      <a:pt x="28" y="6189"/>
                    </a:lnTo>
                    <a:lnTo>
                      <a:pt x="81" y="6563"/>
                    </a:lnTo>
                    <a:lnTo>
                      <a:pt x="161" y="6936"/>
                    </a:lnTo>
                    <a:lnTo>
                      <a:pt x="294" y="7230"/>
                    </a:lnTo>
                    <a:lnTo>
                      <a:pt x="428" y="7496"/>
                    </a:lnTo>
                    <a:lnTo>
                      <a:pt x="588" y="7736"/>
                    </a:lnTo>
                    <a:lnTo>
                      <a:pt x="774" y="7950"/>
                    </a:lnTo>
                    <a:lnTo>
                      <a:pt x="988" y="8110"/>
                    </a:lnTo>
                    <a:lnTo>
                      <a:pt x="1228" y="8243"/>
                    </a:lnTo>
                    <a:lnTo>
                      <a:pt x="1468" y="8350"/>
                    </a:lnTo>
                    <a:lnTo>
                      <a:pt x="1735" y="8430"/>
                    </a:lnTo>
                    <a:lnTo>
                      <a:pt x="2001" y="8483"/>
                    </a:lnTo>
                    <a:lnTo>
                      <a:pt x="2268" y="8537"/>
                    </a:lnTo>
                    <a:lnTo>
                      <a:pt x="2562" y="8563"/>
                    </a:lnTo>
                    <a:lnTo>
                      <a:pt x="3122" y="8590"/>
                    </a:lnTo>
                    <a:lnTo>
                      <a:pt x="3709" y="8563"/>
                    </a:lnTo>
                    <a:lnTo>
                      <a:pt x="4002" y="8537"/>
                    </a:lnTo>
                    <a:lnTo>
                      <a:pt x="4269" y="8483"/>
                    </a:lnTo>
                    <a:lnTo>
                      <a:pt x="4535" y="8430"/>
                    </a:lnTo>
                    <a:lnTo>
                      <a:pt x="4802" y="8350"/>
                    </a:lnTo>
                    <a:lnTo>
                      <a:pt x="5042" y="8243"/>
                    </a:lnTo>
                    <a:lnTo>
                      <a:pt x="5282" y="8110"/>
                    </a:lnTo>
                    <a:lnTo>
                      <a:pt x="5496" y="7950"/>
                    </a:lnTo>
                    <a:lnTo>
                      <a:pt x="5682" y="7736"/>
                    </a:lnTo>
                    <a:lnTo>
                      <a:pt x="5842" y="7496"/>
                    </a:lnTo>
                    <a:lnTo>
                      <a:pt x="5976" y="7230"/>
                    </a:lnTo>
                    <a:lnTo>
                      <a:pt x="6109" y="6936"/>
                    </a:lnTo>
                    <a:lnTo>
                      <a:pt x="6189" y="6563"/>
                    </a:lnTo>
                    <a:lnTo>
                      <a:pt x="6243" y="6189"/>
                    </a:lnTo>
                    <a:lnTo>
                      <a:pt x="6269" y="5736"/>
                    </a:lnTo>
                    <a:lnTo>
                      <a:pt x="6243" y="5282"/>
                    </a:lnTo>
                    <a:lnTo>
                      <a:pt x="6189" y="4829"/>
                    </a:lnTo>
                    <a:lnTo>
                      <a:pt x="6136" y="4349"/>
                    </a:lnTo>
                    <a:lnTo>
                      <a:pt x="6029" y="3869"/>
                    </a:lnTo>
                    <a:lnTo>
                      <a:pt x="5896" y="3389"/>
                    </a:lnTo>
                    <a:lnTo>
                      <a:pt x="5736" y="2908"/>
                    </a:lnTo>
                    <a:lnTo>
                      <a:pt x="5576" y="2455"/>
                    </a:lnTo>
                    <a:lnTo>
                      <a:pt x="5389" y="2002"/>
                    </a:lnTo>
                    <a:lnTo>
                      <a:pt x="5149" y="1601"/>
                    </a:lnTo>
                    <a:lnTo>
                      <a:pt x="4909" y="1201"/>
                    </a:lnTo>
                    <a:lnTo>
                      <a:pt x="4669" y="881"/>
                    </a:lnTo>
                    <a:lnTo>
                      <a:pt x="4375" y="588"/>
                    </a:lnTo>
                    <a:lnTo>
                      <a:pt x="4109" y="348"/>
                    </a:lnTo>
                    <a:lnTo>
                      <a:pt x="3789" y="161"/>
                    </a:lnTo>
                    <a:lnTo>
                      <a:pt x="3629" y="108"/>
                    </a:lnTo>
                    <a:lnTo>
                      <a:pt x="3468" y="54"/>
                    </a:lnTo>
                    <a:lnTo>
                      <a:pt x="3308" y="28"/>
                    </a:lnTo>
                    <a:lnTo>
                      <a:pt x="3122" y="1"/>
                    </a:lnTo>
                    <a:close/>
                  </a:path>
                </a:pathLst>
              </a:custGeom>
              <a:solidFill>
                <a:srgbClr val="B67F4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8" name="Google Shape;928;p16"/>
              <p:cNvSpPr/>
              <p:nvPr/>
            </p:nvSpPr>
            <p:spPr>
              <a:xfrm>
                <a:off x="9532382" y="6406924"/>
                <a:ext cx="76531" cy="85705"/>
              </a:xfrm>
              <a:custGeom>
                <a:avLst/>
                <a:gdLst/>
                <a:ahLst/>
                <a:cxnLst/>
                <a:rect l="l" t="t" r="r" b="b"/>
                <a:pathLst>
                  <a:path w="5789" h="6483" extrusionOk="0">
                    <a:moveTo>
                      <a:pt x="3815" y="0"/>
                    </a:moveTo>
                    <a:lnTo>
                      <a:pt x="3601" y="27"/>
                    </a:lnTo>
                    <a:lnTo>
                      <a:pt x="3361" y="54"/>
                    </a:lnTo>
                    <a:lnTo>
                      <a:pt x="3121" y="160"/>
                    </a:lnTo>
                    <a:lnTo>
                      <a:pt x="2828" y="267"/>
                    </a:lnTo>
                    <a:lnTo>
                      <a:pt x="2534" y="427"/>
                    </a:lnTo>
                    <a:lnTo>
                      <a:pt x="2321" y="587"/>
                    </a:lnTo>
                    <a:lnTo>
                      <a:pt x="2108" y="801"/>
                    </a:lnTo>
                    <a:lnTo>
                      <a:pt x="1921" y="1014"/>
                    </a:lnTo>
                    <a:lnTo>
                      <a:pt x="1734" y="1254"/>
                    </a:lnTo>
                    <a:lnTo>
                      <a:pt x="1574" y="1494"/>
                    </a:lnTo>
                    <a:lnTo>
                      <a:pt x="1441" y="1761"/>
                    </a:lnTo>
                    <a:lnTo>
                      <a:pt x="1174" y="2348"/>
                    </a:lnTo>
                    <a:lnTo>
                      <a:pt x="907" y="2961"/>
                    </a:lnTo>
                    <a:lnTo>
                      <a:pt x="640" y="3575"/>
                    </a:lnTo>
                    <a:lnTo>
                      <a:pt x="347" y="4188"/>
                    </a:lnTo>
                    <a:lnTo>
                      <a:pt x="187" y="4455"/>
                    </a:lnTo>
                    <a:lnTo>
                      <a:pt x="0" y="4748"/>
                    </a:lnTo>
                    <a:lnTo>
                      <a:pt x="0" y="4802"/>
                    </a:lnTo>
                    <a:lnTo>
                      <a:pt x="0" y="4855"/>
                    </a:lnTo>
                    <a:lnTo>
                      <a:pt x="27" y="4935"/>
                    </a:lnTo>
                    <a:lnTo>
                      <a:pt x="80" y="5015"/>
                    </a:lnTo>
                    <a:lnTo>
                      <a:pt x="160" y="5068"/>
                    </a:lnTo>
                    <a:lnTo>
                      <a:pt x="294" y="5122"/>
                    </a:lnTo>
                    <a:lnTo>
                      <a:pt x="454" y="5148"/>
                    </a:lnTo>
                    <a:lnTo>
                      <a:pt x="587" y="5148"/>
                    </a:lnTo>
                    <a:lnTo>
                      <a:pt x="694" y="5095"/>
                    </a:lnTo>
                    <a:lnTo>
                      <a:pt x="774" y="5042"/>
                    </a:lnTo>
                    <a:lnTo>
                      <a:pt x="881" y="4962"/>
                    </a:lnTo>
                    <a:lnTo>
                      <a:pt x="1041" y="4748"/>
                    </a:lnTo>
                    <a:lnTo>
                      <a:pt x="1201" y="4508"/>
                    </a:lnTo>
                    <a:lnTo>
                      <a:pt x="1361" y="4268"/>
                    </a:lnTo>
                    <a:lnTo>
                      <a:pt x="1521" y="4055"/>
                    </a:lnTo>
                    <a:lnTo>
                      <a:pt x="1627" y="3975"/>
                    </a:lnTo>
                    <a:lnTo>
                      <a:pt x="1707" y="3895"/>
                    </a:lnTo>
                    <a:lnTo>
                      <a:pt x="1814" y="3868"/>
                    </a:lnTo>
                    <a:lnTo>
                      <a:pt x="1947" y="3841"/>
                    </a:lnTo>
                    <a:lnTo>
                      <a:pt x="2028" y="3868"/>
                    </a:lnTo>
                    <a:lnTo>
                      <a:pt x="2081" y="3921"/>
                    </a:lnTo>
                    <a:lnTo>
                      <a:pt x="2108" y="4002"/>
                    </a:lnTo>
                    <a:lnTo>
                      <a:pt x="2108" y="4108"/>
                    </a:lnTo>
                    <a:lnTo>
                      <a:pt x="2001" y="4375"/>
                    </a:lnTo>
                    <a:lnTo>
                      <a:pt x="1841" y="4668"/>
                    </a:lnTo>
                    <a:lnTo>
                      <a:pt x="1654" y="4962"/>
                    </a:lnTo>
                    <a:lnTo>
                      <a:pt x="1467" y="5229"/>
                    </a:lnTo>
                    <a:lnTo>
                      <a:pt x="1281" y="5495"/>
                    </a:lnTo>
                    <a:lnTo>
                      <a:pt x="1307" y="5575"/>
                    </a:lnTo>
                    <a:lnTo>
                      <a:pt x="1441" y="5762"/>
                    </a:lnTo>
                    <a:lnTo>
                      <a:pt x="1521" y="5869"/>
                    </a:lnTo>
                    <a:lnTo>
                      <a:pt x="1627" y="5975"/>
                    </a:lnTo>
                    <a:lnTo>
                      <a:pt x="1787" y="6082"/>
                    </a:lnTo>
                    <a:lnTo>
                      <a:pt x="1947" y="6162"/>
                    </a:lnTo>
                    <a:lnTo>
                      <a:pt x="2668" y="6349"/>
                    </a:lnTo>
                    <a:lnTo>
                      <a:pt x="3228" y="6429"/>
                    </a:lnTo>
                    <a:lnTo>
                      <a:pt x="3655" y="6482"/>
                    </a:lnTo>
                    <a:lnTo>
                      <a:pt x="3975" y="6456"/>
                    </a:lnTo>
                    <a:lnTo>
                      <a:pt x="4188" y="6402"/>
                    </a:lnTo>
                    <a:lnTo>
                      <a:pt x="4348" y="6349"/>
                    </a:lnTo>
                    <a:lnTo>
                      <a:pt x="4428" y="6295"/>
                    </a:lnTo>
                    <a:lnTo>
                      <a:pt x="4935" y="5869"/>
                    </a:lnTo>
                    <a:lnTo>
                      <a:pt x="5175" y="5655"/>
                    </a:lnTo>
                    <a:lnTo>
                      <a:pt x="5362" y="5442"/>
                    </a:lnTo>
                    <a:lnTo>
                      <a:pt x="5522" y="5229"/>
                    </a:lnTo>
                    <a:lnTo>
                      <a:pt x="5655" y="5015"/>
                    </a:lnTo>
                    <a:lnTo>
                      <a:pt x="5735" y="4775"/>
                    </a:lnTo>
                    <a:lnTo>
                      <a:pt x="5789" y="4508"/>
                    </a:lnTo>
                    <a:lnTo>
                      <a:pt x="5789" y="4082"/>
                    </a:lnTo>
                    <a:lnTo>
                      <a:pt x="5762" y="3628"/>
                    </a:lnTo>
                    <a:lnTo>
                      <a:pt x="5735" y="3148"/>
                    </a:lnTo>
                    <a:lnTo>
                      <a:pt x="5682" y="2668"/>
                    </a:lnTo>
                    <a:lnTo>
                      <a:pt x="5602" y="2214"/>
                    </a:lnTo>
                    <a:lnTo>
                      <a:pt x="5495" y="1788"/>
                    </a:lnTo>
                    <a:lnTo>
                      <a:pt x="5388" y="1387"/>
                    </a:lnTo>
                    <a:lnTo>
                      <a:pt x="5255" y="1067"/>
                    </a:lnTo>
                    <a:lnTo>
                      <a:pt x="5095" y="801"/>
                    </a:lnTo>
                    <a:lnTo>
                      <a:pt x="4908" y="534"/>
                    </a:lnTo>
                    <a:lnTo>
                      <a:pt x="4802" y="427"/>
                    </a:lnTo>
                    <a:lnTo>
                      <a:pt x="4668" y="294"/>
                    </a:lnTo>
                    <a:lnTo>
                      <a:pt x="4535" y="214"/>
                    </a:lnTo>
                    <a:lnTo>
                      <a:pt x="4375" y="134"/>
                    </a:lnTo>
                    <a:lnTo>
                      <a:pt x="4215" y="54"/>
                    </a:lnTo>
                    <a:lnTo>
                      <a:pt x="4028" y="27"/>
                    </a:lnTo>
                    <a:lnTo>
                      <a:pt x="3815" y="0"/>
                    </a:lnTo>
                    <a:close/>
                  </a:path>
                </a:pathLst>
              </a:custGeom>
              <a:solidFill>
                <a:srgbClr val="A16E4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9" name="Google Shape;929;p16"/>
              <p:cNvSpPr/>
              <p:nvPr/>
            </p:nvSpPr>
            <p:spPr>
              <a:xfrm>
                <a:off x="8915939" y="6000667"/>
                <a:ext cx="135069" cy="70886"/>
              </a:xfrm>
              <a:custGeom>
                <a:avLst/>
                <a:gdLst/>
                <a:ahLst/>
                <a:cxnLst/>
                <a:rect l="l" t="t" r="r" b="b"/>
                <a:pathLst>
                  <a:path w="10217" h="5362" extrusionOk="0">
                    <a:moveTo>
                      <a:pt x="2641" y="0"/>
                    </a:moveTo>
                    <a:lnTo>
                      <a:pt x="2614" y="133"/>
                    </a:lnTo>
                    <a:lnTo>
                      <a:pt x="2614" y="240"/>
                    </a:lnTo>
                    <a:lnTo>
                      <a:pt x="2614" y="374"/>
                    </a:lnTo>
                    <a:lnTo>
                      <a:pt x="2668" y="507"/>
                    </a:lnTo>
                    <a:lnTo>
                      <a:pt x="2775" y="640"/>
                    </a:lnTo>
                    <a:lnTo>
                      <a:pt x="2935" y="774"/>
                    </a:lnTo>
                    <a:lnTo>
                      <a:pt x="3148" y="880"/>
                    </a:lnTo>
                    <a:lnTo>
                      <a:pt x="3441" y="987"/>
                    </a:lnTo>
                    <a:lnTo>
                      <a:pt x="3708" y="1067"/>
                    </a:lnTo>
                    <a:lnTo>
                      <a:pt x="4242" y="1174"/>
                    </a:lnTo>
                    <a:lnTo>
                      <a:pt x="4668" y="1254"/>
                    </a:lnTo>
                    <a:lnTo>
                      <a:pt x="4855" y="1307"/>
                    </a:lnTo>
                    <a:lnTo>
                      <a:pt x="4988" y="1360"/>
                    </a:lnTo>
                    <a:lnTo>
                      <a:pt x="5042" y="1441"/>
                    </a:lnTo>
                    <a:lnTo>
                      <a:pt x="5095" y="1494"/>
                    </a:lnTo>
                    <a:lnTo>
                      <a:pt x="5122" y="1547"/>
                    </a:lnTo>
                    <a:lnTo>
                      <a:pt x="5122" y="1627"/>
                    </a:lnTo>
                    <a:lnTo>
                      <a:pt x="5095" y="1707"/>
                    </a:lnTo>
                    <a:lnTo>
                      <a:pt x="5042" y="1814"/>
                    </a:lnTo>
                    <a:lnTo>
                      <a:pt x="4962" y="1894"/>
                    </a:lnTo>
                    <a:lnTo>
                      <a:pt x="4802" y="2001"/>
                    </a:lnTo>
                    <a:lnTo>
                      <a:pt x="4588" y="2107"/>
                    </a:lnTo>
                    <a:lnTo>
                      <a:pt x="4348" y="2187"/>
                    </a:lnTo>
                    <a:lnTo>
                      <a:pt x="4108" y="2267"/>
                    </a:lnTo>
                    <a:lnTo>
                      <a:pt x="3628" y="2401"/>
                    </a:lnTo>
                    <a:lnTo>
                      <a:pt x="3281" y="2427"/>
                    </a:lnTo>
                    <a:lnTo>
                      <a:pt x="2775" y="2347"/>
                    </a:lnTo>
                    <a:lnTo>
                      <a:pt x="1974" y="2214"/>
                    </a:lnTo>
                    <a:lnTo>
                      <a:pt x="614" y="1974"/>
                    </a:lnTo>
                    <a:lnTo>
                      <a:pt x="427" y="1947"/>
                    </a:lnTo>
                    <a:lnTo>
                      <a:pt x="267" y="2001"/>
                    </a:lnTo>
                    <a:lnTo>
                      <a:pt x="160" y="2081"/>
                    </a:lnTo>
                    <a:lnTo>
                      <a:pt x="80" y="2187"/>
                    </a:lnTo>
                    <a:lnTo>
                      <a:pt x="27" y="2294"/>
                    </a:lnTo>
                    <a:lnTo>
                      <a:pt x="0" y="2427"/>
                    </a:lnTo>
                    <a:lnTo>
                      <a:pt x="27" y="2534"/>
                    </a:lnTo>
                    <a:lnTo>
                      <a:pt x="54" y="2587"/>
                    </a:lnTo>
                    <a:lnTo>
                      <a:pt x="1227" y="3014"/>
                    </a:lnTo>
                    <a:lnTo>
                      <a:pt x="1307" y="3174"/>
                    </a:lnTo>
                    <a:lnTo>
                      <a:pt x="1387" y="3281"/>
                    </a:lnTo>
                    <a:lnTo>
                      <a:pt x="1467" y="3361"/>
                    </a:lnTo>
                    <a:lnTo>
                      <a:pt x="1601" y="3441"/>
                    </a:lnTo>
                    <a:lnTo>
                      <a:pt x="1814" y="3548"/>
                    </a:lnTo>
                    <a:lnTo>
                      <a:pt x="2054" y="3681"/>
                    </a:lnTo>
                    <a:lnTo>
                      <a:pt x="2081" y="3761"/>
                    </a:lnTo>
                    <a:lnTo>
                      <a:pt x="2188" y="3948"/>
                    </a:lnTo>
                    <a:lnTo>
                      <a:pt x="2268" y="4055"/>
                    </a:lnTo>
                    <a:lnTo>
                      <a:pt x="2348" y="4161"/>
                    </a:lnTo>
                    <a:lnTo>
                      <a:pt x="2481" y="4241"/>
                    </a:lnTo>
                    <a:lnTo>
                      <a:pt x="2614" y="4321"/>
                    </a:lnTo>
                    <a:lnTo>
                      <a:pt x="2641" y="4401"/>
                    </a:lnTo>
                    <a:lnTo>
                      <a:pt x="2668" y="4508"/>
                    </a:lnTo>
                    <a:lnTo>
                      <a:pt x="2748" y="4615"/>
                    </a:lnTo>
                    <a:lnTo>
                      <a:pt x="2855" y="4748"/>
                    </a:lnTo>
                    <a:lnTo>
                      <a:pt x="2988" y="4881"/>
                    </a:lnTo>
                    <a:lnTo>
                      <a:pt x="3201" y="4988"/>
                    </a:lnTo>
                    <a:lnTo>
                      <a:pt x="3468" y="5068"/>
                    </a:lnTo>
                    <a:lnTo>
                      <a:pt x="3948" y="5148"/>
                    </a:lnTo>
                    <a:lnTo>
                      <a:pt x="4695" y="5255"/>
                    </a:lnTo>
                    <a:lnTo>
                      <a:pt x="5522" y="5335"/>
                    </a:lnTo>
                    <a:lnTo>
                      <a:pt x="5922" y="5362"/>
                    </a:lnTo>
                    <a:lnTo>
                      <a:pt x="6242" y="5362"/>
                    </a:lnTo>
                    <a:lnTo>
                      <a:pt x="6882" y="5255"/>
                    </a:lnTo>
                    <a:lnTo>
                      <a:pt x="7869" y="5068"/>
                    </a:lnTo>
                    <a:lnTo>
                      <a:pt x="9203" y="4801"/>
                    </a:lnTo>
                    <a:lnTo>
                      <a:pt x="9256" y="4801"/>
                    </a:lnTo>
                    <a:lnTo>
                      <a:pt x="9390" y="4721"/>
                    </a:lnTo>
                    <a:lnTo>
                      <a:pt x="9603" y="4588"/>
                    </a:lnTo>
                    <a:lnTo>
                      <a:pt x="9710" y="4508"/>
                    </a:lnTo>
                    <a:lnTo>
                      <a:pt x="9816" y="4401"/>
                    </a:lnTo>
                    <a:lnTo>
                      <a:pt x="9896" y="4268"/>
                    </a:lnTo>
                    <a:lnTo>
                      <a:pt x="10003" y="4108"/>
                    </a:lnTo>
                    <a:lnTo>
                      <a:pt x="10083" y="3921"/>
                    </a:lnTo>
                    <a:lnTo>
                      <a:pt x="10163" y="3708"/>
                    </a:lnTo>
                    <a:lnTo>
                      <a:pt x="10190" y="3468"/>
                    </a:lnTo>
                    <a:lnTo>
                      <a:pt x="10217" y="3201"/>
                    </a:lnTo>
                    <a:lnTo>
                      <a:pt x="10217" y="2881"/>
                    </a:lnTo>
                    <a:lnTo>
                      <a:pt x="10163" y="2561"/>
                    </a:lnTo>
                    <a:lnTo>
                      <a:pt x="10136" y="2401"/>
                    </a:lnTo>
                    <a:lnTo>
                      <a:pt x="10083" y="2267"/>
                    </a:lnTo>
                    <a:lnTo>
                      <a:pt x="9923" y="2001"/>
                    </a:lnTo>
                    <a:lnTo>
                      <a:pt x="9736" y="1761"/>
                    </a:lnTo>
                    <a:lnTo>
                      <a:pt x="9496" y="1547"/>
                    </a:lnTo>
                    <a:lnTo>
                      <a:pt x="9203" y="1387"/>
                    </a:lnTo>
                    <a:lnTo>
                      <a:pt x="8909" y="1227"/>
                    </a:lnTo>
                    <a:lnTo>
                      <a:pt x="8589" y="1094"/>
                    </a:lnTo>
                    <a:lnTo>
                      <a:pt x="8269" y="960"/>
                    </a:lnTo>
                    <a:lnTo>
                      <a:pt x="7629" y="800"/>
                    </a:lnTo>
                    <a:lnTo>
                      <a:pt x="7069" y="667"/>
                    </a:lnTo>
                    <a:lnTo>
                      <a:pt x="6669" y="614"/>
                    </a:lnTo>
                    <a:lnTo>
                      <a:pt x="6455" y="587"/>
                    </a:lnTo>
                    <a:lnTo>
                      <a:pt x="4455" y="267"/>
                    </a:lnTo>
                    <a:lnTo>
                      <a:pt x="3201" y="80"/>
                    </a:lnTo>
                    <a:lnTo>
                      <a:pt x="2775" y="0"/>
                    </a:lnTo>
                    <a:close/>
                  </a:path>
                </a:pathLst>
              </a:custGeom>
              <a:solidFill>
                <a:srgbClr val="A16E4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30" name="Google Shape;930;p16"/>
              <p:cNvSpPr/>
              <p:nvPr/>
            </p:nvSpPr>
            <p:spPr>
              <a:xfrm>
                <a:off x="9490763" y="5965049"/>
                <a:ext cx="133667" cy="461246"/>
              </a:xfrm>
              <a:custGeom>
                <a:avLst/>
                <a:gdLst/>
                <a:ahLst/>
                <a:cxnLst/>
                <a:rect l="l" t="t" r="r" b="b"/>
                <a:pathLst>
                  <a:path w="10111" h="34890" extrusionOk="0">
                    <a:moveTo>
                      <a:pt x="3815" y="0"/>
                    </a:moveTo>
                    <a:lnTo>
                      <a:pt x="3442" y="27"/>
                    </a:lnTo>
                    <a:lnTo>
                      <a:pt x="3068" y="80"/>
                    </a:lnTo>
                    <a:lnTo>
                      <a:pt x="2642" y="187"/>
                    </a:lnTo>
                    <a:lnTo>
                      <a:pt x="2268" y="320"/>
                    </a:lnTo>
                    <a:lnTo>
                      <a:pt x="1921" y="454"/>
                    </a:lnTo>
                    <a:lnTo>
                      <a:pt x="1628" y="587"/>
                    </a:lnTo>
                    <a:lnTo>
                      <a:pt x="1361" y="774"/>
                    </a:lnTo>
                    <a:lnTo>
                      <a:pt x="1094" y="960"/>
                    </a:lnTo>
                    <a:lnTo>
                      <a:pt x="881" y="1147"/>
                    </a:lnTo>
                    <a:lnTo>
                      <a:pt x="694" y="1360"/>
                    </a:lnTo>
                    <a:lnTo>
                      <a:pt x="534" y="1600"/>
                    </a:lnTo>
                    <a:lnTo>
                      <a:pt x="374" y="1814"/>
                    </a:lnTo>
                    <a:lnTo>
                      <a:pt x="268" y="2081"/>
                    </a:lnTo>
                    <a:lnTo>
                      <a:pt x="161" y="2321"/>
                    </a:lnTo>
                    <a:lnTo>
                      <a:pt x="81" y="2587"/>
                    </a:lnTo>
                    <a:lnTo>
                      <a:pt x="27" y="2854"/>
                    </a:lnTo>
                    <a:lnTo>
                      <a:pt x="1" y="3148"/>
                    </a:lnTo>
                    <a:lnTo>
                      <a:pt x="1" y="3441"/>
                    </a:lnTo>
                    <a:lnTo>
                      <a:pt x="1" y="3708"/>
                    </a:lnTo>
                    <a:lnTo>
                      <a:pt x="27" y="4321"/>
                    </a:lnTo>
                    <a:lnTo>
                      <a:pt x="134" y="4908"/>
                    </a:lnTo>
                    <a:lnTo>
                      <a:pt x="268" y="5522"/>
                    </a:lnTo>
                    <a:lnTo>
                      <a:pt x="454" y="6108"/>
                    </a:lnTo>
                    <a:lnTo>
                      <a:pt x="668" y="6695"/>
                    </a:lnTo>
                    <a:lnTo>
                      <a:pt x="908" y="7282"/>
                    </a:lnTo>
                    <a:lnTo>
                      <a:pt x="1361" y="8322"/>
                    </a:lnTo>
                    <a:lnTo>
                      <a:pt x="1815" y="9256"/>
                    </a:lnTo>
                    <a:lnTo>
                      <a:pt x="2215" y="10083"/>
                    </a:lnTo>
                    <a:lnTo>
                      <a:pt x="2561" y="10963"/>
                    </a:lnTo>
                    <a:lnTo>
                      <a:pt x="2722" y="11443"/>
                    </a:lnTo>
                    <a:lnTo>
                      <a:pt x="2882" y="11950"/>
                    </a:lnTo>
                    <a:lnTo>
                      <a:pt x="3042" y="12537"/>
                    </a:lnTo>
                    <a:lnTo>
                      <a:pt x="3228" y="13204"/>
                    </a:lnTo>
                    <a:lnTo>
                      <a:pt x="3602" y="14777"/>
                    </a:lnTo>
                    <a:lnTo>
                      <a:pt x="4002" y="16831"/>
                    </a:lnTo>
                    <a:lnTo>
                      <a:pt x="4482" y="19445"/>
                    </a:lnTo>
                    <a:lnTo>
                      <a:pt x="4802" y="24487"/>
                    </a:lnTo>
                    <a:lnTo>
                      <a:pt x="5095" y="29235"/>
                    </a:lnTo>
                    <a:lnTo>
                      <a:pt x="5469" y="34036"/>
                    </a:lnTo>
                    <a:lnTo>
                      <a:pt x="5496" y="34196"/>
                    </a:lnTo>
                    <a:lnTo>
                      <a:pt x="5602" y="34356"/>
                    </a:lnTo>
                    <a:lnTo>
                      <a:pt x="5736" y="34463"/>
                    </a:lnTo>
                    <a:lnTo>
                      <a:pt x="5922" y="34596"/>
                    </a:lnTo>
                    <a:lnTo>
                      <a:pt x="6162" y="34703"/>
                    </a:lnTo>
                    <a:lnTo>
                      <a:pt x="6403" y="34756"/>
                    </a:lnTo>
                    <a:lnTo>
                      <a:pt x="6669" y="34836"/>
                    </a:lnTo>
                    <a:lnTo>
                      <a:pt x="6936" y="34863"/>
                    </a:lnTo>
                    <a:lnTo>
                      <a:pt x="7203" y="34889"/>
                    </a:lnTo>
                    <a:lnTo>
                      <a:pt x="7469" y="34863"/>
                    </a:lnTo>
                    <a:lnTo>
                      <a:pt x="7710" y="34836"/>
                    </a:lnTo>
                    <a:lnTo>
                      <a:pt x="7950" y="34783"/>
                    </a:lnTo>
                    <a:lnTo>
                      <a:pt x="8136" y="34703"/>
                    </a:lnTo>
                    <a:lnTo>
                      <a:pt x="8296" y="34569"/>
                    </a:lnTo>
                    <a:lnTo>
                      <a:pt x="8430" y="34436"/>
                    </a:lnTo>
                    <a:lnTo>
                      <a:pt x="8456" y="34356"/>
                    </a:lnTo>
                    <a:lnTo>
                      <a:pt x="8483" y="34249"/>
                    </a:lnTo>
                    <a:lnTo>
                      <a:pt x="8830" y="32435"/>
                    </a:lnTo>
                    <a:lnTo>
                      <a:pt x="9123" y="30728"/>
                    </a:lnTo>
                    <a:lnTo>
                      <a:pt x="9417" y="28648"/>
                    </a:lnTo>
                    <a:lnTo>
                      <a:pt x="9737" y="26354"/>
                    </a:lnTo>
                    <a:lnTo>
                      <a:pt x="9870" y="25154"/>
                    </a:lnTo>
                    <a:lnTo>
                      <a:pt x="9977" y="23980"/>
                    </a:lnTo>
                    <a:lnTo>
                      <a:pt x="10057" y="22806"/>
                    </a:lnTo>
                    <a:lnTo>
                      <a:pt x="10110" y="21633"/>
                    </a:lnTo>
                    <a:lnTo>
                      <a:pt x="10110" y="20539"/>
                    </a:lnTo>
                    <a:lnTo>
                      <a:pt x="10084" y="19499"/>
                    </a:lnTo>
                    <a:lnTo>
                      <a:pt x="9923" y="17045"/>
                    </a:lnTo>
                    <a:lnTo>
                      <a:pt x="9763" y="14991"/>
                    </a:lnTo>
                    <a:lnTo>
                      <a:pt x="9577" y="13310"/>
                    </a:lnTo>
                    <a:lnTo>
                      <a:pt x="9363" y="11897"/>
                    </a:lnTo>
                    <a:lnTo>
                      <a:pt x="9150" y="10670"/>
                    </a:lnTo>
                    <a:lnTo>
                      <a:pt x="8910" y="9549"/>
                    </a:lnTo>
                    <a:lnTo>
                      <a:pt x="8403" y="7229"/>
                    </a:lnTo>
                    <a:lnTo>
                      <a:pt x="8190" y="6055"/>
                    </a:lnTo>
                    <a:lnTo>
                      <a:pt x="8056" y="5415"/>
                    </a:lnTo>
                    <a:lnTo>
                      <a:pt x="7896" y="4748"/>
                    </a:lnTo>
                    <a:lnTo>
                      <a:pt x="7710" y="4081"/>
                    </a:lnTo>
                    <a:lnTo>
                      <a:pt x="7523" y="3414"/>
                    </a:lnTo>
                    <a:lnTo>
                      <a:pt x="7283" y="2774"/>
                    </a:lnTo>
                    <a:lnTo>
                      <a:pt x="6989" y="2161"/>
                    </a:lnTo>
                    <a:lnTo>
                      <a:pt x="6829" y="1867"/>
                    </a:lnTo>
                    <a:lnTo>
                      <a:pt x="6669" y="1600"/>
                    </a:lnTo>
                    <a:lnTo>
                      <a:pt x="6483" y="1334"/>
                    </a:lnTo>
                    <a:lnTo>
                      <a:pt x="6296" y="1094"/>
                    </a:lnTo>
                    <a:lnTo>
                      <a:pt x="6082" y="880"/>
                    </a:lnTo>
                    <a:lnTo>
                      <a:pt x="5869" y="667"/>
                    </a:lnTo>
                    <a:lnTo>
                      <a:pt x="5629" y="507"/>
                    </a:lnTo>
                    <a:lnTo>
                      <a:pt x="5362" y="347"/>
                    </a:lnTo>
                    <a:lnTo>
                      <a:pt x="5095" y="213"/>
                    </a:lnTo>
                    <a:lnTo>
                      <a:pt x="4802" y="107"/>
                    </a:lnTo>
                    <a:lnTo>
                      <a:pt x="4482" y="53"/>
                    </a:lnTo>
                    <a:lnTo>
                      <a:pt x="4162" y="0"/>
                    </a:lnTo>
                    <a:close/>
                  </a:path>
                </a:pathLst>
              </a:cu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931" name="Google Shape;931;p16"/>
          <p:cNvGrpSpPr/>
          <p:nvPr/>
        </p:nvGrpSpPr>
        <p:grpSpPr>
          <a:xfrm>
            <a:off x="4805932" y="4105118"/>
            <a:ext cx="360243" cy="829935"/>
            <a:chOff x="5420675" y="3758075"/>
            <a:chExt cx="815275" cy="1580225"/>
          </a:xfrm>
        </p:grpSpPr>
        <p:sp>
          <p:nvSpPr>
            <p:cNvPr id="932" name="Google Shape;932;p16"/>
            <p:cNvSpPr/>
            <p:nvPr/>
          </p:nvSpPr>
          <p:spPr>
            <a:xfrm>
              <a:off x="5806225" y="4821700"/>
              <a:ext cx="53350" cy="516600"/>
            </a:xfrm>
            <a:custGeom>
              <a:avLst/>
              <a:gdLst/>
              <a:ahLst/>
              <a:cxnLst/>
              <a:rect l="l" t="t" r="r" b="b"/>
              <a:pathLst>
                <a:path w="2134" h="20664" extrusionOk="0">
                  <a:moveTo>
                    <a:pt x="1036" y="1"/>
                  </a:moveTo>
                  <a:lnTo>
                    <a:pt x="853" y="122"/>
                  </a:lnTo>
                  <a:lnTo>
                    <a:pt x="732" y="244"/>
                  </a:lnTo>
                  <a:lnTo>
                    <a:pt x="732" y="427"/>
                  </a:lnTo>
                  <a:lnTo>
                    <a:pt x="671" y="2073"/>
                  </a:lnTo>
                  <a:lnTo>
                    <a:pt x="549" y="4389"/>
                  </a:lnTo>
                  <a:lnTo>
                    <a:pt x="305" y="10119"/>
                  </a:lnTo>
                  <a:lnTo>
                    <a:pt x="61" y="15848"/>
                  </a:lnTo>
                  <a:lnTo>
                    <a:pt x="0" y="18165"/>
                  </a:lnTo>
                  <a:lnTo>
                    <a:pt x="0" y="19810"/>
                  </a:lnTo>
                  <a:lnTo>
                    <a:pt x="0" y="20054"/>
                  </a:lnTo>
                  <a:lnTo>
                    <a:pt x="122" y="20237"/>
                  </a:lnTo>
                  <a:lnTo>
                    <a:pt x="183" y="20359"/>
                  </a:lnTo>
                  <a:lnTo>
                    <a:pt x="366" y="20481"/>
                  </a:lnTo>
                  <a:lnTo>
                    <a:pt x="671" y="20664"/>
                  </a:lnTo>
                  <a:lnTo>
                    <a:pt x="1463" y="20664"/>
                  </a:lnTo>
                  <a:lnTo>
                    <a:pt x="1829" y="20481"/>
                  </a:lnTo>
                  <a:lnTo>
                    <a:pt x="2073" y="20298"/>
                  </a:lnTo>
                  <a:lnTo>
                    <a:pt x="2133" y="20176"/>
                  </a:lnTo>
                  <a:lnTo>
                    <a:pt x="2133" y="20054"/>
                  </a:lnTo>
                  <a:lnTo>
                    <a:pt x="1890" y="10241"/>
                  </a:lnTo>
                  <a:lnTo>
                    <a:pt x="1768" y="4450"/>
                  </a:lnTo>
                  <a:lnTo>
                    <a:pt x="1707" y="427"/>
                  </a:lnTo>
                  <a:lnTo>
                    <a:pt x="1707" y="244"/>
                  </a:lnTo>
                  <a:lnTo>
                    <a:pt x="1585" y="122"/>
                  </a:lnTo>
                  <a:lnTo>
                    <a:pt x="1402" y="1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33" name="Google Shape;933;p16"/>
            <p:cNvSpPr/>
            <p:nvPr/>
          </p:nvSpPr>
          <p:spPr>
            <a:xfrm>
              <a:off x="5806225" y="4821700"/>
              <a:ext cx="53350" cy="516600"/>
            </a:xfrm>
            <a:custGeom>
              <a:avLst/>
              <a:gdLst/>
              <a:ahLst/>
              <a:cxnLst/>
              <a:rect l="l" t="t" r="r" b="b"/>
              <a:pathLst>
                <a:path w="2134" h="20664" fill="none" extrusionOk="0">
                  <a:moveTo>
                    <a:pt x="1707" y="427"/>
                  </a:moveTo>
                  <a:lnTo>
                    <a:pt x="1707" y="427"/>
                  </a:lnTo>
                  <a:lnTo>
                    <a:pt x="1707" y="244"/>
                  </a:lnTo>
                  <a:lnTo>
                    <a:pt x="1585" y="122"/>
                  </a:lnTo>
                  <a:lnTo>
                    <a:pt x="1402" y="1"/>
                  </a:lnTo>
                  <a:lnTo>
                    <a:pt x="1219" y="1"/>
                  </a:lnTo>
                  <a:lnTo>
                    <a:pt x="1219" y="1"/>
                  </a:lnTo>
                  <a:lnTo>
                    <a:pt x="1036" y="1"/>
                  </a:lnTo>
                  <a:lnTo>
                    <a:pt x="853" y="122"/>
                  </a:lnTo>
                  <a:lnTo>
                    <a:pt x="732" y="244"/>
                  </a:lnTo>
                  <a:lnTo>
                    <a:pt x="732" y="427"/>
                  </a:lnTo>
                  <a:lnTo>
                    <a:pt x="732" y="427"/>
                  </a:lnTo>
                  <a:lnTo>
                    <a:pt x="671" y="2073"/>
                  </a:lnTo>
                  <a:lnTo>
                    <a:pt x="549" y="4389"/>
                  </a:lnTo>
                  <a:lnTo>
                    <a:pt x="305" y="10119"/>
                  </a:lnTo>
                  <a:lnTo>
                    <a:pt x="61" y="15848"/>
                  </a:lnTo>
                  <a:lnTo>
                    <a:pt x="0" y="18165"/>
                  </a:lnTo>
                  <a:lnTo>
                    <a:pt x="0" y="19810"/>
                  </a:lnTo>
                  <a:lnTo>
                    <a:pt x="0" y="19810"/>
                  </a:lnTo>
                  <a:lnTo>
                    <a:pt x="0" y="20054"/>
                  </a:lnTo>
                  <a:lnTo>
                    <a:pt x="122" y="20237"/>
                  </a:lnTo>
                  <a:lnTo>
                    <a:pt x="183" y="20359"/>
                  </a:lnTo>
                  <a:lnTo>
                    <a:pt x="366" y="20481"/>
                  </a:lnTo>
                  <a:lnTo>
                    <a:pt x="671" y="20664"/>
                  </a:lnTo>
                  <a:lnTo>
                    <a:pt x="1097" y="20664"/>
                  </a:lnTo>
                  <a:lnTo>
                    <a:pt x="1463" y="20664"/>
                  </a:lnTo>
                  <a:lnTo>
                    <a:pt x="1829" y="20481"/>
                  </a:lnTo>
                  <a:lnTo>
                    <a:pt x="2073" y="20298"/>
                  </a:lnTo>
                  <a:lnTo>
                    <a:pt x="2133" y="20176"/>
                  </a:lnTo>
                  <a:lnTo>
                    <a:pt x="2133" y="20054"/>
                  </a:lnTo>
                  <a:lnTo>
                    <a:pt x="2133" y="20054"/>
                  </a:lnTo>
                  <a:lnTo>
                    <a:pt x="1890" y="10241"/>
                  </a:lnTo>
                  <a:lnTo>
                    <a:pt x="1768" y="4450"/>
                  </a:lnTo>
                  <a:lnTo>
                    <a:pt x="1707" y="42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34" name="Google Shape;934;p16"/>
            <p:cNvSpPr/>
            <p:nvPr/>
          </p:nvSpPr>
          <p:spPr>
            <a:xfrm>
              <a:off x="5833650" y="4864375"/>
              <a:ext cx="190500" cy="128025"/>
            </a:xfrm>
            <a:custGeom>
              <a:avLst/>
              <a:gdLst/>
              <a:ahLst/>
              <a:cxnLst/>
              <a:rect l="l" t="t" r="r" b="b"/>
              <a:pathLst>
                <a:path w="7620" h="5121" extrusionOk="0">
                  <a:moveTo>
                    <a:pt x="7315" y="0"/>
                  </a:moveTo>
                  <a:lnTo>
                    <a:pt x="7132" y="61"/>
                  </a:lnTo>
                  <a:lnTo>
                    <a:pt x="3718" y="2316"/>
                  </a:lnTo>
                  <a:lnTo>
                    <a:pt x="183" y="4511"/>
                  </a:lnTo>
                  <a:lnTo>
                    <a:pt x="61" y="4572"/>
                  </a:lnTo>
                  <a:lnTo>
                    <a:pt x="0" y="4694"/>
                  </a:lnTo>
                  <a:lnTo>
                    <a:pt x="0" y="4816"/>
                  </a:lnTo>
                  <a:lnTo>
                    <a:pt x="61" y="4937"/>
                  </a:lnTo>
                  <a:lnTo>
                    <a:pt x="122" y="5059"/>
                  </a:lnTo>
                  <a:lnTo>
                    <a:pt x="244" y="5120"/>
                  </a:lnTo>
                  <a:lnTo>
                    <a:pt x="366" y="5120"/>
                  </a:lnTo>
                  <a:lnTo>
                    <a:pt x="488" y="5059"/>
                  </a:lnTo>
                  <a:lnTo>
                    <a:pt x="4023" y="2865"/>
                  </a:lnTo>
                  <a:lnTo>
                    <a:pt x="7498" y="610"/>
                  </a:lnTo>
                  <a:lnTo>
                    <a:pt x="7558" y="549"/>
                  </a:lnTo>
                  <a:lnTo>
                    <a:pt x="7619" y="427"/>
                  </a:lnTo>
                  <a:lnTo>
                    <a:pt x="7619" y="305"/>
                  </a:lnTo>
                  <a:lnTo>
                    <a:pt x="7558" y="183"/>
                  </a:lnTo>
                  <a:lnTo>
                    <a:pt x="7498" y="61"/>
                  </a:lnTo>
                  <a:lnTo>
                    <a:pt x="7376" y="61"/>
                  </a:lnTo>
                  <a:lnTo>
                    <a:pt x="7315" y="0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35" name="Google Shape;935;p16"/>
            <p:cNvSpPr/>
            <p:nvPr/>
          </p:nvSpPr>
          <p:spPr>
            <a:xfrm>
              <a:off x="5833650" y="4864375"/>
              <a:ext cx="190500" cy="128025"/>
            </a:xfrm>
            <a:custGeom>
              <a:avLst/>
              <a:gdLst/>
              <a:ahLst/>
              <a:cxnLst/>
              <a:rect l="l" t="t" r="r" b="b"/>
              <a:pathLst>
                <a:path w="7620" h="5121" fill="none" extrusionOk="0">
                  <a:moveTo>
                    <a:pt x="488" y="5059"/>
                  </a:moveTo>
                  <a:lnTo>
                    <a:pt x="488" y="5059"/>
                  </a:lnTo>
                  <a:lnTo>
                    <a:pt x="4023" y="2865"/>
                  </a:lnTo>
                  <a:lnTo>
                    <a:pt x="7498" y="610"/>
                  </a:lnTo>
                  <a:lnTo>
                    <a:pt x="7498" y="610"/>
                  </a:lnTo>
                  <a:lnTo>
                    <a:pt x="7558" y="549"/>
                  </a:lnTo>
                  <a:lnTo>
                    <a:pt x="7619" y="427"/>
                  </a:lnTo>
                  <a:lnTo>
                    <a:pt x="7619" y="305"/>
                  </a:lnTo>
                  <a:lnTo>
                    <a:pt x="7558" y="183"/>
                  </a:lnTo>
                  <a:lnTo>
                    <a:pt x="7498" y="61"/>
                  </a:lnTo>
                  <a:lnTo>
                    <a:pt x="7376" y="61"/>
                  </a:lnTo>
                  <a:lnTo>
                    <a:pt x="7315" y="0"/>
                  </a:lnTo>
                  <a:lnTo>
                    <a:pt x="7132" y="61"/>
                  </a:lnTo>
                  <a:lnTo>
                    <a:pt x="7132" y="61"/>
                  </a:lnTo>
                  <a:lnTo>
                    <a:pt x="3718" y="2316"/>
                  </a:lnTo>
                  <a:lnTo>
                    <a:pt x="183" y="4511"/>
                  </a:lnTo>
                  <a:lnTo>
                    <a:pt x="183" y="4511"/>
                  </a:lnTo>
                  <a:lnTo>
                    <a:pt x="61" y="4572"/>
                  </a:lnTo>
                  <a:lnTo>
                    <a:pt x="0" y="4694"/>
                  </a:lnTo>
                  <a:lnTo>
                    <a:pt x="0" y="4816"/>
                  </a:lnTo>
                  <a:lnTo>
                    <a:pt x="61" y="4937"/>
                  </a:lnTo>
                  <a:lnTo>
                    <a:pt x="122" y="5059"/>
                  </a:lnTo>
                  <a:lnTo>
                    <a:pt x="244" y="5120"/>
                  </a:lnTo>
                  <a:lnTo>
                    <a:pt x="366" y="5120"/>
                  </a:lnTo>
                  <a:lnTo>
                    <a:pt x="488" y="505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36" name="Google Shape;936;p16"/>
            <p:cNvSpPr/>
            <p:nvPr/>
          </p:nvSpPr>
          <p:spPr>
            <a:xfrm>
              <a:off x="5653825" y="4878075"/>
              <a:ext cx="192025" cy="129550"/>
            </a:xfrm>
            <a:custGeom>
              <a:avLst/>
              <a:gdLst/>
              <a:ahLst/>
              <a:cxnLst/>
              <a:rect l="l" t="t" r="r" b="b"/>
              <a:pathLst>
                <a:path w="7681" h="5182" extrusionOk="0">
                  <a:moveTo>
                    <a:pt x="184" y="1"/>
                  </a:moveTo>
                  <a:lnTo>
                    <a:pt x="123" y="62"/>
                  </a:lnTo>
                  <a:lnTo>
                    <a:pt x="1" y="123"/>
                  </a:lnTo>
                  <a:lnTo>
                    <a:pt x="1" y="245"/>
                  </a:lnTo>
                  <a:lnTo>
                    <a:pt x="1" y="367"/>
                  </a:lnTo>
                  <a:lnTo>
                    <a:pt x="1" y="488"/>
                  </a:lnTo>
                  <a:lnTo>
                    <a:pt x="123" y="610"/>
                  </a:lnTo>
                  <a:lnTo>
                    <a:pt x="3658" y="2866"/>
                  </a:lnTo>
                  <a:lnTo>
                    <a:pt x="5426" y="4024"/>
                  </a:lnTo>
                  <a:lnTo>
                    <a:pt x="7193" y="5121"/>
                  </a:lnTo>
                  <a:lnTo>
                    <a:pt x="7315" y="5182"/>
                  </a:lnTo>
                  <a:lnTo>
                    <a:pt x="7437" y="5182"/>
                  </a:lnTo>
                  <a:lnTo>
                    <a:pt x="7559" y="5121"/>
                  </a:lnTo>
                  <a:lnTo>
                    <a:pt x="7620" y="4999"/>
                  </a:lnTo>
                  <a:lnTo>
                    <a:pt x="7681" y="4938"/>
                  </a:lnTo>
                  <a:lnTo>
                    <a:pt x="7681" y="4816"/>
                  </a:lnTo>
                  <a:lnTo>
                    <a:pt x="7620" y="4694"/>
                  </a:lnTo>
                  <a:lnTo>
                    <a:pt x="7498" y="4572"/>
                  </a:lnTo>
                  <a:lnTo>
                    <a:pt x="5730" y="3475"/>
                  </a:lnTo>
                  <a:lnTo>
                    <a:pt x="3963" y="2317"/>
                  </a:lnTo>
                  <a:lnTo>
                    <a:pt x="427" y="62"/>
                  </a:lnTo>
                  <a:lnTo>
                    <a:pt x="306" y="1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37" name="Google Shape;937;p16"/>
            <p:cNvSpPr/>
            <p:nvPr/>
          </p:nvSpPr>
          <p:spPr>
            <a:xfrm>
              <a:off x="5653825" y="4878075"/>
              <a:ext cx="192025" cy="129550"/>
            </a:xfrm>
            <a:custGeom>
              <a:avLst/>
              <a:gdLst/>
              <a:ahLst/>
              <a:cxnLst/>
              <a:rect l="l" t="t" r="r" b="b"/>
              <a:pathLst>
                <a:path w="7681" h="5182" fill="none" extrusionOk="0">
                  <a:moveTo>
                    <a:pt x="123" y="610"/>
                  </a:moveTo>
                  <a:lnTo>
                    <a:pt x="123" y="610"/>
                  </a:lnTo>
                  <a:lnTo>
                    <a:pt x="3658" y="2866"/>
                  </a:lnTo>
                  <a:lnTo>
                    <a:pt x="5426" y="4024"/>
                  </a:lnTo>
                  <a:lnTo>
                    <a:pt x="7193" y="5121"/>
                  </a:lnTo>
                  <a:lnTo>
                    <a:pt x="7193" y="5121"/>
                  </a:lnTo>
                  <a:lnTo>
                    <a:pt x="7315" y="5182"/>
                  </a:lnTo>
                  <a:lnTo>
                    <a:pt x="7437" y="5182"/>
                  </a:lnTo>
                  <a:lnTo>
                    <a:pt x="7559" y="5121"/>
                  </a:lnTo>
                  <a:lnTo>
                    <a:pt x="7620" y="4999"/>
                  </a:lnTo>
                  <a:lnTo>
                    <a:pt x="7681" y="4938"/>
                  </a:lnTo>
                  <a:lnTo>
                    <a:pt x="7681" y="4816"/>
                  </a:lnTo>
                  <a:lnTo>
                    <a:pt x="7620" y="4694"/>
                  </a:lnTo>
                  <a:lnTo>
                    <a:pt x="7498" y="4572"/>
                  </a:lnTo>
                  <a:lnTo>
                    <a:pt x="7498" y="4572"/>
                  </a:lnTo>
                  <a:lnTo>
                    <a:pt x="5730" y="3475"/>
                  </a:lnTo>
                  <a:lnTo>
                    <a:pt x="3963" y="2317"/>
                  </a:lnTo>
                  <a:lnTo>
                    <a:pt x="427" y="62"/>
                  </a:lnTo>
                  <a:lnTo>
                    <a:pt x="427" y="62"/>
                  </a:lnTo>
                  <a:lnTo>
                    <a:pt x="306" y="1"/>
                  </a:lnTo>
                  <a:lnTo>
                    <a:pt x="184" y="1"/>
                  </a:lnTo>
                  <a:lnTo>
                    <a:pt x="123" y="62"/>
                  </a:lnTo>
                  <a:lnTo>
                    <a:pt x="1" y="123"/>
                  </a:lnTo>
                  <a:lnTo>
                    <a:pt x="1" y="245"/>
                  </a:lnTo>
                  <a:lnTo>
                    <a:pt x="1" y="367"/>
                  </a:lnTo>
                  <a:lnTo>
                    <a:pt x="1" y="488"/>
                  </a:lnTo>
                  <a:lnTo>
                    <a:pt x="123" y="61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38" name="Google Shape;938;p16"/>
            <p:cNvSpPr/>
            <p:nvPr/>
          </p:nvSpPr>
          <p:spPr>
            <a:xfrm>
              <a:off x="5704125" y="4811025"/>
              <a:ext cx="62500" cy="141750"/>
            </a:xfrm>
            <a:custGeom>
              <a:avLst/>
              <a:gdLst/>
              <a:ahLst/>
              <a:cxnLst/>
              <a:rect l="l" t="t" r="r" b="b"/>
              <a:pathLst>
                <a:path w="2500" h="5670" extrusionOk="0">
                  <a:moveTo>
                    <a:pt x="183" y="1"/>
                  </a:moveTo>
                  <a:lnTo>
                    <a:pt x="61" y="123"/>
                  </a:lnTo>
                  <a:lnTo>
                    <a:pt x="0" y="184"/>
                  </a:lnTo>
                  <a:lnTo>
                    <a:pt x="0" y="306"/>
                  </a:lnTo>
                  <a:lnTo>
                    <a:pt x="1036" y="2927"/>
                  </a:lnTo>
                  <a:lnTo>
                    <a:pt x="2012" y="5548"/>
                  </a:lnTo>
                  <a:lnTo>
                    <a:pt x="2073" y="5609"/>
                  </a:lnTo>
                  <a:lnTo>
                    <a:pt x="2134" y="5670"/>
                  </a:lnTo>
                  <a:lnTo>
                    <a:pt x="2316" y="5670"/>
                  </a:lnTo>
                  <a:lnTo>
                    <a:pt x="2499" y="5609"/>
                  </a:lnTo>
                  <a:lnTo>
                    <a:pt x="2499" y="5487"/>
                  </a:lnTo>
                  <a:lnTo>
                    <a:pt x="2499" y="5426"/>
                  </a:lnTo>
                  <a:lnTo>
                    <a:pt x="1463" y="2805"/>
                  </a:lnTo>
                  <a:lnTo>
                    <a:pt x="488" y="184"/>
                  </a:lnTo>
                  <a:lnTo>
                    <a:pt x="427" y="62"/>
                  </a:lnTo>
                  <a:lnTo>
                    <a:pt x="366" y="62"/>
                  </a:lnTo>
                  <a:lnTo>
                    <a:pt x="183" y="1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39" name="Google Shape;939;p16"/>
            <p:cNvSpPr/>
            <p:nvPr/>
          </p:nvSpPr>
          <p:spPr>
            <a:xfrm>
              <a:off x="5704125" y="4811025"/>
              <a:ext cx="62500" cy="141750"/>
            </a:xfrm>
            <a:custGeom>
              <a:avLst/>
              <a:gdLst/>
              <a:ahLst/>
              <a:cxnLst/>
              <a:rect l="l" t="t" r="r" b="b"/>
              <a:pathLst>
                <a:path w="2500" h="5670" fill="none" extrusionOk="0">
                  <a:moveTo>
                    <a:pt x="0" y="306"/>
                  </a:moveTo>
                  <a:lnTo>
                    <a:pt x="0" y="306"/>
                  </a:lnTo>
                  <a:lnTo>
                    <a:pt x="1036" y="2927"/>
                  </a:lnTo>
                  <a:lnTo>
                    <a:pt x="2012" y="5548"/>
                  </a:lnTo>
                  <a:lnTo>
                    <a:pt x="2012" y="5548"/>
                  </a:lnTo>
                  <a:lnTo>
                    <a:pt x="2073" y="5609"/>
                  </a:lnTo>
                  <a:lnTo>
                    <a:pt x="2134" y="5670"/>
                  </a:lnTo>
                  <a:lnTo>
                    <a:pt x="2316" y="5670"/>
                  </a:lnTo>
                  <a:lnTo>
                    <a:pt x="2499" y="5609"/>
                  </a:lnTo>
                  <a:lnTo>
                    <a:pt x="2499" y="5487"/>
                  </a:lnTo>
                  <a:lnTo>
                    <a:pt x="2499" y="5426"/>
                  </a:lnTo>
                  <a:lnTo>
                    <a:pt x="2499" y="5426"/>
                  </a:lnTo>
                  <a:lnTo>
                    <a:pt x="1463" y="2805"/>
                  </a:lnTo>
                  <a:lnTo>
                    <a:pt x="488" y="184"/>
                  </a:lnTo>
                  <a:lnTo>
                    <a:pt x="488" y="184"/>
                  </a:lnTo>
                  <a:lnTo>
                    <a:pt x="427" y="62"/>
                  </a:lnTo>
                  <a:lnTo>
                    <a:pt x="366" y="62"/>
                  </a:lnTo>
                  <a:lnTo>
                    <a:pt x="183" y="1"/>
                  </a:lnTo>
                  <a:lnTo>
                    <a:pt x="61" y="123"/>
                  </a:lnTo>
                  <a:lnTo>
                    <a:pt x="0" y="184"/>
                  </a:lnTo>
                  <a:lnTo>
                    <a:pt x="0" y="306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0" name="Google Shape;940;p16"/>
            <p:cNvSpPr/>
            <p:nvPr/>
          </p:nvSpPr>
          <p:spPr>
            <a:xfrm>
              <a:off x="5420675" y="3758075"/>
              <a:ext cx="815275" cy="1150500"/>
            </a:xfrm>
            <a:custGeom>
              <a:avLst/>
              <a:gdLst/>
              <a:ahLst/>
              <a:cxnLst/>
              <a:rect l="l" t="t" r="r" b="b"/>
              <a:pathLst>
                <a:path w="32611" h="46020" extrusionOk="0">
                  <a:moveTo>
                    <a:pt x="14203" y="0"/>
                  </a:moveTo>
                  <a:lnTo>
                    <a:pt x="13167" y="61"/>
                  </a:lnTo>
                  <a:lnTo>
                    <a:pt x="12192" y="122"/>
                  </a:lnTo>
                  <a:lnTo>
                    <a:pt x="11277" y="305"/>
                  </a:lnTo>
                  <a:lnTo>
                    <a:pt x="10485" y="488"/>
                  </a:lnTo>
                  <a:lnTo>
                    <a:pt x="9692" y="792"/>
                  </a:lnTo>
                  <a:lnTo>
                    <a:pt x="8961" y="1219"/>
                  </a:lnTo>
                  <a:lnTo>
                    <a:pt x="8351" y="1646"/>
                  </a:lnTo>
                  <a:lnTo>
                    <a:pt x="7803" y="2194"/>
                  </a:lnTo>
                  <a:lnTo>
                    <a:pt x="7376" y="2865"/>
                  </a:lnTo>
                  <a:lnTo>
                    <a:pt x="7071" y="3596"/>
                  </a:lnTo>
                  <a:lnTo>
                    <a:pt x="6828" y="4450"/>
                  </a:lnTo>
                  <a:lnTo>
                    <a:pt x="6645" y="5425"/>
                  </a:lnTo>
                  <a:lnTo>
                    <a:pt x="6645" y="6522"/>
                  </a:lnTo>
                  <a:lnTo>
                    <a:pt x="6462" y="6583"/>
                  </a:lnTo>
                  <a:lnTo>
                    <a:pt x="6035" y="6644"/>
                  </a:lnTo>
                  <a:lnTo>
                    <a:pt x="5426" y="6827"/>
                  </a:lnTo>
                  <a:lnTo>
                    <a:pt x="5060" y="7010"/>
                  </a:lnTo>
                  <a:lnTo>
                    <a:pt x="4633" y="7193"/>
                  </a:lnTo>
                  <a:lnTo>
                    <a:pt x="4268" y="7497"/>
                  </a:lnTo>
                  <a:lnTo>
                    <a:pt x="3902" y="7802"/>
                  </a:lnTo>
                  <a:lnTo>
                    <a:pt x="3536" y="8229"/>
                  </a:lnTo>
                  <a:lnTo>
                    <a:pt x="3170" y="8655"/>
                  </a:lnTo>
                  <a:lnTo>
                    <a:pt x="2866" y="9265"/>
                  </a:lnTo>
                  <a:lnTo>
                    <a:pt x="2622" y="9874"/>
                  </a:lnTo>
                  <a:lnTo>
                    <a:pt x="2439" y="10606"/>
                  </a:lnTo>
                  <a:lnTo>
                    <a:pt x="2317" y="11459"/>
                  </a:lnTo>
                  <a:lnTo>
                    <a:pt x="2317" y="12374"/>
                  </a:lnTo>
                  <a:lnTo>
                    <a:pt x="2317" y="13227"/>
                  </a:lnTo>
                  <a:lnTo>
                    <a:pt x="2378" y="14080"/>
                  </a:lnTo>
                  <a:lnTo>
                    <a:pt x="2500" y="14873"/>
                  </a:lnTo>
                  <a:lnTo>
                    <a:pt x="2683" y="15604"/>
                  </a:lnTo>
                  <a:lnTo>
                    <a:pt x="2866" y="16336"/>
                  </a:lnTo>
                  <a:lnTo>
                    <a:pt x="3353" y="17616"/>
                  </a:lnTo>
                  <a:lnTo>
                    <a:pt x="3841" y="18652"/>
                  </a:lnTo>
                  <a:lnTo>
                    <a:pt x="4268" y="19444"/>
                  </a:lnTo>
                  <a:lnTo>
                    <a:pt x="4694" y="20115"/>
                  </a:lnTo>
                  <a:lnTo>
                    <a:pt x="4511" y="20115"/>
                  </a:lnTo>
                  <a:lnTo>
                    <a:pt x="4146" y="20054"/>
                  </a:lnTo>
                  <a:lnTo>
                    <a:pt x="3597" y="20115"/>
                  </a:lnTo>
                  <a:lnTo>
                    <a:pt x="3292" y="20176"/>
                  </a:lnTo>
                  <a:lnTo>
                    <a:pt x="2927" y="20298"/>
                  </a:lnTo>
                  <a:lnTo>
                    <a:pt x="2561" y="20480"/>
                  </a:lnTo>
                  <a:lnTo>
                    <a:pt x="2195" y="20724"/>
                  </a:lnTo>
                  <a:lnTo>
                    <a:pt x="1890" y="21029"/>
                  </a:lnTo>
                  <a:lnTo>
                    <a:pt x="1525" y="21395"/>
                  </a:lnTo>
                  <a:lnTo>
                    <a:pt x="1159" y="21882"/>
                  </a:lnTo>
                  <a:lnTo>
                    <a:pt x="854" y="22431"/>
                  </a:lnTo>
                  <a:lnTo>
                    <a:pt x="610" y="23101"/>
                  </a:lnTo>
                  <a:lnTo>
                    <a:pt x="367" y="23894"/>
                  </a:lnTo>
                  <a:lnTo>
                    <a:pt x="184" y="24808"/>
                  </a:lnTo>
                  <a:lnTo>
                    <a:pt x="62" y="25844"/>
                  </a:lnTo>
                  <a:lnTo>
                    <a:pt x="1" y="27002"/>
                  </a:lnTo>
                  <a:lnTo>
                    <a:pt x="1" y="28282"/>
                  </a:lnTo>
                  <a:lnTo>
                    <a:pt x="1" y="29623"/>
                  </a:lnTo>
                  <a:lnTo>
                    <a:pt x="123" y="31025"/>
                  </a:lnTo>
                  <a:lnTo>
                    <a:pt x="306" y="32488"/>
                  </a:lnTo>
                  <a:lnTo>
                    <a:pt x="549" y="33890"/>
                  </a:lnTo>
                  <a:lnTo>
                    <a:pt x="854" y="35353"/>
                  </a:lnTo>
                  <a:lnTo>
                    <a:pt x="1281" y="36816"/>
                  </a:lnTo>
                  <a:lnTo>
                    <a:pt x="1708" y="38157"/>
                  </a:lnTo>
                  <a:lnTo>
                    <a:pt x="2256" y="39498"/>
                  </a:lnTo>
                  <a:lnTo>
                    <a:pt x="2927" y="40717"/>
                  </a:lnTo>
                  <a:lnTo>
                    <a:pt x="3597" y="41814"/>
                  </a:lnTo>
                  <a:lnTo>
                    <a:pt x="3963" y="42302"/>
                  </a:lnTo>
                  <a:lnTo>
                    <a:pt x="4390" y="42789"/>
                  </a:lnTo>
                  <a:lnTo>
                    <a:pt x="4816" y="43216"/>
                  </a:lnTo>
                  <a:lnTo>
                    <a:pt x="5243" y="43643"/>
                  </a:lnTo>
                  <a:lnTo>
                    <a:pt x="5730" y="44008"/>
                  </a:lnTo>
                  <a:lnTo>
                    <a:pt x="6279" y="44313"/>
                  </a:lnTo>
                  <a:lnTo>
                    <a:pt x="6828" y="44618"/>
                  </a:lnTo>
                  <a:lnTo>
                    <a:pt x="7437" y="44862"/>
                  </a:lnTo>
                  <a:lnTo>
                    <a:pt x="8108" y="45106"/>
                  </a:lnTo>
                  <a:lnTo>
                    <a:pt x="8778" y="45288"/>
                  </a:lnTo>
                  <a:lnTo>
                    <a:pt x="10241" y="45593"/>
                  </a:lnTo>
                  <a:lnTo>
                    <a:pt x="11765" y="45837"/>
                  </a:lnTo>
                  <a:lnTo>
                    <a:pt x="13411" y="45959"/>
                  </a:lnTo>
                  <a:lnTo>
                    <a:pt x="15056" y="46020"/>
                  </a:lnTo>
                  <a:lnTo>
                    <a:pt x="16702" y="45959"/>
                  </a:lnTo>
                  <a:lnTo>
                    <a:pt x="18348" y="45898"/>
                  </a:lnTo>
                  <a:lnTo>
                    <a:pt x="19994" y="45776"/>
                  </a:lnTo>
                  <a:lnTo>
                    <a:pt x="21578" y="45532"/>
                  </a:lnTo>
                  <a:lnTo>
                    <a:pt x="23041" y="45349"/>
                  </a:lnTo>
                  <a:lnTo>
                    <a:pt x="24443" y="45106"/>
                  </a:lnTo>
                  <a:lnTo>
                    <a:pt x="25662" y="44801"/>
                  </a:lnTo>
                  <a:lnTo>
                    <a:pt x="26759" y="44557"/>
                  </a:lnTo>
                  <a:lnTo>
                    <a:pt x="27674" y="44252"/>
                  </a:lnTo>
                  <a:lnTo>
                    <a:pt x="28405" y="43947"/>
                  </a:lnTo>
                  <a:lnTo>
                    <a:pt x="29015" y="43582"/>
                  </a:lnTo>
                  <a:lnTo>
                    <a:pt x="29563" y="43094"/>
                  </a:lnTo>
                  <a:lnTo>
                    <a:pt x="29990" y="42607"/>
                  </a:lnTo>
                  <a:lnTo>
                    <a:pt x="30356" y="42058"/>
                  </a:lnTo>
                  <a:lnTo>
                    <a:pt x="30600" y="41448"/>
                  </a:lnTo>
                  <a:lnTo>
                    <a:pt x="30721" y="40900"/>
                  </a:lnTo>
                  <a:lnTo>
                    <a:pt x="30782" y="40290"/>
                  </a:lnTo>
                  <a:lnTo>
                    <a:pt x="30721" y="39742"/>
                  </a:lnTo>
                  <a:lnTo>
                    <a:pt x="30600" y="39193"/>
                  </a:lnTo>
                  <a:lnTo>
                    <a:pt x="30356" y="38766"/>
                  </a:lnTo>
                  <a:lnTo>
                    <a:pt x="30051" y="38340"/>
                  </a:lnTo>
                  <a:lnTo>
                    <a:pt x="29685" y="37974"/>
                  </a:lnTo>
                  <a:lnTo>
                    <a:pt x="29198" y="37730"/>
                  </a:lnTo>
                  <a:lnTo>
                    <a:pt x="28649" y="37608"/>
                  </a:lnTo>
                  <a:lnTo>
                    <a:pt x="27979" y="37608"/>
                  </a:lnTo>
                  <a:lnTo>
                    <a:pt x="28161" y="37486"/>
                  </a:lnTo>
                  <a:lnTo>
                    <a:pt x="28710" y="37060"/>
                  </a:lnTo>
                  <a:lnTo>
                    <a:pt x="29380" y="36328"/>
                  </a:lnTo>
                  <a:lnTo>
                    <a:pt x="29807" y="35841"/>
                  </a:lnTo>
                  <a:lnTo>
                    <a:pt x="30234" y="35353"/>
                  </a:lnTo>
                  <a:lnTo>
                    <a:pt x="30660" y="34744"/>
                  </a:lnTo>
                  <a:lnTo>
                    <a:pt x="31087" y="34012"/>
                  </a:lnTo>
                  <a:lnTo>
                    <a:pt x="31453" y="33281"/>
                  </a:lnTo>
                  <a:lnTo>
                    <a:pt x="31819" y="32427"/>
                  </a:lnTo>
                  <a:lnTo>
                    <a:pt x="32123" y="31513"/>
                  </a:lnTo>
                  <a:lnTo>
                    <a:pt x="32367" y="30538"/>
                  </a:lnTo>
                  <a:lnTo>
                    <a:pt x="32550" y="29441"/>
                  </a:lnTo>
                  <a:lnTo>
                    <a:pt x="32611" y="28282"/>
                  </a:lnTo>
                  <a:lnTo>
                    <a:pt x="32611" y="27185"/>
                  </a:lnTo>
                  <a:lnTo>
                    <a:pt x="32611" y="26149"/>
                  </a:lnTo>
                  <a:lnTo>
                    <a:pt x="32489" y="25174"/>
                  </a:lnTo>
                  <a:lnTo>
                    <a:pt x="32428" y="24320"/>
                  </a:lnTo>
                  <a:lnTo>
                    <a:pt x="32306" y="23589"/>
                  </a:lnTo>
                  <a:lnTo>
                    <a:pt x="32123" y="22858"/>
                  </a:lnTo>
                  <a:lnTo>
                    <a:pt x="31940" y="22248"/>
                  </a:lnTo>
                  <a:lnTo>
                    <a:pt x="31697" y="21699"/>
                  </a:lnTo>
                  <a:lnTo>
                    <a:pt x="31453" y="21273"/>
                  </a:lnTo>
                  <a:lnTo>
                    <a:pt x="31209" y="20846"/>
                  </a:lnTo>
                  <a:lnTo>
                    <a:pt x="30904" y="20480"/>
                  </a:lnTo>
                  <a:lnTo>
                    <a:pt x="30600" y="20176"/>
                  </a:lnTo>
                  <a:lnTo>
                    <a:pt x="30295" y="19871"/>
                  </a:lnTo>
                  <a:lnTo>
                    <a:pt x="29929" y="19627"/>
                  </a:lnTo>
                  <a:lnTo>
                    <a:pt x="29198" y="19261"/>
                  </a:lnTo>
                  <a:lnTo>
                    <a:pt x="27918" y="18713"/>
                  </a:lnTo>
                  <a:lnTo>
                    <a:pt x="27003" y="18347"/>
                  </a:lnTo>
                  <a:lnTo>
                    <a:pt x="26698" y="18164"/>
                  </a:lnTo>
                  <a:lnTo>
                    <a:pt x="26516" y="17981"/>
                  </a:lnTo>
                  <a:lnTo>
                    <a:pt x="26394" y="17737"/>
                  </a:lnTo>
                  <a:lnTo>
                    <a:pt x="26394" y="17433"/>
                  </a:lnTo>
                  <a:lnTo>
                    <a:pt x="26394" y="17250"/>
                  </a:lnTo>
                  <a:lnTo>
                    <a:pt x="26516" y="17006"/>
                  </a:lnTo>
                  <a:lnTo>
                    <a:pt x="27003" y="16336"/>
                  </a:lnTo>
                  <a:lnTo>
                    <a:pt x="27613" y="15421"/>
                  </a:lnTo>
                  <a:lnTo>
                    <a:pt x="28283" y="14263"/>
                  </a:lnTo>
                  <a:lnTo>
                    <a:pt x="28588" y="13654"/>
                  </a:lnTo>
                  <a:lnTo>
                    <a:pt x="28893" y="12983"/>
                  </a:lnTo>
                  <a:lnTo>
                    <a:pt x="29137" y="12252"/>
                  </a:lnTo>
                  <a:lnTo>
                    <a:pt x="29380" y="11520"/>
                  </a:lnTo>
                  <a:lnTo>
                    <a:pt x="29502" y="10728"/>
                  </a:lnTo>
                  <a:lnTo>
                    <a:pt x="29563" y="9935"/>
                  </a:lnTo>
                  <a:lnTo>
                    <a:pt x="29563" y="9082"/>
                  </a:lnTo>
                  <a:lnTo>
                    <a:pt x="29441" y="8229"/>
                  </a:lnTo>
                  <a:lnTo>
                    <a:pt x="29259" y="7436"/>
                  </a:lnTo>
                  <a:lnTo>
                    <a:pt x="28954" y="6583"/>
                  </a:lnTo>
                  <a:lnTo>
                    <a:pt x="28527" y="5852"/>
                  </a:lnTo>
                  <a:lnTo>
                    <a:pt x="28039" y="5120"/>
                  </a:lnTo>
                  <a:lnTo>
                    <a:pt x="27491" y="4450"/>
                  </a:lnTo>
                  <a:lnTo>
                    <a:pt x="26881" y="3840"/>
                  </a:lnTo>
                  <a:lnTo>
                    <a:pt x="26211" y="3231"/>
                  </a:lnTo>
                  <a:lnTo>
                    <a:pt x="25418" y="2682"/>
                  </a:lnTo>
                  <a:lnTo>
                    <a:pt x="24626" y="2194"/>
                  </a:lnTo>
                  <a:lnTo>
                    <a:pt x="23712" y="1768"/>
                  </a:lnTo>
                  <a:lnTo>
                    <a:pt x="22797" y="1341"/>
                  </a:lnTo>
                  <a:lnTo>
                    <a:pt x="21822" y="975"/>
                  </a:lnTo>
                  <a:lnTo>
                    <a:pt x="20786" y="671"/>
                  </a:lnTo>
                  <a:lnTo>
                    <a:pt x="19689" y="488"/>
                  </a:lnTo>
                  <a:lnTo>
                    <a:pt x="18592" y="244"/>
                  </a:lnTo>
                  <a:lnTo>
                    <a:pt x="17434" y="122"/>
                  </a:lnTo>
                  <a:lnTo>
                    <a:pt x="15239" y="0"/>
                  </a:lnTo>
                  <a:close/>
                </a:path>
              </a:pathLst>
            </a:custGeom>
            <a:solidFill>
              <a:srgbClr val="65A2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1" name="Google Shape;941;p16"/>
            <p:cNvSpPr/>
            <p:nvPr/>
          </p:nvSpPr>
          <p:spPr>
            <a:xfrm>
              <a:off x="5420675" y="3758075"/>
              <a:ext cx="815275" cy="1150500"/>
            </a:xfrm>
            <a:custGeom>
              <a:avLst/>
              <a:gdLst/>
              <a:ahLst/>
              <a:cxnLst/>
              <a:rect l="l" t="t" r="r" b="b"/>
              <a:pathLst>
                <a:path w="32611" h="46020" fill="none" extrusionOk="0">
                  <a:moveTo>
                    <a:pt x="32611" y="28282"/>
                  </a:moveTo>
                  <a:lnTo>
                    <a:pt x="32611" y="28282"/>
                  </a:lnTo>
                  <a:lnTo>
                    <a:pt x="32611" y="27185"/>
                  </a:lnTo>
                  <a:lnTo>
                    <a:pt x="32611" y="26149"/>
                  </a:lnTo>
                  <a:lnTo>
                    <a:pt x="32489" y="25174"/>
                  </a:lnTo>
                  <a:lnTo>
                    <a:pt x="32428" y="24320"/>
                  </a:lnTo>
                  <a:lnTo>
                    <a:pt x="32306" y="23589"/>
                  </a:lnTo>
                  <a:lnTo>
                    <a:pt x="32123" y="22858"/>
                  </a:lnTo>
                  <a:lnTo>
                    <a:pt x="31940" y="22248"/>
                  </a:lnTo>
                  <a:lnTo>
                    <a:pt x="31697" y="21699"/>
                  </a:lnTo>
                  <a:lnTo>
                    <a:pt x="31453" y="21273"/>
                  </a:lnTo>
                  <a:lnTo>
                    <a:pt x="31209" y="20846"/>
                  </a:lnTo>
                  <a:lnTo>
                    <a:pt x="30904" y="20480"/>
                  </a:lnTo>
                  <a:lnTo>
                    <a:pt x="30600" y="20176"/>
                  </a:lnTo>
                  <a:lnTo>
                    <a:pt x="30295" y="19871"/>
                  </a:lnTo>
                  <a:lnTo>
                    <a:pt x="29929" y="19627"/>
                  </a:lnTo>
                  <a:lnTo>
                    <a:pt x="29198" y="19261"/>
                  </a:lnTo>
                  <a:lnTo>
                    <a:pt x="29198" y="19261"/>
                  </a:lnTo>
                  <a:lnTo>
                    <a:pt x="27918" y="18713"/>
                  </a:lnTo>
                  <a:lnTo>
                    <a:pt x="27003" y="18347"/>
                  </a:lnTo>
                  <a:lnTo>
                    <a:pt x="26698" y="18164"/>
                  </a:lnTo>
                  <a:lnTo>
                    <a:pt x="26516" y="17981"/>
                  </a:lnTo>
                  <a:lnTo>
                    <a:pt x="26394" y="17737"/>
                  </a:lnTo>
                  <a:lnTo>
                    <a:pt x="26394" y="17433"/>
                  </a:lnTo>
                  <a:lnTo>
                    <a:pt x="26394" y="17433"/>
                  </a:lnTo>
                  <a:lnTo>
                    <a:pt x="26394" y="17250"/>
                  </a:lnTo>
                  <a:lnTo>
                    <a:pt x="26516" y="17006"/>
                  </a:lnTo>
                  <a:lnTo>
                    <a:pt x="27003" y="16336"/>
                  </a:lnTo>
                  <a:lnTo>
                    <a:pt x="27613" y="15421"/>
                  </a:lnTo>
                  <a:lnTo>
                    <a:pt x="28283" y="14263"/>
                  </a:lnTo>
                  <a:lnTo>
                    <a:pt x="28588" y="13654"/>
                  </a:lnTo>
                  <a:lnTo>
                    <a:pt x="28893" y="12983"/>
                  </a:lnTo>
                  <a:lnTo>
                    <a:pt x="29137" y="12252"/>
                  </a:lnTo>
                  <a:lnTo>
                    <a:pt x="29380" y="11520"/>
                  </a:lnTo>
                  <a:lnTo>
                    <a:pt x="29502" y="10728"/>
                  </a:lnTo>
                  <a:lnTo>
                    <a:pt x="29563" y="9935"/>
                  </a:lnTo>
                  <a:lnTo>
                    <a:pt x="29563" y="9082"/>
                  </a:lnTo>
                  <a:lnTo>
                    <a:pt x="29441" y="8229"/>
                  </a:lnTo>
                  <a:lnTo>
                    <a:pt x="29441" y="8229"/>
                  </a:lnTo>
                  <a:lnTo>
                    <a:pt x="29259" y="7436"/>
                  </a:lnTo>
                  <a:lnTo>
                    <a:pt x="28954" y="6583"/>
                  </a:lnTo>
                  <a:lnTo>
                    <a:pt x="28527" y="5852"/>
                  </a:lnTo>
                  <a:lnTo>
                    <a:pt x="28039" y="5120"/>
                  </a:lnTo>
                  <a:lnTo>
                    <a:pt x="27491" y="4450"/>
                  </a:lnTo>
                  <a:lnTo>
                    <a:pt x="26881" y="3840"/>
                  </a:lnTo>
                  <a:lnTo>
                    <a:pt x="26211" y="3231"/>
                  </a:lnTo>
                  <a:lnTo>
                    <a:pt x="25418" y="2682"/>
                  </a:lnTo>
                  <a:lnTo>
                    <a:pt x="24626" y="2194"/>
                  </a:lnTo>
                  <a:lnTo>
                    <a:pt x="23712" y="1768"/>
                  </a:lnTo>
                  <a:lnTo>
                    <a:pt x="22797" y="1341"/>
                  </a:lnTo>
                  <a:lnTo>
                    <a:pt x="21822" y="975"/>
                  </a:lnTo>
                  <a:lnTo>
                    <a:pt x="20786" y="671"/>
                  </a:lnTo>
                  <a:lnTo>
                    <a:pt x="19689" y="488"/>
                  </a:lnTo>
                  <a:lnTo>
                    <a:pt x="18592" y="244"/>
                  </a:lnTo>
                  <a:lnTo>
                    <a:pt x="17434" y="122"/>
                  </a:lnTo>
                  <a:lnTo>
                    <a:pt x="17434" y="122"/>
                  </a:lnTo>
                  <a:lnTo>
                    <a:pt x="15239" y="0"/>
                  </a:lnTo>
                  <a:lnTo>
                    <a:pt x="14203" y="0"/>
                  </a:lnTo>
                  <a:lnTo>
                    <a:pt x="13167" y="61"/>
                  </a:lnTo>
                  <a:lnTo>
                    <a:pt x="12192" y="122"/>
                  </a:lnTo>
                  <a:lnTo>
                    <a:pt x="11277" y="305"/>
                  </a:lnTo>
                  <a:lnTo>
                    <a:pt x="10485" y="488"/>
                  </a:lnTo>
                  <a:lnTo>
                    <a:pt x="9692" y="792"/>
                  </a:lnTo>
                  <a:lnTo>
                    <a:pt x="8961" y="1219"/>
                  </a:lnTo>
                  <a:lnTo>
                    <a:pt x="8351" y="1646"/>
                  </a:lnTo>
                  <a:lnTo>
                    <a:pt x="7803" y="2194"/>
                  </a:lnTo>
                  <a:lnTo>
                    <a:pt x="7376" y="2865"/>
                  </a:lnTo>
                  <a:lnTo>
                    <a:pt x="7071" y="3596"/>
                  </a:lnTo>
                  <a:lnTo>
                    <a:pt x="6828" y="4450"/>
                  </a:lnTo>
                  <a:lnTo>
                    <a:pt x="6645" y="5425"/>
                  </a:lnTo>
                  <a:lnTo>
                    <a:pt x="6645" y="6522"/>
                  </a:lnTo>
                  <a:lnTo>
                    <a:pt x="6645" y="6522"/>
                  </a:lnTo>
                  <a:lnTo>
                    <a:pt x="6462" y="6583"/>
                  </a:lnTo>
                  <a:lnTo>
                    <a:pt x="6035" y="6644"/>
                  </a:lnTo>
                  <a:lnTo>
                    <a:pt x="5426" y="6827"/>
                  </a:lnTo>
                  <a:lnTo>
                    <a:pt x="5060" y="7010"/>
                  </a:lnTo>
                  <a:lnTo>
                    <a:pt x="4633" y="7193"/>
                  </a:lnTo>
                  <a:lnTo>
                    <a:pt x="4268" y="7497"/>
                  </a:lnTo>
                  <a:lnTo>
                    <a:pt x="3902" y="7802"/>
                  </a:lnTo>
                  <a:lnTo>
                    <a:pt x="3536" y="8229"/>
                  </a:lnTo>
                  <a:lnTo>
                    <a:pt x="3170" y="8655"/>
                  </a:lnTo>
                  <a:lnTo>
                    <a:pt x="2866" y="9265"/>
                  </a:lnTo>
                  <a:lnTo>
                    <a:pt x="2622" y="9874"/>
                  </a:lnTo>
                  <a:lnTo>
                    <a:pt x="2439" y="10606"/>
                  </a:lnTo>
                  <a:lnTo>
                    <a:pt x="2317" y="11459"/>
                  </a:lnTo>
                  <a:lnTo>
                    <a:pt x="2317" y="11459"/>
                  </a:lnTo>
                  <a:lnTo>
                    <a:pt x="2317" y="12374"/>
                  </a:lnTo>
                  <a:lnTo>
                    <a:pt x="2317" y="13227"/>
                  </a:lnTo>
                  <a:lnTo>
                    <a:pt x="2378" y="14080"/>
                  </a:lnTo>
                  <a:lnTo>
                    <a:pt x="2500" y="14873"/>
                  </a:lnTo>
                  <a:lnTo>
                    <a:pt x="2683" y="15604"/>
                  </a:lnTo>
                  <a:lnTo>
                    <a:pt x="2866" y="16336"/>
                  </a:lnTo>
                  <a:lnTo>
                    <a:pt x="3353" y="17616"/>
                  </a:lnTo>
                  <a:lnTo>
                    <a:pt x="3841" y="18652"/>
                  </a:lnTo>
                  <a:lnTo>
                    <a:pt x="4268" y="19444"/>
                  </a:lnTo>
                  <a:lnTo>
                    <a:pt x="4694" y="20115"/>
                  </a:lnTo>
                  <a:lnTo>
                    <a:pt x="4694" y="20115"/>
                  </a:lnTo>
                  <a:lnTo>
                    <a:pt x="4511" y="20115"/>
                  </a:lnTo>
                  <a:lnTo>
                    <a:pt x="4146" y="20054"/>
                  </a:lnTo>
                  <a:lnTo>
                    <a:pt x="3597" y="20115"/>
                  </a:lnTo>
                  <a:lnTo>
                    <a:pt x="3292" y="20176"/>
                  </a:lnTo>
                  <a:lnTo>
                    <a:pt x="2927" y="20298"/>
                  </a:lnTo>
                  <a:lnTo>
                    <a:pt x="2561" y="20480"/>
                  </a:lnTo>
                  <a:lnTo>
                    <a:pt x="2195" y="20724"/>
                  </a:lnTo>
                  <a:lnTo>
                    <a:pt x="1890" y="21029"/>
                  </a:lnTo>
                  <a:lnTo>
                    <a:pt x="1525" y="21395"/>
                  </a:lnTo>
                  <a:lnTo>
                    <a:pt x="1159" y="21882"/>
                  </a:lnTo>
                  <a:lnTo>
                    <a:pt x="854" y="22431"/>
                  </a:lnTo>
                  <a:lnTo>
                    <a:pt x="610" y="23101"/>
                  </a:lnTo>
                  <a:lnTo>
                    <a:pt x="367" y="23894"/>
                  </a:lnTo>
                  <a:lnTo>
                    <a:pt x="367" y="23894"/>
                  </a:lnTo>
                  <a:lnTo>
                    <a:pt x="184" y="24808"/>
                  </a:lnTo>
                  <a:lnTo>
                    <a:pt x="62" y="25844"/>
                  </a:lnTo>
                  <a:lnTo>
                    <a:pt x="1" y="27002"/>
                  </a:lnTo>
                  <a:lnTo>
                    <a:pt x="1" y="28282"/>
                  </a:lnTo>
                  <a:lnTo>
                    <a:pt x="1" y="29623"/>
                  </a:lnTo>
                  <a:lnTo>
                    <a:pt x="123" y="31025"/>
                  </a:lnTo>
                  <a:lnTo>
                    <a:pt x="306" y="32488"/>
                  </a:lnTo>
                  <a:lnTo>
                    <a:pt x="549" y="33890"/>
                  </a:lnTo>
                  <a:lnTo>
                    <a:pt x="854" y="35353"/>
                  </a:lnTo>
                  <a:lnTo>
                    <a:pt x="1281" y="36816"/>
                  </a:lnTo>
                  <a:lnTo>
                    <a:pt x="1708" y="38157"/>
                  </a:lnTo>
                  <a:lnTo>
                    <a:pt x="2256" y="39498"/>
                  </a:lnTo>
                  <a:lnTo>
                    <a:pt x="2927" y="40717"/>
                  </a:lnTo>
                  <a:lnTo>
                    <a:pt x="3597" y="41814"/>
                  </a:lnTo>
                  <a:lnTo>
                    <a:pt x="3963" y="42302"/>
                  </a:lnTo>
                  <a:lnTo>
                    <a:pt x="4390" y="42789"/>
                  </a:lnTo>
                  <a:lnTo>
                    <a:pt x="4816" y="43216"/>
                  </a:lnTo>
                  <a:lnTo>
                    <a:pt x="5243" y="43643"/>
                  </a:lnTo>
                  <a:lnTo>
                    <a:pt x="5243" y="43643"/>
                  </a:lnTo>
                  <a:lnTo>
                    <a:pt x="5730" y="44008"/>
                  </a:lnTo>
                  <a:lnTo>
                    <a:pt x="6279" y="44313"/>
                  </a:lnTo>
                  <a:lnTo>
                    <a:pt x="6828" y="44618"/>
                  </a:lnTo>
                  <a:lnTo>
                    <a:pt x="7437" y="44862"/>
                  </a:lnTo>
                  <a:lnTo>
                    <a:pt x="8108" y="45106"/>
                  </a:lnTo>
                  <a:lnTo>
                    <a:pt x="8778" y="45288"/>
                  </a:lnTo>
                  <a:lnTo>
                    <a:pt x="10241" y="45593"/>
                  </a:lnTo>
                  <a:lnTo>
                    <a:pt x="11765" y="45837"/>
                  </a:lnTo>
                  <a:lnTo>
                    <a:pt x="13411" y="45959"/>
                  </a:lnTo>
                  <a:lnTo>
                    <a:pt x="15056" y="46020"/>
                  </a:lnTo>
                  <a:lnTo>
                    <a:pt x="16702" y="45959"/>
                  </a:lnTo>
                  <a:lnTo>
                    <a:pt x="18348" y="45898"/>
                  </a:lnTo>
                  <a:lnTo>
                    <a:pt x="19994" y="45776"/>
                  </a:lnTo>
                  <a:lnTo>
                    <a:pt x="21578" y="45532"/>
                  </a:lnTo>
                  <a:lnTo>
                    <a:pt x="23041" y="45349"/>
                  </a:lnTo>
                  <a:lnTo>
                    <a:pt x="24443" y="45106"/>
                  </a:lnTo>
                  <a:lnTo>
                    <a:pt x="25662" y="44801"/>
                  </a:lnTo>
                  <a:lnTo>
                    <a:pt x="26759" y="44557"/>
                  </a:lnTo>
                  <a:lnTo>
                    <a:pt x="27674" y="44252"/>
                  </a:lnTo>
                  <a:lnTo>
                    <a:pt x="27674" y="44252"/>
                  </a:lnTo>
                  <a:lnTo>
                    <a:pt x="28405" y="43947"/>
                  </a:lnTo>
                  <a:lnTo>
                    <a:pt x="29015" y="43582"/>
                  </a:lnTo>
                  <a:lnTo>
                    <a:pt x="29563" y="43094"/>
                  </a:lnTo>
                  <a:lnTo>
                    <a:pt x="29990" y="42607"/>
                  </a:lnTo>
                  <a:lnTo>
                    <a:pt x="30356" y="42058"/>
                  </a:lnTo>
                  <a:lnTo>
                    <a:pt x="30600" y="41448"/>
                  </a:lnTo>
                  <a:lnTo>
                    <a:pt x="30721" y="40900"/>
                  </a:lnTo>
                  <a:lnTo>
                    <a:pt x="30782" y="40290"/>
                  </a:lnTo>
                  <a:lnTo>
                    <a:pt x="30721" y="39742"/>
                  </a:lnTo>
                  <a:lnTo>
                    <a:pt x="30600" y="39193"/>
                  </a:lnTo>
                  <a:lnTo>
                    <a:pt x="30356" y="38766"/>
                  </a:lnTo>
                  <a:lnTo>
                    <a:pt x="30051" y="38340"/>
                  </a:lnTo>
                  <a:lnTo>
                    <a:pt x="29685" y="37974"/>
                  </a:lnTo>
                  <a:lnTo>
                    <a:pt x="29198" y="37730"/>
                  </a:lnTo>
                  <a:lnTo>
                    <a:pt x="28649" y="37608"/>
                  </a:lnTo>
                  <a:lnTo>
                    <a:pt x="27979" y="37608"/>
                  </a:lnTo>
                  <a:lnTo>
                    <a:pt x="27979" y="37608"/>
                  </a:lnTo>
                  <a:lnTo>
                    <a:pt x="28161" y="37486"/>
                  </a:lnTo>
                  <a:lnTo>
                    <a:pt x="28710" y="37060"/>
                  </a:lnTo>
                  <a:lnTo>
                    <a:pt x="29380" y="36328"/>
                  </a:lnTo>
                  <a:lnTo>
                    <a:pt x="29807" y="35841"/>
                  </a:lnTo>
                  <a:lnTo>
                    <a:pt x="30234" y="35353"/>
                  </a:lnTo>
                  <a:lnTo>
                    <a:pt x="30660" y="34744"/>
                  </a:lnTo>
                  <a:lnTo>
                    <a:pt x="31087" y="34012"/>
                  </a:lnTo>
                  <a:lnTo>
                    <a:pt x="31453" y="33281"/>
                  </a:lnTo>
                  <a:lnTo>
                    <a:pt x="31819" y="32427"/>
                  </a:lnTo>
                  <a:lnTo>
                    <a:pt x="32123" y="31513"/>
                  </a:lnTo>
                  <a:lnTo>
                    <a:pt x="32367" y="30538"/>
                  </a:lnTo>
                  <a:lnTo>
                    <a:pt x="32550" y="29441"/>
                  </a:lnTo>
                  <a:lnTo>
                    <a:pt x="32611" y="28282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2" name="Google Shape;942;p16"/>
            <p:cNvSpPr/>
            <p:nvPr/>
          </p:nvSpPr>
          <p:spPr>
            <a:xfrm>
              <a:off x="6091175" y="4864375"/>
              <a:ext cx="21350" cy="7650"/>
            </a:xfrm>
            <a:custGeom>
              <a:avLst/>
              <a:gdLst/>
              <a:ahLst/>
              <a:cxnLst/>
              <a:rect l="l" t="t" r="r" b="b"/>
              <a:pathLst>
                <a:path w="854" h="306" extrusionOk="0">
                  <a:moveTo>
                    <a:pt x="854" y="0"/>
                  </a:moveTo>
                  <a:lnTo>
                    <a:pt x="854" y="0"/>
                  </a:lnTo>
                  <a:lnTo>
                    <a:pt x="854" y="0"/>
                  </a:lnTo>
                  <a:lnTo>
                    <a:pt x="0" y="305"/>
                  </a:lnTo>
                  <a:lnTo>
                    <a:pt x="0" y="305"/>
                  </a:lnTo>
                  <a:lnTo>
                    <a:pt x="854" y="0"/>
                  </a:lnTo>
                  <a:lnTo>
                    <a:pt x="854" y="0"/>
                  </a:lnTo>
                  <a:lnTo>
                    <a:pt x="854" y="0"/>
                  </a:lnTo>
                  <a:close/>
                </a:path>
              </a:pathLst>
            </a:custGeom>
            <a:solidFill>
              <a:srgbClr val="DFDDD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3" name="Google Shape;943;p16"/>
            <p:cNvSpPr/>
            <p:nvPr/>
          </p:nvSpPr>
          <p:spPr>
            <a:xfrm>
              <a:off x="6091175" y="4864375"/>
              <a:ext cx="21350" cy="7650"/>
            </a:xfrm>
            <a:custGeom>
              <a:avLst/>
              <a:gdLst/>
              <a:ahLst/>
              <a:cxnLst/>
              <a:rect l="l" t="t" r="r" b="b"/>
              <a:pathLst>
                <a:path w="854" h="306" fill="none" extrusionOk="0">
                  <a:moveTo>
                    <a:pt x="854" y="0"/>
                  </a:moveTo>
                  <a:lnTo>
                    <a:pt x="854" y="0"/>
                  </a:lnTo>
                  <a:lnTo>
                    <a:pt x="854" y="0"/>
                  </a:lnTo>
                  <a:lnTo>
                    <a:pt x="0" y="305"/>
                  </a:lnTo>
                  <a:lnTo>
                    <a:pt x="0" y="305"/>
                  </a:lnTo>
                  <a:lnTo>
                    <a:pt x="854" y="0"/>
                  </a:lnTo>
                  <a:lnTo>
                    <a:pt x="854" y="0"/>
                  </a:lnTo>
                  <a:lnTo>
                    <a:pt x="85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4" name="Google Shape;944;p16"/>
            <p:cNvSpPr/>
            <p:nvPr/>
          </p:nvSpPr>
          <p:spPr>
            <a:xfrm>
              <a:off x="5461825" y="4705900"/>
              <a:ext cx="650700" cy="202675"/>
            </a:xfrm>
            <a:custGeom>
              <a:avLst/>
              <a:gdLst/>
              <a:ahLst/>
              <a:cxnLst/>
              <a:rect l="l" t="t" r="r" b="b"/>
              <a:pathLst>
                <a:path w="26028" h="8107" extrusionOk="0">
                  <a:moveTo>
                    <a:pt x="1" y="0"/>
                  </a:moveTo>
                  <a:lnTo>
                    <a:pt x="305" y="853"/>
                  </a:lnTo>
                  <a:lnTo>
                    <a:pt x="671" y="1707"/>
                  </a:lnTo>
                  <a:lnTo>
                    <a:pt x="1098" y="2499"/>
                  </a:lnTo>
                  <a:lnTo>
                    <a:pt x="1524" y="3231"/>
                  </a:lnTo>
                  <a:lnTo>
                    <a:pt x="2012" y="3962"/>
                  </a:lnTo>
                  <a:lnTo>
                    <a:pt x="2500" y="4572"/>
                  </a:lnTo>
                  <a:lnTo>
                    <a:pt x="3048" y="5181"/>
                  </a:lnTo>
                  <a:lnTo>
                    <a:pt x="3597" y="5730"/>
                  </a:lnTo>
                  <a:lnTo>
                    <a:pt x="4024" y="6034"/>
                  </a:lnTo>
                  <a:lnTo>
                    <a:pt x="4511" y="6339"/>
                  </a:lnTo>
                  <a:lnTo>
                    <a:pt x="4999" y="6583"/>
                  </a:lnTo>
                  <a:lnTo>
                    <a:pt x="5547" y="6827"/>
                  </a:lnTo>
                  <a:lnTo>
                    <a:pt x="6705" y="7254"/>
                  </a:lnTo>
                  <a:lnTo>
                    <a:pt x="7925" y="7558"/>
                  </a:lnTo>
                  <a:lnTo>
                    <a:pt x="9266" y="7802"/>
                  </a:lnTo>
                  <a:lnTo>
                    <a:pt x="10667" y="7985"/>
                  </a:lnTo>
                  <a:lnTo>
                    <a:pt x="12130" y="8046"/>
                  </a:lnTo>
                  <a:lnTo>
                    <a:pt x="13593" y="8107"/>
                  </a:lnTo>
                  <a:lnTo>
                    <a:pt x="15239" y="8046"/>
                  </a:lnTo>
                  <a:lnTo>
                    <a:pt x="16885" y="7985"/>
                  </a:lnTo>
                  <a:lnTo>
                    <a:pt x="18470" y="7802"/>
                  </a:lnTo>
                  <a:lnTo>
                    <a:pt x="20054" y="7619"/>
                  </a:lnTo>
                  <a:lnTo>
                    <a:pt x="21517" y="7375"/>
                  </a:lnTo>
                  <a:lnTo>
                    <a:pt x="22858" y="7132"/>
                  </a:lnTo>
                  <a:lnTo>
                    <a:pt x="24077" y="6888"/>
                  </a:lnTo>
                  <a:lnTo>
                    <a:pt x="25174" y="6644"/>
                  </a:lnTo>
                  <a:lnTo>
                    <a:pt x="26028" y="6339"/>
                  </a:lnTo>
                  <a:lnTo>
                    <a:pt x="23346" y="6278"/>
                  </a:lnTo>
                  <a:lnTo>
                    <a:pt x="20969" y="6156"/>
                  </a:lnTo>
                  <a:lnTo>
                    <a:pt x="18835" y="6034"/>
                  </a:lnTo>
                  <a:lnTo>
                    <a:pt x="16824" y="5791"/>
                  </a:lnTo>
                  <a:lnTo>
                    <a:pt x="14934" y="5547"/>
                  </a:lnTo>
                  <a:lnTo>
                    <a:pt x="12984" y="5181"/>
                  </a:lnTo>
                  <a:lnTo>
                    <a:pt x="10911" y="4694"/>
                  </a:lnTo>
                  <a:lnTo>
                    <a:pt x="8656" y="4084"/>
                  </a:lnTo>
                  <a:lnTo>
                    <a:pt x="6645" y="3413"/>
                  </a:lnTo>
                  <a:lnTo>
                    <a:pt x="4877" y="2743"/>
                  </a:lnTo>
                  <a:lnTo>
                    <a:pt x="3414" y="2073"/>
                  </a:lnTo>
                  <a:lnTo>
                    <a:pt x="2195" y="1402"/>
                  </a:lnTo>
                  <a:lnTo>
                    <a:pt x="1220" y="853"/>
                  </a:lnTo>
                  <a:lnTo>
                    <a:pt x="549" y="42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2873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5" name="Google Shape;945;p16"/>
            <p:cNvSpPr/>
            <p:nvPr/>
          </p:nvSpPr>
          <p:spPr>
            <a:xfrm>
              <a:off x="5586775" y="3867775"/>
              <a:ext cx="137175" cy="124975"/>
            </a:xfrm>
            <a:custGeom>
              <a:avLst/>
              <a:gdLst/>
              <a:ahLst/>
              <a:cxnLst/>
              <a:rect l="l" t="t" r="r" b="b"/>
              <a:pathLst>
                <a:path w="5487" h="4999" extrusionOk="0">
                  <a:moveTo>
                    <a:pt x="184" y="1"/>
                  </a:moveTo>
                  <a:lnTo>
                    <a:pt x="1" y="1037"/>
                  </a:lnTo>
                  <a:lnTo>
                    <a:pt x="1" y="2134"/>
                  </a:lnTo>
                  <a:lnTo>
                    <a:pt x="123" y="2134"/>
                  </a:lnTo>
                  <a:lnTo>
                    <a:pt x="427" y="2195"/>
                  </a:lnTo>
                  <a:lnTo>
                    <a:pt x="915" y="2195"/>
                  </a:lnTo>
                  <a:lnTo>
                    <a:pt x="1586" y="2317"/>
                  </a:lnTo>
                  <a:lnTo>
                    <a:pt x="2256" y="2561"/>
                  </a:lnTo>
                  <a:lnTo>
                    <a:pt x="3048" y="2926"/>
                  </a:lnTo>
                  <a:lnTo>
                    <a:pt x="3902" y="3414"/>
                  </a:lnTo>
                  <a:lnTo>
                    <a:pt x="4328" y="3780"/>
                  </a:lnTo>
                  <a:lnTo>
                    <a:pt x="4694" y="4146"/>
                  </a:lnTo>
                  <a:lnTo>
                    <a:pt x="5121" y="4572"/>
                  </a:lnTo>
                  <a:lnTo>
                    <a:pt x="5487" y="4999"/>
                  </a:lnTo>
                  <a:lnTo>
                    <a:pt x="5426" y="4877"/>
                  </a:lnTo>
                  <a:lnTo>
                    <a:pt x="5304" y="4389"/>
                  </a:lnTo>
                  <a:lnTo>
                    <a:pt x="4999" y="3719"/>
                  </a:lnTo>
                  <a:lnTo>
                    <a:pt x="4511" y="2926"/>
                  </a:lnTo>
                  <a:lnTo>
                    <a:pt x="4207" y="2500"/>
                  </a:lnTo>
                  <a:lnTo>
                    <a:pt x="3841" y="2073"/>
                  </a:lnTo>
                  <a:lnTo>
                    <a:pt x="3414" y="1646"/>
                  </a:lnTo>
                  <a:lnTo>
                    <a:pt x="2927" y="1281"/>
                  </a:lnTo>
                  <a:lnTo>
                    <a:pt x="2378" y="854"/>
                  </a:lnTo>
                  <a:lnTo>
                    <a:pt x="1707" y="549"/>
                  </a:lnTo>
                  <a:lnTo>
                    <a:pt x="976" y="244"/>
                  </a:lnTo>
                  <a:lnTo>
                    <a:pt x="184" y="1"/>
                  </a:lnTo>
                  <a:close/>
                </a:path>
              </a:pathLst>
            </a:custGeom>
            <a:solidFill>
              <a:srgbClr val="52873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6" name="Google Shape;946;p16"/>
            <p:cNvSpPr/>
            <p:nvPr/>
          </p:nvSpPr>
          <p:spPr>
            <a:xfrm>
              <a:off x="6120125" y="4686075"/>
              <a:ext cx="15275" cy="12225"/>
            </a:xfrm>
            <a:custGeom>
              <a:avLst/>
              <a:gdLst/>
              <a:ahLst/>
              <a:cxnLst/>
              <a:rect l="l" t="t" r="r" b="b"/>
              <a:pathLst>
                <a:path w="611" h="489" extrusionOk="0">
                  <a:moveTo>
                    <a:pt x="1" y="488"/>
                  </a:moveTo>
                  <a:lnTo>
                    <a:pt x="1" y="488"/>
                  </a:lnTo>
                  <a:lnTo>
                    <a:pt x="1" y="488"/>
                  </a:lnTo>
                  <a:lnTo>
                    <a:pt x="1" y="488"/>
                  </a:lnTo>
                  <a:lnTo>
                    <a:pt x="1" y="488"/>
                  </a:lnTo>
                  <a:lnTo>
                    <a:pt x="1" y="488"/>
                  </a:lnTo>
                  <a:close/>
                  <a:moveTo>
                    <a:pt x="183" y="305"/>
                  </a:moveTo>
                  <a:lnTo>
                    <a:pt x="183" y="305"/>
                  </a:lnTo>
                  <a:lnTo>
                    <a:pt x="183" y="305"/>
                  </a:lnTo>
                  <a:lnTo>
                    <a:pt x="183" y="305"/>
                  </a:lnTo>
                  <a:lnTo>
                    <a:pt x="183" y="305"/>
                  </a:lnTo>
                  <a:close/>
                  <a:moveTo>
                    <a:pt x="183" y="305"/>
                  </a:moveTo>
                  <a:lnTo>
                    <a:pt x="183" y="305"/>
                  </a:lnTo>
                  <a:lnTo>
                    <a:pt x="183" y="305"/>
                  </a:lnTo>
                  <a:lnTo>
                    <a:pt x="183" y="305"/>
                  </a:lnTo>
                  <a:lnTo>
                    <a:pt x="183" y="305"/>
                  </a:lnTo>
                  <a:close/>
                  <a:moveTo>
                    <a:pt x="610" y="1"/>
                  </a:moveTo>
                  <a:lnTo>
                    <a:pt x="610" y="1"/>
                  </a:lnTo>
                  <a:lnTo>
                    <a:pt x="183" y="305"/>
                  </a:lnTo>
                  <a:lnTo>
                    <a:pt x="183" y="305"/>
                  </a:lnTo>
                  <a:lnTo>
                    <a:pt x="610" y="1"/>
                  </a:lnTo>
                  <a:close/>
                  <a:moveTo>
                    <a:pt x="610" y="1"/>
                  </a:moveTo>
                  <a:lnTo>
                    <a:pt x="610" y="1"/>
                  </a:lnTo>
                  <a:lnTo>
                    <a:pt x="610" y="1"/>
                  </a:lnTo>
                  <a:lnTo>
                    <a:pt x="610" y="1"/>
                  </a:lnTo>
                  <a:lnTo>
                    <a:pt x="610" y="1"/>
                  </a:lnTo>
                  <a:close/>
                  <a:moveTo>
                    <a:pt x="610" y="1"/>
                  </a:moveTo>
                  <a:lnTo>
                    <a:pt x="610" y="1"/>
                  </a:lnTo>
                  <a:lnTo>
                    <a:pt x="610" y="1"/>
                  </a:lnTo>
                  <a:lnTo>
                    <a:pt x="610" y="1"/>
                  </a:lnTo>
                  <a:lnTo>
                    <a:pt x="610" y="1"/>
                  </a:lnTo>
                  <a:close/>
                  <a:moveTo>
                    <a:pt x="610" y="1"/>
                  </a:moveTo>
                  <a:lnTo>
                    <a:pt x="610" y="1"/>
                  </a:lnTo>
                  <a:lnTo>
                    <a:pt x="610" y="1"/>
                  </a:lnTo>
                  <a:lnTo>
                    <a:pt x="610" y="1"/>
                  </a:lnTo>
                  <a:lnTo>
                    <a:pt x="610" y="1"/>
                  </a:lnTo>
                  <a:close/>
                </a:path>
              </a:pathLst>
            </a:custGeom>
            <a:solidFill>
              <a:srgbClr val="DFDDD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7" name="Google Shape;947;p16"/>
            <p:cNvSpPr/>
            <p:nvPr/>
          </p:nvSpPr>
          <p:spPr>
            <a:xfrm>
              <a:off x="6120125" y="46982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8" name="Google Shape;948;p16"/>
            <p:cNvSpPr/>
            <p:nvPr/>
          </p:nvSpPr>
          <p:spPr>
            <a:xfrm>
              <a:off x="6124700" y="46937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9" name="Google Shape;949;p16"/>
            <p:cNvSpPr/>
            <p:nvPr/>
          </p:nvSpPr>
          <p:spPr>
            <a:xfrm>
              <a:off x="6124700" y="46937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0" name="Google Shape;950;p16"/>
            <p:cNvSpPr/>
            <p:nvPr/>
          </p:nvSpPr>
          <p:spPr>
            <a:xfrm>
              <a:off x="6124700" y="4686075"/>
              <a:ext cx="10700" cy="7650"/>
            </a:xfrm>
            <a:custGeom>
              <a:avLst/>
              <a:gdLst/>
              <a:ahLst/>
              <a:cxnLst/>
              <a:rect l="l" t="t" r="r" b="b"/>
              <a:pathLst>
                <a:path w="428" h="306" fill="none" extrusionOk="0">
                  <a:moveTo>
                    <a:pt x="427" y="1"/>
                  </a:moveTo>
                  <a:lnTo>
                    <a:pt x="427" y="1"/>
                  </a:lnTo>
                  <a:lnTo>
                    <a:pt x="0" y="305"/>
                  </a:lnTo>
                  <a:lnTo>
                    <a:pt x="0" y="305"/>
                  </a:lnTo>
                  <a:lnTo>
                    <a:pt x="42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1" name="Google Shape;951;p16"/>
            <p:cNvSpPr/>
            <p:nvPr/>
          </p:nvSpPr>
          <p:spPr>
            <a:xfrm>
              <a:off x="6135375" y="46860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2" name="Google Shape;952;p16"/>
            <p:cNvSpPr/>
            <p:nvPr/>
          </p:nvSpPr>
          <p:spPr>
            <a:xfrm>
              <a:off x="6135375" y="46860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3" name="Google Shape;953;p16"/>
            <p:cNvSpPr/>
            <p:nvPr/>
          </p:nvSpPr>
          <p:spPr>
            <a:xfrm>
              <a:off x="6135375" y="46860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4" name="Google Shape;954;p16"/>
            <p:cNvSpPr/>
            <p:nvPr/>
          </p:nvSpPr>
          <p:spPr>
            <a:xfrm>
              <a:off x="5786400" y="4462075"/>
              <a:ext cx="408425" cy="236225"/>
            </a:xfrm>
            <a:custGeom>
              <a:avLst/>
              <a:gdLst/>
              <a:ahLst/>
              <a:cxnLst/>
              <a:rect l="l" t="t" r="r" b="b"/>
              <a:pathLst>
                <a:path w="16337" h="9449" extrusionOk="0">
                  <a:moveTo>
                    <a:pt x="3231" y="1"/>
                  </a:moveTo>
                  <a:lnTo>
                    <a:pt x="2500" y="122"/>
                  </a:lnTo>
                  <a:lnTo>
                    <a:pt x="1829" y="244"/>
                  </a:lnTo>
                  <a:lnTo>
                    <a:pt x="1220" y="366"/>
                  </a:lnTo>
                  <a:lnTo>
                    <a:pt x="366" y="610"/>
                  </a:lnTo>
                  <a:lnTo>
                    <a:pt x="1" y="793"/>
                  </a:lnTo>
                  <a:lnTo>
                    <a:pt x="245" y="732"/>
                  </a:lnTo>
                  <a:lnTo>
                    <a:pt x="793" y="671"/>
                  </a:lnTo>
                  <a:lnTo>
                    <a:pt x="1342" y="732"/>
                  </a:lnTo>
                  <a:lnTo>
                    <a:pt x="1951" y="854"/>
                  </a:lnTo>
                  <a:lnTo>
                    <a:pt x="2622" y="1037"/>
                  </a:lnTo>
                  <a:lnTo>
                    <a:pt x="3353" y="1402"/>
                  </a:lnTo>
                  <a:lnTo>
                    <a:pt x="3719" y="1646"/>
                  </a:lnTo>
                  <a:lnTo>
                    <a:pt x="4146" y="1951"/>
                  </a:lnTo>
                  <a:lnTo>
                    <a:pt x="4511" y="2317"/>
                  </a:lnTo>
                  <a:lnTo>
                    <a:pt x="4877" y="2682"/>
                  </a:lnTo>
                  <a:lnTo>
                    <a:pt x="5304" y="3170"/>
                  </a:lnTo>
                  <a:lnTo>
                    <a:pt x="5669" y="3658"/>
                  </a:lnTo>
                  <a:lnTo>
                    <a:pt x="6035" y="4267"/>
                  </a:lnTo>
                  <a:lnTo>
                    <a:pt x="6401" y="4938"/>
                  </a:lnTo>
                  <a:lnTo>
                    <a:pt x="6767" y="5669"/>
                  </a:lnTo>
                  <a:lnTo>
                    <a:pt x="7193" y="6279"/>
                  </a:lnTo>
                  <a:lnTo>
                    <a:pt x="7681" y="6888"/>
                  </a:lnTo>
                  <a:lnTo>
                    <a:pt x="8108" y="7376"/>
                  </a:lnTo>
                  <a:lnTo>
                    <a:pt x="8595" y="7803"/>
                  </a:lnTo>
                  <a:lnTo>
                    <a:pt x="9022" y="8168"/>
                  </a:lnTo>
                  <a:lnTo>
                    <a:pt x="9509" y="8473"/>
                  </a:lnTo>
                  <a:lnTo>
                    <a:pt x="9936" y="8717"/>
                  </a:lnTo>
                  <a:lnTo>
                    <a:pt x="10850" y="9144"/>
                  </a:lnTo>
                  <a:lnTo>
                    <a:pt x="11643" y="9326"/>
                  </a:lnTo>
                  <a:lnTo>
                    <a:pt x="12313" y="9448"/>
                  </a:lnTo>
                  <a:lnTo>
                    <a:pt x="13350" y="9448"/>
                  </a:lnTo>
                  <a:lnTo>
                    <a:pt x="13532" y="9265"/>
                  </a:lnTo>
                  <a:lnTo>
                    <a:pt x="13959" y="8961"/>
                  </a:lnTo>
                  <a:lnTo>
                    <a:pt x="14447" y="8473"/>
                  </a:lnTo>
                  <a:lnTo>
                    <a:pt x="15056" y="7864"/>
                  </a:lnTo>
                  <a:lnTo>
                    <a:pt x="15727" y="7071"/>
                  </a:lnTo>
                  <a:lnTo>
                    <a:pt x="16336" y="6096"/>
                  </a:lnTo>
                  <a:lnTo>
                    <a:pt x="14812" y="6096"/>
                  </a:lnTo>
                  <a:lnTo>
                    <a:pt x="14020" y="5974"/>
                  </a:lnTo>
                  <a:lnTo>
                    <a:pt x="13289" y="5852"/>
                  </a:lnTo>
                  <a:lnTo>
                    <a:pt x="12740" y="5669"/>
                  </a:lnTo>
                  <a:lnTo>
                    <a:pt x="12191" y="5425"/>
                  </a:lnTo>
                  <a:lnTo>
                    <a:pt x="11765" y="5182"/>
                  </a:lnTo>
                  <a:lnTo>
                    <a:pt x="11338" y="4877"/>
                  </a:lnTo>
                  <a:lnTo>
                    <a:pt x="10972" y="4572"/>
                  </a:lnTo>
                  <a:lnTo>
                    <a:pt x="10302" y="3841"/>
                  </a:lnTo>
                  <a:lnTo>
                    <a:pt x="9631" y="2987"/>
                  </a:lnTo>
                  <a:lnTo>
                    <a:pt x="8839" y="2134"/>
                  </a:lnTo>
                  <a:lnTo>
                    <a:pt x="8412" y="1646"/>
                  </a:lnTo>
                  <a:lnTo>
                    <a:pt x="7864" y="1220"/>
                  </a:lnTo>
                  <a:lnTo>
                    <a:pt x="7437" y="915"/>
                  </a:lnTo>
                  <a:lnTo>
                    <a:pt x="6949" y="610"/>
                  </a:lnTo>
                  <a:lnTo>
                    <a:pt x="6462" y="427"/>
                  </a:lnTo>
                  <a:lnTo>
                    <a:pt x="5974" y="244"/>
                  </a:lnTo>
                  <a:lnTo>
                    <a:pt x="5487" y="122"/>
                  </a:lnTo>
                  <a:lnTo>
                    <a:pt x="4999" y="61"/>
                  </a:lnTo>
                  <a:lnTo>
                    <a:pt x="4024" y="1"/>
                  </a:lnTo>
                  <a:close/>
                </a:path>
              </a:pathLst>
            </a:custGeom>
            <a:solidFill>
              <a:srgbClr val="52873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5" name="Google Shape;955;p16"/>
            <p:cNvSpPr/>
            <p:nvPr/>
          </p:nvSpPr>
          <p:spPr>
            <a:xfrm>
              <a:off x="5501450" y="4192350"/>
              <a:ext cx="248400" cy="221000"/>
            </a:xfrm>
            <a:custGeom>
              <a:avLst/>
              <a:gdLst/>
              <a:ahLst/>
              <a:cxnLst/>
              <a:rect l="l" t="t" r="r" b="b"/>
              <a:pathLst>
                <a:path w="9936" h="8840" extrusionOk="0">
                  <a:moveTo>
                    <a:pt x="0" y="1"/>
                  </a:moveTo>
                  <a:lnTo>
                    <a:pt x="549" y="1159"/>
                  </a:lnTo>
                  <a:lnTo>
                    <a:pt x="976" y="2012"/>
                  </a:lnTo>
                  <a:lnTo>
                    <a:pt x="1463" y="2744"/>
                  </a:lnTo>
                  <a:lnTo>
                    <a:pt x="1829" y="2866"/>
                  </a:lnTo>
                  <a:lnTo>
                    <a:pt x="2256" y="3048"/>
                  </a:lnTo>
                  <a:lnTo>
                    <a:pt x="2804" y="3353"/>
                  </a:lnTo>
                  <a:lnTo>
                    <a:pt x="3353" y="3841"/>
                  </a:lnTo>
                  <a:lnTo>
                    <a:pt x="3901" y="4389"/>
                  </a:lnTo>
                  <a:lnTo>
                    <a:pt x="4145" y="4755"/>
                  </a:lnTo>
                  <a:lnTo>
                    <a:pt x="4389" y="5121"/>
                  </a:lnTo>
                  <a:lnTo>
                    <a:pt x="4572" y="5548"/>
                  </a:lnTo>
                  <a:lnTo>
                    <a:pt x="4755" y="6035"/>
                  </a:lnTo>
                  <a:lnTo>
                    <a:pt x="4999" y="6706"/>
                  </a:lnTo>
                  <a:lnTo>
                    <a:pt x="5364" y="7254"/>
                  </a:lnTo>
                  <a:lnTo>
                    <a:pt x="5791" y="7742"/>
                  </a:lnTo>
                  <a:lnTo>
                    <a:pt x="6340" y="8108"/>
                  </a:lnTo>
                  <a:lnTo>
                    <a:pt x="6949" y="8412"/>
                  </a:lnTo>
                  <a:lnTo>
                    <a:pt x="7620" y="8656"/>
                  </a:lnTo>
                  <a:lnTo>
                    <a:pt x="8290" y="8778"/>
                  </a:lnTo>
                  <a:lnTo>
                    <a:pt x="8961" y="8839"/>
                  </a:lnTo>
                  <a:lnTo>
                    <a:pt x="9448" y="8839"/>
                  </a:lnTo>
                  <a:lnTo>
                    <a:pt x="9936" y="8778"/>
                  </a:lnTo>
                  <a:lnTo>
                    <a:pt x="9570" y="8656"/>
                  </a:lnTo>
                  <a:lnTo>
                    <a:pt x="8778" y="8290"/>
                  </a:lnTo>
                  <a:lnTo>
                    <a:pt x="8351" y="8047"/>
                  </a:lnTo>
                  <a:lnTo>
                    <a:pt x="7924" y="7742"/>
                  </a:lnTo>
                  <a:lnTo>
                    <a:pt x="7498" y="7376"/>
                  </a:lnTo>
                  <a:lnTo>
                    <a:pt x="7193" y="6949"/>
                  </a:lnTo>
                  <a:lnTo>
                    <a:pt x="6949" y="6401"/>
                  </a:lnTo>
                  <a:lnTo>
                    <a:pt x="6705" y="5608"/>
                  </a:lnTo>
                  <a:lnTo>
                    <a:pt x="6340" y="4694"/>
                  </a:lnTo>
                  <a:lnTo>
                    <a:pt x="6157" y="4146"/>
                  </a:lnTo>
                  <a:lnTo>
                    <a:pt x="5852" y="3658"/>
                  </a:lnTo>
                  <a:lnTo>
                    <a:pt x="5486" y="3109"/>
                  </a:lnTo>
                  <a:lnTo>
                    <a:pt x="4999" y="2622"/>
                  </a:lnTo>
                  <a:lnTo>
                    <a:pt x="4511" y="2073"/>
                  </a:lnTo>
                  <a:lnTo>
                    <a:pt x="3840" y="1586"/>
                  </a:lnTo>
                  <a:lnTo>
                    <a:pt x="3109" y="1159"/>
                  </a:lnTo>
                  <a:lnTo>
                    <a:pt x="2195" y="732"/>
                  </a:lnTo>
                  <a:lnTo>
                    <a:pt x="1219" y="36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52873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6" name="Google Shape;956;p16"/>
            <p:cNvSpPr/>
            <p:nvPr/>
          </p:nvSpPr>
          <p:spPr>
            <a:xfrm>
              <a:off x="6080500" y="4178650"/>
              <a:ext cx="7650" cy="33550"/>
            </a:xfrm>
            <a:custGeom>
              <a:avLst/>
              <a:gdLst/>
              <a:ahLst/>
              <a:cxnLst/>
              <a:rect l="l" t="t" r="r" b="b"/>
              <a:pathLst>
                <a:path w="306" h="1342" extrusionOk="0">
                  <a:moveTo>
                    <a:pt x="305" y="0"/>
                  </a:moveTo>
                  <a:lnTo>
                    <a:pt x="305" y="0"/>
                  </a:lnTo>
                  <a:lnTo>
                    <a:pt x="62" y="366"/>
                  </a:lnTo>
                  <a:lnTo>
                    <a:pt x="1" y="610"/>
                  </a:lnTo>
                  <a:lnTo>
                    <a:pt x="1" y="610"/>
                  </a:lnTo>
                  <a:lnTo>
                    <a:pt x="1" y="854"/>
                  </a:lnTo>
                  <a:lnTo>
                    <a:pt x="62" y="1036"/>
                  </a:lnTo>
                  <a:lnTo>
                    <a:pt x="184" y="1219"/>
                  </a:lnTo>
                  <a:lnTo>
                    <a:pt x="305" y="1341"/>
                  </a:lnTo>
                  <a:lnTo>
                    <a:pt x="305" y="1341"/>
                  </a:lnTo>
                  <a:lnTo>
                    <a:pt x="305" y="1341"/>
                  </a:lnTo>
                  <a:lnTo>
                    <a:pt x="305" y="1341"/>
                  </a:lnTo>
                  <a:lnTo>
                    <a:pt x="184" y="1219"/>
                  </a:lnTo>
                  <a:lnTo>
                    <a:pt x="62" y="1036"/>
                  </a:lnTo>
                  <a:lnTo>
                    <a:pt x="1" y="854"/>
                  </a:lnTo>
                  <a:lnTo>
                    <a:pt x="1" y="610"/>
                  </a:lnTo>
                  <a:lnTo>
                    <a:pt x="1" y="610"/>
                  </a:lnTo>
                  <a:lnTo>
                    <a:pt x="62" y="366"/>
                  </a:lnTo>
                  <a:lnTo>
                    <a:pt x="305" y="0"/>
                  </a:lnTo>
                  <a:close/>
                </a:path>
              </a:pathLst>
            </a:custGeom>
            <a:solidFill>
              <a:srgbClr val="DFDDD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7" name="Google Shape;957;p16"/>
            <p:cNvSpPr/>
            <p:nvPr/>
          </p:nvSpPr>
          <p:spPr>
            <a:xfrm>
              <a:off x="6080500" y="4178650"/>
              <a:ext cx="7650" cy="33550"/>
            </a:xfrm>
            <a:custGeom>
              <a:avLst/>
              <a:gdLst/>
              <a:ahLst/>
              <a:cxnLst/>
              <a:rect l="l" t="t" r="r" b="b"/>
              <a:pathLst>
                <a:path w="306" h="1342" fill="none" extrusionOk="0">
                  <a:moveTo>
                    <a:pt x="305" y="0"/>
                  </a:moveTo>
                  <a:lnTo>
                    <a:pt x="305" y="0"/>
                  </a:lnTo>
                  <a:lnTo>
                    <a:pt x="62" y="366"/>
                  </a:lnTo>
                  <a:lnTo>
                    <a:pt x="1" y="610"/>
                  </a:lnTo>
                  <a:lnTo>
                    <a:pt x="1" y="610"/>
                  </a:lnTo>
                  <a:lnTo>
                    <a:pt x="1" y="854"/>
                  </a:lnTo>
                  <a:lnTo>
                    <a:pt x="62" y="1036"/>
                  </a:lnTo>
                  <a:lnTo>
                    <a:pt x="184" y="1219"/>
                  </a:lnTo>
                  <a:lnTo>
                    <a:pt x="305" y="1341"/>
                  </a:lnTo>
                  <a:lnTo>
                    <a:pt x="305" y="1341"/>
                  </a:lnTo>
                  <a:lnTo>
                    <a:pt x="305" y="1341"/>
                  </a:lnTo>
                  <a:lnTo>
                    <a:pt x="305" y="1341"/>
                  </a:lnTo>
                  <a:lnTo>
                    <a:pt x="184" y="1219"/>
                  </a:lnTo>
                  <a:lnTo>
                    <a:pt x="62" y="1036"/>
                  </a:lnTo>
                  <a:lnTo>
                    <a:pt x="1" y="854"/>
                  </a:lnTo>
                  <a:lnTo>
                    <a:pt x="1" y="610"/>
                  </a:lnTo>
                  <a:lnTo>
                    <a:pt x="1" y="610"/>
                  </a:lnTo>
                  <a:lnTo>
                    <a:pt x="62" y="366"/>
                  </a:lnTo>
                  <a:lnTo>
                    <a:pt x="30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8" name="Google Shape;958;p16"/>
            <p:cNvSpPr/>
            <p:nvPr/>
          </p:nvSpPr>
          <p:spPr>
            <a:xfrm>
              <a:off x="5894600" y="4056725"/>
              <a:ext cx="202700" cy="155475"/>
            </a:xfrm>
            <a:custGeom>
              <a:avLst/>
              <a:gdLst/>
              <a:ahLst/>
              <a:cxnLst/>
              <a:rect l="l" t="t" r="r" b="b"/>
              <a:pathLst>
                <a:path w="8108" h="6219" extrusionOk="0">
                  <a:moveTo>
                    <a:pt x="0" y="1"/>
                  </a:moveTo>
                  <a:lnTo>
                    <a:pt x="549" y="915"/>
                  </a:lnTo>
                  <a:lnTo>
                    <a:pt x="1098" y="1708"/>
                  </a:lnTo>
                  <a:lnTo>
                    <a:pt x="1707" y="2439"/>
                  </a:lnTo>
                  <a:lnTo>
                    <a:pt x="2317" y="3110"/>
                  </a:lnTo>
                  <a:lnTo>
                    <a:pt x="2987" y="3658"/>
                  </a:lnTo>
                  <a:lnTo>
                    <a:pt x="3597" y="4207"/>
                  </a:lnTo>
                  <a:lnTo>
                    <a:pt x="4206" y="4633"/>
                  </a:lnTo>
                  <a:lnTo>
                    <a:pt x="4816" y="4999"/>
                  </a:lnTo>
                  <a:lnTo>
                    <a:pt x="5974" y="5548"/>
                  </a:lnTo>
                  <a:lnTo>
                    <a:pt x="6888" y="5974"/>
                  </a:lnTo>
                  <a:lnTo>
                    <a:pt x="7498" y="6157"/>
                  </a:lnTo>
                  <a:lnTo>
                    <a:pt x="7741" y="6218"/>
                  </a:lnTo>
                  <a:lnTo>
                    <a:pt x="7620" y="6096"/>
                  </a:lnTo>
                  <a:lnTo>
                    <a:pt x="7498" y="5913"/>
                  </a:lnTo>
                  <a:lnTo>
                    <a:pt x="7437" y="5731"/>
                  </a:lnTo>
                  <a:lnTo>
                    <a:pt x="7437" y="5487"/>
                  </a:lnTo>
                  <a:lnTo>
                    <a:pt x="7498" y="5243"/>
                  </a:lnTo>
                  <a:lnTo>
                    <a:pt x="7741" y="4877"/>
                  </a:lnTo>
                  <a:lnTo>
                    <a:pt x="8107" y="4268"/>
                  </a:lnTo>
                  <a:lnTo>
                    <a:pt x="6522" y="3597"/>
                  </a:lnTo>
                  <a:lnTo>
                    <a:pt x="4999" y="2927"/>
                  </a:lnTo>
                  <a:lnTo>
                    <a:pt x="3597" y="2195"/>
                  </a:lnTo>
                  <a:lnTo>
                    <a:pt x="2439" y="1525"/>
                  </a:lnTo>
                  <a:lnTo>
                    <a:pt x="671" y="42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52873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59" name="Google Shape;959;p16"/>
          <p:cNvGrpSpPr/>
          <p:nvPr/>
        </p:nvGrpSpPr>
        <p:grpSpPr>
          <a:xfrm>
            <a:off x="5076188" y="4062805"/>
            <a:ext cx="360275" cy="830023"/>
            <a:chOff x="3976075" y="2892525"/>
            <a:chExt cx="1216050" cy="1862150"/>
          </a:xfrm>
        </p:grpSpPr>
        <p:sp>
          <p:nvSpPr>
            <p:cNvPr id="960" name="Google Shape;960;p16"/>
            <p:cNvSpPr/>
            <p:nvPr/>
          </p:nvSpPr>
          <p:spPr>
            <a:xfrm>
              <a:off x="4620675" y="3669675"/>
              <a:ext cx="152400" cy="129550"/>
            </a:xfrm>
            <a:custGeom>
              <a:avLst/>
              <a:gdLst/>
              <a:ahLst/>
              <a:cxnLst/>
              <a:rect l="l" t="t" r="r" b="b"/>
              <a:pathLst>
                <a:path w="6096" h="5182" extrusionOk="0">
                  <a:moveTo>
                    <a:pt x="5669" y="1"/>
                  </a:moveTo>
                  <a:lnTo>
                    <a:pt x="5547" y="62"/>
                  </a:lnTo>
                  <a:lnTo>
                    <a:pt x="5486" y="184"/>
                  </a:lnTo>
                  <a:lnTo>
                    <a:pt x="5242" y="671"/>
                  </a:lnTo>
                  <a:lnTo>
                    <a:pt x="4998" y="1037"/>
                  </a:lnTo>
                  <a:lnTo>
                    <a:pt x="4633" y="1342"/>
                  </a:lnTo>
                  <a:lnTo>
                    <a:pt x="4267" y="1646"/>
                  </a:lnTo>
                  <a:lnTo>
                    <a:pt x="3414" y="2134"/>
                  </a:lnTo>
                  <a:lnTo>
                    <a:pt x="2560" y="2500"/>
                  </a:lnTo>
                  <a:lnTo>
                    <a:pt x="1768" y="2926"/>
                  </a:lnTo>
                  <a:lnTo>
                    <a:pt x="1097" y="3414"/>
                  </a:lnTo>
                  <a:lnTo>
                    <a:pt x="732" y="3719"/>
                  </a:lnTo>
                  <a:lnTo>
                    <a:pt x="488" y="4024"/>
                  </a:lnTo>
                  <a:lnTo>
                    <a:pt x="244" y="4389"/>
                  </a:lnTo>
                  <a:lnTo>
                    <a:pt x="61" y="4816"/>
                  </a:lnTo>
                  <a:lnTo>
                    <a:pt x="0" y="4938"/>
                  </a:lnTo>
                  <a:lnTo>
                    <a:pt x="61" y="5060"/>
                  </a:lnTo>
                  <a:lnTo>
                    <a:pt x="122" y="5121"/>
                  </a:lnTo>
                  <a:lnTo>
                    <a:pt x="244" y="5182"/>
                  </a:lnTo>
                  <a:lnTo>
                    <a:pt x="488" y="5182"/>
                  </a:lnTo>
                  <a:lnTo>
                    <a:pt x="610" y="5060"/>
                  </a:lnTo>
                  <a:lnTo>
                    <a:pt x="671" y="4938"/>
                  </a:lnTo>
                  <a:lnTo>
                    <a:pt x="915" y="4511"/>
                  </a:lnTo>
                  <a:lnTo>
                    <a:pt x="1219" y="4146"/>
                  </a:lnTo>
                  <a:lnTo>
                    <a:pt x="1524" y="3841"/>
                  </a:lnTo>
                  <a:lnTo>
                    <a:pt x="1951" y="3597"/>
                  </a:lnTo>
                  <a:lnTo>
                    <a:pt x="2804" y="3109"/>
                  </a:lnTo>
                  <a:lnTo>
                    <a:pt x="3657" y="2683"/>
                  </a:lnTo>
                  <a:lnTo>
                    <a:pt x="4450" y="2317"/>
                  </a:lnTo>
                  <a:lnTo>
                    <a:pt x="4816" y="2073"/>
                  </a:lnTo>
                  <a:lnTo>
                    <a:pt x="5120" y="1768"/>
                  </a:lnTo>
                  <a:lnTo>
                    <a:pt x="5425" y="1464"/>
                  </a:lnTo>
                  <a:lnTo>
                    <a:pt x="5730" y="1159"/>
                  </a:lnTo>
                  <a:lnTo>
                    <a:pt x="5913" y="793"/>
                  </a:lnTo>
                  <a:lnTo>
                    <a:pt x="6096" y="366"/>
                  </a:lnTo>
                  <a:lnTo>
                    <a:pt x="6096" y="245"/>
                  </a:lnTo>
                  <a:lnTo>
                    <a:pt x="6096" y="123"/>
                  </a:lnTo>
                  <a:lnTo>
                    <a:pt x="5974" y="62"/>
                  </a:lnTo>
                  <a:lnTo>
                    <a:pt x="5913" y="1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1" name="Google Shape;961;p16"/>
            <p:cNvSpPr/>
            <p:nvPr/>
          </p:nvSpPr>
          <p:spPr>
            <a:xfrm>
              <a:off x="4434750" y="3779400"/>
              <a:ext cx="88425" cy="89925"/>
            </a:xfrm>
            <a:custGeom>
              <a:avLst/>
              <a:gdLst/>
              <a:ahLst/>
              <a:cxnLst/>
              <a:rect l="l" t="t" r="r" b="b"/>
              <a:pathLst>
                <a:path w="3537" h="3597" extrusionOk="0">
                  <a:moveTo>
                    <a:pt x="306" y="0"/>
                  </a:moveTo>
                  <a:lnTo>
                    <a:pt x="184" y="61"/>
                  </a:lnTo>
                  <a:lnTo>
                    <a:pt x="62" y="122"/>
                  </a:lnTo>
                  <a:lnTo>
                    <a:pt x="1" y="305"/>
                  </a:lnTo>
                  <a:lnTo>
                    <a:pt x="62" y="427"/>
                  </a:lnTo>
                  <a:lnTo>
                    <a:pt x="123" y="488"/>
                  </a:lnTo>
                  <a:lnTo>
                    <a:pt x="976" y="1098"/>
                  </a:lnTo>
                  <a:lnTo>
                    <a:pt x="1769" y="1829"/>
                  </a:lnTo>
                  <a:lnTo>
                    <a:pt x="2500" y="2621"/>
                  </a:lnTo>
                  <a:lnTo>
                    <a:pt x="3049" y="3475"/>
                  </a:lnTo>
                  <a:lnTo>
                    <a:pt x="3171" y="3536"/>
                  </a:lnTo>
                  <a:lnTo>
                    <a:pt x="3231" y="3597"/>
                  </a:lnTo>
                  <a:lnTo>
                    <a:pt x="3414" y="3536"/>
                  </a:lnTo>
                  <a:lnTo>
                    <a:pt x="3536" y="3414"/>
                  </a:lnTo>
                  <a:lnTo>
                    <a:pt x="3536" y="3292"/>
                  </a:lnTo>
                  <a:lnTo>
                    <a:pt x="3475" y="3231"/>
                  </a:lnTo>
                  <a:lnTo>
                    <a:pt x="2866" y="2317"/>
                  </a:lnTo>
                  <a:lnTo>
                    <a:pt x="2134" y="1463"/>
                  </a:lnTo>
                  <a:lnTo>
                    <a:pt x="1281" y="732"/>
                  </a:lnTo>
                  <a:lnTo>
                    <a:pt x="367" y="61"/>
                  </a:lnTo>
                  <a:lnTo>
                    <a:pt x="306" y="0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2" name="Google Shape;962;p16"/>
            <p:cNvSpPr/>
            <p:nvPr/>
          </p:nvSpPr>
          <p:spPr>
            <a:xfrm>
              <a:off x="4434750" y="3779400"/>
              <a:ext cx="88425" cy="89925"/>
            </a:xfrm>
            <a:custGeom>
              <a:avLst/>
              <a:gdLst/>
              <a:ahLst/>
              <a:cxnLst/>
              <a:rect l="l" t="t" r="r" b="b"/>
              <a:pathLst>
                <a:path w="3537" h="3597" fill="none" extrusionOk="0">
                  <a:moveTo>
                    <a:pt x="123" y="488"/>
                  </a:moveTo>
                  <a:lnTo>
                    <a:pt x="123" y="488"/>
                  </a:lnTo>
                  <a:lnTo>
                    <a:pt x="976" y="1098"/>
                  </a:lnTo>
                  <a:lnTo>
                    <a:pt x="1769" y="1829"/>
                  </a:lnTo>
                  <a:lnTo>
                    <a:pt x="2500" y="2621"/>
                  </a:lnTo>
                  <a:lnTo>
                    <a:pt x="3049" y="3475"/>
                  </a:lnTo>
                  <a:lnTo>
                    <a:pt x="3049" y="3475"/>
                  </a:lnTo>
                  <a:lnTo>
                    <a:pt x="3171" y="3536"/>
                  </a:lnTo>
                  <a:lnTo>
                    <a:pt x="3231" y="3597"/>
                  </a:lnTo>
                  <a:lnTo>
                    <a:pt x="3414" y="3536"/>
                  </a:lnTo>
                  <a:lnTo>
                    <a:pt x="3536" y="3414"/>
                  </a:lnTo>
                  <a:lnTo>
                    <a:pt x="3536" y="3292"/>
                  </a:lnTo>
                  <a:lnTo>
                    <a:pt x="3475" y="3231"/>
                  </a:lnTo>
                  <a:lnTo>
                    <a:pt x="3475" y="3231"/>
                  </a:lnTo>
                  <a:lnTo>
                    <a:pt x="2866" y="2317"/>
                  </a:lnTo>
                  <a:lnTo>
                    <a:pt x="2134" y="1463"/>
                  </a:lnTo>
                  <a:lnTo>
                    <a:pt x="1281" y="732"/>
                  </a:lnTo>
                  <a:lnTo>
                    <a:pt x="367" y="61"/>
                  </a:lnTo>
                  <a:lnTo>
                    <a:pt x="367" y="61"/>
                  </a:lnTo>
                  <a:lnTo>
                    <a:pt x="306" y="0"/>
                  </a:lnTo>
                  <a:lnTo>
                    <a:pt x="184" y="61"/>
                  </a:lnTo>
                  <a:lnTo>
                    <a:pt x="62" y="122"/>
                  </a:lnTo>
                  <a:lnTo>
                    <a:pt x="1" y="305"/>
                  </a:lnTo>
                  <a:lnTo>
                    <a:pt x="62" y="427"/>
                  </a:lnTo>
                  <a:lnTo>
                    <a:pt x="123" y="488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3" name="Google Shape;963;p16"/>
            <p:cNvSpPr/>
            <p:nvPr/>
          </p:nvSpPr>
          <p:spPr>
            <a:xfrm>
              <a:off x="4495725" y="3756550"/>
              <a:ext cx="13725" cy="85350"/>
            </a:xfrm>
            <a:custGeom>
              <a:avLst/>
              <a:gdLst/>
              <a:ahLst/>
              <a:cxnLst/>
              <a:rect l="l" t="t" r="r" b="b"/>
              <a:pathLst>
                <a:path w="549" h="3414" extrusionOk="0">
                  <a:moveTo>
                    <a:pt x="183" y="0"/>
                  </a:moveTo>
                  <a:lnTo>
                    <a:pt x="122" y="61"/>
                  </a:lnTo>
                  <a:lnTo>
                    <a:pt x="61" y="183"/>
                  </a:lnTo>
                  <a:lnTo>
                    <a:pt x="183" y="975"/>
                  </a:lnTo>
                  <a:lnTo>
                    <a:pt x="244" y="1707"/>
                  </a:lnTo>
                  <a:lnTo>
                    <a:pt x="183" y="2499"/>
                  </a:lnTo>
                  <a:lnTo>
                    <a:pt x="0" y="3231"/>
                  </a:lnTo>
                  <a:lnTo>
                    <a:pt x="61" y="3353"/>
                  </a:lnTo>
                  <a:lnTo>
                    <a:pt x="122" y="3413"/>
                  </a:lnTo>
                  <a:lnTo>
                    <a:pt x="244" y="3413"/>
                  </a:lnTo>
                  <a:lnTo>
                    <a:pt x="366" y="3292"/>
                  </a:lnTo>
                  <a:lnTo>
                    <a:pt x="488" y="2499"/>
                  </a:lnTo>
                  <a:lnTo>
                    <a:pt x="549" y="1707"/>
                  </a:lnTo>
                  <a:lnTo>
                    <a:pt x="488" y="914"/>
                  </a:lnTo>
                  <a:lnTo>
                    <a:pt x="366" y="122"/>
                  </a:lnTo>
                  <a:lnTo>
                    <a:pt x="305" y="0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4" name="Google Shape;964;p16"/>
            <p:cNvSpPr/>
            <p:nvPr/>
          </p:nvSpPr>
          <p:spPr>
            <a:xfrm>
              <a:off x="4495725" y="3756550"/>
              <a:ext cx="13725" cy="85350"/>
            </a:xfrm>
            <a:custGeom>
              <a:avLst/>
              <a:gdLst/>
              <a:ahLst/>
              <a:cxnLst/>
              <a:rect l="l" t="t" r="r" b="b"/>
              <a:pathLst>
                <a:path w="549" h="3414" fill="none" extrusionOk="0">
                  <a:moveTo>
                    <a:pt x="61" y="183"/>
                  </a:moveTo>
                  <a:lnTo>
                    <a:pt x="61" y="183"/>
                  </a:lnTo>
                  <a:lnTo>
                    <a:pt x="183" y="975"/>
                  </a:lnTo>
                  <a:lnTo>
                    <a:pt x="244" y="1707"/>
                  </a:lnTo>
                  <a:lnTo>
                    <a:pt x="183" y="2499"/>
                  </a:lnTo>
                  <a:lnTo>
                    <a:pt x="0" y="3231"/>
                  </a:lnTo>
                  <a:lnTo>
                    <a:pt x="0" y="3231"/>
                  </a:lnTo>
                  <a:lnTo>
                    <a:pt x="61" y="3353"/>
                  </a:lnTo>
                  <a:lnTo>
                    <a:pt x="122" y="3413"/>
                  </a:lnTo>
                  <a:lnTo>
                    <a:pt x="244" y="3413"/>
                  </a:lnTo>
                  <a:lnTo>
                    <a:pt x="366" y="3292"/>
                  </a:lnTo>
                  <a:lnTo>
                    <a:pt x="366" y="3292"/>
                  </a:lnTo>
                  <a:lnTo>
                    <a:pt x="488" y="2499"/>
                  </a:lnTo>
                  <a:lnTo>
                    <a:pt x="549" y="1707"/>
                  </a:lnTo>
                  <a:lnTo>
                    <a:pt x="488" y="914"/>
                  </a:lnTo>
                  <a:lnTo>
                    <a:pt x="366" y="122"/>
                  </a:lnTo>
                  <a:lnTo>
                    <a:pt x="366" y="122"/>
                  </a:lnTo>
                  <a:lnTo>
                    <a:pt x="305" y="0"/>
                  </a:lnTo>
                  <a:lnTo>
                    <a:pt x="183" y="0"/>
                  </a:lnTo>
                  <a:lnTo>
                    <a:pt x="122" y="61"/>
                  </a:lnTo>
                  <a:lnTo>
                    <a:pt x="61" y="183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5" name="Google Shape;965;p16"/>
            <p:cNvSpPr/>
            <p:nvPr/>
          </p:nvSpPr>
          <p:spPr>
            <a:xfrm>
              <a:off x="4244275" y="3806825"/>
              <a:ext cx="385550" cy="82325"/>
            </a:xfrm>
            <a:custGeom>
              <a:avLst/>
              <a:gdLst/>
              <a:ahLst/>
              <a:cxnLst/>
              <a:rect l="l" t="t" r="r" b="b"/>
              <a:pathLst>
                <a:path w="15422" h="3293" extrusionOk="0">
                  <a:moveTo>
                    <a:pt x="184" y="1"/>
                  </a:moveTo>
                  <a:lnTo>
                    <a:pt x="123" y="122"/>
                  </a:lnTo>
                  <a:lnTo>
                    <a:pt x="62" y="183"/>
                  </a:lnTo>
                  <a:lnTo>
                    <a:pt x="1" y="305"/>
                  </a:lnTo>
                  <a:lnTo>
                    <a:pt x="1" y="427"/>
                  </a:lnTo>
                  <a:lnTo>
                    <a:pt x="123" y="549"/>
                  </a:lnTo>
                  <a:lnTo>
                    <a:pt x="549" y="915"/>
                  </a:lnTo>
                  <a:lnTo>
                    <a:pt x="1037" y="1281"/>
                  </a:lnTo>
                  <a:lnTo>
                    <a:pt x="1525" y="1585"/>
                  </a:lnTo>
                  <a:lnTo>
                    <a:pt x="2073" y="1829"/>
                  </a:lnTo>
                  <a:lnTo>
                    <a:pt x="2561" y="2012"/>
                  </a:lnTo>
                  <a:lnTo>
                    <a:pt x="3109" y="2195"/>
                  </a:lnTo>
                  <a:lnTo>
                    <a:pt x="4207" y="2439"/>
                  </a:lnTo>
                  <a:lnTo>
                    <a:pt x="5304" y="2561"/>
                  </a:lnTo>
                  <a:lnTo>
                    <a:pt x="6462" y="2622"/>
                  </a:lnTo>
                  <a:lnTo>
                    <a:pt x="10363" y="2622"/>
                  </a:lnTo>
                  <a:lnTo>
                    <a:pt x="11948" y="2682"/>
                  </a:lnTo>
                  <a:lnTo>
                    <a:pt x="12740" y="2743"/>
                  </a:lnTo>
                  <a:lnTo>
                    <a:pt x="13532" y="2865"/>
                  </a:lnTo>
                  <a:lnTo>
                    <a:pt x="14264" y="3048"/>
                  </a:lnTo>
                  <a:lnTo>
                    <a:pt x="14995" y="3231"/>
                  </a:lnTo>
                  <a:lnTo>
                    <a:pt x="15178" y="3292"/>
                  </a:lnTo>
                  <a:lnTo>
                    <a:pt x="15300" y="3231"/>
                  </a:lnTo>
                  <a:lnTo>
                    <a:pt x="15361" y="3170"/>
                  </a:lnTo>
                  <a:lnTo>
                    <a:pt x="15422" y="3048"/>
                  </a:lnTo>
                  <a:lnTo>
                    <a:pt x="15422" y="2926"/>
                  </a:lnTo>
                  <a:lnTo>
                    <a:pt x="15361" y="2804"/>
                  </a:lnTo>
                  <a:lnTo>
                    <a:pt x="15300" y="2682"/>
                  </a:lnTo>
                  <a:lnTo>
                    <a:pt x="15178" y="2622"/>
                  </a:lnTo>
                  <a:lnTo>
                    <a:pt x="14447" y="2378"/>
                  </a:lnTo>
                  <a:lnTo>
                    <a:pt x="13654" y="2195"/>
                  </a:lnTo>
                  <a:lnTo>
                    <a:pt x="12862" y="2073"/>
                  </a:lnTo>
                  <a:lnTo>
                    <a:pt x="12070" y="2012"/>
                  </a:lnTo>
                  <a:lnTo>
                    <a:pt x="10485" y="1951"/>
                  </a:lnTo>
                  <a:lnTo>
                    <a:pt x="8839" y="1951"/>
                  </a:lnTo>
                  <a:lnTo>
                    <a:pt x="7254" y="2012"/>
                  </a:lnTo>
                  <a:lnTo>
                    <a:pt x="6401" y="2012"/>
                  </a:lnTo>
                  <a:lnTo>
                    <a:pt x="5487" y="1951"/>
                  </a:lnTo>
                  <a:lnTo>
                    <a:pt x="4633" y="1829"/>
                  </a:lnTo>
                  <a:lnTo>
                    <a:pt x="3719" y="1646"/>
                  </a:lnTo>
                  <a:lnTo>
                    <a:pt x="2866" y="1402"/>
                  </a:lnTo>
                  <a:lnTo>
                    <a:pt x="2073" y="1037"/>
                  </a:lnTo>
                  <a:lnTo>
                    <a:pt x="1281" y="610"/>
                  </a:lnTo>
                  <a:lnTo>
                    <a:pt x="549" y="61"/>
                  </a:lnTo>
                  <a:lnTo>
                    <a:pt x="427" y="1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6" name="Google Shape;966;p16"/>
            <p:cNvSpPr/>
            <p:nvPr/>
          </p:nvSpPr>
          <p:spPr>
            <a:xfrm>
              <a:off x="4244275" y="3806825"/>
              <a:ext cx="385550" cy="82325"/>
            </a:xfrm>
            <a:custGeom>
              <a:avLst/>
              <a:gdLst/>
              <a:ahLst/>
              <a:cxnLst/>
              <a:rect l="l" t="t" r="r" b="b"/>
              <a:pathLst>
                <a:path w="15422" h="3293" fill="none" extrusionOk="0">
                  <a:moveTo>
                    <a:pt x="123" y="549"/>
                  </a:moveTo>
                  <a:lnTo>
                    <a:pt x="123" y="549"/>
                  </a:lnTo>
                  <a:lnTo>
                    <a:pt x="549" y="915"/>
                  </a:lnTo>
                  <a:lnTo>
                    <a:pt x="1037" y="1281"/>
                  </a:lnTo>
                  <a:lnTo>
                    <a:pt x="1525" y="1585"/>
                  </a:lnTo>
                  <a:lnTo>
                    <a:pt x="2073" y="1829"/>
                  </a:lnTo>
                  <a:lnTo>
                    <a:pt x="2561" y="2012"/>
                  </a:lnTo>
                  <a:lnTo>
                    <a:pt x="3109" y="2195"/>
                  </a:lnTo>
                  <a:lnTo>
                    <a:pt x="4207" y="2439"/>
                  </a:lnTo>
                  <a:lnTo>
                    <a:pt x="5304" y="2561"/>
                  </a:lnTo>
                  <a:lnTo>
                    <a:pt x="6462" y="2622"/>
                  </a:lnTo>
                  <a:lnTo>
                    <a:pt x="8778" y="2622"/>
                  </a:lnTo>
                  <a:lnTo>
                    <a:pt x="8778" y="2622"/>
                  </a:lnTo>
                  <a:lnTo>
                    <a:pt x="10363" y="2622"/>
                  </a:lnTo>
                  <a:lnTo>
                    <a:pt x="11948" y="2682"/>
                  </a:lnTo>
                  <a:lnTo>
                    <a:pt x="12740" y="2743"/>
                  </a:lnTo>
                  <a:lnTo>
                    <a:pt x="13532" y="2865"/>
                  </a:lnTo>
                  <a:lnTo>
                    <a:pt x="14264" y="3048"/>
                  </a:lnTo>
                  <a:lnTo>
                    <a:pt x="14995" y="3231"/>
                  </a:lnTo>
                  <a:lnTo>
                    <a:pt x="14995" y="3231"/>
                  </a:lnTo>
                  <a:lnTo>
                    <a:pt x="15178" y="3292"/>
                  </a:lnTo>
                  <a:lnTo>
                    <a:pt x="15300" y="3231"/>
                  </a:lnTo>
                  <a:lnTo>
                    <a:pt x="15361" y="3170"/>
                  </a:lnTo>
                  <a:lnTo>
                    <a:pt x="15422" y="3048"/>
                  </a:lnTo>
                  <a:lnTo>
                    <a:pt x="15422" y="2926"/>
                  </a:lnTo>
                  <a:lnTo>
                    <a:pt x="15361" y="2804"/>
                  </a:lnTo>
                  <a:lnTo>
                    <a:pt x="15300" y="2682"/>
                  </a:lnTo>
                  <a:lnTo>
                    <a:pt x="15178" y="2622"/>
                  </a:lnTo>
                  <a:lnTo>
                    <a:pt x="15178" y="2622"/>
                  </a:lnTo>
                  <a:lnTo>
                    <a:pt x="14447" y="2378"/>
                  </a:lnTo>
                  <a:lnTo>
                    <a:pt x="13654" y="2195"/>
                  </a:lnTo>
                  <a:lnTo>
                    <a:pt x="12862" y="2073"/>
                  </a:lnTo>
                  <a:lnTo>
                    <a:pt x="12070" y="2012"/>
                  </a:lnTo>
                  <a:lnTo>
                    <a:pt x="10485" y="1951"/>
                  </a:lnTo>
                  <a:lnTo>
                    <a:pt x="8839" y="1951"/>
                  </a:lnTo>
                  <a:lnTo>
                    <a:pt x="8839" y="1951"/>
                  </a:lnTo>
                  <a:lnTo>
                    <a:pt x="7254" y="2012"/>
                  </a:lnTo>
                  <a:lnTo>
                    <a:pt x="7254" y="2012"/>
                  </a:lnTo>
                  <a:lnTo>
                    <a:pt x="6401" y="2012"/>
                  </a:lnTo>
                  <a:lnTo>
                    <a:pt x="5487" y="1951"/>
                  </a:lnTo>
                  <a:lnTo>
                    <a:pt x="4633" y="1829"/>
                  </a:lnTo>
                  <a:lnTo>
                    <a:pt x="3719" y="1646"/>
                  </a:lnTo>
                  <a:lnTo>
                    <a:pt x="2866" y="1402"/>
                  </a:lnTo>
                  <a:lnTo>
                    <a:pt x="2073" y="1037"/>
                  </a:lnTo>
                  <a:lnTo>
                    <a:pt x="1281" y="610"/>
                  </a:lnTo>
                  <a:lnTo>
                    <a:pt x="549" y="61"/>
                  </a:lnTo>
                  <a:lnTo>
                    <a:pt x="549" y="61"/>
                  </a:lnTo>
                  <a:lnTo>
                    <a:pt x="427" y="1"/>
                  </a:lnTo>
                  <a:lnTo>
                    <a:pt x="306" y="1"/>
                  </a:lnTo>
                  <a:lnTo>
                    <a:pt x="184" y="1"/>
                  </a:lnTo>
                  <a:lnTo>
                    <a:pt x="123" y="122"/>
                  </a:lnTo>
                  <a:lnTo>
                    <a:pt x="62" y="183"/>
                  </a:lnTo>
                  <a:lnTo>
                    <a:pt x="1" y="305"/>
                  </a:lnTo>
                  <a:lnTo>
                    <a:pt x="1" y="427"/>
                  </a:lnTo>
                  <a:lnTo>
                    <a:pt x="123" y="54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7" name="Google Shape;967;p16"/>
            <p:cNvSpPr/>
            <p:nvPr/>
          </p:nvSpPr>
          <p:spPr>
            <a:xfrm>
              <a:off x="4334200" y="3806825"/>
              <a:ext cx="67050" cy="62500"/>
            </a:xfrm>
            <a:custGeom>
              <a:avLst/>
              <a:gdLst/>
              <a:ahLst/>
              <a:cxnLst/>
              <a:rect l="l" t="t" r="r" b="b"/>
              <a:pathLst>
                <a:path w="2682" h="2500" extrusionOk="0">
                  <a:moveTo>
                    <a:pt x="305" y="1"/>
                  </a:moveTo>
                  <a:lnTo>
                    <a:pt x="122" y="61"/>
                  </a:lnTo>
                  <a:lnTo>
                    <a:pt x="0" y="183"/>
                  </a:lnTo>
                  <a:lnTo>
                    <a:pt x="0" y="305"/>
                  </a:lnTo>
                  <a:lnTo>
                    <a:pt x="0" y="366"/>
                  </a:lnTo>
                  <a:lnTo>
                    <a:pt x="488" y="1037"/>
                  </a:lnTo>
                  <a:lnTo>
                    <a:pt x="1036" y="1585"/>
                  </a:lnTo>
                  <a:lnTo>
                    <a:pt x="1646" y="2073"/>
                  </a:lnTo>
                  <a:lnTo>
                    <a:pt x="2316" y="2500"/>
                  </a:lnTo>
                  <a:lnTo>
                    <a:pt x="2499" y="2500"/>
                  </a:lnTo>
                  <a:lnTo>
                    <a:pt x="2682" y="2378"/>
                  </a:lnTo>
                  <a:lnTo>
                    <a:pt x="2682" y="2195"/>
                  </a:lnTo>
                  <a:lnTo>
                    <a:pt x="2682" y="2134"/>
                  </a:lnTo>
                  <a:lnTo>
                    <a:pt x="2560" y="2073"/>
                  </a:lnTo>
                  <a:lnTo>
                    <a:pt x="1951" y="1707"/>
                  </a:lnTo>
                  <a:lnTo>
                    <a:pt x="1341" y="1281"/>
                  </a:lnTo>
                  <a:lnTo>
                    <a:pt x="853" y="732"/>
                  </a:lnTo>
                  <a:lnTo>
                    <a:pt x="427" y="122"/>
                  </a:lnTo>
                  <a:lnTo>
                    <a:pt x="366" y="61"/>
                  </a:lnTo>
                  <a:lnTo>
                    <a:pt x="305" y="1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8" name="Google Shape;968;p16"/>
            <p:cNvSpPr/>
            <p:nvPr/>
          </p:nvSpPr>
          <p:spPr>
            <a:xfrm>
              <a:off x="4334200" y="3806825"/>
              <a:ext cx="67050" cy="62500"/>
            </a:xfrm>
            <a:custGeom>
              <a:avLst/>
              <a:gdLst/>
              <a:ahLst/>
              <a:cxnLst/>
              <a:rect l="l" t="t" r="r" b="b"/>
              <a:pathLst>
                <a:path w="2682" h="2500" fill="none" extrusionOk="0">
                  <a:moveTo>
                    <a:pt x="0" y="366"/>
                  </a:moveTo>
                  <a:lnTo>
                    <a:pt x="0" y="366"/>
                  </a:lnTo>
                  <a:lnTo>
                    <a:pt x="488" y="1037"/>
                  </a:lnTo>
                  <a:lnTo>
                    <a:pt x="1036" y="1585"/>
                  </a:lnTo>
                  <a:lnTo>
                    <a:pt x="1646" y="2073"/>
                  </a:lnTo>
                  <a:lnTo>
                    <a:pt x="2316" y="2500"/>
                  </a:lnTo>
                  <a:lnTo>
                    <a:pt x="2316" y="2500"/>
                  </a:lnTo>
                  <a:lnTo>
                    <a:pt x="2438" y="2500"/>
                  </a:lnTo>
                  <a:lnTo>
                    <a:pt x="2499" y="2500"/>
                  </a:lnTo>
                  <a:lnTo>
                    <a:pt x="2682" y="2378"/>
                  </a:lnTo>
                  <a:lnTo>
                    <a:pt x="2682" y="2195"/>
                  </a:lnTo>
                  <a:lnTo>
                    <a:pt x="2682" y="2134"/>
                  </a:lnTo>
                  <a:lnTo>
                    <a:pt x="2560" y="2073"/>
                  </a:lnTo>
                  <a:lnTo>
                    <a:pt x="2560" y="2073"/>
                  </a:lnTo>
                  <a:lnTo>
                    <a:pt x="1951" y="1707"/>
                  </a:lnTo>
                  <a:lnTo>
                    <a:pt x="1341" y="1281"/>
                  </a:lnTo>
                  <a:lnTo>
                    <a:pt x="853" y="732"/>
                  </a:lnTo>
                  <a:lnTo>
                    <a:pt x="427" y="122"/>
                  </a:lnTo>
                  <a:lnTo>
                    <a:pt x="427" y="122"/>
                  </a:lnTo>
                  <a:lnTo>
                    <a:pt x="366" y="61"/>
                  </a:lnTo>
                  <a:lnTo>
                    <a:pt x="305" y="1"/>
                  </a:lnTo>
                  <a:lnTo>
                    <a:pt x="122" y="61"/>
                  </a:lnTo>
                  <a:lnTo>
                    <a:pt x="0" y="183"/>
                  </a:lnTo>
                  <a:lnTo>
                    <a:pt x="0" y="305"/>
                  </a:lnTo>
                  <a:lnTo>
                    <a:pt x="0" y="366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9" name="Google Shape;969;p16"/>
            <p:cNvSpPr/>
            <p:nvPr/>
          </p:nvSpPr>
          <p:spPr>
            <a:xfrm>
              <a:off x="4664850" y="3736725"/>
              <a:ext cx="131075" cy="25925"/>
            </a:xfrm>
            <a:custGeom>
              <a:avLst/>
              <a:gdLst/>
              <a:ahLst/>
              <a:cxnLst/>
              <a:rect l="l" t="t" r="r" b="b"/>
              <a:pathLst>
                <a:path w="5243" h="1037" extrusionOk="0">
                  <a:moveTo>
                    <a:pt x="4877" y="1"/>
                  </a:moveTo>
                  <a:lnTo>
                    <a:pt x="4329" y="244"/>
                  </a:lnTo>
                  <a:lnTo>
                    <a:pt x="3780" y="366"/>
                  </a:lnTo>
                  <a:lnTo>
                    <a:pt x="3171" y="488"/>
                  </a:lnTo>
                  <a:lnTo>
                    <a:pt x="2622" y="549"/>
                  </a:lnTo>
                  <a:lnTo>
                    <a:pt x="2012" y="549"/>
                  </a:lnTo>
                  <a:lnTo>
                    <a:pt x="1464" y="488"/>
                  </a:lnTo>
                  <a:lnTo>
                    <a:pt x="854" y="366"/>
                  </a:lnTo>
                  <a:lnTo>
                    <a:pt x="306" y="244"/>
                  </a:lnTo>
                  <a:lnTo>
                    <a:pt x="123" y="244"/>
                  </a:lnTo>
                  <a:lnTo>
                    <a:pt x="1" y="366"/>
                  </a:lnTo>
                  <a:lnTo>
                    <a:pt x="62" y="549"/>
                  </a:lnTo>
                  <a:lnTo>
                    <a:pt x="62" y="671"/>
                  </a:lnTo>
                  <a:lnTo>
                    <a:pt x="184" y="732"/>
                  </a:lnTo>
                  <a:lnTo>
                    <a:pt x="793" y="854"/>
                  </a:lnTo>
                  <a:lnTo>
                    <a:pt x="1403" y="976"/>
                  </a:lnTo>
                  <a:lnTo>
                    <a:pt x="2012" y="1037"/>
                  </a:lnTo>
                  <a:lnTo>
                    <a:pt x="2683" y="976"/>
                  </a:lnTo>
                  <a:lnTo>
                    <a:pt x="3292" y="976"/>
                  </a:lnTo>
                  <a:lnTo>
                    <a:pt x="3902" y="854"/>
                  </a:lnTo>
                  <a:lnTo>
                    <a:pt x="4511" y="671"/>
                  </a:lnTo>
                  <a:lnTo>
                    <a:pt x="5121" y="427"/>
                  </a:lnTo>
                  <a:lnTo>
                    <a:pt x="5182" y="366"/>
                  </a:lnTo>
                  <a:lnTo>
                    <a:pt x="5243" y="305"/>
                  </a:lnTo>
                  <a:lnTo>
                    <a:pt x="5182" y="123"/>
                  </a:lnTo>
                  <a:lnTo>
                    <a:pt x="5060" y="1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0" name="Google Shape;970;p16"/>
            <p:cNvSpPr/>
            <p:nvPr/>
          </p:nvSpPr>
          <p:spPr>
            <a:xfrm>
              <a:off x="4616100" y="4018650"/>
              <a:ext cx="163075" cy="153925"/>
            </a:xfrm>
            <a:custGeom>
              <a:avLst/>
              <a:gdLst/>
              <a:ahLst/>
              <a:cxnLst/>
              <a:rect l="l" t="t" r="r" b="b"/>
              <a:pathLst>
                <a:path w="6523" h="6157" extrusionOk="0">
                  <a:moveTo>
                    <a:pt x="6035" y="0"/>
                  </a:moveTo>
                  <a:lnTo>
                    <a:pt x="5060" y="488"/>
                  </a:lnTo>
                  <a:lnTo>
                    <a:pt x="4084" y="1036"/>
                  </a:lnTo>
                  <a:lnTo>
                    <a:pt x="3231" y="1707"/>
                  </a:lnTo>
                  <a:lnTo>
                    <a:pt x="2378" y="2377"/>
                  </a:lnTo>
                  <a:lnTo>
                    <a:pt x="1585" y="3109"/>
                  </a:lnTo>
                  <a:lnTo>
                    <a:pt x="854" y="3901"/>
                  </a:lnTo>
                  <a:lnTo>
                    <a:pt x="549" y="4328"/>
                  </a:lnTo>
                  <a:lnTo>
                    <a:pt x="244" y="4815"/>
                  </a:lnTo>
                  <a:lnTo>
                    <a:pt x="61" y="5303"/>
                  </a:lnTo>
                  <a:lnTo>
                    <a:pt x="0" y="5791"/>
                  </a:lnTo>
                  <a:lnTo>
                    <a:pt x="0" y="5974"/>
                  </a:lnTo>
                  <a:lnTo>
                    <a:pt x="122" y="6034"/>
                  </a:lnTo>
                  <a:lnTo>
                    <a:pt x="183" y="6095"/>
                  </a:lnTo>
                  <a:lnTo>
                    <a:pt x="305" y="6156"/>
                  </a:lnTo>
                  <a:lnTo>
                    <a:pt x="427" y="6095"/>
                  </a:lnTo>
                  <a:lnTo>
                    <a:pt x="549" y="6034"/>
                  </a:lnTo>
                  <a:lnTo>
                    <a:pt x="610" y="5974"/>
                  </a:lnTo>
                  <a:lnTo>
                    <a:pt x="671" y="5791"/>
                  </a:lnTo>
                  <a:lnTo>
                    <a:pt x="671" y="5547"/>
                  </a:lnTo>
                  <a:lnTo>
                    <a:pt x="732" y="5303"/>
                  </a:lnTo>
                  <a:lnTo>
                    <a:pt x="976" y="4815"/>
                  </a:lnTo>
                  <a:lnTo>
                    <a:pt x="1341" y="4389"/>
                  </a:lnTo>
                  <a:lnTo>
                    <a:pt x="1707" y="3962"/>
                  </a:lnTo>
                  <a:lnTo>
                    <a:pt x="2317" y="3292"/>
                  </a:lnTo>
                  <a:lnTo>
                    <a:pt x="3048" y="2682"/>
                  </a:lnTo>
                  <a:lnTo>
                    <a:pt x="3780" y="2072"/>
                  </a:lnTo>
                  <a:lnTo>
                    <a:pt x="4633" y="1524"/>
                  </a:lnTo>
                  <a:lnTo>
                    <a:pt x="5486" y="1036"/>
                  </a:lnTo>
                  <a:lnTo>
                    <a:pt x="6340" y="549"/>
                  </a:lnTo>
                  <a:lnTo>
                    <a:pt x="6461" y="488"/>
                  </a:lnTo>
                  <a:lnTo>
                    <a:pt x="6522" y="366"/>
                  </a:lnTo>
                  <a:lnTo>
                    <a:pt x="6522" y="244"/>
                  </a:lnTo>
                  <a:lnTo>
                    <a:pt x="6461" y="183"/>
                  </a:lnTo>
                  <a:lnTo>
                    <a:pt x="6401" y="61"/>
                  </a:lnTo>
                  <a:lnTo>
                    <a:pt x="6279" y="0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1" name="Google Shape;971;p16"/>
            <p:cNvSpPr/>
            <p:nvPr/>
          </p:nvSpPr>
          <p:spPr>
            <a:xfrm>
              <a:off x="4675525" y="4082650"/>
              <a:ext cx="121925" cy="32025"/>
            </a:xfrm>
            <a:custGeom>
              <a:avLst/>
              <a:gdLst/>
              <a:ahLst/>
              <a:cxnLst/>
              <a:rect l="l" t="t" r="r" b="b"/>
              <a:pathLst>
                <a:path w="4877" h="1281" extrusionOk="0">
                  <a:moveTo>
                    <a:pt x="183" y="0"/>
                  </a:moveTo>
                  <a:lnTo>
                    <a:pt x="62" y="122"/>
                  </a:lnTo>
                  <a:lnTo>
                    <a:pt x="1" y="305"/>
                  </a:lnTo>
                  <a:lnTo>
                    <a:pt x="62" y="366"/>
                  </a:lnTo>
                  <a:lnTo>
                    <a:pt x="123" y="427"/>
                  </a:lnTo>
                  <a:lnTo>
                    <a:pt x="671" y="732"/>
                  </a:lnTo>
                  <a:lnTo>
                    <a:pt x="1220" y="914"/>
                  </a:lnTo>
                  <a:lnTo>
                    <a:pt x="1768" y="1097"/>
                  </a:lnTo>
                  <a:lnTo>
                    <a:pt x="2317" y="1219"/>
                  </a:lnTo>
                  <a:lnTo>
                    <a:pt x="2926" y="1280"/>
                  </a:lnTo>
                  <a:lnTo>
                    <a:pt x="3536" y="1280"/>
                  </a:lnTo>
                  <a:lnTo>
                    <a:pt x="4084" y="1219"/>
                  </a:lnTo>
                  <a:lnTo>
                    <a:pt x="4694" y="1097"/>
                  </a:lnTo>
                  <a:lnTo>
                    <a:pt x="4755" y="1097"/>
                  </a:lnTo>
                  <a:lnTo>
                    <a:pt x="4816" y="975"/>
                  </a:lnTo>
                  <a:lnTo>
                    <a:pt x="4877" y="793"/>
                  </a:lnTo>
                  <a:lnTo>
                    <a:pt x="4755" y="671"/>
                  </a:lnTo>
                  <a:lnTo>
                    <a:pt x="4633" y="610"/>
                  </a:lnTo>
                  <a:lnTo>
                    <a:pt x="4572" y="610"/>
                  </a:lnTo>
                  <a:lnTo>
                    <a:pt x="4024" y="732"/>
                  </a:lnTo>
                  <a:lnTo>
                    <a:pt x="3475" y="793"/>
                  </a:lnTo>
                  <a:lnTo>
                    <a:pt x="2926" y="793"/>
                  </a:lnTo>
                  <a:lnTo>
                    <a:pt x="2378" y="732"/>
                  </a:lnTo>
                  <a:lnTo>
                    <a:pt x="1890" y="610"/>
                  </a:lnTo>
                  <a:lnTo>
                    <a:pt x="1342" y="488"/>
                  </a:lnTo>
                  <a:lnTo>
                    <a:pt x="854" y="244"/>
                  </a:lnTo>
                  <a:lnTo>
                    <a:pt x="366" y="0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6"/>
            <p:cNvSpPr/>
            <p:nvPr/>
          </p:nvSpPr>
          <p:spPr>
            <a:xfrm>
              <a:off x="4675525" y="4082650"/>
              <a:ext cx="121925" cy="32025"/>
            </a:xfrm>
            <a:custGeom>
              <a:avLst/>
              <a:gdLst/>
              <a:ahLst/>
              <a:cxnLst/>
              <a:rect l="l" t="t" r="r" b="b"/>
              <a:pathLst>
                <a:path w="4877" h="1281" fill="none" extrusionOk="0">
                  <a:moveTo>
                    <a:pt x="123" y="427"/>
                  </a:moveTo>
                  <a:lnTo>
                    <a:pt x="123" y="427"/>
                  </a:lnTo>
                  <a:lnTo>
                    <a:pt x="671" y="732"/>
                  </a:lnTo>
                  <a:lnTo>
                    <a:pt x="1220" y="914"/>
                  </a:lnTo>
                  <a:lnTo>
                    <a:pt x="1768" y="1097"/>
                  </a:lnTo>
                  <a:lnTo>
                    <a:pt x="2317" y="1219"/>
                  </a:lnTo>
                  <a:lnTo>
                    <a:pt x="2926" y="1280"/>
                  </a:lnTo>
                  <a:lnTo>
                    <a:pt x="3536" y="1280"/>
                  </a:lnTo>
                  <a:lnTo>
                    <a:pt x="4084" y="1219"/>
                  </a:lnTo>
                  <a:lnTo>
                    <a:pt x="4694" y="1097"/>
                  </a:lnTo>
                  <a:lnTo>
                    <a:pt x="4694" y="1097"/>
                  </a:lnTo>
                  <a:lnTo>
                    <a:pt x="4755" y="1097"/>
                  </a:lnTo>
                  <a:lnTo>
                    <a:pt x="4816" y="975"/>
                  </a:lnTo>
                  <a:lnTo>
                    <a:pt x="4877" y="793"/>
                  </a:lnTo>
                  <a:lnTo>
                    <a:pt x="4755" y="671"/>
                  </a:lnTo>
                  <a:lnTo>
                    <a:pt x="4633" y="610"/>
                  </a:lnTo>
                  <a:lnTo>
                    <a:pt x="4572" y="610"/>
                  </a:lnTo>
                  <a:lnTo>
                    <a:pt x="4572" y="610"/>
                  </a:lnTo>
                  <a:lnTo>
                    <a:pt x="4024" y="732"/>
                  </a:lnTo>
                  <a:lnTo>
                    <a:pt x="3475" y="793"/>
                  </a:lnTo>
                  <a:lnTo>
                    <a:pt x="2926" y="793"/>
                  </a:lnTo>
                  <a:lnTo>
                    <a:pt x="2378" y="732"/>
                  </a:lnTo>
                  <a:lnTo>
                    <a:pt x="1890" y="610"/>
                  </a:lnTo>
                  <a:lnTo>
                    <a:pt x="1342" y="488"/>
                  </a:lnTo>
                  <a:lnTo>
                    <a:pt x="854" y="244"/>
                  </a:lnTo>
                  <a:lnTo>
                    <a:pt x="366" y="0"/>
                  </a:lnTo>
                  <a:lnTo>
                    <a:pt x="366" y="0"/>
                  </a:lnTo>
                  <a:lnTo>
                    <a:pt x="244" y="0"/>
                  </a:lnTo>
                  <a:lnTo>
                    <a:pt x="183" y="0"/>
                  </a:lnTo>
                  <a:lnTo>
                    <a:pt x="62" y="122"/>
                  </a:lnTo>
                  <a:lnTo>
                    <a:pt x="1" y="305"/>
                  </a:lnTo>
                  <a:lnTo>
                    <a:pt x="62" y="366"/>
                  </a:lnTo>
                  <a:lnTo>
                    <a:pt x="123" y="42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3" name="Google Shape;973;p16"/>
            <p:cNvSpPr/>
            <p:nvPr/>
          </p:nvSpPr>
          <p:spPr>
            <a:xfrm>
              <a:off x="4334200" y="4102450"/>
              <a:ext cx="283450" cy="33550"/>
            </a:xfrm>
            <a:custGeom>
              <a:avLst/>
              <a:gdLst/>
              <a:ahLst/>
              <a:cxnLst/>
              <a:rect l="l" t="t" r="r" b="b"/>
              <a:pathLst>
                <a:path w="11338" h="1342" extrusionOk="0">
                  <a:moveTo>
                    <a:pt x="10362" y="1"/>
                  </a:moveTo>
                  <a:lnTo>
                    <a:pt x="9692" y="61"/>
                  </a:lnTo>
                  <a:lnTo>
                    <a:pt x="9082" y="122"/>
                  </a:lnTo>
                  <a:lnTo>
                    <a:pt x="8412" y="244"/>
                  </a:lnTo>
                  <a:lnTo>
                    <a:pt x="7132" y="488"/>
                  </a:lnTo>
                  <a:lnTo>
                    <a:pt x="6461" y="610"/>
                  </a:lnTo>
                  <a:lnTo>
                    <a:pt x="5791" y="671"/>
                  </a:lnTo>
                  <a:lnTo>
                    <a:pt x="4450" y="732"/>
                  </a:lnTo>
                  <a:lnTo>
                    <a:pt x="3109" y="610"/>
                  </a:lnTo>
                  <a:lnTo>
                    <a:pt x="1768" y="427"/>
                  </a:lnTo>
                  <a:lnTo>
                    <a:pt x="427" y="122"/>
                  </a:lnTo>
                  <a:lnTo>
                    <a:pt x="183" y="122"/>
                  </a:lnTo>
                  <a:lnTo>
                    <a:pt x="61" y="244"/>
                  </a:lnTo>
                  <a:lnTo>
                    <a:pt x="0" y="366"/>
                  </a:lnTo>
                  <a:lnTo>
                    <a:pt x="0" y="488"/>
                  </a:lnTo>
                  <a:lnTo>
                    <a:pt x="61" y="610"/>
                  </a:lnTo>
                  <a:lnTo>
                    <a:pt x="122" y="671"/>
                  </a:lnTo>
                  <a:lnTo>
                    <a:pt x="244" y="732"/>
                  </a:lnTo>
                  <a:lnTo>
                    <a:pt x="1585" y="1037"/>
                  </a:lnTo>
                  <a:lnTo>
                    <a:pt x="2926" y="1220"/>
                  </a:lnTo>
                  <a:lnTo>
                    <a:pt x="4267" y="1341"/>
                  </a:lnTo>
                  <a:lnTo>
                    <a:pt x="5669" y="1341"/>
                  </a:lnTo>
                  <a:lnTo>
                    <a:pt x="6339" y="1281"/>
                  </a:lnTo>
                  <a:lnTo>
                    <a:pt x="7010" y="1159"/>
                  </a:lnTo>
                  <a:lnTo>
                    <a:pt x="8351" y="915"/>
                  </a:lnTo>
                  <a:lnTo>
                    <a:pt x="9021" y="793"/>
                  </a:lnTo>
                  <a:lnTo>
                    <a:pt x="9692" y="671"/>
                  </a:lnTo>
                  <a:lnTo>
                    <a:pt x="11155" y="671"/>
                  </a:lnTo>
                  <a:lnTo>
                    <a:pt x="11276" y="610"/>
                  </a:lnTo>
                  <a:lnTo>
                    <a:pt x="11337" y="549"/>
                  </a:lnTo>
                  <a:lnTo>
                    <a:pt x="11337" y="427"/>
                  </a:lnTo>
                  <a:lnTo>
                    <a:pt x="11337" y="305"/>
                  </a:lnTo>
                  <a:lnTo>
                    <a:pt x="11276" y="183"/>
                  </a:lnTo>
                  <a:lnTo>
                    <a:pt x="11155" y="61"/>
                  </a:lnTo>
                  <a:lnTo>
                    <a:pt x="11033" y="61"/>
                  </a:lnTo>
                  <a:lnTo>
                    <a:pt x="10362" y="1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4" name="Google Shape;974;p16"/>
            <p:cNvSpPr/>
            <p:nvPr/>
          </p:nvSpPr>
          <p:spPr>
            <a:xfrm>
              <a:off x="4334200" y="4102450"/>
              <a:ext cx="283450" cy="33550"/>
            </a:xfrm>
            <a:custGeom>
              <a:avLst/>
              <a:gdLst/>
              <a:ahLst/>
              <a:cxnLst/>
              <a:rect l="l" t="t" r="r" b="b"/>
              <a:pathLst>
                <a:path w="11338" h="1342" fill="none" extrusionOk="0">
                  <a:moveTo>
                    <a:pt x="244" y="732"/>
                  </a:moveTo>
                  <a:lnTo>
                    <a:pt x="244" y="732"/>
                  </a:lnTo>
                  <a:lnTo>
                    <a:pt x="1585" y="1037"/>
                  </a:lnTo>
                  <a:lnTo>
                    <a:pt x="2926" y="1220"/>
                  </a:lnTo>
                  <a:lnTo>
                    <a:pt x="4267" y="1341"/>
                  </a:lnTo>
                  <a:lnTo>
                    <a:pt x="5669" y="1341"/>
                  </a:lnTo>
                  <a:lnTo>
                    <a:pt x="5669" y="1341"/>
                  </a:lnTo>
                  <a:lnTo>
                    <a:pt x="6339" y="1281"/>
                  </a:lnTo>
                  <a:lnTo>
                    <a:pt x="7010" y="1159"/>
                  </a:lnTo>
                  <a:lnTo>
                    <a:pt x="8351" y="915"/>
                  </a:lnTo>
                  <a:lnTo>
                    <a:pt x="9021" y="793"/>
                  </a:lnTo>
                  <a:lnTo>
                    <a:pt x="9692" y="671"/>
                  </a:lnTo>
                  <a:lnTo>
                    <a:pt x="10362" y="671"/>
                  </a:lnTo>
                  <a:lnTo>
                    <a:pt x="11033" y="671"/>
                  </a:lnTo>
                  <a:lnTo>
                    <a:pt x="11033" y="671"/>
                  </a:lnTo>
                  <a:lnTo>
                    <a:pt x="11155" y="671"/>
                  </a:lnTo>
                  <a:lnTo>
                    <a:pt x="11276" y="610"/>
                  </a:lnTo>
                  <a:lnTo>
                    <a:pt x="11337" y="549"/>
                  </a:lnTo>
                  <a:lnTo>
                    <a:pt x="11337" y="427"/>
                  </a:lnTo>
                  <a:lnTo>
                    <a:pt x="11337" y="305"/>
                  </a:lnTo>
                  <a:lnTo>
                    <a:pt x="11276" y="183"/>
                  </a:lnTo>
                  <a:lnTo>
                    <a:pt x="11155" y="61"/>
                  </a:lnTo>
                  <a:lnTo>
                    <a:pt x="11033" y="61"/>
                  </a:lnTo>
                  <a:lnTo>
                    <a:pt x="11033" y="61"/>
                  </a:lnTo>
                  <a:lnTo>
                    <a:pt x="10362" y="1"/>
                  </a:lnTo>
                  <a:lnTo>
                    <a:pt x="9692" y="61"/>
                  </a:lnTo>
                  <a:lnTo>
                    <a:pt x="9082" y="122"/>
                  </a:lnTo>
                  <a:lnTo>
                    <a:pt x="8412" y="244"/>
                  </a:lnTo>
                  <a:lnTo>
                    <a:pt x="7132" y="488"/>
                  </a:lnTo>
                  <a:lnTo>
                    <a:pt x="6461" y="610"/>
                  </a:lnTo>
                  <a:lnTo>
                    <a:pt x="5791" y="671"/>
                  </a:lnTo>
                  <a:lnTo>
                    <a:pt x="5791" y="671"/>
                  </a:lnTo>
                  <a:lnTo>
                    <a:pt x="4450" y="732"/>
                  </a:lnTo>
                  <a:lnTo>
                    <a:pt x="3109" y="610"/>
                  </a:lnTo>
                  <a:lnTo>
                    <a:pt x="1768" y="427"/>
                  </a:lnTo>
                  <a:lnTo>
                    <a:pt x="427" y="122"/>
                  </a:lnTo>
                  <a:lnTo>
                    <a:pt x="427" y="122"/>
                  </a:lnTo>
                  <a:lnTo>
                    <a:pt x="244" y="122"/>
                  </a:lnTo>
                  <a:lnTo>
                    <a:pt x="183" y="122"/>
                  </a:lnTo>
                  <a:lnTo>
                    <a:pt x="61" y="244"/>
                  </a:lnTo>
                  <a:lnTo>
                    <a:pt x="0" y="366"/>
                  </a:lnTo>
                  <a:lnTo>
                    <a:pt x="0" y="488"/>
                  </a:lnTo>
                  <a:lnTo>
                    <a:pt x="61" y="610"/>
                  </a:lnTo>
                  <a:lnTo>
                    <a:pt x="122" y="671"/>
                  </a:lnTo>
                  <a:lnTo>
                    <a:pt x="244" y="732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5" name="Google Shape;975;p16"/>
            <p:cNvSpPr/>
            <p:nvPr/>
          </p:nvSpPr>
          <p:spPr>
            <a:xfrm>
              <a:off x="4384475" y="4062825"/>
              <a:ext cx="71650" cy="68600"/>
            </a:xfrm>
            <a:custGeom>
              <a:avLst/>
              <a:gdLst/>
              <a:ahLst/>
              <a:cxnLst/>
              <a:rect l="l" t="t" r="r" b="b"/>
              <a:pathLst>
                <a:path w="2866" h="2744" extrusionOk="0">
                  <a:moveTo>
                    <a:pt x="183" y="1"/>
                  </a:moveTo>
                  <a:lnTo>
                    <a:pt x="0" y="123"/>
                  </a:lnTo>
                  <a:lnTo>
                    <a:pt x="0" y="305"/>
                  </a:lnTo>
                  <a:lnTo>
                    <a:pt x="0" y="366"/>
                  </a:lnTo>
                  <a:lnTo>
                    <a:pt x="122" y="488"/>
                  </a:lnTo>
                  <a:lnTo>
                    <a:pt x="793" y="915"/>
                  </a:lnTo>
                  <a:lnTo>
                    <a:pt x="1402" y="1403"/>
                  </a:lnTo>
                  <a:lnTo>
                    <a:pt x="1951" y="1951"/>
                  </a:lnTo>
                  <a:lnTo>
                    <a:pt x="2195" y="2256"/>
                  </a:lnTo>
                  <a:lnTo>
                    <a:pt x="2378" y="2622"/>
                  </a:lnTo>
                  <a:lnTo>
                    <a:pt x="2500" y="2683"/>
                  </a:lnTo>
                  <a:lnTo>
                    <a:pt x="2561" y="2744"/>
                  </a:lnTo>
                  <a:lnTo>
                    <a:pt x="2743" y="2683"/>
                  </a:lnTo>
                  <a:lnTo>
                    <a:pt x="2865" y="2561"/>
                  </a:lnTo>
                  <a:lnTo>
                    <a:pt x="2865" y="2439"/>
                  </a:lnTo>
                  <a:lnTo>
                    <a:pt x="2804" y="2378"/>
                  </a:lnTo>
                  <a:lnTo>
                    <a:pt x="2621" y="2012"/>
                  </a:lnTo>
                  <a:lnTo>
                    <a:pt x="2378" y="1646"/>
                  </a:lnTo>
                  <a:lnTo>
                    <a:pt x="2073" y="1342"/>
                  </a:lnTo>
                  <a:lnTo>
                    <a:pt x="1768" y="1037"/>
                  </a:lnTo>
                  <a:lnTo>
                    <a:pt x="1098" y="549"/>
                  </a:lnTo>
                  <a:lnTo>
                    <a:pt x="366" y="62"/>
                  </a:lnTo>
                  <a:lnTo>
                    <a:pt x="244" y="1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6" name="Google Shape;976;p16"/>
            <p:cNvSpPr/>
            <p:nvPr/>
          </p:nvSpPr>
          <p:spPr>
            <a:xfrm>
              <a:off x="4384475" y="4062825"/>
              <a:ext cx="71650" cy="68600"/>
            </a:xfrm>
            <a:custGeom>
              <a:avLst/>
              <a:gdLst/>
              <a:ahLst/>
              <a:cxnLst/>
              <a:rect l="l" t="t" r="r" b="b"/>
              <a:pathLst>
                <a:path w="2866" h="2744" fill="none" extrusionOk="0">
                  <a:moveTo>
                    <a:pt x="122" y="488"/>
                  </a:moveTo>
                  <a:lnTo>
                    <a:pt x="122" y="488"/>
                  </a:lnTo>
                  <a:lnTo>
                    <a:pt x="793" y="915"/>
                  </a:lnTo>
                  <a:lnTo>
                    <a:pt x="1402" y="1403"/>
                  </a:lnTo>
                  <a:lnTo>
                    <a:pt x="1951" y="1951"/>
                  </a:lnTo>
                  <a:lnTo>
                    <a:pt x="2195" y="2256"/>
                  </a:lnTo>
                  <a:lnTo>
                    <a:pt x="2378" y="2622"/>
                  </a:lnTo>
                  <a:lnTo>
                    <a:pt x="2378" y="2622"/>
                  </a:lnTo>
                  <a:lnTo>
                    <a:pt x="2500" y="2683"/>
                  </a:lnTo>
                  <a:lnTo>
                    <a:pt x="2561" y="2744"/>
                  </a:lnTo>
                  <a:lnTo>
                    <a:pt x="2743" y="2683"/>
                  </a:lnTo>
                  <a:lnTo>
                    <a:pt x="2865" y="2561"/>
                  </a:lnTo>
                  <a:lnTo>
                    <a:pt x="2865" y="2439"/>
                  </a:lnTo>
                  <a:lnTo>
                    <a:pt x="2804" y="2378"/>
                  </a:lnTo>
                  <a:lnTo>
                    <a:pt x="2804" y="2378"/>
                  </a:lnTo>
                  <a:lnTo>
                    <a:pt x="2621" y="2012"/>
                  </a:lnTo>
                  <a:lnTo>
                    <a:pt x="2378" y="1646"/>
                  </a:lnTo>
                  <a:lnTo>
                    <a:pt x="2073" y="1342"/>
                  </a:lnTo>
                  <a:lnTo>
                    <a:pt x="1768" y="1037"/>
                  </a:lnTo>
                  <a:lnTo>
                    <a:pt x="1098" y="549"/>
                  </a:lnTo>
                  <a:lnTo>
                    <a:pt x="366" y="62"/>
                  </a:lnTo>
                  <a:lnTo>
                    <a:pt x="366" y="62"/>
                  </a:lnTo>
                  <a:lnTo>
                    <a:pt x="244" y="1"/>
                  </a:lnTo>
                  <a:lnTo>
                    <a:pt x="183" y="1"/>
                  </a:lnTo>
                  <a:lnTo>
                    <a:pt x="0" y="123"/>
                  </a:lnTo>
                  <a:lnTo>
                    <a:pt x="0" y="305"/>
                  </a:lnTo>
                  <a:lnTo>
                    <a:pt x="0" y="366"/>
                  </a:lnTo>
                  <a:lnTo>
                    <a:pt x="122" y="488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6"/>
            <p:cNvSpPr/>
            <p:nvPr/>
          </p:nvSpPr>
          <p:spPr>
            <a:xfrm>
              <a:off x="4276275" y="4123775"/>
              <a:ext cx="219475" cy="57950"/>
            </a:xfrm>
            <a:custGeom>
              <a:avLst/>
              <a:gdLst/>
              <a:ahLst/>
              <a:cxnLst/>
              <a:rect l="l" t="t" r="r" b="b"/>
              <a:pathLst>
                <a:path w="8779" h="2318" extrusionOk="0">
                  <a:moveTo>
                    <a:pt x="8412" y="1"/>
                  </a:moveTo>
                  <a:lnTo>
                    <a:pt x="8351" y="62"/>
                  </a:lnTo>
                  <a:lnTo>
                    <a:pt x="7925" y="428"/>
                  </a:lnTo>
                  <a:lnTo>
                    <a:pt x="7498" y="732"/>
                  </a:lnTo>
                  <a:lnTo>
                    <a:pt x="7010" y="1037"/>
                  </a:lnTo>
                  <a:lnTo>
                    <a:pt x="6523" y="1220"/>
                  </a:lnTo>
                  <a:lnTo>
                    <a:pt x="6035" y="1464"/>
                  </a:lnTo>
                  <a:lnTo>
                    <a:pt x="5548" y="1586"/>
                  </a:lnTo>
                  <a:lnTo>
                    <a:pt x="5060" y="1708"/>
                  </a:lnTo>
                  <a:lnTo>
                    <a:pt x="4511" y="1769"/>
                  </a:lnTo>
                  <a:lnTo>
                    <a:pt x="3475" y="1829"/>
                  </a:lnTo>
                  <a:lnTo>
                    <a:pt x="2378" y="1769"/>
                  </a:lnTo>
                  <a:lnTo>
                    <a:pt x="1342" y="1586"/>
                  </a:lnTo>
                  <a:lnTo>
                    <a:pt x="306" y="1281"/>
                  </a:lnTo>
                  <a:lnTo>
                    <a:pt x="123" y="1281"/>
                  </a:lnTo>
                  <a:lnTo>
                    <a:pt x="1" y="1464"/>
                  </a:lnTo>
                  <a:lnTo>
                    <a:pt x="62" y="1647"/>
                  </a:lnTo>
                  <a:lnTo>
                    <a:pt x="123" y="1708"/>
                  </a:lnTo>
                  <a:lnTo>
                    <a:pt x="184" y="1769"/>
                  </a:lnTo>
                  <a:lnTo>
                    <a:pt x="1281" y="2073"/>
                  </a:lnTo>
                  <a:lnTo>
                    <a:pt x="2378" y="2256"/>
                  </a:lnTo>
                  <a:lnTo>
                    <a:pt x="3536" y="2317"/>
                  </a:lnTo>
                  <a:lnTo>
                    <a:pt x="4085" y="2317"/>
                  </a:lnTo>
                  <a:lnTo>
                    <a:pt x="4633" y="2256"/>
                  </a:lnTo>
                  <a:lnTo>
                    <a:pt x="5182" y="2195"/>
                  </a:lnTo>
                  <a:lnTo>
                    <a:pt x="5730" y="2073"/>
                  </a:lnTo>
                  <a:lnTo>
                    <a:pt x="6279" y="1890"/>
                  </a:lnTo>
                  <a:lnTo>
                    <a:pt x="6767" y="1647"/>
                  </a:lnTo>
                  <a:lnTo>
                    <a:pt x="7315" y="1403"/>
                  </a:lnTo>
                  <a:lnTo>
                    <a:pt x="7803" y="1098"/>
                  </a:lnTo>
                  <a:lnTo>
                    <a:pt x="8230" y="793"/>
                  </a:lnTo>
                  <a:lnTo>
                    <a:pt x="8656" y="428"/>
                  </a:lnTo>
                  <a:lnTo>
                    <a:pt x="8717" y="306"/>
                  </a:lnTo>
                  <a:lnTo>
                    <a:pt x="8778" y="245"/>
                  </a:lnTo>
                  <a:lnTo>
                    <a:pt x="8656" y="62"/>
                  </a:lnTo>
                  <a:lnTo>
                    <a:pt x="8534" y="1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6"/>
            <p:cNvSpPr/>
            <p:nvPr/>
          </p:nvSpPr>
          <p:spPr>
            <a:xfrm>
              <a:off x="4276275" y="4123775"/>
              <a:ext cx="219475" cy="57950"/>
            </a:xfrm>
            <a:custGeom>
              <a:avLst/>
              <a:gdLst/>
              <a:ahLst/>
              <a:cxnLst/>
              <a:rect l="l" t="t" r="r" b="b"/>
              <a:pathLst>
                <a:path w="8779" h="2318" fill="none" extrusionOk="0">
                  <a:moveTo>
                    <a:pt x="184" y="1769"/>
                  </a:moveTo>
                  <a:lnTo>
                    <a:pt x="184" y="1769"/>
                  </a:lnTo>
                  <a:lnTo>
                    <a:pt x="1281" y="2073"/>
                  </a:lnTo>
                  <a:lnTo>
                    <a:pt x="2378" y="2256"/>
                  </a:lnTo>
                  <a:lnTo>
                    <a:pt x="3536" y="2317"/>
                  </a:lnTo>
                  <a:lnTo>
                    <a:pt x="4085" y="2317"/>
                  </a:lnTo>
                  <a:lnTo>
                    <a:pt x="4633" y="2256"/>
                  </a:lnTo>
                  <a:lnTo>
                    <a:pt x="5182" y="2195"/>
                  </a:lnTo>
                  <a:lnTo>
                    <a:pt x="5730" y="2073"/>
                  </a:lnTo>
                  <a:lnTo>
                    <a:pt x="6279" y="1890"/>
                  </a:lnTo>
                  <a:lnTo>
                    <a:pt x="6767" y="1647"/>
                  </a:lnTo>
                  <a:lnTo>
                    <a:pt x="7315" y="1403"/>
                  </a:lnTo>
                  <a:lnTo>
                    <a:pt x="7803" y="1098"/>
                  </a:lnTo>
                  <a:lnTo>
                    <a:pt x="8230" y="793"/>
                  </a:lnTo>
                  <a:lnTo>
                    <a:pt x="8656" y="428"/>
                  </a:lnTo>
                  <a:lnTo>
                    <a:pt x="8656" y="428"/>
                  </a:lnTo>
                  <a:lnTo>
                    <a:pt x="8717" y="306"/>
                  </a:lnTo>
                  <a:lnTo>
                    <a:pt x="8778" y="245"/>
                  </a:lnTo>
                  <a:lnTo>
                    <a:pt x="8656" y="62"/>
                  </a:lnTo>
                  <a:lnTo>
                    <a:pt x="8534" y="1"/>
                  </a:lnTo>
                  <a:lnTo>
                    <a:pt x="8412" y="1"/>
                  </a:lnTo>
                  <a:lnTo>
                    <a:pt x="8351" y="62"/>
                  </a:lnTo>
                  <a:lnTo>
                    <a:pt x="8351" y="62"/>
                  </a:lnTo>
                  <a:lnTo>
                    <a:pt x="7925" y="428"/>
                  </a:lnTo>
                  <a:lnTo>
                    <a:pt x="7498" y="732"/>
                  </a:lnTo>
                  <a:lnTo>
                    <a:pt x="7010" y="1037"/>
                  </a:lnTo>
                  <a:lnTo>
                    <a:pt x="6523" y="1220"/>
                  </a:lnTo>
                  <a:lnTo>
                    <a:pt x="6035" y="1464"/>
                  </a:lnTo>
                  <a:lnTo>
                    <a:pt x="5548" y="1586"/>
                  </a:lnTo>
                  <a:lnTo>
                    <a:pt x="5060" y="1708"/>
                  </a:lnTo>
                  <a:lnTo>
                    <a:pt x="4511" y="1769"/>
                  </a:lnTo>
                  <a:lnTo>
                    <a:pt x="3475" y="1829"/>
                  </a:lnTo>
                  <a:lnTo>
                    <a:pt x="2378" y="1769"/>
                  </a:lnTo>
                  <a:lnTo>
                    <a:pt x="1342" y="1586"/>
                  </a:lnTo>
                  <a:lnTo>
                    <a:pt x="306" y="1281"/>
                  </a:lnTo>
                  <a:lnTo>
                    <a:pt x="306" y="1281"/>
                  </a:lnTo>
                  <a:lnTo>
                    <a:pt x="184" y="1281"/>
                  </a:lnTo>
                  <a:lnTo>
                    <a:pt x="123" y="1281"/>
                  </a:lnTo>
                  <a:lnTo>
                    <a:pt x="1" y="1464"/>
                  </a:lnTo>
                  <a:lnTo>
                    <a:pt x="62" y="1647"/>
                  </a:lnTo>
                  <a:lnTo>
                    <a:pt x="123" y="1708"/>
                  </a:lnTo>
                  <a:lnTo>
                    <a:pt x="184" y="176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9" name="Google Shape;979;p16"/>
            <p:cNvSpPr/>
            <p:nvPr/>
          </p:nvSpPr>
          <p:spPr>
            <a:xfrm>
              <a:off x="4235150" y="4174075"/>
              <a:ext cx="132575" cy="35075"/>
            </a:xfrm>
            <a:custGeom>
              <a:avLst/>
              <a:gdLst/>
              <a:ahLst/>
              <a:cxnLst/>
              <a:rect l="l" t="t" r="r" b="b"/>
              <a:pathLst>
                <a:path w="5303" h="1403" extrusionOk="0">
                  <a:moveTo>
                    <a:pt x="5120" y="0"/>
                  </a:moveTo>
                  <a:lnTo>
                    <a:pt x="4998" y="61"/>
                  </a:lnTo>
                  <a:lnTo>
                    <a:pt x="4815" y="305"/>
                  </a:lnTo>
                  <a:lnTo>
                    <a:pt x="4572" y="488"/>
                  </a:lnTo>
                  <a:lnTo>
                    <a:pt x="4267" y="671"/>
                  </a:lnTo>
                  <a:lnTo>
                    <a:pt x="4023" y="854"/>
                  </a:lnTo>
                  <a:lnTo>
                    <a:pt x="3413" y="1037"/>
                  </a:lnTo>
                  <a:lnTo>
                    <a:pt x="2743" y="1097"/>
                  </a:lnTo>
                  <a:lnTo>
                    <a:pt x="2133" y="1097"/>
                  </a:lnTo>
                  <a:lnTo>
                    <a:pt x="1463" y="1037"/>
                  </a:lnTo>
                  <a:lnTo>
                    <a:pt x="183" y="793"/>
                  </a:lnTo>
                  <a:lnTo>
                    <a:pt x="61" y="854"/>
                  </a:lnTo>
                  <a:lnTo>
                    <a:pt x="0" y="915"/>
                  </a:lnTo>
                  <a:lnTo>
                    <a:pt x="0" y="1037"/>
                  </a:lnTo>
                  <a:lnTo>
                    <a:pt x="122" y="1097"/>
                  </a:lnTo>
                  <a:lnTo>
                    <a:pt x="1463" y="1341"/>
                  </a:lnTo>
                  <a:lnTo>
                    <a:pt x="2133" y="1402"/>
                  </a:lnTo>
                  <a:lnTo>
                    <a:pt x="2865" y="1402"/>
                  </a:lnTo>
                  <a:lnTo>
                    <a:pt x="3535" y="1341"/>
                  </a:lnTo>
                  <a:lnTo>
                    <a:pt x="4145" y="1097"/>
                  </a:lnTo>
                  <a:lnTo>
                    <a:pt x="4450" y="976"/>
                  </a:lnTo>
                  <a:lnTo>
                    <a:pt x="4754" y="793"/>
                  </a:lnTo>
                  <a:lnTo>
                    <a:pt x="4998" y="549"/>
                  </a:lnTo>
                  <a:lnTo>
                    <a:pt x="5242" y="244"/>
                  </a:lnTo>
                  <a:lnTo>
                    <a:pt x="5303" y="122"/>
                  </a:lnTo>
                  <a:lnTo>
                    <a:pt x="5242" y="0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0" name="Google Shape;980;p16"/>
            <p:cNvSpPr/>
            <p:nvPr/>
          </p:nvSpPr>
          <p:spPr>
            <a:xfrm>
              <a:off x="4235150" y="4174075"/>
              <a:ext cx="132575" cy="35075"/>
            </a:xfrm>
            <a:custGeom>
              <a:avLst/>
              <a:gdLst/>
              <a:ahLst/>
              <a:cxnLst/>
              <a:rect l="l" t="t" r="r" b="b"/>
              <a:pathLst>
                <a:path w="5303" h="1403" fill="none" extrusionOk="0">
                  <a:moveTo>
                    <a:pt x="122" y="1097"/>
                  </a:moveTo>
                  <a:lnTo>
                    <a:pt x="122" y="1097"/>
                  </a:lnTo>
                  <a:lnTo>
                    <a:pt x="1463" y="1341"/>
                  </a:lnTo>
                  <a:lnTo>
                    <a:pt x="2133" y="1402"/>
                  </a:lnTo>
                  <a:lnTo>
                    <a:pt x="2865" y="1402"/>
                  </a:lnTo>
                  <a:lnTo>
                    <a:pt x="3535" y="1341"/>
                  </a:lnTo>
                  <a:lnTo>
                    <a:pt x="4145" y="1097"/>
                  </a:lnTo>
                  <a:lnTo>
                    <a:pt x="4450" y="976"/>
                  </a:lnTo>
                  <a:lnTo>
                    <a:pt x="4754" y="793"/>
                  </a:lnTo>
                  <a:lnTo>
                    <a:pt x="4998" y="549"/>
                  </a:lnTo>
                  <a:lnTo>
                    <a:pt x="5242" y="244"/>
                  </a:lnTo>
                  <a:lnTo>
                    <a:pt x="5242" y="244"/>
                  </a:lnTo>
                  <a:lnTo>
                    <a:pt x="5303" y="122"/>
                  </a:lnTo>
                  <a:lnTo>
                    <a:pt x="5242" y="0"/>
                  </a:lnTo>
                  <a:lnTo>
                    <a:pt x="5120" y="0"/>
                  </a:lnTo>
                  <a:lnTo>
                    <a:pt x="4998" y="61"/>
                  </a:lnTo>
                  <a:lnTo>
                    <a:pt x="4998" y="61"/>
                  </a:lnTo>
                  <a:lnTo>
                    <a:pt x="4815" y="305"/>
                  </a:lnTo>
                  <a:lnTo>
                    <a:pt x="4572" y="488"/>
                  </a:lnTo>
                  <a:lnTo>
                    <a:pt x="4267" y="671"/>
                  </a:lnTo>
                  <a:lnTo>
                    <a:pt x="4023" y="854"/>
                  </a:lnTo>
                  <a:lnTo>
                    <a:pt x="3413" y="1037"/>
                  </a:lnTo>
                  <a:lnTo>
                    <a:pt x="2743" y="1097"/>
                  </a:lnTo>
                  <a:lnTo>
                    <a:pt x="2133" y="1097"/>
                  </a:lnTo>
                  <a:lnTo>
                    <a:pt x="1463" y="1037"/>
                  </a:lnTo>
                  <a:lnTo>
                    <a:pt x="183" y="793"/>
                  </a:lnTo>
                  <a:lnTo>
                    <a:pt x="183" y="793"/>
                  </a:lnTo>
                  <a:lnTo>
                    <a:pt x="61" y="854"/>
                  </a:lnTo>
                  <a:lnTo>
                    <a:pt x="0" y="915"/>
                  </a:lnTo>
                  <a:lnTo>
                    <a:pt x="0" y="1037"/>
                  </a:lnTo>
                  <a:lnTo>
                    <a:pt x="122" y="109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1" name="Google Shape;981;p16"/>
            <p:cNvSpPr/>
            <p:nvPr/>
          </p:nvSpPr>
          <p:spPr>
            <a:xfrm>
              <a:off x="4325050" y="3416725"/>
              <a:ext cx="307825" cy="120400"/>
            </a:xfrm>
            <a:custGeom>
              <a:avLst/>
              <a:gdLst/>
              <a:ahLst/>
              <a:cxnLst/>
              <a:rect l="l" t="t" r="r" b="b"/>
              <a:pathLst>
                <a:path w="12313" h="4816" extrusionOk="0">
                  <a:moveTo>
                    <a:pt x="305" y="0"/>
                  </a:moveTo>
                  <a:lnTo>
                    <a:pt x="183" y="61"/>
                  </a:lnTo>
                  <a:lnTo>
                    <a:pt x="61" y="122"/>
                  </a:lnTo>
                  <a:lnTo>
                    <a:pt x="0" y="244"/>
                  </a:lnTo>
                  <a:lnTo>
                    <a:pt x="0" y="366"/>
                  </a:lnTo>
                  <a:lnTo>
                    <a:pt x="61" y="488"/>
                  </a:lnTo>
                  <a:lnTo>
                    <a:pt x="610" y="1159"/>
                  </a:lnTo>
                  <a:lnTo>
                    <a:pt x="1158" y="1707"/>
                  </a:lnTo>
                  <a:lnTo>
                    <a:pt x="1829" y="2195"/>
                  </a:lnTo>
                  <a:lnTo>
                    <a:pt x="2499" y="2560"/>
                  </a:lnTo>
                  <a:lnTo>
                    <a:pt x="3170" y="2865"/>
                  </a:lnTo>
                  <a:lnTo>
                    <a:pt x="3962" y="3109"/>
                  </a:lnTo>
                  <a:lnTo>
                    <a:pt x="4755" y="3292"/>
                  </a:lnTo>
                  <a:lnTo>
                    <a:pt x="5547" y="3414"/>
                  </a:lnTo>
                  <a:lnTo>
                    <a:pt x="7132" y="3658"/>
                  </a:lnTo>
                  <a:lnTo>
                    <a:pt x="8778" y="3841"/>
                  </a:lnTo>
                  <a:lnTo>
                    <a:pt x="9570" y="4023"/>
                  </a:lnTo>
                  <a:lnTo>
                    <a:pt x="10362" y="4206"/>
                  </a:lnTo>
                  <a:lnTo>
                    <a:pt x="11094" y="4450"/>
                  </a:lnTo>
                  <a:lnTo>
                    <a:pt x="11825" y="4755"/>
                  </a:lnTo>
                  <a:lnTo>
                    <a:pt x="11947" y="4816"/>
                  </a:lnTo>
                  <a:lnTo>
                    <a:pt x="12069" y="4816"/>
                  </a:lnTo>
                  <a:lnTo>
                    <a:pt x="12191" y="4755"/>
                  </a:lnTo>
                  <a:lnTo>
                    <a:pt x="12252" y="4633"/>
                  </a:lnTo>
                  <a:lnTo>
                    <a:pt x="12313" y="4511"/>
                  </a:lnTo>
                  <a:lnTo>
                    <a:pt x="12313" y="4389"/>
                  </a:lnTo>
                  <a:lnTo>
                    <a:pt x="12252" y="4328"/>
                  </a:lnTo>
                  <a:lnTo>
                    <a:pt x="12130" y="4206"/>
                  </a:lnTo>
                  <a:lnTo>
                    <a:pt x="11399" y="3901"/>
                  </a:lnTo>
                  <a:lnTo>
                    <a:pt x="10606" y="3597"/>
                  </a:lnTo>
                  <a:lnTo>
                    <a:pt x="9814" y="3414"/>
                  </a:lnTo>
                  <a:lnTo>
                    <a:pt x="8960" y="3231"/>
                  </a:lnTo>
                  <a:lnTo>
                    <a:pt x="7315" y="3048"/>
                  </a:lnTo>
                  <a:lnTo>
                    <a:pt x="5669" y="2804"/>
                  </a:lnTo>
                  <a:lnTo>
                    <a:pt x="4938" y="2682"/>
                  </a:lnTo>
                  <a:lnTo>
                    <a:pt x="4267" y="2500"/>
                  </a:lnTo>
                  <a:lnTo>
                    <a:pt x="3536" y="2256"/>
                  </a:lnTo>
                  <a:lnTo>
                    <a:pt x="2865" y="2012"/>
                  </a:lnTo>
                  <a:lnTo>
                    <a:pt x="2195" y="1646"/>
                  </a:lnTo>
                  <a:lnTo>
                    <a:pt x="1646" y="1220"/>
                  </a:lnTo>
                  <a:lnTo>
                    <a:pt x="1097" y="732"/>
                  </a:lnTo>
                  <a:lnTo>
                    <a:pt x="610" y="183"/>
                  </a:lnTo>
                  <a:lnTo>
                    <a:pt x="549" y="61"/>
                  </a:lnTo>
                  <a:lnTo>
                    <a:pt x="427" y="0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2" name="Google Shape;982;p16"/>
            <p:cNvSpPr/>
            <p:nvPr/>
          </p:nvSpPr>
          <p:spPr>
            <a:xfrm>
              <a:off x="4325050" y="3416725"/>
              <a:ext cx="307825" cy="120400"/>
            </a:xfrm>
            <a:custGeom>
              <a:avLst/>
              <a:gdLst/>
              <a:ahLst/>
              <a:cxnLst/>
              <a:rect l="l" t="t" r="r" b="b"/>
              <a:pathLst>
                <a:path w="12313" h="4816" fill="none" extrusionOk="0">
                  <a:moveTo>
                    <a:pt x="61" y="488"/>
                  </a:moveTo>
                  <a:lnTo>
                    <a:pt x="61" y="488"/>
                  </a:lnTo>
                  <a:lnTo>
                    <a:pt x="610" y="1159"/>
                  </a:lnTo>
                  <a:lnTo>
                    <a:pt x="1158" y="1707"/>
                  </a:lnTo>
                  <a:lnTo>
                    <a:pt x="1829" y="2195"/>
                  </a:lnTo>
                  <a:lnTo>
                    <a:pt x="2499" y="2560"/>
                  </a:lnTo>
                  <a:lnTo>
                    <a:pt x="3170" y="2865"/>
                  </a:lnTo>
                  <a:lnTo>
                    <a:pt x="3962" y="3109"/>
                  </a:lnTo>
                  <a:lnTo>
                    <a:pt x="4755" y="3292"/>
                  </a:lnTo>
                  <a:lnTo>
                    <a:pt x="5547" y="3414"/>
                  </a:lnTo>
                  <a:lnTo>
                    <a:pt x="7132" y="3658"/>
                  </a:lnTo>
                  <a:lnTo>
                    <a:pt x="8778" y="3841"/>
                  </a:lnTo>
                  <a:lnTo>
                    <a:pt x="9570" y="4023"/>
                  </a:lnTo>
                  <a:lnTo>
                    <a:pt x="10362" y="4206"/>
                  </a:lnTo>
                  <a:lnTo>
                    <a:pt x="11094" y="4450"/>
                  </a:lnTo>
                  <a:lnTo>
                    <a:pt x="11825" y="4755"/>
                  </a:lnTo>
                  <a:lnTo>
                    <a:pt x="11825" y="4755"/>
                  </a:lnTo>
                  <a:lnTo>
                    <a:pt x="11947" y="4816"/>
                  </a:lnTo>
                  <a:lnTo>
                    <a:pt x="12069" y="4816"/>
                  </a:lnTo>
                  <a:lnTo>
                    <a:pt x="12191" y="4755"/>
                  </a:lnTo>
                  <a:lnTo>
                    <a:pt x="12252" y="4633"/>
                  </a:lnTo>
                  <a:lnTo>
                    <a:pt x="12313" y="4511"/>
                  </a:lnTo>
                  <a:lnTo>
                    <a:pt x="12313" y="4389"/>
                  </a:lnTo>
                  <a:lnTo>
                    <a:pt x="12252" y="4328"/>
                  </a:lnTo>
                  <a:lnTo>
                    <a:pt x="12130" y="4206"/>
                  </a:lnTo>
                  <a:lnTo>
                    <a:pt x="12130" y="4206"/>
                  </a:lnTo>
                  <a:lnTo>
                    <a:pt x="11399" y="3901"/>
                  </a:lnTo>
                  <a:lnTo>
                    <a:pt x="10606" y="3597"/>
                  </a:lnTo>
                  <a:lnTo>
                    <a:pt x="9814" y="3414"/>
                  </a:lnTo>
                  <a:lnTo>
                    <a:pt x="8960" y="3231"/>
                  </a:lnTo>
                  <a:lnTo>
                    <a:pt x="7315" y="3048"/>
                  </a:lnTo>
                  <a:lnTo>
                    <a:pt x="5669" y="2804"/>
                  </a:lnTo>
                  <a:lnTo>
                    <a:pt x="5669" y="2804"/>
                  </a:lnTo>
                  <a:lnTo>
                    <a:pt x="4938" y="2682"/>
                  </a:lnTo>
                  <a:lnTo>
                    <a:pt x="4267" y="2500"/>
                  </a:lnTo>
                  <a:lnTo>
                    <a:pt x="3536" y="2256"/>
                  </a:lnTo>
                  <a:lnTo>
                    <a:pt x="2865" y="2012"/>
                  </a:lnTo>
                  <a:lnTo>
                    <a:pt x="2195" y="1646"/>
                  </a:lnTo>
                  <a:lnTo>
                    <a:pt x="1646" y="1220"/>
                  </a:lnTo>
                  <a:lnTo>
                    <a:pt x="1097" y="732"/>
                  </a:lnTo>
                  <a:lnTo>
                    <a:pt x="610" y="183"/>
                  </a:lnTo>
                  <a:lnTo>
                    <a:pt x="610" y="183"/>
                  </a:lnTo>
                  <a:lnTo>
                    <a:pt x="549" y="61"/>
                  </a:lnTo>
                  <a:lnTo>
                    <a:pt x="427" y="0"/>
                  </a:lnTo>
                  <a:lnTo>
                    <a:pt x="305" y="0"/>
                  </a:lnTo>
                  <a:lnTo>
                    <a:pt x="183" y="61"/>
                  </a:lnTo>
                  <a:lnTo>
                    <a:pt x="61" y="122"/>
                  </a:lnTo>
                  <a:lnTo>
                    <a:pt x="0" y="244"/>
                  </a:lnTo>
                  <a:lnTo>
                    <a:pt x="0" y="366"/>
                  </a:lnTo>
                  <a:lnTo>
                    <a:pt x="61" y="488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3" name="Google Shape;983;p16"/>
            <p:cNvSpPr/>
            <p:nvPr/>
          </p:nvSpPr>
          <p:spPr>
            <a:xfrm>
              <a:off x="4416475" y="3424350"/>
              <a:ext cx="57925" cy="74675"/>
            </a:xfrm>
            <a:custGeom>
              <a:avLst/>
              <a:gdLst/>
              <a:ahLst/>
              <a:cxnLst/>
              <a:rect l="l" t="t" r="r" b="b"/>
              <a:pathLst>
                <a:path w="2317" h="2987" extrusionOk="0">
                  <a:moveTo>
                    <a:pt x="122" y="0"/>
                  </a:moveTo>
                  <a:lnTo>
                    <a:pt x="1" y="122"/>
                  </a:lnTo>
                  <a:lnTo>
                    <a:pt x="1" y="244"/>
                  </a:lnTo>
                  <a:lnTo>
                    <a:pt x="1" y="366"/>
                  </a:lnTo>
                  <a:lnTo>
                    <a:pt x="427" y="1036"/>
                  </a:lnTo>
                  <a:lnTo>
                    <a:pt x="854" y="1707"/>
                  </a:lnTo>
                  <a:lnTo>
                    <a:pt x="1341" y="2316"/>
                  </a:lnTo>
                  <a:lnTo>
                    <a:pt x="1890" y="2865"/>
                  </a:lnTo>
                  <a:lnTo>
                    <a:pt x="2012" y="2926"/>
                  </a:lnTo>
                  <a:lnTo>
                    <a:pt x="2073" y="2987"/>
                  </a:lnTo>
                  <a:lnTo>
                    <a:pt x="2256" y="2865"/>
                  </a:lnTo>
                  <a:lnTo>
                    <a:pt x="2317" y="2743"/>
                  </a:lnTo>
                  <a:lnTo>
                    <a:pt x="2317" y="2621"/>
                  </a:lnTo>
                  <a:lnTo>
                    <a:pt x="2256" y="2560"/>
                  </a:lnTo>
                  <a:lnTo>
                    <a:pt x="1707" y="2012"/>
                  </a:lnTo>
                  <a:lnTo>
                    <a:pt x="1220" y="1402"/>
                  </a:lnTo>
                  <a:lnTo>
                    <a:pt x="854" y="793"/>
                  </a:lnTo>
                  <a:lnTo>
                    <a:pt x="427" y="122"/>
                  </a:lnTo>
                  <a:lnTo>
                    <a:pt x="366" y="0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4" name="Google Shape;984;p16"/>
            <p:cNvSpPr/>
            <p:nvPr/>
          </p:nvSpPr>
          <p:spPr>
            <a:xfrm>
              <a:off x="4416475" y="3424350"/>
              <a:ext cx="57925" cy="74675"/>
            </a:xfrm>
            <a:custGeom>
              <a:avLst/>
              <a:gdLst/>
              <a:ahLst/>
              <a:cxnLst/>
              <a:rect l="l" t="t" r="r" b="b"/>
              <a:pathLst>
                <a:path w="2317" h="2987" fill="none" extrusionOk="0">
                  <a:moveTo>
                    <a:pt x="1" y="366"/>
                  </a:moveTo>
                  <a:lnTo>
                    <a:pt x="1" y="366"/>
                  </a:lnTo>
                  <a:lnTo>
                    <a:pt x="427" y="1036"/>
                  </a:lnTo>
                  <a:lnTo>
                    <a:pt x="854" y="1707"/>
                  </a:lnTo>
                  <a:lnTo>
                    <a:pt x="1341" y="2316"/>
                  </a:lnTo>
                  <a:lnTo>
                    <a:pt x="1890" y="2865"/>
                  </a:lnTo>
                  <a:lnTo>
                    <a:pt x="1890" y="2865"/>
                  </a:lnTo>
                  <a:lnTo>
                    <a:pt x="2012" y="2926"/>
                  </a:lnTo>
                  <a:lnTo>
                    <a:pt x="2073" y="2987"/>
                  </a:lnTo>
                  <a:lnTo>
                    <a:pt x="2256" y="2865"/>
                  </a:lnTo>
                  <a:lnTo>
                    <a:pt x="2317" y="2743"/>
                  </a:lnTo>
                  <a:lnTo>
                    <a:pt x="2317" y="2621"/>
                  </a:lnTo>
                  <a:lnTo>
                    <a:pt x="2256" y="2560"/>
                  </a:lnTo>
                  <a:lnTo>
                    <a:pt x="2256" y="2560"/>
                  </a:lnTo>
                  <a:lnTo>
                    <a:pt x="1707" y="2012"/>
                  </a:lnTo>
                  <a:lnTo>
                    <a:pt x="1220" y="1402"/>
                  </a:lnTo>
                  <a:lnTo>
                    <a:pt x="854" y="793"/>
                  </a:lnTo>
                  <a:lnTo>
                    <a:pt x="427" y="122"/>
                  </a:lnTo>
                  <a:lnTo>
                    <a:pt x="427" y="122"/>
                  </a:lnTo>
                  <a:lnTo>
                    <a:pt x="366" y="0"/>
                  </a:lnTo>
                  <a:lnTo>
                    <a:pt x="305" y="0"/>
                  </a:lnTo>
                  <a:lnTo>
                    <a:pt x="122" y="0"/>
                  </a:lnTo>
                  <a:lnTo>
                    <a:pt x="1" y="122"/>
                  </a:lnTo>
                  <a:lnTo>
                    <a:pt x="1" y="244"/>
                  </a:lnTo>
                  <a:lnTo>
                    <a:pt x="1" y="366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5" name="Google Shape;985;p16"/>
            <p:cNvSpPr/>
            <p:nvPr/>
          </p:nvSpPr>
          <p:spPr>
            <a:xfrm>
              <a:off x="4239700" y="3393875"/>
              <a:ext cx="155475" cy="88400"/>
            </a:xfrm>
            <a:custGeom>
              <a:avLst/>
              <a:gdLst/>
              <a:ahLst/>
              <a:cxnLst/>
              <a:rect l="l" t="t" r="r" b="b"/>
              <a:pathLst>
                <a:path w="6219" h="3536" extrusionOk="0">
                  <a:moveTo>
                    <a:pt x="123" y="0"/>
                  </a:moveTo>
                  <a:lnTo>
                    <a:pt x="1" y="122"/>
                  </a:lnTo>
                  <a:lnTo>
                    <a:pt x="1" y="244"/>
                  </a:lnTo>
                  <a:lnTo>
                    <a:pt x="1" y="366"/>
                  </a:lnTo>
                  <a:lnTo>
                    <a:pt x="245" y="732"/>
                  </a:lnTo>
                  <a:lnTo>
                    <a:pt x="489" y="1097"/>
                  </a:lnTo>
                  <a:lnTo>
                    <a:pt x="1098" y="1768"/>
                  </a:lnTo>
                  <a:lnTo>
                    <a:pt x="1769" y="2316"/>
                  </a:lnTo>
                  <a:lnTo>
                    <a:pt x="2500" y="2804"/>
                  </a:lnTo>
                  <a:lnTo>
                    <a:pt x="3353" y="3170"/>
                  </a:lnTo>
                  <a:lnTo>
                    <a:pt x="4207" y="3414"/>
                  </a:lnTo>
                  <a:lnTo>
                    <a:pt x="5060" y="3535"/>
                  </a:lnTo>
                  <a:lnTo>
                    <a:pt x="5974" y="3474"/>
                  </a:lnTo>
                  <a:lnTo>
                    <a:pt x="6096" y="3474"/>
                  </a:lnTo>
                  <a:lnTo>
                    <a:pt x="6157" y="3353"/>
                  </a:lnTo>
                  <a:lnTo>
                    <a:pt x="6218" y="3231"/>
                  </a:lnTo>
                  <a:lnTo>
                    <a:pt x="6157" y="3048"/>
                  </a:lnTo>
                  <a:lnTo>
                    <a:pt x="6096" y="2987"/>
                  </a:lnTo>
                  <a:lnTo>
                    <a:pt x="5121" y="2987"/>
                  </a:lnTo>
                  <a:lnTo>
                    <a:pt x="4329" y="2926"/>
                  </a:lnTo>
                  <a:lnTo>
                    <a:pt x="3536" y="2682"/>
                  </a:lnTo>
                  <a:lnTo>
                    <a:pt x="2744" y="2377"/>
                  </a:lnTo>
                  <a:lnTo>
                    <a:pt x="2073" y="1951"/>
                  </a:lnTo>
                  <a:lnTo>
                    <a:pt x="1403" y="1402"/>
                  </a:lnTo>
                  <a:lnTo>
                    <a:pt x="854" y="793"/>
                  </a:lnTo>
                  <a:lnTo>
                    <a:pt x="428" y="122"/>
                  </a:lnTo>
                  <a:lnTo>
                    <a:pt x="367" y="0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6" name="Google Shape;986;p16"/>
            <p:cNvSpPr/>
            <p:nvPr/>
          </p:nvSpPr>
          <p:spPr>
            <a:xfrm>
              <a:off x="4239700" y="3393875"/>
              <a:ext cx="155475" cy="88400"/>
            </a:xfrm>
            <a:custGeom>
              <a:avLst/>
              <a:gdLst/>
              <a:ahLst/>
              <a:cxnLst/>
              <a:rect l="l" t="t" r="r" b="b"/>
              <a:pathLst>
                <a:path w="6219" h="3536" fill="none" extrusionOk="0">
                  <a:moveTo>
                    <a:pt x="1" y="366"/>
                  </a:moveTo>
                  <a:lnTo>
                    <a:pt x="1" y="366"/>
                  </a:lnTo>
                  <a:lnTo>
                    <a:pt x="245" y="732"/>
                  </a:lnTo>
                  <a:lnTo>
                    <a:pt x="489" y="1097"/>
                  </a:lnTo>
                  <a:lnTo>
                    <a:pt x="1098" y="1768"/>
                  </a:lnTo>
                  <a:lnTo>
                    <a:pt x="1769" y="2316"/>
                  </a:lnTo>
                  <a:lnTo>
                    <a:pt x="2500" y="2804"/>
                  </a:lnTo>
                  <a:lnTo>
                    <a:pt x="3353" y="3170"/>
                  </a:lnTo>
                  <a:lnTo>
                    <a:pt x="4207" y="3414"/>
                  </a:lnTo>
                  <a:lnTo>
                    <a:pt x="5060" y="3535"/>
                  </a:lnTo>
                  <a:lnTo>
                    <a:pt x="5974" y="3474"/>
                  </a:lnTo>
                  <a:lnTo>
                    <a:pt x="5974" y="3474"/>
                  </a:lnTo>
                  <a:lnTo>
                    <a:pt x="6096" y="3474"/>
                  </a:lnTo>
                  <a:lnTo>
                    <a:pt x="6157" y="3353"/>
                  </a:lnTo>
                  <a:lnTo>
                    <a:pt x="6218" y="3231"/>
                  </a:lnTo>
                  <a:lnTo>
                    <a:pt x="6157" y="3048"/>
                  </a:lnTo>
                  <a:lnTo>
                    <a:pt x="6096" y="2987"/>
                  </a:lnTo>
                  <a:lnTo>
                    <a:pt x="5974" y="2987"/>
                  </a:lnTo>
                  <a:lnTo>
                    <a:pt x="5974" y="2987"/>
                  </a:lnTo>
                  <a:lnTo>
                    <a:pt x="5121" y="2987"/>
                  </a:lnTo>
                  <a:lnTo>
                    <a:pt x="4329" y="2926"/>
                  </a:lnTo>
                  <a:lnTo>
                    <a:pt x="3536" y="2682"/>
                  </a:lnTo>
                  <a:lnTo>
                    <a:pt x="2744" y="2377"/>
                  </a:lnTo>
                  <a:lnTo>
                    <a:pt x="2073" y="1951"/>
                  </a:lnTo>
                  <a:lnTo>
                    <a:pt x="1403" y="1402"/>
                  </a:lnTo>
                  <a:lnTo>
                    <a:pt x="854" y="793"/>
                  </a:lnTo>
                  <a:lnTo>
                    <a:pt x="428" y="122"/>
                  </a:lnTo>
                  <a:lnTo>
                    <a:pt x="428" y="122"/>
                  </a:lnTo>
                  <a:lnTo>
                    <a:pt x="367" y="0"/>
                  </a:lnTo>
                  <a:lnTo>
                    <a:pt x="306" y="0"/>
                  </a:lnTo>
                  <a:lnTo>
                    <a:pt x="123" y="0"/>
                  </a:lnTo>
                  <a:lnTo>
                    <a:pt x="1" y="122"/>
                  </a:lnTo>
                  <a:lnTo>
                    <a:pt x="1" y="244"/>
                  </a:lnTo>
                  <a:lnTo>
                    <a:pt x="1" y="366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7" name="Google Shape;987;p16"/>
            <p:cNvSpPr/>
            <p:nvPr/>
          </p:nvSpPr>
          <p:spPr>
            <a:xfrm>
              <a:off x="4620675" y="3326825"/>
              <a:ext cx="146300" cy="102125"/>
            </a:xfrm>
            <a:custGeom>
              <a:avLst/>
              <a:gdLst/>
              <a:ahLst/>
              <a:cxnLst/>
              <a:rect l="l" t="t" r="r" b="b"/>
              <a:pathLst>
                <a:path w="5852" h="4085" extrusionOk="0">
                  <a:moveTo>
                    <a:pt x="5425" y="0"/>
                  </a:moveTo>
                  <a:lnTo>
                    <a:pt x="5303" y="61"/>
                  </a:lnTo>
                  <a:lnTo>
                    <a:pt x="5181" y="122"/>
                  </a:lnTo>
                  <a:lnTo>
                    <a:pt x="4755" y="732"/>
                  </a:lnTo>
                  <a:lnTo>
                    <a:pt x="4206" y="1341"/>
                  </a:lnTo>
                  <a:lnTo>
                    <a:pt x="3657" y="1829"/>
                  </a:lnTo>
                  <a:lnTo>
                    <a:pt x="3048" y="2255"/>
                  </a:lnTo>
                  <a:lnTo>
                    <a:pt x="2377" y="2682"/>
                  </a:lnTo>
                  <a:lnTo>
                    <a:pt x="1707" y="2987"/>
                  </a:lnTo>
                  <a:lnTo>
                    <a:pt x="976" y="3231"/>
                  </a:lnTo>
                  <a:lnTo>
                    <a:pt x="244" y="3475"/>
                  </a:lnTo>
                  <a:lnTo>
                    <a:pt x="122" y="3535"/>
                  </a:lnTo>
                  <a:lnTo>
                    <a:pt x="61" y="3596"/>
                  </a:lnTo>
                  <a:lnTo>
                    <a:pt x="0" y="3718"/>
                  </a:lnTo>
                  <a:lnTo>
                    <a:pt x="0" y="3840"/>
                  </a:lnTo>
                  <a:lnTo>
                    <a:pt x="61" y="3962"/>
                  </a:lnTo>
                  <a:lnTo>
                    <a:pt x="183" y="4023"/>
                  </a:lnTo>
                  <a:lnTo>
                    <a:pt x="244" y="4084"/>
                  </a:lnTo>
                  <a:lnTo>
                    <a:pt x="427" y="4084"/>
                  </a:lnTo>
                  <a:lnTo>
                    <a:pt x="1219" y="3901"/>
                  </a:lnTo>
                  <a:lnTo>
                    <a:pt x="2012" y="3596"/>
                  </a:lnTo>
                  <a:lnTo>
                    <a:pt x="2743" y="3231"/>
                  </a:lnTo>
                  <a:lnTo>
                    <a:pt x="3414" y="2804"/>
                  </a:lnTo>
                  <a:lnTo>
                    <a:pt x="4084" y="2316"/>
                  </a:lnTo>
                  <a:lnTo>
                    <a:pt x="4694" y="1768"/>
                  </a:lnTo>
                  <a:lnTo>
                    <a:pt x="5242" y="1158"/>
                  </a:lnTo>
                  <a:lnTo>
                    <a:pt x="5791" y="488"/>
                  </a:lnTo>
                  <a:lnTo>
                    <a:pt x="5852" y="366"/>
                  </a:lnTo>
                  <a:lnTo>
                    <a:pt x="5852" y="244"/>
                  </a:lnTo>
                  <a:lnTo>
                    <a:pt x="5791" y="122"/>
                  </a:lnTo>
                  <a:lnTo>
                    <a:pt x="5669" y="61"/>
                  </a:lnTo>
                  <a:lnTo>
                    <a:pt x="5547" y="0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8" name="Google Shape;988;p16"/>
            <p:cNvSpPr/>
            <p:nvPr/>
          </p:nvSpPr>
          <p:spPr>
            <a:xfrm>
              <a:off x="4667900" y="3314625"/>
              <a:ext cx="60975" cy="91450"/>
            </a:xfrm>
            <a:custGeom>
              <a:avLst/>
              <a:gdLst/>
              <a:ahLst/>
              <a:cxnLst/>
              <a:rect l="l" t="t" r="r" b="b"/>
              <a:pathLst>
                <a:path w="2439" h="3658" extrusionOk="0">
                  <a:moveTo>
                    <a:pt x="2134" y="1"/>
                  </a:moveTo>
                  <a:lnTo>
                    <a:pt x="2012" y="62"/>
                  </a:lnTo>
                  <a:lnTo>
                    <a:pt x="1281" y="732"/>
                  </a:lnTo>
                  <a:lnTo>
                    <a:pt x="976" y="1159"/>
                  </a:lnTo>
                  <a:lnTo>
                    <a:pt x="671" y="1524"/>
                  </a:lnTo>
                  <a:lnTo>
                    <a:pt x="367" y="1951"/>
                  </a:lnTo>
                  <a:lnTo>
                    <a:pt x="184" y="2439"/>
                  </a:lnTo>
                  <a:lnTo>
                    <a:pt x="62" y="2926"/>
                  </a:lnTo>
                  <a:lnTo>
                    <a:pt x="1" y="3414"/>
                  </a:lnTo>
                  <a:lnTo>
                    <a:pt x="62" y="3536"/>
                  </a:lnTo>
                  <a:lnTo>
                    <a:pt x="123" y="3597"/>
                  </a:lnTo>
                  <a:lnTo>
                    <a:pt x="245" y="3658"/>
                  </a:lnTo>
                  <a:lnTo>
                    <a:pt x="428" y="3597"/>
                  </a:lnTo>
                  <a:lnTo>
                    <a:pt x="488" y="3536"/>
                  </a:lnTo>
                  <a:lnTo>
                    <a:pt x="488" y="3414"/>
                  </a:lnTo>
                  <a:lnTo>
                    <a:pt x="549" y="2987"/>
                  </a:lnTo>
                  <a:lnTo>
                    <a:pt x="671" y="2500"/>
                  </a:lnTo>
                  <a:lnTo>
                    <a:pt x="854" y="2134"/>
                  </a:lnTo>
                  <a:lnTo>
                    <a:pt x="1098" y="1707"/>
                  </a:lnTo>
                  <a:lnTo>
                    <a:pt x="1403" y="1402"/>
                  </a:lnTo>
                  <a:lnTo>
                    <a:pt x="1708" y="1037"/>
                  </a:lnTo>
                  <a:lnTo>
                    <a:pt x="2378" y="427"/>
                  </a:lnTo>
                  <a:lnTo>
                    <a:pt x="2439" y="305"/>
                  </a:lnTo>
                  <a:lnTo>
                    <a:pt x="2439" y="244"/>
                  </a:lnTo>
                  <a:lnTo>
                    <a:pt x="2378" y="62"/>
                  </a:lnTo>
                  <a:lnTo>
                    <a:pt x="2195" y="1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9" name="Google Shape;989;p16"/>
            <p:cNvSpPr/>
            <p:nvPr/>
          </p:nvSpPr>
          <p:spPr>
            <a:xfrm>
              <a:off x="4631325" y="3160725"/>
              <a:ext cx="50325" cy="103650"/>
            </a:xfrm>
            <a:custGeom>
              <a:avLst/>
              <a:gdLst/>
              <a:ahLst/>
              <a:cxnLst/>
              <a:rect l="l" t="t" r="r" b="b"/>
              <a:pathLst>
                <a:path w="2013" h="4146" extrusionOk="0">
                  <a:moveTo>
                    <a:pt x="1769" y="0"/>
                  </a:moveTo>
                  <a:lnTo>
                    <a:pt x="1586" y="61"/>
                  </a:lnTo>
                  <a:lnTo>
                    <a:pt x="1525" y="122"/>
                  </a:lnTo>
                  <a:lnTo>
                    <a:pt x="1525" y="244"/>
                  </a:lnTo>
                  <a:lnTo>
                    <a:pt x="1525" y="732"/>
                  </a:lnTo>
                  <a:lnTo>
                    <a:pt x="1464" y="1219"/>
                  </a:lnTo>
                  <a:lnTo>
                    <a:pt x="1342" y="1646"/>
                  </a:lnTo>
                  <a:lnTo>
                    <a:pt x="1159" y="2134"/>
                  </a:lnTo>
                  <a:lnTo>
                    <a:pt x="915" y="2560"/>
                  </a:lnTo>
                  <a:lnTo>
                    <a:pt x="610" y="2926"/>
                  </a:lnTo>
                  <a:lnTo>
                    <a:pt x="1" y="3718"/>
                  </a:lnTo>
                  <a:lnTo>
                    <a:pt x="1" y="3840"/>
                  </a:lnTo>
                  <a:lnTo>
                    <a:pt x="1" y="3901"/>
                  </a:lnTo>
                  <a:lnTo>
                    <a:pt x="62" y="4084"/>
                  </a:lnTo>
                  <a:lnTo>
                    <a:pt x="184" y="4145"/>
                  </a:lnTo>
                  <a:lnTo>
                    <a:pt x="306" y="4145"/>
                  </a:lnTo>
                  <a:lnTo>
                    <a:pt x="367" y="4084"/>
                  </a:lnTo>
                  <a:lnTo>
                    <a:pt x="1037" y="3231"/>
                  </a:lnTo>
                  <a:lnTo>
                    <a:pt x="1342" y="2743"/>
                  </a:lnTo>
                  <a:lnTo>
                    <a:pt x="1586" y="2316"/>
                  </a:lnTo>
                  <a:lnTo>
                    <a:pt x="1830" y="1829"/>
                  </a:lnTo>
                  <a:lnTo>
                    <a:pt x="1951" y="1280"/>
                  </a:lnTo>
                  <a:lnTo>
                    <a:pt x="2012" y="793"/>
                  </a:lnTo>
                  <a:lnTo>
                    <a:pt x="2012" y="244"/>
                  </a:lnTo>
                  <a:lnTo>
                    <a:pt x="2012" y="122"/>
                  </a:lnTo>
                  <a:lnTo>
                    <a:pt x="1951" y="61"/>
                  </a:lnTo>
                  <a:lnTo>
                    <a:pt x="1769" y="0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0" name="Google Shape;990;p16"/>
            <p:cNvSpPr/>
            <p:nvPr/>
          </p:nvSpPr>
          <p:spPr>
            <a:xfrm>
              <a:off x="4631325" y="3160725"/>
              <a:ext cx="50325" cy="103650"/>
            </a:xfrm>
            <a:custGeom>
              <a:avLst/>
              <a:gdLst/>
              <a:ahLst/>
              <a:cxnLst/>
              <a:rect l="l" t="t" r="r" b="b"/>
              <a:pathLst>
                <a:path w="2013" h="4146" fill="none" extrusionOk="0">
                  <a:moveTo>
                    <a:pt x="367" y="4084"/>
                  </a:moveTo>
                  <a:lnTo>
                    <a:pt x="367" y="4084"/>
                  </a:lnTo>
                  <a:lnTo>
                    <a:pt x="1037" y="3231"/>
                  </a:lnTo>
                  <a:lnTo>
                    <a:pt x="1342" y="2743"/>
                  </a:lnTo>
                  <a:lnTo>
                    <a:pt x="1586" y="2316"/>
                  </a:lnTo>
                  <a:lnTo>
                    <a:pt x="1830" y="1829"/>
                  </a:lnTo>
                  <a:lnTo>
                    <a:pt x="1951" y="1280"/>
                  </a:lnTo>
                  <a:lnTo>
                    <a:pt x="2012" y="793"/>
                  </a:lnTo>
                  <a:lnTo>
                    <a:pt x="2012" y="244"/>
                  </a:lnTo>
                  <a:lnTo>
                    <a:pt x="2012" y="244"/>
                  </a:lnTo>
                  <a:lnTo>
                    <a:pt x="2012" y="122"/>
                  </a:lnTo>
                  <a:lnTo>
                    <a:pt x="1951" y="61"/>
                  </a:lnTo>
                  <a:lnTo>
                    <a:pt x="1769" y="0"/>
                  </a:lnTo>
                  <a:lnTo>
                    <a:pt x="1586" y="61"/>
                  </a:lnTo>
                  <a:lnTo>
                    <a:pt x="1525" y="122"/>
                  </a:lnTo>
                  <a:lnTo>
                    <a:pt x="1525" y="244"/>
                  </a:lnTo>
                  <a:lnTo>
                    <a:pt x="1525" y="244"/>
                  </a:lnTo>
                  <a:lnTo>
                    <a:pt x="1525" y="732"/>
                  </a:lnTo>
                  <a:lnTo>
                    <a:pt x="1464" y="1219"/>
                  </a:lnTo>
                  <a:lnTo>
                    <a:pt x="1342" y="1646"/>
                  </a:lnTo>
                  <a:lnTo>
                    <a:pt x="1159" y="2134"/>
                  </a:lnTo>
                  <a:lnTo>
                    <a:pt x="915" y="2560"/>
                  </a:lnTo>
                  <a:lnTo>
                    <a:pt x="610" y="2926"/>
                  </a:lnTo>
                  <a:lnTo>
                    <a:pt x="1" y="3718"/>
                  </a:lnTo>
                  <a:lnTo>
                    <a:pt x="1" y="3718"/>
                  </a:lnTo>
                  <a:lnTo>
                    <a:pt x="1" y="3840"/>
                  </a:lnTo>
                  <a:lnTo>
                    <a:pt x="1" y="3901"/>
                  </a:lnTo>
                  <a:lnTo>
                    <a:pt x="62" y="4084"/>
                  </a:lnTo>
                  <a:lnTo>
                    <a:pt x="184" y="4145"/>
                  </a:lnTo>
                  <a:lnTo>
                    <a:pt x="306" y="4145"/>
                  </a:lnTo>
                  <a:lnTo>
                    <a:pt x="367" y="408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1" name="Google Shape;991;p16"/>
            <p:cNvSpPr/>
            <p:nvPr/>
          </p:nvSpPr>
          <p:spPr>
            <a:xfrm>
              <a:off x="4663325" y="3121100"/>
              <a:ext cx="96050" cy="94500"/>
            </a:xfrm>
            <a:custGeom>
              <a:avLst/>
              <a:gdLst/>
              <a:ahLst/>
              <a:cxnLst/>
              <a:rect l="l" t="t" r="r" b="b"/>
              <a:pathLst>
                <a:path w="3842" h="3780" extrusionOk="0">
                  <a:moveTo>
                    <a:pt x="3597" y="0"/>
                  </a:moveTo>
                  <a:lnTo>
                    <a:pt x="3536" y="122"/>
                  </a:lnTo>
                  <a:lnTo>
                    <a:pt x="3353" y="732"/>
                  </a:lnTo>
                  <a:lnTo>
                    <a:pt x="3049" y="1280"/>
                  </a:lnTo>
                  <a:lnTo>
                    <a:pt x="2744" y="1768"/>
                  </a:lnTo>
                  <a:lnTo>
                    <a:pt x="2317" y="2256"/>
                  </a:lnTo>
                  <a:lnTo>
                    <a:pt x="1830" y="2682"/>
                  </a:lnTo>
                  <a:lnTo>
                    <a:pt x="1281" y="2987"/>
                  </a:lnTo>
                  <a:lnTo>
                    <a:pt x="732" y="3292"/>
                  </a:lnTo>
                  <a:lnTo>
                    <a:pt x="123" y="3475"/>
                  </a:lnTo>
                  <a:lnTo>
                    <a:pt x="1" y="3536"/>
                  </a:lnTo>
                  <a:lnTo>
                    <a:pt x="1" y="3658"/>
                  </a:lnTo>
                  <a:lnTo>
                    <a:pt x="62" y="3719"/>
                  </a:lnTo>
                  <a:lnTo>
                    <a:pt x="184" y="3780"/>
                  </a:lnTo>
                  <a:lnTo>
                    <a:pt x="854" y="3597"/>
                  </a:lnTo>
                  <a:lnTo>
                    <a:pt x="1464" y="3292"/>
                  </a:lnTo>
                  <a:lnTo>
                    <a:pt x="2012" y="2926"/>
                  </a:lnTo>
                  <a:lnTo>
                    <a:pt x="2500" y="2500"/>
                  </a:lnTo>
                  <a:lnTo>
                    <a:pt x="2988" y="2012"/>
                  </a:lnTo>
                  <a:lnTo>
                    <a:pt x="3353" y="1463"/>
                  </a:lnTo>
                  <a:lnTo>
                    <a:pt x="3658" y="854"/>
                  </a:lnTo>
                  <a:lnTo>
                    <a:pt x="3841" y="183"/>
                  </a:lnTo>
                  <a:lnTo>
                    <a:pt x="3841" y="61"/>
                  </a:lnTo>
                  <a:lnTo>
                    <a:pt x="3719" y="0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2" name="Google Shape;992;p16"/>
            <p:cNvSpPr/>
            <p:nvPr/>
          </p:nvSpPr>
          <p:spPr>
            <a:xfrm>
              <a:off x="4663325" y="3121100"/>
              <a:ext cx="96050" cy="94500"/>
            </a:xfrm>
            <a:custGeom>
              <a:avLst/>
              <a:gdLst/>
              <a:ahLst/>
              <a:cxnLst/>
              <a:rect l="l" t="t" r="r" b="b"/>
              <a:pathLst>
                <a:path w="3842" h="3780" fill="none" extrusionOk="0">
                  <a:moveTo>
                    <a:pt x="184" y="3780"/>
                  </a:moveTo>
                  <a:lnTo>
                    <a:pt x="184" y="3780"/>
                  </a:lnTo>
                  <a:lnTo>
                    <a:pt x="854" y="3597"/>
                  </a:lnTo>
                  <a:lnTo>
                    <a:pt x="1464" y="3292"/>
                  </a:lnTo>
                  <a:lnTo>
                    <a:pt x="2012" y="2926"/>
                  </a:lnTo>
                  <a:lnTo>
                    <a:pt x="2500" y="2500"/>
                  </a:lnTo>
                  <a:lnTo>
                    <a:pt x="2988" y="2012"/>
                  </a:lnTo>
                  <a:lnTo>
                    <a:pt x="3353" y="1463"/>
                  </a:lnTo>
                  <a:lnTo>
                    <a:pt x="3658" y="854"/>
                  </a:lnTo>
                  <a:lnTo>
                    <a:pt x="3841" y="183"/>
                  </a:lnTo>
                  <a:lnTo>
                    <a:pt x="3841" y="183"/>
                  </a:lnTo>
                  <a:lnTo>
                    <a:pt x="3841" y="61"/>
                  </a:lnTo>
                  <a:lnTo>
                    <a:pt x="3719" y="0"/>
                  </a:lnTo>
                  <a:lnTo>
                    <a:pt x="3597" y="0"/>
                  </a:lnTo>
                  <a:lnTo>
                    <a:pt x="3536" y="122"/>
                  </a:lnTo>
                  <a:lnTo>
                    <a:pt x="3536" y="122"/>
                  </a:lnTo>
                  <a:lnTo>
                    <a:pt x="3353" y="732"/>
                  </a:lnTo>
                  <a:lnTo>
                    <a:pt x="3049" y="1280"/>
                  </a:lnTo>
                  <a:lnTo>
                    <a:pt x="2744" y="1768"/>
                  </a:lnTo>
                  <a:lnTo>
                    <a:pt x="2317" y="2256"/>
                  </a:lnTo>
                  <a:lnTo>
                    <a:pt x="1830" y="2682"/>
                  </a:lnTo>
                  <a:lnTo>
                    <a:pt x="1281" y="2987"/>
                  </a:lnTo>
                  <a:lnTo>
                    <a:pt x="732" y="3292"/>
                  </a:lnTo>
                  <a:lnTo>
                    <a:pt x="123" y="3475"/>
                  </a:lnTo>
                  <a:lnTo>
                    <a:pt x="123" y="3475"/>
                  </a:lnTo>
                  <a:lnTo>
                    <a:pt x="1" y="3536"/>
                  </a:lnTo>
                  <a:lnTo>
                    <a:pt x="1" y="3658"/>
                  </a:lnTo>
                  <a:lnTo>
                    <a:pt x="62" y="3719"/>
                  </a:lnTo>
                  <a:lnTo>
                    <a:pt x="184" y="378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4722775" y="3131775"/>
              <a:ext cx="89925" cy="53350"/>
            </a:xfrm>
            <a:custGeom>
              <a:avLst/>
              <a:gdLst/>
              <a:ahLst/>
              <a:cxnLst/>
              <a:rect l="l" t="t" r="r" b="b"/>
              <a:pathLst>
                <a:path w="3597" h="2134" extrusionOk="0">
                  <a:moveTo>
                    <a:pt x="3414" y="0"/>
                  </a:moveTo>
                  <a:lnTo>
                    <a:pt x="3292" y="61"/>
                  </a:lnTo>
                  <a:lnTo>
                    <a:pt x="3048" y="488"/>
                  </a:lnTo>
                  <a:lnTo>
                    <a:pt x="2804" y="853"/>
                  </a:lnTo>
                  <a:lnTo>
                    <a:pt x="2438" y="1158"/>
                  </a:lnTo>
                  <a:lnTo>
                    <a:pt x="2012" y="1463"/>
                  </a:lnTo>
                  <a:lnTo>
                    <a:pt x="1585" y="1646"/>
                  </a:lnTo>
                  <a:lnTo>
                    <a:pt x="1158" y="1768"/>
                  </a:lnTo>
                  <a:lnTo>
                    <a:pt x="61" y="1768"/>
                  </a:lnTo>
                  <a:lnTo>
                    <a:pt x="0" y="1890"/>
                  </a:lnTo>
                  <a:lnTo>
                    <a:pt x="0" y="2012"/>
                  </a:lnTo>
                  <a:lnTo>
                    <a:pt x="122" y="2073"/>
                  </a:lnTo>
                  <a:lnTo>
                    <a:pt x="610" y="2134"/>
                  </a:lnTo>
                  <a:lnTo>
                    <a:pt x="1158" y="2073"/>
                  </a:lnTo>
                  <a:lnTo>
                    <a:pt x="1646" y="1951"/>
                  </a:lnTo>
                  <a:lnTo>
                    <a:pt x="2134" y="1768"/>
                  </a:lnTo>
                  <a:lnTo>
                    <a:pt x="2621" y="1463"/>
                  </a:lnTo>
                  <a:lnTo>
                    <a:pt x="2987" y="1097"/>
                  </a:lnTo>
                  <a:lnTo>
                    <a:pt x="3353" y="671"/>
                  </a:lnTo>
                  <a:lnTo>
                    <a:pt x="3596" y="244"/>
                  </a:lnTo>
                  <a:lnTo>
                    <a:pt x="3596" y="122"/>
                  </a:lnTo>
                  <a:lnTo>
                    <a:pt x="3535" y="0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4" name="Google Shape;994;p16"/>
            <p:cNvSpPr/>
            <p:nvPr/>
          </p:nvSpPr>
          <p:spPr>
            <a:xfrm>
              <a:off x="4722775" y="3131775"/>
              <a:ext cx="89925" cy="53350"/>
            </a:xfrm>
            <a:custGeom>
              <a:avLst/>
              <a:gdLst/>
              <a:ahLst/>
              <a:cxnLst/>
              <a:rect l="l" t="t" r="r" b="b"/>
              <a:pathLst>
                <a:path w="3597" h="2134" fill="none" extrusionOk="0">
                  <a:moveTo>
                    <a:pt x="122" y="2073"/>
                  </a:moveTo>
                  <a:lnTo>
                    <a:pt x="122" y="2073"/>
                  </a:lnTo>
                  <a:lnTo>
                    <a:pt x="610" y="2134"/>
                  </a:lnTo>
                  <a:lnTo>
                    <a:pt x="1158" y="2073"/>
                  </a:lnTo>
                  <a:lnTo>
                    <a:pt x="1646" y="1951"/>
                  </a:lnTo>
                  <a:lnTo>
                    <a:pt x="2134" y="1768"/>
                  </a:lnTo>
                  <a:lnTo>
                    <a:pt x="2621" y="1463"/>
                  </a:lnTo>
                  <a:lnTo>
                    <a:pt x="2987" y="1097"/>
                  </a:lnTo>
                  <a:lnTo>
                    <a:pt x="3353" y="671"/>
                  </a:lnTo>
                  <a:lnTo>
                    <a:pt x="3596" y="244"/>
                  </a:lnTo>
                  <a:lnTo>
                    <a:pt x="3596" y="244"/>
                  </a:lnTo>
                  <a:lnTo>
                    <a:pt x="3596" y="122"/>
                  </a:lnTo>
                  <a:lnTo>
                    <a:pt x="3535" y="0"/>
                  </a:lnTo>
                  <a:lnTo>
                    <a:pt x="3414" y="0"/>
                  </a:lnTo>
                  <a:lnTo>
                    <a:pt x="3292" y="61"/>
                  </a:lnTo>
                  <a:lnTo>
                    <a:pt x="3292" y="61"/>
                  </a:lnTo>
                  <a:lnTo>
                    <a:pt x="3048" y="488"/>
                  </a:lnTo>
                  <a:lnTo>
                    <a:pt x="2804" y="853"/>
                  </a:lnTo>
                  <a:lnTo>
                    <a:pt x="2438" y="1158"/>
                  </a:lnTo>
                  <a:lnTo>
                    <a:pt x="2012" y="1463"/>
                  </a:lnTo>
                  <a:lnTo>
                    <a:pt x="1585" y="1646"/>
                  </a:lnTo>
                  <a:lnTo>
                    <a:pt x="1158" y="1768"/>
                  </a:lnTo>
                  <a:lnTo>
                    <a:pt x="671" y="1768"/>
                  </a:lnTo>
                  <a:lnTo>
                    <a:pt x="183" y="1768"/>
                  </a:lnTo>
                  <a:lnTo>
                    <a:pt x="183" y="1768"/>
                  </a:lnTo>
                  <a:lnTo>
                    <a:pt x="61" y="1768"/>
                  </a:lnTo>
                  <a:lnTo>
                    <a:pt x="0" y="1890"/>
                  </a:lnTo>
                  <a:lnTo>
                    <a:pt x="0" y="2012"/>
                  </a:lnTo>
                  <a:lnTo>
                    <a:pt x="122" y="2073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5" name="Google Shape;995;p16"/>
            <p:cNvSpPr/>
            <p:nvPr/>
          </p:nvSpPr>
          <p:spPr>
            <a:xfrm>
              <a:off x="4494200" y="3151575"/>
              <a:ext cx="99075" cy="129550"/>
            </a:xfrm>
            <a:custGeom>
              <a:avLst/>
              <a:gdLst/>
              <a:ahLst/>
              <a:cxnLst/>
              <a:rect l="l" t="t" r="r" b="b"/>
              <a:pathLst>
                <a:path w="3963" h="5182" extrusionOk="0">
                  <a:moveTo>
                    <a:pt x="244" y="1"/>
                  </a:moveTo>
                  <a:lnTo>
                    <a:pt x="61" y="122"/>
                  </a:lnTo>
                  <a:lnTo>
                    <a:pt x="0" y="244"/>
                  </a:lnTo>
                  <a:lnTo>
                    <a:pt x="0" y="305"/>
                  </a:lnTo>
                  <a:lnTo>
                    <a:pt x="244" y="1098"/>
                  </a:lnTo>
                  <a:lnTo>
                    <a:pt x="488" y="1829"/>
                  </a:lnTo>
                  <a:lnTo>
                    <a:pt x="853" y="2500"/>
                  </a:lnTo>
                  <a:lnTo>
                    <a:pt x="1280" y="3170"/>
                  </a:lnTo>
                  <a:lnTo>
                    <a:pt x="1768" y="3780"/>
                  </a:lnTo>
                  <a:lnTo>
                    <a:pt x="2316" y="4328"/>
                  </a:lnTo>
                  <a:lnTo>
                    <a:pt x="2926" y="4755"/>
                  </a:lnTo>
                  <a:lnTo>
                    <a:pt x="3596" y="5182"/>
                  </a:lnTo>
                  <a:lnTo>
                    <a:pt x="3840" y="5182"/>
                  </a:lnTo>
                  <a:lnTo>
                    <a:pt x="3962" y="5060"/>
                  </a:lnTo>
                  <a:lnTo>
                    <a:pt x="3962" y="4877"/>
                  </a:lnTo>
                  <a:lnTo>
                    <a:pt x="3962" y="4816"/>
                  </a:lnTo>
                  <a:lnTo>
                    <a:pt x="3840" y="4755"/>
                  </a:lnTo>
                  <a:lnTo>
                    <a:pt x="3231" y="4389"/>
                  </a:lnTo>
                  <a:lnTo>
                    <a:pt x="2621" y="3902"/>
                  </a:lnTo>
                  <a:lnTo>
                    <a:pt x="2134" y="3414"/>
                  </a:lnTo>
                  <a:lnTo>
                    <a:pt x="1646" y="2865"/>
                  </a:lnTo>
                  <a:lnTo>
                    <a:pt x="1280" y="2256"/>
                  </a:lnTo>
                  <a:lnTo>
                    <a:pt x="914" y="1585"/>
                  </a:lnTo>
                  <a:lnTo>
                    <a:pt x="671" y="915"/>
                  </a:lnTo>
                  <a:lnTo>
                    <a:pt x="488" y="183"/>
                  </a:lnTo>
                  <a:lnTo>
                    <a:pt x="427" y="122"/>
                  </a:lnTo>
                  <a:lnTo>
                    <a:pt x="366" y="61"/>
                  </a:lnTo>
                  <a:lnTo>
                    <a:pt x="244" y="1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6" name="Google Shape;996;p16"/>
            <p:cNvSpPr/>
            <p:nvPr/>
          </p:nvSpPr>
          <p:spPr>
            <a:xfrm>
              <a:off x="4494200" y="3151575"/>
              <a:ext cx="99075" cy="129550"/>
            </a:xfrm>
            <a:custGeom>
              <a:avLst/>
              <a:gdLst/>
              <a:ahLst/>
              <a:cxnLst/>
              <a:rect l="l" t="t" r="r" b="b"/>
              <a:pathLst>
                <a:path w="3963" h="5182" fill="none" extrusionOk="0">
                  <a:moveTo>
                    <a:pt x="0" y="305"/>
                  </a:moveTo>
                  <a:lnTo>
                    <a:pt x="0" y="305"/>
                  </a:lnTo>
                  <a:lnTo>
                    <a:pt x="244" y="1098"/>
                  </a:lnTo>
                  <a:lnTo>
                    <a:pt x="488" y="1829"/>
                  </a:lnTo>
                  <a:lnTo>
                    <a:pt x="853" y="2500"/>
                  </a:lnTo>
                  <a:lnTo>
                    <a:pt x="1280" y="3170"/>
                  </a:lnTo>
                  <a:lnTo>
                    <a:pt x="1768" y="3780"/>
                  </a:lnTo>
                  <a:lnTo>
                    <a:pt x="2316" y="4328"/>
                  </a:lnTo>
                  <a:lnTo>
                    <a:pt x="2926" y="4755"/>
                  </a:lnTo>
                  <a:lnTo>
                    <a:pt x="3596" y="5182"/>
                  </a:lnTo>
                  <a:lnTo>
                    <a:pt x="3596" y="5182"/>
                  </a:lnTo>
                  <a:lnTo>
                    <a:pt x="3718" y="5182"/>
                  </a:lnTo>
                  <a:lnTo>
                    <a:pt x="3840" y="5182"/>
                  </a:lnTo>
                  <a:lnTo>
                    <a:pt x="3962" y="5060"/>
                  </a:lnTo>
                  <a:lnTo>
                    <a:pt x="3962" y="4877"/>
                  </a:lnTo>
                  <a:lnTo>
                    <a:pt x="3962" y="4816"/>
                  </a:lnTo>
                  <a:lnTo>
                    <a:pt x="3840" y="4755"/>
                  </a:lnTo>
                  <a:lnTo>
                    <a:pt x="3840" y="4755"/>
                  </a:lnTo>
                  <a:lnTo>
                    <a:pt x="3231" y="4389"/>
                  </a:lnTo>
                  <a:lnTo>
                    <a:pt x="2621" y="3902"/>
                  </a:lnTo>
                  <a:lnTo>
                    <a:pt x="2134" y="3414"/>
                  </a:lnTo>
                  <a:lnTo>
                    <a:pt x="1646" y="2865"/>
                  </a:lnTo>
                  <a:lnTo>
                    <a:pt x="1280" y="2256"/>
                  </a:lnTo>
                  <a:lnTo>
                    <a:pt x="914" y="1585"/>
                  </a:lnTo>
                  <a:lnTo>
                    <a:pt x="671" y="915"/>
                  </a:lnTo>
                  <a:lnTo>
                    <a:pt x="488" y="183"/>
                  </a:lnTo>
                  <a:lnTo>
                    <a:pt x="488" y="183"/>
                  </a:lnTo>
                  <a:lnTo>
                    <a:pt x="427" y="122"/>
                  </a:lnTo>
                  <a:lnTo>
                    <a:pt x="366" y="61"/>
                  </a:lnTo>
                  <a:lnTo>
                    <a:pt x="244" y="1"/>
                  </a:lnTo>
                  <a:lnTo>
                    <a:pt x="61" y="122"/>
                  </a:lnTo>
                  <a:lnTo>
                    <a:pt x="0" y="244"/>
                  </a:lnTo>
                  <a:lnTo>
                    <a:pt x="0" y="30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7" name="Google Shape;997;p16"/>
            <p:cNvSpPr/>
            <p:nvPr/>
          </p:nvSpPr>
          <p:spPr>
            <a:xfrm>
              <a:off x="4597800" y="3174425"/>
              <a:ext cx="42700" cy="1580250"/>
            </a:xfrm>
            <a:custGeom>
              <a:avLst/>
              <a:gdLst/>
              <a:ahLst/>
              <a:cxnLst/>
              <a:rect l="l" t="t" r="r" b="b"/>
              <a:pathLst>
                <a:path w="1708" h="63210" extrusionOk="0">
                  <a:moveTo>
                    <a:pt x="976" y="1"/>
                  </a:moveTo>
                  <a:lnTo>
                    <a:pt x="854" y="62"/>
                  </a:lnTo>
                  <a:lnTo>
                    <a:pt x="793" y="184"/>
                  </a:lnTo>
                  <a:lnTo>
                    <a:pt x="732" y="428"/>
                  </a:lnTo>
                  <a:lnTo>
                    <a:pt x="732" y="16946"/>
                  </a:lnTo>
                  <a:lnTo>
                    <a:pt x="671" y="26333"/>
                  </a:lnTo>
                  <a:lnTo>
                    <a:pt x="489" y="35720"/>
                  </a:lnTo>
                  <a:lnTo>
                    <a:pt x="306" y="43461"/>
                  </a:lnTo>
                  <a:lnTo>
                    <a:pt x="123" y="51202"/>
                  </a:lnTo>
                  <a:lnTo>
                    <a:pt x="1" y="56992"/>
                  </a:lnTo>
                  <a:lnTo>
                    <a:pt x="1" y="62844"/>
                  </a:lnTo>
                  <a:lnTo>
                    <a:pt x="1" y="62966"/>
                  </a:lnTo>
                  <a:lnTo>
                    <a:pt x="62" y="63027"/>
                  </a:lnTo>
                  <a:lnTo>
                    <a:pt x="245" y="63149"/>
                  </a:lnTo>
                  <a:lnTo>
                    <a:pt x="550" y="63210"/>
                  </a:lnTo>
                  <a:lnTo>
                    <a:pt x="854" y="63210"/>
                  </a:lnTo>
                  <a:lnTo>
                    <a:pt x="1159" y="63149"/>
                  </a:lnTo>
                  <a:lnTo>
                    <a:pt x="1464" y="63088"/>
                  </a:lnTo>
                  <a:lnTo>
                    <a:pt x="1647" y="62966"/>
                  </a:lnTo>
                  <a:lnTo>
                    <a:pt x="1708" y="62905"/>
                  </a:lnTo>
                  <a:lnTo>
                    <a:pt x="1708" y="62783"/>
                  </a:lnTo>
                  <a:lnTo>
                    <a:pt x="1708" y="38462"/>
                  </a:lnTo>
                  <a:lnTo>
                    <a:pt x="1708" y="14081"/>
                  </a:lnTo>
                  <a:lnTo>
                    <a:pt x="1708" y="10668"/>
                  </a:lnTo>
                  <a:lnTo>
                    <a:pt x="1647" y="7315"/>
                  </a:lnTo>
                  <a:lnTo>
                    <a:pt x="1586" y="3902"/>
                  </a:lnTo>
                  <a:lnTo>
                    <a:pt x="1525" y="488"/>
                  </a:lnTo>
                  <a:lnTo>
                    <a:pt x="1525" y="306"/>
                  </a:lnTo>
                  <a:lnTo>
                    <a:pt x="1403" y="123"/>
                  </a:lnTo>
                  <a:lnTo>
                    <a:pt x="1281" y="1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8" name="Google Shape;998;p16"/>
            <p:cNvSpPr/>
            <p:nvPr/>
          </p:nvSpPr>
          <p:spPr>
            <a:xfrm>
              <a:off x="4597800" y="3174425"/>
              <a:ext cx="42700" cy="1580250"/>
            </a:xfrm>
            <a:custGeom>
              <a:avLst/>
              <a:gdLst/>
              <a:ahLst/>
              <a:cxnLst/>
              <a:rect l="l" t="t" r="r" b="b"/>
              <a:pathLst>
                <a:path w="1708" h="63210" fill="none" extrusionOk="0">
                  <a:moveTo>
                    <a:pt x="732" y="428"/>
                  </a:moveTo>
                  <a:lnTo>
                    <a:pt x="732" y="428"/>
                  </a:lnTo>
                  <a:lnTo>
                    <a:pt x="732" y="16946"/>
                  </a:lnTo>
                  <a:lnTo>
                    <a:pt x="732" y="16946"/>
                  </a:lnTo>
                  <a:lnTo>
                    <a:pt x="671" y="26333"/>
                  </a:lnTo>
                  <a:lnTo>
                    <a:pt x="489" y="35720"/>
                  </a:lnTo>
                  <a:lnTo>
                    <a:pt x="489" y="35720"/>
                  </a:lnTo>
                  <a:lnTo>
                    <a:pt x="306" y="43461"/>
                  </a:lnTo>
                  <a:lnTo>
                    <a:pt x="123" y="51202"/>
                  </a:lnTo>
                  <a:lnTo>
                    <a:pt x="123" y="51202"/>
                  </a:lnTo>
                  <a:lnTo>
                    <a:pt x="1" y="56992"/>
                  </a:lnTo>
                  <a:lnTo>
                    <a:pt x="1" y="62844"/>
                  </a:lnTo>
                  <a:lnTo>
                    <a:pt x="1" y="62844"/>
                  </a:lnTo>
                  <a:lnTo>
                    <a:pt x="1" y="62966"/>
                  </a:lnTo>
                  <a:lnTo>
                    <a:pt x="62" y="63027"/>
                  </a:lnTo>
                  <a:lnTo>
                    <a:pt x="245" y="63149"/>
                  </a:lnTo>
                  <a:lnTo>
                    <a:pt x="550" y="63210"/>
                  </a:lnTo>
                  <a:lnTo>
                    <a:pt x="854" y="63210"/>
                  </a:lnTo>
                  <a:lnTo>
                    <a:pt x="1159" y="63149"/>
                  </a:lnTo>
                  <a:lnTo>
                    <a:pt x="1464" y="63088"/>
                  </a:lnTo>
                  <a:lnTo>
                    <a:pt x="1647" y="62966"/>
                  </a:lnTo>
                  <a:lnTo>
                    <a:pt x="1708" y="62905"/>
                  </a:lnTo>
                  <a:lnTo>
                    <a:pt x="1708" y="62783"/>
                  </a:lnTo>
                  <a:lnTo>
                    <a:pt x="1708" y="62783"/>
                  </a:lnTo>
                  <a:lnTo>
                    <a:pt x="1708" y="38462"/>
                  </a:lnTo>
                  <a:lnTo>
                    <a:pt x="1708" y="38462"/>
                  </a:lnTo>
                  <a:lnTo>
                    <a:pt x="1708" y="14081"/>
                  </a:lnTo>
                  <a:lnTo>
                    <a:pt x="1708" y="14081"/>
                  </a:lnTo>
                  <a:lnTo>
                    <a:pt x="1708" y="10668"/>
                  </a:lnTo>
                  <a:lnTo>
                    <a:pt x="1647" y="7315"/>
                  </a:lnTo>
                  <a:lnTo>
                    <a:pt x="1586" y="3902"/>
                  </a:lnTo>
                  <a:lnTo>
                    <a:pt x="1525" y="488"/>
                  </a:lnTo>
                  <a:lnTo>
                    <a:pt x="1525" y="488"/>
                  </a:lnTo>
                  <a:lnTo>
                    <a:pt x="1525" y="306"/>
                  </a:lnTo>
                  <a:lnTo>
                    <a:pt x="1403" y="123"/>
                  </a:lnTo>
                  <a:lnTo>
                    <a:pt x="1281" y="1"/>
                  </a:lnTo>
                  <a:lnTo>
                    <a:pt x="1159" y="1"/>
                  </a:lnTo>
                  <a:lnTo>
                    <a:pt x="976" y="1"/>
                  </a:lnTo>
                  <a:lnTo>
                    <a:pt x="854" y="62"/>
                  </a:lnTo>
                  <a:lnTo>
                    <a:pt x="793" y="184"/>
                  </a:lnTo>
                  <a:lnTo>
                    <a:pt x="732" y="428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9" name="Google Shape;999;p16"/>
            <p:cNvSpPr/>
            <p:nvPr/>
          </p:nvSpPr>
          <p:spPr>
            <a:xfrm>
              <a:off x="4052275" y="3357300"/>
              <a:ext cx="1139850" cy="553175"/>
            </a:xfrm>
            <a:custGeom>
              <a:avLst/>
              <a:gdLst/>
              <a:ahLst/>
              <a:cxnLst/>
              <a:rect l="l" t="t" r="r" b="b"/>
              <a:pathLst>
                <a:path w="45594" h="22127" extrusionOk="0">
                  <a:moveTo>
                    <a:pt x="30295" y="0"/>
                  </a:moveTo>
                  <a:lnTo>
                    <a:pt x="29685" y="61"/>
                  </a:lnTo>
                  <a:lnTo>
                    <a:pt x="29075" y="183"/>
                  </a:lnTo>
                  <a:lnTo>
                    <a:pt x="28466" y="427"/>
                  </a:lnTo>
                  <a:lnTo>
                    <a:pt x="27917" y="671"/>
                  </a:lnTo>
                  <a:lnTo>
                    <a:pt x="27369" y="1036"/>
                  </a:lnTo>
                  <a:lnTo>
                    <a:pt x="26942" y="1463"/>
                  </a:lnTo>
                  <a:lnTo>
                    <a:pt x="26515" y="1951"/>
                  </a:lnTo>
                  <a:lnTo>
                    <a:pt x="26211" y="2621"/>
                  </a:lnTo>
                  <a:lnTo>
                    <a:pt x="25906" y="3353"/>
                  </a:lnTo>
                  <a:lnTo>
                    <a:pt x="25723" y="4145"/>
                  </a:lnTo>
                  <a:lnTo>
                    <a:pt x="25601" y="4998"/>
                  </a:lnTo>
                  <a:lnTo>
                    <a:pt x="25357" y="5852"/>
                  </a:lnTo>
                  <a:lnTo>
                    <a:pt x="25174" y="6218"/>
                  </a:lnTo>
                  <a:lnTo>
                    <a:pt x="24992" y="6644"/>
                  </a:lnTo>
                  <a:lnTo>
                    <a:pt x="24687" y="7071"/>
                  </a:lnTo>
                  <a:lnTo>
                    <a:pt x="24382" y="7498"/>
                  </a:lnTo>
                  <a:lnTo>
                    <a:pt x="23955" y="7863"/>
                  </a:lnTo>
                  <a:lnTo>
                    <a:pt x="23468" y="8290"/>
                  </a:lnTo>
                  <a:lnTo>
                    <a:pt x="22919" y="8656"/>
                  </a:lnTo>
                  <a:lnTo>
                    <a:pt x="22249" y="9021"/>
                  </a:lnTo>
                  <a:lnTo>
                    <a:pt x="21456" y="9326"/>
                  </a:lnTo>
                  <a:lnTo>
                    <a:pt x="20542" y="9692"/>
                  </a:lnTo>
                  <a:lnTo>
                    <a:pt x="20115" y="9753"/>
                  </a:lnTo>
                  <a:lnTo>
                    <a:pt x="19689" y="9875"/>
                  </a:lnTo>
                  <a:lnTo>
                    <a:pt x="18835" y="9875"/>
                  </a:lnTo>
                  <a:lnTo>
                    <a:pt x="18043" y="9814"/>
                  </a:lnTo>
                  <a:lnTo>
                    <a:pt x="17311" y="9631"/>
                  </a:lnTo>
                  <a:lnTo>
                    <a:pt x="16580" y="9326"/>
                  </a:lnTo>
                  <a:lnTo>
                    <a:pt x="15909" y="8960"/>
                  </a:lnTo>
                  <a:lnTo>
                    <a:pt x="15300" y="8534"/>
                  </a:lnTo>
                  <a:lnTo>
                    <a:pt x="14690" y="8046"/>
                  </a:lnTo>
                  <a:lnTo>
                    <a:pt x="13654" y="7193"/>
                  </a:lnTo>
                  <a:lnTo>
                    <a:pt x="13228" y="6949"/>
                  </a:lnTo>
                  <a:lnTo>
                    <a:pt x="12862" y="6705"/>
                  </a:lnTo>
                  <a:lnTo>
                    <a:pt x="12435" y="6583"/>
                  </a:lnTo>
                  <a:lnTo>
                    <a:pt x="12069" y="6522"/>
                  </a:lnTo>
                  <a:lnTo>
                    <a:pt x="11582" y="6522"/>
                  </a:lnTo>
                  <a:lnTo>
                    <a:pt x="11094" y="6583"/>
                  </a:lnTo>
                  <a:lnTo>
                    <a:pt x="10607" y="6705"/>
                  </a:lnTo>
                  <a:lnTo>
                    <a:pt x="10180" y="6766"/>
                  </a:lnTo>
                  <a:lnTo>
                    <a:pt x="9509" y="7071"/>
                  </a:lnTo>
                  <a:lnTo>
                    <a:pt x="9205" y="7193"/>
                  </a:lnTo>
                  <a:lnTo>
                    <a:pt x="8839" y="7254"/>
                  </a:lnTo>
                  <a:lnTo>
                    <a:pt x="8473" y="7315"/>
                  </a:lnTo>
                  <a:lnTo>
                    <a:pt x="8046" y="7254"/>
                  </a:lnTo>
                  <a:lnTo>
                    <a:pt x="6949" y="7132"/>
                  </a:lnTo>
                  <a:lnTo>
                    <a:pt x="6340" y="7132"/>
                  </a:lnTo>
                  <a:lnTo>
                    <a:pt x="5730" y="7193"/>
                  </a:lnTo>
                  <a:lnTo>
                    <a:pt x="5121" y="7315"/>
                  </a:lnTo>
                  <a:lnTo>
                    <a:pt x="4511" y="7558"/>
                  </a:lnTo>
                  <a:lnTo>
                    <a:pt x="3963" y="7924"/>
                  </a:lnTo>
                  <a:lnTo>
                    <a:pt x="3719" y="8168"/>
                  </a:lnTo>
                  <a:lnTo>
                    <a:pt x="3475" y="8473"/>
                  </a:lnTo>
                  <a:lnTo>
                    <a:pt x="3170" y="8839"/>
                  </a:lnTo>
                  <a:lnTo>
                    <a:pt x="2987" y="9204"/>
                  </a:lnTo>
                  <a:lnTo>
                    <a:pt x="2622" y="9936"/>
                  </a:lnTo>
                  <a:lnTo>
                    <a:pt x="2439" y="10667"/>
                  </a:lnTo>
                  <a:lnTo>
                    <a:pt x="2378" y="11338"/>
                  </a:lnTo>
                  <a:lnTo>
                    <a:pt x="2317" y="11947"/>
                  </a:lnTo>
                  <a:lnTo>
                    <a:pt x="2317" y="12496"/>
                  </a:lnTo>
                  <a:lnTo>
                    <a:pt x="2378" y="12983"/>
                  </a:lnTo>
                  <a:lnTo>
                    <a:pt x="2317" y="13410"/>
                  </a:lnTo>
                  <a:lnTo>
                    <a:pt x="2256" y="13593"/>
                  </a:lnTo>
                  <a:lnTo>
                    <a:pt x="2195" y="13776"/>
                  </a:lnTo>
                  <a:lnTo>
                    <a:pt x="1890" y="14202"/>
                  </a:lnTo>
                  <a:lnTo>
                    <a:pt x="976" y="15178"/>
                  </a:lnTo>
                  <a:lnTo>
                    <a:pt x="549" y="15726"/>
                  </a:lnTo>
                  <a:lnTo>
                    <a:pt x="244" y="16397"/>
                  </a:lnTo>
                  <a:lnTo>
                    <a:pt x="123" y="16702"/>
                  </a:lnTo>
                  <a:lnTo>
                    <a:pt x="1" y="17067"/>
                  </a:lnTo>
                  <a:lnTo>
                    <a:pt x="1" y="17494"/>
                  </a:lnTo>
                  <a:lnTo>
                    <a:pt x="1" y="17860"/>
                  </a:lnTo>
                  <a:lnTo>
                    <a:pt x="123" y="18286"/>
                  </a:lnTo>
                  <a:lnTo>
                    <a:pt x="183" y="18652"/>
                  </a:lnTo>
                  <a:lnTo>
                    <a:pt x="366" y="18957"/>
                  </a:lnTo>
                  <a:lnTo>
                    <a:pt x="549" y="19201"/>
                  </a:lnTo>
                  <a:lnTo>
                    <a:pt x="793" y="19444"/>
                  </a:lnTo>
                  <a:lnTo>
                    <a:pt x="1037" y="19627"/>
                  </a:lnTo>
                  <a:lnTo>
                    <a:pt x="1281" y="19749"/>
                  </a:lnTo>
                  <a:lnTo>
                    <a:pt x="1646" y="19871"/>
                  </a:lnTo>
                  <a:lnTo>
                    <a:pt x="1951" y="19932"/>
                  </a:lnTo>
                  <a:lnTo>
                    <a:pt x="2378" y="19993"/>
                  </a:lnTo>
                  <a:lnTo>
                    <a:pt x="3231" y="19993"/>
                  </a:lnTo>
                  <a:lnTo>
                    <a:pt x="4206" y="19871"/>
                  </a:lnTo>
                  <a:lnTo>
                    <a:pt x="5365" y="19627"/>
                  </a:lnTo>
                  <a:lnTo>
                    <a:pt x="6462" y="19383"/>
                  </a:lnTo>
                  <a:lnTo>
                    <a:pt x="7559" y="19201"/>
                  </a:lnTo>
                  <a:lnTo>
                    <a:pt x="8473" y="19079"/>
                  </a:lnTo>
                  <a:lnTo>
                    <a:pt x="9387" y="19079"/>
                  </a:lnTo>
                  <a:lnTo>
                    <a:pt x="10911" y="19018"/>
                  </a:lnTo>
                  <a:lnTo>
                    <a:pt x="12069" y="19079"/>
                  </a:lnTo>
                  <a:lnTo>
                    <a:pt x="12923" y="19079"/>
                  </a:lnTo>
                  <a:lnTo>
                    <a:pt x="13776" y="18957"/>
                  </a:lnTo>
                  <a:lnTo>
                    <a:pt x="14629" y="18774"/>
                  </a:lnTo>
                  <a:lnTo>
                    <a:pt x="15544" y="18469"/>
                  </a:lnTo>
                  <a:lnTo>
                    <a:pt x="16458" y="17982"/>
                  </a:lnTo>
                  <a:lnTo>
                    <a:pt x="17433" y="17311"/>
                  </a:lnTo>
                  <a:lnTo>
                    <a:pt x="18470" y="16519"/>
                  </a:lnTo>
                  <a:lnTo>
                    <a:pt x="19506" y="15543"/>
                  </a:lnTo>
                  <a:lnTo>
                    <a:pt x="19871" y="15178"/>
                  </a:lnTo>
                  <a:lnTo>
                    <a:pt x="20237" y="14934"/>
                  </a:lnTo>
                  <a:lnTo>
                    <a:pt x="20725" y="14690"/>
                  </a:lnTo>
                  <a:lnTo>
                    <a:pt x="21212" y="14568"/>
                  </a:lnTo>
                  <a:lnTo>
                    <a:pt x="21700" y="14507"/>
                  </a:lnTo>
                  <a:lnTo>
                    <a:pt x="22188" y="14446"/>
                  </a:lnTo>
                  <a:lnTo>
                    <a:pt x="22675" y="14446"/>
                  </a:lnTo>
                  <a:lnTo>
                    <a:pt x="23224" y="14507"/>
                  </a:lnTo>
                  <a:lnTo>
                    <a:pt x="23955" y="14568"/>
                  </a:lnTo>
                  <a:lnTo>
                    <a:pt x="24626" y="14507"/>
                  </a:lnTo>
                  <a:lnTo>
                    <a:pt x="25113" y="14324"/>
                  </a:lnTo>
                  <a:lnTo>
                    <a:pt x="25540" y="14141"/>
                  </a:lnTo>
                  <a:lnTo>
                    <a:pt x="26272" y="13715"/>
                  </a:lnTo>
                  <a:lnTo>
                    <a:pt x="26576" y="13593"/>
                  </a:lnTo>
                  <a:lnTo>
                    <a:pt x="26942" y="13471"/>
                  </a:lnTo>
                  <a:lnTo>
                    <a:pt x="27308" y="13532"/>
                  </a:lnTo>
                  <a:lnTo>
                    <a:pt x="27734" y="13532"/>
                  </a:lnTo>
                  <a:lnTo>
                    <a:pt x="28100" y="13654"/>
                  </a:lnTo>
                  <a:lnTo>
                    <a:pt x="28405" y="13776"/>
                  </a:lnTo>
                  <a:lnTo>
                    <a:pt x="28710" y="14020"/>
                  </a:lnTo>
                  <a:lnTo>
                    <a:pt x="28893" y="14263"/>
                  </a:lnTo>
                  <a:lnTo>
                    <a:pt x="29014" y="14568"/>
                  </a:lnTo>
                  <a:lnTo>
                    <a:pt x="28893" y="14934"/>
                  </a:lnTo>
                  <a:lnTo>
                    <a:pt x="28710" y="15361"/>
                  </a:lnTo>
                  <a:lnTo>
                    <a:pt x="28466" y="15665"/>
                  </a:lnTo>
                  <a:lnTo>
                    <a:pt x="28161" y="15970"/>
                  </a:lnTo>
                  <a:lnTo>
                    <a:pt x="27734" y="16153"/>
                  </a:lnTo>
                  <a:lnTo>
                    <a:pt x="27308" y="16336"/>
                  </a:lnTo>
                  <a:lnTo>
                    <a:pt x="26820" y="16519"/>
                  </a:lnTo>
                  <a:lnTo>
                    <a:pt x="25662" y="16762"/>
                  </a:lnTo>
                  <a:lnTo>
                    <a:pt x="25357" y="16823"/>
                  </a:lnTo>
                  <a:lnTo>
                    <a:pt x="25053" y="16884"/>
                  </a:lnTo>
                  <a:lnTo>
                    <a:pt x="24565" y="17189"/>
                  </a:lnTo>
                  <a:lnTo>
                    <a:pt x="24138" y="17616"/>
                  </a:lnTo>
                  <a:lnTo>
                    <a:pt x="23833" y="18042"/>
                  </a:lnTo>
                  <a:lnTo>
                    <a:pt x="23651" y="18591"/>
                  </a:lnTo>
                  <a:lnTo>
                    <a:pt x="23529" y="19201"/>
                  </a:lnTo>
                  <a:lnTo>
                    <a:pt x="23529" y="19810"/>
                  </a:lnTo>
                  <a:lnTo>
                    <a:pt x="23712" y="20481"/>
                  </a:lnTo>
                  <a:lnTo>
                    <a:pt x="23894" y="20785"/>
                  </a:lnTo>
                  <a:lnTo>
                    <a:pt x="24077" y="21029"/>
                  </a:lnTo>
                  <a:lnTo>
                    <a:pt x="24382" y="21273"/>
                  </a:lnTo>
                  <a:lnTo>
                    <a:pt x="24748" y="21456"/>
                  </a:lnTo>
                  <a:lnTo>
                    <a:pt x="25174" y="21639"/>
                  </a:lnTo>
                  <a:lnTo>
                    <a:pt x="25662" y="21822"/>
                  </a:lnTo>
                  <a:lnTo>
                    <a:pt x="26759" y="22004"/>
                  </a:lnTo>
                  <a:lnTo>
                    <a:pt x="27978" y="22126"/>
                  </a:lnTo>
                  <a:lnTo>
                    <a:pt x="29380" y="22126"/>
                  </a:lnTo>
                  <a:lnTo>
                    <a:pt x="30843" y="22065"/>
                  </a:lnTo>
                  <a:lnTo>
                    <a:pt x="32367" y="21944"/>
                  </a:lnTo>
                  <a:lnTo>
                    <a:pt x="33159" y="21822"/>
                  </a:lnTo>
                  <a:lnTo>
                    <a:pt x="34013" y="21639"/>
                  </a:lnTo>
                  <a:lnTo>
                    <a:pt x="34927" y="21395"/>
                  </a:lnTo>
                  <a:lnTo>
                    <a:pt x="35841" y="21151"/>
                  </a:lnTo>
                  <a:lnTo>
                    <a:pt x="36817" y="20785"/>
                  </a:lnTo>
                  <a:lnTo>
                    <a:pt x="37792" y="20420"/>
                  </a:lnTo>
                  <a:lnTo>
                    <a:pt x="38706" y="19993"/>
                  </a:lnTo>
                  <a:lnTo>
                    <a:pt x="39681" y="19566"/>
                  </a:lnTo>
                  <a:lnTo>
                    <a:pt x="40596" y="19079"/>
                  </a:lnTo>
                  <a:lnTo>
                    <a:pt x="41449" y="18530"/>
                  </a:lnTo>
                  <a:lnTo>
                    <a:pt x="42241" y="17982"/>
                  </a:lnTo>
                  <a:lnTo>
                    <a:pt x="43034" y="17372"/>
                  </a:lnTo>
                  <a:lnTo>
                    <a:pt x="43704" y="16762"/>
                  </a:lnTo>
                  <a:lnTo>
                    <a:pt x="44253" y="16153"/>
                  </a:lnTo>
                  <a:lnTo>
                    <a:pt x="44740" y="15482"/>
                  </a:lnTo>
                  <a:lnTo>
                    <a:pt x="45167" y="14812"/>
                  </a:lnTo>
                  <a:lnTo>
                    <a:pt x="45472" y="14020"/>
                  </a:lnTo>
                  <a:lnTo>
                    <a:pt x="45594" y="13349"/>
                  </a:lnTo>
                  <a:lnTo>
                    <a:pt x="45594" y="12679"/>
                  </a:lnTo>
                  <a:lnTo>
                    <a:pt x="45533" y="12130"/>
                  </a:lnTo>
                  <a:lnTo>
                    <a:pt x="45350" y="11703"/>
                  </a:lnTo>
                  <a:lnTo>
                    <a:pt x="45167" y="11277"/>
                  </a:lnTo>
                  <a:lnTo>
                    <a:pt x="44680" y="10606"/>
                  </a:lnTo>
                  <a:lnTo>
                    <a:pt x="44375" y="10179"/>
                  </a:lnTo>
                  <a:lnTo>
                    <a:pt x="44131" y="9814"/>
                  </a:lnTo>
                  <a:lnTo>
                    <a:pt x="44070" y="9326"/>
                  </a:lnTo>
                  <a:lnTo>
                    <a:pt x="44009" y="8656"/>
                  </a:lnTo>
                  <a:lnTo>
                    <a:pt x="43948" y="7558"/>
                  </a:lnTo>
                  <a:lnTo>
                    <a:pt x="43887" y="6888"/>
                  </a:lnTo>
                  <a:lnTo>
                    <a:pt x="43704" y="6218"/>
                  </a:lnTo>
                  <a:lnTo>
                    <a:pt x="43460" y="5486"/>
                  </a:lnTo>
                  <a:lnTo>
                    <a:pt x="43278" y="5181"/>
                  </a:lnTo>
                  <a:lnTo>
                    <a:pt x="43095" y="4877"/>
                  </a:lnTo>
                  <a:lnTo>
                    <a:pt x="42851" y="4572"/>
                  </a:lnTo>
                  <a:lnTo>
                    <a:pt x="42546" y="4267"/>
                  </a:lnTo>
                  <a:lnTo>
                    <a:pt x="42241" y="3962"/>
                  </a:lnTo>
                  <a:lnTo>
                    <a:pt x="41815" y="3718"/>
                  </a:lnTo>
                  <a:lnTo>
                    <a:pt x="41022" y="3353"/>
                  </a:lnTo>
                  <a:lnTo>
                    <a:pt x="40169" y="3109"/>
                  </a:lnTo>
                  <a:lnTo>
                    <a:pt x="39316" y="2926"/>
                  </a:lnTo>
                  <a:lnTo>
                    <a:pt x="38523" y="2865"/>
                  </a:lnTo>
                  <a:lnTo>
                    <a:pt x="36938" y="2804"/>
                  </a:lnTo>
                  <a:lnTo>
                    <a:pt x="36207" y="2804"/>
                  </a:lnTo>
                  <a:lnTo>
                    <a:pt x="35537" y="2743"/>
                  </a:lnTo>
                  <a:lnTo>
                    <a:pt x="34927" y="2682"/>
                  </a:lnTo>
                  <a:lnTo>
                    <a:pt x="34439" y="2499"/>
                  </a:lnTo>
                  <a:lnTo>
                    <a:pt x="33952" y="2316"/>
                  </a:lnTo>
                  <a:lnTo>
                    <a:pt x="33586" y="2134"/>
                  </a:lnTo>
                  <a:lnTo>
                    <a:pt x="33342" y="1890"/>
                  </a:lnTo>
                  <a:lnTo>
                    <a:pt x="33098" y="1646"/>
                  </a:lnTo>
                  <a:lnTo>
                    <a:pt x="32916" y="1402"/>
                  </a:lnTo>
                  <a:lnTo>
                    <a:pt x="32733" y="1158"/>
                  </a:lnTo>
                  <a:lnTo>
                    <a:pt x="32611" y="915"/>
                  </a:lnTo>
                  <a:lnTo>
                    <a:pt x="32367" y="671"/>
                  </a:lnTo>
                  <a:lnTo>
                    <a:pt x="32062" y="427"/>
                  </a:lnTo>
                  <a:lnTo>
                    <a:pt x="31757" y="244"/>
                  </a:lnTo>
                  <a:lnTo>
                    <a:pt x="31331" y="122"/>
                  </a:lnTo>
                  <a:lnTo>
                    <a:pt x="30843" y="0"/>
                  </a:lnTo>
                  <a:close/>
                </a:path>
              </a:pathLst>
            </a:custGeom>
            <a:solidFill>
              <a:srgbClr val="195C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0" name="Google Shape;1000;p16"/>
            <p:cNvSpPr/>
            <p:nvPr/>
          </p:nvSpPr>
          <p:spPr>
            <a:xfrm>
              <a:off x="4052275" y="3357300"/>
              <a:ext cx="1139850" cy="553175"/>
            </a:xfrm>
            <a:custGeom>
              <a:avLst/>
              <a:gdLst/>
              <a:ahLst/>
              <a:cxnLst/>
              <a:rect l="l" t="t" r="r" b="b"/>
              <a:pathLst>
                <a:path w="45594" h="22127" fill="none" extrusionOk="0">
                  <a:moveTo>
                    <a:pt x="20542" y="9692"/>
                  </a:moveTo>
                  <a:lnTo>
                    <a:pt x="20542" y="9692"/>
                  </a:lnTo>
                  <a:lnTo>
                    <a:pt x="20115" y="9753"/>
                  </a:lnTo>
                  <a:lnTo>
                    <a:pt x="19689" y="9875"/>
                  </a:lnTo>
                  <a:lnTo>
                    <a:pt x="18835" y="9875"/>
                  </a:lnTo>
                  <a:lnTo>
                    <a:pt x="18043" y="9814"/>
                  </a:lnTo>
                  <a:lnTo>
                    <a:pt x="17311" y="9631"/>
                  </a:lnTo>
                  <a:lnTo>
                    <a:pt x="16580" y="9326"/>
                  </a:lnTo>
                  <a:lnTo>
                    <a:pt x="15909" y="8960"/>
                  </a:lnTo>
                  <a:lnTo>
                    <a:pt x="15300" y="8534"/>
                  </a:lnTo>
                  <a:lnTo>
                    <a:pt x="14690" y="8046"/>
                  </a:lnTo>
                  <a:lnTo>
                    <a:pt x="14690" y="8046"/>
                  </a:lnTo>
                  <a:lnTo>
                    <a:pt x="13654" y="7193"/>
                  </a:lnTo>
                  <a:lnTo>
                    <a:pt x="13228" y="6949"/>
                  </a:lnTo>
                  <a:lnTo>
                    <a:pt x="12862" y="6705"/>
                  </a:lnTo>
                  <a:lnTo>
                    <a:pt x="12435" y="6583"/>
                  </a:lnTo>
                  <a:lnTo>
                    <a:pt x="12069" y="6522"/>
                  </a:lnTo>
                  <a:lnTo>
                    <a:pt x="11582" y="6522"/>
                  </a:lnTo>
                  <a:lnTo>
                    <a:pt x="11094" y="6583"/>
                  </a:lnTo>
                  <a:lnTo>
                    <a:pt x="11094" y="6583"/>
                  </a:lnTo>
                  <a:lnTo>
                    <a:pt x="10607" y="6705"/>
                  </a:lnTo>
                  <a:lnTo>
                    <a:pt x="10180" y="6766"/>
                  </a:lnTo>
                  <a:lnTo>
                    <a:pt x="9509" y="7071"/>
                  </a:lnTo>
                  <a:lnTo>
                    <a:pt x="9205" y="7193"/>
                  </a:lnTo>
                  <a:lnTo>
                    <a:pt x="8839" y="7254"/>
                  </a:lnTo>
                  <a:lnTo>
                    <a:pt x="8473" y="7315"/>
                  </a:lnTo>
                  <a:lnTo>
                    <a:pt x="8046" y="7254"/>
                  </a:lnTo>
                  <a:lnTo>
                    <a:pt x="8046" y="7254"/>
                  </a:lnTo>
                  <a:lnTo>
                    <a:pt x="6949" y="7132"/>
                  </a:lnTo>
                  <a:lnTo>
                    <a:pt x="6340" y="7132"/>
                  </a:lnTo>
                  <a:lnTo>
                    <a:pt x="5730" y="7193"/>
                  </a:lnTo>
                  <a:lnTo>
                    <a:pt x="5121" y="7315"/>
                  </a:lnTo>
                  <a:lnTo>
                    <a:pt x="4511" y="7558"/>
                  </a:lnTo>
                  <a:lnTo>
                    <a:pt x="3963" y="7924"/>
                  </a:lnTo>
                  <a:lnTo>
                    <a:pt x="3719" y="8168"/>
                  </a:lnTo>
                  <a:lnTo>
                    <a:pt x="3475" y="8473"/>
                  </a:lnTo>
                  <a:lnTo>
                    <a:pt x="3475" y="8473"/>
                  </a:lnTo>
                  <a:lnTo>
                    <a:pt x="3170" y="8839"/>
                  </a:lnTo>
                  <a:lnTo>
                    <a:pt x="2987" y="9204"/>
                  </a:lnTo>
                  <a:lnTo>
                    <a:pt x="2622" y="9936"/>
                  </a:lnTo>
                  <a:lnTo>
                    <a:pt x="2439" y="10667"/>
                  </a:lnTo>
                  <a:lnTo>
                    <a:pt x="2378" y="11338"/>
                  </a:lnTo>
                  <a:lnTo>
                    <a:pt x="2317" y="11947"/>
                  </a:lnTo>
                  <a:lnTo>
                    <a:pt x="2317" y="12496"/>
                  </a:lnTo>
                  <a:lnTo>
                    <a:pt x="2378" y="12983"/>
                  </a:lnTo>
                  <a:lnTo>
                    <a:pt x="2317" y="13410"/>
                  </a:lnTo>
                  <a:lnTo>
                    <a:pt x="2317" y="13410"/>
                  </a:lnTo>
                  <a:lnTo>
                    <a:pt x="2256" y="13593"/>
                  </a:lnTo>
                  <a:lnTo>
                    <a:pt x="2195" y="13776"/>
                  </a:lnTo>
                  <a:lnTo>
                    <a:pt x="1890" y="14202"/>
                  </a:lnTo>
                  <a:lnTo>
                    <a:pt x="976" y="15178"/>
                  </a:lnTo>
                  <a:lnTo>
                    <a:pt x="549" y="15726"/>
                  </a:lnTo>
                  <a:lnTo>
                    <a:pt x="244" y="16397"/>
                  </a:lnTo>
                  <a:lnTo>
                    <a:pt x="123" y="16702"/>
                  </a:lnTo>
                  <a:lnTo>
                    <a:pt x="1" y="17067"/>
                  </a:lnTo>
                  <a:lnTo>
                    <a:pt x="1" y="17494"/>
                  </a:lnTo>
                  <a:lnTo>
                    <a:pt x="1" y="17860"/>
                  </a:lnTo>
                  <a:lnTo>
                    <a:pt x="1" y="17860"/>
                  </a:lnTo>
                  <a:lnTo>
                    <a:pt x="123" y="18286"/>
                  </a:lnTo>
                  <a:lnTo>
                    <a:pt x="183" y="18652"/>
                  </a:lnTo>
                  <a:lnTo>
                    <a:pt x="366" y="18957"/>
                  </a:lnTo>
                  <a:lnTo>
                    <a:pt x="549" y="19201"/>
                  </a:lnTo>
                  <a:lnTo>
                    <a:pt x="793" y="19444"/>
                  </a:lnTo>
                  <a:lnTo>
                    <a:pt x="1037" y="19627"/>
                  </a:lnTo>
                  <a:lnTo>
                    <a:pt x="1281" y="19749"/>
                  </a:lnTo>
                  <a:lnTo>
                    <a:pt x="1646" y="19871"/>
                  </a:lnTo>
                  <a:lnTo>
                    <a:pt x="1951" y="19932"/>
                  </a:lnTo>
                  <a:lnTo>
                    <a:pt x="2378" y="19993"/>
                  </a:lnTo>
                  <a:lnTo>
                    <a:pt x="3231" y="19993"/>
                  </a:lnTo>
                  <a:lnTo>
                    <a:pt x="4206" y="19871"/>
                  </a:lnTo>
                  <a:lnTo>
                    <a:pt x="5365" y="19627"/>
                  </a:lnTo>
                  <a:lnTo>
                    <a:pt x="5365" y="19627"/>
                  </a:lnTo>
                  <a:lnTo>
                    <a:pt x="6462" y="19383"/>
                  </a:lnTo>
                  <a:lnTo>
                    <a:pt x="7559" y="19201"/>
                  </a:lnTo>
                  <a:lnTo>
                    <a:pt x="8473" y="19079"/>
                  </a:lnTo>
                  <a:lnTo>
                    <a:pt x="9387" y="19079"/>
                  </a:lnTo>
                  <a:lnTo>
                    <a:pt x="10911" y="19018"/>
                  </a:lnTo>
                  <a:lnTo>
                    <a:pt x="12069" y="19079"/>
                  </a:lnTo>
                  <a:lnTo>
                    <a:pt x="12069" y="19079"/>
                  </a:lnTo>
                  <a:lnTo>
                    <a:pt x="12923" y="19079"/>
                  </a:lnTo>
                  <a:lnTo>
                    <a:pt x="13776" y="18957"/>
                  </a:lnTo>
                  <a:lnTo>
                    <a:pt x="14629" y="18774"/>
                  </a:lnTo>
                  <a:lnTo>
                    <a:pt x="15544" y="18469"/>
                  </a:lnTo>
                  <a:lnTo>
                    <a:pt x="16458" y="17982"/>
                  </a:lnTo>
                  <a:lnTo>
                    <a:pt x="17433" y="17311"/>
                  </a:lnTo>
                  <a:lnTo>
                    <a:pt x="18470" y="16519"/>
                  </a:lnTo>
                  <a:lnTo>
                    <a:pt x="19506" y="15543"/>
                  </a:lnTo>
                  <a:lnTo>
                    <a:pt x="19506" y="15543"/>
                  </a:lnTo>
                  <a:lnTo>
                    <a:pt x="19871" y="15178"/>
                  </a:lnTo>
                  <a:lnTo>
                    <a:pt x="20237" y="14934"/>
                  </a:lnTo>
                  <a:lnTo>
                    <a:pt x="20725" y="14690"/>
                  </a:lnTo>
                  <a:lnTo>
                    <a:pt x="21212" y="14568"/>
                  </a:lnTo>
                  <a:lnTo>
                    <a:pt x="21700" y="14507"/>
                  </a:lnTo>
                  <a:lnTo>
                    <a:pt x="22188" y="14446"/>
                  </a:lnTo>
                  <a:lnTo>
                    <a:pt x="22675" y="14446"/>
                  </a:lnTo>
                  <a:lnTo>
                    <a:pt x="23224" y="14507"/>
                  </a:lnTo>
                  <a:lnTo>
                    <a:pt x="23224" y="14507"/>
                  </a:lnTo>
                  <a:lnTo>
                    <a:pt x="23955" y="14568"/>
                  </a:lnTo>
                  <a:lnTo>
                    <a:pt x="24626" y="14507"/>
                  </a:lnTo>
                  <a:lnTo>
                    <a:pt x="25113" y="14324"/>
                  </a:lnTo>
                  <a:lnTo>
                    <a:pt x="25540" y="14141"/>
                  </a:lnTo>
                  <a:lnTo>
                    <a:pt x="26272" y="13715"/>
                  </a:lnTo>
                  <a:lnTo>
                    <a:pt x="26576" y="13593"/>
                  </a:lnTo>
                  <a:lnTo>
                    <a:pt x="26942" y="13471"/>
                  </a:lnTo>
                  <a:lnTo>
                    <a:pt x="26942" y="13471"/>
                  </a:lnTo>
                  <a:lnTo>
                    <a:pt x="27308" y="13532"/>
                  </a:lnTo>
                  <a:lnTo>
                    <a:pt x="27734" y="13532"/>
                  </a:lnTo>
                  <a:lnTo>
                    <a:pt x="28100" y="13654"/>
                  </a:lnTo>
                  <a:lnTo>
                    <a:pt x="28405" y="13776"/>
                  </a:lnTo>
                  <a:lnTo>
                    <a:pt x="28710" y="14020"/>
                  </a:lnTo>
                  <a:lnTo>
                    <a:pt x="28893" y="14263"/>
                  </a:lnTo>
                  <a:lnTo>
                    <a:pt x="29014" y="14568"/>
                  </a:lnTo>
                  <a:lnTo>
                    <a:pt x="28893" y="14934"/>
                  </a:lnTo>
                  <a:lnTo>
                    <a:pt x="28893" y="14934"/>
                  </a:lnTo>
                  <a:lnTo>
                    <a:pt x="28710" y="15361"/>
                  </a:lnTo>
                  <a:lnTo>
                    <a:pt x="28466" y="15665"/>
                  </a:lnTo>
                  <a:lnTo>
                    <a:pt x="28161" y="15970"/>
                  </a:lnTo>
                  <a:lnTo>
                    <a:pt x="27734" y="16153"/>
                  </a:lnTo>
                  <a:lnTo>
                    <a:pt x="27308" y="16336"/>
                  </a:lnTo>
                  <a:lnTo>
                    <a:pt x="26820" y="16519"/>
                  </a:lnTo>
                  <a:lnTo>
                    <a:pt x="25662" y="16762"/>
                  </a:lnTo>
                  <a:lnTo>
                    <a:pt x="25662" y="16762"/>
                  </a:lnTo>
                  <a:lnTo>
                    <a:pt x="25357" y="16823"/>
                  </a:lnTo>
                  <a:lnTo>
                    <a:pt x="25053" y="16884"/>
                  </a:lnTo>
                  <a:lnTo>
                    <a:pt x="24565" y="17189"/>
                  </a:lnTo>
                  <a:lnTo>
                    <a:pt x="24138" y="17616"/>
                  </a:lnTo>
                  <a:lnTo>
                    <a:pt x="23833" y="18042"/>
                  </a:lnTo>
                  <a:lnTo>
                    <a:pt x="23651" y="18591"/>
                  </a:lnTo>
                  <a:lnTo>
                    <a:pt x="23529" y="19201"/>
                  </a:lnTo>
                  <a:lnTo>
                    <a:pt x="23529" y="19810"/>
                  </a:lnTo>
                  <a:lnTo>
                    <a:pt x="23712" y="20481"/>
                  </a:lnTo>
                  <a:lnTo>
                    <a:pt x="23712" y="20481"/>
                  </a:lnTo>
                  <a:lnTo>
                    <a:pt x="23894" y="20785"/>
                  </a:lnTo>
                  <a:lnTo>
                    <a:pt x="24077" y="21029"/>
                  </a:lnTo>
                  <a:lnTo>
                    <a:pt x="24382" y="21273"/>
                  </a:lnTo>
                  <a:lnTo>
                    <a:pt x="24748" y="21456"/>
                  </a:lnTo>
                  <a:lnTo>
                    <a:pt x="25174" y="21639"/>
                  </a:lnTo>
                  <a:lnTo>
                    <a:pt x="25662" y="21822"/>
                  </a:lnTo>
                  <a:lnTo>
                    <a:pt x="26759" y="22004"/>
                  </a:lnTo>
                  <a:lnTo>
                    <a:pt x="27978" y="22126"/>
                  </a:lnTo>
                  <a:lnTo>
                    <a:pt x="29380" y="22126"/>
                  </a:lnTo>
                  <a:lnTo>
                    <a:pt x="30843" y="22065"/>
                  </a:lnTo>
                  <a:lnTo>
                    <a:pt x="32367" y="21944"/>
                  </a:lnTo>
                  <a:lnTo>
                    <a:pt x="32367" y="21944"/>
                  </a:lnTo>
                  <a:lnTo>
                    <a:pt x="33159" y="21822"/>
                  </a:lnTo>
                  <a:lnTo>
                    <a:pt x="34013" y="21639"/>
                  </a:lnTo>
                  <a:lnTo>
                    <a:pt x="34927" y="21395"/>
                  </a:lnTo>
                  <a:lnTo>
                    <a:pt x="35841" y="21151"/>
                  </a:lnTo>
                  <a:lnTo>
                    <a:pt x="36817" y="20785"/>
                  </a:lnTo>
                  <a:lnTo>
                    <a:pt x="37792" y="20420"/>
                  </a:lnTo>
                  <a:lnTo>
                    <a:pt x="38706" y="19993"/>
                  </a:lnTo>
                  <a:lnTo>
                    <a:pt x="39681" y="19566"/>
                  </a:lnTo>
                  <a:lnTo>
                    <a:pt x="40596" y="19079"/>
                  </a:lnTo>
                  <a:lnTo>
                    <a:pt x="41449" y="18530"/>
                  </a:lnTo>
                  <a:lnTo>
                    <a:pt x="42241" y="17982"/>
                  </a:lnTo>
                  <a:lnTo>
                    <a:pt x="43034" y="17372"/>
                  </a:lnTo>
                  <a:lnTo>
                    <a:pt x="43704" y="16762"/>
                  </a:lnTo>
                  <a:lnTo>
                    <a:pt x="44253" y="16153"/>
                  </a:lnTo>
                  <a:lnTo>
                    <a:pt x="44740" y="15482"/>
                  </a:lnTo>
                  <a:lnTo>
                    <a:pt x="45167" y="14812"/>
                  </a:lnTo>
                  <a:lnTo>
                    <a:pt x="45167" y="14812"/>
                  </a:lnTo>
                  <a:lnTo>
                    <a:pt x="45472" y="14020"/>
                  </a:lnTo>
                  <a:lnTo>
                    <a:pt x="45594" y="13349"/>
                  </a:lnTo>
                  <a:lnTo>
                    <a:pt x="45594" y="12679"/>
                  </a:lnTo>
                  <a:lnTo>
                    <a:pt x="45533" y="12130"/>
                  </a:lnTo>
                  <a:lnTo>
                    <a:pt x="45350" y="11703"/>
                  </a:lnTo>
                  <a:lnTo>
                    <a:pt x="45167" y="11277"/>
                  </a:lnTo>
                  <a:lnTo>
                    <a:pt x="44680" y="10606"/>
                  </a:lnTo>
                  <a:lnTo>
                    <a:pt x="44680" y="10606"/>
                  </a:lnTo>
                  <a:lnTo>
                    <a:pt x="44375" y="10179"/>
                  </a:lnTo>
                  <a:lnTo>
                    <a:pt x="44131" y="9814"/>
                  </a:lnTo>
                  <a:lnTo>
                    <a:pt x="44070" y="9326"/>
                  </a:lnTo>
                  <a:lnTo>
                    <a:pt x="44009" y="8656"/>
                  </a:lnTo>
                  <a:lnTo>
                    <a:pt x="44009" y="8656"/>
                  </a:lnTo>
                  <a:lnTo>
                    <a:pt x="43948" y="7558"/>
                  </a:lnTo>
                  <a:lnTo>
                    <a:pt x="43887" y="6888"/>
                  </a:lnTo>
                  <a:lnTo>
                    <a:pt x="43704" y="6218"/>
                  </a:lnTo>
                  <a:lnTo>
                    <a:pt x="43460" y="5486"/>
                  </a:lnTo>
                  <a:lnTo>
                    <a:pt x="43278" y="5181"/>
                  </a:lnTo>
                  <a:lnTo>
                    <a:pt x="43095" y="4877"/>
                  </a:lnTo>
                  <a:lnTo>
                    <a:pt x="42851" y="4572"/>
                  </a:lnTo>
                  <a:lnTo>
                    <a:pt x="42546" y="4267"/>
                  </a:lnTo>
                  <a:lnTo>
                    <a:pt x="42241" y="3962"/>
                  </a:lnTo>
                  <a:lnTo>
                    <a:pt x="41815" y="3718"/>
                  </a:lnTo>
                  <a:lnTo>
                    <a:pt x="41815" y="3718"/>
                  </a:lnTo>
                  <a:lnTo>
                    <a:pt x="41022" y="3353"/>
                  </a:lnTo>
                  <a:lnTo>
                    <a:pt x="40169" y="3109"/>
                  </a:lnTo>
                  <a:lnTo>
                    <a:pt x="39316" y="2926"/>
                  </a:lnTo>
                  <a:lnTo>
                    <a:pt x="38523" y="2865"/>
                  </a:lnTo>
                  <a:lnTo>
                    <a:pt x="36938" y="2804"/>
                  </a:lnTo>
                  <a:lnTo>
                    <a:pt x="36207" y="2804"/>
                  </a:lnTo>
                  <a:lnTo>
                    <a:pt x="35537" y="2743"/>
                  </a:lnTo>
                  <a:lnTo>
                    <a:pt x="35537" y="2743"/>
                  </a:lnTo>
                  <a:lnTo>
                    <a:pt x="34927" y="2682"/>
                  </a:lnTo>
                  <a:lnTo>
                    <a:pt x="34439" y="2499"/>
                  </a:lnTo>
                  <a:lnTo>
                    <a:pt x="33952" y="2316"/>
                  </a:lnTo>
                  <a:lnTo>
                    <a:pt x="33586" y="2134"/>
                  </a:lnTo>
                  <a:lnTo>
                    <a:pt x="33342" y="1890"/>
                  </a:lnTo>
                  <a:lnTo>
                    <a:pt x="33098" y="1646"/>
                  </a:lnTo>
                  <a:lnTo>
                    <a:pt x="32916" y="1402"/>
                  </a:lnTo>
                  <a:lnTo>
                    <a:pt x="32733" y="1158"/>
                  </a:lnTo>
                  <a:lnTo>
                    <a:pt x="32733" y="1158"/>
                  </a:lnTo>
                  <a:lnTo>
                    <a:pt x="32611" y="915"/>
                  </a:lnTo>
                  <a:lnTo>
                    <a:pt x="32367" y="671"/>
                  </a:lnTo>
                  <a:lnTo>
                    <a:pt x="32062" y="427"/>
                  </a:lnTo>
                  <a:lnTo>
                    <a:pt x="31757" y="244"/>
                  </a:lnTo>
                  <a:lnTo>
                    <a:pt x="31331" y="122"/>
                  </a:lnTo>
                  <a:lnTo>
                    <a:pt x="30843" y="0"/>
                  </a:lnTo>
                  <a:lnTo>
                    <a:pt x="30295" y="0"/>
                  </a:lnTo>
                  <a:lnTo>
                    <a:pt x="29685" y="61"/>
                  </a:lnTo>
                  <a:lnTo>
                    <a:pt x="29685" y="61"/>
                  </a:lnTo>
                  <a:lnTo>
                    <a:pt x="29075" y="183"/>
                  </a:lnTo>
                  <a:lnTo>
                    <a:pt x="28466" y="427"/>
                  </a:lnTo>
                  <a:lnTo>
                    <a:pt x="27917" y="671"/>
                  </a:lnTo>
                  <a:lnTo>
                    <a:pt x="27369" y="1036"/>
                  </a:lnTo>
                  <a:lnTo>
                    <a:pt x="26942" y="1463"/>
                  </a:lnTo>
                  <a:lnTo>
                    <a:pt x="26515" y="1951"/>
                  </a:lnTo>
                  <a:lnTo>
                    <a:pt x="26211" y="2621"/>
                  </a:lnTo>
                  <a:lnTo>
                    <a:pt x="25906" y="3353"/>
                  </a:lnTo>
                  <a:lnTo>
                    <a:pt x="25906" y="3353"/>
                  </a:lnTo>
                  <a:lnTo>
                    <a:pt x="25723" y="4145"/>
                  </a:lnTo>
                  <a:lnTo>
                    <a:pt x="25601" y="4998"/>
                  </a:lnTo>
                  <a:lnTo>
                    <a:pt x="25357" y="5852"/>
                  </a:lnTo>
                  <a:lnTo>
                    <a:pt x="25174" y="6218"/>
                  </a:lnTo>
                  <a:lnTo>
                    <a:pt x="24992" y="6644"/>
                  </a:lnTo>
                  <a:lnTo>
                    <a:pt x="24687" y="7071"/>
                  </a:lnTo>
                  <a:lnTo>
                    <a:pt x="24382" y="7498"/>
                  </a:lnTo>
                  <a:lnTo>
                    <a:pt x="23955" y="7863"/>
                  </a:lnTo>
                  <a:lnTo>
                    <a:pt x="23468" y="8290"/>
                  </a:lnTo>
                  <a:lnTo>
                    <a:pt x="22919" y="8656"/>
                  </a:lnTo>
                  <a:lnTo>
                    <a:pt x="22249" y="9021"/>
                  </a:lnTo>
                  <a:lnTo>
                    <a:pt x="21456" y="9326"/>
                  </a:lnTo>
                  <a:lnTo>
                    <a:pt x="20542" y="9692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1" name="Google Shape;1001;p16"/>
            <p:cNvSpPr/>
            <p:nvPr/>
          </p:nvSpPr>
          <p:spPr>
            <a:xfrm>
              <a:off x="4876675" y="3395400"/>
              <a:ext cx="12225" cy="12200"/>
            </a:xfrm>
            <a:custGeom>
              <a:avLst/>
              <a:gdLst/>
              <a:ahLst/>
              <a:cxnLst/>
              <a:rect l="l" t="t" r="r" b="b"/>
              <a:pathLst>
                <a:path w="489" h="488" extrusionOk="0">
                  <a:moveTo>
                    <a:pt x="61" y="61"/>
                  </a:moveTo>
                  <a:lnTo>
                    <a:pt x="61" y="61"/>
                  </a:lnTo>
                  <a:lnTo>
                    <a:pt x="244" y="244"/>
                  </a:lnTo>
                  <a:lnTo>
                    <a:pt x="488" y="488"/>
                  </a:lnTo>
                  <a:lnTo>
                    <a:pt x="488" y="488"/>
                  </a:lnTo>
                  <a:lnTo>
                    <a:pt x="488" y="488"/>
                  </a:lnTo>
                  <a:lnTo>
                    <a:pt x="488" y="488"/>
                  </a:lnTo>
                  <a:lnTo>
                    <a:pt x="244" y="244"/>
                  </a:lnTo>
                  <a:lnTo>
                    <a:pt x="61" y="61"/>
                  </a:lnTo>
                  <a:close/>
                  <a:moveTo>
                    <a:pt x="61" y="61"/>
                  </a:moveTo>
                  <a:lnTo>
                    <a:pt x="61" y="61"/>
                  </a:lnTo>
                  <a:lnTo>
                    <a:pt x="61" y="61"/>
                  </a:lnTo>
                  <a:lnTo>
                    <a:pt x="61" y="61"/>
                  </a:lnTo>
                  <a:lnTo>
                    <a:pt x="61" y="61"/>
                  </a:lnTo>
                  <a:close/>
                  <a:moveTo>
                    <a:pt x="0" y="61"/>
                  </a:moveTo>
                  <a:lnTo>
                    <a:pt x="0" y="61"/>
                  </a:lnTo>
                  <a:lnTo>
                    <a:pt x="61" y="61"/>
                  </a:lnTo>
                  <a:lnTo>
                    <a:pt x="61" y="61"/>
                  </a:lnTo>
                  <a:lnTo>
                    <a:pt x="0" y="61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4B0B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2" name="Google Shape;1002;p16"/>
            <p:cNvSpPr/>
            <p:nvPr/>
          </p:nvSpPr>
          <p:spPr>
            <a:xfrm>
              <a:off x="4878200" y="3396925"/>
              <a:ext cx="10700" cy="10675"/>
            </a:xfrm>
            <a:custGeom>
              <a:avLst/>
              <a:gdLst/>
              <a:ahLst/>
              <a:cxnLst/>
              <a:rect l="l" t="t" r="r" b="b"/>
              <a:pathLst>
                <a:path w="428" h="427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183" y="183"/>
                  </a:lnTo>
                  <a:lnTo>
                    <a:pt x="427" y="427"/>
                  </a:lnTo>
                  <a:lnTo>
                    <a:pt x="427" y="427"/>
                  </a:lnTo>
                  <a:lnTo>
                    <a:pt x="427" y="427"/>
                  </a:lnTo>
                  <a:lnTo>
                    <a:pt x="427" y="427"/>
                  </a:lnTo>
                  <a:lnTo>
                    <a:pt x="183" y="18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3" name="Google Shape;1003;p16"/>
            <p:cNvSpPr/>
            <p:nvPr/>
          </p:nvSpPr>
          <p:spPr>
            <a:xfrm>
              <a:off x="4878200" y="339692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4" name="Google Shape;1004;p16"/>
            <p:cNvSpPr/>
            <p:nvPr/>
          </p:nvSpPr>
          <p:spPr>
            <a:xfrm>
              <a:off x="4876675" y="3396925"/>
              <a:ext cx="1550" cy="25"/>
            </a:xfrm>
            <a:custGeom>
              <a:avLst/>
              <a:gdLst/>
              <a:ahLst/>
              <a:cxnLst/>
              <a:rect l="l" t="t" r="r" b="b"/>
              <a:pathLst>
                <a:path w="62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5" name="Google Shape;1005;p16"/>
            <p:cNvSpPr/>
            <p:nvPr/>
          </p:nvSpPr>
          <p:spPr>
            <a:xfrm>
              <a:off x="4876675" y="3395400"/>
              <a:ext cx="25" cy="1550"/>
            </a:xfrm>
            <a:custGeom>
              <a:avLst/>
              <a:gdLst/>
              <a:ahLst/>
              <a:cxnLst/>
              <a:rect l="l" t="t" r="r" b="b"/>
              <a:pathLst>
                <a:path w="1" h="62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6" name="Google Shape;1006;p16"/>
            <p:cNvSpPr/>
            <p:nvPr/>
          </p:nvSpPr>
          <p:spPr>
            <a:xfrm>
              <a:off x="4733425" y="3357300"/>
              <a:ext cx="155475" cy="53350"/>
            </a:xfrm>
            <a:custGeom>
              <a:avLst/>
              <a:gdLst/>
              <a:ahLst/>
              <a:cxnLst/>
              <a:rect l="l" t="t" r="r" b="b"/>
              <a:pathLst>
                <a:path w="6219" h="2134" extrusionOk="0">
                  <a:moveTo>
                    <a:pt x="3170" y="0"/>
                  </a:moveTo>
                  <a:lnTo>
                    <a:pt x="2439" y="61"/>
                  </a:lnTo>
                  <a:lnTo>
                    <a:pt x="1768" y="244"/>
                  </a:lnTo>
                  <a:lnTo>
                    <a:pt x="1159" y="427"/>
                  </a:lnTo>
                  <a:lnTo>
                    <a:pt x="549" y="732"/>
                  </a:lnTo>
                  <a:lnTo>
                    <a:pt x="1" y="1158"/>
                  </a:lnTo>
                  <a:lnTo>
                    <a:pt x="732" y="1463"/>
                  </a:lnTo>
                  <a:lnTo>
                    <a:pt x="1647" y="1768"/>
                  </a:lnTo>
                  <a:lnTo>
                    <a:pt x="2256" y="1951"/>
                  </a:lnTo>
                  <a:lnTo>
                    <a:pt x="2866" y="2012"/>
                  </a:lnTo>
                  <a:lnTo>
                    <a:pt x="3597" y="2073"/>
                  </a:lnTo>
                  <a:lnTo>
                    <a:pt x="4389" y="2134"/>
                  </a:lnTo>
                  <a:lnTo>
                    <a:pt x="5243" y="2073"/>
                  </a:lnTo>
                  <a:lnTo>
                    <a:pt x="6218" y="2012"/>
                  </a:lnTo>
                  <a:lnTo>
                    <a:pt x="5974" y="1768"/>
                  </a:lnTo>
                  <a:lnTo>
                    <a:pt x="5791" y="1585"/>
                  </a:lnTo>
                  <a:lnTo>
                    <a:pt x="5730" y="1585"/>
                  </a:lnTo>
                  <a:lnTo>
                    <a:pt x="5730" y="1524"/>
                  </a:lnTo>
                  <a:lnTo>
                    <a:pt x="5487" y="1158"/>
                  </a:lnTo>
                  <a:lnTo>
                    <a:pt x="5365" y="976"/>
                  </a:lnTo>
                  <a:lnTo>
                    <a:pt x="5182" y="732"/>
                  </a:lnTo>
                  <a:lnTo>
                    <a:pt x="4999" y="549"/>
                  </a:lnTo>
                  <a:lnTo>
                    <a:pt x="4694" y="366"/>
                  </a:lnTo>
                  <a:lnTo>
                    <a:pt x="4389" y="244"/>
                  </a:lnTo>
                  <a:lnTo>
                    <a:pt x="4024" y="122"/>
                  </a:lnTo>
                  <a:lnTo>
                    <a:pt x="3658" y="0"/>
                  </a:lnTo>
                  <a:close/>
                </a:path>
              </a:pathLst>
            </a:custGeom>
            <a:solidFill>
              <a:srgbClr val="2550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7" name="Google Shape;1007;p16"/>
            <p:cNvSpPr/>
            <p:nvPr/>
          </p:nvSpPr>
          <p:spPr>
            <a:xfrm>
              <a:off x="4733425" y="3357300"/>
              <a:ext cx="155475" cy="53350"/>
            </a:xfrm>
            <a:custGeom>
              <a:avLst/>
              <a:gdLst/>
              <a:ahLst/>
              <a:cxnLst/>
              <a:rect l="l" t="t" r="r" b="b"/>
              <a:pathLst>
                <a:path w="6219" h="2134" fill="none" extrusionOk="0">
                  <a:moveTo>
                    <a:pt x="3170" y="0"/>
                  </a:moveTo>
                  <a:lnTo>
                    <a:pt x="3170" y="0"/>
                  </a:lnTo>
                  <a:lnTo>
                    <a:pt x="2439" y="61"/>
                  </a:lnTo>
                  <a:lnTo>
                    <a:pt x="2439" y="61"/>
                  </a:lnTo>
                  <a:lnTo>
                    <a:pt x="1768" y="244"/>
                  </a:lnTo>
                  <a:lnTo>
                    <a:pt x="1159" y="427"/>
                  </a:lnTo>
                  <a:lnTo>
                    <a:pt x="549" y="732"/>
                  </a:lnTo>
                  <a:lnTo>
                    <a:pt x="1" y="1158"/>
                  </a:lnTo>
                  <a:lnTo>
                    <a:pt x="1" y="1158"/>
                  </a:lnTo>
                  <a:lnTo>
                    <a:pt x="732" y="1463"/>
                  </a:lnTo>
                  <a:lnTo>
                    <a:pt x="1647" y="1768"/>
                  </a:lnTo>
                  <a:lnTo>
                    <a:pt x="2256" y="1951"/>
                  </a:lnTo>
                  <a:lnTo>
                    <a:pt x="2866" y="2012"/>
                  </a:lnTo>
                  <a:lnTo>
                    <a:pt x="3597" y="2073"/>
                  </a:lnTo>
                  <a:lnTo>
                    <a:pt x="4389" y="2134"/>
                  </a:lnTo>
                  <a:lnTo>
                    <a:pt x="4389" y="2134"/>
                  </a:lnTo>
                  <a:lnTo>
                    <a:pt x="5243" y="2073"/>
                  </a:lnTo>
                  <a:lnTo>
                    <a:pt x="6218" y="2012"/>
                  </a:lnTo>
                  <a:lnTo>
                    <a:pt x="6218" y="2012"/>
                  </a:lnTo>
                  <a:lnTo>
                    <a:pt x="5974" y="1768"/>
                  </a:lnTo>
                  <a:lnTo>
                    <a:pt x="5791" y="1585"/>
                  </a:lnTo>
                  <a:lnTo>
                    <a:pt x="5791" y="1585"/>
                  </a:lnTo>
                  <a:lnTo>
                    <a:pt x="5791" y="1585"/>
                  </a:lnTo>
                  <a:lnTo>
                    <a:pt x="5791" y="1585"/>
                  </a:lnTo>
                  <a:lnTo>
                    <a:pt x="5791" y="1585"/>
                  </a:lnTo>
                  <a:lnTo>
                    <a:pt x="5791" y="1585"/>
                  </a:lnTo>
                  <a:lnTo>
                    <a:pt x="5791" y="1585"/>
                  </a:lnTo>
                  <a:lnTo>
                    <a:pt x="5791" y="1585"/>
                  </a:lnTo>
                  <a:lnTo>
                    <a:pt x="5730" y="1585"/>
                  </a:lnTo>
                  <a:lnTo>
                    <a:pt x="5730" y="1585"/>
                  </a:lnTo>
                  <a:lnTo>
                    <a:pt x="5730" y="1585"/>
                  </a:lnTo>
                  <a:lnTo>
                    <a:pt x="5730" y="1585"/>
                  </a:lnTo>
                  <a:lnTo>
                    <a:pt x="5730" y="1524"/>
                  </a:lnTo>
                  <a:lnTo>
                    <a:pt x="5730" y="1524"/>
                  </a:lnTo>
                  <a:lnTo>
                    <a:pt x="5487" y="1158"/>
                  </a:lnTo>
                  <a:lnTo>
                    <a:pt x="5487" y="1158"/>
                  </a:lnTo>
                  <a:lnTo>
                    <a:pt x="5365" y="976"/>
                  </a:lnTo>
                  <a:lnTo>
                    <a:pt x="5182" y="732"/>
                  </a:lnTo>
                  <a:lnTo>
                    <a:pt x="4999" y="549"/>
                  </a:lnTo>
                  <a:lnTo>
                    <a:pt x="4694" y="366"/>
                  </a:lnTo>
                  <a:lnTo>
                    <a:pt x="4389" y="244"/>
                  </a:lnTo>
                  <a:lnTo>
                    <a:pt x="4024" y="122"/>
                  </a:lnTo>
                  <a:lnTo>
                    <a:pt x="3658" y="0"/>
                  </a:lnTo>
                  <a:lnTo>
                    <a:pt x="317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8" name="Google Shape;1008;p16"/>
            <p:cNvSpPr/>
            <p:nvPr/>
          </p:nvSpPr>
          <p:spPr>
            <a:xfrm>
              <a:off x="3976075" y="3863200"/>
              <a:ext cx="566900" cy="353575"/>
            </a:xfrm>
            <a:custGeom>
              <a:avLst/>
              <a:gdLst/>
              <a:ahLst/>
              <a:cxnLst/>
              <a:rect l="l" t="t" r="r" b="b"/>
              <a:pathLst>
                <a:path w="22676" h="14143" extrusionOk="0">
                  <a:moveTo>
                    <a:pt x="17495" y="1"/>
                  </a:moveTo>
                  <a:lnTo>
                    <a:pt x="16580" y="62"/>
                  </a:lnTo>
                  <a:lnTo>
                    <a:pt x="15178" y="245"/>
                  </a:lnTo>
                  <a:lnTo>
                    <a:pt x="13350" y="488"/>
                  </a:lnTo>
                  <a:lnTo>
                    <a:pt x="11216" y="854"/>
                  </a:lnTo>
                  <a:lnTo>
                    <a:pt x="8900" y="1403"/>
                  </a:lnTo>
                  <a:lnTo>
                    <a:pt x="7681" y="1708"/>
                  </a:lnTo>
                  <a:lnTo>
                    <a:pt x="6523" y="2073"/>
                  </a:lnTo>
                  <a:lnTo>
                    <a:pt x="5365" y="2500"/>
                  </a:lnTo>
                  <a:lnTo>
                    <a:pt x="4207" y="2927"/>
                  </a:lnTo>
                  <a:lnTo>
                    <a:pt x="3110" y="3414"/>
                  </a:lnTo>
                  <a:lnTo>
                    <a:pt x="2073" y="3963"/>
                  </a:lnTo>
                  <a:lnTo>
                    <a:pt x="1464" y="4389"/>
                  </a:lnTo>
                  <a:lnTo>
                    <a:pt x="976" y="4816"/>
                  </a:lnTo>
                  <a:lnTo>
                    <a:pt x="550" y="5243"/>
                  </a:lnTo>
                  <a:lnTo>
                    <a:pt x="306" y="5730"/>
                  </a:lnTo>
                  <a:lnTo>
                    <a:pt x="123" y="6218"/>
                  </a:lnTo>
                  <a:lnTo>
                    <a:pt x="1" y="6767"/>
                  </a:lnTo>
                  <a:lnTo>
                    <a:pt x="1" y="7254"/>
                  </a:lnTo>
                  <a:lnTo>
                    <a:pt x="62" y="7742"/>
                  </a:lnTo>
                  <a:lnTo>
                    <a:pt x="184" y="8230"/>
                  </a:lnTo>
                  <a:lnTo>
                    <a:pt x="367" y="8717"/>
                  </a:lnTo>
                  <a:lnTo>
                    <a:pt x="671" y="9083"/>
                  </a:lnTo>
                  <a:lnTo>
                    <a:pt x="976" y="9510"/>
                  </a:lnTo>
                  <a:lnTo>
                    <a:pt x="1342" y="9814"/>
                  </a:lnTo>
                  <a:lnTo>
                    <a:pt x="1769" y="10119"/>
                  </a:lnTo>
                  <a:lnTo>
                    <a:pt x="2256" y="10302"/>
                  </a:lnTo>
                  <a:lnTo>
                    <a:pt x="2744" y="10485"/>
                  </a:lnTo>
                  <a:lnTo>
                    <a:pt x="3353" y="10607"/>
                  </a:lnTo>
                  <a:lnTo>
                    <a:pt x="3841" y="10790"/>
                  </a:lnTo>
                  <a:lnTo>
                    <a:pt x="4268" y="11033"/>
                  </a:lnTo>
                  <a:lnTo>
                    <a:pt x="4572" y="11216"/>
                  </a:lnTo>
                  <a:lnTo>
                    <a:pt x="4877" y="11521"/>
                  </a:lnTo>
                  <a:lnTo>
                    <a:pt x="5121" y="11826"/>
                  </a:lnTo>
                  <a:lnTo>
                    <a:pt x="5609" y="12496"/>
                  </a:lnTo>
                  <a:lnTo>
                    <a:pt x="5792" y="12740"/>
                  </a:lnTo>
                  <a:lnTo>
                    <a:pt x="5974" y="12984"/>
                  </a:lnTo>
                  <a:lnTo>
                    <a:pt x="6584" y="13411"/>
                  </a:lnTo>
                  <a:lnTo>
                    <a:pt x="7254" y="13776"/>
                  </a:lnTo>
                  <a:lnTo>
                    <a:pt x="8047" y="14020"/>
                  </a:lnTo>
                  <a:lnTo>
                    <a:pt x="8900" y="14142"/>
                  </a:lnTo>
                  <a:lnTo>
                    <a:pt x="9327" y="14142"/>
                  </a:lnTo>
                  <a:lnTo>
                    <a:pt x="9814" y="14081"/>
                  </a:lnTo>
                  <a:lnTo>
                    <a:pt x="10241" y="14020"/>
                  </a:lnTo>
                  <a:lnTo>
                    <a:pt x="10729" y="13959"/>
                  </a:lnTo>
                  <a:lnTo>
                    <a:pt x="11155" y="13776"/>
                  </a:lnTo>
                  <a:lnTo>
                    <a:pt x="11582" y="13593"/>
                  </a:lnTo>
                  <a:lnTo>
                    <a:pt x="12374" y="13106"/>
                  </a:lnTo>
                  <a:lnTo>
                    <a:pt x="13045" y="12618"/>
                  </a:lnTo>
                  <a:lnTo>
                    <a:pt x="13594" y="12070"/>
                  </a:lnTo>
                  <a:lnTo>
                    <a:pt x="14081" y="11460"/>
                  </a:lnTo>
                  <a:lnTo>
                    <a:pt x="14995" y="10302"/>
                  </a:lnTo>
                  <a:lnTo>
                    <a:pt x="15422" y="9814"/>
                  </a:lnTo>
                  <a:lnTo>
                    <a:pt x="15971" y="9327"/>
                  </a:lnTo>
                  <a:lnTo>
                    <a:pt x="16458" y="8961"/>
                  </a:lnTo>
                  <a:lnTo>
                    <a:pt x="16946" y="8717"/>
                  </a:lnTo>
                  <a:lnTo>
                    <a:pt x="17434" y="8473"/>
                  </a:lnTo>
                  <a:lnTo>
                    <a:pt x="17921" y="8290"/>
                  </a:lnTo>
                  <a:lnTo>
                    <a:pt x="18957" y="7925"/>
                  </a:lnTo>
                  <a:lnTo>
                    <a:pt x="20055" y="7620"/>
                  </a:lnTo>
                  <a:lnTo>
                    <a:pt x="20420" y="7498"/>
                  </a:lnTo>
                  <a:lnTo>
                    <a:pt x="20786" y="7315"/>
                  </a:lnTo>
                  <a:lnTo>
                    <a:pt x="21091" y="7132"/>
                  </a:lnTo>
                  <a:lnTo>
                    <a:pt x="21396" y="6889"/>
                  </a:lnTo>
                  <a:lnTo>
                    <a:pt x="21700" y="6645"/>
                  </a:lnTo>
                  <a:lnTo>
                    <a:pt x="21944" y="6340"/>
                  </a:lnTo>
                  <a:lnTo>
                    <a:pt x="22127" y="5974"/>
                  </a:lnTo>
                  <a:lnTo>
                    <a:pt x="22310" y="5609"/>
                  </a:lnTo>
                  <a:lnTo>
                    <a:pt x="22432" y="5243"/>
                  </a:lnTo>
                  <a:lnTo>
                    <a:pt x="22554" y="4877"/>
                  </a:lnTo>
                  <a:lnTo>
                    <a:pt x="22615" y="4450"/>
                  </a:lnTo>
                  <a:lnTo>
                    <a:pt x="22676" y="4085"/>
                  </a:lnTo>
                  <a:lnTo>
                    <a:pt x="22676" y="3658"/>
                  </a:lnTo>
                  <a:lnTo>
                    <a:pt x="22615" y="3231"/>
                  </a:lnTo>
                  <a:lnTo>
                    <a:pt x="22493" y="2744"/>
                  </a:lnTo>
                  <a:lnTo>
                    <a:pt x="22371" y="2317"/>
                  </a:lnTo>
                  <a:lnTo>
                    <a:pt x="22249" y="1951"/>
                  </a:lnTo>
                  <a:lnTo>
                    <a:pt x="22005" y="1586"/>
                  </a:lnTo>
                  <a:lnTo>
                    <a:pt x="21761" y="1281"/>
                  </a:lnTo>
                  <a:lnTo>
                    <a:pt x="21518" y="1037"/>
                  </a:lnTo>
                  <a:lnTo>
                    <a:pt x="21213" y="793"/>
                  </a:lnTo>
                  <a:lnTo>
                    <a:pt x="20908" y="610"/>
                  </a:lnTo>
                  <a:lnTo>
                    <a:pt x="20238" y="306"/>
                  </a:lnTo>
                  <a:lnTo>
                    <a:pt x="19506" y="123"/>
                  </a:lnTo>
                  <a:lnTo>
                    <a:pt x="18836" y="62"/>
                  </a:lnTo>
                  <a:lnTo>
                    <a:pt x="18104" y="1"/>
                  </a:lnTo>
                  <a:close/>
                </a:path>
              </a:pathLst>
            </a:custGeom>
            <a:solidFill>
              <a:srgbClr val="195C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9" name="Google Shape;1009;p16"/>
            <p:cNvSpPr/>
            <p:nvPr/>
          </p:nvSpPr>
          <p:spPr>
            <a:xfrm>
              <a:off x="3976075" y="3863200"/>
              <a:ext cx="566900" cy="353575"/>
            </a:xfrm>
            <a:custGeom>
              <a:avLst/>
              <a:gdLst/>
              <a:ahLst/>
              <a:cxnLst/>
              <a:rect l="l" t="t" r="r" b="b"/>
              <a:pathLst>
                <a:path w="22676" h="14143" fill="none" extrusionOk="0">
                  <a:moveTo>
                    <a:pt x="15971" y="9327"/>
                  </a:moveTo>
                  <a:lnTo>
                    <a:pt x="15971" y="9327"/>
                  </a:lnTo>
                  <a:lnTo>
                    <a:pt x="16458" y="8961"/>
                  </a:lnTo>
                  <a:lnTo>
                    <a:pt x="16946" y="8717"/>
                  </a:lnTo>
                  <a:lnTo>
                    <a:pt x="17434" y="8473"/>
                  </a:lnTo>
                  <a:lnTo>
                    <a:pt x="17921" y="8290"/>
                  </a:lnTo>
                  <a:lnTo>
                    <a:pt x="18957" y="7925"/>
                  </a:lnTo>
                  <a:lnTo>
                    <a:pt x="20055" y="7620"/>
                  </a:lnTo>
                  <a:lnTo>
                    <a:pt x="20055" y="7620"/>
                  </a:lnTo>
                  <a:lnTo>
                    <a:pt x="20420" y="7498"/>
                  </a:lnTo>
                  <a:lnTo>
                    <a:pt x="20786" y="7315"/>
                  </a:lnTo>
                  <a:lnTo>
                    <a:pt x="21091" y="7132"/>
                  </a:lnTo>
                  <a:lnTo>
                    <a:pt x="21396" y="6889"/>
                  </a:lnTo>
                  <a:lnTo>
                    <a:pt x="21700" y="6645"/>
                  </a:lnTo>
                  <a:lnTo>
                    <a:pt x="21944" y="6340"/>
                  </a:lnTo>
                  <a:lnTo>
                    <a:pt x="22127" y="5974"/>
                  </a:lnTo>
                  <a:lnTo>
                    <a:pt x="22310" y="5609"/>
                  </a:lnTo>
                  <a:lnTo>
                    <a:pt x="22432" y="5243"/>
                  </a:lnTo>
                  <a:lnTo>
                    <a:pt x="22554" y="4877"/>
                  </a:lnTo>
                  <a:lnTo>
                    <a:pt x="22615" y="4450"/>
                  </a:lnTo>
                  <a:lnTo>
                    <a:pt x="22676" y="4085"/>
                  </a:lnTo>
                  <a:lnTo>
                    <a:pt x="22676" y="3658"/>
                  </a:lnTo>
                  <a:lnTo>
                    <a:pt x="22615" y="3231"/>
                  </a:lnTo>
                  <a:lnTo>
                    <a:pt x="22493" y="2744"/>
                  </a:lnTo>
                  <a:lnTo>
                    <a:pt x="22371" y="2317"/>
                  </a:lnTo>
                  <a:lnTo>
                    <a:pt x="22371" y="2317"/>
                  </a:lnTo>
                  <a:lnTo>
                    <a:pt x="22249" y="1951"/>
                  </a:lnTo>
                  <a:lnTo>
                    <a:pt x="22005" y="1586"/>
                  </a:lnTo>
                  <a:lnTo>
                    <a:pt x="21761" y="1281"/>
                  </a:lnTo>
                  <a:lnTo>
                    <a:pt x="21518" y="1037"/>
                  </a:lnTo>
                  <a:lnTo>
                    <a:pt x="21213" y="793"/>
                  </a:lnTo>
                  <a:lnTo>
                    <a:pt x="20908" y="610"/>
                  </a:lnTo>
                  <a:lnTo>
                    <a:pt x="20238" y="306"/>
                  </a:lnTo>
                  <a:lnTo>
                    <a:pt x="19506" y="123"/>
                  </a:lnTo>
                  <a:lnTo>
                    <a:pt x="18836" y="62"/>
                  </a:lnTo>
                  <a:lnTo>
                    <a:pt x="18104" y="1"/>
                  </a:lnTo>
                  <a:lnTo>
                    <a:pt x="17495" y="1"/>
                  </a:lnTo>
                  <a:lnTo>
                    <a:pt x="17495" y="1"/>
                  </a:lnTo>
                  <a:lnTo>
                    <a:pt x="16580" y="62"/>
                  </a:lnTo>
                  <a:lnTo>
                    <a:pt x="15178" y="245"/>
                  </a:lnTo>
                  <a:lnTo>
                    <a:pt x="13350" y="488"/>
                  </a:lnTo>
                  <a:lnTo>
                    <a:pt x="11216" y="854"/>
                  </a:lnTo>
                  <a:lnTo>
                    <a:pt x="8900" y="1403"/>
                  </a:lnTo>
                  <a:lnTo>
                    <a:pt x="7681" y="1708"/>
                  </a:lnTo>
                  <a:lnTo>
                    <a:pt x="6523" y="2073"/>
                  </a:lnTo>
                  <a:lnTo>
                    <a:pt x="5365" y="2500"/>
                  </a:lnTo>
                  <a:lnTo>
                    <a:pt x="4207" y="2927"/>
                  </a:lnTo>
                  <a:lnTo>
                    <a:pt x="3110" y="3414"/>
                  </a:lnTo>
                  <a:lnTo>
                    <a:pt x="2073" y="3963"/>
                  </a:lnTo>
                  <a:lnTo>
                    <a:pt x="2073" y="3963"/>
                  </a:lnTo>
                  <a:lnTo>
                    <a:pt x="1464" y="4389"/>
                  </a:lnTo>
                  <a:lnTo>
                    <a:pt x="976" y="4816"/>
                  </a:lnTo>
                  <a:lnTo>
                    <a:pt x="550" y="5243"/>
                  </a:lnTo>
                  <a:lnTo>
                    <a:pt x="306" y="5730"/>
                  </a:lnTo>
                  <a:lnTo>
                    <a:pt x="123" y="6218"/>
                  </a:lnTo>
                  <a:lnTo>
                    <a:pt x="1" y="6767"/>
                  </a:lnTo>
                  <a:lnTo>
                    <a:pt x="1" y="7254"/>
                  </a:lnTo>
                  <a:lnTo>
                    <a:pt x="62" y="7742"/>
                  </a:lnTo>
                  <a:lnTo>
                    <a:pt x="184" y="8230"/>
                  </a:lnTo>
                  <a:lnTo>
                    <a:pt x="367" y="8717"/>
                  </a:lnTo>
                  <a:lnTo>
                    <a:pt x="671" y="9083"/>
                  </a:lnTo>
                  <a:lnTo>
                    <a:pt x="976" y="9510"/>
                  </a:lnTo>
                  <a:lnTo>
                    <a:pt x="1342" y="9814"/>
                  </a:lnTo>
                  <a:lnTo>
                    <a:pt x="1769" y="10119"/>
                  </a:lnTo>
                  <a:lnTo>
                    <a:pt x="2256" y="10302"/>
                  </a:lnTo>
                  <a:lnTo>
                    <a:pt x="2744" y="10485"/>
                  </a:lnTo>
                  <a:lnTo>
                    <a:pt x="2744" y="10485"/>
                  </a:lnTo>
                  <a:lnTo>
                    <a:pt x="3353" y="10607"/>
                  </a:lnTo>
                  <a:lnTo>
                    <a:pt x="3841" y="10790"/>
                  </a:lnTo>
                  <a:lnTo>
                    <a:pt x="4268" y="11033"/>
                  </a:lnTo>
                  <a:lnTo>
                    <a:pt x="4572" y="11216"/>
                  </a:lnTo>
                  <a:lnTo>
                    <a:pt x="4877" y="11521"/>
                  </a:lnTo>
                  <a:lnTo>
                    <a:pt x="5121" y="11826"/>
                  </a:lnTo>
                  <a:lnTo>
                    <a:pt x="5609" y="12496"/>
                  </a:lnTo>
                  <a:lnTo>
                    <a:pt x="5609" y="12496"/>
                  </a:lnTo>
                  <a:lnTo>
                    <a:pt x="5792" y="12740"/>
                  </a:lnTo>
                  <a:lnTo>
                    <a:pt x="5974" y="12984"/>
                  </a:lnTo>
                  <a:lnTo>
                    <a:pt x="6584" y="13411"/>
                  </a:lnTo>
                  <a:lnTo>
                    <a:pt x="7254" y="13776"/>
                  </a:lnTo>
                  <a:lnTo>
                    <a:pt x="8047" y="14020"/>
                  </a:lnTo>
                  <a:lnTo>
                    <a:pt x="8900" y="14142"/>
                  </a:lnTo>
                  <a:lnTo>
                    <a:pt x="9327" y="14142"/>
                  </a:lnTo>
                  <a:lnTo>
                    <a:pt x="9814" y="14081"/>
                  </a:lnTo>
                  <a:lnTo>
                    <a:pt x="10241" y="14020"/>
                  </a:lnTo>
                  <a:lnTo>
                    <a:pt x="10729" y="13959"/>
                  </a:lnTo>
                  <a:lnTo>
                    <a:pt x="11155" y="13776"/>
                  </a:lnTo>
                  <a:lnTo>
                    <a:pt x="11582" y="13593"/>
                  </a:lnTo>
                  <a:lnTo>
                    <a:pt x="11582" y="13593"/>
                  </a:lnTo>
                  <a:lnTo>
                    <a:pt x="12374" y="13106"/>
                  </a:lnTo>
                  <a:lnTo>
                    <a:pt x="13045" y="12618"/>
                  </a:lnTo>
                  <a:lnTo>
                    <a:pt x="13594" y="12070"/>
                  </a:lnTo>
                  <a:lnTo>
                    <a:pt x="14081" y="11460"/>
                  </a:lnTo>
                  <a:lnTo>
                    <a:pt x="14995" y="10302"/>
                  </a:lnTo>
                  <a:lnTo>
                    <a:pt x="15422" y="9814"/>
                  </a:lnTo>
                  <a:lnTo>
                    <a:pt x="15971" y="932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0" name="Google Shape;1010;p16"/>
            <p:cNvSpPr/>
            <p:nvPr/>
          </p:nvSpPr>
          <p:spPr>
            <a:xfrm>
              <a:off x="4731900" y="3892150"/>
              <a:ext cx="435850" cy="239275"/>
            </a:xfrm>
            <a:custGeom>
              <a:avLst/>
              <a:gdLst/>
              <a:ahLst/>
              <a:cxnLst/>
              <a:rect l="l" t="t" r="r" b="b"/>
              <a:pathLst>
                <a:path w="17434" h="9571" extrusionOk="0">
                  <a:moveTo>
                    <a:pt x="10180" y="1"/>
                  </a:moveTo>
                  <a:lnTo>
                    <a:pt x="9692" y="62"/>
                  </a:lnTo>
                  <a:lnTo>
                    <a:pt x="9266" y="123"/>
                  </a:lnTo>
                  <a:lnTo>
                    <a:pt x="8900" y="184"/>
                  </a:lnTo>
                  <a:lnTo>
                    <a:pt x="8534" y="367"/>
                  </a:lnTo>
                  <a:lnTo>
                    <a:pt x="8230" y="550"/>
                  </a:lnTo>
                  <a:lnTo>
                    <a:pt x="7864" y="854"/>
                  </a:lnTo>
                  <a:lnTo>
                    <a:pt x="7132" y="1586"/>
                  </a:lnTo>
                  <a:lnTo>
                    <a:pt x="6706" y="1951"/>
                  </a:lnTo>
                  <a:lnTo>
                    <a:pt x="6340" y="2317"/>
                  </a:lnTo>
                  <a:lnTo>
                    <a:pt x="5974" y="2500"/>
                  </a:lnTo>
                  <a:lnTo>
                    <a:pt x="5609" y="2683"/>
                  </a:lnTo>
                  <a:lnTo>
                    <a:pt x="5243" y="2744"/>
                  </a:lnTo>
                  <a:lnTo>
                    <a:pt x="4816" y="2805"/>
                  </a:lnTo>
                  <a:lnTo>
                    <a:pt x="3963" y="2744"/>
                  </a:lnTo>
                  <a:lnTo>
                    <a:pt x="3475" y="2683"/>
                  </a:lnTo>
                  <a:lnTo>
                    <a:pt x="2866" y="2683"/>
                  </a:lnTo>
                  <a:lnTo>
                    <a:pt x="2256" y="2744"/>
                  </a:lnTo>
                  <a:lnTo>
                    <a:pt x="1647" y="2927"/>
                  </a:lnTo>
                  <a:lnTo>
                    <a:pt x="1342" y="3049"/>
                  </a:lnTo>
                  <a:lnTo>
                    <a:pt x="1037" y="3231"/>
                  </a:lnTo>
                  <a:lnTo>
                    <a:pt x="793" y="3475"/>
                  </a:lnTo>
                  <a:lnTo>
                    <a:pt x="549" y="3719"/>
                  </a:lnTo>
                  <a:lnTo>
                    <a:pt x="367" y="4085"/>
                  </a:lnTo>
                  <a:lnTo>
                    <a:pt x="184" y="4451"/>
                  </a:lnTo>
                  <a:lnTo>
                    <a:pt x="62" y="4938"/>
                  </a:lnTo>
                  <a:lnTo>
                    <a:pt x="1" y="5487"/>
                  </a:lnTo>
                  <a:lnTo>
                    <a:pt x="1" y="5792"/>
                  </a:lnTo>
                  <a:lnTo>
                    <a:pt x="62" y="6157"/>
                  </a:lnTo>
                  <a:lnTo>
                    <a:pt x="123" y="6462"/>
                  </a:lnTo>
                  <a:lnTo>
                    <a:pt x="245" y="6767"/>
                  </a:lnTo>
                  <a:lnTo>
                    <a:pt x="428" y="7072"/>
                  </a:lnTo>
                  <a:lnTo>
                    <a:pt x="610" y="7376"/>
                  </a:lnTo>
                  <a:lnTo>
                    <a:pt x="1159" y="7925"/>
                  </a:lnTo>
                  <a:lnTo>
                    <a:pt x="1829" y="8352"/>
                  </a:lnTo>
                  <a:lnTo>
                    <a:pt x="2622" y="8778"/>
                  </a:lnTo>
                  <a:lnTo>
                    <a:pt x="3536" y="9083"/>
                  </a:lnTo>
                  <a:lnTo>
                    <a:pt x="4450" y="9327"/>
                  </a:lnTo>
                  <a:lnTo>
                    <a:pt x="5791" y="9510"/>
                  </a:lnTo>
                  <a:lnTo>
                    <a:pt x="7254" y="9571"/>
                  </a:lnTo>
                  <a:lnTo>
                    <a:pt x="8839" y="9571"/>
                  </a:lnTo>
                  <a:lnTo>
                    <a:pt x="10424" y="9510"/>
                  </a:lnTo>
                  <a:lnTo>
                    <a:pt x="12009" y="9327"/>
                  </a:lnTo>
                  <a:lnTo>
                    <a:pt x="12740" y="9144"/>
                  </a:lnTo>
                  <a:lnTo>
                    <a:pt x="13472" y="8961"/>
                  </a:lnTo>
                  <a:lnTo>
                    <a:pt x="14142" y="8778"/>
                  </a:lnTo>
                  <a:lnTo>
                    <a:pt x="14691" y="8534"/>
                  </a:lnTo>
                  <a:lnTo>
                    <a:pt x="15239" y="8230"/>
                  </a:lnTo>
                  <a:lnTo>
                    <a:pt x="15666" y="7925"/>
                  </a:lnTo>
                  <a:lnTo>
                    <a:pt x="16093" y="7559"/>
                  </a:lnTo>
                  <a:lnTo>
                    <a:pt x="16397" y="7193"/>
                  </a:lnTo>
                  <a:lnTo>
                    <a:pt x="16702" y="6828"/>
                  </a:lnTo>
                  <a:lnTo>
                    <a:pt x="16946" y="6462"/>
                  </a:lnTo>
                  <a:lnTo>
                    <a:pt x="17129" y="6035"/>
                  </a:lnTo>
                  <a:lnTo>
                    <a:pt x="17251" y="5670"/>
                  </a:lnTo>
                  <a:lnTo>
                    <a:pt x="17373" y="5243"/>
                  </a:lnTo>
                  <a:lnTo>
                    <a:pt x="17434" y="4877"/>
                  </a:lnTo>
                  <a:lnTo>
                    <a:pt x="17434" y="4451"/>
                  </a:lnTo>
                  <a:lnTo>
                    <a:pt x="17434" y="4085"/>
                  </a:lnTo>
                  <a:lnTo>
                    <a:pt x="17373" y="3719"/>
                  </a:lnTo>
                  <a:lnTo>
                    <a:pt x="17251" y="3414"/>
                  </a:lnTo>
                  <a:lnTo>
                    <a:pt x="17068" y="3110"/>
                  </a:lnTo>
                  <a:lnTo>
                    <a:pt x="16885" y="2805"/>
                  </a:lnTo>
                  <a:lnTo>
                    <a:pt x="16641" y="2561"/>
                  </a:lnTo>
                  <a:lnTo>
                    <a:pt x="16397" y="2317"/>
                  </a:lnTo>
                  <a:lnTo>
                    <a:pt x="15788" y="1890"/>
                  </a:lnTo>
                  <a:lnTo>
                    <a:pt x="14995" y="1464"/>
                  </a:lnTo>
                  <a:lnTo>
                    <a:pt x="14142" y="1098"/>
                  </a:lnTo>
                  <a:lnTo>
                    <a:pt x="13228" y="732"/>
                  </a:lnTo>
                  <a:lnTo>
                    <a:pt x="12313" y="428"/>
                  </a:lnTo>
                  <a:lnTo>
                    <a:pt x="11460" y="184"/>
                  </a:lnTo>
                  <a:lnTo>
                    <a:pt x="10729" y="1"/>
                  </a:lnTo>
                  <a:close/>
                </a:path>
              </a:pathLst>
            </a:custGeom>
            <a:solidFill>
              <a:srgbClr val="195C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1" name="Google Shape;1011;p16"/>
            <p:cNvSpPr/>
            <p:nvPr/>
          </p:nvSpPr>
          <p:spPr>
            <a:xfrm>
              <a:off x="4731900" y="3892150"/>
              <a:ext cx="435850" cy="239275"/>
            </a:xfrm>
            <a:custGeom>
              <a:avLst/>
              <a:gdLst/>
              <a:ahLst/>
              <a:cxnLst/>
              <a:rect l="l" t="t" r="r" b="b"/>
              <a:pathLst>
                <a:path w="17434" h="9571" fill="none" extrusionOk="0">
                  <a:moveTo>
                    <a:pt x="1" y="5487"/>
                  </a:moveTo>
                  <a:lnTo>
                    <a:pt x="1" y="5487"/>
                  </a:lnTo>
                  <a:lnTo>
                    <a:pt x="1" y="5792"/>
                  </a:lnTo>
                  <a:lnTo>
                    <a:pt x="62" y="6157"/>
                  </a:lnTo>
                  <a:lnTo>
                    <a:pt x="123" y="6462"/>
                  </a:lnTo>
                  <a:lnTo>
                    <a:pt x="245" y="6767"/>
                  </a:lnTo>
                  <a:lnTo>
                    <a:pt x="428" y="7072"/>
                  </a:lnTo>
                  <a:lnTo>
                    <a:pt x="610" y="7376"/>
                  </a:lnTo>
                  <a:lnTo>
                    <a:pt x="1159" y="7925"/>
                  </a:lnTo>
                  <a:lnTo>
                    <a:pt x="1829" y="8352"/>
                  </a:lnTo>
                  <a:lnTo>
                    <a:pt x="2622" y="8778"/>
                  </a:lnTo>
                  <a:lnTo>
                    <a:pt x="3536" y="9083"/>
                  </a:lnTo>
                  <a:lnTo>
                    <a:pt x="4450" y="9327"/>
                  </a:lnTo>
                  <a:lnTo>
                    <a:pt x="4450" y="9327"/>
                  </a:lnTo>
                  <a:lnTo>
                    <a:pt x="5791" y="9510"/>
                  </a:lnTo>
                  <a:lnTo>
                    <a:pt x="7254" y="9571"/>
                  </a:lnTo>
                  <a:lnTo>
                    <a:pt x="8839" y="9571"/>
                  </a:lnTo>
                  <a:lnTo>
                    <a:pt x="10424" y="9510"/>
                  </a:lnTo>
                  <a:lnTo>
                    <a:pt x="12009" y="9327"/>
                  </a:lnTo>
                  <a:lnTo>
                    <a:pt x="12740" y="9144"/>
                  </a:lnTo>
                  <a:lnTo>
                    <a:pt x="13472" y="8961"/>
                  </a:lnTo>
                  <a:lnTo>
                    <a:pt x="14142" y="8778"/>
                  </a:lnTo>
                  <a:lnTo>
                    <a:pt x="14691" y="8534"/>
                  </a:lnTo>
                  <a:lnTo>
                    <a:pt x="15239" y="8230"/>
                  </a:lnTo>
                  <a:lnTo>
                    <a:pt x="15666" y="7925"/>
                  </a:lnTo>
                  <a:lnTo>
                    <a:pt x="15666" y="7925"/>
                  </a:lnTo>
                  <a:lnTo>
                    <a:pt x="16093" y="7559"/>
                  </a:lnTo>
                  <a:lnTo>
                    <a:pt x="16397" y="7193"/>
                  </a:lnTo>
                  <a:lnTo>
                    <a:pt x="16702" y="6828"/>
                  </a:lnTo>
                  <a:lnTo>
                    <a:pt x="16946" y="6462"/>
                  </a:lnTo>
                  <a:lnTo>
                    <a:pt x="17129" y="6035"/>
                  </a:lnTo>
                  <a:lnTo>
                    <a:pt x="17251" y="5670"/>
                  </a:lnTo>
                  <a:lnTo>
                    <a:pt x="17373" y="5243"/>
                  </a:lnTo>
                  <a:lnTo>
                    <a:pt x="17434" y="4877"/>
                  </a:lnTo>
                  <a:lnTo>
                    <a:pt x="17434" y="4451"/>
                  </a:lnTo>
                  <a:lnTo>
                    <a:pt x="17434" y="4085"/>
                  </a:lnTo>
                  <a:lnTo>
                    <a:pt x="17373" y="3719"/>
                  </a:lnTo>
                  <a:lnTo>
                    <a:pt x="17251" y="3414"/>
                  </a:lnTo>
                  <a:lnTo>
                    <a:pt x="17068" y="3110"/>
                  </a:lnTo>
                  <a:lnTo>
                    <a:pt x="16885" y="2805"/>
                  </a:lnTo>
                  <a:lnTo>
                    <a:pt x="16641" y="2561"/>
                  </a:lnTo>
                  <a:lnTo>
                    <a:pt x="16397" y="2317"/>
                  </a:lnTo>
                  <a:lnTo>
                    <a:pt x="16397" y="2317"/>
                  </a:lnTo>
                  <a:lnTo>
                    <a:pt x="15788" y="1890"/>
                  </a:lnTo>
                  <a:lnTo>
                    <a:pt x="14995" y="1464"/>
                  </a:lnTo>
                  <a:lnTo>
                    <a:pt x="14142" y="1098"/>
                  </a:lnTo>
                  <a:lnTo>
                    <a:pt x="13228" y="732"/>
                  </a:lnTo>
                  <a:lnTo>
                    <a:pt x="12313" y="428"/>
                  </a:lnTo>
                  <a:lnTo>
                    <a:pt x="11460" y="184"/>
                  </a:lnTo>
                  <a:lnTo>
                    <a:pt x="10729" y="1"/>
                  </a:lnTo>
                  <a:lnTo>
                    <a:pt x="10180" y="1"/>
                  </a:lnTo>
                  <a:lnTo>
                    <a:pt x="10180" y="1"/>
                  </a:lnTo>
                  <a:lnTo>
                    <a:pt x="9692" y="62"/>
                  </a:lnTo>
                  <a:lnTo>
                    <a:pt x="9266" y="123"/>
                  </a:lnTo>
                  <a:lnTo>
                    <a:pt x="8900" y="184"/>
                  </a:lnTo>
                  <a:lnTo>
                    <a:pt x="8534" y="367"/>
                  </a:lnTo>
                  <a:lnTo>
                    <a:pt x="8230" y="550"/>
                  </a:lnTo>
                  <a:lnTo>
                    <a:pt x="7864" y="854"/>
                  </a:lnTo>
                  <a:lnTo>
                    <a:pt x="7132" y="1586"/>
                  </a:lnTo>
                  <a:lnTo>
                    <a:pt x="7132" y="1586"/>
                  </a:lnTo>
                  <a:lnTo>
                    <a:pt x="6706" y="1951"/>
                  </a:lnTo>
                  <a:lnTo>
                    <a:pt x="6340" y="2317"/>
                  </a:lnTo>
                  <a:lnTo>
                    <a:pt x="5974" y="2500"/>
                  </a:lnTo>
                  <a:lnTo>
                    <a:pt x="5609" y="2683"/>
                  </a:lnTo>
                  <a:lnTo>
                    <a:pt x="5243" y="2744"/>
                  </a:lnTo>
                  <a:lnTo>
                    <a:pt x="4816" y="2805"/>
                  </a:lnTo>
                  <a:lnTo>
                    <a:pt x="3963" y="2744"/>
                  </a:lnTo>
                  <a:lnTo>
                    <a:pt x="3963" y="2744"/>
                  </a:lnTo>
                  <a:lnTo>
                    <a:pt x="3475" y="2683"/>
                  </a:lnTo>
                  <a:lnTo>
                    <a:pt x="2866" y="2683"/>
                  </a:lnTo>
                  <a:lnTo>
                    <a:pt x="2256" y="2744"/>
                  </a:lnTo>
                  <a:lnTo>
                    <a:pt x="1647" y="2927"/>
                  </a:lnTo>
                  <a:lnTo>
                    <a:pt x="1342" y="3049"/>
                  </a:lnTo>
                  <a:lnTo>
                    <a:pt x="1037" y="3231"/>
                  </a:lnTo>
                  <a:lnTo>
                    <a:pt x="793" y="3475"/>
                  </a:lnTo>
                  <a:lnTo>
                    <a:pt x="549" y="3719"/>
                  </a:lnTo>
                  <a:lnTo>
                    <a:pt x="367" y="4085"/>
                  </a:lnTo>
                  <a:lnTo>
                    <a:pt x="184" y="4451"/>
                  </a:lnTo>
                  <a:lnTo>
                    <a:pt x="62" y="4938"/>
                  </a:lnTo>
                  <a:lnTo>
                    <a:pt x="1" y="548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2" name="Google Shape;1012;p16"/>
            <p:cNvSpPr/>
            <p:nvPr/>
          </p:nvSpPr>
          <p:spPr>
            <a:xfrm>
              <a:off x="4710575" y="3177475"/>
              <a:ext cx="303275" cy="211850"/>
            </a:xfrm>
            <a:custGeom>
              <a:avLst/>
              <a:gdLst/>
              <a:ahLst/>
              <a:cxnLst/>
              <a:rect l="l" t="t" r="r" b="b"/>
              <a:pathLst>
                <a:path w="12131" h="8474" extrusionOk="0">
                  <a:moveTo>
                    <a:pt x="4755" y="1"/>
                  </a:moveTo>
                  <a:lnTo>
                    <a:pt x="4084" y="123"/>
                  </a:lnTo>
                  <a:lnTo>
                    <a:pt x="3658" y="245"/>
                  </a:lnTo>
                  <a:lnTo>
                    <a:pt x="3292" y="488"/>
                  </a:lnTo>
                  <a:lnTo>
                    <a:pt x="2987" y="732"/>
                  </a:lnTo>
                  <a:lnTo>
                    <a:pt x="2682" y="1098"/>
                  </a:lnTo>
                  <a:lnTo>
                    <a:pt x="2439" y="1464"/>
                  </a:lnTo>
                  <a:lnTo>
                    <a:pt x="2256" y="1890"/>
                  </a:lnTo>
                  <a:lnTo>
                    <a:pt x="1890" y="2683"/>
                  </a:lnTo>
                  <a:lnTo>
                    <a:pt x="1646" y="3109"/>
                  </a:lnTo>
                  <a:lnTo>
                    <a:pt x="1342" y="3536"/>
                  </a:lnTo>
                  <a:lnTo>
                    <a:pt x="671" y="4389"/>
                  </a:lnTo>
                  <a:lnTo>
                    <a:pt x="305" y="4877"/>
                  </a:lnTo>
                  <a:lnTo>
                    <a:pt x="61" y="5426"/>
                  </a:lnTo>
                  <a:lnTo>
                    <a:pt x="1" y="5730"/>
                  </a:lnTo>
                  <a:lnTo>
                    <a:pt x="1" y="6096"/>
                  </a:lnTo>
                  <a:lnTo>
                    <a:pt x="1" y="6462"/>
                  </a:lnTo>
                  <a:lnTo>
                    <a:pt x="1" y="6828"/>
                  </a:lnTo>
                  <a:lnTo>
                    <a:pt x="122" y="7254"/>
                  </a:lnTo>
                  <a:lnTo>
                    <a:pt x="366" y="7559"/>
                  </a:lnTo>
                  <a:lnTo>
                    <a:pt x="732" y="7864"/>
                  </a:lnTo>
                  <a:lnTo>
                    <a:pt x="1159" y="8047"/>
                  </a:lnTo>
                  <a:lnTo>
                    <a:pt x="1646" y="8229"/>
                  </a:lnTo>
                  <a:lnTo>
                    <a:pt x="2256" y="8351"/>
                  </a:lnTo>
                  <a:lnTo>
                    <a:pt x="2865" y="8412"/>
                  </a:lnTo>
                  <a:lnTo>
                    <a:pt x="3536" y="8473"/>
                  </a:lnTo>
                  <a:lnTo>
                    <a:pt x="4999" y="8473"/>
                  </a:lnTo>
                  <a:lnTo>
                    <a:pt x="6523" y="8351"/>
                  </a:lnTo>
                  <a:lnTo>
                    <a:pt x="7985" y="8169"/>
                  </a:lnTo>
                  <a:lnTo>
                    <a:pt x="9326" y="7925"/>
                  </a:lnTo>
                  <a:lnTo>
                    <a:pt x="9875" y="7742"/>
                  </a:lnTo>
                  <a:lnTo>
                    <a:pt x="10424" y="7559"/>
                  </a:lnTo>
                  <a:lnTo>
                    <a:pt x="10850" y="7315"/>
                  </a:lnTo>
                  <a:lnTo>
                    <a:pt x="11155" y="7010"/>
                  </a:lnTo>
                  <a:lnTo>
                    <a:pt x="11460" y="6767"/>
                  </a:lnTo>
                  <a:lnTo>
                    <a:pt x="11704" y="6401"/>
                  </a:lnTo>
                  <a:lnTo>
                    <a:pt x="11886" y="6096"/>
                  </a:lnTo>
                  <a:lnTo>
                    <a:pt x="12008" y="5730"/>
                  </a:lnTo>
                  <a:lnTo>
                    <a:pt x="12069" y="5365"/>
                  </a:lnTo>
                  <a:lnTo>
                    <a:pt x="12130" y="4999"/>
                  </a:lnTo>
                  <a:lnTo>
                    <a:pt x="12130" y="4389"/>
                  </a:lnTo>
                  <a:lnTo>
                    <a:pt x="11947" y="3841"/>
                  </a:lnTo>
                  <a:lnTo>
                    <a:pt x="11765" y="3414"/>
                  </a:lnTo>
                  <a:lnTo>
                    <a:pt x="11521" y="3109"/>
                  </a:lnTo>
                  <a:lnTo>
                    <a:pt x="11216" y="2927"/>
                  </a:lnTo>
                  <a:lnTo>
                    <a:pt x="10911" y="2683"/>
                  </a:lnTo>
                  <a:lnTo>
                    <a:pt x="10545" y="2500"/>
                  </a:lnTo>
                  <a:lnTo>
                    <a:pt x="9631" y="2073"/>
                  </a:lnTo>
                  <a:lnTo>
                    <a:pt x="8473" y="1586"/>
                  </a:lnTo>
                  <a:lnTo>
                    <a:pt x="7864" y="1220"/>
                  </a:lnTo>
                  <a:lnTo>
                    <a:pt x="7376" y="915"/>
                  </a:lnTo>
                  <a:lnTo>
                    <a:pt x="6888" y="610"/>
                  </a:lnTo>
                  <a:lnTo>
                    <a:pt x="6401" y="306"/>
                  </a:lnTo>
                  <a:lnTo>
                    <a:pt x="5913" y="123"/>
                  </a:lnTo>
                  <a:lnTo>
                    <a:pt x="5364" y="1"/>
                  </a:lnTo>
                  <a:close/>
                </a:path>
              </a:pathLst>
            </a:custGeom>
            <a:solidFill>
              <a:srgbClr val="195C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3" name="Google Shape;1013;p16"/>
            <p:cNvSpPr/>
            <p:nvPr/>
          </p:nvSpPr>
          <p:spPr>
            <a:xfrm>
              <a:off x="4078175" y="3156150"/>
              <a:ext cx="577575" cy="294125"/>
            </a:xfrm>
            <a:custGeom>
              <a:avLst/>
              <a:gdLst/>
              <a:ahLst/>
              <a:cxnLst/>
              <a:rect l="l" t="t" r="r" b="b"/>
              <a:pathLst>
                <a:path w="23103" h="11765" extrusionOk="0">
                  <a:moveTo>
                    <a:pt x="11399" y="0"/>
                  </a:moveTo>
                  <a:lnTo>
                    <a:pt x="10302" y="61"/>
                  </a:lnTo>
                  <a:lnTo>
                    <a:pt x="9266" y="244"/>
                  </a:lnTo>
                  <a:lnTo>
                    <a:pt x="8351" y="488"/>
                  </a:lnTo>
                  <a:lnTo>
                    <a:pt x="7498" y="793"/>
                  </a:lnTo>
                  <a:lnTo>
                    <a:pt x="6706" y="1159"/>
                  </a:lnTo>
                  <a:lnTo>
                    <a:pt x="6035" y="1585"/>
                  </a:lnTo>
                  <a:lnTo>
                    <a:pt x="5426" y="2012"/>
                  </a:lnTo>
                  <a:lnTo>
                    <a:pt x="4877" y="2378"/>
                  </a:lnTo>
                  <a:lnTo>
                    <a:pt x="4633" y="2499"/>
                  </a:lnTo>
                  <a:lnTo>
                    <a:pt x="4268" y="2499"/>
                  </a:lnTo>
                  <a:lnTo>
                    <a:pt x="3292" y="2560"/>
                  </a:lnTo>
                  <a:lnTo>
                    <a:pt x="2683" y="2621"/>
                  </a:lnTo>
                  <a:lnTo>
                    <a:pt x="2134" y="2682"/>
                  </a:lnTo>
                  <a:lnTo>
                    <a:pt x="1525" y="2865"/>
                  </a:lnTo>
                  <a:lnTo>
                    <a:pt x="976" y="3170"/>
                  </a:lnTo>
                  <a:lnTo>
                    <a:pt x="732" y="3353"/>
                  </a:lnTo>
                  <a:lnTo>
                    <a:pt x="549" y="3597"/>
                  </a:lnTo>
                  <a:lnTo>
                    <a:pt x="367" y="3840"/>
                  </a:lnTo>
                  <a:lnTo>
                    <a:pt x="245" y="4145"/>
                  </a:lnTo>
                  <a:lnTo>
                    <a:pt x="123" y="4511"/>
                  </a:lnTo>
                  <a:lnTo>
                    <a:pt x="62" y="4816"/>
                  </a:lnTo>
                  <a:lnTo>
                    <a:pt x="1" y="5181"/>
                  </a:lnTo>
                  <a:lnTo>
                    <a:pt x="62" y="5608"/>
                  </a:lnTo>
                  <a:lnTo>
                    <a:pt x="123" y="5974"/>
                  </a:lnTo>
                  <a:lnTo>
                    <a:pt x="245" y="6401"/>
                  </a:lnTo>
                  <a:lnTo>
                    <a:pt x="367" y="6766"/>
                  </a:lnTo>
                  <a:lnTo>
                    <a:pt x="610" y="7193"/>
                  </a:lnTo>
                  <a:lnTo>
                    <a:pt x="915" y="7620"/>
                  </a:lnTo>
                  <a:lnTo>
                    <a:pt x="1220" y="7985"/>
                  </a:lnTo>
                  <a:lnTo>
                    <a:pt x="1647" y="8351"/>
                  </a:lnTo>
                  <a:lnTo>
                    <a:pt x="2134" y="8717"/>
                  </a:lnTo>
                  <a:lnTo>
                    <a:pt x="3292" y="9387"/>
                  </a:lnTo>
                  <a:lnTo>
                    <a:pt x="4511" y="9997"/>
                  </a:lnTo>
                  <a:lnTo>
                    <a:pt x="5730" y="10484"/>
                  </a:lnTo>
                  <a:lnTo>
                    <a:pt x="7010" y="10911"/>
                  </a:lnTo>
                  <a:lnTo>
                    <a:pt x="8230" y="11216"/>
                  </a:lnTo>
                  <a:lnTo>
                    <a:pt x="9388" y="11460"/>
                  </a:lnTo>
                  <a:lnTo>
                    <a:pt x="10485" y="11643"/>
                  </a:lnTo>
                  <a:lnTo>
                    <a:pt x="11399" y="11764"/>
                  </a:lnTo>
                  <a:lnTo>
                    <a:pt x="12801" y="11764"/>
                  </a:lnTo>
                  <a:lnTo>
                    <a:pt x="14325" y="11643"/>
                  </a:lnTo>
                  <a:lnTo>
                    <a:pt x="15910" y="11399"/>
                  </a:lnTo>
                  <a:lnTo>
                    <a:pt x="17434" y="11094"/>
                  </a:lnTo>
                  <a:lnTo>
                    <a:pt x="18896" y="10606"/>
                  </a:lnTo>
                  <a:lnTo>
                    <a:pt x="20237" y="10119"/>
                  </a:lnTo>
                  <a:lnTo>
                    <a:pt x="20786" y="9875"/>
                  </a:lnTo>
                  <a:lnTo>
                    <a:pt x="21335" y="9570"/>
                  </a:lnTo>
                  <a:lnTo>
                    <a:pt x="21761" y="9265"/>
                  </a:lnTo>
                  <a:lnTo>
                    <a:pt x="22127" y="8961"/>
                  </a:lnTo>
                  <a:lnTo>
                    <a:pt x="22432" y="8656"/>
                  </a:lnTo>
                  <a:lnTo>
                    <a:pt x="22676" y="8290"/>
                  </a:lnTo>
                  <a:lnTo>
                    <a:pt x="22797" y="7985"/>
                  </a:lnTo>
                  <a:lnTo>
                    <a:pt x="22980" y="7741"/>
                  </a:lnTo>
                  <a:lnTo>
                    <a:pt x="23041" y="7437"/>
                  </a:lnTo>
                  <a:lnTo>
                    <a:pt x="23102" y="7132"/>
                  </a:lnTo>
                  <a:lnTo>
                    <a:pt x="23041" y="6644"/>
                  </a:lnTo>
                  <a:lnTo>
                    <a:pt x="22919" y="6157"/>
                  </a:lnTo>
                  <a:lnTo>
                    <a:pt x="22736" y="5730"/>
                  </a:lnTo>
                  <a:lnTo>
                    <a:pt x="22493" y="5364"/>
                  </a:lnTo>
                  <a:lnTo>
                    <a:pt x="22249" y="5060"/>
                  </a:lnTo>
                  <a:lnTo>
                    <a:pt x="21944" y="4816"/>
                  </a:lnTo>
                  <a:lnTo>
                    <a:pt x="21456" y="4450"/>
                  </a:lnTo>
                  <a:lnTo>
                    <a:pt x="20115" y="3658"/>
                  </a:lnTo>
                  <a:lnTo>
                    <a:pt x="18531" y="2865"/>
                  </a:lnTo>
                  <a:lnTo>
                    <a:pt x="17007" y="2134"/>
                  </a:lnTo>
                  <a:lnTo>
                    <a:pt x="16336" y="1829"/>
                  </a:lnTo>
                  <a:lnTo>
                    <a:pt x="15788" y="1463"/>
                  </a:lnTo>
                  <a:lnTo>
                    <a:pt x="14691" y="793"/>
                  </a:lnTo>
                  <a:lnTo>
                    <a:pt x="14081" y="427"/>
                  </a:lnTo>
                  <a:lnTo>
                    <a:pt x="13350" y="183"/>
                  </a:lnTo>
                  <a:lnTo>
                    <a:pt x="12496" y="0"/>
                  </a:lnTo>
                  <a:close/>
                </a:path>
              </a:pathLst>
            </a:custGeom>
            <a:solidFill>
              <a:srgbClr val="195C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4" name="Google Shape;1014;p16"/>
            <p:cNvSpPr/>
            <p:nvPr/>
          </p:nvSpPr>
          <p:spPr>
            <a:xfrm>
              <a:off x="4078175" y="3156150"/>
              <a:ext cx="577575" cy="294125"/>
            </a:xfrm>
            <a:custGeom>
              <a:avLst/>
              <a:gdLst/>
              <a:ahLst/>
              <a:cxnLst/>
              <a:rect l="l" t="t" r="r" b="b"/>
              <a:pathLst>
                <a:path w="23103" h="11765" fill="none" extrusionOk="0">
                  <a:moveTo>
                    <a:pt x="11399" y="11764"/>
                  </a:moveTo>
                  <a:lnTo>
                    <a:pt x="11399" y="11764"/>
                  </a:lnTo>
                  <a:lnTo>
                    <a:pt x="12801" y="11764"/>
                  </a:lnTo>
                  <a:lnTo>
                    <a:pt x="14325" y="11643"/>
                  </a:lnTo>
                  <a:lnTo>
                    <a:pt x="15910" y="11399"/>
                  </a:lnTo>
                  <a:lnTo>
                    <a:pt x="17434" y="11094"/>
                  </a:lnTo>
                  <a:lnTo>
                    <a:pt x="18896" y="10606"/>
                  </a:lnTo>
                  <a:lnTo>
                    <a:pt x="20237" y="10119"/>
                  </a:lnTo>
                  <a:lnTo>
                    <a:pt x="20786" y="9875"/>
                  </a:lnTo>
                  <a:lnTo>
                    <a:pt x="21335" y="9570"/>
                  </a:lnTo>
                  <a:lnTo>
                    <a:pt x="21761" y="9265"/>
                  </a:lnTo>
                  <a:lnTo>
                    <a:pt x="22127" y="8961"/>
                  </a:lnTo>
                  <a:lnTo>
                    <a:pt x="22127" y="8961"/>
                  </a:lnTo>
                  <a:lnTo>
                    <a:pt x="22432" y="8656"/>
                  </a:lnTo>
                  <a:lnTo>
                    <a:pt x="22676" y="8290"/>
                  </a:lnTo>
                  <a:lnTo>
                    <a:pt x="22797" y="7985"/>
                  </a:lnTo>
                  <a:lnTo>
                    <a:pt x="22980" y="7741"/>
                  </a:lnTo>
                  <a:lnTo>
                    <a:pt x="23041" y="7437"/>
                  </a:lnTo>
                  <a:lnTo>
                    <a:pt x="23102" y="7132"/>
                  </a:lnTo>
                  <a:lnTo>
                    <a:pt x="23041" y="6644"/>
                  </a:lnTo>
                  <a:lnTo>
                    <a:pt x="22919" y="6157"/>
                  </a:lnTo>
                  <a:lnTo>
                    <a:pt x="22736" y="5730"/>
                  </a:lnTo>
                  <a:lnTo>
                    <a:pt x="22493" y="5364"/>
                  </a:lnTo>
                  <a:lnTo>
                    <a:pt x="22249" y="5060"/>
                  </a:lnTo>
                  <a:lnTo>
                    <a:pt x="22249" y="5060"/>
                  </a:lnTo>
                  <a:lnTo>
                    <a:pt x="21944" y="4816"/>
                  </a:lnTo>
                  <a:lnTo>
                    <a:pt x="21456" y="4450"/>
                  </a:lnTo>
                  <a:lnTo>
                    <a:pt x="20115" y="3658"/>
                  </a:lnTo>
                  <a:lnTo>
                    <a:pt x="18531" y="2865"/>
                  </a:lnTo>
                  <a:lnTo>
                    <a:pt x="17007" y="2134"/>
                  </a:lnTo>
                  <a:lnTo>
                    <a:pt x="17007" y="2134"/>
                  </a:lnTo>
                  <a:lnTo>
                    <a:pt x="16336" y="1829"/>
                  </a:lnTo>
                  <a:lnTo>
                    <a:pt x="15788" y="1463"/>
                  </a:lnTo>
                  <a:lnTo>
                    <a:pt x="14691" y="793"/>
                  </a:lnTo>
                  <a:lnTo>
                    <a:pt x="14081" y="427"/>
                  </a:lnTo>
                  <a:lnTo>
                    <a:pt x="13350" y="183"/>
                  </a:lnTo>
                  <a:lnTo>
                    <a:pt x="12496" y="0"/>
                  </a:lnTo>
                  <a:lnTo>
                    <a:pt x="11399" y="0"/>
                  </a:lnTo>
                  <a:lnTo>
                    <a:pt x="11399" y="0"/>
                  </a:lnTo>
                  <a:lnTo>
                    <a:pt x="10302" y="61"/>
                  </a:lnTo>
                  <a:lnTo>
                    <a:pt x="9266" y="244"/>
                  </a:lnTo>
                  <a:lnTo>
                    <a:pt x="8351" y="488"/>
                  </a:lnTo>
                  <a:lnTo>
                    <a:pt x="7498" y="793"/>
                  </a:lnTo>
                  <a:lnTo>
                    <a:pt x="6706" y="1159"/>
                  </a:lnTo>
                  <a:lnTo>
                    <a:pt x="6035" y="1585"/>
                  </a:lnTo>
                  <a:lnTo>
                    <a:pt x="5426" y="2012"/>
                  </a:lnTo>
                  <a:lnTo>
                    <a:pt x="4877" y="2378"/>
                  </a:lnTo>
                  <a:lnTo>
                    <a:pt x="4877" y="2378"/>
                  </a:lnTo>
                  <a:lnTo>
                    <a:pt x="4633" y="2499"/>
                  </a:lnTo>
                  <a:lnTo>
                    <a:pt x="4268" y="2499"/>
                  </a:lnTo>
                  <a:lnTo>
                    <a:pt x="3292" y="2560"/>
                  </a:lnTo>
                  <a:lnTo>
                    <a:pt x="2683" y="2621"/>
                  </a:lnTo>
                  <a:lnTo>
                    <a:pt x="2134" y="2682"/>
                  </a:lnTo>
                  <a:lnTo>
                    <a:pt x="1525" y="2865"/>
                  </a:lnTo>
                  <a:lnTo>
                    <a:pt x="976" y="3170"/>
                  </a:lnTo>
                  <a:lnTo>
                    <a:pt x="976" y="3170"/>
                  </a:lnTo>
                  <a:lnTo>
                    <a:pt x="732" y="3353"/>
                  </a:lnTo>
                  <a:lnTo>
                    <a:pt x="549" y="3597"/>
                  </a:lnTo>
                  <a:lnTo>
                    <a:pt x="367" y="3840"/>
                  </a:lnTo>
                  <a:lnTo>
                    <a:pt x="245" y="4145"/>
                  </a:lnTo>
                  <a:lnTo>
                    <a:pt x="123" y="4511"/>
                  </a:lnTo>
                  <a:lnTo>
                    <a:pt x="62" y="4816"/>
                  </a:lnTo>
                  <a:lnTo>
                    <a:pt x="1" y="5181"/>
                  </a:lnTo>
                  <a:lnTo>
                    <a:pt x="62" y="5608"/>
                  </a:lnTo>
                  <a:lnTo>
                    <a:pt x="123" y="5974"/>
                  </a:lnTo>
                  <a:lnTo>
                    <a:pt x="245" y="6401"/>
                  </a:lnTo>
                  <a:lnTo>
                    <a:pt x="367" y="6766"/>
                  </a:lnTo>
                  <a:lnTo>
                    <a:pt x="610" y="7193"/>
                  </a:lnTo>
                  <a:lnTo>
                    <a:pt x="915" y="7620"/>
                  </a:lnTo>
                  <a:lnTo>
                    <a:pt x="1220" y="7985"/>
                  </a:lnTo>
                  <a:lnTo>
                    <a:pt x="1647" y="8351"/>
                  </a:lnTo>
                  <a:lnTo>
                    <a:pt x="2134" y="8717"/>
                  </a:lnTo>
                  <a:lnTo>
                    <a:pt x="2134" y="8717"/>
                  </a:lnTo>
                  <a:lnTo>
                    <a:pt x="3292" y="9387"/>
                  </a:lnTo>
                  <a:lnTo>
                    <a:pt x="4511" y="9997"/>
                  </a:lnTo>
                  <a:lnTo>
                    <a:pt x="5730" y="10484"/>
                  </a:lnTo>
                  <a:lnTo>
                    <a:pt x="7010" y="10911"/>
                  </a:lnTo>
                  <a:lnTo>
                    <a:pt x="8230" y="11216"/>
                  </a:lnTo>
                  <a:lnTo>
                    <a:pt x="9388" y="11460"/>
                  </a:lnTo>
                  <a:lnTo>
                    <a:pt x="10485" y="11643"/>
                  </a:lnTo>
                  <a:lnTo>
                    <a:pt x="11399" y="1176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5" name="Google Shape;1015;p16"/>
            <p:cNvSpPr/>
            <p:nvPr/>
          </p:nvSpPr>
          <p:spPr>
            <a:xfrm>
              <a:off x="4264100" y="3162250"/>
              <a:ext cx="155450" cy="35075"/>
            </a:xfrm>
            <a:custGeom>
              <a:avLst/>
              <a:gdLst/>
              <a:ahLst/>
              <a:cxnLst/>
              <a:rect l="l" t="t" r="r" b="b"/>
              <a:pathLst>
                <a:path w="6218" h="1403" extrusionOk="0">
                  <a:moveTo>
                    <a:pt x="1585" y="0"/>
                  </a:moveTo>
                  <a:lnTo>
                    <a:pt x="793" y="305"/>
                  </a:lnTo>
                  <a:lnTo>
                    <a:pt x="0" y="549"/>
                  </a:lnTo>
                  <a:lnTo>
                    <a:pt x="488" y="793"/>
                  </a:lnTo>
                  <a:lnTo>
                    <a:pt x="1219" y="1097"/>
                  </a:lnTo>
                  <a:lnTo>
                    <a:pt x="2073" y="1280"/>
                  </a:lnTo>
                  <a:lnTo>
                    <a:pt x="2560" y="1341"/>
                  </a:lnTo>
                  <a:lnTo>
                    <a:pt x="3048" y="1402"/>
                  </a:lnTo>
                  <a:lnTo>
                    <a:pt x="3840" y="1341"/>
                  </a:lnTo>
                  <a:lnTo>
                    <a:pt x="4267" y="1219"/>
                  </a:lnTo>
                  <a:lnTo>
                    <a:pt x="4633" y="1097"/>
                  </a:lnTo>
                  <a:lnTo>
                    <a:pt x="5059" y="915"/>
                  </a:lnTo>
                  <a:lnTo>
                    <a:pt x="5486" y="671"/>
                  </a:lnTo>
                  <a:lnTo>
                    <a:pt x="5852" y="366"/>
                  </a:lnTo>
                  <a:lnTo>
                    <a:pt x="6217" y="61"/>
                  </a:lnTo>
                  <a:lnTo>
                    <a:pt x="5974" y="0"/>
                  </a:lnTo>
                  <a:lnTo>
                    <a:pt x="5852" y="61"/>
                  </a:lnTo>
                  <a:lnTo>
                    <a:pt x="5486" y="244"/>
                  </a:lnTo>
                  <a:lnTo>
                    <a:pt x="4998" y="427"/>
                  </a:lnTo>
                  <a:lnTo>
                    <a:pt x="4450" y="549"/>
                  </a:lnTo>
                  <a:lnTo>
                    <a:pt x="3840" y="610"/>
                  </a:lnTo>
                  <a:lnTo>
                    <a:pt x="3657" y="610"/>
                  </a:lnTo>
                  <a:lnTo>
                    <a:pt x="3109" y="549"/>
                  </a:lnTo>
                  <a:lnTo>
                    <a:pt x="2560" y="427"/>
                  </a:lnTo>
                  <a:lnTo>
                    <a:pt x="2073" y="244"/>
                  </a:lnTo>
                  <a:lnTo>
                    <a:pt x="1585" y="0"/>
                  </a:lnTo>
                  <a:close/>
                </a:path>
              </a:pathLst>
            </a:custGeom>
            <a:solidFill>
              <a:srgbClr val="2550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6" name="Google Shape;1016;p16"/>
            <p:cNvSpPr/>
            <p:nvPr/>
          </p:nvSpPr>
          <p:spPr>
            <a:xfrm>
              <a:off x="4264100" y="3162250"/>
              <a:ext cx="155450" cy="35075"/>
            </a:xfrm>
            <a:custGeom>
              <a:avLst/>
              <a:gdLst/>
              <a:ahLst/>
              <a:cxnLst/>
              <a:rect l="l" t="t" r="r" b="b"/>
              <a:pathLst>
                <a:path w="6218" h="1403" fill="none" extrusionOk="0">
                  <a:moveTo>
                    <a:pt x="5974" y="0"/>
                  </a:moveTo>
                  <a:lnTo>
                    <a:pt x="5974" y="0"/>
                  </a:lnTo>
                  <a:lnTo>
                    <a:pt x="5852" y="61"/>
                  </a:lnTo>
                  <a:lnTo>
                    <a:pt x="5852" y="61"/>
                  </a:lnTo>
                  <a:lnTo>
                    <a:pt x="5486" y="244"/>
                  </a:lnTo>
                  <a:lnTo>
                    <a:pt x="4998" y="427"/>
                  </a:lnTo>
                  <a:lnTo>
                    <a:pt x="4450" y="549"/>
                  </a:lnTo>
                  <a:lnTo>
                    <a:pt x="3840" y="610"/>
                  </a:lnTo>
                  <a:lnTo>
                    <a:pt x="3840" y="610"/>
                  </a:lnTo>
                  <a:lnTo>
                    <a:pt x="3657" y="610"/>
                  </a:lnTo>
                  <a:lnTo>
                    <a:pt x="3657" y="610"/>
                  </a:lnTo>
                  <a:lnTo>
                    <a:pt x="3109" y="549"/>
                  </a:lnTo>
                  <a:lnTo>
                    <a:pt x="2560" y="427"/>
                  </a:lnTo>
                  <a:lnTo>
                    <a:pt x="2073" y="244"/>
                  </a:lnTo>
                  <a:lnTo>
                    <a:pt x="1585" y="0"/>
                  </a:lnTo>
                  <a:lnTo>
                    <a:pt x="1585" y="0"/>
                  </a:lnTo>
                  <a:lnTo>
                    <a:pt x="793" y="305"/>
                  </a:lnTo>
                  <a:lnTo>
                    <a:pt x="0" y="549"/>
                  </a:lnTo>
                  <a:lnTo>
                    <a:pt x="0" y="549"/>
                  </a:lnTo>
                  <a:lnTo>
                    <a:pt x="488" y="793"/>
                  </a:lnTo>
                  <a:lnTo>
                    <a:pt x="1219" y="1097"/>
                  </a:lnTo>
                  <a:lnTo>
                    <a:pt x="2073" y="1280"/>
                  </a:lnTo>
                  <a:lnTo>
                    <a:pt x="2560" y="1341"/>
                  </a:lnTo>
                  <a:lnTo>
                    <a:pt x="3048" y="1402"/>
                  </a:lnTo>
                  <a:lnTo>
                    <a:pt x="3048" y="1402"/>
                  </a:lnTo>
                  <a:lnTo>
                    <a:pt x="3840" y="1341"/>
                  </a:lnTo>
                  <a:lnTo>
                    <a:pt x="4267" y="1219"/>
                  </a:lnTo>
                  <a:lnTo>
                    <a:pt x="4633" y="1097"/>
                  </a:lnTo>
                  <a:lnTo>
                    <a:pt x="5059" y="915"/>
                  </a:lnTo>
                  <a:lnTo>
                    <a:pt x="5486" y="671"/>
                  </a:lnTo>
                  <a:lnTo>
                    <a:pt x="5852" y="366"/>
                  </a:lnTo>
                  <a:lnTo>
                    <a:pt x="6217" y="61"/>
                  </a:lnTo>
                  <a:lnTo>
                    <a:pt x="6217" y="61"/>
                  </a:lnTo>
                  <a:lnTo>
                    <a:pt x="597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7" name="Google Shape;1017;p16"/>
            <p:cNvSpPr/>
            <p:nvPr/>
          </p:nvSpPr>
          <p:spPr>
            <a:xfrm>
              <a:off x="4259525" y="2892525"/>
              <a:ext cx="604975" cy="312400"/>
            </a:xfrm>
            <a:custGeom>
              <a:avLst/>
              <a:gdLst/>
              <a:ahLst/>
              <a:cxnLst/>
              <a:rect l="l" t="t" r="r" b="b"/>
              <a:pathLst>
                <a:path w="24199" h="12496" extrusionOk="0">
                  <a:moveTo>
                    <a:pt x="10058" y="0"/>
                  </a:moveTo>
                  <a:lnTo>
                    <a:pt x="9326" y="61"/>
                  </a:lnTo>
                  <a:lnTo>
                    <a:pt x="8534" y="244"/>
                  </a:lnTo>
                  <a:lnTo>
                    <a:pt x="7802" y="549"/>
                  </a:lnTo>
                  <a:lnTo>
                    <a:pt x="7132" y="915"/>
                  </a:lnTo>
                  <a:lnTo>
                    <a:pt x="6461" y="1402"/>
                  </a:lnTo>
                  <a:lnTo>
                    <a:pt x="5913" y="2012"/>
                  </a:lnTo>
                  <a:lnTo>
                    <a:pt x="5669" y="2378"/>
                  </a:lnTo>
                  <a:lnTo>
                    <a:pt x="5425" y="2743"/>
                  </a:lnTo>
                  <a:lnTo>
                    <a:pt x="5120" y="3292"/>
                  </a:lnTo>
                  <a:lnTo>
                    <a:pt x="4755" y="3719"/>
                  </a:lnTo>
                  <a:lnTo>
                    <a:pt x="4389" y="4084"/>
                  </a:lnTo>
                  <a:lnTo>
                    <a:pt x="4084" y="4389"/>
                  </a:lnTo>
                  <a:lnTo>
                    <a:pt x="3718" y="4633"/>
                  </a:lnTo>
                  <a:lnTo>
                    <a:pt x="3353" y="4816"/>
                  </a:lnTo>
                  <a:lnTo>
                    <a:pt x="2987" y="4877"/>
                  </a:lnTo>
                  <a:lnTo>
                    <a:pt x="2682" y="4938"/>
                  </a:lnTo>
                  <a:lnTo>
                    <a:pt x="2317" y="4999"/>
                  </a:lnTo>
                  <a:lnTo>
                    <a:pt x="1951" y="5060"/>
                  </a:lnTo>
                  <a:lnTo>
                    <a:pt x="1646" y="5181"/>
                  </a:lnTo>
                  <a:lnTo>
                    <a:pt x="1341" y="5364"/>
                  </a:lnTo>
                  <a:lnTo>
                    <a:pt x="1097" y="5547"/>
                  </a:lnTo>
                  <a:lnTo>
                    <a:pt x="854" y="5730"/>
                  </a:lnTo>
                  <a:lnTo>
                    <a:pt x="488" y="6279"/>
                  </a:lnTo>
                  <a:lnTo>
                    <a:pt x="183" y="6827"/>
                  </a:lnTo>
                  <a:lnTo>
                    <a:pt x="61" y="7437"/>
                  </a:lnTo>
                  <a:lnTo>
                    <a:pt x="0" y="8046"/>
                  </a:lnTo>
                  <a:lnTo>
                    <a:pt x="61" y="8595"/>
                  </a:lnTo>
                  <a:lnTo>
                    <a:pt x="244" y="9143"/>
                  </a:lnTo>
                  <a:lnTo>
                    <a:pt x="488" y="9692"/>
                  </a:lnTo>
                  <a:lnTo>
                    <a:pt x="854" y="10119"/>
                  </a:lnTo>
                  <a:lnTo>
                    <a:pt x="1341" y="10545"/>
                  </a:lnTo>
                  <a:lnTo>
                    <a:pt x="1890" y="10850"/>
                  </a:lnTo>
                  <a:lnTo>
                    <a:pt x="2438" y="11094"/>
                  </a:lnTo>
                  <a:lnTo>
                    <a:pt x="3109" y="11277"/>
                  </a:lnTo>
                  <a:lnTo>
                    <a:pt x="3840" y="11399"/>
                  </a:lnTo>
                  <a:lnTo>
                    <a:pt x="4511" y="11338"/>
                  </a:lnTo>
                  <a:lnTo>
                    <a:pt x="5120" y="11216"/>
                  </a:lnTo>
                  <a:lnTo>
                    <a:pt x="5608" y="11033"/>
                  </a:lnTo>
                  <a:lnTo>
                    <a:pt x="6035" y="10850"/>
                  </a:lnTo>
                  <a:lnTo>
                    <a:pt x="6827" y="10363"/>
                  </a:lnTo>
                  <a:lnTo>
                    <a:pt x="7193" y="10302"/>
                  </a:lnTo>
                  <a:lnTo>
                    <a:pt x="7315" y="10241"/>
                  </a:lnTo>
                  <a:lnTo>
                    <a:pt x="7437" y="10302"/>
                  </a:lnTo>
                  <a:lnTo>
                    <a:pt x="8351" y="10789"/>
                  </a:lnTo>
                  <a:lnTo>
                    <a:pt x="9021" y="11155"/>
                  </a:lnTo>
                  <a:lnTo>
                    <a:pt x="9814" y="11582"/>
                  </a:lnTo>
                  <a:lnTo>
                    <a:pt x="10667" y="11947"/>
                  </a:lnTo>
                  <a:lnTo>
                    <a:pt x="11642" y="12252"/>
                  </a:lnTo>
                  <a:lnTo>
                    <a:pt x="12130" y="12374"/>
                  </a:lnTo>
                  <a:lnTo>
                    <a:pt x="12618" y="12435"/>
                  </a:lnTo>
                  <a:lnTo>
                    <a:pt x="13105" y="12496"/>
                  </a:lnTo>
                  <a:lnTo>
                    <a:pt x="13654" y="12435"/>
                  </a:lnTo>
                  <a:lnTo>
                    <a:pt x="14142" y="12374"/>
                  </a:lnTo>
                  <a:lnTo>
                    <a:pt x="14568" y="12313"/>
                  </a:lnTo>
                  <a:lnTo>
                    <a:pt x="14995" y="12130"/>
                  </a:lnTo>
                  <a:lnTo>
                    <a:pt x="15361" y="12008"/>
                  </a:lnTo>
                  <a:lnTo>
                    <a:pt x="16031" y="11582"/>
                  </a:lnTo>
                  <a:lnTo>
                    <a:pt x="16580" y="11155"/>
                  </a:lnTo>
                  <a:lnTo>
                    <a:pt x="17494" y="10241"/>
                  </a:lnTo>
                  <a:lnTo>
                    <a:pt x="17860" y="9936"/>
                  </a:lnTo>
                  <a:lnTo>
                    <a:pt x="18225" y="9753"/>
                  </a:lnTo>
                  <a:lnTo>
                    <a:pt x="18530" y="9631"/>
                  </a:lnTo>
                  <a:lnTo>
                    <a:pt x="19079" y="9631"/>
                  </a:lnTo>
                  <a:lnTo>
                    <a:pt x="19384" y="9692"/>
                  </a:lnTo>
                  <a:lnTo>
                    <a:pt x="19993" y="9997"/>
                  </a:lnTo>
                  <a:lnTo>
                    <a:pt x="20724" y="10363"/>
                  </a:lnTo>
                  <a:lnTo>
                    <a:pt x="21151" y="10545"/>
                  </a:lnTo>
                  <a:lnTo>
                    <a:pt x="21639" y="10667"/>
                  </a:lnTo>
                  <a:lnTo>
                    <a:pt x="22065" y="10667"/>
                  </a:lnTo>
                  <a:lnTo>
                    <a:pt x="22492" y="10606"/>
                  </a:lnTo>
                  <a:lnTo>
                    <a:pt x="22919" y="10484"/>
                  </a:lnTo>
                  <a:lnTo>
                    <a:pt x="23224" y="10302"/>
                  </a:lnTo>
                  <a:lnTo>
                    <a:pt x="23528" y="10119"/>
                  </a:lnTo>
                  <a:lnTo>
                    <a:pt x="23772" y="9875"/>
                  </a:lnTo>
                  <a:lnTo>
                    <a:pt x="24016" y="9509"/>
                  </a:lnTo>
                  <a:lnTo>
                    <a:pt x="24138" y="9265"/>
                  </a:lnTo>
                  <a:lnTo>
                    <a:pt x="24199" y="8961"/>
                  </a:lnTo>
                  <a:lnTo>
                    <a:pt x="24199" y="8656"/>
                  </a:lnTo>
                  <a:lnTo>
                    <a:pt x="24077" y="8290"/>
                  </a:lnTo>
                  <a:lnTo>
                    <a:pt x="23894" y="7985"/>
                  </a:lnTo>
                  <a:lnTo>
                    <a:pt x="23528" y="7559"/>
                  </a:lnTo>
                  <a:lnTo>
                    <a:pt x="23224" y="7376"/>
                  </a:lnTo>
                  <a:lnTo>
                    <a:pt x="22919" y="7254"/>
                  </a:lnTo>
                  <a:lnTo>
                    <a:pt x="22248" y="7132"/>
                  </a:lnTo>
                  <a:lnTo>
                    <a:pt x="21944" y="7071"/>
                  </a:lnTo>
                  <a:lnTo>
                    <a:pt x="21639" y="6888"/>
                  </a:lnTo>
                  <a:lnTo>
                    <a:pt x="21395" y="6644"/>
                  </a:lnTo>
                  <a:lnTo>
                    <a:pt x="21151" y="6279"/>
                  </a:lnTo>
                  <a:lnTo>
                    <a:pt x="20968" y="5913"/>
                  </a:lnTo>
                  <a:lnTo>
                    <a:pt x="20724" y="5608"/>
                  </a:lnTo>
                  <a:lnTo>
                    <a:pt x="20542" y="5364"/>
                  </a:lnTo>
                  <a:lnTo>
                    <a:pt x="20298" y="5181"/>
                  </a:lnTo>
                  <a:lnTo>
                    <a:pt x="20054" y="4999"/>
                  </a:lnTo>
                  <a:lnTo>
                    <a:pt x="19810" y="4877"/>
                  </a:lnTo>
                  <a:lnTo>
                    <a:pt x="19323" y="4755"/>
                  </a:lnTo>
                  <a:lnTo>
                    <a:pt x="18835" y="4816"/>
                  </a:lnTo>
                  <a:lnTo>
                    <a:pt x="18347" y="4938"/>
                  </a:lnTo>
                  <a:lnTo>
                    <a:pt x="17921" y="5121"/>
                  </a:lnTo>
                  <a:lnTo>
                    <a:pt x="17555" y="5364"/>
                  </a:lnTo>
                  <a:lnTo>
                    <a:pt x="17372" y="5486"/>
                  </a:lnTo>
                  <a:lnTo>
                    <a:pt x="17128" y="5547"/>
                  </a:lnTo>
                  <a:lnTo>
                    <a:pt x="16884" y="5608"/>
                  </a:lnTo>
                  <a:lnTo>
                    <a:pt x="16580" y="5608"/>
                  </a:lnTo>
                  <a:lnTo>
                    <a:pt x="16275" y="5547"/>
                  </a:lnTo>
                  <a:lnTo>
                    <a:pt x="15970" y="5425"/>
                  </a:lnTo>
                  <a:lnTo>
                    <a:pt x="15665" y="5303"/>
                  </a:lnTo>
                  <a:lnTo>
                    <a:pt x="15361" y="5121"/>
                  </a:lnTo>
                  <a:lnTo>
                    <a:pt x="14934" y="4816"/>
                  </a:lnTo>
                  <a:lnTo>
                    <a:pt x="14629" y="4389"/>
                  </a:lnTo>
                  <a:lnTo>
                    <a:pt x="14385" y="3962"/>
                  </a:lnTo>
                  <a:lnTo>
                    <a:pt x="14263" y="3536"/>
                  </a:lnTo>
                  <a:lnTo>
                    <a:pt x="13959" y="2621"/>
                  </a:lnTo>
                  <a:lnTo>
                    <a:pt x="13776" y="1951"/>
                  </a:lnTo>
                  <a:lnTo>
                    <a:pt x="13654" y="1707"/>
                  </a:lnTo>
                  <a:lnTo>
                    <a:pt x="13410" y="1402"/>
                  </a:lnTo>
                  <a:lnTo>
                    <a:pt x="13227" y="1098"/>
                  </a:lnTo>
                  <a:lnTo>
                    <a:pt x="12922" y="854"/>
                  </a:lnTo>
                  <a:lnTo>
                    <a:pt x="12496" y="610"/>
                  </a:lnTo>
                  <a:lnTo>
                    <a:pt x="12069" y="366"/>
                  </a:lnTo>
                  <a:lnTo>
                    <a:pt x="11521" y="183"/>
                  </a:lnTo>
                  <a:lnTo>
                    <a:pt x="10789" y="61"/>
                  </a:lnTo>
                  <a:lnTo>
                    <a:pt x="10058" y="0"/>
                  </a:lnTo>
                  <a:close/>
                </a:path>
              </a:pathLst>
            </a:custGeom>
            <a:solidFill>
              <a:srgbClr val="195C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8" name="Google Shape;1018;p16"/>
            <p:cNvSpPr/>
            <p:nvPr/>
          </p:nvSpPr>
          <p:spPr>
            <a:xfrm>
              <a:off x="4259525" y="2892525"/>
              <a:ext cx="604975" cy="312400"/>
            </a:xfrm>
            <a:custGeom>
              <a:avLst/>
              <a:gdLst/>
              <a:ahLst/>
              <a:cxnLst/>
              <a:rect l="l" t="t" r="r" b="b"/>
              <a:pathLst>
                <a:path w="24199" h="12496" fill="none" extrusionOk="0">
                  <a:moveTo>
                    <a:pt x="15361" y="5121"/>
                  </a:moveTo>
                  <a:lnTo>
                    <a:pt x="15361" y="5121"/>
                  </a:lnTo>
                  <a:lnTo>
                    <a:pt x="15665" y="5303"/>
                  </a:lnTo>
                  <a:lnTo>
                    <a:pt x="15970" y="5425"/>
                  </a:lnTo>
                  <a:lnTo>
                    <a:pt x="16275" y="5547"/>
                  </a:lnTo>
                  <a:lnTo>
                    <a:pt x="16580" y="5608"/>
                  </a:lnTo>
                  <a:lnTo>
                    <a:pt x="16884" y="5608"/>
                  </a:lnTo>
                  <a:lnTo>
                    <a:pt x="17128" y="5547"/>
                  </a:lnTo>
                  <a:lnTo>
                    <a:pt x="17372" y="5486"/>
                  </a:lnTo>
                  <a:lnTo>
                    <a:pt x="17555" y="5364"/>
                  </a:lnTo>
                  <a:lnTo>
                    <a:pt x="17555" y="5364"/>
                  </a:lnTo>
                  <a:lnTo>
                    <a:pt x="17921" y="5121"/>
                  </a:lnTo>
                  <a:lnTo>
                    <a:pt x="18347" y="4938"/>
                  </a:lnTo>
                  <a:lnTo>
                    <a:pt x="18835" y="4816"/>
                  </a:lnTo>
                  <a:lnTo>
                    <a:pt x="19323" y="4755"/>
                  </a:lnTo>
                  <a:lnTo>
                    <a:pt x="19810" y="4877"/>
                  </a:lnTo>
                  <a:lnTo>
                    <a:pt x="20054" y="4999"/>
                  </a:lnTo>
                  <a:lnTo>
                    <a:pt x="20298" y="5181"/>
                  </a:lnTo>
                  <a:lnTo>
                    <a:pt x="20542" y="5364"/>
                  </a:lnTo>
                  <a:lnTo>
                    <a:pt x="20724" y="5608"/>
                  </a:lnTo>
                  <a:lnTo>
                    <a:pt x="20968" y="5913"/>
                  </a:lnTo>
                  <a:lnTo>
                    <a:pt x="21151" y="6279"/>
                  </a:lnTo>
                  <a:lnTo>
                    <a:pt x="21151" y="6279"/>
                  </a:lnTo>
                  <a:lnTo>
                    <a:pt x="21395" y="6644"/>
                  </a:lnTo>
                  <a:lnTo>
                    <a:pt x="21639" y="6888"/>
                  </a:lnTo>
                  <a:lnTo>
                    <a:pt x="21944" y="7071"/>
                  </a:lnTo>
                  <a:lnTo>
                    <a:pt x="22248" y="7132"/>
                  </a:lnTo>
                  <a:lnTo>
                    <a:pt x="22919" y="7254"/>
                  </a:lnTo>
                  <a:lnTo>
                    <a:pt x="23224" y="7376"/>
                  </a:lnTo>
                  <a:lnTo>
                    <a:pt x="23528" y="7559"/>
                  </a:lnTo>
                  <a:lnTo>
                    <a:pt x="23528" y="7559"/>
                  </a:lnTo>
                  <a:lnTo>
                    <a:pt x="23894" y="7985"/>
                  </a:lnTo>
                  <a:lnTo>
                    <a:pt x="24077" y="8290"/>
                  </a:lnTo>
                  <a:lnTo>
                    <a:pt x="24199" y="8656"/>
                  </a:lnTo>
                  <a:lnTo>
                    <a:pt x="24199" y="8961"/>
                  </a:lnTo>
                  <a:lnTo>
                    <a:pt x="24138" y="9265"/>
                  </a:lnTo>
                  <a:lnTo>
                    <a:pt x="24016" y="9509"/>
                  </a:lnTo>
                  <a:lnTo>
                    <a:pt x="23772" y="9875"/>
                  </a:lnTo>
                  <a:lnTo>
                    <a:pt x="23772" y="9875"/>
                  </a:lnTo>
                  <a:lnTo>
                    <a:pt x="23528" y="10119"/>
                  </a:lnTo>
                  <a:lnTo>
                    <a:pt x="23224" y="10302"/>
                  </a:lnTo>
                  <a:lnTo>
                    <a:pt x="22919" y="10484"/>
                  </a:lnTo>
                  <a:lnTo>
                    <a:pt x="22492" y="10606"/>
                  </a:lnTo>
                  <a:lnTo>
                    <a:pt x="22065" y="10667"/>
                  </a:lnTo>
                  <a:lnTo>
                    <a:pt x="21639" y="10667"/>
                  </a:lnTo>
                  <a:lnTo>
                    <a:pt x="21151" y="10545"/>
                  </a:lnTo>
                  <a:lnTo>
                    <a:pt x="20724" y="10363"/>
                  </a:lnTo>
                  <a:lnTo>
                    <a:pt x="20724" y="10363"/>
                  </a:lnTo>
                  <a:lnTo>
                    <a:pt x="19993" y="9997"/>
                  </a:lnTo>
                  <a:lnTo>
                    <a:pt x="19384" y="9692"/>
                  </a:lnTo>
                  <a:lnTo>
                    <a:pt x="19079" y="9631"/>
                  </a:lnTo>
                  <a:lnTo>
                    <a:pt x="18835" y="9631"/>
                  </a:lnTo>
                  <a:lnTo>
                    <a:pt x="18530" y="9631"/>
                  </a:lnTo>
                  <a:lnTo>
                    <a:pt x="18225" y="9753"/>
                  </a:lnTo>
                  <a:lnTo>
                    <a:pt x="18225" y="9753"/>
                  </a:lnTo>
                  <a:lnTo>
                    <a:pt x="17860" y="9936"/>
                  </a:lnTo>
                  <a:lnTo>
                    <a:pt x="17494" y="10241"/>
                  </a:lnTo>
                  <a:lnTo>
                    <a:pt x="16580" y="11155"/>
                  </a:lnTo>
                  <a:lnTo>
                    <a:pt x="16031" y="11582"/>
                  </a:lnTo>
                  <a:lnTo>
                    <a:pt x="15361" y="12008"/>
                  </a:lnTo>
                  <a:lnTo>
                    <a:pt x="14995" y="12130"/>
                  </a:lnTo>
                  <a:lnTo>
                    <a:pt x="14568" y="12313"/>
                  </a:lnTo>
                  <a:lnTo>
                    <a:pt x="14142" y="12374"/>
                  </a:lnTo>
                  <a:lnTo>
                    <a:pt x="13654" y="12435"/>
                  </a:lnTo>
                  <a:lnTo>
                    <a:pt x="13654" y="12435"/>
                  </a:lnTo>
                  <a:lnTo>
                    <a:pt x="13105" y="12496"/>
                  </a:lnTo>
                  <a:lnTo>
                    <a:pt x="12618" y="12435"/>
                  </a:lnTo>
                  <a:lnTo>
                    <a:pt x="12130" y="12374"/>
                  </a:lnTo>
                  <a:lnTo>
                    <a:pt x="11642" y="12252"/>
                  </a:lnTo>
                  <a:lnTo>
                    <a:pt x="10667" y="11947"/>
                  </a:lnTo>
                  <a:lnTo>
                    <a:pt x="9814" y="11582"/>
                  </a:lnTo>
                  <a:lnTo>
                    <a:pt x="9021" y="11155"/>
                  </a:lnTo>
                  <a:lnTo>
                    <a:pt x="8351" y="10789"/>
                  </a:lnTo>
                  <a:lnTo>
                    <a:pt x="7437" y="10302"/>
                  </a:lnTo>
                  <a:lnTo>
                    <a:pt x="7437" y="10302"/>
                  </a:lnTo>
                  <a:lnTo>
                    <a:pt x="7315" y="10241"/>
                  </a:lnTo>
                  <a:lnTo>
                    <a:pt x="7193" y="10302"/>
                  </a:lnTo>
                  <a:lnTo>
                    <a:pt x="6827" y="10363"/>
                  </a:lnTo>
                  <a:lnTo>
                    <a:pt x="6035" y="10850"/>
                  </a:lnTo>
                  <a:lnTo>
                    <a:pt x="6035" y="10850"/>
                  </a:lnTo>
                  <a:lnTo>
                    <a:pt x="5608" y="11033"/>
                  </a:lnTo>
                  <a:lnTo>
                    <a:pt x="5120" y="11216"/>
                  </a:lnTo>
                  <a:lnTo>
                    <a:pt x="4511" y="11338"/>
                  </a:lnTo>
                  <a:lnTo>
                    <a:pt x="3840" y="11399"/>
                  </a:lnTo>
                  <a:lnTo>
                    <a:pt x="3840" y="11399"/>
                  </a:lnTo>
                  <a:lnTo>
                    <a:pt x="3109" y="11277"/>
                  </a:lnTo>
                  <a:lnTo>
                    <a:pt x="2438" y="11094"/>
                  </a:lnTo>
                  <a:lnTo>
                    <a:pt x="1890" y="10850"/>
                  </a:lnTo>
                  <a:lnTo>
                    <a:pt x="1341" y="10545"/>
                  </a:lnTo>
                  <a:lnTo>
                    <a:pt x="854" y="10119"/>
                  </a:lnTo>
                  <a:lnTo>
                    <a:pt x="488" y="9692"/>
                  </a:lnTo>
                  <a:lnTo>
                    <a:pt x="244" y="9143"/>
                  </a:lnTo>
                  <a:lnTo>
                    <a:pt x="61" y="8595"/>
                  </a:lnTo>
                  <a:lnTo>
                    <a:pt x="61" y="8595"/>
                  </a:lnTo>
                  <a:lnTo>
                    <a:pt x="0" y="8046"/>
                  </a:lnTo>
                  <a:lnTo>
                    <a:pt x="61" y="7437"/>
                  </a:lnTo>
                  <a:lnTo>
                    <a:pt x="183" y="6827"/>
                  </a:lnTo>
                  <a:lnTo>
                    <a:pt x="488" y="6279"/>
                  </a:lnTo>
                  <a:lnTo>
                    <a:pt x="854" y="5730"/>
                  </a:lnTo>
                  <a:lnTo>
                    <a:pt x="1097" y="5547"/>
                  </a:lnTo>
                  <a:lnTo>
                    <a:pt x="1341" y="5364"/>
                  </a:lnTo>
                  <a:lnTo>
                    <a:pt x="1646" y="5181"/>
                  </a:lnTo>
                  <a:lnTo>
                    <a:pt x="1951" y="5060"/>
                  </a:lnTo>
                  <a:lnTo>
                    <a:pt x="2317" y="4999"/>
                  </a:lnTo>
                  <a:lnTo>
                    <a:pt x="2682" y="4938"/>
                  </a:lnTo>
                  <a:lnTo>
                    <a:pt x="2682" y="4938"/>
                  </a:lnTo>
                  <a:lnTo>
                    <a:pt x="2987" y="4877"/>
                  </a:lnTo>
                  <a:lnTo>
                    <a:pt x="3353" y="4816"/>
                  </a:lnTo>
                  <a:lnTo>
                    <a:pt x="3718" y="4633"/>
                  </a:lnTo>
                  <a:lnTo>
                    <a:pt x="4084" y="4389"/>
                  </a:lnTo>
                  <a:lnTo>
                    <a:pt x="4389" y="4084"/>
                  </a:lnTo>
                  <a:lnTo>
                    <a:pt x="4755" y="3719"/>
                  </a:lnTo>
                  <a:lnTo>
                    <a:pt x="5120" y="3292"/>
                  </a:lnTo>
                  <a:lnTo>
                    <a:pt x="5425" y="2743"/>
                  </a:lnTo>
                  <a:lnTo>
                    <a:pt x="5425" y="2743"/>
                  </a:lnTo>
                  <a:lnTo>
                    <a:pt x="5669" y="2378"/>
                  </a:lnTo>
                  <a:lnTo>
                    <a:pt x="5913" y="2012"/>
                  </a:lnTo>
                  <a:lnTo>
                    <a:pt x="6461" y="1402"/>
                  </a:lnTo>
                  <a:lnTo>
                    <a:pt x="7132" y="915"/>
                  </a:lnTo>
                  <a:lnTo>
                    <a:pt x="7802" y="549"/>
                  </a:lnTo>
                  <a:lnTo>
                    <a:pt x="8534" y="244"/>
                  </a:lnTo>
                  <a:lnTo>
                    <a:pt x="9326" y="61"/>
                  </a:lnTo>
                  <a:lnTo>
                    <a:pt x="10058" y="0"/>
                  </a:lnTo>
                  <a:lnTo>
                    <a:pt x="10789" y="61"/>
                  </a:lnTo>
                  <a:lnTo>
                    <a:pt x="10789" y="61"/>
                  </a:lnTo>
                  <a:lnTo>
                    <a:pt x="11521" y="183"/>
                  </a:lnTo>
                  <a:lnTo>
                    <a:pt x="12069" y="366"/>
                  </a:lnTo>
                  <a:lnTo>
                    <a:pt x="12496" y="610"/>
                  </a:lnTo>
                  <a:lnTo>
                    <a:pt x="12922" y="854"/>
                  </a:lnTo>
                  <a:lnTo>
                    <a:pt x="13227" y="1098"/>
                  </a:lnTo>
                  <a:lnTo>
                    <a:pt x="13410" y="1402"/>
                  </a:lnTo>
                  <a:lnTo>
                    <a:pt x="13654" y="1707"/>
                  </a:lnTo>
                  <a:lnTo>
                    <a:pt x="13776" y="1951"/>
                  </a:lnTo>
                  <a:lnTo>
                    <a:pt x="13776" y="1951"/>
                  </a:lnTo>
                  <a:lnTo>
                    <a:pt x="13959" y="2621"/>
                  </a:lnTo>
                  <a:lnTo>
                    <a:pt x="14263" y="3536"/>
                  </a:lnTo>
                  <a:lnTo>
                    <a:pt x="14385" y="3962"/>
                  </a:lnTo>
                  <a:lnTo>
                    <a:pt x="14629" y="4389"/>
                  </a:lnTo>
                  <a:lnTo>
                    <a:pt x="14934" y="4816"/>
                  </a:lnTo>
                  <a:lnTo>
                    <a:pt x="15361" y="512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9" name="Google Shape;1019;p16"/>
            <p:cNvSpPr/>
            <p:nvPr/>
          </p:nvSpPr>
          <p:spPr>
            <a:xfrm>
              <a:off x="4302175" y="3988175"/>
              <a:ext cx="237750" cy="190500"/>
            </a:xfrm>
            <a:custGeom>
              <a:avLst/>
              <a:gdLst/>
              <a:ahLst/>
              <a:cxnLst/>
              <a:rect l="l" t="t" r="r" b="b"/>
              <a:pathLst>
                <a:path w="9510" h="7620" extrusionOk="0">
                  <a:moveTo>
                    <a:pt x="123" y="7497"/>
                  </a:moveTo>
                  <a:lnTo>
                    <a:pt x="123" y="7497"/>
                  </a:lnTo>
                  <a:lnTo>
                    <a:pt x="1" y="7619"/>
                  </a:lnTo>
                  <a:lnTo>
                    <a:pt x="1" y="7619"/>
                  </a:lnTo>
                  <a:lnTo>
                    <a:pt x="123" y="7497"/>
                  </a:lnTo>
                  <a:lnTo>
                    <a:pt x="123" y="7497"/>
                  </a:lnTo>
                  <a:close/>
                  <a:moveTo>
                    <a:pt x="1891" y="5425"/>
                  </a:moveTo>
                  <a:lnTo>
                    <a:pt x="1891" y="5425"/>
                  </a:lnTo>
                  <a:lnTo>
                    <a:pt x="1220" y="6217"/>
                  </a:lnTo>
                  <a:lnTo>
                    <a:pt x="550" y="7071"/>
                  </a:lnTo>
                  <a:lnTo>
                    <a:pt x="550" y="7071"/>
                  </a:lnTo>
                  <a:lnTo>
                    <a:pt x="550" y="7071"/>
                  </a:lnTo>
                  <a:lnTo>
                    <a:pt x="1220" y="6217"/>
                  </a:lnTo>
                  <a:lnTo>
                    <a:pt x="1891" y="5425"/>
                  </a:lnTo>
                  <a:lnTo>
                    <a:pt x="1891" y="5425"/>
                  </a:lnTo>
                  <a:lnTo>
                    <a:pt x="1891" y="5425"/>
                  </a:lnTo>
                  <a:close/>
                  <a:moveTo>
                    <a:pt x="3841" y="3718"/>
                  </a:moveTo>
                  <a:lnTo>
                    <a:pt x="3841" y="3718"/>
                  </a:lnTo>
                  <a:lnTo>
                    <a:pt x="3414" y="4023"/>
                  </a:lnTo>
                  <a:lnTo>
                    <a:pt x="2927" y="4328"/>
                  </a:lnTo>
                  <a:lnTo>
                    <a:pt x="2927" y="4328"/>
                  </a:lnTo>
                  <a:lnTo>
                    <a:pt x="2378" y="4815"/>
                  </a:lnTo>
                  <a:lnTo>
                    <a:pt x="2378" y="4815"/>
                  </a:lnTo>
                  <a:lnTo>
                    <a:pt x="2378" y="4815"/>
                  </a:lnTo>
                  <a:lnTo>
                    <a:pt x="2378" y="4815"/>
                  </a:lnTo>
                  <a:lnTo>
                    <a:pt x="2927" y="4328"/>
                  </a:lnTo>
                  <a:lnTo>
                    <a:pt x="2927" y="4328"/>
                  </a:lnTo>
                  <a:lnTo>
                    <a:pt x="3414" y="4023"/>
                  </a:lnTo>
                  <a:lnTo>
                    <a:pt x="3841" y="3718"/>
                  </a:lnTo>
                  <a:lnTo>
                    <a:pt x="3841" y="3718"/>
                  </a:lnTo>
                  <a:lnTo>
                    <a:pt x="3841" y="3718"/>
                  </a:lnTo>
                  <a:close/>
                  <a:moveTo>
                    <a:pt x="6035" y="2926"/>
                  </a:moveTo>
                  <a:lnTo>
                    <a:pt x="6035" y="2926"/>
                  </a:lnTo>
                  <a:lnTo>
                    <a:pt x="5182" y="3170"/>
                  </a:lnTo>
                  <a:lnTo>
                    <a:pt x="4329" y="3474"/>
                  </a:lnTo>
                  <a:lnTo>
                    <a:pt x="4329" y="3474"/>
                  </a:lnTo>
                  <a:lnTo>
                    <a:pt x="4329" y="3474"/>
                  </a:lnTo>
                  <a:lnTo>
                    <a:pt x="4329" y="3474"/>
                  </a:lnTo>
                  <a:lnTo>
                    <a:pt x="5182" y="3170"/>
                  </a:lnTo>
                  <a:lnTo>
                    <a:pt x="6035" y="2926"/>
                  </a:lnTo>
                  <a:close/>
                  <a:moveTo>
                    <a:pt x="6035" y="2865"/>
                  </a:moveTo>
                  <a:lnTo>
                    <a:pt x="6035" y="2865"/>
                  </a:lnTo>
                  <a:lnTo>
                    <a:pt x="6035" y="2865"/>
                  </a:lnTo>
                  <a:lnTo>
                    <a:pt x="6035" y="2865"/>
                  </a:lnTo>
                  <a:lnTo>
                    <a:pt x="6035" y="2865"/>
                  </a:lnTo>
                  <a:close/>
                  <a:moveTo>
                    <a:pt x="8291" y="1951"/>
                  </a:moveTo>
                  <a:lnTo>
                    <a:pt x="8291" y="1951"/>
                  </a:lnTo>
                  <a:lnTo>
                    <a:pt x="8291" y="1951"/>
                  </a:lnTo>
                  <a:lnTo>
                    <a:pt x="8291" y="1951"/>
                  </a:lnTo>
                  <a:lnTo>
                    <a:pt x="8291" y="1951"/>
                  </a:lnTo>
                  <a:close/>
                  <a:moveTo>
                    <a:pt x="8291" y="1951"/>
                  </a:moveTo>
                  <a:lnTo>
                    <a:pt x="8291" y="1951"/>
                  </a:lnTo>
                  <a:lnTo>
                    <a:pt x="8291" y="1951"/>
                  </a:lnTo>
                  <a:lnTo>
                    <a:pt x="8291" y="1951"/>
                  </a:lnTo>
                  <a:lnTo>
                    <a:pt x="8291" y="1951"/>
                  </a:lnTo>
                  <a:close/>
                  <a:moveTo>
                    <a:pt x="9510" y="0"/>
                  </a:moveTo>
                  <a:lnTo>
                    <a:pt x="9510" y="0"/>
                  </a:lnTo>
                  <a:lnTo>
                    <a:pt x="9327" y="549"/>
                  </a:lnTo>
                  <a:lnTo>
                    <a:pt x="9022" y="1097"/>
                  </a:lnTo>
                  <a:lnTo>
                    <a:pt x="8717" y="1524"/>
                  </a:lnTo>
                  <a:lnTo>
                    <a:pt x="8291" y="1951"/>
                  </a:lnTo>
                  <a:lnTo>
                    <a:pt x="8291" y="1951"/>
                  </a:lnTo>
                  <a:lnTo>
                    <a:pt x="8717" y="1524"/>
                  </a:lnTo>
                  <a:lnTo>
                    <a:pt x="9022" y="1097"/>
                  </a:lnTo>
                  <a:lnTo>
                    <a:pt x="9327" y="549"/>
                  </a:lnTo>
                  <a:lnTo>
                    <a:pt x="9510" y="0"/>
                  </a:lnTo>
                  <a:lnTo>
                    <a:pt x="9510" y="0"/>
                  </a:lnTo>
                  <a:close/>
                </a:path>
              </a:pathLst>
            </a:custGeom>
            <a:solidFill>
              <a:srgbClr val="B4B0B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0" name="Google Shape;1020;p16"/>
            <p:cNvSpPr/>
            <p:nvPr/>
          </p:nvSpPr>
          <p:spPr>
            <a:xfrm>
              <a:off x="4302175" y="4175600"/>
              <a:ext cx="3075" cy="3075"/>
            </a:xfrm>
            <a:custGeom>
              <a:avLst/>
              <a:gdLst/>
              <a:ahLst/>
              <a:cxnLst/>
              <a:rect l="l" t="t" r="r" b="b"/>
              <a:pathLst>
                <a:path w="123" h="123" fill="none" extrusionOk="0">
                  <a:moveTo>
                    <a:pt x="123" y="0"/>
                  </a:moveTo>
                  <a:lnTo>
                    <a:pt x="123" y="0"/>
                  </a:lnTo>
                  <a:lnTo>
                    <a:pt x="1" y="122"/>
                  </a:lnTo>
                  <a:lnTo>
                    <a:pt x="1" y="122"/>
                  </a:lnTo>
                  <a:lnTo>
                    <a:pt x="123" y="0"/>
                  </a:lnTo>
                  <a:lnTo>
                    <a:pt x="12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6"/>
            <p:cNvSpPr/>
            <p:nvPr/>
          </p:nvSpPr>
          <p:spPr>
            <a:xfrm>
              <a:off x="4315900" y="4123775"/>
              <a:ext cx="33550" cy="41175"/>
            </a:xfrm>
            <a:custGeom>
              <a:avLst/>
              <a:gdLst/>
              <a:ahLst/>
              <a:cxnLst/>
              <a:rect l="l" t="t" r="r" b="b"/>
              <a:pathLst>
                <a:path w="1342" h="1647" fill="none" extrusionOk="0">
                  <a:moveTo>
                    <a:pt x="1342" y="1"/>
                  </a:moveTo>
                  <a:lnTo>
                    <a:pt x="1342" y="1"/>
                  </a:lnTo>
                  <a:lnTo>
                    <a:pt x="671" y="793"/>
                  </a:lnTo>
                  <a:lnTo>
                    <a:pt x="1" y="1647"/>
                  </a:lnTo>
                  <a:lnTo>
                    <a:pt x="1" y="1647"/>
                  </a:lnTo>
                  <a:lnTo>
                    <a:pt x="1" y="1647"/>
                  </a:lnTo>
                  <a:lnTo>
                    <a:pt x="671" y="793"/>
                  </a:lnTo>
                  <a:lnTo>
                    <a:pt x="1342" y="1"/>
                  </a:lnTo>
                  <a:lnTo>
                    <a:pt x="1342" y="1"/>
                  </a:lnTo>
                  <a:lnTo>
                    <a:pt x="134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2" name="Google Shape;1022;p16"/>
            <p:cNvSpPr/>
            <p:nvPr/>
          </p:nvSpPr>
          <p:spPr>
            <a:xfrm>
              <a:off x="4361625" y="4081125"/>
              <a:ext cx="36600" cy="27450"/>
            </a:xfrm>
            <a:custGeom>
              <a:avLst/>
              <a:gdLst/>
              <a:ahLst/>
              <a:cxnLst/>
              <a:rect l="l" t="t" r="r" b="b"/>
              <a:pathLst>
                <a:path w="1464" h="1098" fill="none" extrusionOk="0">
                  <a:moveTo>
                    <a:pt x="1463" y="0"/>
                  </a:moveTo>
                  <a:lnTo>
                    <a:pt x="1463" y="0"/>
                  </a:lnTo>
                  <a:lnTo>
                    <a:pt x="1036" y="305"/>
                  </a:lnTo>
                  <a:lnTo>
                    <a:pt x="549" y="610"/>
                  </a:lnTo>
                  <a:lnTo>
                    <a:pt x="549" y="610"/>
                  </a:lnTo>
                  <a:lnTo>
                    <a:pt x="0" y="1097"/>
                  </a:lnTo>
                  <a:lnTo>
                    <a:pt x="0" y="1097"/>
                  </a:lnTo>
                  <a:lnTo>
                    <a:pt x="0" y="1097"/>
                  </a:lnTo>
                  <a:lnTo>
                    <a:pt x="0" y="1097"/>
                  </a:lnTo>
                  <a:lnTo>
                    <a:pt x="549" y="610"/>
                  </a:lnTo>
                  <a:lnTo>
                    <a:pt x="549" y="610"/>
                  </a:lnTo>
                  <a:lnTo>
                    <a:pt x="1036" y="305"/>
                  </a:lnTo>
                  <a:lnTo>
                    <a:pt x="1463" y="0"/>
                  </a:lnTo>
                  <a:lnTo>
                    <a:pt x="1463" y="0"/>
                  </a:lnTo>
                  <a:lnTo>
                    <a:pt x="146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3" name="Google Shape;1023;p16"/>
            <p:cNvSpPr/>
            <p:nvPr/>
          </p:nvSpPr>
          <p:spPr>
            <a:xfrm>
              <a:off x="4410375" y="4061300"/>
              <a:ext cx="42700" cy="13750"/>
            </a:xfrm>
            <a:custGeom>
              <a:avLst/>
              <a:gdLst/>
              <a:ahLst/>
              <a:cxnLst/>
              <a:rect l="l" t="t" r="r" b="b"/>
              <a:pathLst>
                <a:path w="1708" h="550" fill="none" extrusionOk="0">
                  <a:moveTo>
                    <a:pt x="1707" y="1"/>
                  </a:moveTo>
                  <a:lnTo>
                    <a:pt x="1707" y="1"/>
                  </a:lnTo>
                  <a:lnTo>
                    <a:pt x="854" y="245"/>
                  </a:lnTo>
                  <a:lnTo>
                    <a:pt x="1" y="549"/>
                  </a:lnTo>
                  <a:lnTo>
                    <a:pt x="1" y="549"/>
                  </a:lnTo>
                  <a:lnTo>
                    <a:pt x="1" y="549"/>
                  </a:lnTo>
                  <a:lnTo>
                    <a:pt x="1" y="549"/>
                  </a:lnTo>
                  <a:lnTo>
                    <a:pt x="854" y="245"/>
                  </a:lnTo>
                  <a:lnTo>
                    <a:pt x="170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6"/>
            <p:cNvSpPr/>
            <p:nvPr/>
          </p:nvSpPr>
          <p:spPr>
            <a:xfrm>
              <a:off x="4453050" y="40597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5" name="Google Shape;1025;p16"/>
            <p:cNvSpPr/>
            <p:nvPr/>
          </p:nvSpPr>
          <p:spPr>
            <a:xfrm>
              <a:off x="4509425" y="403692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6" name="Google Shape;1026;p16"/>
            <p:cNvSpPr/>
            <p:nvPr/>
          </p:nvSpPr>
          <p:spPr>
            <a:xfrm>
              <a:off x="4509425" y="403692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6"/>
            <p:cNvSpPr/>
            <p:nvPr/>
          </p:nvSpPr>
          <p:spPr>
            <a:xfrm>
              <a:off x="4509425" y="3988175"/>
              <a:ext cx="30500" cy="48775"/>
            </a:xfrm>
            <a:custGeom>
              <a:avLst/>
              <a:gdLst/>
              <a:ahLst/>
              <a:cxnLst/>
              <a:rect l="l" t="t" r="r" b="b"/>
              <a:pathLst>
                <a:path w="1220" h="1951" fill="none" extrusionOk="0">
                  <a:moveTo>
                    <a:pt x="1220" y="0"/>
                  </a:moveTo>
                  <a:lnTo>
                    <a:pt x="1220" y="0"/>
                  </a:lnTo>
                  <a:lnTo>
                    <a:pt x="1037" y="549"/>
                  </a:lnTo>
                  <a:lnTo>
                    <a:pt x="732" y="1097"/>
                  </a:lnTo>
                  <a:lnTo>
                    <a:pt x="427" y="1524"/>
                  </a:lnTo>
                  <a:lnTo>
                    <a:pt x="1" y="1951"/>
                  </a:lnTo>
                  <a:lnTo>
                    <a:pt x="1" y="1951"/>
                  </a:lnTo>
                  <a:lnTo>
                    <a:pt x="427" y="1524"/>
                  </a:lnTo>
                  <a:lnTo>
                    <a:pt x="732" y="1097"/>
                  </a:lnTo>
                  <a:lnTo>
                    <a:pt x="1037" y="549"/>
                  </a:lnTo>
                  <a:lnTo>
                    <a:pt x="1220" y="0"/>
                  </a:lnTo>
                  <a:lnTo>
                    <a:pt x="122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8" name="Google Shape;1028;p16"/>
            <p:cNvSpPr/>
            <p:nvPr/>
          </p:nvSpPr>
          <p:spPr>
            <a:xfrm>
              <a:off x="4349425" y="4108550"/>
              <a:ext cx="12225" cy="15250"/>
            </a:xfrm>
            <a:custGeom>
              <a:avLst/>
              <a:gdLst/>
              <a:ahLst/>
              <a:cxnLst/>
              <a:rect l="l" t="t" r="r" b="b"/>
              <a:pathLst>
                <a:path w="489" h="610" extrusionOk="0">
                  <a:moveTo>
                    <a:pt x="488" y="0"/>
                  </a:moveTo>
                  <a:lnTo>
                    <a:pt x="488" y="0"/>
                  </a:lnTo>
                  <a:lnTo>
                    <a:pt x="1" y="610"/>
                  </a:lnTo>
                  <a:lnTo>
                    <a:pt x="1" y="610"/>
                  </a:lnTo>
                  <a:lnTo>
                    <a:pt x="1" y="610"/>
                  </a:lnTo>
                  <a:lnTo>
                    <a:pt x="1" y="610"/>
                  </a:lnTo>
                  <a:lnTo>
                    <a:pt x="488" y="0"/>
                  </a:lnTo>
                  <a:lnTo>
                    <a:pt x="488" y="0"/>
                  </a:lnTo>
                  <a:lnTo>
                    <a:pt x="488" y="0"/>
                  </a:lnTo>
                  <a:close/>
                </a:path>
              </a:pathLst>
            </a:custGeom>
            <a:solidFill>
              <a:srgbClr val="6839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9" name="Google Shape;1029;p16"/>
            <p:cNvSpPr/>
            <p:nvPr/>
          </p:nvSpPr>
          <p:spPr>
            <a:xfrm>
              <a:off x="4349425" y="4108550"/>
              <a:ext cx="12225" cy="15250"/>
            </a:xfrm>
            <a:custGeom>
              <a:avLst/>
              <a:gdLst/>
              <a:ahLst/>
              <a:cxnLst/>
              <a:rect l="l" t="t" r="r" b="b"/>
              <a:pathLst>
                <a:path w="489" h="610" fill="none" extrusionOk="0">
                  <a:moveTo>
                    <a:pt x="488" y="0"/>
                  </a:moveTo>
                  <a:lnTo>
                    <a:pt x="488" y="0"/>
                  </a:lnTo>
                  <a:lnTo>
                    <a:pt x="1" y="610"/>
                  </a:lnTo>
                  <a:lnTo>
                    <a:pt x="1" y="610"/>
                  </a:lnTo>
                  <a:lnTo>
                    <a:pt x="1" y="610"/>
                  </a:lnTo>
                  <a:lnTo>
                    <a:pt x="1" y="610"/>
                  </a:lnTo>
                  <a:lnTo>
                    <a:pt x="488" y="0"/>
                  </a:lnTo>
                  <a:lnTo>
                    <a:pt x="488" y="0"/>
                  </a:lnTo>
                  <a:lnTo>
                    <a:pt x="48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6"/>
            <p:cNvSpPr/>
            <p:nvPr/>
          </p:nvSpPr>
          <p:spPr>
            <a:xfrm>
              <a:off x="4398200" y="4075025"/>
              <a:ext cx="12200" cy="6125"/>
            </a:xfrm>
            <a:custGeom>
              <a:avLst/>
              <a:gdLst/>
              <a:ahLst/>
              <a:cxnLst/>
              <a:rect l="l" t="t" r="r" b="b"/>
              <a:pathLst>
                <a:path w="488" h="245" extrusionOk="0">
                  <a:moveTo>
                    <a:pt x="488" y="0"/>
                  </a:moveTo>
                  <a:lnTo>
                    <a:pt x="488" y="0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488" y="0"/>
                  </a:lnTo>
                  <a:lnTo>
                    <a:pt x="488" y="0"/>
                  </a:lnTo>
                  <a:lnTo>
                    <a:pt x="488" y="0"/>
                  </a:lnTo>
                  <a:close/>
                </a:path>
              </a:pathLst>
            </a:custGeom>
            <a:solidFill>
              <a:srgbClr val="6839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1" name="Google Shape;1031;p16"/>
            <p:cNvSpPr/>
            <p:nvPr/>
          </p:nvSpPr>
          <p:spPr>
            <a:xfrm>
              <a:off x="4398200" y="4075025"/>
              <a:ext cx="12200" cy="6125"/>
            </a:xfrm>
            <a:custGeom>
              <a:avLst/>
              <a:gdLst/>
              <a:ahLst/>
              <a:cxnLst/>
              <a:rect l="l" t="t" r="r" b="b"/>
              <a:pathLst>
                <a:path w="488" h="245" fill="none" extrusionOk="0">
                  <a:moveTo>
                    <a:pt x="488" y="0"/>
                  </a:moveTo>
                  <a:lnTo>
                    <a:pt x="488" y="0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488" y="0"/>
                  </a:lnTo>
                  <a:lnTo>
                    <a:pt x="488" y="0"/>
                  </a:lnTo>
                  <a:lnTo>
                    <a:pt x="48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2" name="Google Shape;1032;p16"/>
            <p:cNvSpPr/>
            <p:nvPr/>
          </p:nvSpPr>
          <p:spPr>
            <a:xfrm>
              <a:off x="4305225" y="4164925"/>
              <a:ext cx="10700" cy="10700"/>
            </a:xfrm>
            <a:custGeom>
              <a:avLst/>
              <a:gdLst/>
              <a:ahLst/>
              <a:cxnLst/>
              <a:rect l="l" t="t" r="r" b="b"/>
              <a:pathLst>
                <a:path w="428" h="428" extrusionOk="0">
                  <a:moveTo>
                    <a:pt x="428" y="1"/>
                  </a:moveTo>
                  <a:lnTo>
                    <a:pt x="428" y="1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428" y="1"/>
                  </a:lnTo>
                  <a:lnTo>
                    <a:pt x="428" y="1"/>
                  </a:lnTo>
                  <a:close/>
                </a:path>
              </a:pathLst>
            </a:custGeom>
            <a:solidFill>
              <a:srgbClr val="6839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3" name="Google Shape;1033;p16"/>
            <p:cNvSpPr/>
            <p:nvPr/>
          </p:nvSpPr>
          <p:spPr>
            <a:xfrm>
              <a:off x="4305225" y="4164925"/>
              <a:ext cx="10700" cy="10700"/>
            </a:xfrm>
            <a:custGeom>
              <a:avLst/>
              <a:gdLst/>
              <a:ahLst/>
              <a:cxnLst/>
              <a:rect l="l" t="t" r="r" b="b"/>
              <a:pathLst>
                <a:path w="428" h="428" fill="none" extrusionOk="0">
                  <a:moveTo>
                    <a:pt x="428" y="1"/>
                  </a:moveTo>
                  <a:lnTo>
                    <a:pt x="428" y="1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428" y="1"/>
                  </a:lnTo>
                  <a:lnTo>
                    <a:pt x="428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4" name="Google Shape;1034;p16"/>
            <p:cNvSpPr/>
            <p:nvPr/>
          </p:nvSpPr>
          <p:spPr>
            <a:xfrm>
              <a:off x="4137625" y="4196925"/>
              <a:ext cx="56400" cy="18325"/>
            </a:xfrm>
            <a:custGeom>
              <a:avLst/>
              <a:gdLst/>
              <a:ahLst/>
              <a:cxnLst/>
              <a:rect l="l" t="t" r="r" b="b"/>
              <a:pathLst>
                <a:path w="2256" h="733" extrusionOk="0">
                  <a:moveTo>
                    <a:pt x="0" y="1"/>
                  </a:moveTo>
                  <a:lnTo>
                    <a:pt x="0" y="1"/>
                  </a:lnTo>
                  <a:lnTo>
                    <a:pt x="488" y="244"/>
                  </a:lnTo>
                  <a:lnTo>
                    <a:pt x="1036" y="488"/>
                  </a:lnTo>
                  <a:lnTo>
                    <a:pt x="1646" y="671"/>
                  </a:lnTo>
                  <a:lnTo>
                    <a:pt x="2255" y="732"/>
                  </a:lnTo>
                  <a:lnTo>
                    <a:pt x="2255" y="732"/>
                  </a:lnTo>
                  <a:lnTo>
                    <a:pt x="1646" y="671"/>
                  </a:lnTo>
                  <a:lnTo>
                    <a:pt x="1036" y="488"/>
                  </a:lnTo>
                  <a:lnTo>
                    <a:pt x="488" y="244"/>
                  </a:lnTo>
                  <a:lnTo>
                    <a:pt x="0" y="1"/>
                  </a:lnTo>
                  <a:close/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B4B0B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5" name="Google Shape;1035;p16"/>
            <p:cNvSpPr/>
            <p:nvPr/>
          </p:nvSpPr>
          <p:spPr>
            <a:xfrm>
              <a:off x="4137625" y="4196925"/>
              <a:ext cx="56400" cy="18325"/>
            </a:xfrm>
            <a:custGeom>
              <a:avLst/>
              <a:gdLst/>
              <a:ahLst/>
              <a:cxnLst/>
              <a:rect l="l" t="t" r="r" b="b"/>
              <a:pathLst>
                <a:path w="2256" h="733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488" y="244"/>
                  </a:lnTo>
                  <a:lnTo>
                    <a:pt x="1036" y="488"/>
                  </a:lnTo>
                  <a:lnTo>
                    <a:pt x="1646" y="671"/>
                  </a:lnTo>
                  <a:lnTo>
                    <a:pt x="2255" y="732"/>
                  </a:lnTo>
                  <a:lnTo>
                    <a:pt x="2255" y="732"/>
                  </a:lnTo>
                  <a:lnTo>
                    <a:pt x="1646" y="671"/>
                  </a:lnTo>
                  <a:lnTo>
                    <a:pt x="1036" y="488"/>
                  </a:lnTo>
                  <a:lnTo>
                    <a:pt x="488" y="244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6" name="Google Shape;1036;p16"/>
            <p:cNvSpPr/>
            <p:nvPr/>
          </p:nvSpPr>
          <p:spPr>
            <a:xfrm>
              <a:off x="4137625" y="41969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w="120000" h="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7" name="Google Shape;1037;p16"/>
            <p:cNvSpPr/>
            <p:nvPr/>
          </p:nvSpPr>
          <p:spPr>
            <a:xfrm>
              <a:off x="4070575" y="3988175"/>
              <a:ext cx="469350" cy="228600"/>
            </a:xfrm>
            <a:custGeom>
              <a:avLst/>
              <a:gdLst/>
              <a:ahLst/>
              <a:cxnLst/>
              <a:rect l="l" t="t" r="r" b="b"/>
              <a:pathLst>
                <a:path w="18774" h="9144" extrusionOk="0">
                  <a:moveTo>
                    <a:pt x="18774" y="0"/>
                  </a:moveTo>
                  <a:lnTo>
                    <a:pt x="18347" y="244"/>
                  </a:lnTo>
                  <a:lnTo>
                    <a:pt x="17920" y="488"/>
                  </a:lnTo>
                  <a:lnTo>
                    <a:pt x="17372" y="792"/>
                  </a:lnTo>
                  <a:lnTo>
                    <a:pt x="16701" y="1036"/>
                  </a:lnTo>
                  <a:lnTo>
                    <a:pt x="15970" y="1280"/>
                  </a:lnTo>
                  <a:lnTo>
                    <a:pt x="15117" y="1463"/>
                  </a:lnTo>
                  <a:lnTo>
                    <a:pt x="14263" y="1524"/>
                  </a:lnTo>
                  <a:lnTo>
                    <a:pt x="13776" y="1524"/>
                  </a:lnTo>
                  <a:lnTo>
                    <a:pt x="12496" y="1463"/>
                  </a:lnTo>
                  <a:lnTo>
                    <a:pt x="11886" y="1463"/>
                  </a:lnTo>
                  <a:lnTo>
                    <a:pt x="11276" y="1524"/>
                  </a:lnTo>
                  <a:lnTo>
                    <a:pt x="10667" y="1707"/>
                  </a:lnTo>
                  <a:lnTo>
                    <a:pt x="10057" y="1951"/>
                  </a:lnTo>
                  <a:lnTo>
                    <a:pt x="9387" y="2316"/>
                  </a:lnTo>
                  <a:lnTo>
                    <a:pt x="8716" y="2743"/>
                  </a:lnTo>
                  <a:lnTo>
                    <a:pt x="7924" y="3352"/>
                  </a:lnTo>
                  <a:lnTo>
                    <a:pt x="7010" y="4023"/>
                  </a:lnTo>
                  <a:lnTo>
                    <a:pt x="6217" y="4572"/>
                  </a:lnTo>
                  <a:lnTo>
                    <a:pt x="5486" y="4937"/>
                  </a:lnTo>
                  <a:lnTo>
                    <a:pt x="4693" y="5303"/>
                  </a:lnTo>
                  <a:lnTo>
                    <a:pt x="3962" y="5547"/>
                  </a:lnTo>
                  <a:lnTo>
                    <a:pt x="3231" y="5669"/>
                  </a:lnTo>
                  <a:lnTo>
                    <a:pt x="2499" y="5791"/>
                  </a:lnTo>
                  <a:lnTo>
                    <a:pt x="1890" y="5852"/>
                  </a:lnTo>
                  <a:lnTo>
                    <a:pt x="1341" y="5852"/>
                  </a:lnTo>
                  <a:lnTo>
                    <a:pt x="366" y="5791"/>
                  </a:lnTo>
                  <a:lnTo>
                    <a:pt x="0" y="5791"/>
                  </a:lnTo>
                  <a:lnTo>
                    <a:pt x="305" y="5912"/>
                  </a:lnTo>
                  <a:lnTo>
                    <a:pt x="610" y="6095"/>
                  </a:lnTo>
                  <a:lnTo>
                    <a:pt x="1036" y="6461"/>
                  </a:lnTo>
                  <a:lnTo>
                    <a:pt x="1463" y="6949"/>
                  </a:lnTo>
                  <a:lnTo>
                    <a:pt x="1829" y="7497"/>
                  </a:lnTo>
                  <a:lnTo>
                    <a:pt x="2194" y="7985"/>
                  </a:lnTo>
                  <a:lnTo>
                    <a:pt x="2682" y="8351"/>
                  </a:lnTo>
                  <a:lnTo>
                    <a:pt x="3170" y="8594"/>
                  </a:lnTo>
                  <a:lnTo>
                    <a:pt x="3718" y="8838"/>
                  </a:lnTo>
                  <a:lnTo>
                    <a:pt x="4328" y="9021"/>
                  </a:lnTo>
                  <a:lnTo>
                    <a:pt x="4937" y="9082"/>
                  </a:lnTo>
                  <a:lnTo>
                    <a:pt x="5486" y="9143"/>
                  </a:lnTo>
                  <a:lnTo>
                    <a:pt x="6095" y="9082"/>
                  </a:lnTo>
                  <a:lnTo>
                    <a:pt x="6644" y="9021"/>
                  </a:lnTo>
                  <a:lnTo>
                    <a:pt x="7254" y="8838"/>
                  </a:lnTo>
                  <a:lnTo>
                    <a:pt x="7802" y="8594"/>
                  </a:lnTo>
                  <a:lnTo>
                    <a:pt x="8594" y="8107"/>
                  </a:lnTo>
                  <a:lnTo>
                    <a:pt x="9265" y="7619"/>
                  </a:lnTo>
                  <a:lnTo>
                    <a:pt x="9387" y="7497"/>
                  </a:lnTo>
                  <a:lnTo>
                    <a:pt x="9814" y="7071"/>
                  </a:lnTo>
                  <a:lnTo>
                    <a:pt x="10484" y="6217"/>
                  </a:lnTo>
                  <a:lnTo>
                    <a:pt x="11155" y="5425"/>
                  </a:lnTo>
                  <a:lnTo>
                    <a:pt x="11642" y="4815"/>
                  </a:lnTo>
                  <a:lnTo>
                    <a:pt x="12191" y="4328"/>
                  </a:lnTo>
                  <a:lnTo>
                    <a:pt x="12678" y="4023"/>
                  </a:lnTo>
                  <a:lnTo>
                    <a:pt x="13105" y="3718"/>
                  </a:lnTo>
                  <a:lnTo>
                    <a:pt x="13593" y="3474"/>
                  </a:lnTo>
                  <a:lnTo>
                    <a:pt x="14446" y="3170"/>
                  </a:lnTo>
                  <a:lnTo>
                    <a:pt x="15299" y="2926"/>
                  </a:lnTo>
                  <a:lnTo>
                    <a:pt x="15299" y="2865"/>
                  </a:lnTo>
                  <a:lnTo>
                    <a:pt x="16275" y="2621"/>
                  </a:lnTo>
                  <a:lnTo>
                    <a:pt x="16640" y="2499"/>
                  </a:lnTo>
                  <a:lnTo>
                    <a:pt x="16945" y="2377"/>
                  </a:lnTo>
                  <a:lnTo>
                    <a:pt x="17250" y="2194"/>
                  </a:lnTo>
                  <a:lnTo>
                    <a:pt x="17555" y="1951"/>
                  </a:lnTo>
                  <a:lnTo>
                    <a:pt x="17981" y="1524"/>
                  </a:lnTo>
                  <a:lnTo>
                    <a:pt x="18286" y="1097"/>
                  </a:lnTo>
                  <a:lnTo>
                    <a:pt x="18591" y="549"/>
                  </a:lnTo>
                  <a:lnTo>
                    <a:pt x="18774" y="0"/>
                  </a:lnTo>
                  <a:close/>
                </a:path>
              </a:pathLst>
            </a:custGeom>
            <a:solidFill>
              <a:srgbClr val="2550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8" name="Google Shape;1038;p16"/>
            <p:cNvSpPr/>
            <p:nvPr/>
          </p:nvSpPr>
          <p:spPr>
            <a:xfrm>
              <a:off x="4070575" y="3988175"/>
              <a:ext cx="469350" cy="228600"/>
            </a:xfrm>
            <a:custGeom>
              <a:avLst/>
              <a:gdLst/>
              <a:ahLst/>
              <a:cxnLst/>
              <a:rect l="l" t="t" r="r" b="b"/>
              <a:pathLst>
                <a:path w="18774" h="9144" fill="none" extrusionOk="0">
                  <a:moveTo>
                    <a:pt x="18774" y="0"/>
                  </a:moveTo>
                  <a:lnTo>
                    <a:pt x="18774" y="0"/>
                  </a:lnTo>
                  <a:lnTo>
                    <a:pt x="18347" y="244"/>
                  </a:lnTo>
                  <a:lnTo>
                    <a:pt x="17920" y="488"/>
                  </a:lnTo>
                  <a:lnTo>
                    <a:pt x="17372" y="792"/>
                  </a:lnTo>
                  <a:lnTo>
                    <a:pt x="16701" y="1036"/>
                  </a:lnTo>
                  <a:lnTo>
                    <a:pt x="15970" y="1280"/>
                  </a:lnTo>
                  <a:lnTo>
                    <a:pt x="15117" y="1463"/>
                  </a:lnTo>
                  <a:lnTo>
                    <a:pt x="14263" y="1524"/>
                  </a:lnTo>
                  <a:lnTo>
                    <a:pt x="14263" y="1524"/>
                  </a:lnTo>
                  <a:lnTo>
                    <a:pt x="13776" y="1524"/>
                  </a:lnTo>
                  <a:lnTo>
                    <a:pt x="13776" y="1524"/>
                  </a:lnTo>
                  <a:lnTo>
                    <a:pt x="12496" y="1463"/>
                  </a:lnTo>
                  <a:lnTo>
                    <a:pt x="12496" y="1463"/>
                  </a:lnTo>
                  <a:lnTo>
                    <a:pt x="11886" y="1463"/>
                  </a:lnTo>
                  <a:lnTo>
                    <a:pt x="11276" y="1524"/>
                  </a:lnTo>
                  <a:lnTo>
                    <a:pt x="10667" y="1707"/>
                  </a:lnTo>
                  <a:lnTo>
                    <a:pt x="10057" y="1951"/>
                  </a:lnTo>
                  <a:lnTo>
                    <a:pt x="9387" y="2316"/>
                  </a:lnTo>
                  <a:lnTo>
                    <a:pt x="8716" y="2743"/>
                  </a:lnTo>
                  <a:lnTo>
                    <a:pt x="7924" y="3352"/>
                  </a:lnTo>
                  <a:lnTo>
                    <a:pt x="7010" y="4023"/>
                  </a:lnTo>
                  <a:lnTo>
                    <a:pt x="7010" y="4023"/>
                  </a:lnTo>
                  <a:lnTo>
                    <a:pt x="6217" y="4572"/>
                  </a:lnTo>
                  <a:lnTo>
                    <a:pt x="5486" y="4937"/>
                  </a:lnTo>
                  <a:lnTo>
                    <a:pt x="4693" y="5303"/>
                  </a:lnTo>
                  <a:lnTo>
                    <a:pt x="3962" y="5547"/>
                  </a:lnTo>
                  <a:lnTo>
                    <a:pt x="3231" y="5669"/>
                  </a:lnTo>
                  <a:lnTo>
                    <a:pt x="2499" y="5791"/>
                  </a:lnTo>
                  <a:lnTo>
                    <a:pt x="1890" y="5852"/>
                  </a:lnTo>
                  <a:lnTo>
                    <a:pt x="1341" y="5852"/>
                  </a:lnTo>
                  <a:lnTo>
                    <a:pt x="1341" y="5852"/>
                  </a:lnTo>
                  <a:lnTo>
                    <a:pt x="366" y="5791"/>
                  </a:lnTo>
                  <a:lnTo>
                    <a:pt x="0" y="5791"/>
                  </a:lnTo>
                  <a:lnTo>
                    <a:pt x="0" y="5791"/>
                  </a:lnTo>
                  <a:lnTo>
                    <a:pt x="305" y="5912"/>
                  </a:lnTo>
                  <a:lnTo>
                    <a:pt x="610" y="6095"/>
                  </a:lnTo>
                  <a:lnTo>
                    <a:pt x="1036" y="6461"/>
                  </a:lnTo>
                  <a:lnTo>
                    <a:pt x="1463" y="6949"/>
                  </a:lnTo>
                  <a:lnTo>
                    <a:pt x="1829" y="7497"/>
                  </a:lnTo>
                  <a:lnTo>
                    <a:pt x="1829" y="7497"/>
                  </a:lnTo>
                  <a:lnTo>
                    <a:pt x="2194" y="7985"/>
                  </a:lnTo>
                  <a:lnTo>
                    <a:pt x="2682" y="8351"/>
                  </a:lnTo>
                  <a:lnTo>
                    <a:pt x="2682" y="8351"/>
                  </a:lnTo>
                  <a:lnTo>
                    <a:pt x="2682" y="8351"/>
                  </a:lnTo>
                  <a:lnTo>
                    <a:pt x="2682" y="8351"/>
                  </a:lnTo>
                  <a:lnTo>
                    <a:pt x="2682" y="8351"/>
                  </a:lnTo>
                  <a:lnTo>
                    <a:pt x="2682" y="8351"/>
                  </a:lnTo>
                  <a:lnTo>
                    <a:pt x="3170" y="8594"/>
                  </a:lnTo>
                  <a:lnTo>
                    <a:pt x="3718" y="8838"/>
                  </a:lnTo>
                  <a:lnTo>
                    <a:pt x="4328" y="9021"/>
                  </a:lnTo>
                  <a:lnTo>
                    <a:pt x="4937" y="9082"/>
                  </a:lnTo>
                  <a:lnTo>
                    <a:pt x="4937" y="9082"/>
                  </a:lnTo>
                  <a:lnTo>
                    <a:pt x="5486" y="9143"/>
                  </a:lnTo>
                  <a:lnTo>
                    <a:pt x="5486" y="9143"/>
                  </a:lnTo>
                  <a:lnTo>
                    <a:pt x="6095" y="9082"/>
                  </a:lnTo>
                  <a:lnTo>
                    <a:pt x="6644" y="9021"/>
                  </a:lnTo>
                  <a:lnTo>
                    <a:pt x="7254" y="8838"/>
                  </a:lnTo>
                  <a:lnTo>
                    <a:pt x="7802" y="8594"/>
                  </a:lnTo>
                  <a:lnTo>
                    <a:pt x="7802" y="8594"/>
                  </a:lnTo>
                  <a:lnTo>
                    <a:pt x="8594" y="8107"/>
                  </a:lnTo>
                  <a:lnTo>
                    <a:pt x="9265" y="7619"/>
                  </a:lnTo>
                  <a:lnTo>
                    <a:pt x="9265" y="7619"/>
                  </a:lnTo>
                  <a:lnTo>
                    <a:pt x="9387" y="7497"/>
                  </a:lnTo>
                  <a:lnTo>
                    <a:pt x="9387" y="7497"/>
                  </a:lnTo>
                  <a:lnTo>
                    <a:pt x="9814" y="7071"/>
                  </a:lnTo>
                  <a:lnTo>
                    <a:pt x="9814" y="7071"/>
                  </a:lnTo>
                  <a:lnTo>
                    <a:pt x="10484" y="6217"/>
                  </a:lnTo>
                  <a:lnTo>
                    <a:pt x="11155" y="5425"/>
                  </a:lnTo>
                  <a:lnTo>
                    <a:pt x="11155" y="5425"/>
                  </a:lnTo>
                  <a:lnTo>
                    <a:pt x="11642" y="4815"/>
                  </a:lnTo>
                  <a:lnTo>
                    <a:pt x="11642" y="4815"/>
                  </a:lnTo>
                  <a:lnTo>
                    <a:pt x="12191" y="4328"/>
                  </a:lnTo>
                  <a:lnTo>
                    <a:pt x="12191" y="4328"/>
                  </a:lnTo>
                  <a:lnTo>
                    <a:pt x="12678" y="4023"/>
                  </a:lnTo>
                  <a:lnTo>
                    <a:pt x="13105" y="3718"/>
                  </a:lnTo>
                  <a:lnTo>
                    <a:pt x="13105" y="3718"/>
                  </a:lnTo>
                  <a:lnTo>
                    <a:pt x="13593" y="3474"/>
                  </a:lnTo>
                  <a:lnTo>
                    <a:pt x="13593" y="3474"/>
                  </a:lnTo>
                  <a:lnTo>
                    <a:pt x="14446" y="3170"/>
                  </a:lnTo>
                  <a:lnTo>
                    <a:pt x="15299" y="2926"/>
                  </a:lnTo>
                  <a:lnTo>
                    <a:pt x="15299" y="2926"/>
                  </a:lnTo>
                  <a:lnTo>
                    <a:pt x="15299" y="2865"/>
                  </a:lnTo>
                  <a:lnTo>
                    <a:pt x="15299" y="2865"/>
                  </a:lnTo>
                  <a:lnTo>
                    <a:pt x="15299" y="2865"/>
                  </a:lnTo>
                  <a:lnTo>
                    <a:pt x="15299" y="2865"/>
                  </a:lnTo>
                  <a:lnTo>
                    <a:pt x="16275" y="2621"/>
                  </a:lnTo>
                  <a:lnTo>
                    <a:pt x="16275" y="2621"/>
                  </a:lnTo>
                  <a:lnTo>
                    <a:pt x="16640" y="2499"/>
                  </a:lnTo>
                  <a:lnTo>
                    <a:pt x="16945" y="2377"/>
                  </a:lnTo>
                  <a:lnTo>
                    <a:pt x="17250" y="2194"/>
                  </a:lnTo>
                  <a:lnTo>
                    <a:pt x="17555" y="1951"/>
                  </a:lnTo>
                  <a:lnTo>
                    <a:pt x="17555" y="1951"/>
                  </a:lnTo>
                  <a:lnTo>
                    <a:pt x="17555" y="1951"/>
                  </a:lnTo>
                  <a:lnTo>
                    <a:pt x="17555" y="1951"/>
                  </a:lnTo>
                  <a:lnTo>
                    <a:pt x="17555" y="1951"/>
                  </a:lnTo>
                  <a:lnTo>
                    <a:pt x="17555" y="1951"/>
                  </a:lnTo>
                  <a:lnTo>
                    <a:pt x="17555" y="1951"/>
                  </a:lnTo>
                  <a:lnTo>
                    <a:pt x="17555" y="1951"/>
                  </a:lnTo>
                  <a:lnTo>
                    <a:pt x="17555" y="1951"/>
                  </a:lnTo>
                  <a:lnTo>
                    <a:pt x="17555" y="1951"/>
                  </a:lnTo>
                  <a:lnTo>
                    <a:pt x="17981" y="1524"/>
                  </a:lnTo>
                  <a:lnTo>
                    <a:pt x="18286" y="1097"/>
                  </a:lnTo>
                  <a:lnTo>
                    <a:pt x="18591" y="549"/>
                  </a:lnTo>
                  <a:lnTo>
                    <a:pt x="18774" y="0"/>
                  </a:lnTo>
                  <a:lnTo>
                    <a:pt x="1877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9" name="Google Shape;1039;p16"/>
            <p:cNvSpPr/>
            <p:nvPr/>
          </p:nvSpPr>
          <p:spPr>
            <a:xfrm>
              <a:off x="4750200" y="4015600"/>
              <a:ext cx="417550" cy="114300"/>
            </a:xfrm>
            <a:custGeom>
              <a:avLst/>
              <a:gdLst/>
              <a:ahLst/>
              <a:cxnLst/>
              <a:rect l="l" t="t" r="r" b="b"/>
              <a:pathLst>
                <a:path w="16702" h="4572" extrusionOk="0">
                  <a:moveTo>
                    <a:pt x="1768" y="3779"/>
                  </a:moveTo>
                  <a:lnTo>
                    <a:pt x="1768" y="3779"/>
                  </a:lnTo>
                  <a:lnTo>
                    <a:pt x="1768" y="3779"/>
                  </a:lnTo>
                  <a:lnTo>
                    <a:pt x="1768" y="3779"/>
                  </a:lnTo>
                  <a:lnTo>
                    <a:pt x="2682" y="4145"/>
                  </a:lnTo>
                  <a:lnTo>
                    <a:pt x="3718" y="4389"/>
                  </a:lnTo>
                  <a:lnTo>
                    <a:pt x="3718" y="4389"/>
                  </a:lnTo>
                  <a:lnTo>
                    <a:pt x="5120" y="4572"/>
                  </a:lnTo>
                  <a:lnTo>
                    <a:pt x="5120" y="4572"/>
                  </a:lnTo>
                  <a:lnTo>
                    <a:pt x="3718" y="4389"/>
                  </a:lnTo>
                  <a:lnTo>
                    <a:pt x="3718" y="4389"/>
                  </a:lnTo>
                  <a:lnTo>
                    <a:pt x="2682" y="4145"/>
                  </a:lnTo>
                  <a:lnTo>
                    <a:pt x="1768" y="3779"/>
                  </a:lnTo>
                  <a:close/>
                  <a:moveTo>
                    <a:pt x="0" y="2560"/>
                  </a:moveTo>
                  <a:lnTo>
                    <a:pt x="0" y="2560"/>
                  </a:lnTo>
                  <a:lnTo>
                    <a:pt x="488" y="3048"/>
                  </a:lnTo>
                  <a:lnTo>
                    <a:pt x="1037" y="3414"/>
                  </a:lnTo>
                  <a:lnTo>
                    <a:pt x="1037" y="3414"/>
                  </a:lnTo>
                  <a:lnTo>
                    <a:pt x="1037" y="3414"/>
                  </a:lnTo>
                  <a:lnTo>
                    <a:pt x="1037" y="3414"/>
                  </a:lnTo>
                  <a:lnTo>
                    <a:pt x="488" y="3048"/>
                  </a:lnTo>
                  <a:lnTo>
                    <a:pt x="0" y="2560"/>
                  </a:lnTo>
                  <a:close/>
                  <a:moveTo>
                    <a:pt x="0" y="2560"/>
                  </a:moveTo>
                  <a:lnTo>
                    <a:pt x="0" y="2560"/>
                  </a:lnTo>
                  <a:lnTo>
                    <a:pt x="0" y="2560"/>
                  </a:lnTo>
                  <a:lnTo>
                    <a:pt x="0" y="2560"/>
                  </a:lnTo>
                  <a:lnTo>
                    <a:pt x="0" y="2560"/>
                  </a:lnTo>
                  <a:close/>
                  <a:moveTo>
                    <a:pt x="16702" y="61"/>
                  </a:moveTo>
                  <a:lnTo>
                    <a:pt x="16702" y="61"/>
                  </a:lnTo>
                  <a:lnTo>
                    <a:pt x="16580" y="427"/>
                  </a:lnTo>
                  <a:lnTo>
                    <a:pt x="16519" y="793"/>
                  </a:lnTo>
                  <a:lnTo>
                    <a:pt x="16336" y="1219"/>
                  </a:lnTo>
                  <a:lnTo>
                    <a:pt x="16153" y="1585"/>
                  </a:lnTo>
                  <a:lnTo>
                    <a:pt x="15909" y="1951"/>
                  </a:lnTo>
                  <a:lnTo>
                    <a:pt x="15604" y="2316"/>
                  </a:lnTo>
                  <a:lnTo>
                    <a:pt x="15300" y="2621"/>
                  </a:lnTo>
                  <a:lnTo>
                    <a:pt x="14934" y="2987"/>
                  </a:lnTo>
                  <a:lnTo>
                    <a:pt x="14934" y="2987"/>
                  </a:lnTo>
                  <a:lnTo>
                    <a:pt x="14507" y="3292"/>
                  </a:lnTo>
                  <a:lnTo>
                    <a:pt x="13959" y="3596"/>
                  </a:lnTo>
                  <a:lnTo>
                    <a:pt x="13288" y="3840"/>
                  </a:lnTo>
                  <a:lnTo>
                    <a:pt x="12618" y="4084"/>
                  </a:lnTo>
                  <a:lnTo>
                    <a:pt x="12618" y="4084"/>
                  </a:lnTo>
                  <a:lnTo>
                    <a:pt x="13288" y="3840"/>
                  </a:lnTo>
                  <a:lnTo>
                    <a:pt x="13959" y="3596"/>
                  </a:lnTo>
                  <a:lnTo>
                    <a:pt x="14507" y="3292"/>
                  </a:lnTo>
                  <a:lnTo>
                    <a:pt x="14934" y="2987"/>
                  </a:lnTo>
                  <a:lnTo>
                    <a:pt x="14934" y="2987"/>
                  </a:lnTo>
                  <a:lnTo>
                    <a:pt x="15300" y="2621"/>
                  </a:lnTo>
                  <a:lnTo>
                    <a:pt x="15604" y="2316"/>
                  </a:lnTo>
                  <a:lnTo>
                    <a:pt x="15909" y="1951"/>
                  </a:lnTo>
                  <a:lnTo>
                    <a:pt x="16153" y="1585"/>
                  </a:lnTo>
                  <a:lnTo>
                    <a:pt x="16336" y="1219"/>
                  </a:lnTo>
                  <a:lnTo>
                    <a:pt x="16519" y="793"/>
                  </a:lnTo>
                  <a:lnTo>
                    <a:pt x="16580" y="427"/>
                  </a:lnTo>
                  <a:lnTo>
                    <a:pt x="16702" y="61"/>
                  </a:lnTo>
                  <a:close/>
                  <a:moveTo>
                    <a:pt x="16702" y="61"/>
                  </a:moveTo>
                  <a:lnTo>
                    <a:pt x="16702" y="61"/>
                  </a:lnTo>
                  <a:lnTo>
                    <a:pt x="16702" y="61"/>
                  </a:lnTo>
                  <a:lnTo>
                    <a:pt x="16702" y="61"/>
                  </a:lnTo>
                  <a:lnTo>
                    <a:pt x="16702" y="61"/>
                  </a:lnTo>
                  <a:close/>
                  <a:moveTo>
                    <a:pt x="16702" y="61"/>
                  </a:moveTo>
                  <a:lnTo>
                    <a:pt x="16702" y="61"/>
                  </a:lnTo>
                  <a:lnTo>
                    <a:pt x="16702" y="61"/>
                  </a:lnTo>
                  <a:lnTo>
                    <a:pt x="16702" y="61"/>
                  </a:lnTo>
                  <a:lnTo>
                    <a:pt x="16702" y="61"/>
                  </a:lnTo>
                  <a:close/>
                  <a:moveTo>
                    <a:pt x="16702" y="61"/>
                  </a:moveTo>
                  <a:lnTo>
                    <a:pt x="16702" y="61"/>
                  </a:lnTo>
                  <a:lnTo>
                    <a:pt x="16702" y="61"/>
                  </a:lnTo>
                  <a:lnTo>
                    <a:pt x="16702" y="61"/>
                  </a:lnTo>
                  <a:lnTo>
                    <a:pt x="16702" y="61"/>
                  </a:lnTo>
                  <a:close/>
                  <a:moveTo>
                    <a:pt x="16702" y="0"/>
                  </a:moveTo>
                  <a:lnTo>
                    <a:pt x="16702" y="0"/>
                  </a:lnTo>
                  <a:lnTo>
                    <a:pt x="16702" y="0"/>
                  </a:lnTo>
                  <a:lnTo>
                    <a:pt x="16702" y="0"/>
                  </a:lnTo>
                  <a:lnTo>
                    <a:pt x="16702" y="0"/>
                  </a:lnTo>
                  <a:close/>
                </a:path>
              </a:pathLst>
            </a:custGeom>
            <a:solidFill>
              <a:srgbClr val="DFDDD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0" name="Google Shape;1040;p16"/>
            <p:cNvSpPr/>
            <p:nvPr/>
          </p:nvSpPr>
          <p:spPr>
            <a:xfrm>
              <a:off x="4794375" y="4110075"/>
              <a:ext cx="83850" cy="19825"/>
            </a:xfrm>
            <a:custGeom>
              <a:avLst/>
              <a:gdLst/>
              <a:ahLst/>
              <a:cxnLst/>
              <a:rect l="l" t="t" r="r" b="b"/>
              <a:pathLst>
                <a:path w="3354" h="793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915" y="366"/>
                  </a:lnTo>
                  <a:lnTo>
                    <a:pt x="1951" y="610"/>
                  </a:lnTo>
                  <a:lnTo>
                    <a:pt x="1951" y="610"/>
                  </a:lnTo>
                  <a:lnTo>
                    <a:pt x="3353" y="793"/>
                  </a:lnTo>
                  <a:lnTo>
                    <a:pt x="3353" y="793"/>
                  </a:lnTo>
                  <a:lnTo>
                    <a:pt x="1951" y="610"/>
                  </a:lnTo>
                  <a:lnTo>
                    <a:pt x="1951" y="610"/>
                  </a:lnTo>
                  <a:lnTo>
                    <a:pt x="915" y="366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1" name="Google Shape;1041;p16"/>
            <p:cNvSpPr/>
            <p:nvPr/>
          </p:nvSpPr>
          <p:spPr>
            <a:xfrm>
              <a:off x="4750200" y="4079600"/>
              <a:ext cx="25925" cy="21350"/>
            </a:xfrm>
            <a:custGeom>
              <a:avLst/>
              <a:gdLst/>
              <a:ahLst/>
              <a:cxnLst/>
              <a:rect l="l" t="t" r="r" b="b"/>
              <a:pathLst>
                <a:path w="1037" h="854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488" y="488"/>
                  </a:lnTo>
                  <a:lnTo>
                    <a:pt x="1037" y="854"/>
                  </a:lnTo>
                  <a:lnTo>
                    <a:pt x="1037" y="854"/>
                  </a:lnTo>
                  <a:lnTo>
                    <a:pt x="1037" y="854"/>
                  </a:lnTo>
                  <a:lnTo>
                    <a:pt x="1037" y="854"/>
                  </a:lnTo>
                  <a:lnTo>
                    <a:pt x="488" y="48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2" name="Google Shape;1042;p16"/>
            <p:cNvSpPr/>
            <p:nvPr/>
          </p:nvSpPr>
          <p:spPr>
            <a:xfrm>
              <a:off x="4750200" y="40796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3" name="Google Shape;1043;p16"/>
            <p:cNvSpPr/>
            <p:nvPr/>
          </p:nvSpPr>
          <p:spPr>
            <a:xfrm>
              <a:off x="5065625" y="4017125"/>
              <a:ext cx="102125" cy="100600"/>
            </a:xfrm>
            <a:custGeom>
              <a:avLst/>
              <a:gdLst/>
              <a:ahLst/>
              <a:cxnLst/>
              <a:rect l="l" t="t" r="r" b="b"/>
              <a:pathLst>
                <a:path w="4085" h="4024" fill="none" extrusionOk="0">
                  <a:moveTo>
                    <a:pt x="4085" y="0"/>
                  </a:moveTo>
                  <a:lnTo>
                    <a:pt x="4085" y="0"/>
                  </a:lnTo>
                  <a:lnTo>
                    <a:pt x="3963" y="366"/>
                  </a:lnTo>
                  <a:lnTo>
                    <a:pt x="3902" y="732"/>
                  </a:lnTo>
                  <a:lnTo>
                    <a:pt x="3719" y="1158"/>
                  </a:lnTo>
                  <a:lnTo>
                    <a:pt x="3536" y="1524"/>
                  </a:lnTo>
                  <a:lnTo>
                    <a:pt x="3292" y="1890"/>
                  </a:lnTo>
                  <a:lnTo>
                    <a:pt x="2987" y="2255"/>
                  </a:lnTo>
                  <a:lnTo>
                    <a:pt x="2683" y="2560"/>
                  </a:lnTo>
                  <a:lnTo>
                    <a:pt x="2317" y="2926"/>
                  </a:lnTo>
                  <a:lnTo>
                    <a:pt x="2317" y="2926"/>
                  </a:lnTo>
                  <a:lnTo>
                    <a:pt x="1890" y="3231"/>
                  </a:lnTo>
                  <a:lnTo>
                    <a:pt x="1342" y="3535"/>
                  </a:lnTo>
                  <a:lnTo>
                    <a:pt x="671" y="3779"/>
                  </a:lnTo>
                  <a:lnTo>
                    <a:pt x="1" y="4023"/>
                  </a:lnTo>
                  <a:lnTo>
                    <a:pt x="1" y="4023"/>
                  </a:lnTo>
                  <a:lnTo>
                    <a:pt x="671" y="3779"/>
                  </a:lnTo>
                  <a:lnTo>
                    <a:pt x="1342" y="3535"/>
                  </a:lnTo>
                  <a:lnTo>
                    <a:pt x="1890" y="3231"/>
                  </a:lnTo>
                  <a:lnTo>
                    <a:pt x="2317" y="2926"/>
                  </a:lnTo>
                  <a:lnTo>
                    <a:pt x="2317" y="2926"/>
                  </a:lnTo>
                  <a:lnTo>
                    <a:pt x="2683" y="2560"/>
                  </a:lnTo>
                  <a:lnTo>
                    <a:pt x="2987" y="2255"/>
                  </a:lnTo>
                  <a:lnTo>
                    <a:pt x="3292" y="1890"/>
                  </a:lnTo>
                  <a:lnTo>
                    <a:pt x="3536" y="1524"/>
                  </a:lnTo>
                  <a:lnTo>
                    <a:pt x="3719" y="1158"/>
                  </a:lnTo>
                  <a:lnTo>
                    <a:pt x="3902" y="732"/>
                  </a:lnTo>
                  <a:lnTo>
                    <a:pt x="3963" y="366"/>
                  </a:lnTo>
                  <a:lnTo>
                    <a:pt x="408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4" name="Google Shape;1044;p16"/>
            <p:cNvSpPr/>
            <p:nvPr/>
          </p:nvSpPr>
          <p:spPr>
            <a:xfrm>
              <a:off x="5167725" y="401712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5" name="Google Shape;1045;p16"/>
            <p:cNvSpPr/>
            <p:nvPr/>
          </p:nvSpPr>
          <p:spPr>
            <a:xfrm>
              <a:off x="5167725" y="401712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6" name="Google Shape;1046;p16"/>
            <p:cNvSpPr/>
            <p:nvPr/>
          </p:nvSpPr>
          <p:spPr>
            <a:xfrm>
              <a:off x="5167725" y="401712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7" name="Google Shape;1047;p16"/>
            <p:cNvSpPr/>
            <p:nvPr/>
          </p:nvSpPr>
          <p:spPr>
            <a:xfrm>
              <a:off x="5167725" y="40156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" name="Google Shape;1048;p16"/>
            <p:cNvSpPr/>
            <p:nvPr/>
          </p:nvSpPr>
          <p:spPr>
            <a:xfrm>
              <a:off x="4776100" y="4100925"/>
              <a:ext cx="18300" cy="9175"/>
            </a:xfrm>
            <a:custGeom>
              <a:avLst/>
              <a:gdLst/>
              <a:ahLst/>
              <a:cxnLst/>
              <a:rect l="l" t="t" r="r" b="b"/>
              <a:pathLst>
                <a:path w="732" h="367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732" y="366"/>
                  </a:lnTo>
                  <a:lnTo>
                    <a:pt x="732" y="366"/>
                  </a:lnTo>
                  <a:lnTo>
                    <a:pt x="732" y="366"/>
                  </a:lnTo>
                  <a:lnTo>
                    <a:pt x="732" y="366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783D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" name="Google Shape;1049;p16"/>
            <p:cNvSpPr/>
            <p:nvPr/>
          </p:nvSpPr>
          <p:spPr>
            <a:xfrm>
              <a:off x="4776100" y="4100925"/>
              <a:ext cx="18300" cy="9175"/>
            </a:xfrm>
            <a:custGeom>
              <a:avLst/>
              <a:gdLst/>
              <a:ahLst/>
              <a:cxnLst/>
              <a:rect l="l" t="t" r="r" b="b"/>
              <a:pathLst>
                <a:path w="732" h="367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732" y="366"/>
                  </a:lnTo>
                  <a:lnTo>
                    <a:pt x="732" y="366"/>
                  </a:lnTo>
                  <a:lnTo>
                    <a:pt x="732" y="366"/>
                  </a:lnTo>
                  <a:lnTo>
                    <a:pt x="732" y="366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" name="Google Shape;1050;p16"/>
            <p:cNvSpPr/>
            <p:nvPr/>
          </p:nvSpPr>
          <p:spPr>
            <a:xfrm>
              <a:off x="4742575" y="3977500"/>
              <a:ext cx="425175" cy="155450"/>
            </a:xfrm>
            <a:custGeom>
              <a:avLst/>
              <a:gdLst/>
              <a:ahLst/>
              <a:cxnLst/>
              <a:rect l="l" t="t" r="r" b="b"/>
              <a:pathLst>
                <a:path w="17007" h="6218" extrusionOk="0">
                  <a:moveTo>
                    <a:pt x="16824" y="0"/>
                  </a:moveTo>
                  <a:lnTo>
                    <a:pt x="16153" y="610"/>
                  </a:lnTo>
                  <a:lnTo>
                    <a:pt x="15422" y="1158"/>
                  </a:lnTo>
                  <a:lnTo>
                    <a:pt x="14751" y="1707"/>
                  </a:lnTo>
                  <a:lnTo>
                    <a:pt x="14020" y="2195"/>
                  </a:lnTo>
                  <a:lnTo>
                    <a:pt x="13288" y="2560"/>
                  </a:lnTo>
                  <a:lnTo>
                    <a:pt x="12557" y="2926"/>
                  </a:lnTo>
                  <a:lnTo>
                    <a:pt x="11826" y="3231"/>
                  </a:lnTo>
                  <a:lnTo>
                    <a:pt x="11094" y="3536"/>
                  </a:lnTo>
                  <a:lnTo>
                    <a:pt x="10363" y="3718"/>
                  </a:lnTo>
                  <a:lnTo>
                    <a:pt x="9631" y="3962"/>
                  </a:lnTo>
                  <a:lnTo>
                    <a:pt x="8168" y="4206"/>
                  </a:lnTo>
                  <a:lnTo>
                    <a:pt x="6766" y="4328"/>
                  </a:lnTo>
                  <a:lnTo>
                    <a:pt x="5486" y="4389"/>
                  </a:lnTo>
                  <a:lnTo>
                    <a:pt x="4328" y="4389"/>
                  </a:lnTo>
                  <a:lnTo>
                    <a:pt x="3292" y="4267"/>
                  </a:lnTo>
                  <a:lnTo>
                    <a:pt x="2317" y="4145"/>
                  </a:lnTo>
                  <a:lnTo>
                    <a:pt x="1524" y="4023"/>
                  </a:lnTo>
                  <a:lnTo>
                    <a:pt x="427" y="3779"/>
                  </a:lnTo>
                  <a:lnTo>
                    <a:pt x="1" y="3658"/>
                  </a:lnTo>
                  <a:lnTo>
                    <a:pt x="305" y="4084"/>
                  </a:lnTo>
                  <a:lnTo>
                    <a:pt x="793" y="4572"/>
                  </a:lnTo>
                  <a:lnTo>
                    <a:pt x="1342" y="4938"/>
                  </a:lnTo>
                  <a:lnTo>
                    <a:pt x="2073" y="5303"/>
                  </a:lnTo>
                  <a:lnTo>
                    <a:pt x="2987" y="5669"/>
                  </a:lnTo>
                  <a:lnTo>
                    <a:pt x="4023" y="5913"/>
                  </a:lnTo>
                  <a:lnTo>
                    <a:pt x="5425" y="6096"/>
                  </a:lnTo>
                  <a:lnTo>
                    <a:pt x="6584" y="6157"/>
                  </a:lnTo>
                  <a:lnTo>
                    <a:pt x="7803" y="6218"/>
                  </a:lnTo>
                  <a:lnTo>
                    <a:pt x="9144" y="6157"/>
                  </a:lnTo>
                  <a:lnTo>
                    <a:pt x="10424" y="6035"/>
                  </a:lnTo>
                  <a:lnTo>
                    <a:pt x="11765" y="5852"/>
                  </a:lnTo>
                  <a:lnTo>
                    <a:pt x="12923" y="5608"/>
                  </a:lnTo>
                  <a:lnTo>
                    <a:pt x="13593" y="5364"/>
                  </a:lnTo>
                  <a:lnTo>
                    <a:pt x="14264" y="5120"/>
                  </a:lnTo>
                  <a:lnTo>
                    <a:pt x="14812" y="4816"/>
                  </a:lnTo>
                  <a:lnTo>
                    <a:pt x="15239" y="4511"/>
                  </a:lnTo>
                  <a:lnTo>
                    <a:pt x="15605" y="4145"/>
                  </a:lnTo>
                  <a:lnTo>
                    <a:pt x="15909" y="3840"/>
                  </a:lnTo>
                  <a:lnTo>
                    <a:pt x="16214" y="3475"/>
                  </a:lnTo>
                  <a:lnTo>
                    <a:pt x="16458" y="3109"/>
                  </a:lnTo>
                  <a:lnTo>
                    <a:pt x="16641" y="2743"/>
                  </a:lnTo>
                  <a:lnTo>
                    <a:pt x="16824" y="2317"/>
                  </a:lnTo>
                  <a:lnTo>
                    <a:pt x="16885" y="1951"/>
                  </a:lnTo>
                  <a:lnTo>
                    <a:pt x="17007" y="1585"/>
                  </a:lnTo>
                  <a:lnTo>
                    <a:pt x="17007" y="1524"/>
                  </a:lnTo>
                  <a:lnTo>
                    <a:pt x="17007" y="1158"/>
                  </a:lnTo>
                  <a:lnTo>
                    <a:pt x="17007" y="732"/>
                  </a:lnTo>
                  <a:lnTo>
                    <a:pt x="16946" y="366"/>
                  </a:lnTo>
                  <a:lnTo>
                    <a:pt x="16824" y="0"/>
                  </a:lnTo>
                  <a:close/>
                </a:path>
              </a:pathLst>
            </a:custGeom>
            <a:solidFill>
              <a:srgbClr val="225A3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1" name="Google Shape;1051;p16"/>
            <p:cNvSpPr/>
            <p:nvPr/>
          </p:nvSpPr>
          <p:spPr>
            <a:xfrm>
              <a:off x="4742575" y="3977500"/>
              <a:ext cx="425175" cy="155450"/>
            </a:xfrm>
            <a:custGeom>
              <a:avLst/>
              <a:gdLst/>
              <a:ahLst/>
              <a:cxnLst/>
              <a:rect l="l" t="t" r="r" b="b"/>
              <a:pathLst>
                <a:path w="17007" h="6218" fill="none" extrusionOk="0">
                  <a:moveTo>
                    <a:pt x="16824" y="0"/>
                  </a:moveTo>
                  <a:lnTo>
                    <a:pt x="16824" y="0"/>
                  </a:lnTo>
                  <a:lnTo>
                    <a:pt x="16153" y="610"/>
                  </a:lnTo>
                  <a:lnTo>
                    <a:pt x="15422" y="1158"/>
                  </a:lnTo>
                  <a:lnTo>
                    <a:pt x="14751" y="1707"/>
                  </a:lnTo>
                  <a:lnTo>
                    <a:pt x="14020" y="2195"/>
                  </a:lnTo>
                  <a:lnTo>
                    <a:pt x="13288" y="2560"/>
                  </a:lnTo>
                  <a:lnTo>
                    <a:pt x="12557" y="2926"/>
                  </a:lnTo>
                  <a:lnTo>
                    <a:pt x="11826" y="3231"/>
                  </a:lnTo>
                  <a:lnTo>
                    <a:pt x="11094" y="3536"/>
                  </a:lnTo>
                  <a:lnTo>
                    <a:pt x="10363" y="3718"/>
                  </a:lnTo>
                  <a:lnTo>
                    <a:pt x="9631" y="3962"/>
                  </a:lnTo>
                  <a:lnTo>
                    <a:pt x="8168" y="4206"/>
                  </a:lnTo>
                  <a:lnTo>
                    <a:pt x="6766" y="4328"/>
                  </a:lnTo>
                  <a:lnTo>
                    <a:pt x="5486" y="4389"/>
                  </a:lnTo>
                  <a:lnTo>
                    <a:pt x="5486" y="4389"/>
                  </a:lnTo>
                  <a:lnTo>
                    <a:pt x="4328" y="4389"/>
                  </a:lnTo>
                  <a:lnTo>
                    <a:pt x="3292" y="4267"/>
                  </a:lnTo>
                  <a:lnTo>
                    <a:pt x="2317" y="4145"/>
                  </a:lnTo>
                  <a:lnTo>
                    <a:pt x="1524" y="4023"/>
                  </a:lnTo>
                  <a:lnTo>
                    <a:pt x="427" y="3779"/>
                  </a:lnTo>
                  <a:lnTo>
                    <a:pt x="1" y="3658"/>
                  </a:lnTo>
                  <a:lnTo>
                    <a:pt x="1" y="3658"/>
                  </a:lnTo>
                  <a:lnTo>
                    <a:pt x="305" y="4084"/>
                  </a:lnTo>
                  <a:lnTo>
                    <a:pt x="305" y="4084"/>
                  </a:lnTo>
                  <a:lnTo>
                    <a:pt x="305" y="4084"/>
                  </a:lnTo>
                  <a:lnTo>
                    <a:pt x="305" y="4084"/>
                  </a:lnTo>
                  <a:lnTo>
                    <a:pt x="305" y="4084"/>
                  </a:lnTo>
                  <a:lnTo>
                    <a:pt x="305" y="4084"/>
                  </a:lnTo>
                  <a:lnTo>
                    <a:pt x="793" y="4572"/>
                  </a:lnTo>
                  <a:lnTo>
                    <a:pt x="1342" y="4938"/>
                  </a:lnTo>
                  <a:lnTo>
                    <a:pt x="1342" y="4938"/>
                  </a:lnTo>
                  <a:lnTo>
                    <a:pt x="2073" y="5303"/>
                  </a:lnTo>
                  <a:lnTo>
                    <a:pt x="2073" y="5303"/>
                  </a:lnTo>
                  <a:lnTo>
                    <a:pt x="2987" y="5669"/>
                  </a:lnTo>
                  <a:lnTo>
                    <a:pt x="4023" y="5913"/>
                  </a:lnTo>
                  <a:lnTo>
                    <a:pt x="4023" y="5913"/>
                  </a:lnTo>
                  <a:lnTo>
                    <a:pt x="5425" y="6096"/>
                  </a:lnTo>
                  <a:lnTo>
                    <a:pt x="5425" y="6096"/>
                  </a:lnTo>
                  <a:lnTo>
                    <a:pt x="6584" y="6157"/>
                  </a:lnTo>
                  <a:lnTo>
                    <a:pt x="7803" y="6218"/>
                  </a:lnTo>
                  <a:lnTo>
                    <a:pt x="7803" y="6218"/>
                  </a:lnTo>
                  <a:lnTo>
                    <a:pt x="9144" y="6157"/>
                  </a:lnTo>
                  <a:lnTo>
                    <a:pt x="10424" y="6035"/>
                  </a:lnTo>
                  <a:lnTo>
                    <a:pt x="11765" y="5852"/>
                  </a:lnTo>
                  <a:lnTo>
                    <a:pt x="12923" y="5608"/>
                  </a:lnTo>
                  <a:lnTo>
                    <a:pt x="12923" y="5608"/>
                  </a:lnTo>
                  <a:lnTo>
                    <a:pt x="13593" y="5364"/>
                  </a:lnTo>
                  <a:lnTo>
                    <a:pt x="14264" y="5120"/>
                  </a:lnTo>
                  <a:lnTo>
                    <a:pt x="14812" y="4816"/>
                  </a:lnTo>
                  <a:lnTo>
                    <a:pt x="15239" y="4511"/>
                  </a:lnTo>
                  <a:lnTo>
                    <a:pt x="15239" y="4511"/>
                  </a:lnTo>
                  <a:lnTo>
                    <a:pt x="15605" y="4145"/>
                  </a:lnTo>
                  <a:lnTo>
                    <a:pt x="15909" y="3840"/>
                  </a:lnTo>
                  <a:lnTo>
                    <a:pt x="16214" y="3475"/>
                  </a:lnTo>
                  <a:lnTo>
                    <a:pt x="16458" y="3109"/>
                  </a:lnTo>
                  <a:lnTo>
                    <a:pt x="16641" y="2743"/>
                  </a:lnTo>
                  <a:lnTo>
                    <a:pt x="16824" y="2317"/>
                  </a:lnTo>
                  <a:lnTo>
                    <a:pt x="16885" y="1951"/>
                  </a:lnTo>
                  <a:lnTo>
                    <a:pt x="17007" y="1585"/>
                  </a:lnTo>
                  <a:lnTo>
                    <a:pt x="17007" y="1585"/>
                  </a:lnTo>
                  <a:lnTo>
                    <a:pt x="17007" y="1585"/>
                  </a:lnTo>
                  <a:lnTo>
                    <a:pt x="17007" y="1585"/>
                  </a:lnTo>
                  <a:lnTo>
                    <a:pt x="17007" y="1585"/>
                  </a:lnTo>
                  <a:lnTo>
                    <a:pt x="17007" y="1585"/>
                  </a:lnTo>
                  <a:lnTo>
                    <a:pt x="17007" y="1585"/>
                  </a:lnTo>
                  <a:lnTo>
                    <a:pt x="17007" y="1585"/>
                  </a:lnTo>
                  <a:lnTo>
                    <a:pt x="17007" y="1585"/>
                  </a:lnTo>
                  <a:lnTo>
                    <a:pt x="17007" y="1585"/>
                  </a:lnTo>
                  <a:lnTo>
                    <a:pt x="17007" y="1585"/>
                  </a:lnTo>
                  <a:lnTo>
                    <a:pt x="17007" y="1585"/>
                  </a:lnTo>
                  <a:lnTo>
                    <a:pt x="17007" y="1585"/>
                  </a:lnTo>
                  <a:lnTo>
                    <a:pt x="17007" y="1585"/>
                  </a:lnTo>
                  <a:lnTo>
                    <a:pt x="17007" y="1524"/>
                  </a:lnTo>
                  <a:lnTo>
                    <a:pt x="17007" y="1524"/>
                  </a:lnTo>
                  <a:lnTo>
                    <a:pt x="17007" y="1524"/>
                  </a:lnTo>
                  <a:lnTo>
                    <a:pt x="17007" y="1524"/>
                  </a:lnTo>
                  <a:lnTo>
                    <a:pt x="17007" y="1158"/>
                  </a:lnTo>
                  <a:lnTo>
                    <a:pt x="17007" y="732"/>
                  </a:lnTo>
                  <a:lnTo>
                    <a:pt x="16946" y="366"/>
                  </a:lnTo>
                  <a:lnTo>
                    <a:pt x="1682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2" name="Google Shape;1052;p16"/>
            <p:cNvSpPr/>
            <p:nvPr/>
          </p:nvSpPr>
          <p:spPr>
            <a:xfrm>
              <a:off x="4731900" y="3622450"/>
              <a:ext cx="460225" cy="288025"/>
            </a:xfrm>
            <a:custGeom>
              <a:avLst/>
              <a:gdLst/>
              <a:ahLst/>
              <a:cxnLst/>
              <a:rect l="l" t="t" r="r" b="b"/>
              <a:pathLst>
                <a:path w="18409" h="11521" extrusionOk="0">
                  <a:moveTo>
                    <a:pt x="5182" y="11338"/>
                  </a:moveTo>
                  <a:lnTo>
                    <a:pt x="5182" y="11338"/>
                  </a:lnTo>
                  <a:lnTo>
                    <a:pt x="3475" y="11520"/>
                  </a:lnTo>
                  <a:lnTo>
                    <a:pt x="1829" y="11520"/>
                  </a:lnTo>
                  <a:lnTo>
                    <a:pt x="1829" y="11520"/>
                  </a:lnTo>
                  <a:lnTo>
                    <a:pt x="854" y="11520"/>
                  </a:lnTo>
                  <a:lnTo>
                    <a:pt x="1" y="11459"/>
                  </a:lnTo>
                  <a:lnTo>
                    <a:pt x="1" y="11459"/>
                  </a:lnTo>
                  <a:lnTo>
                    <a:pt x="854" y="11520"/>
                  </a:lnTo>
                  <a:lnTo>
                    <a:pt x="1829" y="11520"/>
                  </a:lnTo>
                  <a:lnTo>
                    <a:pt x="1829" y="11520"/>
                  </a:lnTo>
                  <a:lnTo>
                    <a:pt x="3475" y="11520"/>
                  </a:lnTo>
                  <a:lnTo>
                    <a:pt x="5182" y="11338"/>
                  </a:lnTo>
                  <a:close/>
                  <a:moveTo>
                    <a:pt x="17007" y="5669"/>
                  </a:moveTo>
                  <a:lnTo>
                    <a:pt x="17007" y="5669"/>
                  </a:lnTo>
                  <a:lnTo>
                    <a:pt x="17007" y="5669"/>
                  </a:lnTo>
                  <a:lnTo>
                    <a:pt x="17007" y="5669"/>
                  </a:lnTo>
                  <a:lnTo>
                    <a:pt x="17007" y="5669"/>
                  </a:lnTo>
                  <a:close/>
                  <a:moveTo>
                    <a:pt x="18409" y="2804"/>
                  </a:moveTo>
                  <a:lnTo>
                    <a:pt x="18409" y="2804"/>
                  </a:lnTo>
                  <a:lnTo>
                    <a:pt x="18226" y="3475"/>
                  </a:lnTo>
                  <a:lnTo>
                    <a:pt x="17982" y="4206"/>
                  </a:lnTo>
                  <a:lnTo>
                    <a:pt x="17982" y="4206"/>
                  </a:lnTo>
                  <a:lnTo>
                    <a:pt x="17555" y="4937"/>
                  </a:lnTo>
                  <a:lnTo>
                    <a:pt x="17007" y="5669"/>
                  </a:lnTo>
                  <a:lnTo>
                    <a:pt x="17007" y="5669"/>
                  </a:lnTo>
                  <a:lnTo>
                    <a:pt x="17555" y="4937"/>
                  </a:lnTo>
                  <a:lnTo>
                    <a:pt x="17982" y="4206"/>
                  </a:lnTo>
                  <a:lnTo>
                    <a:pt x="17982" y="4206"/>
                  </a:lnTo>
                  <a:lnTo>
                    <a:pt x="18226" y="3475"/>
                  </a:lnTo>
                  <a:lnTo>
                    <a:pt x="18409" y="2804"/>
                  </a:lnTo>
                  <a:close/>
                  <a:moveTo>
                    <a:pt x="17495" y="0"/>
                  </a:moveTo>
                  <a:lnTo>
                    <a:pt x="17495" y="0"/>
                  </a:lnTo>
                  <a:lnTo>
                    <a:pt x="17495" y="0"/>
                  </a:lnTo>
                  <a:lnTo>
                    <a:pt x="17495" y="0"/>
                  </a:lnTo>
                  <a:lnTo>
                    <a:pt x="17921" y="610"/>
                  </a:lnTo>
                  <a:lnTo>
                    <a:pt x="18104" y="975"/>
                  </a:lnTo>
                  <a:lnTo>
                    <a:pt x="18287" y="1402"/>
                  </a:lnTo>
                  <a:lnTo>
                    <a:pt x="18287" y="1402"/>
                  </a:lnTo>
                  <a:lnTo>
                    <a:pt x="18104" y="975"/>
                  </a:lnTo>
                  <a:lnTo>
                    <a:pt x="17921" y="610"/>
                  </a:lnTo>
                  <a:lnTo>
                    <a:pt x="17495" y="0"/>
                  </a:lnTo>
                  <a:close/>
                </a:path>
              </a:pathLst>
            </a:custGeom>
            <a:solidFill>
              <a:srgbClr val="DFDDD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6"/>
            <p:cNvSpPr/>
            <p:nvPr/>
          </p:nvSpPr>
          <p:spPr>
            <a:xfrm>
              <a:off x="4731900" y="3905875"/>
              <a:ext cx="129550" cy="4600"/>
            </a:xfrm>
            <a:custGeom>
              <a:avLst/>
              <a:gdLst/>
              <a:ahLst/>
              <a:cxnLst/>
              <a:rect l="l" t="t" r="r" b="b"/>
              <a:pathLst>
                <a:path w="5182" h="184" fill="none" extrusionOk="0">
                  <a:moveTo>
                    <a:pt x="5182" y="1"/>
                  </a:moveTo>
                  <a:lnTo>
                    <a:pt x="5182" y="1"/>
                  </a:lnTo>
                  <a:lnTo>
                    <a:pt x="3475" y="183"/>
                  </a:lnTo>
                  <a:lnTo>
                    <a:pt x="1829" y="183"/>
                  </a:lnTo>
                  <a:lnTo>
                    <a:pt x="1829" y="183"/>
                  </a:lnTo>
                  <a:lnTo>
                    <a:pt x="854" y="183"/>
                  </a:lnTo>
                  <a:lnTo>
                    <a:pt x="1" y="122"/>
                  </a:lnTo>
                  <a:lnTo>
                    <a:pt x="1" y="122"/>
                  </a:lnTo>
                  <a:lnTo>
                    <a:pt x="854" y="183"/>
                  </a:lnTo>
                  <a:lnTo>
                    <a:pt x="1829" y="183"/>
                  </a:lnTo>
                  <a:lnTo>
                    <a:pt x="1829" y="183"/>
                  </a:lnTo>
                  <a:lnTo>
                    <a:pt x="3475" y="183"/>
                  </a:lnTo>
                  <a:lnTo>
                    <a:pt x="518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4" name="Google Shape;1054;p16"/>
            <p:cNvSpPr/>
            <p:nvPr/>
          </p:nvSpPr>
          <p:spPr>
            <a:xfrm>
              <a:off x="5157050" y="37641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5" name="Google Shape;1055;p16"/>
            <p:cNvSpPr/>
            <p:nvPr/>
          </p:nvSpPr>
          <p:spPr>
            <a:xfrm>
              <a:off x="5157050" y="3692550"/>
              <a:ext cx="35075" cy="71625"/>
            </a:xfrm>
            <a:custGeom>
              <a:avLst/>
              <a:gdLst/>
              <a:ahLst/>
              <a:cxnLst/>
              <a:rect l="l" t="t" r="r" b="b"/>
              <a:pathLst>
                <a:path w="1403" h="2865" fill="none" extrusionOk="0">
                  <a:moveTo>
                    <a:pt x="1403" y="0"/>
                  </a:moveTo>
                  <a:lnTo>
                    <a:pt x="1403" y="0"/>
                  </a:lnTo>
                  <a:lnTo>
                    <a:pt x="1220" y="671"/>
                  </a:lnTo>
                  <a:lnTo>
                    <a:pt x="976" y="1402"/>
                  </a:lnTo>
                  <a:lnTo>
                    <a:pt x="976" y="1402"/>
                  </a:lnTo>
                  <a:lnTo>
                    <a:pt x="549" y="2133"/>
                  </a:lnTo>
                  <a:lnTo>
                    <a:pt x="1" y="2865"/>
                  </a:lnTo>
                  <a:lnTo>
                    <a:pt x="1" y="2865"/>
                  </a:lnTo>
                  <a:lnTo>
                    <a:pt x="549" y="2133"/>
                  </a:lnTo>
                  <a:lnTo>
                    <a:pt x="976" y="1402"/>
                  </a:lnTo>
                  <a:lnTo>
                    <a:pt x="976" y="1402"/>
                  </a:lnTo>
                  <a:lnTo>
                    <a:pt x="1220" y="671"/>
                  </a:lnTo>
                  <a:lnTo>
                    <a:pt x="140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6" name="Google Shape;1056;p16"/>
            <p:cNvSpPr/>
            <p:nvPr/>
          </p:nvSpPr>
          <p:spPr>
            <a:xfrm>
              <a:off x="5169250" y="3622450"/>
              <a:ext cx="19825" cy="35075"/>
            </a:xfrm>
            <a:custGeom>
              <a:avLst/>
              <a:gdLst/>
              <a:ahLst/>
              <a:cxnLst/>
              <a:rect l="l" t="t" r="r" b="b"/>
              <a:pathLst>
                <a:path w="793" h="1403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427" y="610"/>
                  </a:lnTo>
                  <a:lnTo>
                    <a:pt x="610" y="975"/>
                  </a:lnTo>
                  <a:lnTo>
                    <a:pt x="793" y="1402"/>
                  </a:lnTo>
                  <a:lnTo>
                    <a:pt x="793" y="1402"/>
                  </a:lnTo>
                  <a:lnTo>
                    <a:pt x="610" y="975"/>
                  </a:lnTo>
                  <a:lnTo>
                    <a:pt x="427" y="61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7" name="Google Shape;1057;p16"/>
            <p:cNvSpPr/>
            <p:nvPr/>
          </p:nvSpPr>
          <p:spPr>
            <a:xfrm>
              <a:off x="4640475" y="3622450"/>
              <a:ext cx="551650" cy="288025"/>
            </a:xfrm>
            <a:custGeom>
              <a:avLst/>
              <a:gdLst/>
              <a:ahLst/>
              <a:cxnLst/>
              <a:rect l="l" t="t" r="r" b="b"/>
              <a:pathLst>
                <a:path w="22066" h="11521" extrusionOk="0">
                  <a:moveTo>
                    <a:pt x="21152" y="0"/>
                  </a:moveTo>
                  <a:lnTo>
                    <a:pt x="20969" y="793"/>
                  </a:lnTo>
                  <a:lnTo>
                    <a:pt x="20664" y="1463"/>
                  </a:lnTo>
                  <a:lnTo>
                    <a:pt x="20420" y="2073"/>
                  </a:lnTo>
                  <a:lnTo>
                    <a:pt x="20054" y="2560"/>
                  </a:lnTo>
                  <a:lnTo>
                    <a:pt x="19689" y="2987"/>
                  </a:lnTo>
                  <a:lnTo>
                    <a:pt x="19323" y="3353"/>
                  </a:lnTo>
                  <a:lnTo>
                    <a:pt x="18896" y="3657"/>
                  </a:lnTo>
                  <a:lnTo>
                    <a:pt x="18470" y="3901"/>
                  </a:lnTo>
                  <a:lnTo>
                    <a:pt x="17982" y="4084"/>
                  </a:lnTo>
                  <a:lnTo>
                    <a:pt x="17433" y="4267"/>
                  </a:lnTo>
                  <a:lnTo>
                    <a:pt x="16336" y="4511"/>
                  </a:lnTo>
                  <a:lnTo>
                    <a:pt x="13715" y="4815"/>
                  </a:lnTo>
                  <a:lnTo>
                    <a:pt x="12435" y="5120"/>
                  </a:lnTo>
                  <a:lnTo>
                    <a:pt x="11338" y="5425"/>
                  </a:lnTo>
                  <a:lnTo>
                    <a:pt x="10424" y="5852"/>
                  </a:lnTo>
                  <a:lnTo>
                    <a:pt x="9570" y="6339"/>
                  </a:lnTo>
                  <a:lnTo>
                    <a:pt x="8839" y="6888"/>
                  </a:lnTo>
                  <a:lnTo>
                    <a:pt x="7986" y="7619"/>
                  </a:lnTo>
                  <a:lnTo>
                    <a:pt x="6096" y="9326"/>
                  </a:lnTo>
                  <a:lnTo>
                    <a:pt x="5852" y="9509"/>
                  </a:lnTo>
                  <a:lnTo>
                    <a:pt x="5608" y="9692"/>
                  </a:lnTo>
                  <a:lnTo>
                    <a:pt x="4999" y="9936"/>
                  </a:lnTo>
                  <a:lnTo>
                    <a:pt x="4389" y="10057"/>
                  </a:lnTo>
                  <a:lnTo>
                    <a:pt x="3048" y="10057"/>
                  </a:lnTo>
                  <a:lnTo>
                    <a:pt x="2378" y="9936"/>
                  </a:lnTo>
                  <a:lnTo>
                    <a:pt x="1768" y="9814"/>
                  </a:lnTo>
                  <a:lnTo>
                    <a:pt x="1159" y="9631"/>
                  </a:lnTo>
                  <a:lnTo>
                    <a:pt x="366" y="9326"/>
                  </a:lnTo>
                  <a:lnTo>
                    <a:pt x="1" y="9204"/>
                  </a:lnTo>
                  <a:lnTo>
                    <a:pt x="184" y="9875"/>
                  </a:lnTo>
                  <a:lnTo>
                    <a:pt x="366" y="10179"/>
                  </a:lnTo>
                  <a:lnTo>
                    <a:pt x="610" y="10484"/>
                  </a:lnTo>
                  <a:lnTo>
                    <a:pt x="976" y="10728"/>
                  </a:lnTo>
                  <a:lnTo>
                    <a:pt x="1342" y="10911"/>
                  </a:lnTo>
                  <a:lnTo>
                    <a:pt x="1829" y="11094"/>
                  </a:lnTo>
                  <a:lnTo>
                    <a:pt x="2378" y="11277"/>
                  </a:lnTo>
                  <a:lnTo>
                    <a:pt x="2987" y="11398"/>
                  </a:lnTo>
                  <a:lnTo>
                    <a:pt x="3658" y="11459"/>
                  </a:lnTo>
                  <a:lnTo>
                    <a:pt x="4511" y="11520"/>
                  </a:lnTo>
                  <a:lnTo>
                    <a:pt x="7132" y="11520"/>
                  </a:lnTo>
                  <a:lnTo>
                    <a:pt x="8839" y="11338"/>
                  </a:lnTo>
                  <a:lnTo>
                    <a:pt x="10241" y="11094"/>
                  </a:lnTo>
                  <a:lnTo>
                    <a:pt x="11826" y="10667"/>
                  </a:lnTo>
                  <a:lnTo>
                    <a:pt x="13471" y="10118"/>
                  </a:lnTo>
                  <a:lnTo>
                    <a:pt x="15117" y="9448"/>
                  </a:lnTo>
                  <a:lnTo>
                    <a:pt x="16702" y="8656"/>
                  </a:lnTo>
                  <a:lnTo>
                    <a:pt x="17494" y="8168"/>
                  </a:lnTo>
                  <a:lnTo>
                    <a:pt x="18226" y="7741"/>
                  </a:lnTo>
                  <a:lnTo>
                    <a:pt x="18896" y="7254"/>
                  </a:lnTo>
                  <a:lnTo>
                    <a:pt x="19567" y="6705"/>
                  </a:lnTo>
                  <a:lnTo>
                    <a:pt x="20115" y="6217"/>
                  </a:lnTo>
                  <a:lnTo>
                    <a:pt x="20664" y="5669"/>
                  </a:lnTo>
                  <a:lnTo>
                    <a:pt x="21212" y="4937"/>
                  </a:lnTo>
                  <a:lnTo>
                    <a:pt x="21639" y="4206"/>
                  </a:lnTo>
                  <a:lnTo>
                    <a:pt x="21883" y="3475"/>
                  </a:lnTo>
                  <a:lnTo>
                    <a:pt x="22066" y="2804"/>
                  </a:lnTo>
                  <a:lnTo>
                    <a:pt x="22066" y="2377"/>
                  </a:lnTo>
                  <a:lnTo>
                    <a:pt x="22066" y="2012"/>
                  </a:lnTo>
                  <a:lnTo>
                    <a:pt x="22005" y="1707"/>
                  </a:lnTo>
                  <a:lnTo>
                    <a:pt x="21944" y="1402"/>
                  </a:lnTo>
                  <a:lnTo>
                    <a:pt x="21761" y="975"/>
                  </a:lnTo>
                  <a:lnTo>
                    <a:pt x="21578" y="610"/>
                  </a:lnTo>
                  <a:lnTo>
                    <a:pt x="21152" y="0"/>
                  </a:lnTo>
                  <a:close/>
                </a:path>
              </a:pathLst>
            </a:custGeom>
            <a:solidFill>
              <a:srgbClr val="225A3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8" name="Google Shape;1058;p16"/>
            <p:cNvSpPr/>
            <p:nvPr/>
          </p:nvSpPr>
          <p:spPr>
            <a:xfrm>
              <a:off x="4640475" y="3622450"/>
              <a:ext cx="551650" cy="288025"/>
            </a:xfrm>
            <a:custGeom>
              <a:avLst/>
              <a:gdLst/>
              <a:ahLst/>
              <a:cxnLst/>
              <a:rect l="l" t="t" r="r" b="b"/>
              <a:pathLst>
                <a:path w="22066" h="11521" fill="none" extrusionOk="0">
                  <a:moveTo>
                    <a:pt x="21152" y="0"/>
                  </a:moveTo>
                  <a:lnTo>
                    <a:pt x="21152" y="0"/>
                  </a:lnTo>
                  <a:lnTo>
                    <a:pt x="20969" y="793"/>
                  </a:lnTo>
                  <a:lnTo>
                    <a:pt x="20664" y="1463"/>
                  </a:lnTo>
                  <a:lnTo>
                    <a:pt x="20420" y="2073"/>
                  </a:lnTo>
                  <a:lnTo>
                    <a:pt x="20054" y="2560"/>
                  </a:lnTo>
                  <a:lnTo>
                    <a:pt x="19689" y="2987"/>
                  </a:lnTo>
                  <a:lnTo>
                    <a:pt x="19323" y="3353"/>
                  </a:lnTo>
                  <a:lnTo>
                    <a:pt x="18896" y="3657"/>
                  </a:lnTo>
                  <a:lnTo>
                    <a:pt x="18470" y="3901"/>
                  </a:lnTo>
                  <a:lnTo>
                    <a:pt x="17982" y="4084"/>
                  </a:lnTo>
                  <a:lnTo>
                    <a:pt x="17433" y="4267"/>
                  </a:lnTo>
                  <a:lnTo>
                    <a:pt x="16336" y="4511"/>
                  </a:lnTo>
                  <a:lnTo>
                    <a:pt x="13715" y="4815"/>
                  </a:lnTo>
                  <a:lnTo>
                    <a:pt x="13715" y="4815"/>
                  </a:lnTo>
                  <a:lnTo>
                    <a:pt x="12435" y="5120"/>
                  </a:lnTo>
                  <a:lnTo>
                    <a:pt x="11338" y="5425"/>
                  </a:lnTo>
                  <a:lnTo>
                    <a:pt x="10424" y="5852"/>
                  </a:lnTo>
                  <a:lnTo>
                    <a:pt x="9570" y="6339"/>
                  </a:lnTo>
                  <a:lnTo>
                    <a:pt x="8839" y="6888"/>
                  </a:lnTo>
                  <a:lnTo>
                    <a:pt x="7986" y="7619"/>
                  </a:lnTo>
                  <a:lnTo>
                    <a:pt x="6096" y="9326"/>
                  </a:lnTo>
                  <a:lnTo>
                    <a:pt x="6096" y="9326"/>
                  </a:lnTo>
                  <a:lnTo>
                    <a:pt x="5852" y="9509"/>
                  </a:lnTo>
                  <a:lnTo>
                    <a:pt x="5608" y="9692"/>
                  </a:lnTo>
                  <a:lnTo>
                    <a:pt x="4999" y="9936"/>
                  </a:lnTo>
                  <a:lnTo>
                    <a:pt x="4389" y="10057"/>
                  </a:lnTo>
                  <a:lnTo>
                    <a:pt x="3719" y="10057"/>
                  </a:lnTo>
                  <a:lnTo>
                    <a:pt x="3719" y="10057"/>
                  </a:lnTo>
                  <a:lnTo>
                    <a:pt x="3048" y="10057"/>
                  </a:lnTo>
                  <a:lnTo>
                    <a:pt x="2378" y="9936"/>
                  </a:lnTo>
                  <a:lnTo>
                    <a:pt x="1768" y="9814"/>
                  </a:lnTo>
                  <a:lnTo>
                    <a:pt x="1159" y="9631"/>
                  </a:lnTo>
                  <a:lnTo>
                    <a:pt x="366" y="9326"/>
                  </a:lnTo>
                  <a:lnTo>
                    <a:pt x="1" y="9204"/>
                  </a:lnTo>
                  <a:lnTo>
                    <a:pt x="1" y="9204"/>
                  </a:lnTo>
                  <a:lnTo>
                    <a:pt x="1" y="9204"/>
                  </a:lnTo>
                  <a:lnTo>
                    <a:pt x="184" y="9875"/>
                  </a:lnTo>
                  <a:lnTo>
                    <a:pt x="184" y="9875"/>
                  </a:lnTo>
                  <a:lnTo>
                    <a:pt x="366" y="10179"/>
                  </a:lnTo>
                  <a:lnTo>
                    <a:pt x="610" y="10484"/>
                  </a:lnTo>
                  <a:lnTo>
                    <a:pt x="976" y="10728"/>
                  </a:lnTo>
                  <a:lnTo>
                    <a:pt x="1342" y="10911"/>
                  </a:lnTo>
                  <a:lnTo>
                    <a:pt x="1829" y="11094"/>
                  </a:lnTo>
                  <a:lnTo>
                    <a:pt x="2378" y="11277"/>
                  </a:lnTo>
                  <a:lnTo>
                    <a:pt x="2987" y="11398"/>
                  </a:lnTo>
                  <a:lnTo>
                    <a:pt x="3658" y="11459"/>
                  </a:lnTo>
                  <a:lnTo>
                    <a:pt x="3658" y="11459"/>
                  </a:lnTo>
                  <a:lnTo>
                    <a:pt x="4511" y="11520"/>
                  </a:lnTo>
                  <a:lnTo>
                    <a:pt x="5486" y="11520"/>
                  </a:lnTo>
                  <a:lnTo>
                    <a:pt x="5486" y="11520"/>
                  </a:lnTo>
                  <a:lnTo>
                    <a:pt x="7132" y="11520"/>
                  </a:lnTo>
                  <a:lnTo>
                    <a:pt x="8839" y="11338"/>
                  </a:lnTo>
                  <a:lnTo>
                    <a:pt x="8839" y="11338"/>
                  </a:lnTo>
                  <a:lnTo>
                    <a:pt x="8839" y="11338"/>
                  </a:lnTo>
                  <a:lnTo>
                    <a:pt x="10241" y="11094"/>
                  </a:lnTo>
                  <a:lnTo>
                    <a:pt x="11826" y="10667"/>
                  </a:lnTo>
                  <a:lnTo>
                    <a:pt x="13471" y="10118"/>
                  </a:lnTo>
                  <a:lnTo>
                    <a:pt x="15117" y="9448"/>
                  </a:lnTo>
                  <a:lnTo>
                    <a:pt x="16702" y="8656"/>
                  </a:lnTo>
                  <a:lnTo>
                    <a:pt x="17494" y="8168"/>
                  </a:lnTo>
                  <a:lnTo>
                    <a:pt x="18226" y="7741"/>
                  </a:lnTo>
                  <a:lnTo>
                    <a:pt x="18896" y="7254"/>
                  </a:lnTo>
                  <a:lnTo>
                    <a:pt x="19567" y="6705"/>
                  </a:lnTo>
                  <a:lnTo>
                    <a:pt x="20115" y="6217"/>
                  </a:lnTo>
                  <a:lnTo>
                    <a:pt x="20664" y="5669"/>
                  </a:lnTo>
                  <a:lnTo>
                    <a:pt x="20664" y="5669"/>
                  </a:lnTo>
                  <a:lnTo>
                    <a:pt x="20664" y="5669"/>
                  </a:lnTo>
                  <a:lnTo>
                    <a:pt x="20664" y="5669"/>
                  </a:lnTo>
                  <a:lnTo>
                    <a:pt x="20664" y="5669"/>
                  </a:lnTo>
                  <a:lnTo>
                    <a:pt x="20664" y="5669"/>
                  </a:lnTo>
                  <a:lnTo>
                    <a:pt x="21212" y="4937"/>
                  </a:lnTo>
                  <a:lnTo>
                    <a:pt x="21639" y="4206"/>
                  </a:lnTo>
                  <a:lnTo>
                    <a:pt x="21639" y="4206"/>
                  </a:lnTo>
                  <a:lnTo>
                    <a:pt x="21883" y="3475"/>
                  </a:lnTo>
                  <a:lnTo>
                    <a:pt x="22066" y="2804"/>
                  </a:lnTo>
                  <a:lnTo>
                    <a:pt x="22066" y="2804"/>
                  </a:lnTo>
                  <a:lnTo>
                    <a:pt x="22066" y="2377"/>
                  </a:lnTo>
                  <a:lnTo>
                    <a:pt x="22066" y="2012"/>
                  </a:lnTo>
                  <a:lnTo>
                    <a:pt x="22005" y="1707"/>
                  </a:lnTo>
                  <a:lnTo>
                    <a:pt x="21944" y="1402"/>
                  </a:lnTo>
                  <a:lnTo>
                    <a:pt x="21944" y="1402"/>
                  </a:lnTo>
                  <a:lnTo>
                    <a:pt x="21761" y="975"/>
                  </a:lnTo>
                  <a:lnTo>
                    <a:pt x="21578" y="610"/>
                  </a:lnTo>
                  <a:lnTo>
                    <a:pt x="2115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9" name="Google Shape;1059;p16"/>
            <p:cNvSpPr/>
            <p:nvPr/>
          </p:nvSpPr>
          <p:spPr>
            <a:xfrm>
              <a:off x="4110175" y="3625500"/>
              <a:ext cx="3075" cy="25925"/>
            </a:xfrm>
            <a:custGeom>
              <a:avLst/>
              <a:gdLst/>
              <a:ahLst/>
              <a:cxnLst/>
              <a:rect l="l" t="t" r="r" b="b"/>
              <a:pathLst>
                <a:path w="123" h="1037" extrusionOk="0">
                  <a:moveTo>
                    <a:pt x="1" y="1036"/>
                  </a:moveTo>
                  <a:lnTo>
                    <a:pt x="1" y="1036"/>
                  </a:lnTo>
                  <a:lnTo>
                    <a:pt x="1" y="1036"/>
                  </a:lnTo>
                  <a:lnTo>
                    <a:pt x="1" y="1036"/>
                  </a:lnTo>
                  <a:lnTo>
                    <a:pt x="1" y="1036"/>
                  </a:lnTo>
                  <a:close/>
                  <a:moveTo>
                    <a:pt x="123" y="0"/>
                  </a:moveTo>
                  <a:lnTo>
                    <a:pt x="123" y="0"/>
                  </a:lnTo>
                  <a:lnTo>
                    <a:pt x="123" y="0"/>
                  </a:lnTo>
                  <a:lnTo>
                    <a:pt x="62" y="549"/>
                  </a:lnTo>
                  <a:lnTo>
                    <a:pt x="1" y="1036"/>
                  </a:lnTo>
                  <a:lnTo>
                    <a:pt x="1" y="1036"/>
                  </a:lnTo>
                  <a:lnTo>
                    <a:pt x="62" y="549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B4B0B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0" name="Google Shape;1060;p16"/>
            <p:cNvSpPr/>
            <p:nvPr/>
          </p:nvSpPr>
          <p:spPr>
            <a:xfrm>
              <a:off x="4110175" y="36514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1" name="Google Shape;1061;p16"/>
            <p:cNvSpPr/>
            <p:nvPr/>
          </p:nvSpPr>
          <p:spPr>
            <a:xfrm>
              <a:off x="4110175" y="3625500"/>
              <a:ext cx="3075" cy="25925"/>
            </a:xfrm>
            <a:custGeom>
              <a:avLst/>
              <a:gdLst/>
              <a:ahLst/>
              <a:cxnLst/>
              <a:rect l="l" t="t" r="r" b="b"/>
              <a:pathLst>
                <a:path w="123" h="1037" fill="none" extrusionOk="0">
                  <a:moveTo>
                    <a:pt x="123" y="0"/>
                  </a:moveTo>
                  <a:lnTo>
                    <a:pt x="123" y="0"/>
                  </a:lnTo>
                  <a:lnTo>
                    <a:pt x="123" y="0"/>
                  </a:lnTo>
                  <a:lnTo>
                    <a:pt x="62" y="549"/>
                  </a:lnTo>
                  <a:lnTo>
                    <a:pt x="1" y="1036"/>
                  </a:lnTo>
                  <a:lnTo>
                    <a:pt x="1" y="1036"/>
                  </a:lnTo>
                  <a:lnTo>
                    <a:pt x="62" y="549"/>
                  </a:lnTo>
                  <a:lnTo>
                    <a:pt x="12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2" name="Google Shape;1062;p16"/>
            <p:cNvSpPr/>
            <p:nvPr/>
          </p:nvSpPr>
          <p:spPr>
            <a:xfrm>
              <a:off x="4110175" y="3604150"/>
              <a:ext cx="158500" cy="88425"/>
            </a:xfrm>
            <a:custGeom>
              <a:avLst/>
              <a:gdLst/>
              <a:ahLst/>
              <a:cxnLst/>
              <a:rect l="l" t="t" r="r" b="b"/>
              <a:pathLst>
                <a:path w="6340" h="3537" extrusionOk="0">
                  <a:moveTo>
                    <a:pt x="3414" y="1"/>
                  </a:moveTo>
                  <a:lnTo>
                    <a:pt x="2683" y="62"/>
                  </a:lnTo>
                  <a:lnTo>
                    <a:pt x="1890" y="184"/>
                  </a:lnTo>
                  <a:lnTo>
                    <a:pt x="1037" y="488"/>
                  </a:lnTo>
                  <a:lnTo>
                    <a:pt x="123" y="854"/>
                  </a:lnTo>
                  <a:lnTo>
                    <a:pt x="62" y="1403"/>
                  </a:lnTo>
                  <a:lnTo>
                    <a:pt x="1" y="1890"/>
                  </a:lnTo>
                  <a:lnTo>
                    <a:pt x="62" y="2805"/>
                  </a:lnTo>
                  <a:lnTo>
                    <a:pt x="62" y="3170"/>
                  </a:lnTo>
                  <a:lnTo>
                    <a:pt x="1" y="3536"/>
                  </a:lnTo>
                  <a:lnTo>
                    <a:pt x="245" y="3292"/>
                  </a:lnTo>
                  <a:lnTo>
                    <a:pt x="549" y="2987"/>
                  </a:lnTo>
                  <a:lnTo>
                    <a:pt x="976" y="2622"/>
                  </a:lnTo>
                  <a:lnTo>
                    <a:pt x="1464" y="2256"/>
                  </a:lnTo>
                  <a:lnTo>
                    <a:pt x="2134" y="1890"/>
                  </a:lnTo>
                  <a:lnTo>
                    <a:pt x="2927" y="1525"/>
                  </a:lnTo>
                  <a:lnTo>
                    <a:pt x="3902" y="1220"/>
                  </a:lnTo>
                  <a:lnTo>
                    <a:pt x="4268" y="1098"/>
                  </a:lnTo>
                  <a:lnTo>
                    <a:pt x="4694" y="1037"/>
                  </a:lnTo>
                  <a:lnTo>
                    <a:pt x="6340" y="1037"/>
                  </a:lnTo>
                  <a:lnTo>
                    <a:pt x="6157" y="915"/>
                  </a:lnTo>
                  <a:lnTo>
                    <a:pt x="5609" y="549"/>
                  </a:lnTo>
                  <a:lnTo>
                    <a:pt x="5182" y="366"/>
                  </a:lnTo>
                  <a:lnTo>
                    <a:pt x="4694" y="184"/>
                  </a:lnTo>
                  <a:lnTo>
                    <a:pt x="4085" y="62"/>
                  </a:lnTo>
                  <a:lnTo>
                    <a:pt x="3414" y="1"/>
                  </a:lnTo>
                  <a:close/>
                </a:path>
              </a:pathLst>
            </a:custGeom>
            <a:solidFill>
              <a:srgbClr val="2550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3" name="Google Shape;1063;p16"/>
            <p:cNvSpPr/>
            <p:nvPr/>
          </p:nvSpPr>
          <p:spPr>
            <a:xfrm>
              <a:off x="4110175" y="3604150"/>
              <a:ext cx="158500" cy="88425"/>
            </a:xfrm>
            <a:custGeom>
              <a:avLst/>
              <a:gdLst/>
              <a:ahLst/>
              <a:cxnLst/>
              <a:rect l="l" t="t" r="r" b="b"/>
              <a:pathLst>
                <a:path w="6340" h="3537" fill="none" extrusionOk="0">
                  <a:moveTo>
                    <a:pt x="3414" y="1"/>
                  </a:moveTo>
                  <a:lnTo>
                    <a:pt x="3414" y="1"/>
                  </a:lnTo>
                  <a:lnTo>
                    <a:pt x="2683" y="62"/>
                  </a:lnTo>
                  <a:lnTo>
                    <a:pt x="1890" y="184"/>
                  </a:lnTo>
                  <a:lnTo>
                    <a:pt x="1037" y="488"/>
                  </a:lnTo>
                  <a:lnTo>
                    <a:pt x="123" y="854"/>
                  </a:lnTo>
                  <a:lnTo>
                    <a:pt x="123" y="854"/>
                  </a:lnTo>
                  <a:lnTo>
                    <a:pt x="62" y="1403"/>
                  </a:lnTo>
                  <a:lnTo>
                    <a:pt x="1" y="1890"/>
                  </a:lnTo>
                  <a:lnTo>
                    <a:pt x="1" y="1890"/>
                  </a:lnTo>
                  <a:lnTo>
                    <a:pt x="1" y="1890"/>
                  </a:lnTo>
                  <a:lnTo>
                    <a:pt x="1" y="1890"/>
                  </a:lnTo>
                  <a:lnTo>
                    <a:pt x="1" y="1890"/>
                  </a:lnTo>
                  <a:lnTo>
                    <a:pt x="1" y="1890"/>
                  </a:lnTo>
                  <a:lnTo>
                    <a:pt x="62" y="2805"/>
                  </a:lnTo>
                  <a:lnTo>
                    <a:pt x="62" y="3170"/>
                  </a:lnTo>
                  <a:lnTo>
                    <a:pt x="1" y="3536"/>
                  </a:lnTo>
                  <a:lnTo>
                    <a:pt x="1" y="3536"/>
                  </a:lnTo>
                  <a:lnTo>
                    <a:pt x="245" y="3292"/>
                  </a:lnTo>
                  <a:lnTo>
                    <a:pt x="549" y="2987"/>
                  </a:lnTo>
                  <a:lnTo>
                    <a:pt x="976" y="2622"/>
                  </a:lnTo>
                  <a:lnTo>
                    <a:pt x="1464" y="2256"/>
                  </a:lnTo>
                  <a:lnTo>
                    <a:pt x="2134" y="1890"/>
                  </a:lnTo>
                  <a:lnTo>
                    <a:pt x="2927" y="1525"/>
                  </a:lnTo>
                  <a:lnTo>
                    <a:pt x="3902" y="1220"/>
                  </a:lnTo>
                  <a:lnTo>
                    <a:pt x="3902" y="1220"/>
                  </a:lnTo>
                  <a:lnTo>
                    <a:pt x="4268" y="1098"/>
                  </a:lnTo>
                  <a:lnTo>
                    <a:pt x="4694" y="1037"/>
                  </a:lnTo>
                  <a:lnTo>
                    <a:pt x="5487" y="1037"/>
                  </a:lnTo>
                  <a:lnTo>
                    <a:pt x="5487" y="1037"/>
                  </a:lnTo>
                  <a:lnTo>
                    <a:pt x="6340" y="1037"/>
                  </a:lnTo>
                  <a:lnTo>
                    <a:pt x="6340" y="1037"/>
                  </a:lnTo>
                  <a:lnTo>
                    <a:pt x="6157" y="915"/>
                  </a:lnTo>
                  <a:lnTo>
                    <a:pt x="5609" y="549"/>
                  </a:lnTo>
                  <a:lnTo>
                    <a:pt x="5182" y="366"/>
                  </a:lnTo>
                  <a:lnTo>
                    <a:pt x="4694" y="184"/>
                  </a:lnTo>
                  <a:lnTo>
                    <a:pt x="4085" y="62"/>
                  </a:lnTo>
                  <a:lnTo>
                    <a:pt x="3414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4" name="Google Shape;1064;p16"/>
            <p:cNvSpPr/>
            <p:nvPr/>
          </p:nvSpPr>
          <p:spPr>
            <a:xfrm>
              <a:off x="4082750" y="3770250"/>
              <a:ext cx="431275" cy="86875"/>
            </a:xfrm>
            <a:custGeom>
              <a:avLst/>
              <a:gdLst/>
              <a:ahLst/>
              <a:cxnLst/>
              <a:rect l="l" t="t" r="r" b="b"/>
              <a:pathLst>
                <a:path w="17251" h="3475" extrusionOk="0">
                  <a:moveTo>
                    <a:pt x="1" y="3170"/>
                  </a:moveTo>
                  <a:lnTo>
                    <a:pt x="1" y="3170"/>
                  </a:lnTo>
                  <a:lnTo>
                    <a:pt x="1" y="3170"/>
                  </a:lnTo>
                  <a:lnTo>
                    <a:pt x="1" y="3170"/>
                  </a:lnTo>
                  <a:lnTo>
                    <a:pt x="1" y="3170"/>
                  </a:lnTo>
                  <a:close/>
                  <a:moveTo>
                    <a:pt x="6584" y="2622"/>
                  </a:moveTo>
                  <a:lnTo>
                    <a:pt x="6584" y="2622"/>
                  </a:lnTo>
                  <a:lnTo>
                    <a:pt x="5426" y="2805"/>
                  </a:lnTo>
                  <a:lnTo>
                    <a:pt x="4146" y="3109"/>
                  </a:lnTo>
                  <a:lnTo>
                    <a:pt x="4146" y="3109"/>
                  </a:lnTo>
                  <a:lnTo>
                    <a:pt x="2683" y="3353"/>
                  </a:lnTo>
                  <a:lnTo>
                    <a:pt x="2073" y="3475"/>
                  </a:lnTo>
                  <a:lnTo>
                    <a:pt x="1464" y="3475"/>
                  </a:lnTo>
                  <a:lnTo>
                    <a:pt x="1464" y="3475"/>
                  </a:lnTo>
                  <a:lnTo>
                    <a:pt x="1037" y="3475"/>
                  </a:lnTo>
                  <a:lnTo>
                    <a:pt x="671" y="3414"/>
                  </a:lnTo>
                  <a:lnTo>
                    <a:pt x="305" y="3292"/>
                  </a:lnTo>
                  <a:lnTo>
                    <a:pt x="1" y="3170"/>
                  </a:lnTo>
                  <a:lnTo>
                    <a:pt x="1" y="3170"/>
                  </a:lnTo>
                  <a:lnTo>
                    <a:pt x="305" y="3292"/>
                  </a:lnTo>
                  <a:lnTo>
                    <a:pt x="671" y="3414"/>
                  </a:lnTo>
                  <a:lnTo>
                    <a:pt x="1037" y="3475"/>
                  </a:lnTo>
                  <a:lnTo>
                    <a:pt x="1464" y="3475"/>
                  </a:lnTo>
                  <a:lnTo>
                    <a:pt x="1464" y="3475"/>
                  </a:lnTo>
                  <a:lnTo>
                    <a:pt x="2073" y="3475"/>
                  </a:lnTo>
                  <a:lnTo>
                    <a:pt x="2683" y="3353"/>
                  </a:lnTo>
                  <a:lnTo>
                    <a:pt x="4146" y="3109"/>
                  </a:lnTo>
                  <a:lnTo>
                    <a:pt x="4146" y="3109"/>
                  </a:lnTo>
                  <a:lnTo>
                    <a:pt x="5426" y="2805"/>
                  </a:lnTo>
                  <a:lnTo>
                    <a:pt x="6584" y="2622"/>
                  </a:lnTo>
                  <a:close/>
                  <a:moveTo>
                    <a:pt x="6645" y="2622"/>
                  </a:moveTo>
                  <a:lnTo>
                    <a:pt x="6645" y="2622"/>
                  </a:lnTo>
                  <a:lnTo>
                    <a:pt x="6584" y="2622"/>
                  </a:lnTo>
                  <a:lnTo>
                    <a:pt x="6584" y="2622"/>
                  </a:lnTo>
                  <a:lnTo>
                    <a:pt x="6645" y="2622"/>
                  </a:lnTo>
                  <a:close/>
                  <a:moveTo>
                    <a:pt x="8961" y="2500"/>
                  </a:moveTo>
                  <a:lnTo>
                    <a:pt x="8961" y="2500"/>
                  </a:lnTo>
                  <a:lnTo>
                    <a:pt x="8473" y="2500"/>
                  </a:lnTo>
                  <a:lnTo>
                    <a:pt x="8473" y="2500"/>
                  </a:lnTo>
                  <a:lnTo>
                    <a:pt x="8473" y="2500"/>
                  </a:lnTo>
                  <a:lnTo>
                    <a:pt x="8473" y="2500"/>
                  </a:lnTo>
                  <a:lnTo>
                    <a:pt x="8961" y="2500"/>
                  </a:lnTo>
                  <a:lnTo>
                    <a:pt x="8961" y="2500"/>
                  </a:lnTo>
                  <a:lnTo>
                    <a:pt x="10607" y="2561"/>
                  </a:lnTo>
                  <a:lnTo>
                    <a:pt x="10607" y="2561"/>
                  </a:lnTo>
                  <a:lnTo>
                    <a:pt x="10607" y="2561"/>
                  </a:lnTo>
                  <a:lnTo>
                    <a:pt x="10607" y="2561"/>
                  </a:lnTo>
                  <a:lnTo>
                    <a:pt x="8961" y="2500"/>
                  </a:lnTo>
                  <a:close/>
                  <a:moveTo>
                    <a:pt x="15178" y="1524"/>
                  </a:moveTo>
                  <a:lnTo>
                    <a:pt x="15178" y="1524"/>
                  </a:lnTo>
                  <a:lnTo>
                    <a:pt x="14630" y="1768"/>
                  </a:lnTo>
                  <a:lnTo>
                    <a:pt x="14142" y="2012"/>
                  </a:lnTo>
                  <a:lnTo>
                    <a:pt x="13106" y="2317"/>
                  </a:lnTo>
                  <a:lnTo>
                    <a:pt x="12191" y="2500"/>
                  </a:lnTo>
                  <a:lnTo>
                    <a:pt x="11277" y="2561"/>
                  </a:lnTo>
                  <a:lnTo>
                    <a:pt x="11277" y="2561"/>
                  </a:lnTo>
                  <a:lnTo>
                    <a:pt x="11277" y="2561"/>
                  </a:lnTo>
                  <a:lnTo>
                    <a:pt x="11277" y="2561"/>
                  </a:lnTo>
                  <a:lnTo>
                    <a:pt x="12191" y="2500"/>
                  </a:lnTo>
                  <a:lnTo>
                    <a:pt x="13106" y="2317"/>
                  </a:lnTo>
                  <a:lnTo>
                    <a:pt x="14142" y="2012"/>
                  </a:lnTo>
                  <a:lnTo>
                    <a:pt x="14630" y="1768"/>
                  </a:lnTo>
                  <a:lnTo>
                    <a:pt x="15178" y="1524"/>
                  </a:lnTo>
                  <a:lnTo>
                    <a:pt x="15178" y="1524"/>
                  </a:lnTo>
                  <a:lnTo>
                    <a:pt x="15178" y="1524"/>
                  </a:lnTo>
                  <a:close/>
                  <a:moveTo>
                    <a:pt x="16702" y="427"/>
                  </a:moveTo>
                  <a:lnTo>
                    <a:pt x="16702" y="427"/>
                  </a:lnTo>
                  <a:lnTo>
                    <a:pt x="16153" y="854"/>
                  </a:lnTo>
                  <a:lnTo>
                    <a:pt x="15605" y="1281"/>
                  </a:lnTo>
                  <a:lnTo>
                    <a:pt x="15605" y="1281"/>
                  </a:lnTo>
                  <a:lnTo>
                    <a:pt x="15605" y="1281"/>
                  </a:lnTo>
                  <a:lnTo>
                    <a:pt x="15605" y="1281"/>
                  </a:lnTo>
                  <a:lnTo>
                    <a:pt x="16153" y="854"/>
                  </a:lnTo>
                  <a:lnTo>
                    <a:pt x="16702" y="427"/>
                  </a:lnTo>
                  <a:lnTo>
                    <a:pt x="16702" y="427"/>
                  </a:lnTo>
                  <a:lnTo>
                    <a:pt x="16702" y="427"/>
                  </a:lnTo>
                  <a:close/>
                  <a:moveTo>
                    <a:pt x="17251" y="1"/>
                  </a:moveTo>
                  <a:lnTo>
                    <a:pt x="17251" y="1"/>
                  </a:lnTo>
                  <a:lnTo>
                    <a:pt x="17007" y="184"/>
                  </a:lnTo>
                  <a:lnTo>
                    <a:pt x="17007" y="184"/>
                  </a:lnTo>
                  <a:lnTo>
                    <a:pt x="17007" y="184"/>
                  </a:lnTo>
                  <a:lnTo>
                    <a:pt x="17251" y="1"/>
                  </a:lnTo>
                  <a:close/>
                  <a:moveTo>
                    <a:pt x="17251" y="1"/>
                  </a:moveTo>
                  <a:lnTo>
                    <a:pt x="17251" y="1"/>
                  </a:lnTo>
                  <a:lnTo>
                    <a:pt x="17251" y="1"/>
                  </a:lnTo>
                  <a:lnTo>
                    <a:pt x="17251" y="1"/>
                  </a:lnTo>
                  <a:lnTo>
                    <a:pt x="17251" y="1"/>
                  </a:lnTo>
                  <a:close/>
                </a:path>
              </a:pathLst>
            </a:custGeom>
            <a:solidFill>
              <a:srgbClr val="B4B0B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5" name="Google Shape;1065;p16"/>
            <p:cNvSpPr/>
            <p:nvPr/>
          </p:nvSpPr>
          <p:spPr>
            <a:xfrm>
              <a:off x="4082750" y="38495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6" name="Google Shape;1066;p16"/>
            <p:cNvSpPr/>
            <p:nvPr/>
          </p:nvSpPr>
          <p:spPr>
            <a:xfrm>
              <a:off x="4082750" y="3835775"/>
              <a:ext cx="164600" cy="21350"/>
            </a:xfrm>
            <a:custGeom>
              <a:avLst/>
              <a:gdLst/>
              <a:ahLst/>
              <a:cxnLst/>
              <a:rect l="l" t="t" r="r" b="b"/>
              <a:pathLst>
                <a:path w="6584" h="854" fill="none" extrusionOk="0">
                  <a:moveTo>
                    <a:pt x="6584" y="1"/>
                  </a:moveTo>
                  <a:lnTo>
                    <a:pt x="6584" y="1"/>
                  </a:lnTo>
                  <a:lnTo>
                    <a:pt x="5426" y="184"/>
                  </a:lnTo>
                  <a:lnTo>
                    <a:pt x="4146" y="488"/>
                  </a:lnTo>
                  <a:lnTo>
                    <a:pt x="4146" y="488"/>
                  </a:lnTo>
                  <a:lnTo>
                    <a:pt x="2683" y="732"/>
                  </a:lnTo>
                  <a:lnTo>
                    <a:pt x="2073" y="854"/>
                  </a:lnTo>
                  <a:lnTo>
                    <a:pt x="1464" y="854"/>
                  </a:lnTo>
                  <a:lnTo>
                    <a:pt x="1464" y="854"/>
                  </a:lnTo>
                  <a:lnTo>
                    <a:pt x="1037" y="854"/>
                  </a:lnTo>
                  <a:lnTo>
                    <a:pt x="671" y="793"/>
                  </a:lnTo>
                  <a:lnTo>
                    <a:pt x="305" y="671"/>
                  </a:lnTo>
                  <a:lnTo>
                    <a:pt x="1" y="549"/>
                  </a:lnTo>
                  <a:lnTo>
                    <a:pt x="1" y="549"/>
                  </a:lnTo>
                  <a:lnTo>
                    <a:pt x="305" y="671"/>
                  </a:lnTo>
                  <a:lnTo>
                    <a:pt x="671" y="793"/>
                  </a:lnTo>
                  <a:lnTo>
                    <a:pt x="1037" y="854"/>
                  </a:lnTo>
                  <a:lnTo>
                    <a:pt x="1464" y="854"/>
                  </a:lnTo>
                  <a:lnTo>
                    <a:pt x="1464" y="854"/>
                  </a:lnTo>
                  <a:lnTo>
                    <a:pt x="2073" y="854"/>
                  </a:lnTo>
                  <a:lnTo>
                    <a:pt x="2683" y="732"/>
                  </a:lnTo>
                  <a:lnTo>
                    <a:pt x="4146" y="488"/>
                  </a:lnTo>
                  <a:lnTo>
                    <a:pt x="4146" y="488"/>
                  </a:lnTo>
                  <a:lnTo>
                    <a:pt x="5426" y="184"/>
                  </a:lnTo>
                  <a:lnTo>
                    <a:pt x="6584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7" name="Google Shape;1067;p16"/>
            <p:cNvSpPr/>
            <p:nvPr/>
          </p:nvSpPr>
          <p:spPr>
            <a:xfrm>
              <a:off x="4247325" y="3835775"/>
              <a:ext cx="1550" cy="25"/>
            </a:xfrm>
            <a:custGeom>
              <a:avLst/>
              <a:gdLst/>
              <a:ahLst/>
              <a:cxnLst/>
              <a:rect l="l" t="t" r="r" b="b"/>
              <a:pathLst>
                <a:path w="62" h="1" fill="none" extrusionOk="0">
                  <a:moveTo>
                    <a:pt x="62" y="1"/>
                  </a:moveTo>
                  <a:lnTo>
                    <a:pt x="6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6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8" name="Google Shape;1068;p16"/>
            <p:cNvSpPr/>
            <p:nvPr/>
          </p:nvSpPr>
          <p:spPr>
            <a:xfrm>
              <a:off x="4294575" y="3832725"/>
              <a:ext cx="53350" cy="1550"/>
            </a:xfrm>
            <a:custGeom>
              <a:avLst/>
              <a:gdLst/>
              <a:ahLst/>
              <a:cxnLst/>
              <a:rect l="l" t="t" r="r" b="b"/>
              <a:pathLst>
                <a:path w="2134" h="62" fill="none" extrusionOk="0">
                  <a:moveTo>
                    <a:pt x="488" y="1"/>
                  </a:moveTo>
                  <a:lnTo>
                    <a:pt x="488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488" y="1"/>
                  </a:lnTo>
                  <a:lnTo>
                    <a:pt x="488" y="1"/>
                  </a:lnTo>
                  <a:lnTo>
                    <a:pt x="2134" y="62"/>
                  </a:lnTo>
                  <a:lnTo>
                    <a:pt x="2134" y="62"/>
                  </a:lnTo>
                  <a:lnTo>
                    <a:pt x="2134" y="62"/>
                  </a:lnTo>
                  <a:lnTo>
                    <a:pt x="2134" y="62"/>
                  </a:lnTo>
                  <a:lnTo>
                    <a:pt x="488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9" name="Google Shape;1069;p16"/>
            <p:cNvSpPr/>
            <p:nvPr/>
          </p:nvSpPr>
          <p:spPr>
            <a:xfrm>
              <a:off x="4364675" y="3808350"/>
              <a:ext cx="97550" cy="25925"/>
            </a:xfrm>
            <a:custGeom>
              <a:avLst/>
              <a:gdLst/>
              <a:ahLst/>
              <a:cxnLst/>
              <a:rect l="l" t="t" r="r" b="b"/>
              <a:pathLst>
                <a:path w="3902" h="1037" fill="none" extrusionOk="0">
                  <a:moveTo>
                    <a:pt x="3901" y="0"/>
                  </a:moveTo>
                  <a:lnTo>
                    <a:pt x="3901" y="0"/>
                  </a:lnTo>
                  <a:lnTo>
                    <a:pt x="3353" y="244"/>
                  </a:lnTo>
                  <a:lnTo>
                    <a:pt x="2865" y="488"/>
                  </a:lnTo>
                  <a:lnTo>
                    <a:pt x="1829" y="793"/>
                  </a:lnTo>
                  <a:lnTo>
                    <a:pt x="914" y="976"/>
                  </a:lnTo>
                  <a:lnTo>
                    <a:pt x="0" y="1037"/>
                  </a:lnTo>
                  <a:lnTo>
                    <a:pt x="0" y="1037"/>
                  </a:lnTo>
                  <a:lnTo>
                    <a:pt x="0" y="1037"/>
                  </a:lnTo>
                  <a:lnTo>
                    <a:pt x="0" y="1037"/>
                  </a:lnTo>
                  <a:lnTo>
                    <a:pt x="914" y="976"/>
                  </a:lnTo>
                  <a:lnTo>
                    <a:pt x="1829" y="793"/>
                  </a:lnTo>
                  <a:lnTo>
                    <a:pt x="2865" y="488"/>
                  </a:lnTo>
                  <a:lnTo>
                    <a:pt x="3353" y="244"/>
                  </a:lnTo>
                  <a:lnTo>
                    <a:pt x="3901" y="0"/>
                  </a:lnTo>
                  <a:lnTo>
                    <a:pt x="3901" y="0"/>
                  </a:lnTo>
                  <a:lnTo>
                    <a:pt x="390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0" name="Google Shape;1070;p16"/>
            <p:cNvSpPr/>
            <p:nvPr/>
          </p:nvSpPr>
          <p:spPr>
            <a:xfrm>
              <a:off x="4472850" y="3780925"/>
              <a:ext cx="27450" cy="21350"/>
            </a:xfrm>
            <a:custGeom>
              <a:avLst/>
              <a:gdLst/>
              <a:ahLst/>
              <a:cxnLst/>
              <a:rect l="l" t="t" r="r" b="b"/>
              <a:pathLst>
                <a:path w="1098" h="854" fill="none" extrusionOk="0">
                  <a:moveTo>
                    <a:pt x="1098" y="0"/>
                  </a:moveTo>
                  <a:lnTo>
                    <a:pt x="1098" y="0"/>
                  </a:lnTo>
                  <a:lnTo>
                    <a:pt x="549" y="427"/>
                  </a:lnTo>
                  <a:lnTo>
                    <a:pt x="1" y="854"/>
                  </a:lnTo>
                  <a:lnTo>
                    <a:pt x="1" y="854"/>
                  </a:lnTo>
                  <a:lnTo>
                    <a:pt x="1" y="854"/>
                  </a:lnTo>
                  <a:lnTo>
                    <a:pt x="1" y="854"/>
                  </a:lnTo>
                  <a:lnTo>
                    <a:pt x="549" y="427"/>
                  </a:lnTo>
                  <a:lnTo>
                    <a:pt x="1098" y="0"/>
                  </a:lnTo>
                  <a:lnTo>
                    <a:pt x="1098" y="0"/>
                  </a:lnTo>
                  <a:lnTo>
                    <a:pt x="109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1" name="Google Shape;1071;p16"/>
            <p:cNvSpPr/>
            <p:nvPr/>
          </p:nvSpPr>
          <p:spPr>
            <a:xfrm>
              <a:off x="4507900" y="3770250"/>
              <a:ext cx="6125" cy="4600"/>
            </a:xfrm>
            <a:custGeom>
              <a:avLst/>
              <a:gdLst/>
              <a:ahLst/>
              <a:cxnLst/>
              <a:rect l="l" t="t" r="r" b="b"/>
              <a:pathLst>
                <a:path w="245" h="184" fill="none" extrusionOk="0">
                  <a:moveTo>
                    <a:pt x="245" y="1"/>
                  </a:moveTo>
                  <a:lnTo>
                    <a:pt x="245" y="1"/>
                  </a:lnTo>
                  <a:lnTo>
                    <a:pt x="1" y="184"/>
                  </a:lnTo>
                  <a:lnTo>
                    <a:pt x="1" y="184"/>
                  </a:lnTo>
                  <a:lnTo>
                    <a:pt x="1" y="184"/>
                  </a:lnTo>
                  <a:lnTo>
                    <a:pt x="24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2" name="Google Shape;1072;p16"/>
            <p:cNvSpPr/>
            <p:nvPr/>
          </p:nvSpPr>
          <p:spPr>
            <a:xfrm>
              <a:off x="4514000" y="37702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3" name="Google Shape;1073;p16"/>
            <p:cNvSpPr/>
            <p:nvPr/>
          </p:nvSpPr>
          <p:spPr>
            <a:xfrm>
              <a:off x="4462200" y="3802250"/>
              <a:ext cx="10675" cy="6125"/>
            </a:xfrm>
            <a:custGeom>
              <a:avLst/>
              <a:gdLst/>
              <a:ahLst/>
              <a:cxnLst/>
              <a:rect l="l" t="t" r="r" b="b"/>
              <a:pathLst>
                <a:path w="427" h="245" extrusionOk="0">
                  <a:moveTo>
                    <a:pt x="427" y="1"/>
                  </a:moveTo>
                  <a:lnTo>
                    <a:pt x="427" y="1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427" y="1"/>
                  </a:lnTo>
                  <a:lnTo>
                    <a:pt x="427" y="1"/>
                  </a:lnTo>
                  <a:lnTo>
                    <a:pt x="427" y="1"/>
                  </a:lnTo>
                  <a:close/>
                </a:path>
              </a:pathLst>
            </a:custGeom>
            <a:solidFill>
              <a:srgbClr val="6839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4" name="Google Shape;1074;p16"/>
            <p:cNvSpPr/>
            <p:nvPr/>
          </p:nvSpPr>
          <p:spPr>
            <a:xfrm>
              <a:off x="4462200" y="3802250"/>
              <a:ext cx="10675" cy="6125"/>
            </a:xfrm>
            <a:custGeom>
              <a:avLst/>
              <a:gdLst/>
              <a:ahLst/>
              <a:cxnLst/>
              <a:rect l="l" t="t" r="r" b="b"/>
              <a:pathLst>
                <a:path w="427" h="245" fill="none" extrusionOk="0">
                  <a:moveTo>
                    <a:pt x="427" y="1"/>
                  </a:moveTo>
                  <a:lnTo>
                    <a:pt x="427" y="1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427" y="1"/>
                  </a:lnTo>
                  <a:lnTo>
                    <a:pt x="427" y="1"/>
                  </a:lnTo>
                  <a:lnTo>
                    <a:pt x="42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5" name="Google Shape;1075;p16"/>
            <p:cNvSpPr/>
            <p:nvPr/>
          </p:nvSpPr>
          <p:spPr>
            <a:xfrm>
              <a:off x="4500275" y="3774825"/>
              <a:ext cx="7650" cy="6125"/>
            </a:xfrm>
            <a:custGeom>
              <a:avLst/>
              <a:gdLst/>
              <a:ahLst/>
              <a:cxnLst/>
              <a:rect l="l" t="t" r="r" b="b"/>
              <a:pathLst>
                <a:path w="306" h="245" extrusionOk="0">
                  <a:moveTo>
                    <a:pt x="306" y="1"/>
                  </a:moveTo>
                  <a:lnTo>
                    <a:pt x="306" y="1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306" y="1"/>
                  </a:lnTo>
                  <a:lnTo>
                    <a:pt x="306" y="1"/>
                  </a:lnTo>
                  <a:close/>
                </a:path>
              </a:pathLst>
            </a:custGeom>
            <a:solidFill>
              <a:srgbClr val="6839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6" name="Google Shape;1076;p16"/>
            <p:cNvSpPr/>
            <p:nvPr/>
          </p:nvSpPr>
          <p:spPr>
            <a:xfrm>
              <a:off x="4500275" y="3774825"/>
              <a:ext cx="7650" cy="6125"/>
            </a:xfrm>
            <a:custGeom>
              <a:avLst/>
              <a:gdLst/>
              <a:ahLst/>
              <a:cxnLst/>
              <a:rect l="l" t="t" r="r" b="b"/>
              <a:pathLst>
                <a:path w="306" h="245" fill="none" extrusionOk="0">
                  <a:moveTo>
                    <a:pt x="306" y="1"/>
                  </a:moveTo>
                  <a:lnTo>
                    <a:pt x="306" y="1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306" y="1"/>
                  </a:lnTo>
                  <a:lnTo>
                    <a:pt x="30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7" name="Google Shape;1077;p16"/>
            <p:cNvSpPr/>
            <p:nvPr/>
          </p:nvSpPr>
          <p:spPr>
            <a:xfrm>
              <a:off x="4286950" y="3832725"/>
              <a:ext cx="7650" cy="1550"/>
            </a:xfrm>
            <a:custGeom>
              <a:avLst/>
              <a:gdLst/>
              <a:ahLst/>
              <a:cxnLst/>
              <a:rect l="l" t="t" r="r" b="b"/>
              <a:pathLst>
                <a:path w="306" h="62" extrusionOk="0">
                  <a:moveTo>
                    <a:pt x="0" y="62"/>
                  </a:move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close/>
                  <a:moveTo>
                    <a:pt x="305" y="1"/>
                  </a:moveTo>
                  <a:lnTo>
                    <a:pt x="305" y="1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5" y="1"/>
                  </a:lnTo>
                  <a:close/>
                </a:path>
              </a:pathLst>
            </a:custGeom>
            <a:solidFill>
              <a:srgbClr val="6839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8" name="Google Shape;1078;p16"/>
            <p:cNvSpPr/>
            <p:nvPr/>
          </p:nvSpPr>
          <p:spPr>
            <a:xfrm>
              <a:off x="4286950" y="38342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9" name="Google Shape;1079;p16"/>
            <p:cNvSpPr/>
            <p:nvPr/>
          </p:nvSpPr>
          <p:spPr>
            <a:xfrm>
              <a:off x="4286950" y="3832725"/>
              <a:ext cx="7650" cy="1550"/>
            </a:xfrm>
            <a:custGeom>
              <a:avLst/>
              <a:gdLst/>
              <a:ahLst/>
              <a:cxnLst/>
              <a:rect l="l" t="t" r="r" b="b"/>
              <a:pathLst>
                <a:path w="306" h="62" fill="none" extrusionOk="0">
                  <a:moveTo>
                    <a:pt x="305" y="1"/>
                  </a:moveTo>
                  <a:lnTo>
                    <a:pt x="305" y="1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0" name="Google Shape;1080;p16"/>
            <p:cNvSpPr/>
            <p:nvPr/>
          </p:nvSpPr>
          <p:spPr>
            <a:xfrm>
              <a:off x="4347900" y="3834250"/>
              <a:ext cx="16800" cy="25"/>
            </a:xfrm>
            <a:custGeom>
              <a:avLst/>
              <a:gdLst/>
              <a:ahLst/>
              <a:cxnLst/>
              <a:rect l="l" t="t" r="r" b="b"/>
              <a:pathLst>
                <a:path w="672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44" y="1"/>
                  </a:lnTo>
                  <a:lnTo>
                    <a:pt x="244" y="1"/>
                  </a:lnTo>
                  <a:lnTo>
                    <a:pt x="549" y="1"/>
                  </a:lnTo>
                  <a:lnTo>
                    <a:pt x="549" y="1"/>
                  </a:lnTo>
                  <a:lnTo>
                    <a:pt x="671" y="1"/>
                  </a:lnTo>
                  <a:lnTo>
                    <a:pt x="671" y="1"/>
                  </a:lnTo>
                  <a:lnTo>
                    <a:pt x="671" y="1"/>
                  </a:lnTo>
                  <a:lnTo>
                    <a:pt x="671" y="1"/>
                  </a:lnTo>
                  <a:lnTo>
                    <a:pt x="549" y="1"/>
                  </a:lnTo>
                  <a:lnTo>
                    <a:pt x="549" y="1"/>
                  </a:lnTo>
                  <a:lnTo>
                    <a:pt x="244" y="1"/>
                  </a:lnTo>
                  <a:lnTo>
                    <a:pt x="244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839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1" name="Google Shape;1081;p16"/>
            <p:cNvSpPr/>
            <p:nvPr/>
          </p:nvSpPr>
          <p:spPr>
            <a:xfrm>
              <a:off x="4347900" y="3834250"/>
              <a:ext cx="16800" cy="25"/>
            </a:xfrm>
            <a:custGeom>
              <a:avLst/>
              <a:gdLst/>
              <a:ahLst/>
              <a:cxnLst/>
              <a:rect l="l" t="t" r="r" b="b"/>
              <a:pathLst>
                <a:path w="672" h="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44" y="1"/>
                  </a:lnTo>
                  <a:lnTo>
                    <a:pt x="244" y="1"/>
                  </a:lnTo>
                  <a:lnTo>
                    <a:pt x="549" y="1"/>
                  </a:lnTo>
                  <a:lnTo>
                    <a:pt x="549" y="1"/>
                  </a:lnTo>
                  <a:lnTo>
                    <a:pt x="671" y="1"/>
                  </a:lnTo>
                  <a:lnTo>
                    <a:pt x="671" y="1"/>
                  </a:lnTo>
                  <a:lnTo>
                    <a:pt x="671" y="1"/>
                  </a:lnTo>
                  <a:lnTo>
                    <a:pt x="671" y="1"/>
                  </a:lnTo>
                  <a:lnTo>
                    <a:pt x="549" y="1"/>
                  </a:lnTo>
                  <a:lnTo>
                    <a:pt x="549" y="1"/>
                  </a:lnTo>
                  <a:lnTo>
                    <a:pt x="244" y="1"/>
                  </a:lnTo>
                  <a:lnTo>
                    <a:pt x="244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2" name="Google Shape;1082;p16"/>
            <p:cNvSpPr/>
            <p:nvPr/>
          </p:nvSpPr>
          <p:spPr>
            <a:xfrm>
              <a:off x="4066000" y="3761100"/>
              <a:ext cx="458700" cy="96025"/>
            </a:xfrm>
            <a:custGeom>
              <a:avLst/>
              <a:gdLst/>
              <a:ahLst/>
              <a:cxnLst/>
              <a:rect l="l" t="t" r="r" b="b"/>
              <a:pathLst>
                <a:path w="18348" h="3841" extrusionOk="0">
                  <a:moveTo>
                    <a:pt x="18347" y="1"/>
                  </a:moveTo>
                  <a:lnTo>
                    <a:pt x="18042" y="123"/>
                  </a:lnTo>
                  <a:lnTo>
                    <a:pt x="17189" y="489"/>
                  </a:lnTo>
                  <a:lnTo>
                    <a:pt x="16031" y="915"/>
                  </a:lnTo>
                  <a:lnTo>
                    <a:pt x="15360" y="1098"/>
                  </a:lnTo>
                  <a:lnTo>
                    <a:pt x="14568" y="1220"/>
                  </a:lnTo>
                  <a:lnTo>
                    <a:pt x="13654" y="1220"/>
                  </a:lnTo>
                  <a:lnTo>
                    <a:pt x="13105" y="1098"/>
                  </a:lnTo>
                  <a:lnTo>
                    <a:pt x="11886" y="732"/>
                  </a:lnTo>
                  <a:lnTo>
                    <a:pt x="11216" y="550"/>
                  </a:lnTo>
                  <a:lnTo>
                    <a:pt x="10545" y="367"/>
                  </a:lnTo>
                  <a:lnTo>
                    <a:pt x="9875" y="245"/>
                  </a:lnTo>
                  <a:lnTo>
                    <a:pt x="9143" y="245"/>
                  </a:lnTo>
                  <a:lnTo>
                    <a:pt x="8412" y="306"/>
                  </a:lnTo>
                  <a:lnTo>
                    <a:pt x="7680" y="428"/>
                  </a:lnTo>
                  <a:lnTo>
                    <a:pt x="6888" y="732"/>
                  </a:lnTo>
                  <a:lnTo>
                    <a:pt x="6156" y="1220"/>
                  </a:lnTo>
                  <a:lnTo>
                    <a:pt x="5303" y="1769"/>
                  </a:lnTo>
                  <a:lnTo>
                    <a:pt x="4450" y="2195"/>
                  </a:lnTo>
                  <a:lnTo>
                    <a:pt x="3657" y="2561"/>
                  </a:lnTo>
                  <a:lnTo>
                    <a:pt x="2987" y="2805"/>
                  </a:lnTo>
                  <a:lnTo>
                    <a:pt x="2316" y="2988"/>
                  </a:lnTo>
                  <a:lnTo>
                    <a:pt x="1707" y="3049"/>
                  </a:lnTo>
                  <a:lnTo>
                    <a:pt x="732" y="3110"/>
                  </a:lnTo>
                  <a:lnTo>
                    <a:pt x="0" y="3110"/>
                  </a:lnTo>
                  <a:lnTo>
                    <a:pt x="305" y="3353"/>
                  </a:lnTo>
                  <a:lnTo>
                    <a:pt x="671" y="3536"/>
                  </a:lnTo>
                  <a:lnTo>
                    <a:pt x="975" y="3658"/>
                  </a:lnTo>
                  <a:lnTo>
                    <a:pt x="1341" y="3780"/>
                  </a:lnTo>
                  <a:lnTo>
                    <a:pt x="1707" y="3841"/>
                  </a:lnTo>
                  <a:lnTo>
                    <a:pt x="2743" y="3841"/>
                  </a:lnTo>
                  <a:lnTo>
                    <a:pt x="3353" y="3719"/>
                  </a:lnTo>
                  <a:lnTo>
                    <a:pt x="4816" y="3475"/>
                  </a:lnTo>
                  <a:lnTo>
                    <a:pt x="6096" y="3171"/>
                  </a:lnTo>
                  <a:lnTo>
                    <a:pt x="7254" y="2988"/>
                  </a:lnTo>
                  <a:lnTo>
                    <a:pt x="7315" y="2988"/>
                  </a:lnTo>
                  <a:lnTo>
                    <a:pt x="8838" y="2927"/>
                  </a:lnTo>
                  <a:lnTo>
                    <a:pt x="9143" y="2866"/>
                  </a:lnTo>
                  <a:lnTo>
                    <a:pt x="9631" y="2866"/>
                  </a:lnTo>
                  <a:lnTo>
                    <a:pt x="11277" y="2927"/>
                  </a:lnTo>
                  <a:lnTo>
                    <a:pt x="11947" y="2927"/>
                  </a:lnTo>
                  <a:lnTo>
                    <a:pt x="12861" y="2866"/>
                  </a:lnTo>
                  <a:lnTo>
                    <a:pt x="13776" y="2683"/>
                  </a:lnTo>
                  <a:lnTo>
                    <a:pt x="14812" y="2378"/>
                  </a:lnTo>
                  <a:lnTo>
                    <a:pt x="15300" y="2134"/>
                  </a:lnTo>
                  <a:lnTo>
                    <a:pt x="15848" y="1890"/>
                  </a:lnTo>
                  <a:lnTo>
                    <a:pt x="16275" y="1647"/>
                  </a:lnTo>
                  <a:lnTo>
                    <a:pt x="16823" y="1220"/>
                  </a:lnTo>
                  <a:lnTo>
                    <a:pt x="17372" y="793"/>
                  </a:lnTo>
                  <a:lnTo>
                    <a:pt x="17677" y="550"/>
                  </a:lnTo>
                  <a:lnTo>
                    <a:pt x="17921" y="367"/>
                  </a:lnTo>
                  <a:lnTo>
                    <a:pt x="18347" y="1"/>
                  </a:lnTo>
                  <a:close/>
                </a:path>
              </a:pathLst>
            </a:custGeom>
            <a:solidFill>
              <a:srgbClr val="2550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3" name="Google Shape;1083;p16"/>
            <p:cNvSpPr/>
            <p:nvPr/>
          </p:nvSpPr>
          <p:spPr>
            <a:xfrm>
              <a:off x="4066000" y="3761100"/>
              <a:ext cx="458700" cy="96025"/>
            </a:xfrm>
            <a:custGeom>
              <a:avLst/>
              <a:gdLst/>
              <a:ahLst/>
              <a:cxnLst/>
              <a:rect l="l" t="t" r="r" b="b"/>
              <a:pathLst>
                <a:path w="18348" h="3841" fill="none" extrusionOk="0">
                  <a:moveTo>
                    <a:pt x="18347" y="1"/>
                  </a:moveTo>
                  <a:lnTo>
                    <a:pt x="18347" y="1"/>
                  </a:lnTo>
                  <a:lnTo>
                    <a:pt x="18042" y="123"/>
                  </a:lnTo>
                  <a:lnTo>
                    <a:pt x="17189" y="489"/>
                  </a:lnTo>
                  <a:lnTo>
                    <a:pt x="16031" y="915"/>
                  </a:lnTo>
                  <a:lnTo>
                    <a:pt x="15360" y="1098"/>
                  </a:lnTo>
                  <a:lnTo>
                    <a:pt x="14568" y="1220"/>
                  </a:lnTo>
                  <a:lnTo>
                    <a:pt x="14568" y="1220"/>
                  </a:lnTo>
                  <a:lnTo>
                    <a:pt x="14202" y="1220"/>
                  </a:lnTo>
                  <a:lnTo>
                    <a:pt x="14202" y="1220"/>
                  </a:lnTo>
                  <a:lnTo>
                    <a:pt x="13654" y="1220"/>
                  </a:lnTo>
                  <a:lnTo>
                    <a:pt x="13105" y="1098"/>
                  </a:lnTo>
                  <a:lnTo>
                    <a:pt x="11886" y="732"/>
                  </a:lnTo>
                  <a:lnTo>
                    <a:pt x="11886" y="732"/>
                  </a:lnTo>
                  <a:lnTo>
                    <a:pt x="11216" y="550"/>
                  </a:lnTo>
                  <a:lnTo>
                    <a:pt x="10545" y="367"/>
                  </a:lnTo>
                  <a:lnTo>
                    <a:pt x="9875" y="245"/>
                  </a:lnTo>
                  <a:lnTo>
                    <a:pt x="9143" y="245"/>
                  </a:lnTo>
                  <a:lnTo>
                    <a:pt x="9143" y="245"/>
                  </a:lnTo>
                  <a:lnTo>
                    <a:pt x="8412" y="306"/>
                  </a:lnTo>
                  <a:lnTo>
                    <a:pt x="7680" y="428"/>
                  </a:lnTo>
                  <a:lnTo>
                    <a:pt x="6888" y="732"/>
                  </a:lnTo>
                  <a:lnTo>
                    <a:pt x="6156" y="1220"/>
                  </a:lnTo>
                  <a:lnTo>
                    <a:pt x="6156" y="1220"/>
                  </a:lnTo>
                  <a:lnTo>
                    <a:pt x="5303" y="1769"/>
                  </a:lnTo>
                  <a:lnTo>
                    <a:pt x="4450" y="2195"/>
                  </a:lnTo>
                  <a:lnTo>
                    <a:pt x="3657" y="2561"/>
                  </a:lnTo>
                  <a:lnTo>
                    <a:pt x="2987" y="2805"/>
                  </a:lnTo>
                  <a:lnTo>
                    <a:pt x="2316" y="2988"/>
                  </a:lnTo>
                  <a:lnTo>
                    <a:pt x="1707" y="3049"/>
                  </a:lnTo>
                  <a:lnTo>
                    <a:pt x="732" y="3110"/>
                  </a:lnTo>
                  <a:lnTo>
                    <a:pt x="732" y="3110"/>
                  </a:lnTo>
                  <a:lnTo>
                    <a:pt x="183" y="3110"/>
                  </a:lnTo>
                  <a:lnTo>
                    <a:pt x="0" y="3110"/>
                  </a:lnTo>
                  <a:lnTo>
                    <a:pt x="0" y="3110"/>
                  </a:lnTo>
                  <a:lnTo>
                    <a:pt x="305" y="3353"/>
                  </a:lnTo>
                  <a:lnTo>
                    <a:pt x="671" y="3536"/>
                  </a:lnTo>
                  <a:lnTo>
                    <a:pt x="671" y="3536"/>
                  </a:lnTo>
                  <a:lnTo>
                    <a:pt x="671" y="3536"/>
                  </a:lnTo>
                  <a:lnTo>
                    <a:pt x="671" y="3536"/>
                  </a:lnTo>
                  <a:lnTo>
                    <a:pt x="671" y="3536"/>
                  </a:lnTo>
                  <a:lnTo>
                    <a:pt x="671" y="3536"/>
                  </a:lnTo>
                  <a:lnTo>
                    <a:pt x="975" y="3658"/>
                  </a:lnTo>
                  <a:lnTo>
                    <a:pt x="1341" y="3780"/>
                  </a:lnTo>
                  <a:lnTo>
                    <a:pt x="1707" y="3841"/>
                  </a:lnTo>
                  <a:lnTo>
                    <a:pt x="2134" y="3841"/>
                  </a:lnTo>
                  <a:lnTo>
                    <a:pt x="2134" y="3841"/>
                  </a:lnTo>
                  <a:lnTo>
                    <a:pt x="2743" y="3841"/>
                  </a:lnTo>
                  <a:lnTo>
                    <a:pt x="3353" y="3719"/>
                  </a:lnTo>
                  <a:lnTo>
                    <a:pt x="4816" y="3475"/>
                  </a:lnTo>
                  <a:lnTo>
                    <a:pt x="4816" y="3475"/>
                  </a:lnTo>
                  <a:lnTo>
                    <a:pt x="6096" y="3171"/>
                  </a:lnTo>
                  <a:lnTo>
                    <a:pt x="7254" y="2988"/>
                  </a:lnTo>
                  <a:lnTo>
                    <a:pt x="7254" y="2988"/>
                  </a:lnTo>
                  <a:lnTo>
                    <a:pt x="7254" y="2988"/>
                  </a:lnTo>
                  <a:lnTo>
                    <a:pt x="7254" y="2988"/>
                  </a:lnTo>
                  <a:lnTo>
                    <a:pt x="7315" y="2988"/>
                  </a:lnTo>
                  <a:lnTo>
                    <a:pt x="7315" y="2988"/>
                  </a:lnTo>
                  <a:lnTo>
                    <a:pt x="8838" y="2927"/>
                  </a:lnTo>
                  <a:lnTo>
                    <a:pt x="8838" y="2927"/>
                  </a:lnTo>
                  <a:lnTo>
                    <a:pt x="8838" y="2927"/>
                  </a:lnTo>
                  <a:lnTo>
                    <a:pt x="8838" y="2927"/>
                  </a:lnTo>
                  <a:lnTo>
                    <a:pt x="8838" y="2927"/>
                  </a:lnTo>
                  <a:lnTo>
                    <a:pt x="8838" y="2927"/>
                  </a:lnTo>
                  <a:lnTo>
                    <a:pt x="9143" y="2866"/>
                  </a:lnTo>
                  <a:lnTo>
                    <a:pt x="9143" y="2866"/>
                  </a:lnTo>
                  <a:lnTo>
                    <a:pt x="9631" y="2866"/>
                  </a:lnTo>
                  <a:lnTo>
                    <a:pt x="9631" y="2866"/>
                  </a:lnTo>
                  <a:lnTo>
                    <a:pt x="11277" y="2927"/>
                  </a:lnTo>
                  <a:lnTo>
                    <a:pt x="11277" y="2927"/>
                  </a:lnTo>
                  <a:lnTo>
                    <a:pt x="11520" y="2927"/>
                  </a:lnTo>
                  <a:lnTo>
                    <a:pt x="11520" y="2927"/>
                  </a:lnTo>
                  <a:lnTo>
                    <a:pt x="11825" y="2927"/>
                  </a:lnTo>
                  <a:lnTo>
                    <a:pt x="11825" y="2927"/>
                  </a:lnTo>
                  <a:lnTo>
                    <a:pt x="11947" y="2927"/>
                  </a:lnTo>
                  <a:lnTo>
                    <a:pt x="11947" y="2927"/>
                  </a:lnTo>
                  <a:lnTo>
                    <a:pt x="12861" y="2866"/>
                  </a:lnTo>
                  <a:lnTo>
                    <a:pt x="13776" y="2683"/>
                  </a:lnTo>
                  <a:lnTo>
                    <a:pt x="14812" y="2378"/>
                  </a:lnTo>
                  <a:lnTo>
                    <a:pt x="15300" y="2134"/>
                  </a:lnTo>
                  <a:lnTo>
                    <a:pt x="15848" y="1890"/>
                  </a:lnTo>
                  <a:lnTo>
                    <a:pt x="15848" y="1890"/>
                  </a:lnTo>
                  <a:lnTo>
                    <a:pt x="16275" y="1647"/>
                  </a:lnTo>
                  <a:lnTo>
                    <a:pt x="16275" y="1647"/>
                  </a:lnTo>
                  <a:lnTo>
                    <a:pt x="16823" y="1220"/>
                  </a:lnTo>
                  <a:lnTo>
                    <a:pt x="17372" y="793"/>
                  </a:lnTo>
                  <a:lnTo>
                    <a:pt x="17372" y="793"/>
                  </a:lnTo>
                  <a:lnTo>
                    <a:pt x="17677" y="550"/>
                  </a:lnTo>
                  <a:lnTo>
                    <a:pt x="17677" y="550"/>
                  </a:lnTo>
                  <a:lnTo>
                    <a:pt x="17921" y="367"/>
                  </a:lnTo>
                  <a:lnTo>
                    <a:pt x="17921" y="367"/>
                  </a:lnTo>
                  <a:lnTo>
                    <a:pt x="17921" y="367"/>
                  </a:lnTo>
                  <a:lnTo>
                    <a:pt x="17921" y="367"/>
                  </a:lnTo>
                  <a:lnTo>
                    <a:pt x="17921" y="367"/>
                  </a:lnTo>
                  <a:lnTo>
                    <a:pt x="17921" y="367"/>
                  </a:lnTo>
                  <a:lnTo>
                    <a:pt x="1834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4" name="Google Shape;1084;p16"/>
            <p:cNvSpPr/>
            <p:nvPr/>
          </p:nvSpPr>
          <p:spPr>
            <a:xfrm>
              <a:off x="4113225" y="3358825"/>
              <a:ext cx="18325" cy="15250"/>
            </a:xfrm>
            <a:custGeom>
              <a:avLst/>
              <a:gdLst/>
              <a:ahLst/>
              <a:cxnLst/>
              <a:rect l="l" t="t" r="r" b="b"/>
              <a:pathLst>
                <a:path w="733" h="610" extrusionOk="0">
                  <a:moveTo>
                    <a:pt x="1" y="0"/>
                  </a:moveTo>
                  <a:lnTo>
                    <a:pt x="306" y="305"/>
                  </a:lnTo>
                  <a:lnTo>
                    <a:pt x="732" y="610"/>
                  </a:lnTo>
                  <a:lnTo>
                    <a:pt x="366" y="30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B4B0B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5" name="Google Shape;1085;p16"/>
            <p:cNvSpPr/>
            <p:nvPr/>
          </p:nvSpPr>
          <p:spPr>
            <a:xfrm>
              <a:off x="4369225" y="3448725"/>
              <a:ext cx="56425" cy="1550"/>
            </a:xfrm>
            <a:custGeom>
              <a:avLst/>
              <a:gdLst/>
              <a:ahLst/>
              <a:cxnLst/>
              <a:rect l="l" t="t" r="r" b="b"/>
              <a:pathLst>
                <a:path w="2257" h="62" fill="none" extrusionOk="0">
                  <a:moveTo>
                    <a:pt x="2256" y="0"/>
                  </a:moveTo>
                  <a:lnTo>
                    <a:pt x="2256" y="0"/>
                  </a:lnTo>
                  <a:lnTo>
                    <a:pt x="1403" y="61"/>
                  </a:lnTo>
                  <a:lnTo>
                    <a:pt x="610" y="61"/>
                  </a:lnTo>
                  <a:lnTo>
                    <a:pt x="610" y="61"/>
                  </a:lnTo>
                  <a:lnTo>
                    <a:pt x="1" y="61"/>
                  </a:lnTo>
                  <a:lnTo>
                    <a:pt x="1" y="61"/>
                  </a:lnTo>
                  <a:lnTo>
                    <a:pt x="1" y="61"/>
                  </a:lnTo>
                  <a:lnTo>
                    <a:pt x="1" y="61"/>
                  </a:lnTo>
                  <a:lnTo>
                    <a:pt x="610" y="61"/>
                  </a:lnTo>
                  <a:lnTo>
                    <a:pt x="610" y="61"/>
                  </a:lnTo>
                  <a:lnTo>
                    <a:pt x="1403" y="61"/>
                  </a:lnTo>
                  <a:lnTo>
                    <a:pt x="2256" y="0"/>
                  </a:lnTo>
                  <a:lnTo>
                    <a:pt x="2256" y="0"/>
                  </a:lnTo>
                  <a:lnTo>
                    <a:pt x="225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6" name="Google Shape;1086;p16"/>
            <p:cNvSpPr/>
            <p:nvPr/>
          </p:nvSpPr>
          <p:spPr>
            <a:xfrm>
              <a:off x="4283900" y="3436525"/>
              <a:ext cx="57925" cy="10700"/>
            </a:xfrm>
            <a:custGeom>
              <a:avLst/>
              <a:gdLst/>
              <a:ahLst/>
              <a:cxnLst/>
              <a:rect l="l" t="t" r="r" b="b"/>
              <a:pathLst>
                <a:path w="2317" h="428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220" y="306"/>
                  </a:lnTo>
                  <a:lnTo>
                    <a:pt x="2317" y="428"/>
                  </a:lnTo>
                  <a:lnTo>
                    <a:pt x="2317" y="428"/>
                  </a:lnTo>
                  <a:lnTo>
                    <a:pt x="2317" y="428"/>
                  </a:lnTo>
                  <a:lnTo>
                    <a:pt x="1220" y="306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7" name="Google Shape;1087;p16"/>
            <p:cNvSpPr/>
            <p:nvPr/>
          </p:nvSpPr>
          <p:spPr>
            <a:xfrm>
              <a:off x="4439325" y="3419775"/>
              <a:ext cx="118900" cy="27450"/>
            </a:xfrm>
            <a:custGeom>
              <a:avLst/>
              <a:gdLst/>
              <a:ahLst/>
              <a:cxnLst/>
              <a:rect l="l" t="t" r="r" b="b"/>
              <a:pathLst>
                <a:path w="4756" h="1098" fill="none" extrusionOk="0">
                  <a:moveTo>
                    <a:pt x="4755" y="0"/>
                  </a:moveTo>
                  <a:lnTo>
                    <a:pt x="4755" y="0"/>
                  </a:lnTo>
                  <a:lnTo>
                    <a:pt x="3658" y="366"/>
                  </a:lnTo>
                  <a:lnTo>
                    <a:pt x="2439" y="671"/>
                  </a:lnTo>
                  <a:lnTo>
                    <a:pt x="1220" y="915"/>
                  </a:lnTo>
                  <a:lnTo>
                    <a:pt x="1" y="1098"/>
                  </a:lnTo>
                  <a:lnTo>
                    <a:pt x="1" y="1098"/>
                  </a:lnTo>
                  <a:lnTo>
                    <a:pt x="1" y="1098"/>
                  </a:lnTo>
                  <a:lnTo>
                    <a:pt x="1" y="1098"/>
                  </a:lnTo>
                  <a:lnTo>
                    <a:pt x="1220" y="915"/>
                  </a:lnTo>
                  <a:lnTo>
                    <a:pt x="2439" y="671"/>
                  </a:lnTo>
                  <a:lnTo>
                    <a:pt x="3658" y="366"/>
                  </a:lnTo>
                  <a:lnTo>
                    <a:pt x="475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8" name="Google Shape;1088;p16"/>
            <p:cNvSpPr/>
            <p:nvPr/>
          </p:nvSpPr>
          <p:spPr>
            <a:xfrm>
              <a:off x="4638950" y="3334425"/>
              <a:ext cx="16800" cy="36600"/>
            </a:xfrm>
            <a:custGeom>
              <a:avLst/>
              <a:gdLst/>
              <a:ahLst/>
              <a:cxnLst/>
              <a:rect l="l" t="t" r="r" b="b"/>
              <a:pathLst>
                <a:path w="672" h="1464" fill="none" extrusionOk="0">
                  <a:moveTo>
                    <a:pt x="671" y="1"/>
                  </a:moveTo>
                  <a:lnTo>
                    <a:pt x="671" y="1"/>
                  </a:lnTo>
                  <a:lnTo>
                    <a:pt x="671" y="1"/>
                  </a:lnTo>
                  <a:lnTo>
                    <a:pt x="671" y="1"/>
                  </a:lnTo>
                  <a:lnTo>
                    <a:pt x="610" y="367"/>
                  </a:lnTo>
                  <a:lnTo>
                    <a:pt x="488" y="732"/>
                  </a:lnTo>
                  <a:lnTo>
                    <a:pt x="245" y="1098"/>
                  </a:lnTo>
                  <a:lnTo>
                    <a:pt x="1" y="1464"/>
                  </a:lnTo>
                  <a:lnTo>
                    <a:pt x="1" y="1464"/>
                  </a:lnTo>
                  <a:lnTo>
                    <a:pt x="1" y="1464"/>
                  </a:lnTo>
                  <a:lnTo>
                    <a:pt x="245" y="1098"/>
                  </a:lnTo>
                  <a:lnTo>
                    <a:pt x="488" y="732"/>
                  </a:lnTo>
                  <a:lnTo>
                    <a:pt x="610" y="367"/>
                  </a:lnTo>
                  <a:lnTo>
                    <a:pt x="67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9" name="Google Shape;1089;p16"/>
            <p:cNvSpPr/>
            <p:nvPr/>
          </p:nvSpPr>
          <p:spPr>
            <a:xfrm>
              <a:off x="4082750" y="3310050"/>
              <a:ext cx="176800" cy="120425"/>
            </a:xfrm>
            <a:custGeom>
              <a:avLst/>
              <a:gdLst/>
              <a:ahLst/>
              <a:cxnLst/>
              <a:rect l="l" t="t" r="r" b="b"/>
              <a:pathLst>
                <a:path w="7072" h="4817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244" y="671"/>
                  </a:lnTo>
                  <a:lnTo>
                    <a:pt x="610" y="1342"/>
                  </a:lnTo>
                  <a:lnTo>
                    <a:pt x="915" y="1646"/>
                  </a:lnTo>
                  <a:lnTo>
                    <a:pt x="1220" y="1951"/>
                  </a:lnTo>
                  <a:lnTo>
                    <a:pt x="1525" y="2256"/>
                  </a:lnTo>
                  <a:lnTo>
                    <a:pt x="1951" y="2561"/>
                  </a:lnTo>
                  <a:lnTo>
                    <a:pt x="1951" y="2561"/>
                  </a:lnTo>
                  <a:lnTo>
                    <a:pt x="3170" y="3231"/>
                  </a:lnTo>
                  <a:lnTo>
                    <a:pt x="4450" y="3902"/>
                  </a:lnTo>
                  <a:lnTo>
                    <a:pt x="5730" y="4389"/>
                  </a:lnTo>
                  <a:lnTo>
                    <a:pt x="7071" y="4816"/>
                  </a:lnTo>
                  <a:lnTo>
                    <a:pt x="7071" y="4816"/>
                  </a:lnTo>
                  <a:lnTo>
                    <a:pt x="7071" y="4816"/>
                  </a:lnTo>
                  <a:lnTo>
                    <a:pt x="5730" y="4389"/>
                  </a:lnTo>
                  <a:lnTo>
                    <a:pt x="4450" y="3902"/>
                  </a:lnTo>
                  <a:lnTo>
                    <a:pt x="3170" y="3231"/>
                  </a:lnTo>
                  <a:lnTo>
                    <a:pt x="1951" y="2561"/>
                  </a:lnTo>
                  <a:lnTo>
                    <a:pt x="1951" y="2561"/>
                  </a:lnTo>
                  <a:lnTo>
                    <a:pt x="1585" y="2256"/>
                  </a:lnTo>
                  <a:lnTo>
                    <a:pt x="1220" y="1951"/>
                  </a:lnTo>
                  <a:lnTo>
                    <a:pt x="915" y="1646"/>
                  </a:lnTo>
                  <a:lnTo>
                    <a:pt x="610" y="1342"/>
                  </a:lnTo>
                  <a:lnTo>
                    <a:pt x="244" y="67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0" name="Google Shape;1090;p16"/>
            <p:cNvSpPr/>
            <p:nvPr/>
          </p:nvSpPr>
          <p:spPr>
            <a:xfrm>
              <a:off x="4081225" y="3310050"/>
              <a:ext cx="1550" cy="25"/>
            </a:xfrm>
            <a:custGeom>
              <a:avLst/>
              <a:gdLst/>
              <a:ahLst/>
              <a:cxnLst/>
              <a:rect l="l" t="t" r="r" b="b"/>
              <a:pathLst>
                <a:path w="62" h="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1" name="Google Shape;1091;p16"/>
            <p:cNvSpPr/>
            <p:nvPr/>
          </p:nvSpPr>
          <p:spPr>
            <a:xfrm>
              <a:off x="4341800" y="3447200"/>
              <a:ext cx="27450" cy="3075"/>
            </a:xfrm>
            <a:custGeom>
              <a:avLst/>
              <a:gdLst/>
              <a:ahLst/>
              <a:cxnLst/>
              <a:rect l="l" t="t" r="r" b="b"/>
              <a:pathLst>
                <a:path w="1098" h="123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854" y="122"/>
                  </a:lnTo>
                  <a:lnTo>
                    <a:pt x="854" y="122"/>
                  </a:lnTo>
                  <a:lnTo>
                    <a:pt x="1098" y="122"/>
                  </a:lnTo>
                  <a:lnTo>
                    <a:pt x="1098" y="122"/>
                  </a:lnTo>
                  <a:lnTo>
                    <a:pt x="1098" y="122"/>
                  </a:lnTo>
                  <a:lnTo>
                    <a:pt x="1098" y="122"/>
                  </a:lnTo>
                  <a:lnTo>
                    <a:pt x="854" y="122"/>
                  </a:lnTo>
                  <a:lnTo>
                    <a:pt x="854" y="122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839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2" name="Google Shape;1092;p16"/>
            <p:cNvSpPr/>
            <p:nvPr/>
          </p:nvSpPr>
          <p:spPr>
            <a:xfrm>
              <a:off x="4341800" y="3447200"/>
              <a:ext cx="27450" cy="3075"/>
            </a:xfrm>
            <a:custGeom>
              <a:avLst/>
              <a:gdLst/>
              <a:ahLst/>
              <a:cxnLst/>
              <a:rect l="l" t="t" r="r" b="b"/>
              <a:pathLst>
                <a:path w="1098" h="123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854" y="122"/>
                  </a:lnTo>
                  <a:lnTo>
                    <a:pt x="854" y="122"/>
                  </a:lnTo>
                  <a:lnTo>
                    <a:pt x="1098" y="122"/>
                  </a:lnTo>
                  <a:lnTo>
                    <a:pt x="1098" y="122"/>
                  </a:lnTo>
                  <a:lnTo>
                    <a:pt x="1098" y="122"/>
                  </a:lnTo>
                  <a:lnTo>
                    <a:pt x="1098" y="122"/>
                  </a:lnTo>
                  <a:lnTo>
                    <a:pt x="854" y="122"/>
                  </a:lnTo>
                  <a:lnTo>
                    <a:pt x="854" y="122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3" name="Google Shape;1093;p16"/>
            <p:cNvSpPr/>
            <p:nvPr/>
          </p:nvSpPr>
          <p:spPr>
            <a:xfrm>
              <a:off x="4425625" y="3447200"/>
              <a:ext cx="13725" cy="1550"/>
            </a:xfrm>
            <a:custGeom>
              <a:avLst/>
              <a:gdLst/>
              <a:ahLst/>
              <a:cxnLst/>
              <a:rect l="l" t="t" r="r" b="b"/>
              <a:pathLst>
                <a:path w="549" h="62" extrusionOk="0">
                  <a:moveTo>
                    <a:pt x="549" y="1"/>
                  </a:moveTo>
                  <a:lnTo>
                    <a:pt x="549" y="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549" y="1"/>
                  </a:lnTo>
                  <a:lnTo>
                    <a:pt x="549" y="1"/>
                  </a:lnTo>
                  <a:lnTo>
                    <a:pt x="549" y="1"/>
                  </a:lnTo>
                  <a:close/>
                </a:path>
              </a:pathLst>
            </a:custGeom>
            <a:solidFill>
              <a:srgbClr val="6839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4" name="Google Shape;1094;p16"/>
            <p:cNvSpPr/>
            <p:nvPr/>
          </p:nvSpPr>
          <p:spPr>
            <a:xfrm>
              <a:off x="4425625" y="3447200"/>
              <a:ext cx="13725" cy="1550"/>
            </a:xfrm>
            <a:custGeom>
              <a:avLst/>
              <a:gdLst/>
              <a:ahLst/>
              <a:cxnLst/>
              <a:rect l="l" t="t" r="r" b="b"/>
              <a:pathLst>
                <a:path w="549" h="62" fill="none" extrusionOk="0">
                  <a:moveTo>
                    <a:pt x="549" y="1"/>
                  </a:moveTo>
                  <a:lnTo>
                    <a:pt x="549" y="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549" y="1"/>
                  </a:lnTo>
                  <a:lnTo>
                    <a:pt x="549" y="1"/>
                  </a:lnTo>
                  <a:lnTo>
                    <a:pt x="549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5" name="Google Shape;1095;p16"/>
            <p:cNvSpPr/>
            <p:nvPr/>
          </p:nvSpPr>
          <p:spPr>
            <a:xfrm>
              <a:off x="4259525" y="3430450"/>
              <a:ext cx="24400" cy="6100"/>
            </a:xfrm>
            <a:custGeom>
              <a:avLst/>
              <a:gdLst/>
              <a:ahLst/>
              <a:cxnLst/>
              <a:rect l="l" t="t" r="r" b="b"/>
              <a:pathLst>
                <a:path w="976" h="244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976" y="244"/>
                  </a:lnTo>
                  <a:lnTo>
                    <a:pt x="976" y="244"/>
                  </a:lnTo>
                  <a:lnTo>
                    <a:pt x="976" y="2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839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6" name="Google Shape;1096;p16"/>
            <p:cNvSpPr/>
            <p:nvPr/>
          </p:nvSpPr>
          <p:spPr>
            <a:xfrm>
              <a:off x="4259525" y="3430450"/>
              <a:ext cx="24400" cy="6100"/>
            </a:xfrm>
            <a:custGeom>
              <a:avLst/>
              <a:gdLst/>
              <a:ahLst/>
              <a:cxnLst/>
              <a:rect l="l" t="t" r="r" b="b"/>
              <a:pathLst>
                <a:path w="976" h="244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976" y="244"/>
                  </a:lnTo>
                  <a:lnTo>
                    <a:pt x="976" y="244"/>
                  </a:lnTo>
                  <a:lnTo>
                    <a:pt x="976" y="244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7" name="Google Shape;1097;p16"/>
            <p:cNvSpPr/>
            <p:nvPr/>
          </p:nvSpPr>
          <p:spPr>
            <a:xfrm>
              <a:off x="4632850" y="3371000"/>
              <a:ext cx="6125" cy="6125"/>
            </a:xfrm>
            <a:custGeom>
              <a:avLst/>
              <a:gdLst/>
              <a:ahLst/>
              <a:cxnLst/>
              <a:rect l="l" t="t" r="r" b="b"/>
              <a:pathLst>
                <a:path w="245" h="245" extrusionOk="0">
                  <a:moveTo>
                    <a:pt x="62" y="245"/>
                  </a:moveTo>
                  <a:lnTo>
                    <a:pt x="62" y="245"/>
                  </a:lnTo>
                  <a:lnTo>
                    <a:pt x="1" y="245"/>
                  </a:lnTo>
                  <a:lnTo>
                    <a:pt x="1" y="245"/>
                  </a:lnTo>
                  <a:lnTo>
                    <a:pt x="62" y="245"/>
                  </a:lnTo>
                  <a:close/>
                  <a:moveTo>
                    <a:pt x="245" y="1"/>
                  </a:moveTo>
                  <a:lnTo>
                    <a:pt x="245" y="1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245" y="1"/>
                  </a:lnTo>
                  <a:lnTo>
                    <a:pt x="245" y="1"/>
                  </a:lnTo>
                  <a:close/>
                </a:path>
              </a:pathLst>
            </a:custGeom>
            <a:solidFill>
              <a:srgbClr val="6839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8" name="Google Shape;1098;p16"/>
            <p:cNvSpPr/>
            <p:nvPr/>
          </p:nvSpPr>
          <p:spPr>
            <a:xfrm>
              <a:off x="4632850" y="3377100"/>
              <a:ext cx="1550" cy="25"/>
            </a:xfrm>
            <a:custGeom>
              <a:avLst/>
              <a:gdLst/>
              <a:ahLst/>
              <a:cxnLst/>
              <a:rect l="l" t="t" r="r" b="b"/>
              <a:pathLst>
                <a:path w="62" h="1" fill="none" extrusionOk="0">
                  <a:moveTo>
                    <a:pt x="62" y="1"/>
                  </a:moveTo>
                  <a:lnTo>
                    <a:pt x="6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6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9" name="Google Shape;1099;p16"/>
            <p:cNvSpPr/>
            <p:nvPr/>
          </p:nvSpPr>
          <p:spPr>
            <a:xfrm>
              <a:off x="4634375" y="3371000"/>
              <a:ext cx="4600" cy="6125"/>
            </a:xfrm>
            <a:custGeom>
              <a:avLst/>
              <a:gdLst/>
              <a:ahLst/>
              <a:cxnLst/>
              <a:rect l="l" t="t" r="r" b="b"/>
              <a:pathLst>
                <a:path w="184" h="245" fill="none" extrusionOk="0">
                  <a:moveTo>
                    <a:pt x="184" y="1"/>
                  </a:moveTo>
                  <a:lnTo>
                    <a:pt x="184" y="1"/>
                  </a:lnTo>
                  <a:lnTo>
                    <a:pt x="1" y="245"/>
                  </a:lnTo>
                  <a:lnTo>
                    <a:pt x="1" y="245"/>
                  </a:lnTo>
                  <a:lnTo>
                    <a:pt x="184" y="1"/>
                  </a:lnTo>
                  <a:lnTo>
                    <a:pt x="184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0" name="Google Shape;1100;p16"/>
            <p:cNvSpPr/>
            <p:nvPr/>
          </p:nvSpPr>
          <p:spPr>
            <a:xfrm>
              <a:off x="4081225" y="3308525"/>
              <a:ext cx="574525" cy="141750"/>
            </a:xfrm>
            <a:custGeom>
              <a:avLst/>
              <a:gdLst/>
              <a:ahLst/>
              <a:cxnLst/>
              <a:rect l="l" t="t" r="r" b="b"/>
              <a:pathLst>
                <a:path w="22981" h="5670" extrusionOk="0">
                  <a:moveTo>
                    <a:pt x="1" y="1"/>
                  </a:moveTo>
                  <a:lnTo>
                    <a:pt x="1" y="62"/>
                  </a:lnTo>
                  <a:lnTo>
                    <a:pt x="62" y="62"/>
                  </a:lnTo>
                  <a:lnTo>
                    <a:pt x="305" y="732"/>
                  </a:lnTo>
                  <a:lnTo>
                    <a:pt x="671" y="1403"/>
                  </a:lnTo>
                  <a:lnTo>
                    <a:pt x="976" y="1707"/>
                  </a:lnTo>
                  <a:lnTo>
                    <a:pt x="1281" y="2012"/>
                  </a:lnTo>
                  <a:lnTo>
                    <a:pt x="1646" y="2317"/>
                  </a:lnTo>
                  <a:lnTo>
                    <a:pt x="2012" y="2622"/>
                  </a:lnTo>
                  <a:lnTo>
                    <a:pt x="3231" y="3292"/>
                  </a:lnTo>
                  <a:lnTo>
                    <a:pt x="4511" y="3963"/>
                  </a:lnTo>
                  <a:lnTo>
                    <a:pt x="5791" y="4450"/>
                  </a:lnTo>
                  <a:lnTo>
                    <a:pt x="7132" y="4877"/>
                  </a:lnTo>
                  <a:lnTo>
                    <a:pt x="8108" y="5121"/>
                  </a:lnTo>
                  <a:lnTo>
                    <a:pt x="9327" y="5426"/>
                  </a:lnTo>
                  <a:lnTo>
                    <a:pt x="10424" y="5548"/>
                  </a:lnTo>
                  <a:lnTo>
                    <a:pt x="11277" y="5669"/>
                  </a:lnTo>
                  <a:lnTo>
                    <a:pt x="12923" y="5669"/>
                  </a:lnTo>
                  <a:lnTo>
                    <a:pt x="13776" y="5608"/>
                  </a:lnTo>
                  <a:lnTo>
                    <a:pt x="14325" y="5548"/>
                  </a:lnTo>
                  <a:lnTo>
                    <a:pt x="15544" y="5365"/>
                  </a:lnTo>
                  <a:lnTo>
                    <a:pt x="16763" y="5121"/>
                  </a:lnTo>
                  <a:lnTo>
                    <a:pt x="17982" y="4816"/>
                  </a:lnTo>
                  <a:lnTo>
                    <a:pt x="19079" y="4450"/>
                  </a:lnTo>
                  <a:lnTo>
                    <a:pt x="19993" y="4085"/>
                  </a:lnTo>
                  <a:lnTo>
                    <a:pt x="20786" y="3719"/>
                  </a:lnTo>
                  <a:lnTo>
                    <a:pt x="21456" y="3292"/>
                  </a:lnTo>
                  <a:lnTo>
                    <a:pt x="22005" y="2866"/>
                  </a:lnTo>
                  <a:lnTo>
                    <a:pt x="22066" y="2744"/>
                  </a:lnTo>
                  <a:lnTo>
                    <a:pt x="22127" y="2744"/>
                  </a:lnTo>
                  <a:lnTo>
                    <a:pt x="22310" y="2500"/>
                  </a:lnTo>
                  <a:lnTo>
                    <a:pt x="22554" y="2134"/>
                  </a:lnTo>
                  <a:lnTo>
                    <a:pt x="22797" y="1768"/>
                  </a:lnTo>
                  <a:lnTo>
                    <a:pt x="22919" y="1403"/>
                  </a:lnTo>
                  <a:lnTo>
                    <a:pt x="22980" y="1037"/>
                  </a:lnTo>
                  <a:lnTo>
                    <a:pt x="22736" y="1342"/>
                  </a:lnTo>
                  <a:lnTo>
                    <a:pt x="22493" y="1586"/>
                  </a:lnTo>
                  <a:lnTo>
                    <a:pt x="22249" y="1768"/>
                  </a:lnTo>
                  <a:lnTo>
                    <a:pt x="21944" y="1890"/>
                  </a:lnTo>
                  <a:lnTo>
                    <a:pt x="21639" y="2012"/>
                  </a:lnTo>
                  <a:lnTo>
                    <a:pt x="21274" y="2073"/>
                  </a:lnTo>
                  <a:lnTo>
                    <a:pt x="20420" y="2134"/>
                  </a:lnTo>
                  <a:lnTo>
                    <a:pt x="18835" y="2073"/>
                  </a:lnTo>
                  <a:lnTo>
                    <a:pt x="16763" y="1951"/>
                  </a:lnTo>
                  <a:lnTo>
                    <a:pt x="16336" y="1951"/>
                  </a:lnTo>
                  <a:lnTo>
                    <a:pt x="15239" y="2012"/>
                  </a:lnTo>
                  <a:lnTo>
                    <a:pt x="14386" y="2134"/>
                  </a:lnTo>
                  <a:lnTo>
                    <a:pt x="13593" y="2317"/>
                  </a:lnTo>
                  <a:lnTo>
                    <a:pt x="12862" y="2561"/>
                  </a:lnTo>
                  <a:lnTo>
                    <a:pt x="12070" y="2805"/>
                  </a:lnTo>
                  <a:lnTo>
                    <a:pt x="11094" y="2987"/>
                  </a:lnTo>
                  <a:lnTo>
                    <a:pt x="9875" y="3170"/>
                  </a:lnTo>
                  <a:lnTo>
                    <a:pt x="8290" y="3231"/>
                  </a:lnTo>
                  <a:lnTo>
                    <a:pt x="7193" y="3231"/>
                  </a:lnTo>
                  <a:lnTo>
                    <a:pt x="6340" y="3109"/>
                  </a:lnTo>
                  <a:lnTo>
                    <a:pt x="5547" y="2927"/>
                  </a:lnTo>
                  <a:lnTo>
                    <a:pt x="4816" y="2744"/>
                  </a:lnTo>
                  <a:lnTo>
                    <a:pt x="4085" y="2500"/>
                  </a:lnTo>
                  <a:lnTo>
                    <a:pt x="3414" y="2195"/>
                  </a:lnTo>
                  <a:lnTo>
                    <a:pt x="2256" y="1646"/>
                  </a:lnTo>
                  <a:lnTo>
                    <a:pt x="1281" y="1037"/>
                  </a:lnTo>
                  <a:lnTo>
                    <a:pt x="610" y="488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2550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1" name="Google Shape;1101;p16"/>
            <p:cNvSpPr/>
            <p:nvPr/>
          </p:nvSpPr>
          <p:spPr>
            <a:xfrm>
              <a:off x="4081225" y="3308525"/>
              <a:ext cx="574525" cy="141750"/>
            </a:xfrm>
            <a:custGeom>
              <a:avLst/>
              <a:gdLst/>
              <a:ahLst/>
              <a:cxnLst/>
              <a:rect l="l" t="t" r="r" b="b"/>
              <a:pathLst>
                <a:path w="22981" h="5670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62"/>
                  </a:lnTo>
                  <a:lnTo>
                    <a:pt x="1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305" y="732"/>
                  </a:lnTo>
                  <a:lnTo>
                    <a:pt x="671" y="1403"/>
                  </a:lnTo>
                  <a:lnTo>
                    <a:pt x="976" y="1707"/>
                  </a:lnTo>
                  <a:lnTo>
                    <a:pt x="1281" y="2012"/>
                  </a:lnTo>
                  <a:lnTo>
                    <a:pt x="1646" y="2317"/>
                  </a:lnTo>
                  <a:lnTo>
                    <a:pt x="2012" y="2622"/>
                  </a:lnTo>
                  <a:lnTo>
                    <a:pt x="2012" y="2622"/>
                  </a:lnTo>
                  <a:lnTo>
                    <a:pt x="3231" y="3292"/>
                  </a:lnTo>
                  <a:lnTo>
                    <a:pt x="4511" y="3963"/>
                  </a:lnTo>
                  <a:lnTo>
                    <a:pt x="5791" y="4450"/>
                  </a:lnTo>
                  <a:lnTo>
                    <a:pt x="7132" y="4877"/>
                  </a:lnTo>
                  <a:lnTo>
                    <a:pt x="7132" y="4877"/>
                  </a:lnTo>
                  <a:lnTo>
                    <a:pt x="8108" y="5121"/>
                  </a:lnTo>
                  <a:lnTo>
                    <a:pt x="8108" y="5121"/>
                  </a:lnTo>
                  <a:lnTo>
                    <a:pt x="9327" y="5426"/>
                  </a:lnTo>
                  <a:lnTo>
                    <a:pt x="10424" y="5548"/>
                  </a:lnTo>
                  <a:lnTo>
                    <a:pt x="10424" y="5548"/>
                  </a:lnTo>
                  <a:lnTo>
                    <a:pt x="11277" y="5669"/>
                  </a:lnTo>
                  <a:lnTo>
                    <a:pt x="11277" y="5669"/>
                  </a:lnTo>
                  <a:lnTo>
                    <a:pt x="11521" y="5669"/>
                  </a:lnTo>
                  <a:lnTo>
                    <a:pt x="11521" y="5669"/>
                  </a:lnTo>
                  <a:lnTo>
                    <a:pt x="12130" y="5669"/>
                  </a:lnTo>
                  <a:lnTo>
                    <a:pt x="12130" y="5669"/>
                  </a:lnTo>
                  <a:lnTo>
                    <a:pt x="12923" y="5669"/>
                  </a:lnTo>
                  <a:lnTo>
                    <a:pt x="13776" y="5608"/>
                  </a:lnTo>
                  <a:lnTo>
                    <a:pt x="13776" y="5608"/>
                  </a:lnTo>
                  <a:lnTo>
                    <a:pt x="14325" y="5548"/>
                  </a:lnTo>
                  <a:lnTo>
                    <a:pt x="14325" y="5548"/>
                  </a:lnTo>
                  <a:lnTo>
                    <a:pt x="15544" y="5365"/>
                  </a:lnTo>
                  <a:lnTo>
                    <a:pt x="16763" y="5121"/>
                  </a:lnTo>
                  <a:lnTo>
                    <a:pt x="17982" y="4816"/>
                  </a:lnTo>
                  <a:lnTo>
                    <a:pt x="19079" y="4450"/>
                  </a:lnTo>
                  <a:lnTo>
                    <a:pt x="19079" y="4450"/>
                  </a:lnTo>
                  <a:lnTo>
                    <a:pt x="19993" y="4085"/>
                  </a:lnTo>
                  <a:lnTo>
                    <a:pt x="20786" y="3719"/>
                  </a:lnTo>
                  <a:lnTo>
                    <a:pt x="21456" y="3292"/>
                  </a:lnTo>
                  <a:lnTo>
                    <a:pt x="22005" y="2866"/>
                  </a:lnTo>
                  <a:lnTo>
                    <a:pt x="22005" y="2866"/>
                  </a:lnTo>
                  <a:lnTo>
                    <a:pt x="22066" y="2744"/>
                  </a:lnTo>
                  <a:lnTo>
                    <a:pt x="22066" y="2744"/>
                  </a:lnTo>
                  <a:lnTo>
                    <a:pt x="22127" y="2744"/>
                  </a:lnTo>
                  <a:lnTo>
                    <a:pt x="22127" y="2744"/>
                  </a:lnTo>
                  <a:lnTo>
                    <a:pt x="22127" y="2744"/>
                  </a:lnTo>
                  <a:lnTo>
                    <a:pt x="22127" y="2744"/>
                  </a:lnTo>
                  <a:lnTo>
                    <a:pt x="22310" y="2500"/>
                  </a:lnTo>
                  <a:lnTo>
                    <a:pt x="22310" y="2500"/>
                  </a:lnTo>
                  <a:lnTo>
                    <a:pt x="22554" y="2134"/>
                  </a:lnTo>
                  <a:lnTo>
                    <a:pt x="22797" y="1768"/>
                  </a:lnTo>
                  <a:lnTo>
                    <a:pt x="22919" y="1403"/>
                  </a:lnTo>
                  <a:lnTo>
                    <a:pt x="22980" y="1037"/>
                  </a:lnTo>
                  <a:lnTo>
                    <a:pt x="22980" y="1037"/>
                  </a:lnTo>
                  <a:lnTo>
                    <a:pt x="22736" y="1342"/>
                  </a:lnTo>
                  <a:lnTo>
                    <a:pt x="22493" y="1586"/>
                  </a:lnTo>
                  <a:lnTo>
                    <a:pt x="22249" y="1768"/>
                  </a:lnTo>
                  <a:lnTo>
                    <a:pt x="21944" y="1890"/>
                  </a:lnTo>
                  <a:lnTo>
                    <a:pt x="21639" y="2012"/>
                  </a:lnTo>
                  <a:lnTo>
                    <a:pt x="21274" y="2073"/>
                  </a:lnTo>
                  <a:lnTo>
                    <a:pt x="20420" y="2134"/>
                  </a:lnTo>
                  <a:lnTo>
                    <a:pt x="20420" y="2134"/>
                  </a:lnTo>
                  <a:lnTo>
                    <a:pt x="18835" y="2073"/>
                  </a:lnTo>
                  <a:lnTo>
                    <a:pt x="16763" y="1951"/>
                  </a:lnTo>
                  <a:lnTo>
                    <a:pt x="16763" y="1951"/>
                  </a:lnTo>
                  <a:lnTo>
                    <a:pt x="16336" y="1951"/>
                  </a:lnTo>
                  <a:lnTo>
                    <a:pt x="16336" y="1951"/>
                  </a:lnTo>
                  <a:lnTo>
                    <a:pt x="15239" y="2012"/>
                  </a:lnTo>
                  <a:lnTo>
                    <a:pt x="14386" y="2134"/>
                  </a:lnTo>
                  <a:lnTo>
                    <a:pt x="13593" y="2317"/>
                  </a:lnTo>
                  <a:lnTo>
                    <a:pt x="12862" y="2561"/>
                  </a:lnTo>
                  <a:lnTo>
                    <a:pt x="12070" y="2805"/>
                  </a:lnTo>
                  <a:lnTo>
                    <a:pt x="11094" y="2987"/>
                  </a:lnTo>
                  <a:lnTo>
                    <a:pt x="9875" y="3170"/>
                  </a:lnTo>
                  <a:lnTo>
                    <a:pt x="8290" y="3231"/>
                  </a:lnTo>
                  <a:lnTo>
                    <a:pt x="8290" y="3231"/>
                  </a:lnTo>
                  <a:lnTo>
                    <a:pt x="8047" y="3231"/>
                  </a:lnTo>
                  <a:lnTo>
                    <a:pt x="8047" y="3231"/>
                  </a:lnTo>
                  <a:lnTo>
                    <a:pt x="7193" y="3231"/>
                  </a:lnTo>
                  <a:lnTo>
                    <a:pt x="6340" y="3109"/>
                  </a:lnTo>
                  <a:lnTo>
                    <a:pt x="5547" y="2927"/>
                  </a:lnTo>
                  <a:lnTo>
                    <a:pt x="4816" y="2744"/>
                  </a:lnTo>
                  <a:lnTo>
                    <a:pt x="4085" y="2500"/>
                  </a:lnTo>
                  <a:lnTo>
                    <a:pt x="3414" y="2195"/>
                  </a:lnTo>
                  <a:lnTo>
                    <a:pt x="2256" y="1646"/>
                  </a:lnTo>
                  <a:lnTo>
                    <a:pt x="1281" y="1037"/>
                  </a:lnTo>
                  <a:lnTo>
                    <a:pt x="610" y="488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2" name="Google Shape;1102;p16"/>
            <p:cNvSpPr/>
            <p:nvPr/>
          </p:nvSpPr>
          <p:spPr>
            <a:xfrm>
              <a:off x="4488100" y="3133300"/>
              <a:ext cx="350500" cy="62500"/>
            </a:xfrm>
            <a:custGeom>
              <a:avLst/>
              <a:gdLst/>
              <a:ahLst/>
              <a:cxnLst/>
              <a:rect l="l" t="t" r="r" b="b"/>
              <a:pathLst>
                <a:path w="14020" h="2500" extrusionOk="0">
                  <a:moveTo>
                    <a:pt x="7254" y="1646"/>
                  </a:moveTo>
                  <a:lnTo>
                    <a:pt x="7254" y="1646"/>
                  </a:lnTo>
                  <a:lnTo>
                    <a:pt x="6644" y="2073"/>
                  </a:lnTo>
                  <a:lnTo>
                    <a:pt x="6339" y="2316"/>
                  </a:lnTo>
                  <a:lnTo>
                    <a:pt x="5913" y="2499"/>
                  </a:lnTo>
                  <a:lnTo>
                    <a:pt x="5913" y="2499"/>
                  </a:lnTo>
                  <a:lnTo>
                    <a:pt x="5913" y="2499"/>
                  </a:lnTo>
                  <a:lnTo>
                    <a:pt x="6339" y="2316"/>
                  </a:lnTo>
                  <a:lnTo>
                    <a:pt x="6644" y="2073"/>
                  </a:lnTo>
                  <a:lnTo>
                    <a:pt x="7254" y="1646"/>
                  </a:lnTo>
                  <a:lnTo>
                    <a:pt x="7254" y="1646"/>
                  </a:lnTo>
                  <a:close/>
                  <a:moveTo>
                    <a:pt x="0" y="1646"/>
                  </a:moveTo>
                  <a:lnTo>
                    <a:pt x="0" y="1646"/>
                  </a:lnTo>
                  <a:lnTo>
                    <a:pt x="0" y="1646"/>
                  </a:lnTo>
                  <a:lnTo>
                    <a:pt x="366" y="1768"/>
                  </a:lnTo>
                  <a:lnTo>
                    <a:pt x="366" y="1768"/>
                  </a:lnTo>
                  <a:lnTo>
                    <a:pt x="0" y="1646"/>
                  </a:lnTo>
                  <a:close/>
                  <a:moveTo>
                    <a:pt x="14020" y="732"/>
                  </a:moveTo>
                  <a:lnTo>
                    <a:pt x="14020" y="732"/>
                  </a:lnTo>
                  <a:lnTo>
                    <a:pt x="13410" y="975"/>
                  </a:lnTo>
                  <a:lnTo>
                    <a:pt x="13105" y="1036"/>
                  </a:lnTo>
                  <a:lnTo>
                    <a:pt x="12740" y="1036"/>
                  </a:lnTo>
                  <a:lnTo>
                    <a:pt x="12740" y="1036"/>
                  </a:lnTo>
                  <a:lnTo>
                    <a:pt x="12435" y="1036"/>
                  </a:lnTo>
                  <a:lnTo>
                    <a:pt x="12435" y="1036"/>
                  </a:lnTo>
                  <a:lnTo>
                    <a:pt x="12435" y="1036"/>
                  </a:lnTo>
                  <a:lnTo>
                    <a:pt x="12740" y="1036"/>
                  </a:lnTo>
                  <a:lnTo>
                    <a:pt x="12740" y="1036"/>
                  </a:lnTo>
                  <a:lnTo>
                    <a:pt x="13105" y="1036"/>
                  </a:lnTo>
                  <a:lnTo>
                    <a:pt x="13410" y="975"/>
                  </a:lnTo>
                  <a:lnTo>
                    <a:pt x="14020" y="732"/>
                  </a:lnTo>
                  <a:close/>
                  <a:moveTo>
                    <a:pt x="14020" y="732"/>
                  </a:moveTo>
                  <a:lnTo>
                    <a:pt x="14020" y="732"/>
                  </a:lnTo>
                  <a:lnTo>
                    <a:pt x="14020" y="732"/>
                  </a:lnTo>
                  <a:lnTo>
                    <a:pt x="14020" y="732"/>
                  </a:lnTo>
                  <a:lnTo>
                    <a:pt x="14020" y="732"/>
                  </a:lnTo>
                  <a:close/>
                  <a:moveTo>
                    <a:pt x="10667" y="305"/>
                  </a:moveTo>
                  <a:lnTo>
                    <a:pt x="10667" y="305"/>
                  </a:lnTo>
                  <a:lnTo>
                    <a:pt x="10667" y="305"/>
                  </a:lnTo>
                  <a:lnTo>
                    <a:pt x="11581" y="732"/>
                  </a:lnTo>
                  <a:lnTo>
                    <a:pt x="11581" y="732"/>
                  </a:lnTo>
                  <a:lnTo>
                    <a:pt x="12008" y="914"/>
                  </a:lnTo>
                  <a:lnTo>
                    <a:pt x="12008" y="914"/>
                  </a:lnTo>
                  <a:lnTo>
                    <a:pt x="12008" y="914"/>
                  </a:lnTo>
                  <a:lnTo>
                    <a:pt x="12008" y="914"/>
                  </a:lnTo>
                  <a:lnTo>
                    <a:pt x="11581" y="732"/>
                  </a:lnTo>
                  <a:lnTo>
                    <a:pt x="11581" y="732"/>
                  </a:lnTo>
                  <a:lnTo>
                    <a:pt x="10667" y="305"/>
                  </a:lnTo>
                  <a:close/>
                  <a:moveTo>
                    <a:pt x="9692" y="0"/>
                  </a:moveTo>
                  <a:lnTo>
                    <a:pt x="9692" y="0"/>
                  </a:lnTo>
                  <a:lnTo>
                    <a:pt x="9387" y="0"/>
                  </a:lnTo>
                  <a:lnTo>
                    <a:pt x="9082" y="122"/>
                  </a:lnTo>
                  <a:lnTo>
                    <a:pt x="9082" y="122"/>
                  </a:lnTo>
                  <a:lnTo>
                    <a:pt x="8778" y="244"/>
                  </a:lnTo>
                  <a:lnTo>
                    <a:pt x="8473" y="549"/>
                  </a:lnTo>
                  <a:lnTo>
                    <a:pt x="7741" y="1219"/>
                  </a:lnTo>
                  <a:lnTo>
                    <a:pt x="7741" y="1219"/>
                  </a:lnTo>
                  <a:lnTo>
                    <a:pt x="7741" y="1219"/>
                  </a:lnTo>
                  <a:lnTo>
                    <a:pt x="7741" y="1219"/>
                  </a:lnTo>
                  <a:lnTo>
                    <a:pt x="8473" y="549"/>
                  </a:lnTo>
                  <a:lnTo>
                    <a:pt x="8778" y="244"/>
                  </a:lnTo>
                  <a:lnTo>
                    <a:pt x="9082" y="122"/>
                  </a:lnTo>
                  <a:lnTo>
                    <a:pt x="9082" y="122"/>
                  </a:lnTo>
                  <a:lnTo>
                    <a:pt x="9387" y="0"/>
                  </a:lnTo>
                  <a:lnTo>
                    <a:pt x="9692" y="0"/>
                  </a:lnTo>
                  <a:lnTo>
                    <a:pt x="9692" y="0"/>
                  </a:lnTo>
                  <a:lnTo>
                    <a:pt x="9997" y="0"/>
                  </a:lnTo>
                  <a:lnTo>
                    <a:pt x="10362" y="122"/>
                  </a:lnTo>
                  <a:lnTo>
                    <a:pt x="10362" y="122"/>
                  </a:lnTo>
                  <a:lnTo>
                    <a:pt x="10362" y="122"/>
                  </a:lnTo>
                  <a:lnTo>
                    <a:pt x="9997" y="0"/>
                  </a:lnTo>
                  <a:lnTo>
                    <a:pt x="9692" y="0"/>
                  </a:lnTo>
                  <a:close/>
                </a:path>
              </a:pathLst>
            </a:custGeom>
            <a:solidFill>
              <a:srgbClr val="B4B0B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3" name="Google Shape;1103;p16"/>
            <p:cNvSpPr/>
            <p:nvPr/>
          </p:nvSpPr>
          <p:spPr>
            <a:xfrm>
              <a:off x="4635900" y="3174425"/>
              <a:ext cx="33550" cy="21375"/>
            </a:xfrm>
            <a:custGeom>
              <a:avLst/>
              <a:gdLst/>
              <a:ahLst/>
              <a:cxnLst/>
              <a:rect l="l" t="t" r="r" b="b"/>
              <a:pathLst>
                <a:path w="1342" h="855" fill="none" extrusionOk="0">
                  <a:moveTo>
                    <a:pt x="1342" y="1"/>
                  </a:moveTo>
                  <a:lnTo>
                    <a:pt x="1342" y="1"/>
                  </a:lnTo>
                  <a:lnTo>
                    <a:pt x="732" y="428"/>
                  </a:lnTo>
                  <a:lnTo>
                    <a:pt x="427" y="671"/>
                  </a:lnTo>
                  <a:lnTo>
                    <a:pt x="1" y="854"/>
                  </a:lnTo>
                  <a:lnTo>
                    <a:pt x="1" y="854"/>
                  </a:lnTo>
                  <a:lnTo>
                    <a:pt x="1" y="854"/>
                  </a:lnTo>
                  <a:lnTo>
                    <a:pt x="427" y="671"/>
                  </a:lnTo>
                  <a:lnTo>
                    <a:pt x="732" y="428"/>
                  </a:lnTo>
                  <a:lnTo>
                    <a:pt x="1342" y="1"/>
                  </a:lnTo>
                  <a:lnTo>
                    <a:pt x="134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4" name="Google Shape;1104;p16"/>
            <p:cNvSpPr/>
            <p:nvPr/>
          </p:nvSpPr>
          <p:spPr>
            <a:xfrm>
              <a:off x="4488100" y="3174425"/>
              <a:ext cx="9175" cy="3075"/>
            </a:xfrm>
            <a:custGeom>
              <a:avLst/>
              <a:gdLst/>
              <a:ahLst/>
              <a:cxnLst/>
              <a:rect l="l" t="t" r="r" b="b"/>
              <a:pathLst>
                <a:path w="367" h="123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366" y="123"/>
                  </a:lnTo>
                  <a:lnTo>
                    <a:pt x="366" y="123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5" name="Google Shape;1105;p16"/>
            <p:cNvSpPr/>
            <p:nvPr/>
          </p:nvSpPr>
          <p:spPr>
            <a:xfrm>
              <a:off x="4798950" y="3151575"/>
              <a:ext cx="39650" cy="7650"/>
            </a:xfrm>
            <a:custGeom>
              <a:avLst/>
              <a:gdLst/>
              <a:ahLst/>
              <a:cxnLst/>
              <a:rect l="l" t="t" r="r" b="b"/>
              <a:pathLst>
                <a:path w="1586" h="306" fill="none" extrusionOk="0">
                  <a:moveTo>
                    <a:pt x="1586" y="1"/>
                  </a:moveTo>
                  <a:lnTo>
                    <a:pt x="1586" y="1"/>
                  </a:lnTo>
                  <a:lnTo>
                    <a:pt x="976" y="244"/>
                  </a:lnTo>
                  <a:lnTo>
                    <a:pt x="671" y="305"/>
                  </a:lnTo>
                  <a:lnTo>
                    <a:pt x="306" y="305"/>
                  </a:lnTo>
                  <a:lnTo>
                    <a:pt x="306" y="305"/>
                  </a:lnTo>
                  <a:lnTo>
                    <a:pt x="1" y="305"/>
                  </a:lnTo>
                  <a:lnTo>
                    <a:pt x="1" y="305"/>
                  </a:lnTo>
                  <a:lnTo>
                    <a:pt x="1" y="305"/>
                  </a:lnTo>
                  <a:lnTo>
                    <a:pt x="306" y="305"/>
                  </a:lnTo>
                  <a:lnTo>
                    <a:pt x="306" y="305"/>
                  </a:lnTo>
                  <a:lnTo>
                    <a:pt x="671" y="305"/>
                  </a:lnTo>
                  <a:lnTo>
                    <a:pt x="976" y="244"/>
                  </a:lnTo>
                  <a:lnTo>
                    <a:pt x="158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6" name="Google Shape;1106;p16"/>
            <p:cNvSpPr/>
            <p:nvPr/>
          </p:nvSpPr>
          <p:spPr>
            <a:xfrm>
              <a:off x="4838575" y="31515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7" name="Google Shape;1107;p16"/>
            <p:cNvSpPr/>
            <p:nvPr/>
          </p:nvSpPr>
          <p:spPr>
            <a:xfrm>
              <a:off x="4754775" y="3140900"/>
              <a:ext cx="33550" cy="15275"/>
            </a:xfrm>
            <a:custGeom>
              <a:avLst/>
              <a:gdLst/>
              <a:ahLst/>
              <a:cxnLst/>
              <a:rect l="l" t="t" r="r" b="b"/>
              <a:pathLst>
                <a:path w="1342" h="61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914" y="428"/>
                  </a:lnTo>
                  <a:lnTo>
                    <a:pt x="914" y="428"/>
                  </a:lnTo>
                  <a:lnTo>
                    <a:pt x="1341" y="610"/>
                  </a:lnTo>
                  <a:lnTo>
                    <a:pt x="1341" y="610"/>
                  </a:lnTo>
                  <a:lnTo>
                    <a:pt x="1341" y="610"/>
                  </a:lnTo>
                  <a:lnTo>
                    <a:pt x="1341" y="610"/>
                  </a:lnTo>
                  <a:lnTo>
                    <a:pt x="914" y="428"/>
                  </a:lnTo>
                  <a:lnTo>
                    <a:pt x="914" y="428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8" name="Google Shape;1108;p16"/>
            <p:cNvSpPr/>
            <p:nvPr/>
          </p:nvSpPr>
          <p:spPr>
            <a:xfrm>
              <a:off x="4681625" y="3133300"/>
              <a:ext cx="65550" cy="30500"/>
            </a:xfrm>
            <a:custGeom>
              <a:avLst/>
              <a:gdLst/>
              <a:ahLst/>
              <a:cxnLst/>
              <a:rect l="l" t="t" r="r" b="b"/>
              <a:pathLst>
                <a:path w="2622" h="1220" fill="none" extrusionOk="0">
                  <a:moveTo>
                    <a:pt x="1951" y="0"/>
                  </a:moveTo>
                  <a:lnTo>
                    <a:pt x="1951" y="0"/>
                  </a:lnTo>
                  <a:lnTo>
                    <a:pt x="1646" y="0"/>
                  </a:lnTo>
                  <a:lnTo>
                    <a:pt x="1341" y="122"/>
                  </a:lnTo>
                  <a:lnTo>
                    <a:pt x="1341" y="122"/>
                  </a:lnTo>
                  <a:lnTo>
                    <a:pt x="1037" y="244"/>
                  </a:lnTo>
                  <a:lnTo>
                    <a:pt x="732" y="549"/>
                  </a:lnTo>
                  <a:lnTo>
                    <a:pt x="0" y="1219"/>
                  </a:lnTo>
                  <a:lnTo>
                    <a:pt x="0" y="1219"/>
                  </a:lnTo>
                  <a:lnTo>
                    <a:pt x="0" y="1219"/>
                  </a:lnTo>
                  <a:lnTo>
                    <a:pt x="0" y="1219"/>
                  </a:lnTo>
                  <a:lnTo>
                    <a:pt x="732" y="549"/>
                  </a:lnTo>
                  <a:lnTo>
                    <a:pt x="1037" y="244"/>
                  </a:lnTo>
                  <a:lnTo>
                    <a:pt x="1341" y="122"/>
                  </a:lnTo>
                  <a:lnTo>
                    <a:pt x="1341" y="122"/>
                  </a:lnTo>
                  <a:lnTo>
                    <a:pt x="1646" y="0"/>
                  </a:lnTo>
                  <a:lnTo>
                    <a:pt x="1951" y="0"/>
                  </a:lnTo>
                  <a:lnTo>
                    <a:pt x="1951" y="0"/>
                  </a:lnTo>
                  <a:lnTo>
                    <a:pt x="2256" y="0"/>
                  </a:lnTo>
                  <a:lnTo>
                    <a:pt x="2621" y="122"/>
                  </a:lnTo>
                  <a:lnTo>
                    <a:pt x="2621" y="122"/>
                  </a:lnTo>
                  <a:lnTo>
                    <a:pt x="2621" y="122"/>
                  </a:lnTo>
                  <a:lnTo>
                    <a:pt x="2256" y="0"/>
                  </a:lnTo>
                  <a:lnTo>
                    <a:pt x="195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6"/>
            <p:cNvSpPr/>
            <p:nvPr/>
          </p:nvSpPr>
          <p:spPr>
            <a:xfrm>
              <a:off x="4669425" y="3163775"/>
              <a:ext cx="12225" cy="10675"/>
            </a:xfrm>
            <a:custGeom>
              <a:avLst/>
              <a:gdLst/>
              <a:ahLst/>
              <a:cxnLst/>
              <a:rect l="l" t="t" r="r" b="b"/>
              <a:pathLst>
                <a:path w="489" h="427" extrusionOk="0">
                  <a:moveTo>
                    <a:pt x="488" y="0"/>
                  </a:moveTo>
                  <a:lnTo>
                    <a:pt x="488" y="0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488" y="0"/>
                  </a:lnTo>
                  <a:lnTo>
                    <a:pt x="488" y="0"/>
                  </a:lnTo>
                  <a:lnTo>
                    <a:pt x="488" y="0"/>
                  </a:lnTo>
                  <a:close/>
                </a:path>
              </a:pathLst>
            </a:custGeom>
            <a:solidFill>
              <a:srgbClr val="6839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6"/>
            <p:cNvSpPr/>
            <p:nvPr/>
          </p:nvSpPr>
          <p:spPr>
            <a:xfrm>
              <a:off x="4669425" y="3163775"/>
              <a:ext cx="12225" cy="10675"/>
            </a:xfrm>
            <a:custGeom>
              <a:avLst/>
              <a:gdLst/>
              <a:ahLst/>
              <a:cxnLst/>
              <a:rect l="l" t="t" r="r" b="b"/>
              <a:pathLst>
                <a:path w="489" h="427" fill="none" extrusionOk="0">
                  <a:moveTo>
                    <a:pt x="488" y="0"/>
                  </a:moveTo>
                  <a:lnTo>
                    <a:pt x="488" y="0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488" y="0"/>
                  </a:lnTo>
                  <a:lnTo>
                    <a:pt x="488" y="0"/>
                  </a:lnTo>
                  <a:lnTo>
                    <a:pt x="48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1" name="Google Shape;1111;p16"/>
            <p:cNvSpPr/>
            <p:nvPr/>
          </p:nvSpPr>
          <p:spPr>
            <a:xfrm>
              <a:off x="4747150" y="3136325"/>
              <a:ext cx="7650" cy="4600"/>
            </a:xfrm>
            <a:custGeom>
              <a:avLst/>
              <a:gdLst/>
              <a:ahLst/>
              <a:cxnLst/>
              <a:rect l="l" t="t" r="r" b="b"/>
              <a:pathLst>
                <a:path w="306" h="184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305" y="184"/>
                  </a:lnTo>
                  <a:lnTo>
                    <a:pt x="305" y="184"/>
                  </a:lnTo>
                  <a:lnTo>
                    <a:pt x="305" y="184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6839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2" name="Google Shape;1112;p16"/>
            <p:cNvSpPr/>
            <p:nvPr/>
          </p:nvSpPr>
          <p:spPr>
            <a:xfrm>
              <a:off x="4747150" y="3136325"/>
              <a:ext cx="7650" cy="4600"/>
            </a:xfrm>
            <a:custGeom>
              <a:avLst/>
              <a:gdLst/>
              <a:ahLst/>
              <a:cxnLst/>
              <a:rect l="l" t="t" r="r" b="b"/>
              <a:pathLst>
                <a:path w="306" h="184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305" y="184"/>
                  </a:lnTo>
                  <a:lnTo>
                    <a:pt x="305" y="184"/>
                  </a:lnTo>
                  <a:lnTo>
                    <a:pt x="305" y="184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3" name="Google Shape;1113;p16"/>
            <p:cNvSpPr/>
            <p:nvPr/>
          </p:nvSpPr>
          <p:spPr>
            <a:xfrm>
              <a:off x="4788300" y="3156150"/>
              <a:ext cx="10675" cy="3075"/>
            </a:xfrm>
            <a:custGeom>
              <a:avLst/>
              <a:gdLst/>
              <a:ahLst/>
              <a:cxnLst/>
              <a:rect l="l" t="t" r="r" b="b"/>
              <a:pathLst>
                <a:path w="427" h="123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27" y="122"/>
                  </a:lnTo>
                  <a:lnTo>
                    <a:pt x="427" y="122"/>
                  </a:lnTo>
                  <a:lnTo>
                    <a:pt x="427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839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4" name="Google Shape;1114;p16"/>
            <p:cNvSpPr/>
            <p:nvPr/>
          </p:nvSpPr>
          <p:spPr>
            <a:xfrm>
              <a:off x="4788300" y="3156150"/>
              <a:ext cx="10675" cy="3075"/>
            </a:xfrm>
            <a:custGeom>
              <a:avLst/>
              <a:gdLst/>
              <a:ahLst/>
              <a:cxnLst/>
              <a:rect l="l" t="t" r="r" b="b"/>
              <a:pathLst>
                <a:path w="427" h="123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27" y="122"/>
                  </a:lnTo>
                  <a:lnTo>
                    <a:pt x="427" y="122"/>
                  </a:lnTo>
                  <a:lnTo>
                    <a:pt x="427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5" name="Google Shape;1115;p16"/>
            <p:cNvSpPr/>
            <p:nvPr/>
          </p:nvSpPr>
          <p:spPr>
            <a:xfrm>
              <a:off x="4634375" y="3195775"/>
              <a:ext cx="1550" cy="25"/>
            </a:xfrm>
            <a:custGeom>
              <a:avLst/>
              <a:gdLst/>
              <a:ahLst/>
              <a:cxnLst/>
              <a:rect l="l" t="t" r="r" b="b"/>
              <a:pathLst>
                <a:path w="62" h="1" extrusionOk="0">
                  <a:moveTo>
                    <a:pt x="62" y="0"/>
                  </a:moveTo>
                  <a:lnTo>
                    <a:pt x="6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62" y="0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6839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6" name="Google Shape;1116;p16"/>
            <p:cNvSpPr/>
            <p:nvPr/>
          </p:nvSpPr>
          <p:spPr>
            <a:xfrm>
              <a:off x="4634375" y="3195775"/>
              <a:ext cx="1550" cy="25"/>
            </a:xfrm>
            <a:custGeom>
              <a:avLst/>
              <a:gdLst/>
              <a:ahLst/>
              <a:cxnLst/>
              <a:rect l="l" t="t" r="r" b="b"/>
              <a:pathLst>
                <a:path w="62" h="1" fill="none" extrusionOk="0">
                  <a:moveTo>
                    <a:pt x="62" y="0"/>
                  </a:moveTo>
                  <a:lnTo>
                    <a:pt x="6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62" y="0"/>
                  </a:lnTo>
                  <a:lnTo>
                    <a:pt x="6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7" name="Google Shape;1117;p16"/>
            <p:cNvSpPr/>
            <p:nvPr/>
          </p:nvSpPr>
          <p:spPr>
            <a:xfrm>
              <a:off x="4488100" y="3116525"/>
              <a:ext cx="374875" cy="88400"/>
            </a:xfrm>
            <a:custGeom>
              <a:avLst/>
              <a:gdLst/>
              <a:ahLst/>
              <a:cxnLst/>
              <a:rect l="l" t="t" r="r" b="b"/>
              <a:pathLst>
                <a:path w="14995" h="3536" extrusionOk="0">
                  <a:moveTo>
                    <a:pt x="9204" y="1"/>
                  </a:moveTo>
                  <a:lnTo>
                    <a:pt x="8656" y="62"/>
                  </a:lnTo>
                  <a:lnTo>
                    <a:pt x="8168" y="183"/>
                  </a:lnTo>
                  <a:lnTo>
                    <a:pt x="7741" y="305"/>
                  </a:lnTo>
                  <a:lnTo>
                    <a:pt x="7315" y="549"/>
                  </a:lnTo>
                  <a:lnTo>
                    <a:pt x="6461" y="1098"/>
                  </a:lnTo>
                  <a:lnTo>
                    <a:pt x="5486" y="1829"/>
                  </a:lnTo>
                  <a:lnTo>
                    <a:pt x="5120" y="2012"/>
                  </a:lnTo>
                  <a:lnTo>
                    <a:pt x="4816" y="2195"/>
                  </a:lnTo>
                  <a:lnTo>
                    <a:pt x="4023" y="2439"/>
                  </a:lnTo>
                  <a:lnTo>
                    <a:pt x="3292" y="2561"/>
                  </a:lnTo>
                  <a:lnTo>
                    <a:pt x="2499" y="2561"/>
                  </a:lnTo>
                  <a:lnTo>
                    <a:pt x="1524" y="2500"/>
                  </a:lnTo>
                  <a:lnTo>
                    <a:pt x="732" y="2439"/>
                  </a:lnTo>
                  <a:lnTo>
                    <a:pt x="0" y="2317"/>
                  </a:lnTo>
                  <a:lnTo>
                    <a:pt x="0" y="2317"/>
                  </a:lnTo>
                  <a:lnTo>
                    <a:pt x="366" y="2439"/>
                  </a:lnTo>
                  <a:lnTo>
                    <a:pt x="1219" y="2865"/>
                  </a:lnTo>
                  <a:lnTo>
                    <a:pt x="2134" y="3170"/>
                  </a:lnTo>
                  <a:lnTo>
                    <a:pt x="3109" y="3414"/>
                  </a:lnTo>
                  <a:lnTo>
                    <a:pt x="3597" y="3475"/>
                  </a:lnTo>
                  <a:lnTo>
                    <a:pt x="4084" y="3536"/>
                  </a:lnTo>
                  <a:lnTo>
                    <a:pt x="4511" y="3475"/>
                  </a:lnTo>
                  <a:lnTo>
                    <a:pt x="5181" y="3414"/>
                  </a:lnTo>
                  <a:lnTo>
                    <a:pt x="5852" y="3170"/>
                  </a:lnTo>
                  <a:lnTo>
                    <a:pt x="5913" y="3170"/>
                  </a:lnTo>
                  <a:lnTo>
                    <a:pt x="6339" y="2987"/>
                  </a:lnTo>
                  <a:lnTo>
                    <a:pt x="6644" y="2744"/>
                  </a:lnTo>
                  <a:lnTo>
                    <a:pt x="7254" y="2317"/>
                  </a:lnTo>
                  <a:lnTo>
                    <a:pt x="7741" y="1890"/>
                  </a:lnTo>
                  <a:lnTo>
                    <a:pt x="8473" y="1220"/>
                  </a:lnTo>
                  <a:lnTo>
                    <a:pt x="8778" y="915"/>
                  </a:lnTo>
                  <a:lnTo>
                    <a:pt x="9082" y="793"/>
                  </a:lnTo>
                  <a:lnTo>
                    <a:pt x="9387" y="671"/>
                  </a:lnTo>
                  <a:lnTo>
                    <a:pt x="9997" y="671"/>
                  </a:lnTo>
                  <a:lnTo>
                    <a:pt x="10362" y="793"/>
                  </a:lnTo>
                  <a:lnTo>
                    <a:pt x="10667" y="976"/>
                  </a:lnTo>
                  <a:lnTo>
                    <a:pt x="11581" y="1403"/>
                  </a:lnTo>
                  <a:lnTo>
                    <a:pt x="12008" y="1585"/>
                  </a:lnTo>
                  <a:lnTo>
                    <a:pt x="12435" y="1707"/>
                  </a:lnTo>
                  <a:lnTo>
                    <a:pt x="13105" y="1707"/>
                  </a:lnTo>
                  <a:lnTo>
                    <a:pt x="13410" y="1646"/>
                  </a:lnTo>
                  <a:lnTo>
                    <a:pt x="14020" y="1403"/>
                  </a:lnTo>
                  <a:lnTo>
                    <a:pt x="14385" y="1220"/>
                  </a:lnTo>
                  <a:lnTo>
                    <a:pt x="14629" y="915"/>
                  </a:lnTo>
                  <a:lnTo>
                    <a:pt x="14812" y="671"/>
                  </a:lnTo>
                  <a:lnTo>
                    <a:pt x="14995" y="305"/>
                  </a:lnTo>
                  <a:lnTo>
                    <a:pt x="14934" y="305"/>
                  </a:lnTo>
                  <a:lnTo>
                    <a:pt x="14690" y="488"/>
                  </a:lnTo>
                  <a:lnTo>
                    <a:pt x="14446" y="610"/>
                  </a:lnTo>
                  <a:lnTo>
                    <a:pt x="14142" y="671"/>
                  </a:lnTo>
                  <a:lnTo>
                    <a:pt x="13166" y="671"/>
                  </a:lnTo>
                  <a:lnTo>
                    <a:pt x="12496" y="549"/>
                  </a:lnTo>
                  <a:lnTo>
                    <a:pt x="10545" y="183"/>
                  </a:lnTo>
                  <a:lnTo>
                    <a:pt x="9814" y="62"/>
                  </a:lnTo>
                  <a:lnTo>
                    <a:pt x="9204" y="1"/>
                  </a:lnTo>
                  <a:close/>
                </a:path>
              </a:pathLst>
            </a:custGeom>
            <a:solidFill>
              <a:srgbClr val="2550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8" name="Google Shape;1118;p16"/>
            <p:cNvSpPr/>
            <p:nvPr/>
          </p:nvSpPr>
          <p:spPr>
            <a:xfrm>
              <a:off x="4488100" y="3116525"/>
              <a:ext cx="374875" cy="88400"/>
            </a:xfrm>
            <a:custGeom>
              <a:avLst/>
              <a:gdLst/>
              <a:ahLst/>
              <a:cxnLst/>
              <a:rect l="l" t="t" r="r" b="b"/>
              <a:pathLst>
                <a:path w="14995" h="3536" fill="none" extrusionOk="0">
                  <a:moveTo>
                    <a:pt x="9204" y="1"/>
                  </a:moveTo>
                  <a:lnTo>
                    <a:pt x="9204" y="1"/>
                  </a:lnTo>
                  <a:lnTo>
                    <a:pt x="8656" y="62"/>
                  </a:lnTo>
                  <a:lnTo>
                    <a:pt x="8168" y="183"/>
                  </a:lnTo>
                  <a:lnTo>
                    <a:pt x="7741" y="305"/>
                  </a:lnTo>
                  <a:lnTo>
                    <a:pt x="7315" y="549"/>
                  </a:lnTo>
                  <a:lnTo>
                    <a:pt x="6461" y="1098"/>
                  </a:lnTo>
                  <a:lnTo>
                    <a:pt x="5486" y="1829"/>
                  </a:lnTo>
                  <a:lnTo>
                    <a:pt x="5486" y="1829"/>
                  </a:lnTo>
                  <a:lnTo>
                    <a:pt x="5120" y="2012"/>
                  </a:lnTo>
                  <a:lnTo>
                    <a:pt x="4816" y="2195"/>
                  </a:lnTo>
                  <a:lnTo>
                    <a:pt x="4023" y="2439"/>
                  </a:lnTo>
                  <a:lnTo>
                    <a:pt x="3292" y="2561"/>
                  </a:lnTo>
                  <a:lnTo>
                    <a:pt x="2499" y="2561"/>
                  </a:lnTo>
                  <a:lnTo>
                    <a:pt x="2499" y="2561"/>
                  </a:lnTo>
                  <a:lnTo>
                    <a:pt x="1524" y="2500"/>
                  </a:lnTo>
                  <a:lnTo>
                    <a:pt x="732" y="2439"/>
                  </a:lnTo>
                  <a:lnTo>
                    <a:pt x="0" y="2317"/>
                  </a:lnTo>
                  <a:lnTo>
                    <a:pt x="0" y="2317"/>
                  </a:lnTo>
                  <a:lnTo>
                    <a:pt x="0" y="2317"/>
                  </a:lnTo>
                  <a:lnTo>
                    <a:pt x="366" y="2439"/>
                  </a:lnTo>
                  <a:lnTo>
                    <a:pt x="366" y="2439"/>
                  </a:lnTo>
                  <a:lnTo>
                    <a:pt x="1219" y="2865"/>
                  </a:lnTo>
                  <a:lnTo>
                    <a:pt x="2134" y="3170"/>
                  </a:lnTo>
                  <a:lnTo>
                    <a:pt x="3109" y="3414"/>
                  </a:lnTo>
                  <a:lnTo>
                    <a:pt x="3597" y="3475"/>
                  </a:lnTo>
                  <a:lnTo>
                    <a:pt x="4084" y="3536"/>
                  </a:lnTo>
                  <a:lnTo>
                    <a:pt x="4084" y="3536"/>
                  </a:lnTo>
                  <a:lnTo>
                    <a:pt x="4511" y="3475"/>
                  </a:lnTo>
                  <a:lnTo>
                    <a:pt x="4511" y="3475"/>
                  </a:lnTo>
                  <a:lnTo>
                    <a:pt x="5181" y="3414"/>
                  </a:lnTo>
                  <a:lnTo>
                    <a:pt x="5852" y="3170"/>
                  </a:lnTo>
                  <a:lnTo>
                    <a:pt x="5852" y="3170"/>
                  </a:lnTo>
                  <a:lnTo>
                    <a:pt x="5913" y="3170"/>
                  </a:lnTo>
                  <a:lnTo>
                    <a:pt x="5913" y="3170"/>
                  </a:lnTo>
                  <a:lnTo>
                    <a:pt x="6339" y="2987"/>
                  </a:lnTo>
                  <a:lnTo>
                    <a:pt x="6644" y="2744"/>
                  </a:lnTo>
                  <a:lnTo>
                    <a:pt x="7254" y="2317"/>
                  </a:lnTo>
                  <a:lnTo>
                    <a:pt x="7254" y="2317"/>
                  </a:lnTo>
                  <a:lnTo>
                    <a:pt x="7741" y="1890"/>
                  </a:lnTo>
                  <a:lnTo>
                    <a:pt x="7741" y="1890"/>
                  </a:lnTo>
                  <a:lnTo>
                    <a:pt x="8473" y="1220"/>
                  </a:lnTo>
                  <a:lnTo>
                    <a:pt x="8778" y="915"/>
                  </a:lnTo>
                  <a:lnTo>
                    <a:pt x="9082" y="793"/>
                  </a:lnTo>
                  <a:lnTo>
                    <a:pt x="9082" y="793"/>
                  </a:lnTo>
                  <a:lnTo>
                    <a:pt x="9387" y="671"/>
                  </a:lnTo>
                  <a:lnTo>
                    <a:pt x="9692" y="671"/>
                  </a:lnTo>
                  <a:lnTo>
                    <a:pt x="9692" y="671"/>
                  </a:lnTo>
                  <a:lnTo>
                    <a:pt x="9997" y="671"/>
                  </a:lnTo>
                  <a:lnTo>
                    <a:pt x="10362" y="793"/>
                  </a:lnTo>
                  <a:lnTo>
                    <a:pt x="10362" y="793"/>
                  </a:lnTo>
                  <a:lnTo>
                    <a:pt x="10667" y="976"/>
                  </a:lnTo>
                  <a:lnTo>
                    <a:pt x="10667" y="976"/>
                  </a:lnTo>
                  <a:lnTo>
                    <a:pt x="11581" y="1403"/>
                  </a:lnTo>
                  <a:lnTo>
                    <a:pt x="11581" y="1403"/>
                  </a:lnTo>
                  <a:lnTo>
                    <a:pt x="12008" y="1585"/>
                  </a:lnTo>
                  <a:lnTo>
                    <a:pt x="12008" y="1585"/>
                  </a:lnTo>
                  <a:lnTo>
                    <a:pt x="12435" y="1707"/>
                  </a:lnTo>
                  <a:lnTo>
                    <a:pt x="12435" y="1707"/>
                  </a:lnTo>
                  <a:lnTo>
                    <a:pt x="12740" y="1707"/>
                  </a:lnTo>
                  <a:lnTo>
                    <a:pt x="12740" y="1707"/>
                  </a:lnTo>
                  <a:lnTo>
                    <a:pt x="13105" y="1707"/>
                  </a:lnTo>
                  <a:lnTo>
                    <a:pt x="13410" y="1646"/>
                  </a:lnTo>
                  <a:lnTo>
                    <a:pt x="14020" y="1403"/>
                  </a:lnTo>
                  <a:lnTo>
                    <a:pt x="14020" y="1403"/>
                  </a:lnTo>
                  <a:lnTo>
                    <a:pt x="14020" y="1403"/>
                  </a:lnTo>
                  <a:lnTo>
                    <a:pt x="14020" y="1403"/>
                  </a:lnTo>
                  <a:lnTo>
                    <a:pt x="14020" y="1403"/>
                  </a:lnTo>
                  <a:lnTo>
                    <a:pt x="14020" y="1403"/>
                  </a:lnTo>
                  <a:lnTo>
                    <a:pt x="14385" y="1220"/>
                  </a:lnTo>
                  <a:lnTo>
                    <a:pt x="14629" y="915"/>
                  </a:lnTo>
                  <a:lnTo>
                    <a:pt x="14629" y="915"/>
                  </a:lnTo>
                  <a:lnTo>
                    <a:pt x="14812" y="671"/>
                  </a:lnTo>
                  <a:lnTo>
                    <a:pt x="14995" y="305"/>
                  </a:lnTo>
                  <a:lnTo>
                    <a:pt x="14934" y="305"/>
                  </a:lnTo>
                  <a:lnTo>
                    <a:pt x="14934" y="305"/>
                  </a:lnTo>
                  <a:lnTo>
                    <a:pt x="14690" y="488"/>
                  </a:lnTo>
                  <a:lnTo>
                    <a:pt x="14446" y="610"/>
                  </a:lnTo>
                  <a:lnTo>
                    <a:pt x="14142" y="671"/>
                  </a:lnTo>
                  <a:lnTo>
                    <a:pt x="13776" y="671"/>
                  </a:lnTo>
                  <a:lnTo>
                    <a:pt x="13776" y="671"/>
                  </a:lnTo>
                  <a:lnTo>
                    <a:pt x="13166" y="671"/>
                  </a:lnTo>
                  <a:lnTo>
                    <a:pt x="12496" y="549"/>
                  </a:lnTo>
                  <a:lnTo>
                    <a:pt x="10545" y="183"/>
                  </a:lnTo>
                  <a:lnTo>
                    <a:pt x="10545" y="183"/>
                  </a:lnTo>
                  <a:lnTo>
                    <a:pt x="9814" y="62"/>
                  </a:lnTo>
                  <a:lnTo>
                    <a:pt x="9204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9" name="Google Shape;1119;p16"/>
            <p:cNvSpPr/>
            <p:nvPr/>
          </p:nvSpPr>
          <p:spPr>
            <a:xfrm>
              <a:off x="4640475" y="3486825"/>
              <a:ext cx="50325" cy="76200"/>
            </a:xfrm>
            <a:custGeom>
              <a:avLst/>
              <a:gdLst/>
              <a:ahLst/>
              <a:cxnLst/>
              <a:rect l="l" t="t" r="r" b="b"/>
              <a:pathLst>
                <a:path w="2013" h="3048" extrusionOk="0">
                  <a:moveTo>
                    <a:pt x="2012" y="0"/>
                  </a:moveTo>
                  <a:lnTo>
                    <a:pt x="2012" y="0"/>
                  </a:lnTo>
                  <a:lnTo>
                    <a:pt x="2012" y="0"/>
                  </a:lnTo>
                  <a:lnTo>
                    <a:pt x="1768" y="793"/>
                  </a:lnTo>
                  <a:lnTo>
                    <a:pt x="1585" y="1158"/>
                  </a:lnTo>
                  <a:lnTo>
                    <a:pt x="1403" y="1585"/>
                  </a:lnTo>
                  <a:lnTo>
                    <a:pt x="1159" y="1951"/>
                  </a:lnTo>
                  <a:lnTo>
                    <a:pt x="854" y="2317"/>
                  </a:lnTo>
                  <a:lnTo>
                    <a:pt x="488" y="2682"/>
                  </a:lnTo>
                  <a:lnTo>
                    <a:pt x="1" y="3048"/>
                  </a:lnTo>
                  <a:lnTo>
                    <a:pt x="1" y="3048"/>
                  </a:lnTo>
                  <a:lnTo>
                    <a:pt x="1" y="3048"/>
                  </a:lnTo>
                  <a:lnTo>
                    <a:pt x="488" y="2682"/>
                  </a:lnTo>
                  <a:lnTo>
                    <a:pt x="854" y="2317"/>
                  </a:lnTo>
                  <a:lnTo>
                    <a:pt x="1159" y="1951"/>
                  </a:lnTo>
                  <a:lnTo>
                    <a:pt x="1403" y="1585"/>
                  </a:lnTo>
                  <a:lnTo>
                    <a:pt x="1585" y="1158"/>
                  </a:lnTo>
                  <a:lnTo>
                    <a:pt x="1768" y="793"/>
                  </a:lnTo>
                  <a:lnTo>
                    <a:pt x="2012" y="0"/>
                  </a:lnTo>
                  <a:close/>
                </a:path>
              </a:pathLst>
            </a:custGeom>
            <a:solidFill>
              <a:srgbClr val="B4B0B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0" name="Google Shape;1120;p16"/>
            <p:cNvSpPr/>
            <p:nvPr/>
          </p:nvSpPr>
          <p:spPr>
            <a:xfrm>
              <a:off x="4640475" y="3486825"/>
              <a:ext cx="50325" cy="76200"/>
            </a:xfrm>
            <a:custGeom>
              <a:avLst/>
              <a:gdLst/>
              <a:ahLst/>
              <a:cxnLst/>
              <a:rect l="l" t="t" r="r" b="b"/>
              <a:pathLst>
                <a:path w="2013" h="3048" fill="none" extrusionOk="0">
                  <a:moveTo>
                    <a:pt x="2012" y="0"/>
                  </a:moveTo>
                  <a:lnTo>
                    <a:pt x="2012" y="0"/>
                  </a:lnTo>
                  <a:lnTo>
                    <a:pt x="2012" y="0"/>
                  </a:lnTo>
                  <a:lnTo>
                    <a:pt x="1768" y="793"/>
                  </a:lnTo>
                  <a:lnTo>
                    <a:pt x="1585" y="1158"/>
                  </a:lnTo>
                  <a:lnTo>
                    <a:pt x="1403" y="1585"/>
                  </a:lnTo>
                  <a:lnTo>
                    <a:pt x="1159" y="1951"/>
                  </a:lnTo>
                  <a:lnTo>
                    <a:pt x="854" y="2317"/>
                  </a:lnTo>
                  <a:lnTo>
                    <a:pt x="488" y="2682"/>
                  </a:lnTo>
                  <a:lnTo>
                    <a:pt x="1" y="3048"/>
                  </a:lnTo>
                  <a:lnTo>
                    <a:pt x="1" y="3048"/>
                  </a:lnTo>
                  <a:lnTo>
                    <a:pt x="1" y="3048"/>
                  </a:lnTo>
                  <a:lnTo>
                    <a:pt x="488" y="2682"/>
                  </a:lnTo>
                  <a:lnTo>
                    <a:pt x="854" y="2317"/>
                  </a:lnTo>
                  <a:lnTo>
                    <a:pt x="1159" y="1951"/>
                  </a:lnTo>
                  <a:lnTo>
                    <a:pt x="1403" y="1585"/>
                  </a:lnTo>
                  <a:lnTo>
                    <a:pt x="1585" y="1158"/>
                  </a:lnTo>
                  <a:lnTo>
                    <a:pt x="1768" y="793"/>
                  </a:lnTo>
                  <a:lnTo>
                    <a:pt x="201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1" name="Google Shape;1121;p16"/>
            <p:cNvSpPr/>
            <p:nvPr/>
          </p:nvSpPr>
          <p:spPr>
            <a:xfrm>
              <a:off x="4626775" y="3563000"/>
              <a:ext cx="13725" cy="9175"/>
            </a:xfrm>
            <a:custGeom>
              <a:avLst/>
              <a:gdLst/>
              <a:ahLst/>
              <a:cxnLst/>
              <a:rect l="l" t="t" r="r" b="b"/>
              <a:pathLst>
                <a:path w="549" h="367" extrusionOk="0">
                  <a:moveTo>
                    <a:pt x="0" y="367"/>
                  </a:moveTo>
                  <a:lnTo>
                    <a:pt x="0" y="367"/>
                  </a:lnTo>
                  <a:lnTo>
                    <a:pt x="0" y="367"/>
                  </a:lnTo>
                  <a:lnTo>
                    <a:pt x="0" y="367"/>
                  </a:lnTo>
                  <a:lnTo>
                    <a:pt x="0" y="367"/>
                  </a:lnTo>
                  <a:close/>
                  <a:moveTo>
                    <a:pt x="61" y="367"/>
                  </a:moveTo>
                  <a:lnTo>
                    <a:pt x="61" y="367"/>
                  </a:lnTo>
                  <a:lnTo>
                    <a:pt x="0" y="367"/>
                  </a:lnTo>
                  <a:lnTo>
                    <a:pt x="0" y="367"/>
                  </a:lnTo>
                  <a:lnTo>
                    <a:pt x="61" y="367"/>
                  </a:lnTo>
                  <a:close/>
                  <a:moveTo>
                    <a:pt x="61" y="367"/>
                  </a:moveTo>
                  <a:lnTo>
                    <a:pt x="61" y="367"/>
                  </a:lnTo>
                  <a:lnTo>
                    <a:pt x="61" y="367"/>
                  </a:lnTo>
                  <a:lnTo>
                    <a:pt x="61" y="367"/>
                  </a:lnTo>
                  <a:lnTo>
                    <a:pt x="61" y="367"/>
                  </a:lnTo>
                  <a:close/>
                  <a:moveTo>
                    <a:pt x="61" y="306"/>
                  </a:moveTo>
                  <a:lnTo>
                    <a:pt x="61" y="306"/>
                  </a:lnTo>
                  <a:lnTo>
                    <a:pt x="61" y="367"/>
                  </a:lnTo>
                  <a:lnTo>
                    <a:pt x="61" y="367"/>
                  </a:lnTo>
                  <a:lnTo>
                    <a:pt x="61" y="306"/>
                  </a:lnTo>
                  <a:close/>
                  <a:moveTo>
                    <a:pt x="549" y="1"/>
                  </a:moveTo>
                  <a:lnTo>
                    <a:pt x="549" y="1"/>
                  </a:lnTo>
                  <a:lnTo>
                    <a:pt x="61" y="306"/>
                  </a:lnTo>
                  <a:lnTo>
                    <a:pt x="61" y="306"/>
                  </a:lnTo>
                  <a:lnTo>
                    <a:pt x="549" y="1"/>
                  </a:lnTo>
                  <a:lnTo>
                    <a:pt x="549" y="1"/>
                  </a:lnTo>
                  <a:close/>
                </a:path>
              </a:pathLst>
            </a:custGeom>
            <a:solidFill>
              <a:srgbClr val="6839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2" name="Google Shape;1122;p16"/>
            <p:cNvSpPr/>
            <p:nvPr/>
          </p:nvSpPr>
          <p:spPr>
            <a:xfrm>
              <a:off x="4626775" y="35721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3" name="Google Shape;1123;p16"/>
            <p:cNvSpPr/>
            <p:nvPr/>
          </p:nvSpPr>
          <p:spPr>
            <a:xfrm>
              <a:off x="4626775" y="3572150"/>
              <a:ext cx="1550" cy="25"/>
            </a:xfrm>
            <a:custGeom>
              <a:avLst/>
              <a:gdLst/>
              <a:ahLst/>
              <a:cxnLst/>
              <a:rect l="l" t="t" r="r" b="b"/>
              <a:pathLst>
                <a:path w="62" h="1" fill="none" extrusionOk="0">
                  <a:moveTo>
                    <a:pt x="61" y="1"/>
                  </a:moveTo>
                  <a:lnTo>
                    <a:pt x="6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6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4" name="Google Shape;1124;p16"/>
            <p:cNvSpPr/>
            <p:nvPr/>
          </p:nvSpPr>
          <p:spPr>
            <a:xfrm>
              <a:off x="4628300" y="35721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5" name="Google Shape;1125;p16"/>
            <p:cNvSpPr/>
            <p:nvPr/>
          </p:nvSpPr>
          <p:spPr>
            <a:xfrm>
              <a:off x="4628300" y="3570625"/>
              <a:ext cx="25" cy="1550"/>
            </a:xfrm>
            <a:custGeom>
              <a:avLst/>
              <a:gdLst/>
              <a:ahLst/>
              <a:cxnLst/>
              <a:rect l="l" t="t" r="r" b="b"/>
              <a:pathLst>
                <a:path w="1" h="62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6" name="Google Shape;1126;p16"/>
            <p:cNvSpPr/>
            <p:nvPr/>
          </p:nvSpPr>
          <p:spPr>
            <a:xfrm>
              <a:off x="4628300" y="3563000"/>
              <a:ext cx="12200" cy="7650"/>
            </a:xfrm>
            <a:custGeom>
              <a:avLst/>
              <a:gdLst/>
              <a:ahLst/>
              <a:cxnLst/>
              <a:rect l="l" t="t" r="r" b="b"/>
              <a:pathLst>
                <a:path w="488" h="306" fill="none" extrusionOk="0">
                  <a:moveTo>
                    <a:pt x="488" y="1"/>
                  </a:moveTo>
                  <a:lnTo>
                    <a:pt x="488" y="1"/>
                  </a:lnTo>
                  <a:lnTo>
                    <a:pt x="0" y="306"/>
                  </a:lnTo>
                  <a:lnTo>
                    <a:pt x="0" y="306"/>
                  </a:lnTo>
                  <a:lnTo>
                    <a:pt x="488" y="1"/>
                  </a:lnTo>
                  <a:lnTo>
                    <a:pt x="488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7" name="Google Shape;1127;p16"/>
            <p:cNvSpPr/>
            <p:nvPr/>
          </p:nvSpPr>
          <p:spPr>
            <a:xfrm>
              <a:off x="4489625" y="3486825"/>
              <a:ext cx="240775" cy="147825"/>
            </a:xfrm>
            <a:custGeom>
              <a:avLst/>
              <a:gdLst/>
              <a:ahLst/>
              <a:cxnLst/>
              <a:rect l="l" t="t" r="r" b="b"/>
              <a:pathLst>
                <a:path w="9631" h="5913" extrusionOk="0">
                  <a:moveTo>
                    <a:pt x="8046" y="0"/>
                  </a:moveTo>
                  <a:lnTo>
                    <a:pt x="7802" y="793"/>
                  </a:lnTo>
                  <a:lnTo>
                    <a:pt x="7619" y="1158"/>
                  </a:lnTo>
                  <a:lnTo>
                    <a:pt x="7437" y="1585"/>
                  </a:lnTo>
                  <a:lnTo>
                    <a:pt x="7193" y="1951"/>
                  </a:lnTo>
                  <a:lnTo>
                    <a:pt x="6888" y="2317"/>
                  </a:lnTo>
                  <a:lnTo>
                    <a:pt x="6522" y="2682"/>
                  </a:lnTo>
                  <a:lnTo>
                    <a:pt x="6035" y="3048"/>
                  </a:lnTo>
                  <a:lnTo>
                    <a:pt x="5547" y="3353"/>
                  </a:lnTo>
                  <a:lnTo>
                    <a:pt x="5547" y="3414"/>
                  </a:lnTo>
                  <a:lnTo>
                    <a:pt x="5486" y="3414"/>
                  </a:lnTo>
                  <a:lnTo>
                    <a:pt x="4998" y="3718"/>
                  </a:lnTo>
                  <a:lnTo>
                    <a:pt x="4389" y="3962"/>
                  </a:lnTo>
                  <a:lnTo>
                    <a:pt x="3779" y="4206"/>
                  </a:lnTo>
                  <a:lnTo>
                    <a:pt x="3048" y="4511"/>
                  </a:lnTo>
                  <a:lnTo>
                    <a:pt x="2256" y="4694"/>
                  </a:lnTo>
                  <a:lnTo>
                    <a:pt x="1463" y="4694"/>
                  </a:lnTo>
                  <a:lnTo>
                    <a:pt x="732" y="4633"/>
                  </a:lnTo>
                  <a:lnTo>
                    <a:pt x="0" y="4511"/>
                  </a:lnTo>
                  <a:lnTo>
                    <a:pt x="0" y="4511"/>
                  </a:lnTo>
                  <a:lnTo>
                    <a:pt x="183" y="4694"/>
                  </a:lnTo>
                  <a:lnTo>
                    <a:pt x="427" y="4877"/>
                  </a:lnTo>
                  <a:lnTo>
                    <a:pt x="732" y="5120"/>
                  </a:lnTo>
                  <a:lnTo>
                    <a:pt x="1219" y="5364"/>
                  </a:lnTo>
                  <a:lnTo>
                    <a:pt x="1890" y="5608"/>
                  </a:lnTo>
                  <a:lnTo>
                    <a:pt x="2682" y="5791"/>
                  </a:lnTo>
                  <a:lnTo>
                    <a:pt x="3657" y="5913"/>
                  </a:lnTo>
                  <a:lnTo>
                    <a:pt x="4633" y="5913"/>
                  </a:lnTo>
                  <a:lnTo>
                    <a:pt x="4998" y="5852"/>
                  </a:lnTo>
                  <a:lnTo>
                    <a:pt x="5425" y="5730"/>
                  </a:lnTo>
                  <a:lnTo>
                    <a:pt x="5730" y="5608"/>
                  </a:lnTo>
                  <a:lnTo>
                    <a:pt x="6400" y="5303"/>
                  </a:lnTo>
                  <a:lnTo>
                    <a:pt x="6949" y="4938"/>
                  </a:lnTo>
                  <a:lnTo>
                    <a:pt x="7437" y="4511"/>
                  </a:lnTo>
                  <a:lnTo>
                    <a:pt x="7924" y="4023"/>
                  </a:lnTo>
                  <a:lnTo>
                    <a:pt x="8351" y="3597"/>
                  </a:lnTo>
                  <a:lnTo>
                    <a:pt x="8899" y="3231"/>
                  </a:lnTo>
                  <a:lnTo>
                    <a:pt x="9143" y="2987"/>
                  </a:lnTo>
                  <a:lnTo>
                    <a:pt x="9326" y="2804"/>
                  </a:lnTo>
                  <a:lnTo>
                    <a:pt x="9448" y="2560"/>
                  </a:lnTo>
                  <a:lnTo>
                    <a:pt x="9570" y="2317"/>
                  </a:lnTo>
                  <a:lnTo>
                    <a:pt x="9631" y="2012"/>
                  </a:lnTo>
                  <a:lnTo>
                    <a:pt x="9631" y="1768"/>
                  </a:lnTo>
                  <a:lnTo>
                    <a:pt x="9570" y="1463"/>
                  </a:lnTo>
                  <a:lnTo>
                    <a:pt x="9509" y="1219"/>
                  </a:lnTo>
                  <a:lnTo>
                    <a:pt x="9326" y="732"/>
                  </a:lnTo>
                  <a:lnTo>
                    <a:pt x="9143" y="549"/>
                  </a:lnTo>
                  <a:lnTo>
                    <a:pt x="8960" y="366"/>
                  </a:lnTo>
                  <a:lnTo>
                    <a:pt x="8778" y="183"/>
                  </a:lnTo>
                  <a:lnTo>
                    <a:pt x="8534" y="122"/>
                  </a:lnTo>
                  <a:lnTo>
                    <a:pt x="8290" y="0"/>
                  </a:lnTo>
                  <a:close/>
                </a:path>
              </a:pathLst>
            </a:custGeom>
            <a:solidFill>
              <a:srgbClr val="2550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8" name="Google Shape;1128;p16"/>
            <p:cNvSpPr/>
            <p:nvPr/>
          </p:nvSpPr>
          <p:spPr>
            <a:xfrm>
              <a:off x="4489625" y="3486825"/>
              <a:ext cx="240775" cy="147825"/>
            </a:xfrm>
            <a:custGeom>
              <a:avLst/>
              <a:gdLst/>
              <a:ahLst/>
              <a:cxnLst/>
              <a:rect l="l" t="t" r="r" b="b"/>
              <a:pathLst>
                <a:path w="9631" h="5913" fill="none" extrusionOk="0">
                  <a:moveTo>
                    <a:pt x="8046" y="0"/>
                  </a:moveTo>
                  <a:lnTo>
                    <a:pt x="8046" y="0"/>
                  </a:lnTo>
                  <a:lnTo>
                    <a:pt x="8046" y="0"/>
                  </a:lnTo>
                  <a:lnTo>
                    <a:pt x="8046" y="0"/>
                  </a:lnTo>
                  <a:lnTo>
                    <a:pt x="8046" y="0"/>
                  </a:lnTo>
                  <a:lnTo>
                    <a:pt x="7802" y="793"/>
                  </a:lnTo>
                  <a:lnTo>
                    <a:pt x="7619" y="1158"/>
                  </a:lnTo>
                  <a:lnTo>
                    <a:pt x="7437" y="1585"/>
                  </a:lnTo>
                  <a:lnTo>
                    <a:pt x="7193" y="1951"/>
                  </a:lnTo>
                  <a:lnTo>
                    <a:pt x="6888" y="2317"/>
                  </a:lnTo>
                  <a:lnTo>
                    <a:pt x="6522" y="2682"/>
                  </a:lnTo>
                  <a:lnTo>
                    <a:pt x="6035" y="3048"/>
                  </a:lnTo>
                  <a:lnTo>
                    <a:pt x="6035" y="3048"/>
                  </a:lnTo>
                  <a:lnTo>
                    <a:pt x="5547" y="3353"/>
                  </a:lnTo>
                  <a:lnTo>
                    <a:pt x="5547" y="3353"/>
                  </a:lnTo>
                  <a:lnTo>
                    <a:pt x="5547" y="3353"/>
                  </a:lnTo>
                  <a:lnTo>
                    <a:pt x="5547" y="3353"/>
                  </a:lnTo>
                  <a:lnTo>
                    <a:pt x="5547" y="3414"/>
                  </a:lnTo>
                  <a:lnTo>
                    <a:pt x="5547" y="3414"/>
                  </a:lnTo>
                  <a:lnTo>
                    <a:pt x="5547" y="3414"/>
                  </a:lnTo>
                  <a:lnTo>
                    <a:pt x="5547" y="3414"/>
                  </a:lnTo>
                  <a:lnTo>
                    <a:pt x="5547" y="3414"/>
                  </a:lnTo>
                  <a:lnTo>
                    <a:pt x="5547" y="3414"/>
                  </a:lnTo>
                  <a:lnTo>
                    <a:pt x="5547" y="3414"/>
                  </a:lnTo>
                  <a:lnTo>
                    <a:pt x="5547" y="3414"/>
                  </a:lnTo>
                  <a:lnTo>
                    <a:pt x="5486" y="3414"/>
                  </a:lnTo>
                  <a:lnTo>
                    <a:pt x="5486" y="3414"/>
                  </a:lnTo>
                  <a:lnTo>
                    <a:pt x="5486" y="3414"/>
                  </a:lnTo>
                  <a:lnTo>
                    <a:pt x="5486" y="3414"/>
                  </a:lnTo>
                  <a:lnTo>
                    <a:pt x="5486" y="3414"/>
                  </a:lnTo>
                  <a:lnTo>
                    <a:pt x="5486" y="3414"/>
                  </a:lnTo>
                  <a:lnTo>
                    <a:pt x="4998" y="3718"/>
                  </a:lnTo>
                  <a:lnTo>
                    <a:pt x="4389" y="3962"/>
                  </a:lnTo>
                  <a:lnTo>
                    <a:pt x="3779" y="4206"/>
                  </a:lnTo>
                  <a:lnTo>
                    <a:pt x="3048" y="4511"/>
                  </a:lnTo>
                  <a:lnTo>
                    <a:pt x="3048" y="4511"/>
                  </a:lnTo>
                  <a:lnTo>
                    <a:pt x="2256" y="4694"/>
                  </a:lnTo>
                  <a:lnTo>
                    <a:pt x="1463" y="4694"/>
                  </a:lnTo>
                  <a:lnTo>
                    <a:pt x="1463" y="4694"/>
                  </a:lnTo>
                  <a:lnTo>
                    <a:pt x="732" y="4633"/>
                  </a:lnTo>
                  <a:lnTo>
                    <a:pt x="0" y="4511"/>
                  </a:lnTo>
                  <a:lnTo>
                    <a:pt x="0" y="4511"/>
                  </a:lnTo>
                  <a:lnTo>
                    <a:pt x="183" y="4694"/>
                  </a:lnTo>
                  <a:lnTo>
                    <a:pt x="427" y="4877"/>
                  </a:lnTo>
                  <a:lnTo>
                    <a:pt x="732" y="5120"/>
                  </a:lnTo>
                  <a:lnTo>
                    <a:pt x="1219" y="5364"/>
                  </a:lnTo>
                  <a:lnTo>
                    <a:pt x="1890" y="5608"/>
                  </a:lnTo>
                  <a:lnTo>
                    <a:pt x="2682" y="5791"/>
                  </a:lnTo>
                  <a:lnTo>
                    <a:pt x="3657" y="5913"/>
                  </a:lnTo>
                  <a:lnTo>
                    <a:pt x="3657" y="5913"/>
                  </a:lnTo>
                  <a:lnTo>
                    <a:pt x="4145" y="5913"/>
                  </a:lnTo>
                  <a:lnTo>
                    <a:pt x="4145" y="5913"/>
                  </a:lnTo>
                  <a:lnTo>
                    <a:pt x="4633" y="5913"/>
                  </a:lnTo>
                  <a:lnTo>
                    <a:pt x="4998" y="5852"/>
                  </a:lnTo>
                  <a:lnTo>
                    <a:pt x="5425" y="5730"/>
                  </a:lnTo>
                  <a:lnTo>
                    <a:pt x="5730" y="5608"/>
                  </a:lnTo>
                  <a:lnTo>
                    <a:pt x="6400" y="5303"/>
                  </a:lnTo>
                  <a:lnTo>
                    <a:pt x="6949" y="4938"/>
                  </a:lnTo>
                  <a:lnTo>
                    <a:pt x="7437" y="4511"/>
                  </a:lnTo>
                  <a:lnTo>
                    <a:pt x="7924" y="4023"/>
                  </a:lnTo>
                  <a:lnTo>
                    <a:pt x="8351" y="3597"/>
                  </a:lnTo>
                  <a:lnTo>
                    <a:pt x="8899" y="3231"/>
                  </a:lnTo>
                  <a:lnTo>
                    <a:pt x="8899" y="3231"/>
                  </a:lnTo>
                  <a:lnTo>
                    <a:pt x="9143" y="2987"/>
                  </a:lnTo>
                  <a:lnTo>
                    <a:pt x="9326" y="2804"/>
                  </a:lnTo>
                  <a:lnTo>
                    <a:pt x="9448" y="2560"/>
                  </a:lnTo>
                  <a:lnTo>
                    <a:pt x="9570" y="2317"/>
                  </a:lnTo>
                  <a:lnTo>
                    <a:pt x="9631" y="2012"/>
                  </a:lnTo>
                  <a:lnTo>
                    <a:pt x="9631" y="1768"/>
                  </a:lnTo>
                  <a:lnTo>
                    <a:pt x="9570" y="1463"/>
                  </a:lnTo>
                  <a:lnTo>
                    <a:pt x="9509" y="1219"/>
                  </a:lnTo>
                  <a:lnTo>
                    <a:pt x="9326" y="732"/>
                  </a:lnTo>
                  <a:lnTo>
                    <a:pt x="9143" y="549"/>
                  </a:lnTo>
                  <a:lnTo>
                    <a:pt x="8960" y="366"/>
                  </a:lnTo>
                  <a:lnTo>
                    <a:pt x="8778" y="183"/>
                  </a:lnTo>
                  <a:lnTo>
                    <a:pt x="8534" y="122"/>
                  </a:lnTo>
                  <a:lnTo>
                    <a:pt x="8290" y="0"/>
                  </a:lnTo>
                  <a:lnTo>
                    <a:pt x="804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29" name="Google Shape;1129;p16"/>
          <p:cNvGrpSpPr/>
          <p:nvPr/>
        </p:nvGrpSpPr>
        <p:grpSpPr>
          <a:xfrm>
            <a:off x="5403499" y="4158864"/>
            <a:ext cx="308052" cy="721369"/>
            <a:chOff x="6488900" y="3924150"/>
            <a:chExt cx="793950" cy="1440050"/>
          </a:xfrm>
        </p:grpSpPr>
        <p:sp>
          <p:nvSpPr>
            <p:cNvPr id="1130" name="Google Shape;1130;p16"/>
            <p:cNvSpPr/>
            <p:nvPr/>
          </p:nvSpPr>
          <p:spPr>
            <a:xfrm>
              <a:off x="6850050" y="4789700"/>
              <a:ext cx="71650" cy="574500"/>
            </a:xfrm>
            <a:custGeom>
              <a:avLst/>
              <a:gdLst/>
              <a:ahLst/>
              <a:cxnLst/>
              <a:rect l="l" t="t" r="r" b="b"/>
              <a:pathLst>
                <a:path w="2866" h="22980" extrusionOk="0">
                  <a:moveTo>
                    <a:pt x="2073" y="1"/>
                  </a:moveTo>
                  <a:lnTo>
                    <a:pt x="1951" y="122"/>
                  </a:lnTo>
                  <a:lnTo>
                    <a:pt x="1890" y="244"/>
                  </a:lnTo>
                  <a:lnTo>
                    <a:pt x="1829" y="427"/>
                  </a:lnTo>
                  <a:lnTo>
                    <a:pt x="1890" y="1402"/>
                  </a:lnTo>
                  <a:lnTo>
                    <a:pt x="1829" y="2439"/>
                  </a:lnTo>
                  <a:lnTo>
                    <a:pt x="1707" y="4389"/>
                  </a:lnTo>
                  <a:lnTo>
                    <a:pt x="1463" y="6401"/>
                  </a:lnTo>
                  <a:lnTo>
                    <a:pt x="1158" y="8351"/>
                  </a:lnTo>
                  <a:lnTo>
                    <a:pt x="732" y="10606"/>
                  </a:lnTo>
                  <a:lnTo>
                    <a:pt x="427" y="12862"/>
                  </a:lnTo>
                  <a:lnTo>
                    <a:pt x="183" y="15117"/>
                  </a:lnTo>
                  <a:lnTo>
                    <a:pt x="61" y="17433"/>
                  </a:lnTo>
                  <a:lnTo>
                    <a:pt x="0" y="20054"/>
                  </a:lnTo>
                  <a:lnTo>
                    <a:pt x="122" y="22614"/>
                  </a:lnTo>
                  <a:lnTo>
                    <a:pt x="244" y="22797"/>
                  </a:lnTo>
                  <a:lnTo>
                    <a:pt x="427" y="22858"/>
                  </a:lnTo>
                  <a:lnTo>
                    <a:pt x="671" y="22919"/>
                  </a:lnTo>
                  <a:lnTo>
                    <a:pt x="915" y="22980"/>
                  </a:lnTo>
                  <a:lnTo>
                    <a:pt x="1219" y="22919"/>
                  </a:lnTo>
                  <a:lnTo>
                    <a:pt x="1463" y="22858"/>
                  </a:lnTo>
                  <a:lnTo>
                    <a:pt x="1646" y="22797"/>
                  </a:lnTo>
                  <a:lnTo>
                    <a:pt x="1646" y="22614"/>
                  </a:lnTo>
                  <a:lnTo>
                    <a:pt x="1524" y="20054"/>
                  </a:lnTo>
                  <a:lnTo>
                    <a:pt x="1524" y="17494"/>
                  </a:lnTo>
                  <a:lnTo>
                    <a:pt x="1646" y="14934"/>
                  </a:lnTo>
                  <a:lnTo>
                    <a:pt x="1890" y="12374"/>
                  </a:lnTo>
                  <a:lnTo>
                    <a:pt x="2195" y="10180"/>
                  </a:lnTo>
                  <a:lnTo>
                    <a:pt x="2499" y="7985"/>
                  </a:lnTo>
                  <a:lnTo>
                    <a:pt x="2682" y="6157"/>
                  </a:lnTo>
                  <a:lnTo>
                    <a:pt x="2804" y="4328"/>
                  </a:lnTo>
                  <a:lnTo>
                    <a:pt x="2865" y="2378"/>
                  </a:lnTo>
                  <a:lnTo>
                    <a:pt x="2804" y="427"/>
                  </a:lnTo>
                  <a:lnTo>
                    <a:pt x="2743" y="244"/>
                  </a:lnTo>
                  <a:lnTo>
                    <a:pt x="2621" y="61"/>
                  </a:lnTo>
                  <a:lnTo>
                    <a:pt x="2438" y="1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1" name="Google Shape;1131;p16"/>
            <p:cNvSpPr/>
            <p:nvPr/>
          </p:nvSpPr>
          <p:spPr>
            <a:xfrm>
              <a:off x="6850050" y="4789700"/>
              <a:ext cx="71650" cy="574500"/>
            </a:xfrm>
            <a:custGeom>
              <a:avLst/>
              <a:gdLst/>
              <a:ahLst/>
              <a:cxnLst/>
              <a:rect l="l" t="t" r="r" b="b"/>
              <a:pathLst>
                <a:path w="2866" h="22980" fill="none" extrusionOk="0">
                  <a:moveTo>
                    <a:pt x="2804" y="427"/>
                  </a:moveTo>
                  <a:lnTo>
                    <a:pt x="2804" y="427"/>
                  </a:lnTo>
                  <a:lnTo>
                    <a:pt x="2743" y="244"/>
                  </a:lnTo>
                  <a:lnTo>
                    <a:pt x="2621" y="61"/>
                  </a:lnTo>
                  <a:lnTo>
                    <a:pt x="2438" y="1"/>
                  </a:lnTo>
                  <a:lnTo>
                    <a:pt x="2256" y="1"/>
                  </a:lnTo>
                  <a:lnTo>
                    <a:pt x="2256" y="1"/>
                  </a:lnTo>
                  <a:lnTo>
                    <a:pt x="2073" y="1"/>
                  </a:lnTo>
                  <a:lnTo>
                    <a:pt x="1951" y="122"/>
                  </a:lnTo>
                  <a:lnTo>
                    <a:pt x="1890" y="244"/>
                  </a:lnTo>
                  <a:lnTo>
                    <a:pt x="1829" y="427"/>
                  </a:lnTo>
                  <a:lnTo>
                    <a:pt x="1829" y="427"/>
                  </a:lnTo>
                  <a:lnTo>
                    <a:pt x="1890" y="1402"/>
                  </a:lnTo>
                  <a:lnTo>
                    <a:pt x="1829" y="2439"/>
                  </a:lnTo>
                  <a:lnTo>
                    <a:pt x="1707" y="4389"/>
                  </a:lnTo>
                  <a:lnTo>
                    <a:pt x="1463" y="6401"/>
                  </a:lnTo>
                  <a:lnTo>
                    <a:pt x="1158" y="8351"/>
                  </a:lnTo>
                  <a:lnTo>
                    <a:pt x="1158" y="8351"/>
                  </a:lnTo>
                  <a:lnTo>
                    <a:pt x="732" y="10606"/>
                  </a:lnTo>
                  <a:lnTo>
                    <a:pt x="427" y="12862"/>
                  </a:lnTo>
                  <a:lnTo>
                    <a:pt x="183" y="15117"/>
                  </a:lnTo>
                  <a:lnTo>
                    <a:pt x="61" y="17433"/>
                  </a:lnTo>
                  <a:lnTo>
                    <a:pt x="61" y="17433"/>
                  </a:lnTo>
                  <a:lnTo>
                    <a:pt x="0" y="20054"/>
                  </a:lnTo>
                  <a:lnTo>
                    <a:pt x="122" y="22614"/>
                  </a:lnTo>
                  <a:lnTo>
                    <a:pt x="122" y="22614"/>
                  </a:lnTo>
                  <a:lnTo>
                    <a:pt x="244" y="22797"/>
                  </a:lnTo>
                  <a:lnTo>
                    <a:pt x="427" y="22858"/>
                  </a:lnTo>
                  <a:lnTo>
                    <a:pt x="671" y="22919"/>
                  </a:lnTo>
                  <a:lnTo>
                    <a:pt x="915" y="22980"/>
                  </a:lnTo>
                  <a:lnTo>
                    <a:pt x="1219" y="22919"/>
                  </a:lnTo>
                  <a:lnTo>
                    <a:pt x="1463" y="22858"/>
                  </a:lnTo>
                  <a:lnTo>
                    <a:pt x="1646" y="22797"/>
                  </a:lnTo>
                  <a:lnTo>
                    <a:pt x="1646" y="22614"/>
                  </a:lnTo>
                  <a:lnTo>
                    <a:pt x="1646" y="22614"/>
                  </a:lnTo>
                  <a:lnTo>
                    <a:pt x="1524" y="20054"/>
                  </a:lnTo>
                  <a:lnTo>
                    <a:pt x="1524" y="17494"/>
                  </a:lnTo>
                  <a:lnTo>
                    <a:pt x="1646" y="14934"/>
                  </a:lnTo>
                  <a:lnTo>
                    <a:pt x="1890" y="12374"/>
                  </a:lnTo>
                  <a:lnTo>
                    <a:pt x="1890" y="12374"/>
                  </a:lnTo>
                  <a:lnTo>
                    <a:pt x="2195" y="10180"/>
                  </a:lnTo>
                  <a:lnTo>
                    <a:pt x="2499" y="7985"/>
                  </a:lnTo>
                  <a:lnTo>
                    <a:pt x="2499" y="7985"/>
                  </a:lnTo>
                  <a:lnTo>
                    <a:pt x="2682" y="6157"/>
                  </a:lnTo>
                  <a:lnTo>
                    <a:pt x="2804" y="4328"/>
                  </a:lnTo>
                  <a:lnTo>
                    <a:pt x="2804" y="4328"/>
                  </a:lnTo>
                  <a:lnTo>
                    <a:pt x="2865" y="2378"/>
                  </a:lnTo>
                  <a:lnTo>
                    <a:pt x="2804" y="42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2" name="Google Shape;1132;p16"/>
            <p:cNvSpPr/>
            <p:nvPr/>
          </p:nvSpPr>
          <p:spPr>
            <a:xfrm>
              <a:off x="6874425" y="4754650"/>
              <a:ext cx="219450" cy="326125"/>
            </a:xfrm>
            <a:custGeom>
              <a:avLst/>
              <a:gdLst/>
              <a:ahLst/>
              <a:cxnLst/>
              <a:rect l="l" t="t" r="r" b="b"/>
              <a:pathLst>
                <a:path w="8778" h="13045" extrusionOk="0">
                  <a:moveTo>
                    <a:pt x="8412" y="1"/>
                  </a:moveTo>
                  <a:lnTo>
                    <a:pt x="8290" y="62"/>
                  </a:lnTo>
                  <a:lnTo>
                    <a:pt x="8229" y="123"/>
                  </a:lnTo>
                  <a:lnTo>
                    <a:pt x="6218" y="3292"/>
                  </a:lnTo>
                  <a:lnTo>
                    <a:pt x="4145" y="6401"/>
                  </a:lnTo>
                  <a:lnTo>
                    <a:pt x="1" y="12557"/>
                  </a:lnTo>
                  <a:lnTo>
                    <a:pt x="1" y="12679"/>
                  </a:lnTo>
                  <a:lnTo>
                    <a:pt x="1" y="12801"/>
                  </a:lnTo>
                  <a:lnTo>
                    <a:pt x="61" y="12923"/>
                  </a:lnTo>
                  <a:lnTo>
                    <a:pt x="122" y="12984"/>
                  </a:lnTo>
                  <a:lnTo>
                    <a:pt x="244" y="13045"/>
                  </a:lnTo>
                  <a:lnTo>
                    <a:pt x="366" y="13045"/>
                  </a:lnTo>
                  <a:lnTo>
                    <a:pt x="488" y="12984"/>
                  </a:lnTo>
                  <a:lnTo>
                    <a:pt x="549" y="12862"/>
                  </a:lnTo>
                  <a:lnTo>
                    <a:pt x="4694" y="6705"/>
                  </a:lnTo>
                  <a:lnTo>
                    <a:pt x="6766" y="3597"/>
                  </a:lnTo>
                  <a:lnTo>
                    <a:pt x="8778" y="427"/>
                  </a:lnTo>
                  <a:lnTo>
                    <a:pt x="8778" y="305"/>
                  </a:lnTo>
                  <a:lnTo>
                    <a:pt x="8778" y="183"/>
                  </a:lnTo>
                  <a:lnTo>
                    <a:pt x="8717" y="123"/>
                  </a:lnTo>
                  <a:lnTo>
                    <a:pt x="8656" y="62"/>
                  </a:lnTo>
                  <a:lnTo>
                    <a:pt x="8534" y="1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3" name="Google Shape;1133;p16"/>
            <p:cNvSpPr/>
            <p:nvPr/>
          </p:nvSpPr>
          <p:spPr>
            <a:xfrm>
              <a:off x="6874425" y="4754650"/>
              <a:ext cx="219450" cy="326125"/>
            </a:xfrm>
            <a:custGeom>
              <a:avLst/>
              <a:gdLst/>
              <a:ahLst/>
              <a:cxnLst/>
              <a:rect l="l" t="t" r="r" b="b"/>
              <a:pathLst>
                <a:path w="8778" h="13045" fill="none" extrusionOk="0">
                  <a:moveTo>
                    <a:pt x="549" y="12862"/>
                  </a:moveTo>
                  <a:lnTo>
                    <a:pt x="549" y="12862"/>
                  </a:lnTo>
                  <a:lnTo>
                    <a:pt x="4694" y="6705"/>
                  </a:lnTo>
                  <a:lnTo>
                    <a:pt x="6766" y="3597"/>
                  </a:lnTo>
                  <a:lnTo>
                    <a:pt x="8778" y="427"/>
                  </a:lnTo>
                  <a:lnTo>
                    <a:pt x="8778" y="427"/>
                  </a:lnTo>
                  <a:lnTo>
                    <a:pt x="8778" y="305"/>
                  </a:lnTo>
                  <a:lnTo>
                    <a:pt x="8778" y="183"/>
                  </a:lnTo>
                  <a:lnTo>
                    <a:pt x="8717" y="123"/>
                  </a:lnTo>
                  <a:lnTo>
                    <a:pt x="8656" y="62"/>
                  </a:lnTo>
                  <a:lnTo>
                    <a:pt x="8534" y="1"/>
                  </a:lnTo>
                  <a:lnTo>
                    <a:pt x="8412" y="1"/>
                  </a:lnTo>
                  <a:lnTo>
                    <a:pt x="8290" y="62"/>
                  </a:lnTo>
                  <a:lnTo>
                    <a:pt x="8229" y="123"/>
                  </a:lnTo>
                  <a:lnTo>
                    <a:pt x="8229" y="123"/>
                  </a:lnTo>
                  <a:lnTo>
                    <a:pt x="6218" y="3292"/>
                  </a:lnTo>
                  <a:lnTo>
                    <a:pt x="4145" y="6401"/>
                  </a:lnTo>
                  <a:lnTo>
                    <a:pt x="1" y="12557"/>
                  </a:lnTo>
                  <a:lnTo>
                    <a:pt x="1" y="12557"/>
                  </a:lnTo>
                  <a:lnTo>
                    <a:pt x="1" y="12679"/>
                  </a:lnTo>
                  <a:lnTo>
                    <a:pt x="1" y="12801"/>
                  </a:lnTo>
                  <a:lnTo>
                    <a:pt x="61" y="12923"/>
                  </a:lnTo>
                  <a:lnTo>
                    <a:pt x="122" y="12984"/>
                  </a:lnTo>
                  <a:lnTo>
                    <a:pt x="244" y="13045"/>
                  </a:lnTo>
                  <a:lnTo>
                    <a:pt x="366" y="13045"/>
                  </a:lnTo>
                  <a:lnTo>
                    <a:pt x="488" y="12984"/>
                  </a:lnTo>
                  <a:lnTo>
                    <a:pt x="549" y="12862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4" name="Google Shape;1134;p16"/>
            <p:cNvSpPr/>
            <p:nvPr/>
          </p:nvSpPr>
          <p:spPr>
            <a:xfrm>
              <a:off x="6982625" y="4647975"/>
              <a:ext cx="41150" cy="272800"/>
            </a:xfrm>
            <a:custGeom>
              <a:avLst/>
              <a:gdLst/>
              <a:ahLst/>
              <a:cxnLst/>
              <a:rect l="l" t="t" r="r" b="b"/>
              <a:pathLst>
                <a:path w="1646" h="10912" extrusionOk="0">
                  <a:moveTo>
                    <a:pt x="1219" y="1"/>
                  </a:moveTo>
                  <a:lnTo>
                    <a:pt x="1158" y="123"/>
                  </a:lnTo>
                  <a:lnTo>
                    <a:pt x="1158" y="184"/>
                  </a:lnTo>
                  <a:lnTo>
                    <a:pt x="610" y="5426"/>
                  </a:lnTo>
                  <a:lnTo>
                    <a:pt x="366" y="7986"/>
                  </a:lnTo>
                  <a:lnTo>
                    <a:pt x="0" y="10607"/>
                  </a:lnTo>
                  <a:lnTo>
                    <a:pt x="0" y="10668"/>
                  </a:lnTo>
                  <a:lnTo>
                    <a:pt x="0" y="10790"/>
                  </a:lnTo>
                  <a:lnTo>
                    <a:pt x="183" y="10912"/>
                  </a:lnTo>
                  <a:lnTo>
                    <a:pt x="366" y="10851"/>
                  </a:lnTo>
                  <a:lnTo>
                    <a:pt x="427" y="10790"/>
                  </a:lnTo>
                  <a:lnTo>
                    <a:pt x="427" y="10729"/>
                  </a:lnTo>
                  <a:lnTo>
                    <a:pt x="793" y="8108"/>
                  </a:lnTo>
                  <a:lnTo>
                    <a:pt x="1097" y="5487"/>
                  </a:lnTo>
                  <a:lnTo>
                    <a:pt x="1646" y="184"/>
                  </a:lnTo>
                  <a:lnTo>
                    <a:pt x="1585" y="123"/>
                  </a:lnTo>
                  <a:lnTo>
                    <a:pt x="1585" y="1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5" name="Google Shape;1135;p16"/>
            <p:cNvSpPr/>
            <p:nvPr/>
          </p:nvSpPr>
          <p:spPr>
            <a:xfrm>
              <a:off x="6982625" y="4647975"/>
              <a:ext cx="41150" cy="272800"/>
            </a:xfrm>
            <a:custGeom>
              <a:avLst/>
              <a:gdLst/>
              <a:ahLst/>
              <a:cxnLst/>
              <a:rect l="l" t="t" r="r" b="b"/>
              <a:pathLst>
                <a:path w="1646" h="10912" fill="none" extrusionOk="0">
                  <a:moveTo>
                    <a:pt x="427" y="10729"/>
                  </a:moveTo>
                  <a:lnTo>
                    <a:pt x="427" y="10729"/>
                  </a:lnTo>
                  <a:lnTo>
                    <a:pt x="793" y="8108"/>
                  </a:lnTo>
                  <a:lnTo>
                    <a:pt x="1097" y="5487"/>
                  </a:lnTo>
                  <a:lnTo>
                    <a:pt x="1646" y="184"/>
                  </a:lnTo>
                  <a:lnTo>
                    <a:pt x="1646" y="184"/>
                  </a:lnTo>
                  <a:lnTo>
                    <a:pt x="1585" y="123"/>
                  </a:lnTo>
                  <a:lnTo>
                    <a:pt x="1585" y="1"/>
                  </a:lnTo>
                  <a:lnTo>
                    <a:pt x="1402" y="1"/>
                  </a:lnTo>
                  <a:lnTo>
                    <a:pt x="1219" y="1"/>
                  </a:lnTo>
                  <a:lnTo>
                    <a:pt x="1158" y="123"/>
                  </a:lnTo>
                  <a:lnTo>
                    <a:pt x="1158" y="184"/>
                  </a:lnTo>
                  <a:lnTo>
                    <a:pt x="1158" y="184"/>
                  </a:lnTo>
                  <a:lnTo>
                    <a:pt x="610" y="5426"/>
                  </a:lnTo>
                  <a:lnTo>
                    <a:pt x="366" y="7986"/>
                  </a:lnTo>
                  <a:lnTo>
                    <a:pt x="0" y="10607"/>
                  </a:lnTo>
                  <a:lnTo>
                    <a:pt x="0" y="10607"/>
                  </a:lnTo>
                  <a:lnTo>
                    <a:pt x="0" y="10668"/>
                  </a:lnTo>
                  <a:lnTo>
                    <a:pt x="0" y="10790"/>
                  </a:lnTo>
                  <a:lnTo>
                    <a:pt x="183" y="10912"/>
                  </a:lnTo>
                  <a:lnTo>
                    <a:pt x="366" y="10851"/>
                  </a:lnTo>
                  <a:lnTo>
                    <a:pt x="427" y="10790"/>
                  </a:lnTo>
                  <a:lnTo>
                    <a:pt x="427" y="1072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6" name="Google Shape;1136;p16"/>
            <p:cNvSpPr/>
            <p:nvPr/>
          </p:nvSpPr>
          <p:spPr>
            <a:xfrm>
              <a:off x="6655000" y="4803425"/>
              <a:ext cx="198125" cy="146300"/>
            </a:xfrm>
            <a:custGeom>
              <a:avLst/>
              <a:gdLst/>
              <a:ahLst/>
              <a:cxnLst/>
              <a:rect l="l" t="t" r="r" b="b"/>
              <a:pathLst>
                <a:path w="7925" h="5852" extrusionOk="0">
                  <a:moveTo>
                    <a:pt x="244" y="0"/>
                  </a:moveTo>
                  <a:lnTo>
                    <a:pt x="122" y="122"/>
                  </a:lnTo>
                  <a:lnTo>
                    <a:pt x="0" y="244"/>
                  </a:lnTo>
                  <a:lnTo>
                    <a:pt x="61" y="366"/>
                  </a:lnTo>
                  <a:lnTo>
                    <a:pt x="122" y="427"/>
                  </a:lnTo>
                  <a:lnTo>
                    <a:pt x="1951" y="1829"/>
                  </a:lnTo>
                  <a:lnTo>
                    <a:pt x="3779" y="3170"/>
                  </a:lnTo>
                  <a:lnTo>
                    <a:pt x="5669" y="4511"/>
                  </a:lnTo>
                  <a:lnTo>
                    <a:pt x="7558" y="5791"/>
                  </a:lnTo>
                  <a:lnTo>
                    <a:pt x="7619" y="5852"/>
                  </a:lnTo>
                  <a:lnTo>
                    <a:pt x="7741" y="5791"/>
                  </a:lnTo>
                  <a:lnTo>
                    <a:pt x="7863" y="5730"/>
                  </a:lnTo>
                  <a:lnTo>
                    <a:pt x="7924" y="5547"/>
                  </a:lnTo>
                  <a:lnTo>
                    <a:pt x="7863" y="5425"/>
                  </a:lnTo>
                  <a:lnTo>
                    <a:pt x="7802" y="5364"/>
                  </a:lnTo>
                  <a:lnTo>
                    <a:pt x="5913" y="4084"/>
                  </a:lnTo>
                  <a:lnTo>
                    <a:pt x="4084" y="2804"/>
                  </a:lnTo>
                  <a:lnTo>
                    <a:pt x="2255" y="1463"/>
                  </a:lnTo>
                  <a:lnTo>
                    <a:pt x="427" y="61"/>
                  </a:lnTo>
                  <a:lnTo>
                    <a:pt x="366" y="61"/>
                  </a:lnTo>
                  <a:lnTo>
                    <a:pt x="244" y="0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7" name="Google Shape;1137;p16"/>
            <p:cNvSpPr/>
            <p:nvPr/>
          </p:nvSpPr>
          <p:spPr>
            <a:xfrm>
              <a:off x="6655000" y="4803425"/>
              <a:ext cx="198125" cy="146300"/>
            </a:xfrm>
            <a:custGeom>
              <a:avLst/>
              <a:gdLst/>
              <a:ahLst/>
              <a:cxnLst/>
              <a:rect l="l" t="t" r="r" b="b"/>
              <a:pathLst>
                <a:path w="7925" h="5852" fill="none" extrusionOk="0">
                  <a:moveTo>
                    <a:pt x="122" y="427"/>
                  </a:moveTo>
                  <a:lnTo>
                    <a:pt x="122" y="427"/>
                  </a:lnTo>
                  <a:lnTo>
                    <a:pt x="1951" y="1829"/>
                  </a:lnTo>
                  <a:lnTo>
                    <a:pt x="3779" y="3170"/>
                  </a:lnTo>
                  <a:lnTo>
                    <a:pt x="5669" y="4511"/>
                  </a:lnTo>
                  <a:lnTo>
                    <a:pt x="7558" y="5791"/>
                  </a:lnTo>
                  <a:lnTo>
                    <a:pt x="7558" y="5791"/>
                  </a:lnTo>
                  <a:lnTo>
                    <a:pt x="7619" y="5852"/>
                  </a:lnTo>
                  <a:lnTo>
                    <a:pt x="7741" y="5791"/>
                  </a:lnTo>
                  <a:lnTo>
                    <a:pt x="7863" y="5730"/>
                  </a:lnTo>
                  <a:lnTo>
                    <a:pt x="7924" y="5547"/>
                  </a:lnTo>
                  <a:lnTo>
                    <a:pt x="7863" y="5425"/>
                  </a:lnTo>
                  <a:lnTo>
                    <a:pt x="7802" y="5364"/>
                  </a:lnTo>
                  <a:lnTo>
                    <a:pt x="7802" y="5364"/>
                  </a:lnTo>
                  <a:lnTo>
                    <a:pt x="5913" y="4084"/>
                  </a:lnTo>
                  <a:lnTo>
                    <a:pt x="4084" y="2804"/>
                  </a:lnTo>
                  <a:lnTo>
                    <a:pt x="2255" y="1463"/>
                  </a:lnTo>
                  <a:lnTo>
                    <a:pt x="427" y="61"/>
                  </a:lnTo>
                  <a:lnTo>
                    <a:pt x="427" y="61"/>
                  </a:lnTo>
                  <a:lnTo>
                    <a:pt x="366" y="61"/>
                  </a:lnTo>
                  <a:lnTo>
                    <a:pt x="244" y="0"/>
                  </a:lnTo>
                  <a:lnTo>
                    <a:pt x="122" y="122"/>
                  </a:lnTo>
                  <a:lnTo>
                    <a:pt x="0" y="244"/>
                  </a:lnTo>
                  <a:lnTo>
                    <a:pt x="61" y="366"/>
                  </a:lnTo>
                  <a:lnTo>
                    <a:pt x="122" y="42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8" name="Google Shape;1138;p16"/>
            <p:cNvSpPr/>
            <p:nvPr/>
          </p:nvSpPr>
          <p:spPr>
            <a:xfrm>
              <a:off x="6781475" y="4824750"/>
              <a:ext cx="115825" cy="198125"/>
            </a:xfrm>
            <a:custGeom>
              <a:avLst/>
              <a:gdLst/>
              <a:ahLst/>
              <a:cxnLst/>
              <a:rect l="l" t="t" r="r" b="b"/>
              <a:pathLst>
                <a:path w="4633" h="7925" extrusionOk="0">
                  <a:moveTo>
                    <a:pt x="244" y="0"/>
                  </a:moveTo>
                  <a:lnTo>
                    <a:pt x="122" y="61"/>
                  </a:lnTo>
                  <a:lnTo>
                    <a:pt x="61" y="122"/>
                  </a:lnTo>
                  <a:lnTo>
                    <a:pt x="0" y="244"/>
                  </a:lnTo>
                  <a:lnTo>
                    <a:pt x="0" y="366"/>
                  </a:lnTo>
                  <a:lnTo>
                    <a:pt x="0" y="488"/>
                  </a:lnTo>
                  <a:lnTo>
                    <a:pt x="2012" y="4145"/>
                  </a:lnTo>
                  <a:lnTo>
                    <a:pt x="3048" y="5913"/>
                  </a:lnTo>
                  <a:lnTo>
                    <a:pt x="4084" y="7742"/>
                  </a:lnTo>
                  <a:lnTo>
                    <a:pt x="4145" y="7863"/>
                  </a:lnTo>
                  <a:lnTo>
                    <a:pt x="4267" y="7924"/>
                  </a:lnTo>
                  <a:lnTo>
                    <a:pt x="4389" y="7863"/>
                  </a:lnTo>
                  <a:lnTo>
                    <a:pt x="4511" y="7863"/>
                  </a:lnTo>
                  <a:lnTo>
                    <a:pt x="4572" y="7803"/>
                  </a:lnTo>
                  <a:lnTo>
                    <a:pt x="4633" y="7681"/>
                  </a:lnTo>
                  <a:lnTo>
                    <a:pt x="4633" y="7559"/>
                  </a:lnTo>
                  <a:lnTo>
                    <a:pt x="4633" y="7437"/>
                  </a:lnTo>
                  <a:lnTo>
                    <a:pt x="3597" y="5608"/>
                  </a:lnTo>
                  <a:lnTo>
                    <a:pt x="2560" y="3780"/>
                  </a:lnTo>
                  <a:lnTo>
                    <a:pt x="549" y="183"/>
                  </a:lnTo>
                  <a:lnTo>
                    <a:pt x="488" y="61"/>
                  </a:lnTo>
                  <a:lnTo>
                    <a:pt x="366" y="0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9" name="Google Shape;1139;p16"/>
            <p:cNvSpPr/>
            <p:nvPr/>
          </p:nvSpPr>
          <p:spPr>
            <a:xfrm>
              <a:off x="6781475" y="4824750"/>
              <a:ext cx="115825" cy="198125"/>
            </a:xfrm>
            <a:custGeom>
              <a:avLst/>
              <a:gdLst/>
              <a:ahLst/>
              <a:cxnLst/>
              <a:rect l="l" t="t" r="r" b="b"/>
              <a:pathLst>
                <a:path w="4633" h="7925" fill="none" extrusionOk="0">
                  <a:moveTo>
                    <a:pt x="0" y="488"/>
                  </a:moveTo>
                  <a:lnTo>
                    <a:pt x="0" y="488"/>
                  </a:lnTo>
                  <a:lnTo>
                    <a:pt x="2012" y="4145"/>
                  </a:lnTo>
                  <a:lnTo>
                    <a:pt x="3048" y="5913"/>
                  </a:lnTo>
                  <a:lnTo>
                    <a:pt x="4084" y="7742"/>
                  </a:lnTo>
                  <a:lnTo>
                    <a:pt x="4084" y="7742"/>
                  </a:lnTo>
                  <a:lnTo>
                    <a:pt x="4145" y="7863"/>
                  </a:lnTo>
                  <a:lnTo>
                    <a:pt x="4267" y="7924"/>
                  </a:lnTo>
                  <a:lnTo>
                    <a:pt x="4389" y="7863"/>
                  </a:lnTo>
                  <a:lnTo>
                    <a:pt x="4511" y="7863"/>
                  </a:lnTo>
                  <a:lnTo>
                    <a:pt x="4572" y="7803"/>
                  </a:lnTo>
                  <a:lnTo>
                    <a:pt x="4633" y="7681"/>
                  </a:lnTo>
                  <a:lnTo>
                    <a:pt x="4633" y="7559"/>
                  </a:lnTo>
                  <a:lnTo>
                    <a:pt x="4633" y="7437"/>
                  </a:lnTo>
                  <a:lnTo>
                    <a:pt x="4633" y="7437"/>
                  </a:lnTo>
                  <a:lnTo>
                    <a:pt x="3597" y="5608"/>
                  </a:lnTo>
                  <a:lnTo>
                    <a:pt x="2560" y="3780"/>
                  </a:lnTo>
                  <a:lnTo>
                    <a:pt x="549" y="183"/>
                  </a:lnTo>
                  <a:lnTo>
                    <a:pt x="549" y="183"/>
                  </a:lnTo>
                  <a:lnTo>
                    <a:pt x="488" y="61"/>
                  </a:lnTo>
                  <a:lnTo>
                    <a:pt x="366" y="0"/>
                  </a:lnTo>
                  <a:lnTo>
                    <a:pt x="244" y="0"/>
                  </a:lnTo>
                  <a:lnTo>
                    <a:pt x="122" y="61"/>
                  </a:lnTo>
                  <a:lnTo>
                    <a:pt x="61" y="122"/>
                  </a:lnTo>
                  <a:lnTo>
                    <a:pt x="0" y="244"/>
                  </a:lnTo>
                  <a:lnTo>
                    <a:pt x="0" y="366"/>
                  </a:lnTo>
                  <a:lnTo>
                    <a:pt x="0" y="488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0" name="Google Shape;1140;p16"/>
            <p:cNvSpPr/>
            <p:nvPr/>
          </p:nvSpPr>
          <p:spPr>
            <a:xfrm>
              <a:off x="6488900" y="3924150"/>
              <a:ext cx="793950" cy="928050"/>
            </a:xfrm>
            <a:custGeom>
              <a:avLst/>
              <a:gdLst/>
              <a:ahLst/>
              <a:cxnLst/>
              <a:rect l="l" t="t" r="r" b="b"/>
              <a:pathLst>
                <a:path w="31758" h="37122" extrusionOk="0">
                  <a:moveTo>
                    <a:pt x="15604" y="1"/>
                  </a:moveTo>
                  <a:lnTo>
                    <a:pt x="14446" y="62"/>
                  </a:lnTo>
                  <a:lnTo>
                    <a:pt x="13166" y="306"/>
                  </a:lnTo>
                  <a:lnTo>
                    <a:pt x="11886" y="610"/>
                  </a:lnTo>
                  <a:lnTo>
                    <a:pt x="10667" y="1037"/>
                  </a:lnTo>
                  <a:lnTo>
                    <a:pt x="9448" y="1586"/>
                  </a:lnTo>
                  <a:lnTo>
                    <a:pt x="8351" y="2256"/>
                  </a:lnTo>
                  <a:lnTo>
                    <a:pt x="7254" y="2988"/>
                  </a:lnTo>
                  <a:lnTo>
                    <a:pt x="6218" y="3780"/>
                  </a:lnTo>
                  <a:lnTo>
                    <a:pt x="5242" y="4572"/>
                  </a:lnTo>
                  <a:lnTo>
                    <a:pt x="4328" y="5426"/>
                  </a:lnTo>
                  <a:lnTo>
                    <a:pt x="3536" y="6340"/>
                  </a:lnTo>
                  <a:lnTo>
                    <a:pt x="2804" y="7193"/>
                  </a:lnTo>
                  <a:lnTo>
                    <a:pt x="2134" y="8108"/>
                  </a:lnTo>
                  <a:lnTo>
                    <a:pt x="1585" y="8961"/>
                  </a:lnTo>
                  <a:lnTo>
                    <a:pt x="1097" y="9814"/>
                  </a:lnTo>
                  <a:lnTo>
                    <a:pt x="793" y="10607"/>
                  </a:lnTo>
                  <a:lnTo>
                    <a:pt x="549" y="11277"/>
                  </a:lnTo>
                  <a:lnTo>
                    <a:pt x="183" y="12801"/>
                  </a:lnTo>
                  <a:lnTo>
                    <a:pt x="122" y="13472"/>
                  </a:lnTo>
                  <a:lnTo>
                    <a:pt x="0" y="14203"/>
                  </a:lnTo>
                  <a:lnTo>
                    <a:pt x="0" y="14874"/>
                  </a:lnTo>
                  <a:lnTo>
                    <a:pt x="0" y="15544"/>
                  </a:lnTo>
                  <a:lnTo>
                    <a:pt x="122" y="16215"/>
                  </a:lnTo>
                  <a:lnTo>
                    <a:pt x="244" y="16885"/>
                  </a:lnTo>
                  <a:lnTo>
                    <a:pt x="427" y="17495"/>
                  </a:lnTo>
                  <a:lnTo>
                    <a:pt x="610" y="18165"/>
                  </a:lnTo>
                  <a:lnTo>
                    <a:pt x="915" y="18775"/>
                  </a:lnTo>
                  <a:lnTo>
                    <a:pt x="1280" y="19384"/>
                  </a:lnTo>
                  <a:lnTo>
                    <a:pt x="1707" y="19994"/>
                  </a:lnTo>
                  <a:lnTo>
                    <a:pt x="2195" y="20664"/>
                  </a:lnTo>
                  <a:lnTo>
                    <a:pt x="2804" y="21274"/>
                  </a:lnTo>
                  <a:lnTo>
                    <a:pt x="3414" y="21883"/>
                  </a:lnTo>
                  <a:lnTo>
                    <a:pt x="3231" y="22188"/>
                  </a:lnTo>
                  <a:lnTo>
                    <a:pt x="2621" y="22980"/>
                  </a:lnTo>
                  <a:lnTo>
                    <a:pt x="1890" y="24139"/>
                  </a:lnTo>
                  <a:lnTo>
                    <a:pt x="1524" y="24870"/>
                  </a:lnTo>
                  <a:lnTo>
                    <a:pt x="1097" y="25601"/>
                  </a:lnTo>
                  <a:lnTo>
                    <a:pt x="793" y="26455"/>
                  </a:lnTo>
                  <a:lnTo>
                    <a:pt x="488" y="27308"/>
                  </a:lnTo>
                  <a:lnTo>
                    <a:pt x="305" y="28222"/>
                  </a:lnTo>
                  <a:lnTo>
                    <a:pt x="183" y="29076"/>
                  </a:lnTo>
                  <a:lnTo>
                    <a:pt x="183" y="29990"/>
                  </a:lnTo>
                  <a:lnTo>
                    <a:pt x="244" y="30417"/>
                  </a:lnTo>
                  <a:lnTo>
                    <a:pt x="305" y="30843"/>
                  </a:lnTo>
                  <a:lnTo>
                    <a:pt x="427" y="31270"/>
                  </a:lnTo>
                  <a:lnTo>
                    <a:pt x="610" y="31697"/>
                  </a:lnTo>
                  <a:lnTo>
                    <a:pt x="793" y="32123"/>
                  </a:lnTo>
                  <a:lnTo>
                    <a:pt x="1097" y="32489"/>
                  </a:lnTo>
                  <a:lnTo>
                    <a:pt x="1402" y="32916"/>
                  </a:lnTo>
                  <a:lnTo>
                    <a:pt x="1768" y="33343"/>
                  </a:lnTo>
                  <a:lnTo>
                    <a:pt x="2560" y="34074"/>
                  </a:lnTo>
                  <a:lnTo>
                    <a:pt x="3475" y="34744"/>
                  </a:lnTo>
                  <a:lnTo>
                    <a:pt x="4511" y="35293"/>
                  </a:lnTo>
                  <a:lnTo>
                    <a:pt x="5608" y="35781"/>
                  </a:lnTo>
                  <a:lnTo>
                    <a:pt x="6827" y="36207"/>
                  </a:lnTo>
                  <a:lnTo>
                    <a:pt x="8046" y="36573"/>
                  </a:lnTo>
                  <a:lnTo>
                    <a:pt x="9326" y="36817"/>
                  </a:lnTo>
                  <a:lnTo>
                    <a:pt x="10667" y="37000"/>
                  </a:lnTo>
                  <a:lnTo>
                    <a:pt x="12008" y="37122"/>
                  </a:lnTo>
                  <a:lnTo>
                    <a:pt x="14690" y="37122"/>
                  </a:lnTo>
                  <a:lnTo>
                    <a:pt x="16031" y="37000"/>
                  </a:lnTo>
                  <a:lnTo>
                    <a:pt x="17372" y="36878"/>
                  </a:lnTo>
                  <a:lnTo>
                    <a:pt x="18652" y="36634"/>
                  </a:lnTo>
                  <a:lnTo>
                    <a:pt x="19871" y="36329"/>
                  </a:lnTo>
                  <a:lnTo>
                    <a:pt x="20664" y="36085"/>
                  </a:lnTo>
                  <a:lnTo>
                    <a:pt x="21395" y="35842"/>
                  </a:lnTo>
                  <a:lnTo>
                    <a:pt x="22126" y="35537"/>
                  </a:lnTo>
                  <a:lnTo>
                    <a:pt x="22858" y="35232"/>
                  </a:lnTo>
                  <a:lnTo>
                    <a:pt x="24199" y="34501"/>
                  </a:lnTo>
                  <a:lnTo>
                    <a:pt x="25418" y="33647"/>
                  </a:lnTo>
                  <a:lnTo>
                    <a:pt x="26515" y="32733"/>
                  </a:lnTo>
                  <a:lnTo>
                    <a:pt x="27551" y="31758"/>
                  </a:lnTo>
                  <a:lnTo>
                    <a:pt x="28466" y="30661"/>
                  </a:lnTo>
                  <a:lnTo>
                    <a:pt x="29258" y="29563"/>
                  </a:lnTo>
                  <a:lnTo>
                    <a:pt x="29928" y="28405"/>
                  </a:lnTo>
                  <a:lnTo>
                    <a:pt x="30538" y="27186"/>
                  </a:lnTo>
                  <a:lnTo>
                    <a:pt x="30965" y="25906"/>
                  </a:lnTo>
                  <a:lnTo>
                    <a:pt x="31330" y="24626"/>
                  </a:lnTo>
                  <a:lnTo>
                    <a:pt x="31574" y="23407"/>
                  </a:lnTo>
                  <a:lnTo>
                    <a:pt x="31757" y="22127"/>
                  </a:lnTo>
                  <a:lnTo>
                    <a:pt x="31757" y="20847"/>
                  </a:lnTo>
                  <a:lnTo>
                    <a:pt x="31696" y="19567"/>
                  </a:lnTo>
                  <a:lnTo>
                    <a:pt x="31574" y="18409"/>
                  </a:lnTo>
                  <a:lnTo>
                    <a:pt x="31330" y="17373"/>
                  </a:lnTo>
                  <a:lnTo>
                    <a:pt x="31087" y="16397"/>
                  </a:lnTo>
                  <a:lnTo>
                    <a:pt x="30782" y="15544"/>
                  </a:lnTo>
                  <a:lnTo>
                    <a:pt x="30416" y="14691"/>
                  </a:lnTo>
                  <a:lnTo>
                    <a:pt x="29989" y="14020"/>
                  </a:lnTo>
                  <a:lnTo>
                    <a:pt x="29563" y="13350"/>
                  </a:lnTo>
                  <a:lnTo>
                    <a:pt x="29075" y="12740"/>
                  </a:lnTo>
                  <a:lnTo>
                    <a:pt x="28587" y="12192"/>
                  </a:lnTo>
                  <a:lnTo>
                    <a:pt x="28039" y="11765"/>
                  </a:lnTo>
                  <a:lnTo>
                    <a:pt x="27429" y="11338"/>
                  </a:lnTo>
                  <a:lnTo>
                    <a:pt x="26820" y="10973"/>
                  </a:lnTo>
                  <a:lnTo>
                    <a:pt x="26210" y="10607"/>
                  </a:lnTo>
                  <a:lnTo>
                    <a:pt x="25540" y="10302"/>
                  </a:lnTo>
                  <a:lnTo>
                    <a:pt x="24138" y="9754"/>
                  </a:lnTo>
                  <a:lnTo>
                    <a:pt x="23772" y="9449"/>
                  </a:lnTo>
                  <a:lnTo>
                    <a:pt x="23406" y="9083"/>
                  </a:lnTo>
                  <a:lnTo>
                    <a:pt x="22980" y="8534"/>
                  </a:lnTo>
                  <a:lnTo>
                    <a:pt x="22492" y="7925"/>
                  </a:lnTo>
                  <a:lnTo>
                    <a:pt x="22126" y="7193"/>
                  </a:lnTo>
                  <a:lnTo>
                    <a:pt x="22004" y="6767"/>
                  </a:lnTo>
                  <a:lnTo>
                    <a:pt x="21883" y="6340"/>
                  </a:lnTo>
                  <a:lnTo>
                    <a:pt x="21822" y="5852"/>
                  </a:lnTo>
                  <a:lnTo>
                    <a:pt x="21761" y="5426"/>
                  </a:lnTo>
                  <a:lnTo>
                    <a:pt x="21700" y="4390"/>
                  </a:lnTo>
                  <a:lnTo>
                    <a:pt x="21639" y="3902"/>
                  </a:lnTo>
                  <a:lnTo>
                    <a:pt x="21517" y="3353"/>
                  </a:lnTo>
                  <a:lnTo>
                    <a:pt x="21395" y="2866"/>
                  </a:lnTo>
                  <a:lnTo>
                    <a:pt x="21151" y="2378"/>
                  </a:lnTo>
                  <a:lnTo>
                    <a:pt x="20907" y="1951"/>
                  </a:lnTo>
                  <a:lnTo>
                    <a:pt x="20542" y="1525"/>
                  </a:lnTo>
                  <a:lnTo>
                    <a:pt x="20115" y="1159"/>
                  </a:lnTo>
                  <a:lnTo>
                    <a:pt x="19627" y="793"/>
                  </a:lnTo>
                  <a:lnTo>
                    <a:pt x="19018" y="489"/>
                  </a:lnTo>
                  <a:lnTo>
                    <a:pt x="18347" y="245"/>
                  </a:lnTo>
                  <a:lnTo>
                    <a:pt x="17555" y="123"/>
                  </a:lnTo>
                  <a:lnTo>
                    <a:pt x="16641" y="1"/>
                  </a:lnTo>
                  <a:close/>
                </a:path>
              </a:pathLst>
            </a:custGeom>
            <a:solidFill>
              <a:srgbClr val="65A2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1" name="Google Shape;1141;p16"/>
            <p:cNvSpPr/>
            <p:nvPr/>
          </p:nvSpPr>
          <p:spPr>
            <a:xfrm>
              <a:off x="6488900" y="3924150"/>
              <a:ext cx="793950" cy="928050"/>
            </a:xfrm>
            <a:custGeom>
              <a:avLst/>
              <a:gdLst/>
              <a:ahLst/>
              <a:cxnLst/>
              <a:rect l="l" t="t" r="r" b="b"/>
              <a:pathLst>
                <a:path w="31758" h="37122" fill="none" extrusionOk="0">
                  <a:moveTo>
                    <a:pt x="3414" y="21883"/>
                  </a:moveTo>
                  <a:lnTo>
                    <a:pt x="3414" y="21883"/>
                  </a:lnTo>
                  <a:lnTo>
                    <a:pt x="3231" y="22188"/>
                  </a:lnTo>
                  <a:lnTo>
                    <a:pt x="2621" y="22980"/>
                  </a:lnTo>
                  <a:lnTo>
                    <a:pt x="1890" y="24139"/>
                  </a:lnTo>
                  <a:lnTo>
                    <a:pt x="1524" y="24870"/>
                  </a:lnTo>
                  <a:lnTo>
                    <a:pt x="1097" y="25601"/>
                  </a:lnTo>
                  <a:lnTo>
                    <a:pt x="793" y="26455"/>
                  </a:lnTo>
                  <a:lnTo>
                    <a:pt x="488" y="27308"/>
                  </a:lnTo>
                  <a:lnTo>
                    <a:pt x="305" y="28222"/>
                  </a:lnTo>
                  <a:lnTo>
                    <a:pt x="183" y="29076"/>
                  </a:lnTo>
                  <a:lnTo>
                    <a:pt x="183" y="29990"/>
                  </a:lnTo>
                  <a:lnTo>
                    <a:pt x="244" y="30417"/>
                  </a:lnTo>
                  <a:lnTo>
                    <a:pt x="305" y="30843"/>
                  </a:lnTo>
                  <a:lnTo>
                    <a:pt x="427" y="31270"/>
                  </a:lnTo>
                  <a:lnTo>
                    <a:pt x="610" y="31697"/>
                  </a:lnTo>
                  <a:lnTo>
                    <a:pt x="793" y="32123"/>
                  </a:lnTo>
                  <a:lnTo>
                    <a:pt x="1097" y="32489"/>
                  </a:lnTo>
                  <a:lnTo>
                    <a:pt x="1097" y="32489"/>
                  </a:lnTo>
                  <a:lnTo>
                    <a:pt x="1402" y="32916"/>
                  </a:lnTo>
                  <a:lnTo>
                    <a:pt x="1768" y="33343"/>
                  </a:lnTo>
                  <a:lnTo>
                    <a:pt x="2560" y="34074"/>
                  </a:lnTo>
                  <a:lnTo>
                    <a:pt x="3475" y="34744"/>
                  </a:lnTo>
                  <a:lnTo>
                    <a:pt x="4511" y="35293"/>
                  </a:lnTo>
                  <a:lnTo>
                    <a:pt x="5608" y="35781"/>
                  </a:lnTo>
                  <a:lnTo>
                    <a:pt x="6827" y="36207"/>
                  </a:lnTo>
                  <a:lnTo>
                    <a:pt x="8046" y="36573"/>
                  </a:lnTo>
                  <a:lnTo>
                    <a:pt x="9326" y="36817"/>
                  </a:lnTo>
                  <a:lnTo>
                    <a:pt x="10667" y="37000"/>
                  </a:lnTo>
                  <a:lnTo>
                    <a:pt x="12008" y="37122"/>
                  </a:lnTo>
                  <a:lnTo>
                    <a:pt x="13349" y="37122"/>
                  </a:lnTo>
                  <a:lnTo>
                    <a:pt x="14690" y="37122"/>
                  </a:lnTo>
                  <a:lnTo>
                    <a:pt x="16031" y="37000"/>
                  </a:lnTo>
                  <a:lnTo>
                    <a:pt x="17372" y="36878"/>
                  </a:lnTo>
                  <a:lnTo>
                    <a:pt x="18652" y="36634"/>
                  </a:lnTo>
                  <a:lnTo>
                    <a:pt x="19871" y="36329"/>
                  </a:lnTo>
                  <a:lnTo>
                    <a:pt x="19871" y="36329"/>
                  </a:lnTo>
                  <a:lnTo>
                    <a:pt x="20664" y="36085"/>
                  </a:lnTo>
                  <a:lnTo>
                    <a:pt x="21395" y="35842"/>
                  </a:lnTo>
                  <a:lnTo>
                    <a:pt x="22126" y="35537"/>
                  </a:lnTo>
                  <a:lnTo>
                    <a:pt x="22858" y="35232"/>
                  </a:lnTo>
                  <a:lnTo>
                    <a:pt x="24199" y="34501"/>
                  </a:lnTo>
                  <a:lnTo>
                    <a:pt x="25418" y="33647"/>
                  </a:lnTo>
                  <a:lnTo>
                    <a:pt x="26515" y="32733"/>
                  </a:lnTo>
                  <a:lnTo>
                    <a:pt x="27551" y="31758"/>
                  </a:lnTo>
                  <a:lnTo>
                    <a:pt x="28466" y="30661"/>
                  </a:lnTo>
                  <a:lnTo>
                    <a:pt x="29258" y="29563"/>
                  </a:lnTo>
                  <a:lnTo>
                    <a:pt x="29928" y="28405"/>
                  </a:lnTo>
                  <a:lnTo>
                    <a:pt x="30538" y="27186"/>
                  </a:lnTo>
                  <a:lnTo>
                    <a:pt x="30965" y="25906"/>
                  </a:lnTo>
                  <a:lnTo>
                    <a:pt x="31330" y="24626"/>
                  </a:lnTo>
                  <a:lnTo>
                    <a:pt x="31574" y="23407"/>
                  </a:lnTo>
                  <a:lnTo>
                    <a:pt x="31757" y="22127"/>
                  </a:lnTo>
                  <a:lnTo>
                    <a:pt x="31757" y="20847"/>
                  </a:lnTo>
                  <a:lnTo>
                    <a:pt x="31696" y="19567"/>
                  </a:lnTo>
                  <a:lnTo>
                    <a:pt x="31696" y="19567"/>
                  </a:lnTo>
                  <a:lnTo>
                    <a:pt x="31574" y="18409"/>
                  </a:lnTo>
                  <a:lnTo>
                    <a:pt x="31330" y="17373"/>
                  </a:lnTo>
                  <a:lnTo>
                    <a:pt x="31087" y="16397"/>
                  </a:lnTo>
                  <a:lnTo>
                    <a:pt x="30782" y="15544"/>
                  </a:lnTo>
                  <a:lnTo>
                    <a:pt x="30416" y="14691"/>
                  </a:lnTo>
                  <a:lnTo>
                    <a:pt x="29989" y="14020"/>
                  </a:lnTo>
                  <a:lnTo>
                    <a:pt x="29563" y="13350"/>
                  </a:lnTo>
                  <a:lnTo>
                    <a:pt x="29075" y="12740"/>
                  </a:lnTo>
                  <a:lnTo>
                    <a:pt x="28587" y="12192"/>
                  </a:lnTo>
                  <a:lnTo>
                    <a:pt x="28039" y="11765"/>
                  </a:lnTo>
                  <a:lnTo>
                    <a:pt x="27429" y="11338"/>
                  </a:lnTo>
                  <a:lnTo>
                    <a:pt x="26820" y="10973"/>
                  </a:lnTo>
                  <a:lnTo>
                    <a:pt x="26210" y="10607"/>
                  </a:lnTo>
                  <a:lnTo>
                    <a:pt x="25540" y="10302"/>
                  </a:lnTo>
                  <a:lnTo>
                    <a:pt x="24138" y="9754"/>
                  </a:lnTo>
                  <a:lnTo>
                    <a:pt x="24138" y="9754"/>
                  </a:lnTo>
                  <a:lnTo>
                    <a:pt x="23772" y="9449"/>
                  </a:lnTo>
                  <a:lnTo>
                    <a:pt x="23406" y="9083"/>
                  </a:lnTo>
                  <a:lnTo>
                    <a:pt x="22980" y="8534"/>
                  </a:lnTo>
                  <a:lnTo>
                    <a:pt x="22492" y="7925"/>
                  </a:lnTo>
                  <a:lnTo>
                    <a:pt x="22126" y="7193"/>
                  </a:lnTo>
                  <a:lnTo>
                    <a:pt x="22004" y="6767"/>
                  </a:lnTo>
                  <a:lnTo>
                    <a:pt x="21883" y="6340"/>
                  </a:lnTo>
                  <a:lnTo>
                    <a:pt x="21822" y="5852"/>
                  </a:lnTo>
                  <a:lnTo>
                    <a:pt x="21761" y="5426"/>
                  </a:lnTo>
                  <a:lnTo>
                    <a:pt x="21761" y="5426"/>
                  </a:lnTo>
                  <a:lnTo>
                    <a:pt x="21700" y="4390"/>
                  </a:lnTo>
                  <a:lnTo>
                    <a:pt x="21639" y="3902"/>
                  </a:lnTo>
                  <a:lnTo>
                    <a:pt x="21517" y="3353"/>
                  </a:lnTo>
                  <a:lnTo>
                    <a:pt x="21395" y="2866"/>
                  </a:lnTo>
                  <a:lnTo>
                    <a:pt x="21151" y="2378"/>
                  </a:lnTo>
                  <a:lnTo>
                    <a:pt x="20907" y="1951"/>
                  </a:lnTo>
                  <a:lnTo>
                    <a:pt x="20542" y="1525"/>
                  </a:lnTo>
                  <a:lnTo>
                    <a:pt x="20115" y="1159"/>
                  </a:lnTo>
                  <a:lnTo>
                    <a:pt x="19627" y="793"/>
                  </a:lnTo>
                  <a:lnTo>
                    <a:pt x="19018" y="489"/>
                  </a:lnTo>
                  <a:lnTo>
                    <a:pt x="18347" y="245"/>
                  </a:lnTo>
                  <a:lnTo>
                    <a:pt x="17555" y="123"/>
                  </a:lnTo>
                  <a:lnTo>
                    <a:pt x="16641" y="1"/>
                  </a:lnTo>
                  <a:lnTo>
                    <a:pt x="15604" y="1"/>
                  </a:lnTo>
                  <a:lnTo>
                    <a:pt x="14446" y="62"/>
                  </a:lnTo>
                  <a:lnTo>
                    <a:pt x="14446" y="62"/>
                  </a:lnTo>
                  <a:lnTo>
                    <a:pt x="13166" y="306"/>
                  </a:lnTo>
                  <a:lnTo>
                    <a:pt x="11886" y="610"/>
                  </a:lnTo>
                  <a:lnTo>
                    <a:pt x="10667" y="1037"/>
                  </a:lnTo>
                  <a:lnTo>
                    <a:pt x="9448" y="1586"/>
                  </a:lnTo>
                  <a:lnTo>
                    <a:pt x="8351" y="2256"/>
                  </a:lnTo>
                  <a:lnTo>
                    <a:pt x="7254" y="2988"/>
                  </a:lnTo>
                  <a:lnTo>
                    <a:pt x="6218" y="3780"/>
                  </a:lnTo>
                  <a:lnTo>
                    <a:pt x="5242" y="4572"/>
                  </a:lnTo>
                  <a:lnTo>
                    <a:pt x="4328" y="5426"/>
                  </a:lnTo>
                  <a:lnTo>
                    <a:pt x="3536" y="6340"/>
                  </a:lnTo>
                  <a:lnTo>
                    <a:pt x="2804" y="7193"/>
                  </a:lnTo>
                  <a:lnTo>
                    <a:pt x="2134" y="8108"/>
                  </a:lnTo>
                  <a:lnTo>
                    <a:pt x="1585" y="8961"/>
                  </a:lnTo>
                  <a:lnTo>
                    <a:pt x="1097" y="9814"/>
                  </a:lnTo>
                  <a:lnTo>
                    <a:pt x="793" y="10607"/>
                  </a:lnTo>
                  <a:lnTo>
                    <a:pt x="549" y="11277"/>
                  </a:lnTo>
                  <a:lnTo>
                    <a:pt x="549" y="11277"/>
                  </a:lnTo>
                  <a:lnTo>
                    <a:pt x="183" y="12801"/>
                  </a:lnTo>
                  <a:lnTo>
                    <a:pt x="122" y="13472"/>
                  </a:lnTo>
                  <a:lnTo>
                    <a:pt x="0" y="14203"/>
                  </a:lnTo>
                  <a:lnTo>
                    <a:pt x="0" y="14874"/>
                  </a:lnTo>
                  <a:lnTo>
                    <a:pt x="0" y="15544"/>
                  </a:lnTo>
                  <a:lnTo>
                    <a:pt x="122" y="16215"/>
                  </a:lnTo>
                  <a:lnTo>
                    <a:pt x="244" y="16885"/>
                  </a:lnTo>
                  <a:lnTo>
                    <a:pt x="427" y="17495"/>
                  </a:lnTo>
                  <a:lnTo>
                    <a:pt x="610" y="18165"/>
                  </a:lnTo>
                  <a:lnTo>
                    <a:pt x="915" y="18775"/>
                  </a:lnTo>
                  <a:lnTo>
                    <a:pt x="1280" y="19384"/>
                  </a:lnTo>
                  <a:lnTo>
                    <a:pt x="1707" y="19994"/>
                  </a:lnTo>
                  <a:lnTo>
                    <a:pt x="2195" y="20664"/>
                  </a:lnTo>
                  <a:lnTo>
                    <a:pt x="2804" y="21274"/>
                  </a:lnTo>
                  <a:lnTo>
                    <a:pt x="3414" y="21883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2" name="Google Shape;1142;p16"/>
            <p:cNvSpPr/>
            <p:nvPr/>
          </p:nvSpPr>
          <p:spPr>
            <a:xfrm>
              <a:off x="6723575" y="4079600"/>
              <a:ext cx="368775" cy="112775"/>
            </a:xfrm>
            <a:custGeom>
              <a:avLst/>
              <a:gdLst/>
              <a:ahLst/>
              <a:cxnLst/>
              <a:rect l="l" t="t" r="r" b="b"/>
              <a:pathLst>
                <a:path w="14751" h="4511" extrusionOk="0">
                  <a:moveTo>
                    <a:pt x="12435" y="0"/>
                  </a:moveTo>
                  <a:lnTo>
                    <a:pt x="11155" y="61"/>
                  </a:lnTo>
                  <a:lnTo>
                    <a:pt x="9936" y="183"/>
                  </a:lnTo>
                  <a:lnTo>
                    <a:pt x="8716" y="427"/>
                  </a:lnTo>
                  <a:lnTo>
                    <a:pt x="7558" y="732"/>
                  </a:lnTo>
                  <a:lnTo>
                    <a:pt x="6461" y="1097"/>
                  </a:lnTo>
                  <a:lnTo>
                    <a:pt x="5425" y="1463"/>
                  </a:lnTo>
                  <a:lnTo>
                    <a:pt x="4450" y="1890"/>
                  </a:lnTo>
                  <a:lnTo>
                    <a:pt x="3596" y="2316"/>
                  </a:lnTo>
                  <a:lnTo>
                    <a:pt x="2073" y="3109"/>
                  </a:lnTo>
                  <a:lnTo>
                    <a:pt x="975" y="3840"/>
                  </a:lnTo>
                  <a:lnTo>
                    <a:pt x="244" y="4328"/>
                  </a:lnTo>
                  <a:lnTo>
                    <a:pt x="0" y="4511"/>
                  </a:lnTo>
                  <a:lnTo>
                    <a:pt x="1402" y="4145"/>
                  </a:lnTo>
                  <a:lnTo>
                    <a:pt x="2743" y="3840"/>
                  </a:lnTo>
                  <a:lnTo>
                    <a:pt x="4023" y="3596"/>
                  </a:lnTo>
                  <a:lnTo>
                    <a:pt x="5303" y="3414"/>
                  </a:lnTo>
                  <a:lnTo>
                    <a:pt x="6522" y="3231"/>
                  </a:lnTo>
                  <a:lnTo>
                    <a:pt x="7619" y="3170"/>
                  </a:lnTo>
                  <a:lnTo>
                    <a:pt x="9692" y="3109"/>
                  </a:lnTo>
                  <a:lnTo>
                    <a:pt x="10789" y="3109"/>
                  </a:lnTo>
                  <a:lnTo>
                    <a:pt x="11764" y="3170"/>
                  </a:lnTo>
                  <a:lnTo>
                    <a:pt x="13349" y="3292"/>
                  </a:lnTo>
                  <a:lnTo>
                    <a:pt x="14385" y="3475"/>
                  </a:lnTo>
                  <a:lnTo>
                    <a:pt x="14751" y="3536"/>
                  </a:lnTo>
                  <a:lnTo>
                    <a:pt x="14385" y="3231"/>
                  </a:lnTo>
                  <a:lnTo>
                    <a:pt x="14080" y="2926"/>
                  </a:lnTo>
                  <a:lnTo>
                    <a:pt x="13715" y="2560"/>
                  </a:lnTo>
                  <a:lnTo>
                    <a:pt x="13349" y="2012"/>
                  </a:lnTo>
                  <a:lnTo>
                    <a:pt x="12983" y="1402"/>
                  </a:lnTo>
                  <a:lnTo>
                    <a:pt x="12678" y="732"/>
                  </a:lnTo>
                  <a:lnTo>
                    <a:pt x="12435" y="0"/>
                  </a:lnTo>
                  <a:close/>
                </a:path>
              </a:pathLst>
            </a:custGeom>
            <a:solidFill>
              <a:srgbClr val="52873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3" name="Google Shape;1143;p16"/>
            <p:cNvSpPr/>
            <p:nvPr/>
          </p:nvSpPr>
          <p:spPr>
            <a:xfrm>
              <a:off x="6530050" y="4420925"/>
              <a:ext cx="41150" cy="47275"/>
            </a:xfrm>
            <a:custGeom>
              <a:avLst/>
              <a:gdLst/>
              <a:ahLst/>
              <a:cxnLst/>
              <a:rect l="l" t="t" r="r" b="b"/>
              <a:pathLst>
                <a:path w="1646" h="1891" extrusionOk="0">
                  <a:moveTo>
                    <a:pt x="0" y="1"/>
                  </a:moveTo>
                  <a:lnTo>
                    <a:pt x="0" y="1"/>
                  </a:lnTo>
                  <a:lnTo>
                    <a:pt x="731" y="976"/>
                  </a:lnTo>
                  <a:lnTo>
                    <a:pt x="1646" y="1890"/>
                  </a:lnTo>
                  <a:lnTo>
                    <a:pt x="1646" y="1890"/>
                  </a:lnTo>
                  <a:lnTo>
                    <a:pt x="731" y="976"/>
                  </a:lnTo>
                  <a:lnTo>
                    <a:pt x="0" y="1"/>
                  </a:lnTo>
                  <a:close/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FDDD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4" name="Google Shape;1144;p16"/>
            <p:cNvSpPr/>
            <p:nvPr/>
          </p:nvSpPr>
          <p:spPr>
            <a:xfrm>
              <a:off x="6530050" y="4420925"/>
              <a:ext cx="41150" cy="47275"/>
            </a:xfrm>
            <a:custGeom>
              <a:avLst/>
              <a:gdLst/>
              <a:ahLst/>
              <a:cxnLst/>
              <a:rect l="l" t="t" r="r" b="b"/>
              <a:pathLst>
                <a:path w="1646" h="189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731" y="976"/>
                  </a:lnTo>
                  <a:lnTo>
                    <a:pt x="1646" y="1890"/>
                  </a:lnTo>
                  <a:lnTo>
                    <a:pt x="1646" y="1890"/>
                  </a:lnTo>
                  <a:lnTo>
                    <a:pt x="731" y="976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5" name="Google Shape;1145;p16"/>
            <p:cNvSpPr/>
            <p:nvPr/>
          </p:nvSpPr>
          <p:spPr>
            <a:xfrm>
              <a:off x="6530050" y="44209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w="120000" h="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6" name="Google Shape;1146;p16"/>
            <p:cNvSpPr/>
            <p:nvPr/>
          </p:nvSpPr>
          <p:spPr>
            <a:xfrm>
              <a:off x="6525475" y="4335600"/>
              <a:ext cx="198125" cy="135650"/>
            </a:xfrm>
            <a:custGeom>
              <a:avLst/>
              <a:gdLst/>
              <a:ahLst/>
              <a:cxnLst/>
              <a:rect l="l" t="t" r="r" b="b"/>
              <a:pathLst>
                <a:path w="7925" h="5426" extrusionOk="0">
                  <a:moveTo>
                    <a:pt x="7924" y="0"/>
                  </a:moveTo>
                  <a:lnTo>
                    <a:pt x="7193" y="183"/>
                  </a:lnTo>
                  <a:lnTo>
                    <a:pt x="6339" y="366"/>
                  </a:lnTo>
                  <a:lnTo>
                    <a:pt x="5303" y="732"/>
                  </a:lnTo>
                  <a:lnTo>
                    <a:pt x="4084" y="1159"/>
                  </a:lnTo>
                  <a:lnTo>
                    <a:pt x="2743" y="1707"/>
                  </a:lnTo>
                  <a:lnTo>
                    <a:pt x="1402" y="2378"/>
                  </a:lnTo>
                  <a:lnTo>
                    <a:pt x="671" y="2804"/>
                  </a:lnTo>
                  <a:lnTo>
                    <a:pt x="0" y="3231"/>
                  </a:lnTo>
                  <a:lnTo>
                    <a:pt x="183" y="3414"/>
                  </a:lnTo>
                  <a:lnTo>
                    <a:pt x="914" y="4389"/>
                  </a:lnTo>
                  <a:lnTo>
                    <a:pt x="1829" y="5303"/>
                  </a:lnTo>
                  <a:lnTo>
                    <a:pt x="1951" y="5425"/>
                  </a:lnTo>
                  <a:lnTo>
                    <a:pt x="2438" y="4877"/>
                  </a:lnTo>
                  <a:lnTo>
                    <a:pt x="3779" y="3414"/>
                  </a:lnTo>
                  <a:lnTo>
                    <a:pt x="4694" y="2560"/>
                  </a:lnTo>
                  <a:lnTo>
                    <a:pt x="5669" y="1646"/>
                  </a:lnTo>
                  <a:lnTo>
                    <a:pt x="6766" y="793"/>
                  </a:lnTo>
                  <a:lnTo>
                    <a:pt x="7924" y="0"/>
                  </a:lnTo>
                  <a:close/>
                </a:path>
              </a:pathLst>
            </a:custGeom>
            <a:solidFill>
              <a:srgbClr val="52873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7" name="Google Shape;1147;p16"/>
            <p:cNvSpPr/>
            <p:nvPr/>
          </p:nvSpPr>
          <p:spPr>
            <a:xfrm>
              <a:off x="6648900" y="4826275"/>
              <a:ext cx="39650" cy="10700"/>
            </a:xfrm>
            <a:custGeom>
              <a:avLst/>
              <a:gdLst/>
              <a:ahLst/>
              <a:cxnLst/>
              <a:rect l="l" t="t" r="r" b="b"/>
              <a:pathLst>
                <a:path w="1586" h="428" extrusionOk="0">
                  <a:moveTo>
                    <a:pt x="0" y="0"/>
                  </a:moveTo>
                  <a:lnTo>
                    <a:pt x="1524" y="427"/>
                  </a:lnTo>
                  <a:lnTo>
                    <a:pt x="1585" y="4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FDDD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8" name="Google Shape;1148;p16"/>
            <p:cNvSpPr/>
            <p:nvPr/>
          </p:nvSpPr>
          <p:spPr>
            <a:xfrm>
              <a:off x="6808900" y="4849125"/>
              <a:ext cx="88400" cy="3075"/>
            </a:xfrm>
            <a:custGeom>
              <a:avLst/>
              <a:gdLst/>
              <a:ahLst/>
              <a:cxnLst/>
              <a:rect l="l" t="t" r="r" b="b"/>
              <a:pathLst>
                <a:path w="3536" h="123" fill="none" extrusionOk="0">
                  <a:moveTo>
                    <a:pt x="3536" y="1"/>
                  </a:moveTo>
                  <a:lnTo>
                    <a:pt x="3536" y="1"/>
                  </a:lnTo>
                  <a:lnTo>
                    <a:pt x="2073" y="123"/>
                  </a:lnTo>
                  <a:lnTo>
                    <a:pt x="671" y="123"/>
                  </a:lnTo>
                  <a:lnTo>
                    <a:pt x="671" y="123"/>
                  </a:lnTo>
                  <a:lnTo>
                    <a:pt x="1" y="123"/>
                  </a:lnTo>
                  <a:lnTo>
                    <a:pt x="1" y="123"/>
                  </a:lnTo>
                  <a:lnTo>
                    <a:pt x="1" y="123"/>
                  </a:lnTo>
                  <a:lnTo>
                    <a:pt x="671" y="123"/>
                  </a:lnTo>
                  <a:lnTo>
                    <a:pt x="671" y="123"/>
                  </a:lnTo>
                  <a:lnTo>
                    <a:pt x="2073" y="123"/>
                  </a:lnTo>
                  <a:lnTo>
                    <a:pt x="3536" y="1"/>
                  </a:lnTo>
                  <a:lnTo>
                    <a:pt x="353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9" name="Google Shape;1149;p16"/>
            <p:cNvSpPr/>
            <p:nvPr/>
          </p:nvSpPr>
          <p:spPr>
            <a:xfrm>
              <a:off x="6921675" y="4844550"/>
              <a:ext cx="7625" cy="1550"/>
            </a:xfrm>
            <a:custGeom>
              <a:avLst/>
              <a:gdLst/>
              <a:ahLst/>
              <a:cxnLst/>
              <a:rect l="l" t="t" r="r" b="b"/>
              <a:pathLst>
                <a:path w="305" h="62" fill="none" extrusionOk="0">
                  <a:moveTo>
                    <a:pt x="305" y="1"/>
                  </a:moveTo>
                  <a:lnTo>
                    <a:pt x="305" y="1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30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0" name="Google Shape;1150;p16"/>
            <p:cNvSpPr/>
            <p:nvPr/>
          </p:nvSpPr>
          <p:spPr>
            <a:xfrm>
              <a:off x="6714425" y="4843025"/>
              <a:ext cx="76225" cy="9175"/>
            </a:xfrm>
            <a:custGeom>
              <a:avLst/>
              <a:gdLst/>
              <a:ahLst/>
              <a:cxnLst/>
              <a:rect l="l" t="t" r="r" b="b"/>
              <a:pathLst>
                <a:path w="3049" h="367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524" y="245"/>
                  </a:lnTo>
                  <a:lnTo>
                    <a:pt x="3048" y="367"/>
                  </a:lnTo>
                  <a:lnTo>
                    <a:pt x="3048" y="367"/>
                  </a:lnTo>
                  <a:lnTo>
                    <a:pt x="3048" y="367"/>
                  </a:lnTo>
                  <a:lnTo>
                    <a:pt x="3048" y="367"/>
                  </a:lnTo>
                  <a:lnTo>
                    <a:pt x="1524" y="245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16"/>
            <p:cNvSpPr/>
            <p:nvPr/>
          </p:nvSpPr>
          <p:spPr>
            <a:xfrm>
              <a:off x="6549850" y="4774475"/>
              <a:ext cx="138700" cy="62500"/>
            </a:xfrm>
            <a:custGeom>
              <a:avLst/>
              <a:gdLst/>
              <a:ahLst/>
              <a:cxnLst/>
              <a:rect l="l" t="t" r="r" b="b"/>
              <a:pathLst>
                <a:path w="5548" h="2500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10" y="427"/>
                  </a:lnTo>
                  <a:lnTo>
                    <a:pt x="1219" y="792"/>
                  </a:lnTo>
                  <a:lnTo>
                    <a:pt x="1829" y="1158"/>
                  </a:lnTo>
                  <a:lnTo>
                    <a:pt x="2499" y="1524"/>
                  </a:lnTo>
                  <a:lnTo>
                    <a:pt x="3231" y="1829"/>
                  </a:lnTo>
                  <a:lnTo>
                    <a:pt x="3962" y="2072"/>
                  </a:lnTo>
                  <a:lnTo>
                    <a:pt x="5547" y="2499"/>
                  </a:lnTo>
                  <a:lnTo>
                    <a:pt x="5547" y="2499"/>
                  </a:lnTo>
                  <a:lnTo>
                    <a:pt x="5486" y="2499"/>
                  </a:lnTo>
                  <a:lnTo>
                    <a:pt x="5486" y="2499"/>
                  </a:lnTo>
                  <a:lnTo>
                    <a:pt x="3962" y="2072"/>
                  </a:lnTo>
                  <a:lnTo>
                    <a:pt x="3231" y="1829"/>
                  </a:lnTo>
                  <a:lnTo>
                    <a:pt x="2499" y="1524"/>
                  </a:lnTo>
                  <a:lnTo>
                    <a:pt x="1829" y="1158"/>
                  </a:lnTo>
                  <a:lnTo>
                    <a:pt x="1219" y="792"/>
                  </a:lnTo>
                  <a:lnTo>
                    <a:pt x="610" y="427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16"/>
            <p:cNvSpPr/>
            <p:nvPr/>
          </p:nvSpPr>
          <p:spPr>
            <a:xfrm>
              <a:off x="7072525" y="4745500"/>
              <a:ext cx="77750" cy="51850"/>
            </a:xfrm>
            <a:custGeom>
              <a:avLst/>
              <a:gdLst/>
              <a:ahLst/>
              <a:cxnLst/>
              <a:rect l="l" t="t" r="r" b="b"/>
              <a:pathLst>
                <a:path w="3110" h="2074" fill="none" extrusionOk="0">
                  <a:moveTo>
                    <a:pt x="3109" y="1"/>
                  </a:moveTo>
                  <a:lnTo>
                    <a:pt x="3109" y="1"/>
                  </a:lnTo>
                  <a:lnTo>
                    <a:pt x="2378" y="549"/>
                  </a:lnTo>
                  <a:lnTo>
                    <a:pt x="1646" y="1098"/>
                  </a:lnTo>
                  <a:lnTo>
                    <a:pt x="854" y="1647"/>
                  </a:lnTo>
                  <a:lnTo>
                    <a:pt x="0" y="2073"/>
                  </a:lnTo>
                  <a:lnTo>
                    <a:pt x="0" y="2073"/>
                  </a:lnTo>
                  <a:lnTo>
                    <a:pt x="0" y="2073"/>
                  </a:lnTo>
                  <a:lnTo>
                    <a:pt x="854" y="1647"/>
                  </a:lnTo>
                  <a:lnTo>
                    <a:pt x="1646" y="1098"/>
                  </a:lnTo>
                  <a:lnTo>
                    <a:pt x="2378" y="549"/>
                  </a:lnTo>
                  <a:lnTo>
                    <a:pt x="3109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3" name="Google Shape;1153;p16"/>
            <p:cNvSpPr/>
            <p:nvPr/>
          </p:nvSpPr>
          <p:spPr>
            <a:xfrm>
              <a:off x="7273675" y="4364550"/>
              <a:ext cx="6125" cy="30500"/>
            </a:xfrm>
            <a:custGeom>
              <a:avLst/>
              <a:gdLst/>
              <a:ahLst/>
              <a:cxnLst/>
              <a:rect l="l" t="t" r="r" b="b"/>
              <a:pathLst>
                <a:path w="245" h="1220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244" y="1220"/>
                  </a:lnTo>
                  <a:lnTo>
                    <a:pt x="244" y="1220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4" name="Google Shape;1154;p16"/>
            <p:cNvSpPr/>
            <p:nvPr/>
          </p:nvSpPr>
          <p:spPr>
            <a:xfrm>
              <a:off x="6897275" y="4846075"/>
              <a:ext cx="24425" cy="3075"/>
            </a:xfrm>
            <a:custGeom>
              <a:avLst/>
              <a:gdLst/>
              <a:ahLst/>
              <a:cxnLst/>
              <a:rect l="l" t="t" r="r" b="b"/>
              <a:pathLst>
                <a:path w="977" h="123" extrusionOk="0">
                  <a:moveTo>
                    <a:pt x="976" y="1"/>
                  </a:moveTo>
                  <a:lnTo>
                    <a:pt x="976" y="1"/>
                  </a:lnTo>
                  <a:lnTo>
                    <a:pt x="1" y="123"/>
                  </a:lnTo>
                  <a:lnTo>
                    <a:pt x="1" y="123"/>
                  </a:lnTo>
                  <a:lnTo>
                    <a:pt x="1" y="123"/>
                  </a:lnTo>
                  <a:lnTo>
                    <a:pt x="976" y="1"/>
                  </a:lnTo>
                  <a:lnTo>
                    <a:pt x="976" y="1"/>
                  </a:lnTo>
                  <a:close/>
                </a:path>
              </a:pathLst>
            </a:custGeom>
            <a:solidFill>
              <a:srgbClr val="783D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5" name="Google Shape;1155;p16"/>
            <p:cNvSpPr/>
            <p:nvPr/>
          </p:nvSpPr>
          <p:spPr>
            <a:xfrm>
              <a:off x="6897275" y="4846075"/>
              <a:ext cx="24425" cy="3075"/>
            </a:xfrm>
            <a:custGeom>
              <a:avLst/>
              <a:gdLst/>
              <a:ahLst/>
              <a:cxnLst/>
              <a:rect l="l" t="t" r="r" b="b"/>
              <a:pathLst>
                <a:path w="977" h="123" fill="none" extrusionOk="0">
                  <a:moveTo>
                    <a:pt x="976" y="1"/>
                  </a:moveTo>
                  <a:lnTo>
                    <a:pt x="976" y="1"/>
                  </a:lnTo>
                  <a:lnTo>
                    <a:pt x="1" y="123"/>
                  </a:lnTo>
                  <a:lnTo>
                    <a:pt x="1" y="123"/>
                  </a:lnTo>
                  <a:lnTo>
                    <a:pt x="1" y="123"/>
                  </a:lnTo>
                  <a:lnTo>
                    <a:pt x="976" y="1"/>
                  </a:lnTo>
                  <a:lnTo>
                    <a:pt x="97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6" name="Google Shape;1156;p16"/>
            <p:cNvSpPr/>
            <p:nvPr/>
          </p:nvSpPr>
          <p:spPr>
            <a:xfrm>
              <a:off x="7054250" y="4797325"/>
              <a:ext cx="18300" cy="10675"/>
            </a:xfrm>
            <a:custGeom>
              <a:avLst/>
              <a:gdLst/>
              <a:ahLst/>
              <a:cxnLst/>
              <a:rect l="l" t="t" r="r" b="b"/>
              <a:pathLst>
                <a:path w="732" h="427" extrusionOk="0">
                  <a:moveTo>
                    <a:pt x="731" y="0"/>
                  </a:moveTo>
                  <a:lnTo>
                    <a:pt x="731" y="0"/>
                  </a:lnTo>
                  <a:lnTo>
                    <a:pt x="0" y="427"/>
                  </a:lnTo>
                  <a:lnTo>
                    <a:pt x="0" y="427"/>
                  </a:lnTo>
                  <a:lnTo>
                    <a:pt x="731" y="0"/>
                  </a:lnTo>
                  <a:lnTo>
                    <a:pt x="731" y="0"/>
                  </a:lnTo>
                  <a:close/>
                </a:path>
              </a:pathLst>
            </a:custGeom>
            <a:solidFill>
              <a:srgbClr val="783D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7" name="Google Shape;1157;p16"/>
            <p:cNvSpPr/>
            <p:nvPr/>
          </p:nvSpPr>
          <p:spPr>
            <a:xfrm>
              <a:off x="7054250" y="4797325"/>
              <a:ext cx="18300" cy="10675"/>
            </a:xfrm>
            <a:custGeom>
              <a:avLst/>
              <a:gdLst/>
              <a:ahLst/>
              <a:cxnLst/>
              <a:rect l="l" t="t" r="r" b="b"/>
              <a:pathLst>
                <a:path w="732" h="427" fill="none" extrusionOk="0">
                  <a:moveTo>
                    <a:pt x="731" y="0"/>
                  </a:moveTo>
                  <a:lnTo>
                    <a:pt x="731" y="0"/>
                  </a:lnTo>
                  <a:lnTo>
                    <a:pt x="0" y="427"/>
                  </a:lnTo>
                  <a:lnTo>
                    <a:pt x="0" y="427"/>
                  </a:lnTo>
                  <a:lnTo>
                    <a:pt x="731" y="0"/>
                  </a:lnTo>
                  <a:lnTo>
                    <a:pt x="73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8" name="Google Shape;1158;p16"/>
            <p:cNvSpPr/>
            <p:nvPr/>
          </p:nvSpPr>
          <p:spPr>
            <a:xfrm>
              <a:off x="6687000" y="4836950"/>
              <a:ext cx="27450" cy="6100"/>
            </a:xfrm>
            <a:custGeom>
              <a:avLst/>
              <a:gdLst/>
              <a:ahLst/>
              <a:cxnLst/>
              <a:rect l="l" t="t" r="r" b="b"/>
              <a:pathLst>
                <a:path w="1098" h="244" extrusionOk="0">
                  <a:moveTo>
                    <a:pt x="0" y="0"/>
                  </a:moveTo>
                  <a:lnTo>
                    <a:pt x="1097" y="244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783D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9" name="Google Shape;1159;p16"/>
            <p:cNvSpPr/>
            <p:nvPr/>
          </p:nvSpPr>
          <p:spPr>
            <a:xfrm>
              <a:off x="6687000" y="4836950"/>
              <a:ext cx="27450" cy="6100"/>
            </a:xfrm>
            <a:custGeom>
              <a:avLst/>
              <a:gdLst/>
              <a:ahLst/>
              <a:cxnLst/>
              <a:rect l="l" t="t" r="r" b="b"/>
              <a:pathLst>
                <a:path w="1098" h="244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1097" y="244"/>
                  </a:lnTo>
                  <a:lnTo>
                    <a:pt x="1097" y="244"/>
                  </a:lnTo>
                  <a:lnTo>
                    <a:pt x="1097" y="244"/>
                  </a:lnTo>
                  <a:lnTo>
                    <a:pt x="1097" y="244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0" name="Google Shape;1160;p16"/>
            <p:cNvSpPr/>
            <p:nvPr/>
          </p:nvSpPr>
          <p:spPr>
            <a:xfrm>
              <a:off x="6790625" y="4852175"/>
              <a:ext cx="18300" cy="25"/>
            </a:xfrm>
            <a:custGeom>
              <a:avLst/>
              <a:gdLst/>
              <a:ahLst/>
              <a:cxnLst/>
              <a:rect l="l" t="t" r="r" b="b"/>
              <a:pathLst>
                <a:path w="732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732" y="1"/>
                  </a:lnTo>
                  <a:lnTo>
                    <a:pt x="732" y="1"/>
                  </a:lnTo>
                  <a:lnTo>
                    <a:pt x="732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783D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1" name="Google Shape;1161;p16"/>
            <p:cNvSpPr/>
            <p:nvPr/>
          </p:nvSpPr>
          <p:spPr>
            <a:xfrm>
              <a:off x="6790625" y="4852175"/>
              <a:ext cx="18300" cy="25"/>
            </a:xfrm>
            <a:custGeom>
              <a:avLst/>
              <a:gdLst/>
              <a:ahLst/>
              <a:cxnLst/>
              <a:rect l="l" t="t" r="r" b="b"/>
              <a:pathLst>
                <a:path w="732" h="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732" y="1"/>
                  </a:lnTo>
                  <a:lnTo>
                    <a:pt x="732" y="1"/>
                  </a:lnTo>
                  <a:lnTo>
                    <a:pt x="732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2" name="Google Shape;1162;p16"/>
            <p:cNvSpPr/>
            <p:nvPr/>
          </p:nvSpPr>
          <p:spPr>
            <a:xfrm>
              <a:off x="6549850" y="4356925"/>
              <a:ext cx="733000" cy="495275"/>
            </a:xfrm>
            <a:custGeom>
              <a:avLst/>
              <a:gdLst/>
              <a:ahLst/>
              <a:cxnLst/>
              <a:rect l="l" t="t" r="r" b="b"/>
              <a:pathLst>
                <a:path w="29320" h="19811" extrusionOk="0">
                  <a:moveTo>
                    <a:pt x="28892" y="1"/>
                  </a:moveTo>
                  <a:lnTo>
                    <a:pt x="28283" y="1403"/>
                  </a:lnTo>
                  <a:lnTo>
                    <a:pt x="27612" y="2683"/>
                  </a:lnTo>
                  <a:lnTo>
                    <a:pt x="26881" y="3902"/>
                  </a:lnTo>
                  <a:lnTo>
                    <a:pt x="26149" y="5060"/>
                  </a:lnTo>
                  <a:lnTo>
                    <a:pt x="25418" y="6157"/>
                  </a:lnTo>
                  <a:lnTo>
                    <a:pt x="24626" y="7132"/>
                  </a:lnTo>
                  <a:lnTo>
                    <a:pt x="23833" y="8108"/>
                  </a:lnTo>
                  <a:lnTo>
                    <a:pt x="22980" y="8961"/>
                  </a:lnTo>
                  <a:lnTo>
                    <a:pt x="22127" y="9814"/>
                  </a:lnTo>
                  <a:lnTo>
                    <a:pt x="21273" y="10607"/>
                  </a:lnTo>
                  <a:lnTo>
                    <a:pt x="20359" y="11277"/>
                  </a:lnTo>
                  <a:lnTo>
                    <a:pt x="19506" y="11948"/>
                  </a:lnTo>
                  <a:lnTo>
                    <a:pt x="18591" y="12557"/>
                  </a:lnTo>
                  <a:lnTo>
                    <a:pt x="17677" y="13106"/>
                  </a:lnTo>
                  <a:lnTo>
                    <a:pt x="16763" y="13593"/>
                  </a:lnTo>
                  <a:lnTo>
                    <a:pt x="15848" y="14081"/>
                  </a:lnTo>
                  <a:lnTo>
                    <a:pt x="14934" y="14508"/>
                  </a:lnTo>
                  <a:lnTo>
                    <a:pt x="14020" y="14873"/>
                  </a:lnTo>
                  <a:lnTo>
                    <a:pt x="12252" y="15483"/>
                  </a:lnTo>
                  <a:lnTo>
                    <a:pt x="10484" y="15971"/>
                  </a:lnTo>
                  <a:lnTo>
                    <a:pt x="8778" y="16336"/>
                  </a:lnTo>
                  <a:lnTo>
                    <a:pt x="7193" y="16580"/>
                  </a:lnTo>
                  <a:lnTo>
                    <a:pt x="5730" y="16763"/>
                  </a:lnTo>
                  <a:lnTo>
                    <a:pt x="4328" y="16824"/>
                  </a:lnTo>
                  <a:lnTo>
                    <a:pt x="3109" y="16885"/>
                  </a:lnTo>
                  <a:lnTo>
                    <a:pt x="1829" y="16824"/>
                  </a:lnTo>
                  <a:lnTo>
                    <a:pt x="854" y="16763"/>
                  </a:lnTo>
                  <a:lnTo>
                    <a:pt x="0" y="16641"/>
                  </a:lnTo>
                  <a:lnTo>
                    <a:pt x="0" y="16702"/>
                  </a:lnTo>
                  <a:lnTo>
                    <a:pt x="610" y="17129"/>
                  </a:lnTo>
                  <a:lnTo>
                    <a:pt x="1219" y="17494"/>
                  </a:lnTo>
                  <a:lnTo>
                    <a:pt x="1829" y="17860"/>
                  </a:lnTo>
                  <a:lnTo>
                    <a:pt x="2499" y="18226"/>
                  </a:lnTo>
                  <a:lnTo>
                    <a:pt x="3231" y="18531"/>
                  </a:lnTo>
                  <a:lnTo>
                    <a:pt x="3962" y="18774"/>
                  </a:lnTo>
                  <a:lnTo>
                    <a:pt x="5486" y="19201"/>
                  </a:lnTo>
                  <a:lnTo>
                    <a:pt x="6583" y="19445"/>
                  </a:lnTo>
                  <a:lnTo>
                    <a:pt x="8107" y="19689"/>
                  </a:lnTo>
                  <a:lnTo>
                    <a:pt x="9631" y="19811"/>
                  </a:lnTo>
                  <a:lnTo>
                    <a:pt x="12435" y="19811"/>
                  </a:lnTo>
                  <a:lnTo>
                    <a:pt x="13898" y="19689"/>
                  </a:lnTo>
                  <a:lnTo>
                    <a:pt x="14873" y="19567"/>
                  </a:lnTo>
                  <a:lnTo>
                    <a:pt x="15178" y="19506"/>
                  </a:lnTo>
                  <a:lnTo>
                    <a:pt x="16336" y="19262"/>
                  </a:lnTo>
                  <a:lnTo>
                    <a:pt x="17433" y="19018"/>
                  </a:lnTo>
                  <a:lnTo>
                    <a:pt x="18835" y="18592"/>
                  </a:lnTo>
                  <a:lnTo>
                    <a:pt x="20176" y="18043"/>
                  </a:lnTo>
                  <a:lnTo>
                    <a:pt x="20907" y="17616"/>
                  </a:lnTo>
                  <a:lnTo>
                    <a:pt x="21761" y="17190"/>
                  </a:lnTo>
                  <a:lnTo>
                    <a:pt x="22553" y="16641"/>
                  </a:lnTo>
                  <a:lnTo>
                    <a:pt x="23285" y="16092"/>
                  </a:lnTo>
                  <a:lnTo>
                    <a:pt x="24016" y="15544"/>
                  </a:lnTo>
                  <a:lnTo>
                    <a:pt x="24687" y="14812"/>
                  </a:lnTo>
                  <a:lnTo>
                    <a:pt x="25357" y="14142"/>
                  </a:lnTo>
                  <a:lnTo>
                    <a:pt x="26028" y="13411"/>
                  </a:lnTo>
                  <a:lnTo>
                    <a:pt x="26576" y="12618"/>
                  </a:lnTo>
                  <a:lnTo>
                    <a:pt x="27064" y="11826"/>
                  </a:lnTo>
                  <a:lnTo>
                    <a:pt x="27551" y="10972"/>
                  </a:lnTo>
                  <a:lnTo>
                    <a:pt x="27917" y="10119"/>
                  </a:lnTo>
                  <a:lnTo>
                    <a:pt x="28283" y="9266"/>
                  </a:lnTo>
                  <a:lnTo>
                    <a:pt x="28588" y="8412"/>
                  </a:lnTo>
                  <a:lnTo>
                    <a:pt x="28831" y="7559"/>
                  </a:lnTo>
                  <a:lnTo>
                    <a:pt x="29075" y="6645"/>
                  </a:lnTo>
                  <a:lnTo>
                    <a:pt x="29197" y="5791"/>
                  </a:lnTo>
                  <a:lnTo>
                    <a:pt x="29319" y="4877"/>
                  </a:lnTo>
                  <a:lnTo>
                    <a:pt x="29319" y="4024"/>
                  </a:lnTo>
                  <a:lnTo>
                    <a:pt x="29319" y="3170"/>
                  </a:lnTo>
                  <a:lnTo>
                    <a:pt x="29258" y="2256"/>
                  </a:lnTo>
                  <a:lnTo>
                    <a:pt x="29197" y="1525"/>
                  </a:lnTo>
                  <a:lnTo>
                    <a:pt x="28953" y="306"/>
                  </a:lnTo>
                  <a:lnTo>
                    <a:pt x="28892" y="1"/>
                  </a:lnTo>
                  <a:close/>
                </a:path>
              </a:pathLst>
            </a:custGeom>
            <a:solidFill>
              <a:srgbClr val="52873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63" name="Google Shape;1163;p16"/>
          <p:cNvGrpSpPr/>
          <p:nvPr/>
        </p:nvGrpSpPr>
        <p:grpSpPr>
          <a:xfrm>
            <a:off x="4664893" y="4150665"/>
            <a:ext cx="269857" cy="741043"/>
            <a:chOff x="6510225" y="1941650"/>
            <a:chExt cx="751275" cy="1662525"/>
          </a:xfrm>
        </p:grpSpPr>
        <p:sp>
          <p:nvSpPr>
            <p:cNvPr id="1164" name="Google Shape;1164;p16"/>
            <p:cNvSpPr/>
            <p:nvPr/>
          </p:nvSpPr>
          <p:spPr>
            <a:xfrm>
              <a:off x="6865275" y="2167175"/>
              <a:ext cx="59450" cy="1437000"/>
            </a:xfrm>
            <a:custGeom>
              <a:avLst/>
              <a:gdLst/>
              <a:ahLst/>
              <a:cxnLst/>
              <a:rect l="l" t="t" r="r" b="b"/>
              <a:pathLst>
                <a:path w="2378" h="57480" extrusionOk="0">
                  <a:moveTo>
                    <a:pt x="1525" y="1"/>
                  </a:moveTo>
                  <a:lnTo>
                    <a:pt x="1342" y="122"/>
                  </a:lnTo>
                  <a:lnTo>
                    <a:pt x="1220" y="244"/>
                  </a:lnTo>
                  <a:lnTo>
                    <a:pt x="1159" y="488"/>
                  </a:lnTo>
                  <a:lnTo>
                    <a:pt x="915" y="9692"/>
                  </a:lnTo>
                  <a:lnTo>
                    <a:pt x="793" y="18835"/>
                  </a:lnTo>
                  <a:lnTo>
                    <a:pt x="671" y="19018"/>
                  </a:lnTo>
                  <a:lnTo>
                    <a:pt x="671" y="19201"/>
                  </a:lnTo>
                  <a:lnTo>
                    <a:pt x="62" y="34927"/>
                  </a:lnTo>
                  <a:lnTo>
                    <a:pt x="1" y="37975"/>
                  </a:lnTo>
                  <a:lnTo>
                    <a:pt x="1" y="40961"/>
                  </a:lnTo>
                  <a:lnTo>
                    <a:pt x="1" y="43948"/>
                  </a:lnTo>
                  <a:lnTo>
                    <a:pt x="1" y="46935"/>
                  </a:lnTo>
                  <a:lnTo>
                    <a:pt x="123" y="51994"/>
                  </a:lnTo>
                  <a:lnTo>
                    <a:pt x="306" y="57053"/>
                  </a:lnTo>
                  <a:lnTo>
                    <a:pt x="306" y="57175"/>
                  </a:lnTo>
                  <a:lnTo>
                    <a:pt x="427" y="57236"/>
                  </a:lnTo>
                  <a:lnTo>
                    <a:pt x="610" y="57419"/>
                  </a:lnTo>
                  <a:lnTo>
                    <a:pt x="976" y="57480"/>
                  </a:lnTo>
                  <a:lnTo>
                    <a:pt x="1707" y="57480"/>
                  </a:lnTo>
                  <a:lnTo>
                    <a:pt x="2073" y="57419"/>
                  </a:lnTo>
                  <a:lnTo>
                    <a:pt x="2256" y="57236"/>
                  </a:lnTo>
                  <a:lnTo>
                    <a:pt x="2317" y="57175"/>
                  </a:lnTo>
                  <a:lnTo>
                    <a:pt x="2378" y="57053"/>
                  </a:lnTo>
                  <a:lnTo>
                    <a:pt x="2012" y="46020"/>
                  </a:lnTo>
                  <a:lnTo>
                    <a:pt x="1890" y="34988"/>
                  </a:lnTo>
                  <a:lnTo>
                    <a:pt x="1829" y="23955"/>
                  </a:lnTo>
                  <a:lnTo>
                    <a:pt x="1951" y="12984"/>
                  </a:lnTo>
                  <a:lnTo>
                    <a:pt x="2073" y="6705"/>
                  </a:lnTo>
                  <a:lnTo>
                    <a:pt x="2256" y="488"/>
                  </a:lnTo>
                  <a:lnTo>
                    <a:pt x="2195" y="244"/>
                  </a:lnTo>
                  <a:lnTo>
                    <a:pt x="2073" y="122"/>
                  </a:lnTo>
                  <a:lnTo>
                    <a:pt x="1951" y="1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5" name="Google Shape;1165;p16"/>
            <p:cNvSpPr/>
            <p:nvPr/>
          </p:nvSpPr>
          <p:spPr>
            <a:xfrm>
              <a:off x="6865275" y="2167175"/>
              <a:ext cx="59450" cy="1437000"/>
            </a:xfrm>
            <a:custGeom>
              <a:avLst/>
              <a:gdLst/>
              <a:ahLst/>
              <a:cxnLst/>
              <a:rect l="l" t="t" r="r" b="b"/>
              <a:pathLst>
                <a:path w="2378" h="57480" fill="none" extrusionOk="0">
                  <a:moveTo>
                    <a:pt x="1890" y="34988"/>
                  </a:moveTo>
                  <a:lnTo>
                    <a:pt x="1890" y="34988"/>
                  </a:lnTo>
                  <a:lnTo>
                    <a:pt x="1829" y="23955"/>
                  </a:lnTo>
                  <a:lnTo>
                    <a:pt x="1951" y="12984"/>
                  </a:lnTo>
                  <a:lnTo>
                    <a:pt x="1951" y="12984"/>
                  </a:lnTo>
                  <a:lnTo>
                    <a:pt x="2073" y="6705"/>
                  </a:lnTo>
                  <a:lnTo>
                    <a:pt x="2256" y="488"/>
                  </a:lnTo>
                  <a:lnTo>
                    <a:pt x="2256" y="488"/>
                  </a:lnTo>
                  <a:lnTo>
                    <a:pt x="2195" y="244"/>
                  </a:lnTo>
                  <a:lnTo>
                    <a:pt x="2073" y="122"/>
                  </a:lnTo>
                  <a:lnTo>
                    <a:pt x="1951" y="1"/>
                  </a:lnTo>
                  <a:lnTo>
                    <a:pt x="1707" y="1"/>
                  </a:lnTo>
                  <a:lnTo>
                    <a:pt x="1525" y="1"/>
                  </a:lnTo>
                  <a:lnTo>
                    <a:pt x="1342" y="122"/>
                  </a:lnTo>
                  <a:lnTo>
                    <a:pt x="1220" y="244"/>
                  </a:lnTo>
                  <a:lnTo>
                    <a:pt x="1159" y="488"/>
                  </a:lnTo>
                  <a:lnTo>
                    <a:pt x="1159" y="488"/>
                  </a:lnTo>
                  <a:lnTo>
                    <a:pt x="915" y="9692"/>
                  </a:lnTo>
                  <a:lnTo>
                    <a:pt x="793" y="18835"/>
                  </a:lnTo>
                  <a:lnTo>
                    <a:pt x="793" y="18835"/>
                  </a:lnTo>
                  <a:lnTo>
                    <a:pt x="671" y="19018"/>
                  </a:lnTo>
                  <a:lnTo>
                    <a:pt x="671" y="19201"/>
                  </a:lnTo>
                  <a:lnTo>
                    <a:pt x="671" y="19201"/>
                  </a:lnTo>
                  <a:lnTo>
                    <a:pt x="62" y="34927"/>
                  </a:lnTo>
                  <a:lnTo>
                    <a:pt x="62" y="34927"/>
                  </a:lnTo>
                  <a:lnTo>
                    <a:pt x="1" y="37975"/>
                  </a:lnTo>
                  <a:lnTo>
                    <a:pt x="1" y="40961"/>
                  </a:lnTo>
                  <a:lnTo>
                    <a:pt x="1" y="43948"/>
                  </a:lnTo>
                  <a:lnTo>
                    <a:pt x="1" y="46935"/>
                  </a:lnTo>
                  <a:lnTo>
                    <a:pt x="1" y="46935"/>
                  </a:lnTo>
                  <a:lnTo>
                    <a:pt x="123" y="51994"/>
                  </a:lnTo>
                  <a:lnTo>
                    <a:pt x="306" y="57053"/>
                  </a:lnTo>
                  <a:lnTo>
                    <a:pt x="306" y="57053"/>
                  </a:lnTo>
                  <a:lnTo>
                    <a:pt x="306" y="57175"/>
                  </a:lnTo>
                  <a:lnTo>
                    <a:pt x="427" y="57236"/>
                  </a:lnTo>
                  <a:lnTo>
                    <a:pt x="610" y="57419"/>
                  </a:lnTo>
                  <a:lnTo>
                    <a:pt x="976" y="57480"/>
                  </a:lnTo>
                  <a:lnTo>
                    <a:pt x="1342" y="57480"/>
                  </a:lnTo>
                  <a:lnTo>
                    <a:pt x="1707" y="57480"/>
                  </a:lnTo>
                  <a:lnTo>
                    <a:pt x="2073" y="57419"/>
                  </a:lnTo>
                  <a:lnTo>
                    <a:pt x="2256" y="57236"/>
                  </a:lnTo>
                  <a:lnTo>
                    <a:pt x="2317" y="57175"/>
                  </a:lnTo>
                  <a:lnTo>
                    <a:pt x="2378" y="57053"/>
                  </a:lnTo>
                  <a:lnTo>
                    <a:pt x="2378" y="57053"/>
                  </a:lnTo>
                  <a:lnTo>
                    <a:pt x="2012" y="46020"/>
                  </a:lnTo>
                  <a:lnTo>
                    <a:pt x="1890" y="34988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6" name="Google Shape;1166;p16"/>
            <p:cNvSpPr/>
            <p:nvPr/>
          </p:nvSpPr>
          <p:spPr>
            <a:xfrm>
              <a:off x="6894225" y="2778225"/>
              <a:ext cx="190525" cy="99075"/>
            </a:xfrm>
            <a:custGeom>
              <a:avLst/>
              <a:gdLst/>
              <a:ahLst/>
              <a:cxnLst/>
              <a:rect l="l" t="t" r="r" b="b"/>
              <a:pathLst>
                <a:path w="7621" h="3963" extrusionOk="0">
                  <a:moveTo>
                    <a:pt x="306" y="1"/>
                  </a:moveTo>
                  <a:lnTo>
                    <a:pt x="184" y="62"/>
                  </a:lnTo>
                  <a:lnTo>
                    <a:pt x="62" y="184"/>
                  </a:lnTo>
                  <a:lnTo>
                    <a:pt x="1" y="245"/>
                  </a:lnTo>
                  <a:lnTo>
                    <a:pt x="1" y="367"/>
                  </a:lnTo>
                  <a:lnTo>
                    <a:pt x="62" y="428"/>
                  </a:lnTo>
                  <a:lnTo>
                    <a:pt x="123" y="550"/>
                  </a:lnTo>
                  <a:lnTo>
                    <a:pt x="3658" y="2195"/>
                  </a:lnTo>
                  <a:lnTo>
                    <a:pt x="5426" y="3049"/>
                  </a:lnTo>
                  <a:lnTo>
                    <a:pt x="7193" y="3963"/>
                  </a:lnTo>
                  <a:lnTo>
                    <a:pt x="7376" y="3963"/>
                  </a:lnTo>
                  <a:lnTo>
                    <a:pt x="7559" y="3841"/>
                  </a:lnTo>
                  <a:lnTo>
                    <a:pt x="7620" y="3719"/>
                  </a:lnTo>
                  <a:lnTo>
                    <a:pt x="7620" y="3658"/>
                  </a:lnTo>
                  <a:lnTo>
                    <a:pt x="7559" y="3536"/>
                  </a:lnTo>
                  <a:lnTo>
                    <a:pt x="7437" y="3475"/>
                  </a:lnTo>
                  <a:lnTo>
                    <a:pt x="5731" y="2622"/>
                  </a:lnTo>
                  <a:lnTo>
                    <a:pt x="3963" y="1769"/>
                  </a:lnTo>
                  <a:lnTo>
                    <a:pt x="428" y="62"/>
                  </a:lnTo>
                  <a:lnTo>
                    <a:pt x="306" y="1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7" name="Google Shape;1167;p16"/>
            <p:cNvSpPr/>
            <p:nvPr/>
          </p:nvSpPr>
          <p:spPr>
            <a:xfrm>
              <a:off x="6894225" y="2778225"/>
              <a:ext cx="190525" cy="99075"/>
            </a:xfrm>
            <a:custGeom>
              <a:avLst/>
              <a:gdLst/>
              <a:ahLst/>
              <a:cxnLst/>
              <a:rect l="l" t="t" r="r" b="b"/>
              <a:pathLst>
                <a:path w="7621" h="3963" fill="none" extrusionOk="0">
                  <a:moveTo>
                    <a:pt x="123" y="550"/>
                  </a:moveTo>
                  <a:lnTo>
                    <a:pt x="123" y="550"/>
                  </a:lnTo>
                  <a:lnTo>
                    <a:pt x="3658" y="2195"/>
                  </a:lnTo>
                  <a:lnTo>
                    <a:pt x="5426" y="3049"/>
                  </a:lnTo>
                  <a:lnTo>
                    <a:pt x="7193" y="3963"/>
                  </a:lnTo>
                  <a:lnTo>
                    <a:pt x="7193" y="3963"/>
                  </a:lnTo>
                  <a:lnTo>
                    <a:pt x="7315" y="3963"/>
                  </a:lnTo>
                  <a:lnTo>
                    <a:pt x="7376" y="3963"/>
                  </a:lnTo>
                  <a:lnTo>
                    <a:pt x="7559" y="3841"/>
                  </a:lnTo>
                  <a:lnTo>
                    <a:pt x="7620" y="3719"/>
                  </a:lnTo>
                  <a:lnTo>
                    <a:pt x="7620" y="3658"/>
                  </a:lnTo>
                  <a:lnTo>
                    <a:pt x="7559" y="3536"/>
                  </a:lnTo>
                  <a:lnTo>
                    <a:pt x="7437" y="3475"/>
                  </a:lnTo>
                  <a:lnTo>
                    <a:pt x="7437" y="3475"/>
                  </a:lnTo>
                  <a:lnTo>
                    <a:pt x="5731" y="2622"/>
                  </a:lnTo>
                  <a:lnTo>
                    <a:pt x="3963" y="1769"/>
                  </a:lnTo>
                  <a:lnTo>
                    <a:pt x="428" y="62"/>
                  </a:lnTo>
                  <a:lnTo>
                    <a:pt x="428" y="62"/>
                  </a:lnTo>
                  <a:lnTo>
                    <a:pt x="306" y="1"/>
                  </a:lnTo>
                  <a:lnTo>
                    <a:pt x="184" y="62"/>
                  </a:lnTo>
                  <a:lnTo>
                    <a:pt x="62" y="184"/>
                  </a:lnTo>
                  <a:lnTo>
                    <a:pt x="1" y="245"/>
                  </a:lnTo>
                  <a:lnTo>
                    <a:pt x="1" y="367"/>
                  </a:lnTo>
                  <a:lnTo>
                    <a:pt x="62" y="428"/>
                  </a:lnTo>
                  <a:lnTo>
                    <a:pt x="123" y="55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8" name="Google Shape;1168;p16"/>
            <p:cNvSpPr/>
            <p:nvPr/>
          </p:nvSpPr>
          <p:spPr>
            <a:xfrm>
              <a:off x="6959750" y="2811750"/>
              <a:ext cx="57950" cy="106700"/>
            </a:xfrm>
            <a:custGeom>
              <a:avLst/>
              <a:gdLst/>
              <a:ahLst/>
              <a:cxnLst/>
              <a:rect l="l" t="t" r="r" b="b"/>
              <a:pathLst>
                <a:path w="2318" h="4268" extrusionOk="0">
                  <a:moveTo>
                    <a:pt x="184" y="1"/>
                  </a:moveTo>
                  <a:lnTo>
                    <a:pt x="1" y="184"/>
                  </a:lnTo>
                  <a:lnTo>
                    <a:pt x="1" y="245"/>
                  </a:lnTo>
                  <a:lnTo>
                    <a:pt x="62" y="367"/>
                  </a:lnTo>
                  <a:lnTo>
                    <a:pt x="976" y="2256"/>
                  </a:lnTo>
                  <a:lnTo>
                    <a:pt x="1830" y="4146"/>
                  </a:lnTo>
                  <a:lnTo>
                    <a:pt x="1890" y="4207"/>
                  </a:lnTo>
                  <a:lnTo>
                    <a:pt x="2012" y="4268"/>
                  </a:lnTo>
                  <a:lnTo>
                    <a:pt x="2195" y="4268"/>
                  </a:lnTo>
                  <a:lnTo>
                    <a:pt x="2317" y="4085"/>
                  </a:lnTo>
                  <a:lnTo>
                    <a:pt x="2317" y="3963"/>
                  </a:lnTo>
                  <a:lnTo>
                    <a:pt x="2317" y="3841"/>
                  </a:lnTo>
                  <a:lnTo>
                    <a:pt x="1464" y="1951"/>
                  </a:lnTo>
                  <a:lnTo>
                    <a:pt x="489" y="123"/>
                  </a:lnTo>
                  <a:lnTo>
                    <a:pt x="428" y="1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9" name="Google Shape;1169;p16"/>
            <p:cNvSpPr/>
            <p:nvPr/>
          </p:nvSpPr>
          <p:spPr>
            <a:xfrm>
              <a:off x="6738800" y="2545100"/>
              <a:ext cx="164600" cy="92975"/>
            </a:xfrm>
            <a:custGeom>
              <a:avLst/>
              <a:gdLst/>
              <a:ahLst/>
              <a:cxnLst/>
              <a:rect l="l" t="t" r="r" b="b"/>
              <a:pathLst>
                <a:path w="6584" h="3719" extrusionOk="0">
                  <a:moveTo>
                    <a:pt x="6340" y="0"/>
                  </a:moveTo>
                  <a:lnTo>
                    <a:pt x="6218" y="61"/>
                  </a:lnTo>
                  <a:lnTo>
                    <a:pt x="4755" y="914"/>
                  </a:lnTo>
                  <a:lnTo>
                    <a:pt x="3231" y="1707"/>
                  </a:lnTo>
                  <a:lnTo>
                    <a:pt x="1707" y="2499"/>
                  </a:lnTo>
                  <a:lnTo>
                    <a:pt x="123" y="3170"/>
                  </a:lnTo>
                  <a:lnTo>
                    <a:pt x="62" y="3292"/>
                  </a:lnTo>
                  <a:lnTo>
                    <a:pt x="1" y="3352"/>
                  </a:lnTo>
                  <a:lnTo>
                    <a:pt x="1" y="3413"/>
                  </a:lnTo>
                  <a:lnTo>
                    <a:pt x="62" y="3535"/>
                  </a:lnTo>
                  <a:lnTo>
                    <a:pt x="183" y="3657"/>
                  </a:lnTo>
                  <a:lnTo>
                    <a:pt x="305" y="3718"/>
                  </a:lnTo>
                  <a:lnTo>
                    <a:pt x="427" y="3657"/>
                  </a:lnTo>
                  <a:lnTo>
                    <a:pt x="1951" y="2926"/>
                  </a:lnTo>
                  <a:lnTo>
                    <a:pt x="3475" y="2194"/>
                  </a:lnTo>
                  <a:lnTo>
                    <a:pt x="4999" y="1341"/>
                  </a:lnTo>
                  <a:lnTo>
                    <a:pt x="6462" y="488"/>
                  </a:lnTo>
                  <a:lnTo>
                    <a:pt x="6584" y="427"/>
                  </a:lnTo>
                  <a:lnTo>
                    <a:pt x="6584" y="366"/>
                  </a:lnTo>
                  <a:lnTo>
                    <a:pt x="6584" y="244"/>
                  </a:lnTo>
                  <a:lnTo>
                    <a:pt x="6584" y="122"/>
                  </a:lnTo>
                  <a:lnTo>
                    <a:pt x="6523" y="61"/>
                  </a:lnTo>
                  <a:lnTo>
                    <a:pt x="6401" y="0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0" name="Google Shape;1170;p16"/>
            <p:cNvSpPr/>
            <p:nvPr/>
          </p:nvSpPr>
          <p:spPr>
            <a:xfrm>
              <a:off x="6808900" y="2564900"/>
              <a:ext cx="64025" cy="117350"/>
            </a:xfrm>
            <a:custGeom>
              <a:avLst/>
              <a:gdLst/>
              <a:ahLst/>
              <a:cxnLst/>
              <a:rect l="l" t="t" r="r" b="b"/>
              <a:pathLst>
                <a:path w="2561" h="4694" extrusionOk="0">
                  <a:moveTo>
                    <a:pt x="2134" y="0"/>
                  </a:moveTo>
                  <a:lnTo>
                    <a:pt x="2073" y="122"/>
                  </a:lnTo>
                  <a:lnTo>
                    <a:pt x="1" y="4267"/>
                  </a:lnTo>
                  <a:lnTo>
                    <a:pt x="1" y="4389"/>
                  </a:lnTo>
                  <a:lnTo>
                    <a:pt x="1" y="4511"/>
                  </a:lnTo>
                  <a:lnTo>
                    <a:pt x="122" y="4633"/>
                  </a:lnTo>
                  <a:lnTo>
                    <a:pt x="244" y="4694"/>
                  </a:lnTo>
                  <a:lnTo>
                    <a:pt x="305" y="4694"/>
                  </a:lnTo>
                  <a:lnTo>
                    <a:pt x="427" y="4633"/>
                  </a:lnTo>
                  <a:lnTo>
                    <a:pt x="488" y="4572"/>
                  </a:lnTo>
                  <a:lnTo>
                    <a:pt x="2561" y="366"/>
                  </a:lnTo>
                  <a:lnTo>
                    <a:pt x="2561" y="244"/>
                  </a:lnTo>
                  <a:lnTo>
                    <a:pt x="2561" y="183"/>
                  </a:lnTo>
                  <a:lnTo>
                    <a:pt x="2439" y="0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1" name="Google Shape;1171;p16"/>
            <p:cNvSpPr/>
            <p:nvPr/>
          </p:nvSpPr>
          <p:spPr>
            <a:xfrm>
              <a:off x="6808900" y="2564900"/>
              <a:ext cx="64025" cy="117350"/>
            </a:xfrm>
            <a:custGeom>
              <a:avLst/>
              <a:gdLst/>
              <a:ahLst/>
              <a:cxnLst/>
              <a:rect l="l" t="t" r="r" b="b"/>
              <a:pathLst>
                <a:path w="2561" h="4694" fill="none" extrusionOk="0">
                  <a:moveTo>
                    <a:pt x="488" y="4572"/>
                  </a:moveTo>
                  <a:lnTo>
                    <a:pt x="488" y="4572"/>
                  </a:lnTo>
                  <a:lnTo>
                    <a:pt x="2561" y="366"/>
                  </a:lnTo>
                  <a:lnTo>
                    <a:pt x="2561" y="366"/>
                  </a:lnTo>
                  <a:lnTo>
                    <a:pt x="2561" y="244"/>
                  </a:lnTo>
                  <a:lnTo>
                    <a:pt x="2561" y="183"/>
                  </a:lnTo>
                  <a:lnTo>
                    <a:pt x="2439" y="0"/>
                  </a:lnTo>
                  <a:lnTo>
                    <a:pt x="2317" y="0"/>
                  </a:lnTo>
                  <a:lnTo>
                    <a:pt x="2195" y="0"/>
                  </a:lnTo>
                  <a:lnTo>
                    <a:pt x="2134" y="0"/>
                  </a:lnTo>
                  <a:lnTo>
                    <a:pt x="2073" y="122"/>
                  </a:lnTo>
                  <a:lnTo>
                    <a:pt x="2073" y="122"/>
                  </a:lnTo>
                  <a:lnTo>
                    <a:pt x="1" y="4267"/>
                  </a:lnTo>
                  <a:lnTo>
                    <a:pt x="1" y="4267"/>
                  </a:lnTo>
                  <a:lnTo>
                    <a:pt x="1" y="4389"/>
                  </a:lnTo>
                  <a:lnTo>
                    <a:pt x="1" y="4511"/>
                  </a:lnTo>
                  <a:lnTo>
                    <a:pt x="122" y="4633"/>
                  </a:lnTo>
                  <a:lnTo>
                    <a:pt x="244" y="4694"/>
                  </a:lnTo>
                  <a:lnTo>
                    <a:pt x="305" y="4694"/>
                  </a:lnTo>
                  <a:lnTo>
                    <a:pt x="427" y="4633"/>
                  </a:lnTo>
                  <a:lnTo>
                    <a:pt x="488" y="4572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2" name="Google Shape;1172;p16"/>
            <p:cNvSpPr/>
            <p:nvPr/>
          </p:nvSpPr>
          <p:spPr>
            <a:xfrm>
              <a:off x="6888150" y="2276900"/>
              <a:ext cx="86875" cy="77725"/>
            </a:xfrm>
            <a:custGeom>
              <a:avLst/>
              <a:gdLst/>
              <a:ahLst/>
              <a:cxnLst/>
              <a:rect l="l" t="t" r="r" b="b"/>
              <a:pathLst>
                <a:path w="3475" h="3109" extrusionOk="0">
                  <a:moveTo>
                    <a:pt x="305" y="0"/>
                  </a:moveTo>
                  <a:lnTo>
                    <a:pt x="122" y="61"/>
                  </a:lnTo>
                  <a:lnTo>
                    <a:pt x="61" y="183"/>
                  </a:lnTo>
                  <a:lnTo>
                    <a:pt x="0" y="244"/>
                  </a:lnTo>
                  <a:lnTo>
                    <a:pt x="61" y="366"/>
                  </a:lnTo>
                  <a:lnTo>
                    <a:pt x="122" y="427"/>
                  </a:lnTo>
                  <a:lnTo>
                    <a:pt x="2987" y="3048"/>
                  </a:lnTo>
                  <a:lnTo>
                    <a:pt x="3109" y="3109"/>
                  </a:lnTo>
                  <a:lnTo>
                    <a:pt x="3231" y="3109"/>
                  </a:lnTo>
                  <a:lnTo>
                    <a:pt x="3413" y="3048"/>
                  </a:lnTo>
                  <a:lnTo>
                    <a:pt x="3474" y="2926"/>
                  </a:lnTo>
                  <a:lnTo>
                    <a:pt x="3474" y="2865"/>
                  </a:lnTo>
                  <a:lnTo>
                    <a:pt x="3474" y="2743"/>
                  </a:lnTo>
                  <a:lnTo>
                    <a:pt x="3413" y="2682"/>
                  </a:lnTo>
                  <a:lnTo>
                    <a:pt x="488" y="61"/>
                  </a:lnTo>
                  <a:lnTo>
                    <a:pt x="366" y="0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3" name="Google Shape;1173;p16"/>
            <p:cNvSpPr/>
            <p:nvPr/>
          </p:nvSpPr>
          <p:spPr>
            <a:xfrm>
              <a:off x="6510225" y="1941650"/>
              <a:ext cx="751275" cy="1309000"/>
            </a:xfrm>
            <a:custGeom>
              <a:avLst/>
              <a:gdLst/>
              <a:ahLst/>
              <a:cxnLst/>
              <a:rect l="l" t="t" r="r" b="b"/>
              <a:pathLst>
                <a:path w="30051" h="52360" extrusionOk="0">
                  <a:moveTo>
                    <a:pt x="15300" y="0"/>
                  </a:moveTo>
                  <a:lnTo>
                    <a:pt x="15117" y="61"/>
                  </a:lnTo>
                  <a:lnTo>
                    <a:pt x="14934" y="122"/>
                  </a:lnTo>
                  <a:lnTo>
                    <a:pt x="14812" y="244"/>
                  </a:lnTo>
                  <a:lnTo>
                    <a:pt x="14690" y="488"/>
                  </a:lnTo>
                  <a:lnTo>
                    <a:pt x="13410" y="2865"/>
                  </a:lnTo>
                  <a:lnTo>
                    <a:pt x="11399" y="6949"/>
                  </a:lnTo>
                  <a:lnTo>
                    <a:pt x="11033" y="7742"/>
                  </a:lnTo>
                  <a:lnTo>
                    <a:pt x="10546" y="8534"/>
                  </a:lnTo>
                  <a:lnTo>
                    <a:pt x="9631" y="10180"/>
                  </a:lnTo>
                  <a:lnTo>
                    <a:pt x="9205" y="10911"/>
                  </a:lnTo>
                  <a:lnTo>
                    <a:pt x="8900" y="11643"/>
                  </a:lnTo>
                  <a:lnTo>
                    <a:pt x="8717" y="12313"/>
                  </a:lnTo>
                  <a:lnTo>
                    <a:pt x="8656" y="12618"/>
                  </a:lnTo>
                  <a:lnTo>
                    <a:pt x="8595" y="12862"/>
                  </a:lnTo>
                  <a:lnTo>
                    <a:pt x="8656" y="13105"/>
                  </a:lnTo>
                  <a:lnTo>
                    <a:pt x="8717" y="13288"/>
                  </a:lnTo>
                  <a:lnTo>
                    <a:pt x="8839" y="13471"/>
                  </a:lnTo>
                  <a:lnTo>
                    <a:pt x="8961" y="13654"/>
                  </a:lnTo>
                  <a:lnTo>
                    <a:pt x="9266" y="13898"/>
                  </a:lnTo>
                  <a:lnTo>
                    <a:pt x="9692" y="14081"/>
                  </a:lnTo>
                  <a:lnTo>
                    <a:pt x="10058" y="14264"/>
                  </a:lnTo>
                  <a:lnTo>
                    <a:pt x="10363" y="14325"/>
                  </a:lnTo>
                  <a:lnTo>
                    <a:pt x="10728" y="14385"/>
                  </a:lnTo>
                  <a:lnTo>
                    <a:pt x="10667" y="14568"/>
                  </a:lnTo>
                  <a:lnTo>
                    <a:pt x="10607" y="15117"/>
                  </a:lnTo>
                  <a:lnTo>
                    <a:pt x="10485" y="15422"/>
                  </a:lnTo>
                  <a:lnTo>
                    <a:pt x="10302" y="15848"/>
                  </a:lnTo>
                  <a:lnTo>
                    <a:pt x="10058" y="16214"/>
                  </a:lnTo>
                  <a:lnTo>
                    <a:pt x="9753" y="16641"/>
                  </a:lnTo>
                  <a:lnTo>
                    <a:pt x="8473" y="18226"/>
                  </a:lnTo>
                  <a:lnTo>
                    <a:pt x="6462" y="20786"/>
                  </a:lnTo>
                  <a:lnTo>
                    <a:pt x="5486" y="22188"/>
                  </a:lnTo>
                  <a:lnTo>
                    <a:pt x="4572" y="23468"/>
                  </a:lnTo>
                  <a:lnTo>
                    <a:pt x="3841" y="24565"/>
                  </a:lnTo>
                  <a:lnTo>
                    <a:pt x="3475" y="25296"/>
                  </a:lnTo>
                  <a:lnTo>
                    <a:pt x="3292" y="25845"/>
                  </a:lnTo>
                  <a:lnTo>
                    <a:pt x="3292" y="26393"/>
                  </a:lnTo>
                  <a:lnTo>
                    <a:pt x="3353" y="26637"/>
                  </a:lnTo>
                  <a:lnTo>
                    <a:pt x="3414" y="26942"/>
                  </a:lnTo>
                  <a:lnTo>
                    <a:pt x="3536" y="27186"/>
                  </a:lnTo>
                  <a:lnTo>
                    <a:pt x="3719" y="27430"/>
                  </a:lnTo>
                  <a:lnTo>
                    <a:pt x="3963" y="27673"/>
                  </a:lnTo>
                  <a:lnTo>
                    <a:pt x="4267" y="27856"/>
                  </a:lnTo>
                  <a:lnTo>
                    <a:pt x="4572" y="28100"/>
                  </a:lnTo>
                  <a:lnTo>
                    <a:pt x="4999" y="28283"/>
                  </a:lnTo>
                  <a:lnTo>
                    <a:pt x="5486" y="28466"/>
                  </a:lnTo>
                  <a:lnTo>
                    <a:pt x="6035" y="28649"/>
                  </a:lnTo>
                  <a:lnTo>
                    <a:pt x="7315" y="28953"/>
                  </a:lnTo>
                  <a:lnTo>
                    <a:pt x="4511" y="32915"/>
                  </a:lnTo>
                  <a:lnTo>
                    <a:pt x="2439" y="35841"/>
                  </a:lnTo>
                  <a:lnTo>
                    <a:pt x="1707" y="36999"/>
                  </a:lnTo>
                  <a:lnTo>
                    <a:pt x="1281" y="37670"/>
                  </a:lnTo>
                  <a:lnTo>
                    <a:pt x="1098" y="38096"/>
                  </a:lnTo>
                  <a:lnTo>
                    <a:pt x="1037" y="38523"/>
                  </a:lnTo>
                  <a:lnTo>
                    <a:pt x="1037" y="38889"/>
                  </a:lnTo>
                  <a:lnTo>
                    <a:pt x="1159" y="39194"/>
                  </a:lnTo>
                  <a:lnTo>
                    <a:pt x="1403" y="39498"/>
                  </a:lnTo>
                  <a:lnTo>
                    <a:pt x="1707" y="39803"/>
                  </a:lnTo>
                  <a:lnTo>
                    <a:pt x="2134" y="40047"/>
                  </a:lnTo>
                  <a:lnTo>
                    <a:pt x="2622" y="40230"/>
                  </a:lnTo>
                  <a:lnTo>
                    <a:pt x="3170" y="40352"/>
                  </a:lnTo>
                  <a:lnTo>
                    <a:pt x="3658" y="40474"/>
                  </a:lnTo>
                  <a:lnTo>
                    <a:pt x="4450" y="40535"/>
                  </a:lnTo>
                  <a:lnTo>
                    <a:pt x="5182" y="40535"/>
                  </a:lnTo>
                  <a:lnTo>
                    <a:pt x="2926" y="43521"/>
                  </a:lnTo>
                  <a:lnTo>
                    <a:pt x="1220" y="45898"/>
                  </a:lnTo>
                  <a:lnTo>
                    <a:pt x="549" y="46935"/>
                  </a:lnTo>
                  <a:lnTo>
                    <a:pt x="123" y="47666"/>
                  </a:lnTo>
                  <a:lnTo>
                    <a:pt x="1" y="47971"/>
                  </a:lnTo>
                  <a:lnTo>
                    <a:pt x="1" y="48398"/>
                  </a:lnTo>
                  <a:lnTo>
                    <a:pt x="1" y="48763"/>
                  </a:lnTo>
                  <a:lnTo>
                    <a:pt x="123" y="49190"/>
                  </a:lnTo>
                  <a:lnTo>
                    <a:pt x="305" y="49617"/>
                  </a:lnTo>
                  <a:lnTo>
                    <a:pt x="549" y="50043"/>
                  </a:lnTo>
                  <a:lnTo>
                    <a:pt x="854" y="50470"/>
                  </a:lnTo>
                  <a:lnTo>
                    <a:pt x="1220" y="50897"/>
                  </a:lnTo>
                  <a:lnTo>
                    <a:pt x="1646" y="51262"/>
                  </a:lnTo>
                  <a:lnTo>
                    <a:pt x="2134" y="51628"/>
                  </a:lnTo>
                  <a:lnTo>
                    <a:pt x="2683" y="51933"/>
                  </a:lnTo>
                  <a:lnTo>
                    <a:pt x="3353" y="52116"/>
                  </a:lnTo>
                  <a:lnTo>
                    <a:pt x="4024" y="52299"/>
                  </a:lnTo>
                  <a:lnTo>
                    <a:pt x="4816" y="52360"/>
                  </a:lnTo>
                  <a:lnTo>
                    <a:pt x="5608" y="52360"/>
                  </a:lnTo>
                  <a:lnTo>
                    <a:pt x="6523" y="52238"/>
                  </a:lnTo>
                  <a:lnTo>
                    <a:pt x="7132" y="52116"/>
                  </a:lnTo>
                  <a:lnTo>
                    <a:pt x="7620" y="51933"/>
                  </a:lnTo>
                  <a:lnTo>
                    <a:pt x="8107" y="51750"/>
                  </a:lnTo>
                  <a:lnTo>
                    <a:pt x="8534" y="51506"/>
                  </a:lnTo>
                  <a:lnTo>
                    <a:pt x="9326" y="50958"/>
                  </a:lnTo>
                  <a:lnTo>
                    <a:pt x="9997" y="50470"/>
                  </a:lnTo>
                  <a:lnTo>
                    <a:pt x="10667" y="49921"/>
                  </a:lnTo>
                  <a:lnTo>
                    <a:pt x="11399" y="49556"/>
                  </a:lnTo>
                  <a:lnTo>
                    <a:pt x="11765" y="49373"/>
                  </a:lnTo>
                  <a:lnTo>
                    <a:pt x="12191" y="49251"/>
                  </a:lnTo>
                  <a:lnTo>
                    <a:pt x="12618" y="49190"/>
                  </a:lnTo>
                  <a:lnTo>
                    <a:pt x="13106" y="49190"/>
                  </a:lnTo>
                  <a:lnTo>
                    <a:pt x="13654" y="49251"/>
                  </a:lnTo>
                  <a:lnTo>
                    <a:pt x="14142" y="49373"/>
                  </a:lnTo>
                  <a:lnTo>
                    <a:pt x="15117" y="49617"/>
                  </a:lnTo>
                  <a:lnTo>
                    <a:pt x="15970" y="49921"/>
                  </a:lnTo>
                  <a:lnTo>
                    <a:pt x="16824" y="50287"/>
                  </a:lnTo>
                  <a:lnTo>
                    <a:pt x="17677" y="50531"/>
                  </a:lnTo>
                  <a:lnTo>
                    <a:pt x="18530" y="50775"/>
                  </a:lnTo>
                  <a:lnTo>
                    <a:pt x="18957" y="50775"/>
                  </a:lnTo>
                  <a:lnTo>
                    <a:pt x="19445" y="50836"/>
                  </a:lnTo>
                  <a:lnTo>
                    <a:pt x="19932" y="50775"/>
                  </a:lnTo>
                  <a:lnTo>
                    <a:pt x="20420" y="50714"/>
                  </a:lnTo>
                  <a:lnTo>
                    <a:pt x="20969" y="50592"/>
                  </a:lnTo>
                  <a:lnTo>
                    <a:pt x="21456" y="50409"/>
                  </a:lnTo>
                  <a:lnTo>
                    <a:pt x="21883" y="50165"/>
                  </a:lnTo>
                  <a:lnTo>
                    <a:pt x="22310" y="49921"/>
                  </a:lnTo>
                  <a:lnTo>
                    <a:pt x="23041" y="49434"/>
                  </a:lnTo>
                  <a:lnTo>
                    <a:pt x="23651" y="48885"/>
                  </a:lnTo>
                  <a:lnTo>
                    <a:pt x="24077" y="48337"/>
                  </a:lnTo>
                  <a:lnTo>
                    <a:pt x="24443" y="47849"/>
                  </a:lnTo>
                  <a:lnTo>
                    <a:pt x="24687" y="47422"/>
                  </a:lnTo>
                  <a:lnTo>
                    <a:pt x="25479" y="47544"/>
                  </a:lnTo>
                  <a:lnTo>
                    <a:pt x="26272" y="47605"/>
                  </a:lnTo>
                  <a:lnTo>
                    <a:pt x="27247" y="47605"/>
                  </a:lnTo>
                  <a:lnTo>
                    <a:pt x="27734" y="47544"/>
                  </a:lnTo>
                  <a:lnTo>
                    <a:pt x="28222" y="47483"/>
                  </a:lnTo>
                  <a:lnTo>
                    <a:pt x="28649" y="47361"/>
                  </a:lnTo>
                  <a:lnTo>
                    <a:pt x="29075" y="47178"/>
                  </a:lnTo>
                  <a:lnTo>
                    <a:pt x="29441" y="46935"/>
                  </a:lnTo>
                  <a:lnTo>
                    <a:pt x="29746" y="46630"/>
                  </a:lnTo>
                  <a:lnTo>
                    <a:pt x="29929" y="46325"/>
                  </a:lnTo>
                  <a:lnTo>
                    <a:pt x="30051" y="45898"/>
                  </a:lnTo>
                  <a:lnTo>
                    <a:pt x="30051" y="45350"/>
                  </a:lnTo>
                  <a:lnTo>
                    <a:pt x="29990" y="44679"/>
                  </a:lnTo>
                  <a:lnTo>
                    <a:pt x="29807" y="43948"/>
                  </a:lnTo>
                  <a:lnTo>
                    <a:pt x="29502" y="43156"/>
                  </a:lnTo>
                  <a:lnTo>
                    <a:pt x="28771" y="41388"/>
                  </a:lnTo>
                  <a:lnTo>
                    <a:pt x="27856" y="39559"/>
                  </a:lnTo>
                  <a:lnTo>
                    <a:pt x="26942" y="37853"/>
                  </a:lnTo>
                  <a:lnTo>
                    <a:pt x="26150" y="36390"/>
                  </a:lnTo>
                  <a:lnTo>
                    <a:pt x="25357" y="35049"/>
                  </a:lnTo>
                  <a:lnTo>
                    <a:pt x="25723" y="34805"/>
                  </a:lnTo>
                  <a:lnTo>
                    <a:pt x="26515" y="34195"/>
                  </a:lnTo>
                  <a:lnTo>
                    <a:pt x="26942" y="33830"/>
                  </a:lnTo>
                  <a:lnTo>
                    <a:pt x="27369" y="33342"/>
                  </a:lnTo>
                  <a:lnTo>
                    <a:pt x="27674" y="32854"/>
                  </a:lnTo>
                  <a:lnTo>
                    <a:pt x="27795" y="32611"/>
                  </a:lnTo>
                  <a:lnTo>
                    <a:pt x="27856" y="32306"/>
                  </a:lnTo>
                  <a:lnTo>
                    <a:pt x="27978" y="31818"/>
                  </a:lnTo>
                  <a:lnTo>
                    <a:pt x="27978" y="31392"/>
                  </a:lnTo>
                  <a:lnTo>
                    <a:pt x="27856" y="31026"/>
                  </a:lnTo>
                  <a:lnTo>
                    <a:pt x="27734" y="30721"/>
                  </a:lnTo>
                  <a:lnTo>
                    <a:pt x="27552" y="30416"/>
                  </a:lnTo>
                  <a:lnTo>
                    <a:pt x="27308" y="30111"/>
                  </a:lnTo>
                  <a:lnTo>
                    <a:pt x="26698" y="29502"/>
                  </a:lnTo>
                  <a:lnTo>
                    <a:pt x="25357" y="28100"/>
                  </a:lnTo>
                  <a:lnTo>
                    <a:pt x="23346" y="25784"/>
                  </a:lnTo>
                  <a:lnTo>
                    <a:pt x="20664" y="22736"/>
                  </a:lnTo>
                  <a:lnTo>
                    <a:pt x="21151" y="22492"/>
                  </a:lnTo>
                  <a:lnTo>
                    <a:pt x="22310" y="21883"/>
                  </a:lnTo>
                  <a:lnTo>
                    <a:pt x="22919" y="21517"/>
                  </a:lnTo>
                  <a:lnTo>
                    <a:pt x="23407" y="21090"/>
                  </a:lnTo>
                  <a:lnTo>
                    <a:pt x="23651" y="20908"/>
                  </a:lnTo>
                  <a:lnTo>
                    <a:pt x="23833" y="20664"/>
                  </a:lnTo>
                  <a:lnTo>
                    <a:pt x="23955" y="20420"/>
                  </a:lnTo>
                  <a:lnTo>
                    <a:pt x="24016" y="20237"/>
                  </a:lnTo>
                  <a:lnTo>
                    <a:pt x="24016" y="19749"/>
                  </a:lnTo>
                  <a:lnTo>
                    <a:pt x="23955" y="19384"/>
                  </a:lnTo>
                  <a:lnTo>
                    <a:pt x="23894" y="19018"/>
                  </a:lnTo>
                  <a:lnTo>
                    <a:pt x="23712" y="18652"/>
                  </a:lnTo>
                  <a:lnTo>
                    <a:pt x="23285" y="17982"/>
                  </a:lnTo>
                  <a:lnTo>
                    <a:pt x="22797" y="17311"/>
                  </a:lnTo>
                  <a:lnTo>
                    <a:pt x="20542" y="14446"/>
                  </a:lnTo>
                  <a:lnTo>
                    <a:pt x="19323" y="12862"/>
                  </a:lnTo>
                  <a:lnTo>
                    <a:pt x="18896" y="12313"/>
                  </a:lnTo>
                  <a:lnTo>
                    <a:pt x="18713" y="12008"/>
                  </a:lnTo>
                  <a:lnTo>
                    <a:pt x="18652" y="11825"/>
                  </a:lnTo>
                  <a:lnTo>
                    <a:pt x="18713" y="11582"/>
                  </a:lnTo>
                  <a:lnTo>
                    <a:pt x="18835" y="11216"/>
                  </a:lnTo>
                  <a:lnTo>
                    <a:pt x="19140" y="10789"/>
                  </a:lnTo>
                  <a:lnTo>
                    <a:pt x="19323" y="10606"/>
                  </a:lnTo>
                  <a:lnTo>
                    <a:pt x="19506" y="10424"/>
                  </a:lnTo>
                  <a:lnTo>
                    <a:pt x="19750" y="10302"/>
                  </a:lnTo>
                  <a:lnTo>
                    <a:pt x="19871" y="10058"/>
                  </a:lnTo>
                  <a:lnTo>
                    <a:pt x="19932" y="9814"/>
                  </a:lnTo>
                  <a:lnTo>
                    <a:pt x="19993" y="9570"/>
                  </a:lnTo>
                  <a:lnTo>
                    <a:pt x="19993" y="9265"/>
                  </a:lnTo>
                  <a:lnTo>
                    <a:pt x="19932" y="8961"/>
                  </a:lnTo>
                  <a:lnTo>
                    <a:pt x="19811" y="8656"/>
                  </a:lnTo>
                  <a:lnTo>
                    <a:pt x="19689" y="8351"/>
                  </a:lnTo>
                  <a:lnTo>
                    <a:pt x="17738" y="4328"/>
                  </a:lnTo>
                  <a:lnTo>
                    <a:pt x="15909" y="488"/>
                  </a:lnTo>
                  <a:lnTo>
                    <a:pt x="15788" y="305"/>
                  </a:lnTo>
                  <a:lnTo>
                    <a:pt x="15605" y="122"/>
                  </a:lnTo>
                  <a:lnTo>
                    <a:pt x="15422" y="61"/>
                  </a:lnTo>
                  <a:lnTo>
                    <a:pt x="15300" y="0"/>
                  </a:lnTo>
                  <a:close/>
                </a:path>
              </a:pathLst>
            </a:custGeom>
            <a:solidFill>
              <a:srgbClr val="195C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4" name="Google Shape;1174;p16"/>
            <p:cNvSpPr/>
            <p:nvPr/>
          </p:nvSpPr>
          <p:spPr>
            <a:xfrm>
              <a:off x="6510225" y="1941650"/>
              <a:ext cx="751275" cy="1309000"/>
            </a:xfrm>
            <a:custGeom>
              <a:avLst/>
              <a:gdLst/>
              <a:ahLst/>
              <a:cxnLst/>
              <a:rect l="l" t="t" r="r" b="b"/>
              <a:pathLst>
                <a:path w="30051" h="52360" fill="none" extrusionOk="0">
                  <a:moveTo>
                    <a:pt x="25357" y="35049"/>
                  </a:moveTo>
                  <a:lnTo>
                    <a:pt x="25357" y="35049"/>
                  </a:lnTo>
                  <a:lnTo>
                    <a:pt x="25723" y="34805"/>
                  </a:lnTo>
                  <a:lnTo>
                    <a:pt x="26515" y="34195"/>
                  </a:lnTo>
                  <a:lnTo>
                    <a:pt x="26942" y="33830"/>
                  </a:lnTo>
                  <a:lnTo>
                    <a:pt x="27369" y="33342"/>
                  </a:lnTo>
                  <a:lnTo>
                    <a:pt x="27674" y="32854"/>
                  </a:lnTo>
                  <a:lnTo>
                    <a:pt x="27795" y="32611"/>
                  </a:lnTo>
                  <a:lnTo>
                    <a:pt x="27856" y="32306"/>
                  </a:lnTo>
                  <a:lnTo>
                    <a:pt x="27856" y="32306"/>
                  </a:lnTo>
                  <a:lnTo>
                    <a:pt x="27978" y="31818"/>
                  </a:lnTo>
                  <a:lnTo>
                    <a:pt x="27978" y="31392"/>
                  </a:lnTo>
                  <a:lnTo>
                    <a:pt x="27856" y="31026"/>
                  </a:lnTo>
                  <a:lnTo>
                    <a:pt x="27734" y="30721"/>
                  </a:lnTo>
                  <a:lnTo>
                    <a:pt x="27552" y="30416"/>
                  </a:lnTo>
                  <a:lnTo>
                    <a:pt x="27308" y="30111"/>
                  </a:lnTo>
                  <a:lnTo>
                    <a:pt x="26698" y="29502"/>
                  </a:lnTo>
                  <a:lnTo>
                    <a:pt x="26698" y="29502"/>
                  </a:lnTo>
                  <a:lnTo>
                    <a:pt x="25357" y="28100"/>
                  </a:lnTo>
                  <a:lnTo>
                    <a:pt x="23346" y="25784"/>
                  </a:lnTo>
                  <a:lnTo>
                    <a:pt x="20664" y="22736"/>
                  </a:lnTo>
                  <a:lnTo>
                    <a:pt x="20664" y="22736"/>
                  </a:lnTo>
                  <a:lnTo>
                    <a:pt x="21151" y="22492"/>
                  </a:lnTo>
                  <a:lnTo>
                    <a:pt x="22310" y="21883"/>
                  </a:lnTo>
                  <a:lnTo>
                    <a:pt x="22919" y="21517"/>
                  </a:lnTo>
                  <a:lnTo>
                    <a:pt x="23407" y="21090"/>
                  </a:lnTo>
                  <a:lnTo>
                    <a:pt x="23651" y="20908"/>
                  </a:lnTo>
                  <a:lnTo>
                    <a:pt x="23833" y="20664"/>
                  </a:lnTo>
                  <a:lnTo>
                    <a:pt x="23955" y="20420"/>
                  </a:lnTo>
                  <a:lnTo>
                    <a:pt x="24016" y="20237"/>
                  </a:lnTo>
                  <a:lnTo>
                    <a:pt x="24016" y="20237"/>
                  </a:lnTo>
                  <a:lnTo>
                    <a:pt x="24016" y="19749"/>
                  </a:lnTo>
                  <a:lnTo>
                    <a:pt x="23955" y="19384"/>
                  </a:lnTo>
                  <a:lnTo>
                    <a:pt x="23894" y="19018"/>
                  </a:lnTo>
                  <a:lnTo>
                    <a:pt x="23712" y="18652"/>
                  </a:lnTo>
                  <a:lnTo>
                    <a:pt x="23285" y="17982"/>
                  </a:lnTo>
                  <a:lnTo>
                    <a:pt x="22797" y="17311"/>
                  </a:lnTo>
                  <a:lnTo>
                    <a:pt x="22797" y="17311"/>
                  </a:lnTo>
                  <a:lnTo>
                    <a:pt x="20542" y="14446"/>
                  </a:lnTo>
                  <a:lnTo>
                    <a:pt x="19323" y="12862"/>
                  </a:lnTo>
                  <a:lnTo>
                    <a:pt x="18896" y="12313"/>
                  </a:lnTo>
                  <a:lnTo>
                    <a:pt x="18713" y="12008"/>
                  </a:lnTo>
                  <a:lnTo>
                    <a:pt x="18713" y="12008"/>
                  </a:lnTo>
                  <a:lnTo>
                    <a:pt x="18652" y="11825"/>
                  </a:lnTo>
                  <a:lnTo>
                    <a:pt x="18713" y="11582"/>
                  </a:lnTo>
                  <a:lnTo>
                    <a:pt x="18835" y="11216"/>
                  </a:lnTo>
                  <a:lnTo>
                    <a:pt x="19140" y="10789"/>
                  </a:lnTo>
                  <a:lnTo>
                    <a:pt x="19323" y="10606"/>
                  </a:lnTo>
                  <a:lnTo>
                    <a:pt x="19506" y="10424"/>
                  </a:lnTo>
                  <a:lnTo>
                    <a:pt x="19506" y="10424"/>
                  </a:lnTo>
                  <a:lnTo>
                    <a:pt x="19750" y="10302"/>
                  </a:lnTo>
                  <a:lnTo>
                    <a:pt x="19871" y="10058"/>
                  </a:lnTo>
                  <a:lnTo>
                    <a:pt x="19932" y="9814"/>
                  </a:lnTo>
                  <a:lnTo>
                    <a:pt x="19993" y="9570"/>
                  </a:lnTo>
                  <a:lnTo>
                    <a:pt x="19993" y="9265"/>
                  </a:lnTo>
                  <a:lnTo>
                    <a:pt x="19932" y="8961"/>
                  </a:lnTo>
                  <a:lnTo>
                    <a:pt x="19811" y="8656"/>
                  </a:lnTo>
                  <a:lnTo>
                    <a:pt x="19689" y="8351"/>
                  </a:lnTo>
                  <a:lnTo>
                    <a:pt x="19689" y="8351"/>
                  </a:lnTo>
                  <a:lnTo>
                    <a:pt x="17738" y="4328"/>
                  </a:lnTo>
                  <a:lnTo>
                    <a:pt x="15909" y="488"/>
                  </a:lnTo>
                  <a:lnTo>
                    <a:pt x="15909" y="488"/>
                  </a:lnTo>
                  <a:lnTo>
                    <a:pt x="15788" y="305"/>
                  </a:lnTo>
                  <a:lnTo>
                    <a:pt x="15605" y="122"/>
                  </a:lnTo>
                  <a:lnTo>
                    <a:pt x="15422" y="61"/>
                  </a:lnTo>
                  <a:lnTo>
                    <a:pt x="15300" y="0"/>
                  </a:lnTo>
                  <a:lnTo>
                    <a:pt x="15117" y="61"/>
                  </a:lnTo>
                  <a:lnTo>
                    <a:pt x="14934" y="122"/>
                  </a:lnTo>
                  <a:lnTo>
                    <a:pt x="14812" y="244"/>
                  </a:lnTo>
                  <a:lnTo>
                    <a:pt x="14690" y="488"/>
                  </a:lnTo>
                  <a:lnTo>
                    <a:pt x="14690" y="488"/>
                  </a:lnTo>
                  <a:lnTo>
                    <a:pt x="13410" y="2865"/>
                  </a:lnTo>
                  <a:lnTo>
                    <a:pt x="11399" y="6949"/>
                  </a:lnTo>
                  <a:lnTo>
                    <a:pt x="11399" y="6949"/>
                  </a:lnTo>
                  <a:lnTo>
                    <a:pt x="11033" y="7742"/>
                  </a:lnTo>
                  <a:lnTo>
                    <a:pt x="10546" y="8534"/>
                  </a:lnTo>
                  <a:lnTo>
                    <a:pt x="9631" y="10180"/>
                  </a:lnTo>
                  <a:lnTo>
                    <a:pt x="9205" y="10911"/>
                  </a:lnTo>
                  <a:lnTo>
                    <a:pt x="8900" y="11643"/>
                  </a:lnTo>
                  <a:lnTo>
                    <a:pt x="8717" y="12313"/>
                  </a:lnTo>
                  <a:lnTo>
                    <a:pt x="8656" y="12618"/>
                  </a:lnTo>
                  <a:lnTo>
                    <a:pt x="8595" y="12862"/>
                  </a:lnTo>
                  <a:lnTo>
                    <a:pt x="8595" y="12862"/>
                  </a:lnTo>
                  <a:lnTo>
                    <a:pt x="8656" y="13105"/>
                  </a:lnTo>
                  <a:lnTo>
                    <a:pt x="8717" y="13288"/>
                  </a:lnTo>
                  <a:lnTo>
                    <a:pt x="8839" y="13471"/>
                  </a:lnTo>
                  <a:lnTo>
                    <a:pt x="8961" y="13654"/>
                  </a:lnTo>
                  <a:lnTo>
                    <a:pt x="9266" y="13898"/>
                  </a:lnTo>
                  <a:lnTo>
                    <a:pt x="9692" y="14081"/>
                  </a:lnTo>
                  <a:lnTo>
                    <a:pt x="10058" y="14264"/>
                  </a:lnTo>
                  <a:lnTo>
                    <a:pt x="10363" y="14325"/>
                  </a:lnTo>
                  <a:lnTo>
                    <a:pt x="10728" y="14385"/>
                  </a:lnTo>
                  <a:lnTo>
                    <a:pt x="10728" y="14385"/>
                  </a:lnTo>
                  <a:lnTo>
                    <a:pt x="10667" y="14568"/>
                  </a:lnTo>
                  <a:lnTo>
                    <a:pt x="10607" y="15117"/>
                  </a:lnTo>
                  <a:lnTo>
                    <a:pt x="10485" y="15422"/>
                  </a:lnTo>
                  <a:lnTo>
                    <a:pt x="10302" y="15848"/>
                  </a:lnTo>
                  <a:lnTo>
                    <a:pt x="10058" y="16214"/>
                  </a:lnTo>
                  <a:lnTo>
                    <a:pt x="9753" y="16641"/>
                  </a:lnTo>
                  <a:lnTo>
                    <a:pt x="9753" y="16641"/>
                  </a:lnTo>
                  <a:lnTo>
                    <a:pt x="8473" y="18226"/>
                  </a:lnTo>
                  <a:lnTo>
                    <a:pt x="6462" y="20786"/>
                  </a:lnTo>
                  <a:lnTo>
                    <a:pt x="5486" y="22188"/>
                  </a:lnTo>
                  <a:lnTo>
                    <a:pt x="4572" y="23468"/>
                  </a:lnTo>
                  <a:lnTo>
                    <a:pt x="3841" y="24565"/>
                  </a:lnTo>
                  <a:lnTo>
                    <a:pt x="3475" y="25296"/>
                  </a:lnTo>
                  <a:lnTo>
                    <a:pt x="3475" y="25296"/>
                  </a:lnTo>
                  <a:lnTo>
                    <a:pt x="3292" y="25845"/>
                  </a:lnTo>
                  <a:lnTo>
                    <a:pt x="3292" y="26393"/>
                  </a:lnTo>
                  <a:lnTo>
                    <a:pt x="3353" y="26637"/>
                  </a:lnTo>
                  <a:lnTo>
                    <a:pt x="3414" y="26942"/>
                  </a:lnTo>
                  <a:lnTo>
                    <a:pt x="3536" y="27186"/>
                  </a:lnTo>
                  <a:lnTo>
                    <a:pt x="3719" y="27430"/>
                  </a:lnTo>
                  <a:lnTo>
                    <a:pt x="3963" y="27673"/>
                  </a:lnTo>
                  <a:lnTo>
                    <a:pt x="4267" y="27856"/>
                  </a:lnTo>
                  <a:lnTo>
                    <a:pt x="4572" y="28100"/>
                  </a:lnTo>
                  <a:lnTo>
                    <a:pt x="4999" y="28283"/>
                  </a:lnTo>
                  <a:lnTo>
                    <a:pt x="5486" y="28466"/>
                  </a:lnTo>
                  <a:lnTo>
                    <a:pt x="6035" y="28649"/>
                  </a:lnTo>
                  <a:lnTo>
                    <a:pt x="7315" y="28953"/>
                  </a:lnTo>
                  <a:lnTo>
                    <a:pt x="7315" y="28953"/>
                  </a:lnTo>
                  <a:lnTo>
                    <a:pt x="4511" y="32915"/>
                  </a:lnTo>
                  <a:lnTo>
                    <a:pt x="2439" y="35841"/>
                  </a:lnTo>
                  <a:lnTo>
                    <a:pt x="1707" y="36999"/>
                  </a:lnTo>
                  <a:lnTo>
                    <a:pt x="1281" y="37670"/>
                  </a:lnTo>
                  <a:lnTo>
                    <a:pt x="1281" y="37670"/>
                  </a:lnTo>
                  <a:lnTo>
                    <a:pt x="1098" y="38096"/>
                  </a:lnTo>
                  <a:lnTo>
                    <a:pt x="1037" y="38523"/>
                  </a:lnTo>
                  <a:lnTo>
                    <a:pt x="1037" y="38889"/>
                  </a:lnTo>
                  <a:lnTo>
                    <a:pt x="1159" y="39194"/>
                  </a:lnTo>
                  <a:lnTo>
                    <a:pt x="1403" y="39498"/>
                  </a:lnTo>
                  <a:lnTo>
                    <a:pt x="1707" y="39803"/>
                  </a:lnTo>
                  <a:lnTo>
                    <a:pt x="2134" y="40047"/>
                  </a:lnTo>
                  <a:lnTo>
                    <a:pt x="2622" y="40230"/>
                  </a:lnTo>
                  <a:lnTo>
                    <a:pt x="2622" y="40230"/>
                  </a:lnTo>
                  <a:lnTo>
                    <a:pt x="3170" y="40352"/>
                  </a:lnTo>
                  <a:lnTo>
                    <a:pt x="3658" y="40474"/>
                  </a:lnTo>
                  <a:lnTo>
                    <a:pt x="4450" y="40535"/>
                  </a:lnTo>
                  <a:lnTo>
                    <a:pt x="4999" y="40535"/>
                  </a:lnTo>
                  <a:lnTo>
                    <a:pt x="5182" y="40535"/>
                  </a:lnTo>
                  <a:lnTo>
                    <a:pt x="5182" y="40535"/>
                  </a:lnTo>
                  <a:lnTo>
                    <a:pt x="2926" y="43521"/>
                  </a:lnTo>
                  <a:lnTo>
                    <a:pt x="1220" y="45898"/>
                  </a:lnTo>
                  <a:lnTo>
                    <a:pt x="549" y="46935"/>
                  </a:lnTo>
                  <a:lnTo>
                    <a:pt x="123" y="47666"/>
                  </a:lnTo>
                  <a:lnTo>
                    <a:pt x="123" y="47666"/>
                  </a:lnTo>
                  <a:lnTo>
                    <a:pt x="1" y="47971"/>
                  </a:lnTo>
                  <a:lnTo>
                    <a:pt x="1" y="48398"/>
                  </a:lnTo>
                  <a:lnTo>
                    <a:pt x="1" y="48763"/>
                  </a:lnTo>
                  <a:lnTo>
                    <a:pt x="123" y="49190"/>
                  </a:lnTo>
                  <a:lnTo>
                    <a:pt x="305" y="49617"/>
                  </a:lnTo>
                  <a:lnTo>
                    <a:pt x="549" y="50043"/>
                  </a:lnTo>
                  <a:lnTo>
                    <a:pt x="854" y="50470"/>
                  </a:lnTo>
                  <a:lnTo>
                    <a:pt x="1220" y="50897"/>
                  </a:lnTo>
                  <a:lnTo>
                    <a:pt x="1646" y="51262"/>
                  </a:lnTo>
                  <a:lnTo>
                    <a:pt x="2134" y="51628"/>
                  </a:lnTo>
                  <a:lnTo>
                    <a:pt x="2683" y="51933"/>
                  </a:lnTo>
                  <a:lnTo>
                    <a:pt x="3353" y="52116"/>
                  </a:lnTo>
                  <a:lnTo>
                    <a:pt x="4024" y="52299"/>
                  </a:lnTo>
                  <a:lnTo>
                    <a:pt x="4816" y="52360"/>
                  </a:lnTo>
                  <a:lnTo>
                    <a:pt x="5608" y="52360"/>
                  </a:lnTo>
                  <a:lnTo>
                    <a:pt x="6523" y="52238"/>
                  </a:lnTo>
                  <a:lnTo>
                    <a:pt x="6523" y="52238"/>
                  </a:lnTo>
                  <a:lnTo>
                    <a:pt x="7132" y="52116"/>
                  </a:lnTo>
                  <a:lnTo>
                    <a:pt x="7620" y="51933"/>
                  </a:lnTo>
                  <a:lnTo>
                    <a:pt x="8107" y="51750"/>
                  </a:lnTo>
                  <a:lnTo>
                    <a:pt x="8534" y="51506"/>
                  </a:lnTo>
                  <a:lnTo>
                    <a:pt x="9326" y="50958"/>
                  </a:lnTo>
                  <a:lnTo>
                    <a:pt x="9997" y="50470"/>
                  </a:lnTo>
                  <a:lnTo>
                    <a:pt x="10667" y="49921"/>
                  </a:lnTo>
                  <a:lnTo>
                    <a:pt x="11399" y="49556"/>
                  </a:lnTo>
                  <a:lnTo>
                    <a:pt x="11765" y="49373"/>
                  </a:lnTo>
                  <a:lnTo>
                    <a:pt x="12191" y="49251"/>
                  </a:lnTo>
                  <a:lnTo>
                    <a:pt x="12618" y="49190"/>
                  </a:lnTo>
                  <a:lnTo>
                    <a:pt x="13106" y="49190"/>
                  </a:lnTo>
                  <a:lnTo>
                    <a:pt x="13106" y="49190"/>
                  </a:lnTo>
                  <a:lnTo>
                    <a:pt x="13654" y="49251"/>
                  </a:lnTo>
                  <a:lnTo>
                    <a:pt x="14142" y="49373"/>
                  </a:lnTo>
                  <a:lnTo>
                    <a:pt x="15117" y="49617"/>
                  </a:lnTo>
                  <a:lnTo>
                    <a:pt x="15970" y="49921"/>
                  </a:lnTo>
                  <a:lnTo>
                    <a:pt x="16824" y="50287"/>
                  </a:lnTo>
                  <a:lnTo>
                    <a:pt x="17677" y="50531"/>
                  </a:lnTo>
                  <a:lnTo>
                    <a:pt x="18530" y="50775"/>
                  </a:lnTo>
                  <a:lnTo>
                    <a:pt x="18957" y="50775"/>
                  </a:lnTo>
                  <a:lnTo>
                    <a:pt x="19445" y="50836"/>
                  </a:lnTo>
                  <a:lnTo>
                    <a:pt x="19932" y="50775"/>
                  </a:lnTo>
                  <a:lnTo>
                    <a:pt x="20420" y="50714"/>
                  </a:lnTo>
                  <a:lnTo>
                    <a:pt x="20420" y="50714"/>
                  </a:lnTo>
                  <a:lnTo>
                    <a:pt x="20969" y="50592"/>
                  </a:lnTo>
                  <a:lnTo>
                    <a:pt x="21456" y="50409"/>
                  </a:lnTo>
                  <a:lnTo>
                    <a:pt x="21883" y="50165"/>
                  </a:lnTo>
                  <a:lnTo>
                    <a:pt x="22310" y="49921"/>
                  </a:lnTo>
                  <a:lnTo>
                    <a:pt x="23041" y="49434"/>
                  </a:lnTo>
                  <a:lnTo>
                    <a:pt x="23651" y="48885"/>
                  </a:lnTo>
                  <a:lnTo>
                    <a:pt x="24077" y="48337"/>
                  </a:lnTo>
                  <a:lnTo>
                    <a:pt x="24443" y="47849"/>
                  </a:lnTo>
                  <a:lnTo>
                    <a:pt x="24687" y="47422"/>
                  </a:lnTo>
                  <a:lnTo>
                    <a:pt x="24687" y="47422"/>
                  </a:lnTo>
                  <a:lnTo>
                    <a:pt x="25479" y="47544"/>
                  </a:lnTo>
                  <a:lnTo>
                    <a:pt x="26272" y="47605"/>
                  </a:lnTo>
                  <a:lnTo>
                    <a:pt x="27247" y="47605"/>
                  </a:lnTo>
                  <a:lnTo>
                    <a:pt x="27734" y="47544"/>
                  </a:lnTo>
                  <a:lnTo>
                    <a:pt x="28222" y="47483"/>
                  </a:lnTo>
                  <a:lnTo>
                    <a:pt x="28649" y="47361"/>
                  </a:lnTo>
                  <a:lnTo>
                    <a:pt x="29075" y="47178"/>
                  </a:lnTo>
                  <a:lnTo>
                    <a:pt x="29441" y="46935"/>
                  </a:lnTo>
                  <a:lnTo>
                    <a:pt x="29746" y="46630"/>
                  </a:lnTo>
                  <a:lnTo>
                    <a:pt x="29929" y="46325"/>
                  </a:lnTo>
                  <a:lnTo>
                    <a:pt x="30051" y="45898"/>
                  </a:lnTo>
                  <a:lnTo>
                    <a:pt x="30051" y="45898"/>
                  </a:lnTo>
                  <a:lnTo>
                    <a:pt x="30051" y="45350"/>
                  </a:lnTo>
                  <a:lnTo>
                    <a:pt x="29990" y="44679"/>
                  </a:lnTo>
                  <a:lnTo>
                    <a:pt x="29807" y="43948"/>
                  </a:lnTo>
                  <a:lnTo>
                    <a:pt x="29502" y="43156"/>
                  </a:lnTo>
                  <a:lnTo>
                    <a:pt x="28771" y="41388"/>
                  </a:lnTo>
                  <a:lnTo>
                    <a:pt x="27856" y="39559"/>
                  </a:lnTo>
                  <a:lnTo>
                    <a:pt x="26942" y="37853"/>
                  </a:lnTo>
                  <a:lnTo>
                    <a:pt x="26150" y="36390"/>
                  </a:lnTo>
                  <a:lnTo>
                    <a:pt x="25357" y="3504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5" name="Google Shape;1175;p16"/>
            <p:cNvSpPr/>
            <p:nvPr/>
          </p:nvSpPr>
          <p:spPr>
            <a:xfrm>
              <a:off x="6760125" y="2322600"/>
              <a:ext cx="13750" cy="25950"/>
            </a:xfrm>
            <a:custGeom>
              <a:avLst/>
              <a:gdLst/>
              <a:ahLst/>
              <a:cxnLst/>
              <a:rect l="l" t="t" r="r" b="b"/>
              <a:pathLst>
                <a:path w="550" h="1038" extrusionOk="0">
                  <a:moveTo>
                    <a:pt x="550" y="1"/>
                  </a:moveTo>
                  <a:lnTo>
                    <a:pt x="550" y="1"/>
                  </a:lnTo>
                  <a:lnTo>
                    <a:pt x="367" y="488"/>
                  </a:lnTo>
                  <a:lnTo>
                    <a:pt x="1" y="1037"/>
                  </a:lnTo>
                  <a:lnTo>
                    <a:pt x="1" y="1037"/>
                  </a:lnTo>
                  <a:lnTo>
                    <a:pt x="1" y="1037"/>
                  </a:lnTo>
                  <a:lnTo>
                    <a:pt x="1" y="1037"/>
                  </a:lnTo>
                  <a:lnTo>
                    <a:pt x="367" y="488"/>
                  </a:lnTo>
                  <a:lnTo>
                    <a:pt x="550" y="1"/>
                  </a:lnTo>
                  <a:close/>
                  <a:moveTo>
                    <a:pt x="550" y="1"/>
                  </a:moveTo>
                  <a:lnTo>
                    <a:pt x="550" y="1"/>
                  </a:lnTo>
                  <a:lnTo>
                    <a:pt x="550" y="1"/>
                  </a:lnTo>
                  <a:lnTo>
                    <a:pt x="550" y="1"/>
                  </a:lnTo>
                  <a:lnTo>
                    <a:pt x="550" y="1"/>
                  </a:lnTo>
                  <a:close/>
                </a:path>
              </a:pathLst>
            </a:custGeom>
            <a:solidFill>
              <a:srgbClr val="B4B0B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6" name="Google Shape;1176;p16"/>
            <p:cNvSpPr/>
            <p:nvPr/>
          </p:nvSpPr>
          <p:spPr>
            <a:xfrm>
              <a:off x="6760125" y="2322600"/>
              <a:ext cx="13750" cy="25950"/>
            </a:xfrm>
            <a:custGeom>
              <a:avLst/>
              <a:gdLst/>
              <a:ahLst/>
              <a:cxnLst/>
              <a:rect l="l" t="t" r="r" b="b"/>
              <a:pathLst>
                <a:path w="550" h="1038" fill="none" extrusionOk="0">
                  <a:moveTo>
                    <a:pt x="550" y="1"/>
                  </a:moveTo>
                  <a:lnTo>
                    <a:pt x="550" y="1"/>
                  </a:lnTo>
                  <a:lnTo>
                    <a:pt x="367" y="488"/>
                  </a:lnTo>
                  <a:lnTo>
                    <a:pt x="1" y="1037"/>
                  </a:lnTo>
                  <a:lnTo>
                    <a:pt x="1" y="1037"/>
                  </a:lnTo>
                  <a:lnTo>
                    <a:pt x="1" y="1037"/>
                  </a:lnTo>
                  <a:lnTo>
                    <a:pt x="1" y="1037"/>
                  </a:lnTo>
                  <a:lnTo>
                    <a:pt x="367" y="488"/>
                  </a:lnTo>
                  <a:lnTo>
                    <a:pt x="55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7" name="Google Shape;1177;p16"/>
            <p:cNvSpPr/>
            <p:nvPr/>
          </p:nvSpPr>
          <p:spPr>
            <a:xfrm>
              <a:off x="6773850" y="23226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8" name="Google Shape;1178;p16"/>
            <p:cNvSpPr/>
            <p:nvPr/>
          </p:nvSpPr>
          <p:spPr>
            <a:xfrm>
              <a:off x="6760125" y="2289075"/>
              <a:ext cx="97550" cy="59475"/>
            </a:xfrm>
            <a:custGeom>
              <a:avLst/>
              <a:gdLst/>
              <a:ahLst/>
              <a:cxnLst/>
              <a:rect l="l" t="t" r="r" b="b"/>
              <a:pathLst>
                <a:path w="3902" h="2379" extrusionOk="0">
                  <a:moveTo>
                    <a:pt x="3902" y="1"/>
                  </a:moveTo>
                  <a:lnTo>
                    <a:pt x="3414" y="245"/>
                  </a:lnTo>
                  <a:lnTo>
                    <a:pt x="2866" y="428"/>
                  </a:lnTo>
                  <a:lnTo>
                    <a:pt x="2317" y="488"/>
                  </a:lnTo>
                  <a:lnTo>
                    <a:pt x="1708" y="549"/>
                  </a:lnTo>
                  <a:lnTo>
                    <a:pt x="732" y="488"/>
                  </a:lnTo>
                  <a:lnTo>
                    <a:pt x="671" y="732"/>
                  </a:lnTo>
                  <a:lnTo>
                    <a:pt x="550" y="1342"/>
                  </a:lnTo>
                  <a:lnTo>
                    <a:pt x="367" y="1829"/>
                  </a:lnTo>
                  <a:lnTo>
                    <a:pt x="1" y="2378"/>
                  </a:lnTo>
                  <a:lnTo>
                    <a:pt x="1098" y="2073"/>
                  </a:lnTo>
                  <a:lnTo>
                    <a:pt x="1952" y="1769"/>
                  </a:lnTo>
                  <a:lnTo>
                    <a:pt x="2622" y="1342"/>
                  </a:lnTo>
                  <a:lnTo>
                    <a:pt x="3171" y="976"/>
                  </a:lnTo>
                  <a:lnTo>
                    <a:pt x="3536" y="610"/>
                  </a:lnTo>
                  <a:lnTo>
                    <a:pt x="3719" y="306"/>
                  </a:lnTo>
                  <a:lnTo>
                    <a:pt x="3902" y="1"/>
                  </a:lnTo>
                  <a:close/>
                </a:path>
              </a:pathLst>
            </a:custGeom>
            <a:solidFill>
              <a:srgbClr val="2550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9" name="Google Shape;1179;p16"/>
            <p:cNvSpPr/>
            <p:nvPr/>
          </p:nvSpPr>
          <p:spPr>
            <a:xfrm>
              <a:off x="6760125" y="2289075"/>
              <a:ext cx="97550" cy="59475"/>
            </a:xfrm>
            <a:custGeom>
              <a:avLst/>
              <a:gdLst/>
              <a:ahLst/>
              <a:cxnLst/>
              <a:rect l="l" t="t" r="r" b="b"/>
              <a:pathLst>
                <a:path w="3902" h="2379" fill="none" extrusionOk="0">
                  <a:moveTo>
                    <a:pt x="3902" y="1"/>
                  </a:moveTo>
                  <a:lnTo>
                    <a:pt x="3902" y="1"/>
                  </a:lnTo>
                  <a:lnTo>
                    <a:pt x="3414" y="245"/>
                  </a:lnTo>
                  <a:lnTo>
                    <a:pt x="2866" y="428"/>
                  </a:lnTo>
                  <a:lnTo>
                    <a:pt x="2317" y="488"/>
                  </a:lnTo>
                  <a:lnTo>
                    <a:pt x="1708" y="549"/>
                  </a:lnTo>
                  <a:lnTo>
                    <a:pt x="1708" y="549"/>
                  </a:lnTo>
                  <a:lnTo>
                    <a:pt x="732" y="488"/>
                  </a:lnTo>
                  <a:lnTo>
                    <a:pt x="732" y="488"/>
                  </a:lnTo>
                  <a:lnTo>
                    <a:pt x="671" y="732"/>
                  </a:lnTo>
                  <a:lnTo>
                    <a:pt x="550" y="1342"/>
                  </a:lnTo>
                  <a:lnTo>
                    <a:pt x="550" y="1342"/>
                  </a:lnTo>
                  <a:lnTo>
                    <a:pt x="550" y="1342"/>
                  </a:lnTo>
                  <a:lnTo>
                    <a:pt x="550" y="1342"/>
                  </a:lnTo>
                  <a:lnTo>
                    <a:pt x="550" y="1342"/>
                  </a:lnTo>
                  <a:lnTo>
                    <a:pt x="550" y="1342"/>
                  </a:lnTo>
                  <a:lnTo>
                    <a:pt x="367" y="1829"/>
                  </a:lnTo>
                  <a:lnTo>
                    <a:pt x="1" y="2378"/>
                  </a:lnTo>
                  <a:lnTo>
                    <a:pt x="1" y="2378"/>
                  </a:lnTo>
                  <a:lnTo>
                    <a:pt x="1098" y="2073"/>
                  </a:lnTo>
                  <a:lnTo>
                    <a:pt x="1952" y="1769"/>
                  </a:lnTo>
                  <a:lnTo>
                    <a:pt x="2622" y="1342"/>
                  </a:lnTo>
                  <a:lnTo>
                    <a:pt x="3171" y="976"/>
                  </a:lnTo>
                  <a:lnTo>
                    <a:pt x="3536" y="610"/>
                  </a:lnTo>
                  <a:lnTo>
                    <a:pt x="3719" y="306"/>
                  </a:lnTo>
                  <a:lnTo>
                    <a:pt x="390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0" name="Google Shape;1180;p16"/>
            <p:cNvSpPr/>
            <p:nvPr/>
          </p:nvSpPr>
          <p:spPr>
            <a:xfrm>
              <a:off x="6650425" y="2644150"/>
              <a:ext cx="324600" cy="86875"/>
            </a:xfrm>
            <a:custGeom>
              <a:avLst/>
              <a:gdLst/>
              <a:ahLst/>
              <a:cxnLst/>
              <a:rect l="l" t="t" r="r" b="b"/>
              <a:pathLst>
                <a:path w="12984" h="3475" extrusionOk="0">
                  <a:moveTo>
                    <a:pt x="12983" y="0"/>
                  </a:moveTo>
                  <a:lnTo>
                    <a:pt x="11886" y="427"/>
                  </a:lnTo>
                  <a:lnTo>
                    <a:pt x="10728" y="792"/>
                  </a:lnTo>
                  <a:lnTo>
                    <a:pt x="9509" y="1158"/>
                  </a:lnTo>
                  <a:lnTo>
                    <a:pt x="9082" y="1219"/>
                  </a:lnTo>
                  <a:lnTo>
                    <a:pt x="8290" y="1219"/>
                  </a:lnTo>
                  <a:lnTo>
                    <a:pt x="7863" y="1097"/>
                  </a:lnTo>
                  <a:lnTo>
                    <a:pt x="7132" y="853"/>
                  </a:lnTo>
                  <a:lnTo>
                    <a:pt x="6461" y="549"/>
                  </a:lnTo>
                  <a:lnTo>
                    <a:pt x="6035" y="427"/>
                  </a:lnTo>
                  <a:lnTo>
                    <a:pt x="5608" y="305"/>
                  </a:lnTo>
                  <a:lnTo>
                    <a:pt x="4999" y="244"/>
                  </a:lnTo>
                  <a:lnTo>
                    <a:pt x="4572" y="305"/>
                  </a:lnTo>
                  <a:lnTo>
                    <a:pt x="4206" y="366"/>
                  </a:lnTo>
                  <a:lnTo>
                    <a:pt x="3536" y="549"/>
                  </a:lnTo>
                  <a:lnTo>
                    <a:pt x="2926" y="792"/>
                  </a:lnTo>
                  <a:lnTo>
                    <a:pt x="2499" y="853"/>
                  </a:lnTo>
                  <a:lnTo>
                    <a:pt x="1707" y="853"/>
                  </a:lnTo>
                  <a:lnTo>
                    <a:pt x="0" y="3292"/>
                  </a:lnTo>
                  <a:lnTo>
                    <a:pt x="1097" y="3413"/>
                  </a:lnTo>
                  <a:lnTo>
                    <a:pt x="2317" y="3474"/>
                  </a:lnTo>
                  <a:lnTo>
                    <a:pt x="3414" y="3413"/>
                  </a:lnTo>
                  <a:lnTo>
                    <a:pt x="4450" y="3352"/>
                  </a:lnTo>
                  <a:lnTo>
                    <a:pt x="5486" y="3231"/>
                  </a:lnTo>
                  <a:lnTo>
                    <a:pt x="6522" y="3109"/>
                  </a:lnTo>
                  <a:lnTo>
                    <a:pt x="8290" y="2743"/>
                  </a:lnTo>
                  <a:lnTo>
                    <a:pt x="9021" y="2499"/>
                  </a:lnTo>
                  <a:lnTo>
                    <a:pt x="9570" y="2316"/>
                  </a:lnTo>
                  <a:lnTo>
                    <a:pt x="10423" y="1951"/>
                  </a:lnTo>
                  <a:lnTo>
                    <a:pt x="11094" y="1524"/>
                  </a:lnTo>
                  <a:lnTo>
                    <a:pt x="11703" y="1158"/>
                  </a:lnTo>
                  <a:lnTo>
                    <a:pt x="12191" y="792"/>
                  </a:lnTo>
                  <a:lnTo>
                    <a:pt x="12801" y="244"/>
                  </a:lnTo>
                  <a:lnTo>
                    <a:pt x="12983" y="0"/>
                  </a:lnTo>
                  <a:close/>
                </a:path>
              </a:pathLst>
            </a:custGeom>
            <a:solidFill>
              <a:srgbClr val="2550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1" name="Google Shape;1181;p16"/>
            <p:cNvSpPr/>
            <p:nvPr/>
          </p:nvSpPr>
          <p:spPr>
            <a:xfrm>
              <a:off x="6650425" y="2644150"/>
              <a:ext cx="324600" cy="86875"/>
            </a:xfrm>
            <a:custGeom>
              <a:avLst/>
              <a:gdLst/>
              <a:ahLst/>
              <a:cxnLst/>
              <a:rect l="l" t="t" r="r" b="b"/>
              <a:pathLst>
                <a:path w="12984" h="3475" fill="none" extrusionOk="0">
                  <a:moveTo>
                    <a:pt x="12983" y="0"/>
                  </a:moveTo>
                  <a:lnTo>
                    <a:pt x="12983" y="0"/>
                  </a:lnTo>
                  <a:lnTo>
                    <a:pt x="11886" y="427"/>
                  </a:lnTo>
                  <a:lnTo>
                    <a:pt x="10728" y="792"/>
                  </a:lnTo>
                  <a:lnTo>
                    <a:pt x="9509" y="1158"/>
                  </a:lnTo>
                  <a:lnTo>
                    <a:pt x="9509" y="1158"/>
                  </a:lnTo>
                  <a:lnTo>
                    <a:pt x="9082" y="1219"/>
                  </a:lnTo>
                  <a:lnTo>
                    <a:pt x="8717" y="1219"/>
                  </a:lnTo>
                  <a:lnTo>
                    <a:pt x="8717" y="1219"/>
                  </a:lnTo>
                  <a:lnTo>
                    <a:pt x="8290" y="1219"/>
                  </a:lnTo>
                  <a:lnTo>
                    <a:pt x="7863" y="1097"/>
                  </a:lnTo>
                  <a:lnTo>
                    <a:pt x="7132" y="853"/>
                  </a:lnTo>
                  <a:lnTo>
                    <a:pt x="6461" y="549"/>
                  </a:lnTo>
                  <a:lnTo>
                    <a:pt x="6035" y="427"/>
                  </a:lnTo>
                  <a:lnTo>
                    <a:pt x="5608" y="305"/>
                  </a:lnTo>
                  <a:lnTo>
                    <a:pt x="5608" y="305"/>
                  </a:lnTo>
                  <a:lnTo>
                    <a:pt x="4999" y="244"/>
                  </a:lnTo>
                  <a:lnTo>
                    <a:pt x="4999" y="244"/>
                  </a:lnTo>
                  <a:lnTo>
                    <a:pt x="4572" y="305"/>
                  </a:lnTo>
                  <a:lnTo>
                    <a:pt x="4206" y="366"/>
                  </a:lnTo>
                  <a:lnTo>
                    <a:pt x="3536" y="549"/>
                  </a:lnTo>
                  <a:lnTo>
                    <a:pt x="3536" y="549"/>
                  </a:lnTo>
                  <a:lnTo>
                    <a:pt x="2926" y="792"/>
                  </a:lnTo>
                  <a:lnTo>
                    <a:pt x="2499" y="853"/>
                  </a:lnTo>
                  <a:lnTo>
                    <a:pt x="2073" y="853"/>
                  </a:lnTo>
                  <a:lnTo>
                    <a:pt x="2073" y="853"/>
                  </a:lnTo>
                  <a:lnTo>
                    <a:pt x="1707" y="853"/>
                  </a:lnTo>
                  <a:lnTo>
                    <a:pt x="1707" y="853"/>
                  </a:lnTo>
                  <a:lnTo>
                    <a:pt x="0" y="3292"/>
                  </a:lnTo>
                  <a:lnTo>
                    <a:pt x="0" y="3292"/>
                  </a:lnTo>
                  <a:lnTo>
                    <a:pt x="1097" y="3413"/>
                  </a:lnTo>
                  <a:lnTo>
                    <a:pt x="2317" y="3474"/>
                  </a:lnTo>
                  <a:lnTo>
                    <a:pt x="2317" y="3474"/>
                  </a:lnTo>
                  <a:lnTo>
                    <a:pt x="3414" y="3413"/>
                  </a:lnTo>
                  <a:lnTo>
                    <a:pt x="4450" y="3352"/>
                  </a:lnTo>
                  <a:lnTo>
                    <a:pt x="5486" y="3231"/>
                  </a:lnTo>
                  <a:lnTo>
                    <a:pt x="6522" y="3109"/>
                  </a:lnTo>
                  <a:lnTo>
                    <a:pt x="8290" y="2743"/>
                  </a:lnTo>
                  <a:lnTo>
                    <a:pt x="9021" y="2499"/>
                  </a:lnTo>
                  <a:lnTo>
                    <a:pt x="9570" y="2316"/>
                  </a:lnTo>
                  <a:lnTo>
                    <a:pt x="9570" y="2316"/>
                  </a:lnTo>
                  <a:lnTo>
                    <a:pt x="10423" y="1951"/>
                  </a:lnTo>
                  <a:lnTo>
                    <a:pt x="11094" y="1524"/>
                  </a:lnTo>
                  <a:lnTo>
                    <a:pt x="11703" y="1158"/>
                  </a:lnTo>
                  <a:lnTo>
                    <a:pt x="12191" y="792"/>
                  </a:lnTo>
                  <a:lnTo>
                    <a:pt x="12801" y="244"/>
                  </a:lnTo>
                  <a:lnTo>
                    <a:pt x="1298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2" name="Google Shape;1182;p16"/>
            <p:cNvSpPr/>
            <p:nvPr/>
          </p:nvSpPr>
          <p:spPr>
            <a:xfrm>
              <a:off x="7144150" y="2817850"/>
              <a:ext cx="42675" cy="73175"/>
            </a:xfrm>
            <a:custGeom>
              <a:avLst/>
              <a:gdLst/>
              <a:ahLst/>
              <a:cxnLst/>
              <a:rect l="l" t="t" r="r" b="b"/>
              <a:pathLst>
                <a:path w="1707" h="2927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549" y="854"/>
                  </a:lnTo>
                  <a:lnTo>
                    <a:pt x="1707" y="2926"/>
                  </a:lnTo>
                  <a:lnTo>
                    <a:pt x="1707" y="2926"/>
                  </a:lnTo>
                  <a:lnTo>
                    <a:pt x="1707" y="2926"/>
                  </a:lnTo>
                  <a:lnTo>
                    <a:pt x="1707" y="2926"/>
                  </a:lnTo>
                  <a:lnTo>
                    <a:pt x="549" y="854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B4B0B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3" name="Google Shape;1183;p16"/>
            <p:cNvSpPr/>
            <p:nvPr/>
          </p:nvSpPr>
          <p:spPr>
            <a:xfrm>
              <a:off x="7144150" y="2817850"/>
              <a:ext cx="42675" cy="73175"/>
            </a:xfrm>
            <a:custGeom>
              <a:avLst/>
              <a:gdLst/>
              <a:ahLst/>
              <a:cxnLst/>
              <a:rect l="l" t="t" r="r" b="b"/>
              <a:pathLst>
                <a:path w="1707" h="2927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549" y="854"/>
                  </a:lnTo>
                  <a:lnTo>
                    <a:pt x="1707" y="2926"/>
                  </a:lnTo>
                  <a:lnTo>
                    <a:pt x="1707" y="2926"/>
                  </a:lnTo>
                  <a:lnTo>
                    <a:pt x="1707" y="2926"/>
                  </a:lnTo>
                  <a:lnTo>
                    <a:pt x="1707" y="2926"/>
                  </a:lnTo>
                  <a:lnTo>
                    <a:pt x="549" y="854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4" name="Google Shape;1184;p16"/>
            <p:cNvSpPr/>
            <p:nvPr/>
          </p:nvSpPr>
          <p:spPr>
            <a:xfrm>
              <a:off x="6880525" y="2817850"/>
              <a:ext cx="306300" cy="155450"/>
            </a:xfrm>
            <a:custGeom>
              <a:avLst/>
              <a:gdLst/>
              <a:ahLst/>
              <a:cxnLst/>
              <a:rect l="l" t="t" r="r" b="b"/>
              <a:pathLst>
                <a:path w="12252" h="6218" extrusionOk="0">
                  <a:moveTo>
                    <a:pt x="10545" y="1"/>
                  </a:moveTo>
                  <a:lnTo>
                    <a:pt x="9570" y="366"/>
                  </a:lnTo>
                  <a:lnTo>
                    <a:pt x="8839" y="610"/>
                  </a:lnTo>
                  <a:lnTo>
                    <a:pt x="8534" y="732"/>
                  </a:lnTo>
                  <a:lnTo>
                    <a:pt x="8351" y="854"/>
                  </a:lnTo>
                  <a:lnTo>
                    <a:pt x="8168" y="976"/>
                  </a:lnTo>
                  <a:lnTo>
                    <a:pt x="8046" y="1220"/>
                  </a:lnTo>
                  <a:lnTo>
                    <a:pt x="7863" y="1890"/>
                  </a:lnTo>
                  <a:lnTo>
                    <a:pt x="7680" y="2317"/>
                  </a:lnTo>
                  <a:lnTo>
                    <a:pt x="7498" y="2805"/>
                  </a:lnTo>
                  <a:lnTo>
                    <a:pt x="7193" y="3353"/>
                  </a:lnTo>
                  <a:lnTo>
                    <a:pt x="6766" y="3841"/>
                  </a:lnTo>
                  <a:lnTo>
                    <a:pt x="6522" y="4024"/>
                  </a:lnTo>
                  <a:lnTo>
                    <a:pt x="6218" y="4267"/>
                  </a:lnTo>
                  <a:lnTo>
                    <a:pt x="5913" y="4450"/>
                  </a:lnTo>
                  <a:lnTo>
                    <a:pt x="5547" y="4633"/>
                  </a:lnTo>
                  <a:lnTo>
                    <a:pt x="4694" y="4877"/>
                  </a:lnTo>
                  <a:lnTo>
                    <a:pt x="3779" y="5060"/>
                  </a:lnTo>
                  <a:lnTo>
                    <a:pt x="2865" y="5121"/>
                  </a:lnTo>
                  <a:lnTo>
                    <a:pt x="2012" y="5182"/>
                  </a:lnTo>
                  <a:lnTo>
                    <a:pt x="610" y="5121"/>
                  </a:lnTo>
                  <a:lnTo>
                    <a:pt x="0" y="5060"/>
                  </a:lnTo>
                  <a:lnTo>
                    <a:pt x="0" y="5060"/>
                  </a:lnTo>
                  <a:lnTo>
                    <a:pt x="305" y="5243"/>
                  </a:lnTo>
                  <a:lnTo>
                    <a:pt x="732" y="5426"/>
                  </a:lnTo>
                  <a:lnTo>
                    <a:pt x="1219" y="5669"/>
                  </a:lnTo>
                  <a:lnTo>
                    <a:pt x="1890" y="5852"/>
                  </a:lnTo>
                  <a:lnTo>
                    <a:pt x="2621" y="6035"/>
                  </a:lnTo>
                  <a:lnTo>
                    <a:pt x="3536" y="6218"/>
                  </a:lnTo>
                  <a:lnTo>
                    <a:pt x="5303" y="6218"/>
                  </a:lnTo>
                  <a:lnTo>
                    <a:pt x="6157" y="6096"/>
                  </a:lnTo>
                  <a:lnTo>
                    <a:pt x="7132" y="5852"/>
                  </a:lnTo>
                  <a:lnTo>
                    <a:pt x="8046" y="5547"/>
                  </a:lnTo>
                  <a:lnTo>
                    <a:pt x="9082" y="5121"/>
                  </a:lnTo>
                  <a:lnTo>
                    <a:pt x="10119" y="4511"/>
                  </a:lnTo>
                  <a:lnTo>
                    <a:pt x="11155" y="3780"/>
                  </a:lnTo>
                  <a:lnTo>
                    <a:pt x="12252" y="2926"/>
                  </a:lnTo>
                  <a:lnTo>
                    <a:pt x="11094" y="854"/>
                  </a:lnTo>
                  <a:lnTo>
                    <a:pt x="10545" y="1"/>
                  </a:lnTo>
                  <a:close/>
                </a:path>
              </a:pathLst>
            </a:custGeom>
            <a:solidFill>
              <a:srgbClr val="2550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5" name="Google Shape;1185;p16"/>
            <p:cNvSpPr/>
            <p:nvPr/>
          </p:nvSpPr>
          <p:spPr>
            <a:xfrm>
              <a:off x="6880525" y="2817850"/>
              <a:ext cx="306300" cy="155450"/>
            </a:xfrm>
            <a:custGeom>
              <a:avLst/>
              <a:gdLst/>
              <a:ahLst/>
              <a:cxnLst/>
              <a:rect l="l" t="t" r="r" b="b"/>
              <a:pathLst>
                <a:path w="12252" h="6218" fill="none" extrusionOk="0">
                  <a:moveTo>
                    <a:pt x="10545" y="1"/>
                  </a:moveTo>
                  <a:lnTo>
                    <a:pt x="10545" y="1"/>
                  </a:lnTo>
                  <a:lnTo>
                    <a:pt x="9570" y="366"/>
                  </a:lnTo>
                  <a:lnTo>
                    <a:pt x="8839" y="610"/>
                  </a:lnTo>
                  <a:lnTo>
                    <a:pt x="8534" y="732"/>
                  </a:lnTo>
                  <a:lnTo>
                    <a:pt x="8351" y="854"/>
                  </a:lnTo>
                  <a:lnTo>
                    <a:pt x="8168" y="976"/>
                  </a:lnTo>
                  <a:lnTo>
                    <a:pt x="8046" y="1220"/>
                  </a:lnTo>
                  <a:lnTo>
                    <a:pt x="8046" y="1220"/>
                  </a:lnTo>
                  <a:lnTo>
                    <a:pt x="7863" y="1890"/>
                  </a:lnTo>
                  <a:lnTo>
                    <a:pt x="7680" y="2317"/>
                  </a:lnTo>
                  <a:lnTo>
                    <a:pt x="7498" y="2805"/>
                  </a:lnTo>
                  <a:lnTo>
                    <a:pt x="7193" y="3353"/>
                  </a:lnTo>
                  <a:lnTo>
                    <a:pt x="6766" y="3841"/>
                  </a:lnTo>
                  <a:lnTo>
                    <a:pt x="6522" y="4024"/>
                  </a:lnTo>
                  <a:lnTo>
                    <a:pt x="6218" y="4267"/>
                  </a:lnTo>
                  <a:lnTo>
                    <a:pt x="5913" y="4450"/>
                  </a:lnTo>
                  <a:lnTo>
                    <a:pt x="5547" y="4633"/>
                  </a:lnTo>
                  <a:lnTo>
                    <a:pt x="5547" y="4633"/>
                  </a:lnTo>
                  <a:lnTo>
                    <a:pt x="4694" y="4877"/>
                  </a:lnTo>
                  <a:lnTo>
                    <a:pt x="3779" y="5060"/>
                  </a:lnTo>
                  <a:lnTo>
                    <a:pt x="2865" y="5121"/>
                  </a:lnTo>
                  <a:lnTo>
                    <a:pt x="2012" y="5182"/>
                  </a:lnTo>
                  <a:lnTo>
                    <a:pt x="2012" y="5182"/>
                  </a:lnTo>
                  <a:lnTo>
                    <a:pt x="610" y="5121"/>
                  </a:lnTo>
                  <a:lnTo>
                    <a:pt x="0" y="5060"/>
                  </a:lnTo>
                  <a:lnTo>
                    <a:pt x="0" y="5060"/>
                  </a:lnTo>
                  <a:lnTo>
                    <a:pt x="305" y="5243"/>
                  </a:lnTo>
                  <a:lnTo>
                    <a:pt x="732" y="5426"/>
                  </a:lnTo>
                  <a:lnTo>
                    <a:pt x="1219" y="5669"/>
                  </a:lnTo>
                  <a:lnTo>
                    <a:pt x="1890" y="5852"/>
                  </a:lnTo>
                  <a:lnTo>
                    <a:pt x="2621" y="6035"/>
                  </a:lnTo>
                  <a:lnTo>
                    <a:pt x="3536" y="6218"/>
                  </a:lnTo>
                  <a:lnTo>
                    <a:pt x="4511" y="6218"/>
                  </a:lnTo>
                  <a:lnTo>
                    <a:pt x="4511" y="6218"/>
                  </a:lnTo>
                  <a:lnTo>
                    <a:pt x="5303" y="6218"/>
                  </a:lnTo>
                  <a:lnTo>
                    <a:pt x="6157" y="6096"/>
                  </a:lnTo>
                  <a:lnTo>
                    <a:pt x="7132" y="5852"/>
                  </a:lnTo>
                  <a:lnTo>
                    <a:pt x="8046" y="5547"/>
                  </a:lnTo>
                  <a:lnTo>
                    <a:pt x="9082" y="5121"/>
                  </a:lnTo>
                  <a:lnTo>
                    <a:pt x="10119" y="4511"/>
                  </a:lnTo>
                  <a:lnTo>
                    <a:pt x="11155" y="3780"/>
                  </a:lnTo>
                  <a:lnTo>
                    <a:pt x="12252" y="2926"/>
                  </a:lnTo>
                  <a:lnTo>
                    <a:pt x="12252" y="2926"/>
                  </a:lnTo>
                  <a:lnTo>
                    <a:pt x="11094" y="854"/>
                  </a:lnTo>
                  <a:lnTo>
                    <a:pt x="10545" y="1"/>
                  </a:lnTo>
                  <a:lnTo>
                    <a:pt x="10545" y="1"/>
                  </a:lnTo>
                  <a:lnTo>
                    <a:pt x="10545" y="1"/>
                  </a:lnTo>
                  <a:lnTo>
                    <a:pt x="1054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6" name="Google Shape;1186;p16"/>
            <p:cNvSpPr/>
            <p:nvPr/>
          </p:nvSpPr>
          <p:spPr>
            <a:xfrm>
              <a:off x="7104525" y="3137850"/>
              <a:ext cx="16775" cy="21375"/>
            </a:xfrm>
            <a:custGeom>
              <a:avLst/>
              <a:gdLst/>
              <a:ahLst/>
              <a:cxnLst/>
              <a:rect l="l" t="t" r="r" b="b"/>
              <a:pathLst>
                <a:path w="671" h="855" extrusionOk="0">
                  <a:moveTo>
                    <a:pt x="671" y="1"/>
                  </a:moveTo>
                  <a:lnTo>
                    <a:pt x="366" y="367"/>
                  </a:lnTo>
                  <a:lnTo>
                    <a:pt x="0" y="854"/>
                  </a:lnTo>
                  <a:lnTo>
                    <a:pt x="427" y="367"/>
                  </a:lnTo>
                  <a:lnTo>
                    <a:pt x="671" y="1"/>
                  </a:lnTo>
                  <a:close/>
                </a:path>
              </a:pathLst>
            </a:custGeom>
            <a:solidFill>
              <a:srgbClr val="B4B0B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7" name="Google Shape;1187;p16"/>
            <p:cNvSpPr/>
            <p:nvPr/>
          </p:nvSpPr>
          <p:spPr>
            <a:xfrm>
              <a:off x="6693100" y="3195775"/>
              <a:ext cx="77725" cy="47250"/>
            </a:xfrm>
            <a:custGeom>
              <a:avLst/>
              <a:gdLst/>
              <a:ahLst/>
              <a:cxnLst/>
              <a:rect l="l" t="t" r="r" b="b"/>
              <a:pathLst>
                <a:path w="3109" h="1890" fill="none" extrusionOk="0">
                  <a:moveTo>
                    <a:pt x="3109" y="0"/>
                  </a:moveTo>
                  <a:lnTo>
                    <a:pt x="3109" y="0"/>
                  </a:lnTo>
                  <a:lnTo>
                    <a:pt x="2438" y="488"/>
                  </a:lnTo>
                  <a:lnTo>
                    <a:pt x="1707" y="1036"/>
                  </a:lnTo>
                  <a:lnTo>
                    <a:pt x="914" y="1524"/>
                  </a:lnTo>
                  <a:lnTo>
                    <a:pt x="488" y="1707"/>
                  </a:lnTo>
                  <a:lnTo>
                    <a:pt x="0" y="1890"/>
                  </a:lnTo>
                  <a:lnTo>
                    <a:pt x="0" y="1890"/>
                  </a:lnTo>
                  <a:lnTo>
                    <a:pt x="488" y="1707"/>
                  </a:lnTo>
                  <a:lnTo>
                    <a:pt x="914" y="1524"/>
                  </a:lnTo>
                  <a:lnTo>
                    <a:pt x="1707" y="1036"/>
                  </a:lnTo>
                  <a:lnTo>
                    <a:pt x="2438" y="488"/>
                  </a:lnTo>
                  <a:lnTo>
                    <a:pt x="3109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8" name="Google Shape;1188;p16"/>
            <p:cNvSpPr/>
            <p:nvPr/>
          </p:nvSpPr>
          <p:spPr>
            <a:xfrm>
              <a:off x="7035950" y="3127200"/>
              <a:ext cx="91450" cy="77725"/>
            </a:xfrm>
            <a:custGeom>
              <a:avLst/>
              <a:gdLst/>
              <a:ahLst/>
              <a:cxnLst/>
              <a:rect l="l" t="t" r="r" b="b"/>
              <a:pathLst>
                <a:path w="3658" h="3109" fill="none" extrusionOk="0">
                  <a:moveTo>
                    <a:pt x="3658" y="0"/>
                  </a:moveTo>
                  <a:lnTo>
                    <a:pt x="3658" y="0"/>
                  </a:lnTo>
                  <a:lnTo>
                    <a:pt x="3658" y="0"/>
                  </a:lnTo>
                  <a:lnTo>
                    <a:pt x="3414" y="427"/>
                  </a:lnTo>
                  <a:lnTo>
                    <a:pt x="3170" y="793"/>
                  </a:lnTo>
                  <a:lnTo>
                    <a:pt x="2743" y="1280"/>
                  </a:lnTo>
                  <a:lnTo>
                    <a:pt x="2256" y="1768"/>
                  </a:lnTo>
                  <a:lnTo>
                    <a:pt x="1585" y="2317"/>
                  </a:lnTo>
                  <a:lnTo>
                    <a:pt x="854" y="2743"/>
                  </a:lnTo>
                  <a:lnTo>
                    <a:pt x="488" y="2926"/>
                  </a:lnTo>
                  <a:lnTo>
                    <a:pt x="1" y="3109"/>
                  </a:lnTo>
                  <a:lnTo>
                    <a:pt x="1" y="3109"/>
                  </a:lnTo>
                  <a:lnTo>
                    <a:pt x="488" y="2926"/>
                  </a:lnTo>
                  <a:lnTo>
                    <a:pt x="854" y="2743"/>
                  </a:lnTo>
                  <a:lnTo>
                    <a:pt x="1585" y="2317"/>
                  </a:lnTo>
                  <a:lnTo>
                    <a:pt x="2256" y="1768"/>
                  </a:lnTo>
                  <a:lnTo>
                    <a:pt x="2743" y="1280"/>
                  </a:lnTo>
                  <a:lnTo>
                    <a:pt x="3109" y="793"/>
                  </a:lnTo>
                  <a:lnTo>
                    <a:pt x="3414" y="427"/>
                  </a:lnTo>
                  <a:lnTo>
                    <a:pt x="3658" y="0"/>
                  </a:lnTo>
                  <a:lnTo>
                    <a:pt x="3658" y="0"/>
                  </a:lnTo>
                  <a:lnTo>
                    <a:pt x="365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9" name="Google Shape;1189;p16"/>
            <p:cNvSpPr/>
            <p:nvPr/>
          </p:nvSpPr>
          <p:spPr>
            <a:xfrm>
              <a:off x="6510225" y="3127200"/>
              <a:ext cx="617175" cy="123450"/>
            </a:xfrm>
            <a:custGeom>
              <a:avLst/>
              <a:gdLst/>
              <a:ahLst/>
              <a:cxnLst/>
              <a:rect l="l" t="t" r="r" b="b"/>
              <a:pathLst>
                <a:path w="24687" h="4938" extrusionOk="0">
                  <a:moveTo>
                    <a:pt x="24687" y="0"/>
                  </a:moveTo>
                  <a:lnTo>
                    <a:pt x="23407" y="549"/>
                  </a:lnTo>
                  <a:lnTo>
                    <a:pt x="22188" y="915"/>
                  </a:lnTo>
                  <a:lnTo>
                    <a:pt x="21030" y="1097"/>
                  </a:lnTo>
                  <a:lnTo>
                    <a:pt x="19932" y="1158"/>
                  </a:lnTo>
                  <a:lnTo>
                    <a:pt x="19323" y="1158"/>
                  </a:lnTo>
                  <a:lnTo>
                    <a:pt x="18652" y="1097"/>
                  </a:lnTo>
                  <a:lnTo>
                    <a:pt x="17311" y="854"/>
                  </a:lnTo>
                  <a:lnTo>
                    <a:pt x="15909" y="610"/>
                  </a:lnTo>
                  <a:lnTo>
                    <a:pt x="14447" y="244"/>
                  </a:lnTo>
                  <a:lnTo>
                    <a:pt x="13715" y="122"/>
                  </a:lnTo>
                  <a:lnTo>
                    <a:pt x="13045" y="61"/>
                  </a:lnTo>
                  <a:lnTo>
                    <a:pt x="12496" y="122"/>
                  </a:lnTo>
                  <a:lnTo>
                    <a:pt x="12069" y="183"/>
                  </a:lnTo>
                  <a:lnTo>
                    <a:pt x="11155" y="366"/>
                  </a:lnTo>
                  <a:lnTo>
                    <a:pt x="10302" y="671"/>
                  </a:lnTo>
                  <a:lnTo>
                    <a:pt x="9387" y="1097"/>
                  </a:lnTo>
                  <a:lnTo>
                    <a:pt x="8473" y="1463"/>
                  </a:lnTo>
                  <a:lnTo>
                    <a:pt x="7437" y="1829"/>
                  </a:lnTo>
                  <a:lnTo>
                    <a:pt x="6340" y="2134"/>
                  </a:lnTo>
                  <a:lnTo>
                    <a:pt x="5669" y="2256"/>
                  </a:lnTo>
                  <a:lnTo>
                    <a:pt x="4999" y="2377"/>
                  </a:lnTo>
                  <a:lnTo>
                    <a:pt x="3963" y="2438"/>
                  </a:lnTo>
                  <a:lnTo>
                    <a:pt x="3353" y="2438"/>
                  </a:lnTo>
                  <a:lnTo>
                    <a:pt x="2865" y="2377"/>
                  </a:lnTo>
                  <a:lnTo>
                    <a:pt x="2378" y="2256"/>
                  </a:lnTo>
                  <a:lnTo>
                    <a:pt x="1951" y="2134"/>
                  </a:lnTo>
                  <a:lnTo>
                    <a:pt x="1585" y="1951"/>
                  </a:lnTo>
                  <a:lnTo>
                    <a:pt x="1281" y="1768"/>
                  </a:lnTo>
                  <a:lnTo>
                    <a:pt x="793" y="1341"/>
                  </a:lnTo>
                  <a:lnTo>
                    <a:pt x="488" y="976"/>
                  </a:lnTo>
                  <a:lnTo>
                    <a:pt x="244" y="610"/>
                  </a:lnTo>
                  <a:lnTo>
                    <a:pt x="123" y="244"/>
                  </a:lnTo>
                  <a:lnTo>
                    <a:pt x="62" y="549"/>
                  </a:lnTo>
                  <a:lnTo>
                    <a:pt x="1" y="854"/>
                  </a:lnTo>
                  <a:lnTo>
                    <a:pt x="1" y="1219"/>
                  </a:lnTo>
                  <a:lnTo>
                    <a:pt x="62" y="1585"/>
                  </a:lnTo>
                  <a:lnTo>
                    <a:pt x="183" y="2012"/>
                  </a:lnTo>
                  <a:lnTo>
                    <a:pt x="366" y="2377"/>
                  </a:lnTo>
                  <a:lnTo>
                    <a:pt x="610" y="2743"/>
                  </a:lnTo>
                  <a:lnTo>
                    <a:pt x="915" y="3170"/>
                  </a:lnTo>
                  <a:lnTo>
                    <a:pt x="1220" y="3536"/>
                  </a:lnTo>
                  <a:lnTo>
                    <a:pt x="1585" y="3840"/>
                  </a:lnTo>
                  <a:lnTo>
                    <a:pt x="2073" y="4145"/>
                  </a:lnTo>
                  <a:lnTo>
                    <a:pt x="2561" y="4450"/>
                  </a:lnTo>
                  <a:lnTo>
                    <a:pt x="3109" y="4633"/>
                  </a:lnTo>
                  <a:lnTo>
                    <a:pt x="3719" y="4816"/>
                  </a:lnTo>
                  <a:lnTo>
                    <a:pt x="4389" y="4938"/>
                  </a:lnTo>
                  <a:lnTo>
                    <a:pt x="5791" y="4938"/>
                  </a:lnTo>
                  <a:lnTo>
                    <a:pt x="6523" y="4816"/>
                  </a:lnTo>
                  <a:lnTo>
                    <a:pt x="7315" y="4633"/>
                  </a:lnTo>
                  <a:lnTo>
                    <a:pt x="7803" y="4450"/>
                  </a:lnTo>
                  <a:lnTo>
                    <a:pt x="8229" y="4267"/>
                  </a:lnTo>
                  <a:lnTo>
                    <a:pt x="9022" y="3779"/>
                  </a:lnTo>
                  <a:lnTo>
                    <a:pt x="9753" y="3231"/>
                  </a:lnTo>
                  <a:lnTo>
                    <a:pt x="10424" y="2743"/>
                  </a:lnTo>
                  <a:lnTo>
                    <a:pt x="10911" y="2377"/>
                  </a:lnTo>
                  <a:lnTo>
                    <a:pt x="11521" y="2073"/>
                  </a:lnTo>
                  <a:lnTo>
                    <a:pt x="12130" y="1890"/>
                  </a:lnTo>
                  <a:lnTo>
                    <a:pt x="12496" y="1829"/>
                  </a:lnTo>
                  <a:lnTo>
                    <a:pt x="12862" y="1768"/>
                  </a:lnTo>
                  <a:lnTo>
                    <a:pt x="13106" y="1768"/>
                  </a:lnTo>
                  <a:lnTo>
                    <a:pt x="14020" y="1890"/>
                  </a:lnTo>
                  <a:lnTo>
                    <a:pt x="14873" y="2134"/>
                  </a:lnTo>
                  <a:lnTo>
                    <a:pt x="15666" y="2377"/>
                  </a:lnTo>
                  <a:lnTo>
                    <a:pt x="16397" y="2682"/>
                  </a:lnTo>
                  <a:lnTo>
                    <a:pt x="17129" y="2926"/>
                  </a:lnTo>
                  <a:lnTo>
                    <a:pt x="17799" y="3170"/>
                  </a:lnTo>
                  <a:lnTo>
                    <a:pt x="18591" y="3353"/>
                  </a:lnTo>
                  <a:lnTo>
                    <a:pt x="19384" y="3414"/>
                  </a:lnTo>
                  <a:lnTo>
                    <a:pt x="19871" y="3353"/>
                  </a:lnTo>
                  <a:lnTo>
                    <a:pt x="20420" y="3292"/>
                  </a:lnTo>
                  <a:lnTo>
                    <a:pt x="21030" y="3109"/>
                  </a:lnTo>
                  <a:lnTo>
                    <a:pt x="21517" y="2926"/>
                  </a:lnTo>
                  <a:lnTo>
                    <a:pt x="21883" y="2743"/>
                  </a:lnTo>
                  <a:lnTo>
                    <a:pt x="22614" y="2317"/>
                  </a:lnTo>
                  <a:lnTo>
                    <a:pt x="23285" y="1768"/>
                  </a:lnTo>
                  <a:lnTo>
                    <a:pt x="23772" y="1280"/>
                  </a:lnTo>
                  <a:lnTo>
                    <a:pt x="24199" y="793"/>
                  </a:lnTo>
                  <a:lnTo>
                    <a:pt x="24443" y="427"/>
                  </a:lnTo>
                  <a:lnTo>
                    <a:pt x="24687" y="0"/>
                  </a:lnTo>
                  <a:close/>
                </a:path>
              </a:pathLst>
            </a:custGeom>
            <a:solidFill>
              <a:srgbClr val="25502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0" name="Google Shape;1190;p16"/>
            <p:cNvSpPr/>
            <p:nvPr/>
          </p:nvSpPr>
          <p:spPr>
            <a:xfrm>
              <a:off x="6510225" y="3127200"/>
              <a:ext cx="617175" cy="123450"/>
            </a:xfrm>
            <a:custGeom>
              <a:avLst/>
              <a:gdLst/>
              <a:ahLst/>
              <a:cxnLst/>
              <a:rect l="l" t="t" r="r" b="b"/>
              <a:pathLst>
                <a:path w="24687" h="4938" fill="none" extrusionOk="0">
                  <a:moveTo>
                    <a:pt x="24687" y="0"/>
                  </a:moveTo>
                  <a:lnTo>
                    <a:pt x="24687" y="0"/>
                  </a:lnTo>
                  <a:lnTo>
                    <a:pt x="23407" y="549"/>
                  </a:lnTo>
                  <a:lnTo>
                    <a:pt x="22188" y="915"/>
                  </a:lnTo>
                  <a:lnTo>
                    <a:pt x="21030" y="1097"/>
                  </a:lnTo>
                  <a:lnTo>
                    <a:pt x="19932" y="1158"/>
                  </a:lnTo>
                  <a:lnTo>
                    <a:pt x="19932" y="1158"/>
                  </a:lnTo>
                  <a:lnTo>
                    <a:pt x="19323" y="1158"/>
                  </a:lnTo>
                  <a:lnTo>
                    <a:pt x="18652" y="1097"/>
                  </a:lnTo>
                  <a:lnTo>
                    <a:pt x="17311" y="854"/>
                  </a:lnTo>
                  <a:lnTo>
                    <a:pt x="15909" y="610"/>
                  </a:lnTo>
                  <a:lnTo>
                    <a:pt x="14447" y="244"/>
                  </a:lnTo>
                  <a:lnTo>
                    <a:pt x="14447" y="244"/>
                  </a:lnTo>
                  <a:lnTo>
                    <a:pt x="13715" y="122"/>
                  </a:lnTo>
                  <a:lnTo>
                    <a:pt x="13045" y="61"/>
                  </a:lnTo>
                  <a:lnTo>
                    <a:pt x="13045" y="61"/>
                  </a:lnTo>
                  <a:lnTo>
                    <a:pt x="12496" y="122"/>
                  </a:lnTo>
                  <a:lnTo>
                    <a:pt x="12069" y="183"/>
                  </a:lnTo>
                  <a:lnTo>
                    <a:pt x="11155" y="366"/>
                  </a:lnTo>
                  <a:lnTo>
                    <a:pt x="10302" y="671"/>
                  </a:lnTo>
                  <a:lnTo>
                    <a:pt x="9387" y="1097"/>
                  </a:lnTo>
                  <a:lnTo>
                    <a:pt x="8473" y="1463"/>
                  </a:lnTo>
                  <a:lnTo>
                    <a:pt x="7437" y="1829"/>
                  </a:lnTo>
                  <a:lnTo>
                    <a:pt x="6340" y="2134"/>
                  </a:lnTo>
                  <a:lnTo>
                    <a:pt x="5669" y="2256"/>
                  </a:lnTo>
                  <a:lnTo>
                    <a:pt x="4999" y="2377"/>
                  </a:lnTo>
                  <a:lnTo>
                    <a:pt x="4999" y="2377"/>
                  </a:lnTo>
                  <a:lnTo>
                    <a:pt x="3963" y="2438"/>
                  </a:lnTo>
                  <a:lnTo>
                    <a:pt x="3963" y="2438"/>
                  </a:lnTo>
                  <a:lnTo>
                    <a:pt x="3353" y="2438"/>
                  </a:lnTo>
                  <a:lnTo>
                    <a:pt x="2865" y="2377"/>
                  </a:lnTo>
                  <a:lnTo>
                    <a:pt x="2378" y="2256"/>
                  </a:lnTo>
                  <a:lnTo>
                    <a:pt x="1951" y="2134"/>
                  </a:lnTo>
                  <a:lnTo>
                    <a:pt x="1585" y="1951"/>
                  </a:lnTo>
                  <a:lnTo>
                    <a:pt x="1281" y="1768"/>
                  </a:lnTo>
                  <a:lnTo>
                    <a:pt x="793" y="1341"/>
                  </a:lnTo>
                  <a:lnTo>
                    <a:pt x="488" y="976"/>
                  </a:lnTo>
                  <a:lnTo>
                    <a:pt x="244" y="610"/>
                  </a:lnTo>
                  <a:lnTo>
                    <a:pt x="123" y="244"/>
                  </a:lnTo>
                  <a:lnTo>
                    <a:pt x="123" y="244"/>
                  </a:lnTo>
                  <a:lnTo>
                    <a:pt x="62" y="549"/>
                  </a:lnTo>
                  <a:lnTo>
                    <a:pt x="1" y="854"/>
                  </a:lnTo>
                  <a:lnTo>
                    <a:pt x="1" y="1219"/>
                  </a:lnTo>
                  <a:lnTo>
                    <a:pt x="62" y="1585"/>
                  </a:lnTo>
                  <a:lnTo>
                    <a:pt x="183" y="2012"/>
                  </a:lnTo>
                  <a:lnTo>
                    <a:pt x="366" y="2377"/>
                  </a:lnTo>
                  <a:lnTo>
                    <a:pt x="610" y="2743"/>
                  </a:lnTo>
                  <a:lnTo>
                    <a:pt x="915" y="3170"/>
                  </a:lnTo>
                  <a:lnTo>
                    <a:pt x="1220" y="3536"/>
                  </a:lnTo>
                  <a:lnTo>
                    <a:pt x="1585" y="3840"/>
                  </a:lnTo>
                  <a:lnTo>
                    <a:pt x="2073" y="4145"/>
                  </a:lnTo>
                  <a:lnTo>
                    <a:pt x="2561" y="4450"/>
                  </a:lnTo>
                  <a:lnTo>
                    <a:pt x="3109" y="4633"/>
                  </a:lnTo>
                  <a:lnTo>
                    <a:pt x="3719" y="4816"/>
                  </a:lnTo>
                  <a:lnTo>
                    <a:pt x="4389" y="4938"/>
                  </a:lnTo>
                  <a:lnTo>
                    <a:pt x="5060" y="4938"/>
                  </a:lnTo>
                  <a:lnTo>
                    <a:pt x="5060" y="4938"/>
                  </a:lnTo>
                  <a:lnTo>
                    <a:pt x="5791" y="4938"/>
                  </a:lnTo>
                  <a:lnTo>
                    <a:pt x="6523" y="4816"/>
                  </a:lnTo>
                  <a:lnTo>
                    <a:pt x="6523" y="4816"/>
                  </a:lnTo>
                  <a:lnTo>
                    <a:pt x="7315" y="4633"/>
                  </a:lnTo>
                  <a:lnTo>
                    <a:pt x="7315" y="4633"/>
                  </a:lnTo>
                  <a:lnTo>
                    <a:pt x="7803" y="4450"/>
                  </a:lnTo>
                  <a:lnTo>
                    <a:pt x="8229" y="4267"/>
                  </a:lnTo>
                  <a:lnTo>
                    <a:pt x="9022" y="3779"/>
                  </a:lnTo>
                  <a:lnTo>
                    <a:pt x="9753" y="3231"/>
                  </a:lnTo>
                  <a:lnTo>
                    <a:pt x="10424" y="2743"/>
                  </a:lnTo>
                  <a:lnTo>
                    <a:pt x="10424" y="2743"/>
                  </a:lnTo>
                  <a:lnTo>
                    <a:pt x="10911" y="2377"/>
                  </a:lnTo>
                  <a:lnTo>
                    <a:pt x="11521" y="2073"/>
                  </a:lnTo>
                  <a:lnTo>
                    <a:pt x="12130" y="1890"/>
                  </a:lnTo>
                  <a:lnTo>
                    <a:pt x="12496" y="1829"/>
                  </a:lnTo>
                  <a:lnTo>
                    <a:pt x="12862" y="1768"/>
                  </a:lnTo>
                  <a:lnTo>
                    <a:pt x="12862" y="1768"/>
                  </a:lnTo>
                  <a:lnTo>
                    <a:pt x="13106" y="1768"/>
                  </a:lnTo>
                  <a:lnTo>
                    <a:pt x="13106" y="1768"/>
                  </a:lnTo>
                  <a:lnTo>
                    <a:pt x="14020" y="1890"/>
                  </a:lnTo>
                  <a:lnTo>
                    <a:pt x="14873" y="2134"/>
                  </a:lnTo>
                  <a:lnTo>
                    <a:pt x="15666" y="2377"/>
                  </a:lnTo>
                  <a:lnTo>
                    <a:pt x="16397" y="2682"/>
                  </a:lnTo>
                  <a:lnTo>
                    <a:pt x="17129" y="2926"/>
                  </a:lnTo>
                  <a:lnTo>
                    <a:pt x="17799" y="3170"/>
                  </a:lnTo>
                  <a:lnTo>
                    <a:pt x="18591" y="3353"/>
                  </a:lnTo>
                  <a:lnTo>
                    <a:pt x="19384" y="3414"/>
                  </a:lnTo>
                  <a:lnTo>
                    <a:pt x="19384" y="3414"/>
                  </a:lnTo>
                  <a:lnTo>
                    <a:pt x="19871" y="3353"/>
                  </a:lnTo>
                  <a:lnTo>
                    <a:pt x="20420" y="3292"/>
                  </a:lnTo>
                  <a:lnTo>
                    <a:pt x="20420" y="3292"/>
                  </a:lnTo>
                  <a:lnTo>
                    <a:pt x="21030" y="3109"/>
                  </a:lnTo>
                  <a:lnTo>
                    <a:pt x="21030" y="3109"/>
                  </a:lnTo>
                  <a:lnTo>
                    <a:pt x="21517" y="2926"/>
                  </a:lnTo>
                  <a:lnTo>
                    <a:pt x="21883" y="2743"/>
                  </a:lnTo>
                  <a:lnTo>
                    <a:pt x="22614" y="2317"/>
                  </a:lnTo>
                  <a:lnTo>
                    <a:pt x="23285" y="1768"/>
                  </a:lnTo>
                  <a:lnTo>
                    <a:pt x="23772" y="1280"/>
                  </a:lnTo>
                  <a:lnTo>
                    <a:pt x="24199" y="793"/>
                  </a:lnTo>
                  <a:lnTo>
                    <a:pt x="24443" y="427"/>
                  </a:lnTo>
                  <a:lnTo>
                    <a:pt x="2468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1" name="Google Shape;1191;p16"/>
            <p:cNvSpPr/>
            <p:nvPr/>
          </p:nvSpPr>
          <p:spPr>
            <a:xfrm>
              <a:off x="7127375" y="31272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92" name="Google Shape;1192;p16"/>
          <p:cNvGrpSpPr/>
          <p:nvPr/>
        </p:nvGrpSpPr>
        <p:grpSpPr>
          <a:xfrm>
            <a:off x="4368961" y="4918645"/>
            <a:ext cx="855207" cy="872289"/>
            <a:chOff x="2512555" y="775707"/>
            <a:chExt cx="1254704" cy="1564363"/>
          </a:xfrm>
        </p:grpSpPr>
        <p:sp>
          <p:nvSpPr>
            <p:cNvPr id="1193" name="Google Shape;1193;p16"/>
            <p:cNvSpPr/>
            <p:nvPr/>
          </p:nvSpPr>
          <p:spPr>
            <a:xfrm>
              <a:off x="2867626" y="1351756"/>
              <a:ext cx="310611" cy="319112"/>
            </a:xfrm>
            <a:custGeom>
              <a:avLst/>
              <a:gdLst/>
              <a:ahLst/>
              <a:cxnLst/>
              <a:rect l="l" t="t" r="r" b="b"/>
              <a:pathLst>
                <a:path w="42017" h="43167" extrusionOk="0">
                  <a:moveTo>
                    <a:pt x="18222" y="1"/>
                  </a:moveTo>
                  <a:lnTo>
                    <a:pt x="16895" y="89"/>
                  </a:lnTo>
                  <a:lnTo>
                    <a:pt x="16276" y="178"/>
                  </a:lnTo>
                  <a:lnTo>
                    <a:pt x="15745" y="355"/>
                  </a:lnTo>
                  <a:lnTo>
                    <a:pt x="15214" y="532"/>
                  </a:lnTo>
                  <a:lnTo>
                    <a:pt x="14772" y="797"/>
                  </a:lnTo>
                  <a:lnTo>
                    <a:pt x="13976" y="1416"/>
                  </a:lnTo>
                  <a:lnTo>
                    <a:pt x="13268" y="2124"/>
                  </a:lnTo>
                  <a:lnTo>
                    <a:pt x="12561" y="2743"/>
                  </a:lnTo>
                  <a:lnTo>
                    <a:pt x="11853" y="3451"/>
                  </a:lnTo>
                  <a:lnTo>
                    <a:pt x="11057" y="3981"/>
                  </a:lnTo>
                  <a:lnTo>
                    <a:pt x="10615" y="4158"/>
                  </a:lnTo>
                  <a:lnTo>
                    <a:pt x="10172" y="4335"/>
                  </a:lnTo>
                  <a:lnTo>
                    <a:pt x="9730" y="4424"/>
                  </a:lnTo>
                  <a:lnTo>
                    <a:pt x="9376" y="4424"/>
                  </a:lnTo>
                  <a:lnTo>
                    <a:pt x="8580" y="4335"/>
                  </a:lnTo>
                  <a:lnTo>
                    <a:pt x="7784" y="4158"/>
                  </a:lnTo>
                  <a:lnTo>
                    <a:pt x="6988" y="4158"/>
                  </a:lnTo>
                  <a:lnTo>
                    <a:pt x="6457" y="4335"/>
                  </a:lnTo>
                  <a:lnTo>
                    <a:pt x="6015" y="4512"/>
                  </a:lnTo>
                  <a:lnTo>
                    <a:pt x="5661" y="4866"/>
                  </a:lnTo>
                  <a:lnTo>
                    <a:pt x="5307" y="5220"/>
                  </a:lnTo>
                  <a:lnTo>
                    <a:pt x="4954" y="5662"/>
                  </a:lnTo>
                  <a:lnTo>
                    <a:pt x="4688" y="6104"/>
                  </a:lnTo>
                  <a:lnTo>
                    <a:pt x="4334" y="7077"/>
                  </a:lnTo>
                  <a:lnTo>
                    <a:pt x="3804" y="9112"/>
                  </a:lnTo>
                  <a:lnTo>
                    <a:pt x="3538" y="10173"/>
                  </a:lnTo>
                  <a:lnTo>
                    <a:pt x="3361" y="10616"/>
                  </a:lnTo>
                  <a:lnTo>
                    <a:pt x="3096" y="11058"/>
                  </a:lnTo>
                  <a:lnTo>
                    <a:pt x="2565" y="11765"/>
                  </a:lnTo>
                  <a:lnTo>
                    <a:pt x="1946" y="12385"/>
                  </a:lnTo>
                  <a:lnTo>
                    <a:pt x="1238" y="13004"/>
                  </a:lnTo>
                  <a:lnTo>
                    <a:pt x="708" y="13623"/>
                  </a:lnTo>
                  <a:lnTo>
                    <a:pt x="442" y="14065"/>
                  </a:lnTo>
                  <a:lnTo>
                    <a:pt x="265" y="14419"/>
                  </a:lnTo>
                  <a:lnTo>
                    <a:pt x="88" y="14861"/>
                  </a:lnTo>
                  <a:lnTo>
                    <a:pt x="0" y="15304"/>
                  </a:lnTo>
                  <a:lnTo>
                    <a:pt x="0" y="15746"/>
                  </a:lnTo>
                  <a:lnTo>
                    <a:pt x="88" y="16188"/>
                  </a:lnTo>
                  <a:lnTo>
                    <a:pt x="177" y="16630"/>
                  </a:lnTo>
                  <a:lnTo>
                    <a:pt x="442" y="16984"/>
                  </a:lnTo>
                  <a:lnTo>
                    <a:pt x="796" y="17250"/>
                  </a:lnTo>
                  <a:lnTo>
                    <a:pt x="1150" y="17427"/>
                  </a:lnTo>
                  <a:lnTo>
                    <a:pt x="1504" y="17692"/>
                  </a:lnTo>
                  <a:lnTo>
                    <a:pt x="1858" y="17957"/>
                  </a:lnTo>
                  <a:lnTo>
                    <a:pt x="2211" y="18488"/>
                  </a:lnTo>
                  <a:lnTo>
                    <a:pt x="2388" y="18930"/>
                  </a:lnTo>
                  <a:lnTo>
                    <a:pt x="2388" y="19549"/>
                  </a:lnTo>
                  <a:lnTo>
                    <a:pt x="2300" y="20169"/>
                  </a:lnTo>
                  <a:lnTo>
                    <a:pt x="2034" y="21319"/>
                  </a:lnTo>
                  <a:lnTo>
                    <a:pt x="1681" y="22557"/>
                  </a:lnTo>
                  <a:lnTo>
                    <a:pt x="1592" y="23265"/>
                  </a:lnTo>
                  <a:lnTo>
                    <a:pt x="1681" y="23884"/>
                  </a:lnTo>
                  <a:lnTo>
                    <a:pt x="1769" y="24591"/>
                  </a:lnTo>
                  <a:lnTo>
                    <a:pt x="1946" y="25211"/>
                  </a:lnTo>
                  <a:lnTo>
                    <a:pt x="2211" y="25830"/>
                  </a:lnTo>
                  <a:lnTo>
                    <a:pt x="2565" y="26449"/>
                  </a:lnTo>
                  <a:lnTo>
                    <a:pt x="2919" y="26980"/>
                  </a:lnTo>
                  <a:lnTo>
                    <a:pt x="3450" y="27422"/>
                  </a:lnTo>
                  <a:lnTo>
                    <a:pt x="4246" y="28041"/>
                  </a:lnTo>
                  <a:lnTo>
                    <a:pt x="5042" y="28660"/>
                  </a:lnTo>
                  <a:lnTo>
                    <a:pt x="5396" y="29014"/>
                  </a:lnTo>
                  <a:lnTo>
                    <a:pt x="5661" y="29368"/>
                  </a:lnTo>
                  <a:lnTo>
                    <a:pt x="5927" y="29722"/>
                  </a:lnTo>
                  <a:lnTo>
                    <a:pt x="6103" y="30164"/>
                  </a:lnTo>
                  <a:lnTo>
                    <a:pt x="6103" y="30606"/>
                  </a:lnTo>
                  <a:lnTo>
                    <a:pt x="6103" y="30960"/>
                  </a:lnTo>
                  <a:lnTo>
                    <a:pt x="6015" y="31756"/>
                  </a:lnTo>
                  <a:lnTo>
                    <a:pt x="5927" y="32552"/>
                  </a:lnTo>
                  <a:lnTo>
                    <a:pt x="6015" y="32906"/>
                  </a:lnTo>
                  <a:lnTo>
                    <a:pt x="6192" y="33260"/>
                  </a:lnTo>
                  <a:lnTo>
                    <a:pt x="6457" y="33614"/>
                  </a:lnTo>
                  <a:lnTo>
                    <a:pt x="6900" y="33968"/>
                  </a:lnTo>
                  <a:lnTo>
                    <a:pt x="7430" y="34145"/>
                  </a:lnTo>
                  <a:lnTo>
                    <a:pt x="7961" y="34233"/>
                  </a:lnTo>
                  <a:lnTo>
                    <a:pt x="9111" y="34498"/>
                  </a:lnTo>
                  <a:lnTo>
                    <a:pt x="9642" y="34675"/>
                  </a:lnTo>
                  <a:lnTo>
                    <a:pt x="10084" y="34941"/>
                  </a:lnTo>
                  <a:lnTo>
                    <a:pt x="10438" y="35206"/>
                  </a:lnTo>
                  <a:lnTo>
                    <a:pt x="10615" y="35560"/>
                  </a:lnTo>
                  <a:lnTo>
                    <a:pt x="10968" y="36267"/>
                  </a:lnTo>
                  <a:lnTo>
                    <a:pt x="11588" y="37771"/>
                  </a:lnTo>
                  <a:lnTo>
                    <a:pt x="11941" y="38390"/>
                  </a:lnTo>
                  <a:lnTo>
                    <a:pt x="12295" y="39010"/>
                  </a:lnTo>
                  <a:lnTo>
                    <a:pt x="12826" y="39540"/>
                  </a:lnTo>
                  <a:lnTo>
                    <a:pt x="13445" y="39983"/>
                  </a:lnTo>
                  <a:lnTo>
                    <a:pt x="14064" y="40425"/>
                  </a:lnTo>
                  <a:lnTo>
                    <a:pt x="14772" y="40690"/>
                  </a:lnTo>
                  <a:lnTo>
                    <a:pt x="15480" y="40867"/>
                  </a:lnTo>
                  <a:lnTo>
                    <a:pt x="16895" y="40867"/>
                  </a:lnTo>
                  <a:lnTo>
                    <a:pt x="17691" y="40779"/>
                  </a:lnTo>
                  <a:lnTo>
                    <a:pt x="18487" y="40779"/>
                  </a:lnTo>
                  <a:lnTo>
                    <a:pt x="18841" y="40867"/>
                  </a:lnTo>
                  <a:lnTo>
                    <a:pt x="19195" y="40956"/>
                  </a:lnTo>
                  <a:lnTo>
                    <a:pt x="19725" y="41132"/>
                  </a:lnTo>
                  <a:lnTo>
                    <a:pt x="20079" y="41486"/>
                  </a:lnTo>
                  <a:lnTo>
                    <a:pt x="20875" y="42105"/>
                  </a:lnTo>
                  <a:lnTo>
                    <a:pt x="21760" y="42725"/>
                  </a:lnTo>
                  <a:lnTo>
                    <a:pt x="22202" y="42990"/>
                  </a:lnTo>
                  <a:lnTo>
                    <a:pt x="22644" y="43079"/>
                  </a:lnTo>
                  <a:lnTo>
                    <a:pt x="23087" y="43167"/>
                  </a:lnTo>
                  <a:lnTo>
                    <a:pt x="23529" y="43167"/>
                  </a:lnTo>
                  <a:lnTo>
                    <a:pt x="23971" y="42990"/>
                  </a:lnTo>
                  <a:lnTo>
                    <a:pt x="24325" y="42902"/>
                  </a:lnTo>
                  <a:lnTo>
                    <a:pt x="24591" y="42636"/>
                  </a:lnTo>
                  <a:lnTo>
                    <a:pt x="24944" y="42371"/>
                  </a:lnTo>
                  <a:lnTo>
                    <a:pt x="25475" y="41663"/>
                  </a:lnTo>
                  <a:lnTo>
                    <a:pt x="26360" y="40071"/>
                  </a:lnTo>
                  <a:lnTo>
                    <a:pt x="26890" y="39186"/>
                  </a:lnTo>
                  <a:lnTo>
                    <a:pt x="27421" y="38479"/>
                  </a:lnTo>
                  <a:lnTo>
                    <a:pt x="27863" y="38037"/>
                  </a:lnTo>
                  <a:lnTo>
                    <a:pt x="28394" y="37683"/>
                  </a:lnTo>
                  <a:lnTo>
                    <a:pt x="29367" y="37064"/>
                  </a:lnTo>
                  <a:lnTo>
                    <a:pt x="30517" y="36533"/>
                  </a:lnTo>
                  <a:lnTo>
                    <a:pt x="31667" y="36002"/>
                  </a:lnTo>
                  <a:lnTo>
                    <a:pt x="32728" y="35471"/>
                  </a:lnTo>
                  <a:lnTo>
                    <a:pt x="33171" y="35206"/>
                  </a:lnTo>
                  <a:lnTo>
                    <a:pt x="33701" y="34852"/>
                  </a:lnTo>
                  <a:lnTo>
                    <a:pt x="34055" y="34498"/>
                  </a:lnTo>
                  <a:lnTo>
                    <a:pt x="34409" y="34056"/>
                  </a:lnTo>
                  <a:lnTo>
                    <a:pt x="34674" y="33525"/>
                  </a:lnTo>
                  <a:lnTo>
                    <a:pt x="34851" y="32995"/>
                  </a:lnTo>
                  <a:lnTo>
                    <a:pt x="35028" y="31845"/>
                  </a:lnTo>
                  <a:lnTo>
                    <a:pt x="35205" y="31314"/>
                  </a:lnTo>
                  <a:lnTo>
                    <a:pt x="35470" y="30872"/>
                  </a:lnTo>
                  <a:lnTo>
                    <a:pt x="35736" y="30695"/>
                  </a:lnTo>
                  <a:lnTo>
                    <a:pt x="35913" y="30518"/>
                  </a:lnTo>
                  <a:lnTo>
                    <a:pt x="36443" y="30341"/>
                  </a:lnTo>
                  <a:lnTo>
                    <a:pt x="36974" y="30164"/>
                  </a:lnTo>
                  <a:lnTo>
                    <a:pt x="37505" y="29899"/>
                  </a:lnTo>
                  <a:lnTo>
                    <a:pt x="37859" y="29456"/>
                  </a:lnTo>
                  <a:lnTo>
                    <a:pt x="38036" y="29014"/>
                  </a:lnTo>
                  <a:lnTo>
                    <a:pt x="38124" y="28483"/>
                  </a:lnTo>
                  <a:lnTo>
                    <a:pt x="38124" y="27953"/>
                  </a:lnTo>
                  <a:lnTo>
                    <a:pt x="38213" y="26803"/>
                  </a:lnTo>
                  <a:lnTo>
                    <a:pt x="38213" y="26184"/>
                  </a:lnTo>
                  <a:lnTo>
                    <a:pt x="38301" y="25741"/>
                  </a:lnTo>
                  <a:lnTo>
                    <a:pt x="38566" y="25299"/>
                  </a:lnTo>
                  <a:lnTo>
                    <a:pt x="38832" y="24857"/>
                  </a:lnTo>
                  <a:lnTo>
                    <a:pt x="39628" y="23441"/>
                  </a:lnTo>
                  <a:lnTo>
                    <a:pt x="40247" y="22115"/>
                  </a:lnTo>
                  <a:lnTo>
                    <a:pt x="40778" y="20699"/>
                  </a:lnTo>
                  <a:lnTo>
                    <a:pt x="41220" y="19284"/>
                  </a:lnTo>
                  <a:lnTo>
                    <a:pt x="41574" y="17869"/>
                  </a:lnTo>
                  <a:lnTo>
                    <a:pt x="41839" y="16454"/>
                  </a:lnTo>
                  <a:lnTo>
                    <a:pt x="41928" y="15038"/>
                  </a:lnTo>
                  <a:lnTo>
                    <a:pt x="42016" y="13711"/>
                  </a:lnTo>
                  <a:lnTo>
                    <a:pt x="41928" y="12296"/>
                  </a:lnTo>
                  <a:lnTo>
                    <a:pt x="41751" y="10969"/>
                  </a:lnTo>
                  <a:lnTo>
                    <a:pt x="41485" y="9731"/>
                  </a:lnTo>
                  <a:lnTo>
                    <a:pt x="41043" y="8493"/>
                  </a:lnTo>
                  <a:lnTo>
                    <a:pt x="40601" y="7343"/>
                  </a:lnTo>
                  <a:lnTo>
                    <a:pt x="39982" y="6193"/>
                  </a:lnTo>
                  <a:lnTo>
                    <a:pt x="39274" y="5131"/>
                  </a:lnTo>
                  <a:lnTo>
                    <a:pt x="38478" y="4158"/>
                  </a:lnTo>
                  <a:lnTo>
                    <a:pt x="37682" y="3451"/>
                  </a:lnTo>
                  <a:lnTo>
                    <a:pt x="36886" y="2831"/>
                  </a:lnTo>
                  <a:lnTo>
                    <a:pt x="36001" y="2212"/>
                  </a:lnTo>
                  <a:lnTo>
                    <a:pt x="35117" y="1682"/>
                  </a:lnTo>
                  <a:lnTo>
                    <a:pt x="34144" y="1239"/>
                  </a:lnTo>
                  <a:lnTo>
                    <a:pt x="33171" y="885"/>
                  </a:lnTo>
                  <a:lnTo>
                    <a:pt x="32109" y="620"/>
                  </a:lnTo>
                  <a:lnTo>
                    <a:pt x="31048" y="443"/>
                  </a:lnTo>
                  <a:lnTo>
                    <a:pt x="29986" y="266"/>
                  </a:lnTo>
                  <a:lnTo>
                    <a:pt x="28925" y="178"/>
                  </a:lnTo>
                  <a:lnTo>
                    <a:pt x="27775" y="178"/>
                  </a:lnTo>
                  <a:lnTo>
                    <a:pt x="26625" y="266"/>
                  </a:lnTo>
                  <a:lnTo>
                    <a:pt x="25475" y="443"/>
                  </a:lnTo>
                  <a:lnTo>
                    <a:pt x="24325" y="709"/>
                  </a:lnTo>
                  <a:lnTo>
                    <a:pt x="23175" y="974"/>
                  </a:lnTo>
                  <a:lnTo>
                    <a:pt x="22025" y="1328"/>
                  </a:lnTo>
                  <a:lnTo>
                    <a:pt x="21848" y="1151"/>
                  </a:lnTo>
                  <a:lnTo>
                    <a:pt x="21318" y="797"/>
                  </a:lnTo>
                  <a:lnTo>
                    <a:pt x="20698" y="532"/>
                  </a:lnTo>
                  <a:lnTo>
                    <a:pt x="20079" y="266"/>
                  </a:lnTo>
                  <a:lnTo>
                    <a:pt x="19460" y="89"/>
                  </a:lnTo>
                  <a:lnTo>
                    <a:pt x="18841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4" name="Google Shape;1194;p16"/>
            <p:cNvSpPr/>
            <p:nvPr/>
          </p:nvSpPr>
          <p:spPr>
            <a:xfrm>
              <a:off x="3447580" y="1785254"/>
              <a:ext cx="88939" cy="101366"/>
            </a:xfrm>
            <a:custGeom>
              <a:avLst/>
              <a:gdLst/>
              <a:ahLst/>
              <a:cxnLst/>
              <a:rect l="l" t="t" r="r" b="b"/>
              <a:pathLst>
                <a:path w="12031" h="13712" extrusionOk="0">
                  <a:moveTo>
                    <a:pt x="9023" y="1"/>
                  </a:moveTo>
                  <a:lnTo>
                    <a:pt x="7961" y="89"/>
                  </a:lnTo>
                  <a:lnTo>
                    <a:pt x="6988" y="266"/>
                  </a:lnTo>
                  <a:lnTo>
                    <a:pt x="6281" y="531"/>
                  </a:lnTo>
                  <a:lnTo>
                    <a:pt x="5662" y="1062"/>
                  </a:lnTo>
                  <a:lnTo>
                    <a:pt x="4777" y="1947"/>
                  </a:lnTo>
                  <a:lnTo>
                    <a:pt x="3627" y="3185"/>
                  </a:lnTo>
                  <a:lnTo>
                    <a:pt x="2566" y="4512"/>
                  </a:lnTo>
                  <a:lnTo>
                    <a:pt x="1504" y="5927"/>
                  </a:lnTo>
                  <a:lnTo>
                    <a:pt x="620" y="7165"/>
                  </a:lnTo>
                  <a:lnTo>
                    <a:pt x="354" y="7785"/>
                  </a:lnTo>
                  <a:lnTo>
                    <a:pt x="89" y="8227"/>
                  </a:lnTo>
                  <a:lnTo>
                    <a:pt x="1" y="8669"/>
                  </a:lnTo>
                  <a:lnTo>
                    <a:pt x="1" y="8935"/>
                  </a:lnTo>
                  <a:lnTo>
                    <a:pt x="354" y="9023"/>
                  </a:lnTo>
                  <a:lnTo>
                    <a:pt x="797" y="9111"/>
                  </a:lnTo>
                  <a:lnTo>
                    <a:pt x="1593" y="9731"/>
                  </a:lnTo>
                  <a:lnTo>
                    <a:pt x="2566" y="10438"/>
                  </a:lnTo>
                  <a:lnTo>
                    <a:pt x="3627" y="11323"/>
                  </a:lnTo>
                  <a:lnTo>
                    <a:pt x="4689" y="12207"/>
                  </a:lnTo>
                  <a:lnTo>
                    <a:pt x="5662" y="13003"/>
                  </a:lnTo>
                  <a:lnTo>
                    <a:pt x="6546" y="13534"/>
                  </a:lnTo>
                  <a:lnTo>
                    <a:pt x="6900" y="13623"/>
                  </a:lnTo>
                  <a:lnTo>
                    <a:pt x="7254" y="13711"/>
                  </a:lnTo>
                  <a:lnTo>
                    <a:pt x="7961" y="13623"/>
                  </a:lnTo>
                  <a:lnTo>
                    <a:pt x="8669" y="13446"/>
                  </a:lnTo>
                  <a:lnTo>
                    <a:pt x="9200" y="13269"/>
                  </a:lnTo>
                  <a:lnTo>
                    <a:pt x="9731" y="13003"/>
                  </a:lnTo>
                  <a:lnTo>
                    <a:pt x="10173" y="12650"/>
                  </a:lnTo>
                  <a:lnTo>
                    <a:pt x="10615" y="12296"/>
                  </a:lnTo>
                  <a:lnTo>
                    <a:pt x="10969" y="11854"/>
                  </a:lnTo>
                  <a:lnTo>
                    <a:pt x="11234" y="11411"/>
                  </a:lnTo>
                  <a:lnTo>
                    <a:pt x="11500" y="10881"/>
                  </a:lnTo>
                  <a:lnTo>
                    <a:pt x="11677" y="10350"/>
                  </a:lnTo>
                  <a:lnTo>
                    <a:pt x="11942" y="9200"/>
                  </a:lnTo>
                  <a:lnTo>
                    <a:pt x="12030" y="7962"/>
                  </a:lnTo>
                  <a:lnTo>
                    <a:pt x="11942" y="6723"/>
                  </a:lnTo>
                  <a:lnTo>
                    <a:pt x="11854" y="5485"/>
                  </a:lnTo>
                  <a:lnTo>
                    <a:pt x="11588" y="4335"/>
                  </a:lnTo>
                  <a:lnTo>
                    <a:pt x="11323" y="3185"/>
                  </a:lnTo>
                  <a:lnTo>
                    <a:pt x="10969" y="2212"/>
                  </a:lnTo>
                  <a:lnTo>
                    <a:pt x="10615" y="1327"/>
                  </a:lnTo>
                  <a:lnTo>
                    <a:pt x="10261" y="708"/>
                  </a:lnTo>
                  <a:lnTo>
                    <a:pt x="9996" y="266"/>
                  </a:lnTo>
                  <a:lnTo>
                    <a:pt x="9731" y="1"/>
                  </a:lnTo>
                  <a:close/>
                </a:path>
              </a:pathLst>
            </a:custGeom>
            <a:solidFill>
              <a:srgbClr val="FF998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" name="Google Shape;1195;p16"/>
            <p:cNvSpPr/>
            <p:nvPr/>
          </p:nvSpPr>
          <p:spPr>
            <a:xfrm>
              <a:off x="3144848" y="1972909"/>
              <a:ext cx="307343" cy="351802"/>
            </a:xfrm>
            <a:custGeom>
              <a:avLst/>
              <a:gdLst/>
              <a:ahLst/>
              <a:cxnLst/>
              <a:rect l="l" t="t" r="r" b="b"/>
              <a:pathLst>
                <a:path w="41575" h="47589" extrusionOk="0">
                  <a:moveTo>
                    <a:pt x="178" y="0"/>
                  </a:moveTo>
                  <a:lnTo>
                    <a:pt x="89" y="4511"/>
                  </a:lnTo>
                  <a:lnTo>
                    <a:pt x="1" y="9907"/>
                  </a:lnTo>
                  <a:lnTo>
                    <a:pt x="89" y="15922"/>
                  </a:lnTo>
                  <a:lnTo>
                    <a:pt x="266" y="22291"/>
                  </a:lnTo>
                  <a:lnTo>
                    <a:pt x="532" y="28837"/>
                  </a:lnTo>
                  <a:lnTo>
                    <a:pt x="797" y="35382"/>
                  </a:lnTo>
                  <a:lnTo>
                    <a:pt x="1151" y="41663"/>
                  </a:lnTo>
                  <a:lnTo>
                    <a:pt x="1505" y="47589"/>
                  </a:lnTo>
                  <a:lnTo>
                    <a:pt x="18046" y="47589"/>
                  </a:lnTo>
                  <a:lnTo>
                    <a:pt x="17957" y="46881"/>
                  </a:lnTo>
                  <a:lnTo>
                    <a:pt x="17869" y="45820"/>
                  </a:lnTo>
                  <a:lnTo>
                    <a:pt x="17869" y="44758"/>
                  </a:lnTo>
                  <a:lnTo>
                    <a:pt x="18046" y="43785"/>
                  </a:lnTo>
                  <a:lnTo>
                    <a:pt x="18223" y="42724"/>
                  </a:lnTo>
                  <a:lnTo>
                    <a:pt x="18576" y="40690"/>
                  </a:lnTo>
                  <a:lnTo>
                    <a:pt x="18665" y="39628"/>
                  </a:lnTo>
                  <a:lnTo>
                    <a:pt x="18665" y="38567"/>
                  </a:lnTo>
                  <a:lnTo>
                    <a:pt x="18400" y="37417"/>
                  </a:lnTo>
                  <a:lnTo>
                    <a:pt x="18046" y="36355"/>
                  </a:lnTo>
                  <a:lnTo>
                    <a:pt x="17692" y="35205"/>
                  </a:lnTo>
                  <a:lnTo>
                    <a:pt x="17427" y="34055"/>
                  </a:lnTo>
                  <a:lnTo>
                    <a:pt x="17515" y="32021"/>
                  </a:lnTo>
                  <a:lnTo>
                    <a:pt x="17869" y="30783"/>
                  </a:lnTo>
                  <a:lnTo>
                    <a:pt x="18311" y="29456"/>
                  </a:lnTo>
                  <a:lnTo>
                    <a:pt x="18753" y="28217"/>
                  </a:lnTo>
                  <a:lnTo>
                    <a:pt x="18842" y="27598"/>
                  </a:lnTo>
                  <a:lnTo>
                    <a:pt x="19019" y="26891"/>
                  </a:lnTo>
                  <a:lnTo>
                    <a:pt x="19019" y="25829"/>
                  </a:lnTo>
                  <a:lnTo>
                    <a:pt x="18930" y="24768"/>
                  </a:lnTo>
                  <a:lnTo>
                    <a:pt x="18576" y="22556"/>
                  </a:lnTo>
                  <a:lnTo>
                    <a:pt x="18400" y="21495"/>
                  </a:lnTo>
                  <a:lnTo>
                    <a:pt x="18223" y="20433"/>
                  </a:lnTo>
                  <a:lnTo>
                    <a:pt x="18223" y="19372"/>
                  </a:lnTo>
                  <a:lnTo>
                    <a:pt x="18311" y="18310"/>
                  </a:lnTo>
                  <a:lnTo>
                    <a:pt x="18576" y="17514"/>
                  </a:lnTo>
                  <a:lnTo>
                    <a:pt x="18842" y="16718"/>
                  </a:lnTo>
                  <a:lnTo>
                    <a:pt x="19373" y="15214"/>
                  </a:lnTo>
                  <a:lnTo>
                    <a:pt x="20257" y="15214"/>
                  </a:lnTo>
                  <a:lnTo>
                    <a:pt x="20699" y="23175"/>
                  </a:lnTo>
                  <a:lnTo>
                    <a:pt x="21142" y="31490"/>
                  </a:lnTo>
                  <a:lnTo>
                    <a:pt x="21761" y="39717"/>
                  </a:lnTo>
                  <a:lnTo>
                    <a:pt x="22380" y="47589"/>
                  </a:lnTo>
                  <a:lnTo>
                    <a:pt x="39983" y="47589"/>
                  </a:lnTo>
                  <a:lnTo>
                    <a:pt x="39983" y="47235"/>
                  </a:lnTo>
                  <a:lnTo>
                    <a:pt x="39983" y="46970"/>
                  </a:lnTo>
                  <a:lnTo>
                    <a:pt x="39894" y="46351"/>
                  </a:lnTo>
                  <a:lnTo>
                    <a:pt x="39717" y="45289"/>
                  </a:lnTo>
                  <a:lnTo>
                    <a:pt x="39806" y="44228"/>
                  </a:lnTo>
                  <a:lnTo>
                    <a:pt x="39894" y="43255"/>
                  </a:lnTo>
                  <a:lnTo>
                    <a:pt x="40159" y="42193"/>
                  </a:lnTo>
                  <a:lnTo>
                    <a:pt x="40513" y="40159"/>
                  </a:lnTo>
                  <a:lnTo>
                    <a:pt x="40602" y="39097"/>
                  </a:lnTo>
                  <a:lnTo>
                    <a:pt x="40513" y="38036"/>
                  </a:lnTo>
                  <a:lnTo>
                    <a:pt x="40336" y="37063"/>
                  </a:lnTo>
                  <a:lnTo>
                    <a:pt x="40071" y="36001"/>
                  </a:lnTo>
                  <a:lnTo>
                    <a:pt x="39717" y="35028"/>
                  </a:lnTo>
                  <a:lnTo>
                    <a:pt x="39452" y="33967"/>
                  </a:lnTo>
                  <a:lnTo>
                    <a:pt x="39452" y="31225"/>
                  </a:lnTo>
                  <a:lnTo>
                    <a:pt x="39806" y="29986"/>
                  </a:lnTo>
                  <a:lnTo>
                    <a:pt x="40248" y="28837"/>
                  </a:lnTo>
                  <a:lnTo>
                    <a:pt x="40602" y="27598"/>
                  </a:lnTo>
                  <a:lnTo>
                    <a:pt x="40867" y="26360"/>
                  </a:lnTo>
                  <a:lnTo>
                    <a:pt x="40956" y="25298"/>
                  </a:lnTo>
                  <a:lnTo>
                    <a:pt x="40867" y="24237"/>
                  </a:lnTo>
                  <a:lnTo>
                    <a:pt x="40513" y="22026"/>
                  </a:lnTo>
                  <a:lnTo>
                    <a:pt x="40336" y="20964"/>
                  </a:lnTo>
                  <a:lnTo>
                    <a:pt x="40159" y="19903"/>
                  </a:lnTo>
                  <a:lnTo>
                    <a:pt x="40159" y="18841"/>
                  </a:lnTo>
                  <a:lnTo>
                    <a:pt x="40248" y="17780"/>
                  </a:lnTo>
                  <a:lnTo>
                    <a:pt x="40513" y="16718"/>
                  </a:lnTo>
                  <a:lnTo>
                    <a:pt x="40867" y="15745"/>
                  </a:lnTo>
                  <a:lnTo>
                    <a:pt x="41221" y="14772"/>
                  </a:lnTo>
                  <a:lnTo>
                    <a:pt x="41486" y="13799"/>
                  </a:lnTo>
                  <a:lnTo>
                    <a:pt x="41575" y="13092"/>
                  </a:lnTo>
                  <a:lnTo>
                    <a:pt x="41486" y="12384"/>
                  </a:lnTo>
                  <a:lnTo>
                    <a:pt x="41309" y="10880"/>
                  </a:lnTo>
                  <a:lnTo>
                    <a:pt x="41044" y="9200"/>
                  </a:lnTo>
                  <a:lnTo>
                    <a:pt x="40779" y="7961"/>
                  </a:lnTo>
                  <a:lnTo>
                    <a:pt x="40425" y="6811"/>
                  </a:lnTo>
                  <a:lnTo>
                    <a:pt x="40779" y="2565"/>
                  </a:lnTo>
                  <a:lnTo>
                    <a:pt x="40956" y="89"/>
                  </a:lnTo>
                  <a:lnTo>
                    <a:pt x="38833" y="0"/>
                  </a:lnTo>
                  <a:lnTo>
                    <a:pt x="20169" y="0"/>
                  </a:lnTo>
                  <a:lnTo>
                    <a:pt x="20080" y="2654"/>
                  </a:lnTo>
                  <a:lnTo>
                    <a:pt x="19815" y="2565"/>
                  </a:lnTo>
                  <a:lnTo>
                    <a:pt x="20080" y="89"/>
                  </a:lnTo>
                  <a:lnTo>
                    <a:pt x="18665" y="0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6" name="Google Shape;1196;p16"/>
            <p:cNvSpPr/>
            <p:nvPr/>
          </p:nvSpPr>
          <p:spPr>
            <a:xfrm>
              <a:off x="3133738" y="1504759"/>
              <a:ext cx="380573" cy="538167"/>
            </a:xfrm>
            <a:custGeom>
              <a:avLst/>
              <a:gdLst/>
              <a:ahLst/>
              <a:cxnLst/>
              <a:rect l="l" t="t" r="r" b="b"/>
              <a:pathLst>
                <a:path w="51481" h="72799" extrusionOk="0">
                  <a:moveTo>
                    <a:pt x="21672" y="0"/>
                  </a:moveTo>
                  <a:lnTo>
                    <a:pt x="19814" y="89"/>
                  </a:lnTo>
                  <a:lnTo>
                    <a:pt x="17957" y="177"/>
                  </a:lnTo>
                  <a:lnTo>
                    <a:pt x="16011" y="443"/>
                  </a:lnTo>
                  <a:lnTo>
                    <a:pt x="14065" y="796"/>
                  </a:lnTo>
                  <a:lnTo>
                    <a:pt x="12561" y="1239"/>
                  </a:lnTo>
                  <a:lnTo>
                    <a:pt x="11146" y="1769"/>
                  </a:lnTo>
                  <a:lnTo>
                    <a:pt x="9730" y="2389"/>
                  </a:lnTo>
                  <a:lnTo>
                    <a:pt x="8315" y="3185"/>
                  </a:lnTo>
                  <a:lnTo>
                    <a:pt x="6988" y="4069"/>
                  </a:lnTo>
                  <a:lnTo>
                    <a:pt x="5750" y="4954"/>
                  </a:lnTo>
                  <a:lnTo>
                    <a:pt x="4511" y="5927"/>
                  </a:lnTo>
                  <a:lnTo>
                    <a:pt x="3273" y="6988"/>
                  </a:lnTo>
                  <a:lnTo>
                    <a:pt x="1239" y="8757"/>
                  </a:lnTo>
                  <a:lnTo>
                    <a:pt x="354" y="9642"/>
                  </a:lnTo>
                  <a:lnTo>
                    <a:pt x="266" y="9819"/>
                  </a:lnTo>
                  <a:lnTo>
                    <a:pt x="177" y="10173"/>
                  </a:lnTo>
                  <a:lnTo>
                    <a:pt x="0" y="11323"/>
                  </a:lnTo>
                  <a:lnTo>
                    <a:pt x="0" y="12826"/>
                  </a:lnTo>
                  <a:lnTo>
                    <a:pt x="89" y="14772"/>
                  </a:lnTo>
                  <a:lnTo>
                    <a:pt x="354" y="19460"/>
                  </a:lnTo>
                  <a:lnTo>
                    <a:pt x="796" y="24856"/>
                  </a:lnTo>
                  <a:lnTo>
                    <a:pt x="1769" y="35471"/>
                  </a:lnTo>
                  <a:lnTo>
                    <a:pt x="2212" y="39717"/>
                  </a:lnTo>
                  <a:lnTo>
                    <a:pt x="2388" y="42370"/>
                  </a:lnTo>
                  <a:lnTo>
                    <a:pt x="2477" y="45732"/>
                  </a:lnTo>
                  <a:lnTo>
                    <a:pt x="2477" y="47412"/>
                  </a:lnTo>
                  <a:lnTo>
                    <a:pt x="2388" y="49093"/>
                  </a:lnTo>
                  <a:lnTo>
                    <a:pt x="2123" y="52277"/>
                  </a:lnTo>
                  <a:lnTo>
                    <a:pt x="1415" y="58823"/>
                  </a:lnTo>
                  <a:lnTo>
                    <a:pt x="619" y="65280"/>
                  </a:lnTo>
                  <a:lnTo>
                    <a:pt x="796" y="66342"/>
                  </a:lnTo>
                  <a:lnTo>
                    <a:pt x="1062" y="67492"/>
                  </a:lnTo>
                  <a:lnTo>
                    <a:pt x="1504" y="68465"/>
                  </a:lnTo>
                  <a:lnTo>
                    <a:pt x="1681" y="68907"/>
                  </a:lnTo>
                  <a:lnTo>
                    <a:pt x="2035" y="69261"/>
                  </a:lnTo>
                  <a:lnTo>
                    <a:pt x="2300" y="69615"/>
                  </a:lnTo>
                  <a:lnTo>
                    <a:pt x="2565" y="70145"/>
                  </a:lnTo>
                  <a:lnTo>
                    <a:pt x="2919" y="71207"/>
                  </a:lnTo>
                  <a:lnTo>
                    <a:pt x="3096" y="71649"/>
                  </a:lnTo>
                  <a:lnTo>
                    <a:pt x="3361" y="72091"/>
                  </a:lnTo>
                  <a:lnTo>
                    <a:pt x="3627" y="72445"/>
                  </a:lnTo>
                  <a:lnTo>
                    <a:pt x="3804" y="72534"/>
                  </a:lnTo>
                  <a:lnTo>
                    <a:pt x="4069" y="72534"/>
                  </a:lnTo>
                  <a:lnTo>
                    <a:pt x="5573" y="72445"/>
                  </a:lnTo>
                  <a:lnTo>
                    <a:pt x="7077" y="72357"/>
                  </a:lnTo>
                  <a:lnTo>
                    <a:pt x="10173" y="71826"/>
                  </a:lnTo>
                  <a:lnTo>
                    <a:pt x="11853" y="71561"/>
                  </a:lnTo>
                  <a:lnTo>
                    <a:pt x="13799" y="71384"/>
                  </a:lnTo>
                  <a:lnTo>
                    <a:pt x="16099" y="71295"/>
                  </a:lnTo>
                  <a:lnTo>
                    <a:pt x="18753" y="71384"/>
                  </a:lnTo>
                  <a:lnTo>
                    <a:pt x="21141" y="71561"/>
                  </a:lnTo>
                  <a:lnTo>
                    <a:pt x="23441" y="71914"/>
                  </a:lnTo>
                  <a:lnTo>
                    <a:pt x="28040" y="72534"/>
                  </a:lnTo>
                  <a:lnTo>
                    <a:pt x="30429" y="72710"/>
                  </a:lnTo>
                  <a:lnTo>
                    <a:pt x="32905" y="72799"/>
                  </a:lnTo>
                  <a:lnTo>
                    <a:pt x="34144" y="72799"/>
                  </a:lnTo>
                  <a:lnTo>
                    <a:pt x="35382" y="72710"/>
                  </a:lnTo>
                  <a:lnTo>
                    <a:pt x="36709" y="72534"/>
                  </a:lnTo>
                  <a:lnTo>
                    <a:pt x="38036" y="72357"/>
                  </a:lnTo>
                  <a:lnTo>
                    <a:pt x="39274" y="72091"/>
                  </a:lnTo>
                  <a:lnTo>
                    <a:pt x="39982" y="71826"/>
                  </a:lnTo>
                  <a:lnTo>
                    <a:pt x="40601" y="71561"/>
                  </a:lnTo>
                  <a:lnTo>
                    <a:pt x="41309" y="71295"/>
                  </a:lnTo>
                  <a:lnTo>
                    <a:pt x="41839" y="70941"/>
                  </a:lnTo>
                  <a:lnTo>
                    <a:pt x="42282" y="70499"/>
                  </a:lnTo>
                  <a:lnTo>
                    <a:pt x="42459" y="69968"/>
                  </a:lnTo>
                  <a:lnTo>
                    <a:pt x="43078" y="67403"/>
                  </a:lnTo>
                  <a:lnTo>
                    <a:pt x="43520" y="64838"/>
                  </a:lnTo>
                  <a:lnTo>
                    <a:pt x="43785" y="62273"/>
                  </a:lnTo>
                  <a:lnTo>
                    <a:pt x="43962" y="59796"/>
                  </a:lnTo>
                  <a:lnTo>
                    <a:pt x="44139" y="54754"/>
                  </a:lnTo>
                  <a:lnTo>
                    <a:pt x="44228" y="52277"/>
                  </a:lnTo>
                  <a:lnTo>
                    <a:pt x="44316" y="49712"/>
                  </a:lnTo>
                  <a:lnTo>
                    <a:pt x="44405" y="47147"/>
                  </a:lnTo>
                  <a:lnTo>
                    <a:pt x="44493" y="44493"/>
                  </a:lnTo>
                  <a:lnTo>
                    <a:pt x="44581" y="41840"/>
                  </a:lnTo>
                  <a:lnTo>
                    <a:pt x="44670" y="40513"/>
                  </a:lnTo>
                  <a:lnTo>
                    <a:pt x="44758" y="39186"/>
                  </a:lnTo>
                  <a:lnTo>
                    <a:pt x="45024" y="37859"/>
                  </a:lnTo>
                  <a:lnTo>
                    <a:pt x="45289" y="36444"/>
                  </a:lnTo>
                  <a:lnTo>
                    <a:pt x="45731" y="35117"/>
                  </a:lnTo>
                  <a:lnTo>
                    <a:pt x="46174" y="33702"/>
                  </a:lnTo>
                  <a:lnTo>
                    <a:pt x="46793" y="32286"/>
                  </a:lnTo>
                  <a:lnTo>
                    <a:pt x="47589" y="30871"/>
                  </a:lnTo>
                  <a:lnTo>
                    <a:pt x="48473" y="29456"/>
                  </a:lnTo>
                  <a:lnTo>
                    <a:pt x="49535" y="27952"/>
                  </a:lnTo>
                  <a:lnTo>
                    <a:pt x="49623" y="26006"/>
                  </a:lnTo>
                  <a:lnTo>
                    <a:pt x="49800" y="24060"/>
                  </a:lnTo>
                  <a:lnTo>
                    <a:pt x="50243" y="20168"/>
                  </a:lnTo>
                  <a:lnTo>
                    <a:pt x="50331" y="18311"/>
                  </a:lnTo>
                  <a:lnTo>
                    <a:pt x="50331" y="17426"/>
                  </a:lnTo>
                  <a:lnTo>
                    <a:pt x="50243" y="16541"/>
                  </a:lnTo>
                  <a:lnTo>
                    <a:pt x="50154" y="15657"/>
                  </a:lnTo>
                  <a:lnTo>
                    <a:pt x="49977" y="14772"/>
                  </a:lnTo>
                  <a:lnTo>
                    <a:pt x="49712" y="13888"/>
                  </a:lnTo>
                  <a:lnTo>
                    <a:pt x="49358" y="13003"/>
                  </a:lnTo>
                  <a:lnTo>
                    <a:pt x="49270" y="12561"/>
                  </a:lnTo>
                  <a:lnTo>
                    <a:pt x="49270" y="12296"/>
                  </a:lnTo>
                  <a:lnTo>
                    <a:pt x="49358" y="12119"/>
                  </a:lnTo>
                  <a:lnTo>
                    <a:pt x="49535" y="12030"/>
                  </a:lnTo>
                  <a:lnTo>
                    <a:pt x="50066" y="11942"/>
                  </a:lnTo>
                  <a:lnTo>
                    <a:pt x="50596" y="12030"/>
                  </a:lnTo>
                  <a:lnTo>
                    <a:pt x="51304" y="12030"/>
                  </a:lnTo>
                  <a:lnTo>
                    <a:pt x="51392" y="11942"/>
                  </a:lnTo>
                  <a:lnTo>
                    <a:pt x="51481" y="11765"/>
                  </a:lnTo>
                  <a:lnTo>
                    <a:pt x="51392" y="11588"/>
                  </a:lnTo>
                  <a:lnTo>
                    <a:pt x="50862" y="10792"/>
                  </a:lnTo>
                  <a:lnTo>
                    <a:pt x="49977" y="10084"/>
                  </a:lnTo>
                  <a:lnTo>
                    <a:pt x="47854" y="8492"/>
                  </a:lnTo>
                  <a:lnTo>
                    <a:pt x="46351" y="7519"/>
                  </a:lnTo>
                  <a:lnTo>
                    <a:pt x="44493" y="6369"/>
                  </a:lnTo>
                  <a:lnTo>
                    <a:pt x="42459" y="5219"/>
                  </a:lnTo>
                  <a:lnTo>
                    <a:pt x="40159" y="4069"/>
                  </a:lnTo>
                  <a:lnTo>
                    <a:pt x="37594" y="3008"/>
                  </a:lnTo>
                  <a:lnTo>
                    <a:pt x="34851" y="2035"/>
                  </a:lnTo>
                  <a:lnTo>
                    <a:pt x="33348" y="1593"/>
                  </a:lnTo>
                  <a:lnTo>
                    <a:pt x="31844" y="1150"/>
                  </a:lnTo>
                  <a:lnTo>
                    <a:pt x="30252" y="796"/>
                  </a:lnTo>
                  <a:lnTo>
                    <a:pt x="28660" y="531"/>
                  </a:lnTo>
                  <a:lnTo>
                    <a:pt x="26979" y="266"/>
                  </a:lnTo>
                  <a:lnTo>
                    <a:pt x="25210" y="89"/>
                  </a:lnTo>
                  <a:lnTo>
                    <a:pt x="23529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7" name="Google Shape;1197;p16"/>
            <p:cNvSpPr/>
            <p:nvPr/>
          </p:nvSpPr>
          <p:spPr>
            <a:xfrm>
              <a:off x="2888533" y="1548185"/>
              <a:ext cx="328922" cy="791885"/>
            </a:xfrm>
            <a:custGeom>
              <a:avLst/>
              <a:gdLst/>
              <a:ahLst/>
              <a:cxnLst/>
              <a:rect l="l" t="t" r="r" b="b"/>
              <a:pathLst>
                <a:path w="44494" h="107120" extrusionOk="0">
                  <a:moveTo>
                    <a:pt x="22203" y="1"/>
                  </a:moveTo>
                  <a:lnTo>
                    <a:pt x="21141" y="178"/>
                  </a:lnTo>
                  <a:lnTo>
                    <a:pt x="20080" y="355"/>
                  </a:lnTo>
                  <a:lnTo>
                    <a:pt x="19018" y="709"/>
                  </a:lnTo>
                  <a:lnTo>
                    <a:pt x="17957" y="1062"/>
                  </a:lnTo>
                  <a:lnTo>
                    <a:pt x="16984" y="1505"/>
                  </a:lnTo>
                  <a:lnTo>
                    <a:pt x="16099" y="1947"/>
                  </a:lnTo>
                  <a:lnTo>
                    <a:pt x="14330" y="3008"/>
                  </a:lnTo>
                  <a:lnTo>
                    <a:pt x="12826" y="4070"/>
                  </a:lnTo>
                  <a:lnTo>
                    <a:pt x="12119" y="4512"/>
                  </a:lnTo>
                  <a:lnTo>
                    <a:pt x="11588" y="5043"/>
                  </a:lnTo>
                  <a:lnTo>
                    <a:pt x="11057" y="5574"/>
                  </a:lnTo>
                  <a:lnTo>
                    <a:pt x="10527" y="6104"/>
                  </a:lnTo>
                  <a:lnTo>
                    <a:pt x="9730" y="7343"/>
                  </a:lnTo>
                  <a:lnTo>
                    <a:pt x="9023" y="8581"/>
                  </a:lnTo>
                  <a:lnTo>
                    <a:pt x="8581" y="9908"/>
                  </a:lnTo>
                  <a:lnTo>
                    <a:pt x="8227" y="11235"/>
                  </a:lnTo>
                  <a:lnTo>
                    <a:pt x="7961" y="12562"/>
                  </a:lnTo>
                  <a:lnTo>
                    <a:pt x="7873" y="13888"/>
                  </a:lnTo>
                  <a:lnTo>
                    <a:pt x="7784" y="15127"/>
                  </a:lnTo>
                  <a:lnTo>
                    <a:pt x="7784" y="16277"/>
                  </a:lnTo>
                  <a:lnTo>
                    <a:pt x="7961" y="18223"/>
                  </a:lnTo>
                  <a:lnTo>
                    <a:pt x="8138" y="19550"/>
                  </a:lnTo>
                  <a:lnTo>
                    <a:pt x="8315" y="20080"/>
                  </a:lnTo>
                  <a:lnTo>
                    <a:pt x="8669" y="21938"/>
                  </a:lnTo>
                  <a:lnTo>
                    <a:pt x="9023" y="23707"/>
                  </a:lnTo>
                  <a:lnTo>
                    <a:pt x="9907" y="26891"/>
                  </a:lnTo>
                  <a:lnTo>
                    <a:pt x="10350" y="28483"/>
                  </a:lnTo>
                  <a:lnTo>
                    <a:pt x="10615" y="30164"/>
                  </a:lnTo>
                  <a:lnTo>
                    <a:pt x="10880" y="32022"/>
                  </a:lnTo>
                  <a:lnTo>
                    <a:pt x="11057" y="34145"/>
                  </a:lnTo>
                  <a:lnTo>
                    <a:pt x="10969" y="36091"/>
                  </a:lnTo>
                  <a:lnTo>
                    <a:pt x="10880" y="37860"/>
                  </a:lnTo>
                  <a:lnTo>
                    <a:pt x="10527" y="39452"/>
                  </a:lnTo>
                  <a:lnTo>
                    <a:pt x="10173" y="41044"/>
                  </a:lnTo>
                  <a:lnTo>
                    <a:pt x="9642" y="42459"/>
                  </a:lnTo>
                  <a:lnTo>
                    <a:pt x="9111" y="43875"/>
                  </a:lnTo>
                  <a:lnTo>
                    <a:pt x="7873" y="46528"/>
                  </a:lnTo>
                  <a:lnTo>
                    <a:pt x="6458" y="49182"/>
                  </a:lnTo>
                  <a:lnTo>
                    <a:pt x="5838" y="50597"/>
                  </a:lnTo>
                  <a:lnTo>
                    <a:pt x="5219" y="52013"/>
                  </a:lnTo>
                  <a:lnTo>
                    <a:pt x="4689" y="53605"/>
                  </a:lnTo>
                  <a:lnTo>
                    <a:pt x="4158" y="55197"/>
                  </a:lnTo>
                  <a:lnTo>
                    <a:pt x="3804" y="56966"/>
                  </a:lnTo>
                  <a:lnTo>
                    <a:pt x="3450" y="58912"/>
                  </a:lnTo>
                  <a:lnTo>
                    <a:pt x="3362" y="59797"/>
                  </a:lnTo>
                  <a:lnTo>
                    <a:pt x="3096" y="60770"/>
                  </a:lnTo>
                  <a:lnTo>
                    <a:pt x="2566" y="62627"/>
                  </a:lnTo>
                  <a:lnTo>
                    <a:pt x="2389" y="63158"/>
                  </a:lnTo>
                  <a:lnTo>
                    <a:pt x="2300" y="63600"/>
                  </a:lnTo>
                  <a:lnTo>
                    <a:pt x="2212" y="64131"/>
                  </a:lnTo>
                  <a:lnTo>
                    <a:pt x="2300" y="64573"/>
                  </a:lnTo>
                  <a:lnTo>
                    <a:pt x="2212" y="64662"/>
                  </a:lnTo>
                  <a:lnTo>
                    <a:pt x="1593" y="73684"/>
                  </a:lnTo>
                  <a:lnTo>
                    <a:pt x="973" y="84033"/>
                  </a:lnTo>
                  <a:lnTo>
                    <a:pt x="354" y="95267"/>
                  </a:lnTo>
                  <a:lnTo>
                    <a:pt x="89" y="101194"/>
                  </a:lnTo>
                  <a:lnTo>
                    <a:pt x="0" y="107120"/>
                  </a:lnTo>
                  <a:lnTo>
                    <a:pt x="41486" y="107120"/>
                  </a:lnTo>
                  <a:lnTo>
                    <a:pt x="42016" y="104466"/>
                  </a:lnTo>
                  <a:lnTo>
                    <a:pt x="42370" y="101901"/>
                  </a:lnTo>
                  <a:lnTo>
                    <a:pt x="42636" y="99159"/>
                  </a:lnTo>
                  <a:lnTo>
                    <a:pt x="42724" y="96417"/>
                  </a:lnTo>
                  <a:lnTo>
                    <a:pt x="42636" y="93852"/>
                  </a:lnTo>
                  <a:lnTo>
                    <a:pt x="42370" y="91110"/>
                  </a:lnTo>
                  <a:lnTo>
                    <a:pt x="42105" y="88191"/>
                  </a:lnTo>
                  <a:lnTo>
                    <a:pt x="41663" y="85095"/>
                  </a:lnTo>
                  <a:lnTo>
                    <a:pt x="41220" y="81999"/>
                  </a:lnTo>
                  <a:lnTo>
                    <a:pt x="40690" y="78814"/>
                  </a:lnTo>
                  <a:lnTo>
                    <a:pt x="39451" y="72534"/>
                  </a:lnTo>
                  <a:lnTo>
                    <a:pt x="39274" y="71296"/>
                  </a:lnTo>
                  <a:lnTo>
                    <a:pt x="39186" y="69969"/>
                  </a:lnTo>
                  <a:lnTo>
                    <a:pt x="39186" y="68731"/>
                  </a:lnTo>
                  <a:lnTo>
                    <a:pt x="39274" y="67492"/>
                  </a:lnTo>
                  <a:lnTo>
                    <a:pt x="39540" y="66254"/>
                  </a:lnTo>
                  <a:lnTo>
                    <a:pt x="39894" y="65015"/>
                  </a:lnTo>
                  <a:lnTo>
                    <a:pt x="40336" y="63865"/>
                  </a:lnTo>
                  <a:lnTo>
                    <a:pt x="40955" y="62716"/>
                  </a:lnTo>
                  <a:lnTo>
                    <a:pt x="41663" y="61477"/>
                  </a:lnTo>
                  <a:lnTo>
                    <a:pt x="42282" y="60239"/>
                  </a:lnTo>
                  <a:lnTo>
                    <a:pt x="42724" y="59000"/>
                  </a:lnTo>
                  <a:lnTo>
                    <a:pt x="43166" y="57851"/>
                  </a:lnTo>
                  <a:lnTo>
                    <a:pt x="43609" y="56612"/>
                  </a:lnTo>
                  <a:lnTo>
                    <a:pt x="43874" y="55374"/>
                  </a:lnTo>
                  <a:lnTo>
                    <a:pt x="44139" y="54224"/>
                  </a:lnTo>
                  <a:lnTo>
                    <a:pt x="44316" y="52986"/>
                  </a:lnTo>
                  <a:lnTo>
                    <a:pt x="44405" y="51836"/>
                  </a:lnTo>
                  <a:lnTo>
                    <a:pt x="44493" y="50686"/>
                  </a:lnTo>
                  <a:lnTo>
                    <a:pt x="44405" y="48386"/>
                  </a:lnTo>
                  <a:lnTo>
                    <a:pt x="44228" y="46174"/>
                  </a:lnTo>
                  <a:lnTo>
                    <a:pt x="43786" y="43963"/>
                  </a:lnTo>
                  <a:lnTo>
                    <a:pt x="43255" y="41929"/>
                  </a:lnTo>
                  <a:lnTo>
                    <a:pt x="42636" y="39983"/>
                  </a:lnTo>
                  <a:lnTo>
                    <a:pt x="41928" y="38214"/>
                  </a:lnTo>
                  <a:lnTo>
                    <a:pt x="41220" y="36444"/>
                  </a:lnTo>
                  <a:lnTo>
                    <a:pt x="40424" y="34852"/>
                  </a:lnTo>
                  <a:lnTo>
                    <a:pt x="39628" y="33437"/>
                  </a:lnTo>
                  <a:lnTo>
                    <a:pt x="38124" y="31049"/>
                  </a:lnTo>
                  <a:lnTo>
                    <a:pt x="37682" y="30429"/>
                  </a:lnTo>
                  <a:lnTo>
                    <a:pt x="37328" y="29633"/>
                  </a:lnTo>
                  <a:lnTo>
                    <a:pt x="37063" y="28926"/>
                  </a:lnTo>
                  <a:lnTo>
                    <a:pt x="36798" y="28130"/>
                  </a:lnTo>
                  <a:lnTo>
                    <a:pt x="36621" y="27334"/>
                  </a:lnTo>
                  <a:lnTo>
                    <a:pt x="36532" y="26537"/>
                  </a:lnTo>
                  <a:lnTo>
                    <a:pt x="36444" y="25741"/>
                  </a:lnTo>
                  <a:lnTo>
                    <a:pt x="36532" y="24945"/>
                  </a:lnTo>
                  <a:lnTo>
                    <a:pt x="36886" y="19461"/>
                  </a:lnTo>
                  <a:lnTo>
                    <a:pt x="36975" y="16984"/>
                  </a:lnTo>
                  <a:lnTo>
                    <a:pt x="36975" y="14684"/>
                  </a:lnTo>
                  <a:lnTo>
                    <a:pt x="36886" y="13888"/>
                  </a:lnTo>
                  <a:lnTo>
                    <a:pt x="36621" y="12915"/>
                  </a:lnTo>
                  <a:lnTo>
                    <a:pt x="36621" y="12827"/>
                  </a:lnTo>
                  <a:lnTo>
                    <a:pt x="35825" y="9819"/>
                  </a:lnTo>
                  <a:lnTo>
                    <a:pt x="35471" y="8935"/>
                  </a:lnTo>
                  <a:lnTo>
                    <a:pt x="35117" y="8050"/>
                  </a:lnTo>
                  <a:lnTo>
                    <a:pt x="34763" y="7254"/>
                  </a:lnTo>
                  <a:lnTo>
                    <a:pt x="34232" y="6370"/>
                  </a:lnTo>
                  <a:lnTo>
                    <a:pt x="33702" y="5662"/>
                  </a:lnTo>
                  <a:lnTo>
                    <a:pt x="33171" y="4954"/>
                  </a:lnTo>
                  <a:lnTo>
                    <a:pt x="32552" y="4247"/>
                  </a:lnTo>
                  <a:lnTo>
                    <a:pt x="31844" y="3539"/>
                  </a:lnTo>
                  <a:lnTo>
                    <a:pt x="30606" y="2566"/>
                  </a:lnTo>
                  <a:lnTo>
                    <a:pt x="29367" y="1770"/>
                  </a:lnTo>
                  <a:lnTo>
                    <a:pt x="28129" y="1062"/>
                  </a:lnTo>
                  <a:lnTo>
                    <a:pt x="26891" y="620"/>
                  </a:lnTo>
                  <a:lnTo>
                    <a:pt x="25741" y="266"/>
                  </a:lnTo>
                  <a:lnTo>
                    <a:pt x="24502" y="89"/>
                  </a:lnTo>
                  <a:lnTo>
                    <a:pt x="23353" y="1"/>
                  </a:lnTo>
                  <a:close/>
                </a:path>
              </a:pathLst>
            </a:custGeom>
            <a:solidFill>
              <a:srgbClr val="D9395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8" name="Google Shape;1198;p16"/>
            <p:cNvSpPr/>
            <p:nvPr/>
          </p:nvSpPr>
          <p:spPr>
            <a:xfrm>
              <a:off x="3294584" y="1514567"/>
              <a:ext cx="92207" cy="59510"/>
            </a:xfrm>
            <a:custGeom>
              <a:avLst/>
              <a:gdLst/>
              <a:ahLst/>
              <a:cxnLst/>
              <a:rect l="l" t="t" r="r" b="b"/>
              <a:pathLst>
                <a:path w="12473" h="8050" extrusionOk="0">
                  <a:moveTo>
                    <a:pt x="3981" y="0"/>
                  </a:moveTo>
                  <a:lnTo>
                    <a:pt x="3184" y="89"/>
                  </a:lnTo>
                  <a:lnTo>
                    <a:pt x="2477" y="354"/>
                  </a:lnTo>
                  <a:lnTo>
                    <a:pt x="1769" y="708"/>
                  </a:lnTo>
                  <a:lnTo>
                    <a:pt x="1150" y="1150"/>
                  </a:lnTo>
                  <a:lnTo>
                    <a:pt x="619" y="1769"/>
                  </a:lnTo>
                  <a:lnTo>
                    <a:pt x="265" y="2477"/>
                  </a:lnTo>
                  <a:lnTo>
                    <a:pt x="89" y="3273"/>
                  </a:lnTo>
                  <a:lnTo>
                    <a:pt x="0" y="4069"/>
                  </a:lnTo>
                  <a:lnTo>
                    <a:pt x="89" y="4865"/>
                  </a:lnTo>
                  <a:lnTo>
                    <a:pt x="265" y="5573"/>
                  </a:lnTo>
                  <a:lnTo>
                    <a:pt x="619" y="6281"/>
                  </a:lnTo>
                  <a:lnTo>
                    <a:pt x="1150" y="6900"/>
                  </a:lnTo>
                  <a:lnTo>
                    <a:pt x="1769" y="7430"/>
                  </a:lnTo>
                  <a:lnTo>
                    <a:pt x="2477" y="7784"/>
                  </a:lnTo>
                  <a:lnTo>
                    <a:pt x="3184" y="7961"/>
                  </a:lnTo>
                  <a:lnTo>
                    <a:pt x="3981" y="8050"/>
                  </a:lnTo>
                  <a:lnTo>
                    <a:pt x="8403" y="8050"/>
                  </a:lnTo>
                  <a:lnTo>
                    <a:pt x="9199" y="7961"/>
                  </a:lnTo>
                  <a:lnTo>
                    <a:pt x="9996" y="7784"/>
                  </a:lnTo>
                  <a:lnTo>
                    <a:pt x="10615" y="7430"/>
                  </a:lnTo>
                  <a:lnTo>
                    <a:pt x="11234" y="6900"/>
                  </a:lnTo>
                  <a:lnTo>
                    <a:pt x="11765" y="6281"/>
                  </a:lnTo>
                  <a:lnTo>
                    <a:pt x="12118" y="5573"/>
                  </a:lnTo>
                  <a:lnTo>
                    <a:pt x="12384" y="4865"/>
                  </a:lnTo>
                  <a:lnTo>
                    <a:pt x="12472" y="4069"/>
                  </a:lnTo>
                  <a:lnTo>
                    <a:pt x="12384" y="3273"/>
                  </a:lnTo>
                  <a:lnTo>
                    <a:pt x="12118" y="2477"/>
                  </a:lnTo>
                  <a:lnTo>
                    <a:pt x="11765" y="1769"/>
                  </a:lnTo>
                  <a:lnTo>
                    <a:pt x="11234" y="1150"/>
                  </a:lnTo>
                  <a:lnTo>
                    <a:pt x="10615" y="708"/>
                  </a:lnTo>
                  <a:lnTo>
                    <a:pt x="9996" y="354"/>
                  </a:lnTo>
                  <a:lnTo>
                    <a:pt x="9199" y="89"/>
                  </a:lnTo>
                  <a:lnTo>
                    <a:pt x="8403" y="0"/>
                  </a:lnTo>
                  <a:close/>
                </a:path>
              </a:pathLst>
            </a:custGeom>
            <a:solidFill>
              <a:srgbClr val="FF998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9" name="Google Shape;1199;p16"/>
            <p:cNvSpPr/>
            <p:nvPr/>
          </p:nvSpPr>
          <p:spPr>
            <a:xfrm>
              <a:off x="3028464" y="1536795"/>
              <a:ext cx="83713" cy="74553"/>
            </a:xfrm>
            <a:custGeom>
              <a:avLst/>
              <a:gdLst/>
              <a:ahLst/>
              <a:cxnLst/>
              <a:rect l="l" t="t" r="r" b="b"/>
              <a:pathLst>
                <a:path w="11324" h="10085" extrusionOk="0">
                  <a:moveTo>
                    <a:pt x="5043" y="1"/>
                  </a:moveTo>
                  <a:lnTo>
                    <a:pt x="4335" y="89"/>
                  </a:lnTo>
                  <a:lnTo>
                    <a:pt x="3628" y="178"/>
                  </a:lnTo>
                  <a:lnTo>
                    <a:pt x="3008" y="354"/>
                  </a:lnTo>
                  <a:lnTo>
                    <a:pt x="2389" y="620"/>
                  </a:lnTo>
                  <a:lnTo>
                    <a:pt x="1770" y="885"/>
                  </a:lnTo>
                  <a:lnTo>
                    <a:pt x="1239" y="1239"/>
                  </a:lnTo>
                  <a:lnTo>
                    <a:pt x="709" y="1593"/>
                  </a:lnTo>
                  <a:lnTo>
                    <a:pt x="355" y="1947"/>
                  </a:lnTo>
                  <a:lnTo>
                    <a:pt x="178" y="2301"/>
                  </a:lnTo>
                  <a:lnTo>
                    <a:pt x="1" y="2743"/>
                  </a:lnTo>
                  <a:lnTo>
                    <a:pt x="1" y="3097"/>
                  </a:lnTo>
                  <a:lnTo>
                    <a:pt x="89" y="3539"/>
                  </a:lnTo>
                  <a:lnTo>
                    <a:pt x="266" y="3981"/>
                  </a:lnTo>
                  <a:lnTo>
                    <a:pt x="620" y="4423"/>
                  </a:lnTo>
                  <a:lnTo>
                    <a:pt x="974" y="4866"/>
                  </a:lnTo>
                  <a:lnTo>
                    <a:pt x="6281" y="9465"/>
                  </a:lnTo>
                  <a:lnTo>
                    <a:pt x="6724" y="9731"/>
                  </a:lnTo>
                  <a:lnTo>
                    <a:pt x="7077" y="9908"/>
                  </a:lnTo>
                  <a:lnTo>
                    <a:pt x="7520" y="9996"/>
                  </a:lnTo>
                  <a:lnTo>
                    <a:pt x="7962" y="10085"/>
                  </a:lnTo>
                  <a:lnTo>
                    <a:pt x="8404" y="9996"/>
                  </a:lnTo>
                  <a:lnTo>
                    <a:pt x="8758" y="9819"/>
                  </a:lnTo>
                  <a:lnTo>
                    <a:pt x="9023" y="9554"/>
                  </a:lnTo>
                  <a:lnTo>
                    <a:pt x="9289" y="9200"/>
                  </a:lnTo>
                  <a:lnTo>
                    <a:pt x="10616" y="6016"/>
                  </a:lnTo>
                  <a:lnTo>
                    <a:pt x="11323" y="3893"/>
                  </a:lnTo>
                  <a:lnTo>
                    <a:pt x="11323" y="3539"/>
                  </a:lnTo>
                  <a:lnTo>
                    <a:pt x="11323" y="3185"/>
                  </a:lnTo>
                  <a:lnTo>
                    <a:pt x="11235" y="2831"/>
                  </a:lnTo>
                  <a:lnTo>
                    <a:pt x="11058" y="2477"/>
                  </a:lnTo>
                  <a:lnTo>
                    <a:pt x="10792" y="2124"/>
                  </a:lnTo>
                  <a:lnTo>
                    <a:pt x="10439" y="1858"/>
                  </a:lnTo>
                  <a:lnTo>
                    <a:pt x="9643" y="1328"/>
                  </a:lnTo>
                  <a:lnTo>
                    <a:pt x="8670" y="797"/>
                  </a:lnTo>
                  <a:lnTo>
                    <a:pt x="7697" y="443"/>
                  </a:lnTo>
                  <a:lnTo>
                    <a:pt x="6635" y="178"/>
                  </a:lnTo>
                  <a:lnTo>
                    <a:pt x="5751" y="89"/>
                  </a:lnTo>
                  <a:lnTo>
                    <a:pt x="5043" y="1"/>
                  </a:lnTo>
                  <a:close/>
                </a:path>
              </a:pathLst>
            </a:custGeom>
            <a:solidFill>
              <a:srgbClr val="C1886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0" name="Google Shape;1200;p16"/>
            <p:cNvSpPr/>
            <p:nvPr/>
          </p:nvSpPr>
          <p:spPr>
            <a:xfrm>
              <a:off x="3416194" y="1569488"/>
              <a:ext cx="124904" cy="251759"/>
            </a:xfrm>
            <a:custGeom>
              <a:avLst/>
              <a:gdLst/>
              <a:ahLst/>
              <a:cxnLst/>
              <a:rect l="l" t="t" r="r" b="b"/>
              <a:pathLst>
                <a:path w="16896" h="34056" extrusionOk="0">
                  <a:moveTo>
                    <a:pt x="6989" y="0"/>
                  </a:moveTo>
                  <a:lnTo>
                    <a:pt x="6281" y="89"/>
                  </a:lnTo>
                  <a:lnTo>
                    <a:pt x="5662" y="266"/>
                  </a:lnTo>
                  <a:lnTo>
                    <a:pt x="5043" y="443"/>
                  </a:lnTo>
                  <a:lnTo>
                    <a:pt x="4423" y="708"/>
                  </a:lnTo>
                  <a:lnTo>
                    <a:pt x="3893" y="973"/>
                  </a:lnTo>
                  <a:lnTo>
                    <a:pt x="3274" y="1327"/>
                  </a:lnTo>
                  <a:lnTo>
                    <a:pt x="2743" y="1770"/>
                  </a:lnTo>
                  <a:lnTo>
                    <a:pt x="2301" y="2212"/>
                  </a:lnTo>
                  <a:lnTo>
                    <a:pt x="1770" y="2654"/>
                  </a:lnTo>
                  <a:lnTo>
                    <a:pt x="1416" y="3185"/>
                  </a:lnTo>
                  <a:lnTo>
                    <a:pt x="1062" y="3804"/>
                  </a:lnTo>
                  <a:lnTo>
                    <a:pt x="708" y="4423"/>
                  </a:lnTo>
                  <a:lnTo>
                    <a:pt x="531" y="5042"/>
                  </a:lnTo>
                  <a:lnTo>
                    <a:pt x="355" y="5750"/>
                  </a:lnTo>
                  <a:lnTo>
                    <a:pt x="178" y="6546"/>
                  </a:lnTo>
                  <a:lnTo>
                    <a:pt x="178" y="7342"/>
                  </a:lnTo>
                  <a:lnTo>
                    <a:pt x="89" y="10261"/>
                  </a:lnTo>
                  <a:lnTo>
                    <a:pt x="89" y="13269"/>
                  </a:lnTo>
                  <a:lnTo>
                    <a:pt x="1" y="16276"/>
                  </a:lnTo>
                  <a:lnTo>
                    <a:pt x="89" y="19195"/>
                  </a:lnTo>
                  <a:lnTo>
                    <a:pt x="178" y="20964"/>
                  </a:lnTo>
                  <a:lnTo>
                    <a:pt x="266" y="22468"/>
                  </a:lnTo>
                  <a:lnTo>
                    <a:pt x="443" y="25033"/>
                  </a:lnTo>
                  <a:lnTo>
                    <a:pt x="708" y="27245"/>
                  </a:lnTo>
                  <a:lnTo>
                    <a:pt x="974" y="29014"/>
                  </a:lnTo>
                  <a:lnTo>
                    <a:pt x="1328" y="30517"/>
                  </a:lnTo>
                  <a:lnTo>
                    <a:pt x="1770" y="31667"/>
                  </a:lnTo>
                  <a:lnTo>
                    <a:pt x="2212" y="32640"/>
                  </a:lnTo>
                  <a:lnTo>
                    <a:pt x="2654" y="33436"/>
                  </a:lnTo>
                  <a:lnTo>
                    <a:pt x="3097" y="34056"/>
                  </a:lnTo>
                  <a:lnTo>
                    <a:pt x="9996" y="32021"/>
                  </a:lnTo>
                  <a:lnTo>
                    <a:pt x="16896" y="29898"/>
                  </a:lnTo>
                  <a:lnTo>
                    <a:pt x="16542" y="25475"/>
                  </a:lnTo>
                  <a:lnTo>
                    <a:pt x="15923" y="18134"/>
                  </a:lnTo>
                  <a:lnTo>
                    <a:pt x="15215" y="10969"/>
                  </a:lnTo>
                  <a:lnTo>
                    <a:pt x="14773" y="6900"/>
                  </a:lnTo>
                  <a:lnTo>
                    <a:pt x="14596" y="5927"/>
                  </a:lnTo>
                  <a:lnTo>
                    <a:pt x="14419" y="5131"/>
                  </a:lnTo>
                  <a:lnTo>
                    <a:pt x="14154" y="4335"/>
                  </a:lnTo>
                  <a:lnTo>
                    <a:pt x="13800" y="3627"/>
                  </a:lnTo>
                  <a:lnTo>
                    <a:pt x="13357" y="2919"/>
                  </a:lnTo>
                  <a:lnTo>
                    <a:pt x="12915" y="2389"/>
                  </a:lnTo>
                  <a:lnTo>
                    <a:pt x="12473" y="1858"/>
                  </a:lnTo>
                  <a:lnTo>
                    <a:pt x="11942" y="1416"/>
                  </a:lnTo>
                  <a:lnTo>
                    <a:pt x="11411" y="1062"/>
                  </a:lnTo>
                  <a:lnTo>
                    <a:pt x="10792" y="708"/>
                  </a:lnTo>
                  <a:lnTo>
                    <a:pt x="10173" y="443"/>
                  </a:lnTo>
                  <a:lnTo>
                    <a:pt x="9554" y="266"/>
                  </a:lnTo>
                  <a:lnTo>
                    <a:pt x="8935" y="89"/>
                  </a:lnTo>
                  <a:lnTo>
                    <a:pt x="8315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1" name="Google Shape;1201;p16"/>
            <p:cNvSpPr/>
            <p:nvPr/>
          </p:nvSpPr>
          <p:spPr>
            <a:xfrm>
              <a:off x="3407693" y="1549871"/>
              <a:ext cx="49707" cy="277263"/>
            </a:xfrm>
            <a:custGeom>
              <a:avLst/>
              <a:gdLst/>
              <a:ahLst/>
              <a:cxnLst/>
              <a:rect l="l" t="t" r="r" b="b"/>
              <a:pathLst>
                <a:path w="6724" h="37506" extrusionOk="0">
                  <a:moveTo>
                    <a:pt x="2743" y="1"/>
                  </a:moveTo>
                  <a:lnTo>
                    <a:pt x="2566" y="89"/>
                  </a:lnTo>
                  <a:lnTo>
                    <a:pt x="2389" y="266"/>
                  </a:lnTo>
                  <a:lnTo>
                    <a:pt x="2124" y="708"/>
                  </a:lnTo>
                  <a:lnTo>
                    <a:pt x="1858" y="1328"/>
                  </a:lnTo>
                  <a:lnTo>
                    <a:pt x="1593" y="2124"/>
                  </a:lnTo>
                  <a:lnTo>
                    <a:pt x="1151" y="3981"/>
                  </a:lnTo>
                  <a:lnTo>
                    <a:pt x="885" y="6016"/>
                  </a:lnTo>
                  <a:lnTo>
                    <a:pt x="708" y="7962"/>
                  </a:lnTo>
                  <a:lnTo>
                    <a:pt x="443" y="10438"/>
                  </a:lnTo>
                  <a:lnTo>
                    <a:pt x="178" y="12384"/>
                  </a:lnTo>
                  <a:lnTo>
                    <a:pt x="89" y="14330"/>
                  </a:lnTo>
                  <a:lnTo>
                    <a:pt x="1" y="16365"/>
                  </a:lnTo>
                  <a:lnTo>
                    <a:pt x="89" y="17338"/>
                  </a:lnTo>
                  <a:lnTo>
                    <a:pt x="266" y="18311"/>
                  </a:lnTo>
                  <a:lnTo>
                    <a:pt x="532" y="19461"/>
                  </a:lnTo>
                  <a:lnTo>
                    <a:pt x="797" y="20611"/>
                  </a:lnTo>
                  <a:lnTo>
                    <a:pt x="1062" y="21761"/>
                  </a:lnTo>
                  <a:lnTo>
                    <a:pt x="1239" y="22911"/>
                  </a:lnTo>
                  <a:lnTo>
                    <a:pt x="1239" y="23618"/>
                  </a:lnTo>
                  <a:lnTo>
                    <a:pt x="1151" y="24326"/>
                  </a:lnTo>
                  <a:lnTo>
                    <a:pt x="974" y="25741"/>
                  </a:lnTo>
                  <a:lnTo>
                    <a:pt x="797" y="27068"/>
                  </a:lnTo>
                  <a:lnTo>
                    <a:pt x="708" y="28483"/>
                  </a:lnTo>
                  <a:lnTo>
                    <a:pt x="708" y="29191"/>
                  </a:lnTo>
                  <a:lnTo>
                    <a:pt x="797" y="29899"/>
                  </a:lnTo>
                  <a:lnTo>
                    <a:pt x="885" y="30606"/>
                  </a:lnTo>
                  <a:lnTo>
                    <a:pt x="1062" y="31314"/>
                  </a:lnTo>
                  <a:lnTo>
                    <a:pt x="1328" y="32022"/>
                  </a:lnTo>
                  <a:lnTo>
                    <a:pt x="1593" y="32641"/>
                  </a:lnTo>
                  <a:lnTo>
                    <a:pt x="2301" y="33968"/>
                  </a:lnTo>
                  <a:lnTo>
                    <a:pt x="3185" y="35117"/>
                  </a:lnTo>
                  <a:lnTo>
                    <a:pt x="3716" y="35648"/>
                  </a:lnTo>
                  <a:lnTo>
                    <a:pt x="4247" y="36090"/>
                  </a:lnTo>
                  <a:lnTo>
                    <a:pt x="4866" y="36533"/>
                  </a:lnTo>
                  <a:lnTo>
                    <a:pt x="5397" y="36887"/>
                  </a:lnTo>
                  <a:lnTo>
                    <a:pt x="6104" y="37240"/>
                  </a:lnTo>
                  <a:lnTo>
                    <a:pt x="6723" y="37506"/>
                  </a:lnTo>
                  <a:lnTo>
                    <a:pt x="6723" y="37506"/>
                  </a:lnTo>
                  <a:lnTo>
                    <a:pt x="6193" y="33171"/>
                  </a:lnTo>
                  <a:lnTo>
                    <a:pt x="5750" y="28837"/>
                  </a:lnTo>
                  <a:lnTo>
                    <a:pt x="5308" y="24503"/>
                  </a:lnTo>
                  <a:lnTo>
                    <a:pt x="4954" y="20169"/>
                  </a:lnTo>
                  <a:lnTo>
                    <a:pt x="4689" y="15834"/>
                  </a:lnTo>
                  <a:lnTo>
                    <a:pt x="4424" y="11500"/>
                  </a:lnTo>
                  <a:lnTo>
                    <a:pt x="4247" y="7077"/>
                  </a:lnTo>
                  <a:lnTo>
                    <a:pt x="4158" y="2743"/>
                  </a:lnTo>
                  <a:lnTo>
                    <a:pt x="4158" y="2124"/>
                  </a:lnTo>
                  <a:lnTo>
                    <a:pt x="4070" y="1416"/>
                  </a:lnTo>
                  <a:lnTo>
                    <a:pt x="3893" y="885"/>
                  </a:lnTo>
                  <a:lnTo>
                    <a:pt x="3716" y="620"/>
                  </a:lnTo>
                  <a:lnTo>
                    <a:pt x="3539" y="355"/>
                  </a:lnTo>
                  <a:lnTo>
                    <a:pt x="3274" y="178"/>
                  </a:lnTo>
                  <a:lnTo>
                    <a:pt x="3097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2" name="Google Shape;1202;p16"/>
            <p:cNvSpPr/>
            <p:nvPr/>
          </p:nvSpPr>
          <p:spPr>
            <a:xfrm>
              <a:off x="2986619" y="1298144"/>
              <a:ext cx="164794" cy="157601"/>
            </a:xfrm>
            <a:custGeom>
              <a:avLst/>
              <a:gdLst/>
              <a:ahLst/>
              <a:cxnLst/>
              <a:rect l="l" t="t" r="r" b="b"/>
              <a:pathLst>
                <a:path w="22292" h="21319" extrusionOk="0">
                  <a:moveTo>
                    <a:pt x="12385" y="1"/>
                  </a:moveTo>
                  <a:lnTo>
                    <a:pt x="11677" y="177"/>
                  </a:lnTo>
                  <a:lnTo>
                    <a:pt x="9642" y="620"/>
                  </a:lnTo>
                  <a:lnTo>
                    <a:pt x="8935" y="797"/>
                  </a:lnTo>
                  <a:lnTo>
                    <a:pt x="7962" y="1239"/>
                  </a:lnTo>
                  <a:lnTo>
                    <a:pt x="7343" y="1504"/>
                  </a:lnTo>
                  <a:lnTo>
                    <a:pt x="6723" y="1681"/>
                  </a:lnTo>
                  <a:lnTo>
                    <a:pt x="6104" y="1947"/>
                  </a:lnTo>
                  <a:lnTo>
                    <a:pt x="5485" y="2212"/>
                  </a:lnTo>
                  <a:lnTo>
                    <a:pt x="4777" y="2566"/>
                  </a:lnTo>
                  <a:lnTo>
                    <a:pt x="4070" y="3097"/>
                  </a:lnTo>
                  <a:lnTo>
                    <a:pt x="3274" y="3893"/>
                  </a:lnTo>
                  <a:lnTo>
                    <a:pt x="2389" y="4866"/>
                  </a:lnTo>
                  <a:lnTo>
                    <a:pt x="1681" y="5839"/>
                  </a:lnTo>
                  <a:lnTo>
                    <a:pt x="1239" y="6812"/>
                  </a:lnTo>
                  <a:lnTo>
                    <a:pt x="974" y="7608"/>
                  </a:lnTo>
                  <a:lnTo>
                    <a:pt x="797" y="8404"/>
                  </a:lnTo>
                  <a:lnTo>
                    <a:pt x="974" y="9111"/>
                  </a:lnTo>
                  <a:lnTo>
                    <a:pt x="1062" y="9731"/>
                  </a:lnTo>
                  <a:lnTo>
                    <a:pt x="1062" y="10438"/>
                  </a:lnTo>
                  <a:lnTo>
                    <a:pt x="974" y="11146"/>
                  </a:lnTo>
                  <a:lnTo>
                    <a:pt x="885" y="11942"/>
                  </a:lnTo>
                  <a:lnTo>
                    <a:pt x="708" y="12650"/>
                  </a:lnTo>
                  <a:lnTo>
                    <a:pt x="443" y="13446"/>
                  </a:lnTo>
                  <a:lnTo>
                    <a:pt x="89" y="14242"/>
                  </a:lnTo>
                  <a:lnTo>
                    <a:pt x="266" y="13888"/>
                  </a:lnTo>
                  <a:lnTo>
                    <a:pt x="266" y="14065"/>
                  </a:lnTo>
                  <a:lnTo>
                    <a:pt x="1" y="14507"/>
                  </a:lnTo>
                  <a:lnTo>
                    <a:pt x="178" y="15215"/>
                  </a:lnTo>
                  <a:lnTo>
                    <a:pt x="443" y="15834"/>
                  </a:lnTo>
                  <a:lnTo>
                    <a:pt x="708" y="16276"/>
                  </a:lnTo>
                  <a:lnTo>
                    <a:pt x="974" y="16630"/>
                  </a:lnTo>
                  <a:lnTo>
                    <a:pt x="1505" y="17161"/>
                  </a:lnTo>
                  <a:lnTo>
                    <a:pt x="2035" y="17692"/>
                  </a:lnTo>
                  <a:lnTo>
                    <a:pt x="3185" y="18576"/>
                  </a:lnTo>
                  <a:lnTo>
                    <a:pt x="3716" y="18842"/>
                  </a:lnTo>
                  <a:lnTo>
                    <a:pt x="4424" y="19195"/>
                  </a:lnTo>
                  <a:lnTo>
                    <a:pt x="5927" y="19903"/>
                  </a:lnTo>
                  <a:lnTo>
                    <a:pt x="7608" y="20522"/>
                  </a:lnTo>
                  <a:lnTo>
                    <a:pt x="8316" y="20876"/>
                  </a:lnTo>
                  <a:lnTo>
                    <a:pt x="8935" y="21318"/>
                  </a:lnTo>
                  <a:lnTo>
                    <a:pt x="9200" y="20788"/>
                  </a:lnTo>
                  <a:lnTo>
                    <a:pt x="9554" y="20345"/>
                  </a:lnTo>
                  <a:lnTo>
                    <a:pt x="9908" y="19991"/>
                  </a:lnTo>
                  <a:lnTo>
                    <a:pt x="10439" y="19726"/>
                  </a:lnTo>
                  <a:lnTo>
                    <a:pt x="11500" y="19195"/>
                  </a:lnTo>
                  <a:lnTo>
                    <a:pt x="12561" y="18665"/>
                  </a:lnTo>
                  <a:lnTo>
                    <a:pt x="13092" y="18399"/>
                  </a:lnTo>
                  <a:lnTo>
                    <a:pt x="13446" y="17957"/>
                  </a:lnTo>
                  <a:lnTo>
                    <a:pt x="13800" y="17515"/>
                  </a:lnTo>
                  <a:lnTo>
                    <a:pt x="13977" y="16895"/>
                  </a:lnTo>
                  <a:lnTo>
                    <a:pt x="14065" y="16276"/>
                  </a:lnTo>
                  <a:lnTo>
                    <a:pt x="14065" y="15657"/>
                  </a:lnTo>
                  <a:lnTo>
                    <a:pt x="13977" y="14419"/>
                  </a:lnTo>
                  <a:lnTo>
                    <a:pt x="13977" y="13800"/>
                  </a:lnTo>
                  <a:lnTo>
                    <a:pt x="14065" y="13092"/>
                  </a:lnTo>
                  <a:lnTo>
                    <a:pt x="14242" y="12473"/>
                  </a:lnTo>
                  <a:lnTo>
                    <a:pt x="14507" y="11854"/>
                  </a:lnTo>
                  <a:lnTo>
                    <a:pt x="14861" y="11234"/>
                  </a:lnTo>
                  <a:lnTo>
                    <a:pt x="15215" y="10792"/>
                  </a:lnTo>
                  <a:lnTo>
                    <a:pt x="15657" y="10350"/>
                  </a:lnTo>
                  <a:lnTo>
                    <a:pt x="16100" y="9908"/>
                  </a:lnTo>
                  <a:lnTo>
                    <a:pt x="17161" y="9111"/>
                  </a:lnTo>
                  <a:lnTo>
                    <a:pt x="17603" y="8846"/>
                  </a:lnTo>
                  <a:lnTo>
                    <a:pt x="18134" y="8581"/>
                  </a:lnTo>
                  <a:lnTo>
                    <a:pt x="18576" y="8581"/>
                  </a:lnTo>
                  <a:lnTo>
                    <a:pt x="19019" y="8669"/>
                  </a:lnTo>
                  <a:lnTo>
                    <a:pt x="19549" y="8935"/>
                  </a:lnTo>
                  <a:lnTo>
                    <a:pt x="19992" y="9200"/>
                  </a:lnTo>
                  <a:lnTo>
                    <a:pt x="20965" y="9731"/>
                  </a:lnTo>
                  <a:lnTo>
                    <a:pt x="21495" y="9996"/>
                  </a:lnTo>
                  <a:lnTo>
                    <a:pt x="21938" y="10084"/>
                  </a:lnTo>
                  <a:lnTo>
                    <a:pt x="22026" y="9819"/>
                  </a:lnTo>
                  <a:lnTo>
                    <a:pt x="22203" y="9200"/>
                  </a:lnTo>
                  <a:lnTo>
                    <a:pt x="22291" y="8669"/>
                  </a:lnTo>
                  <a:lnTo>
                    <a:pt x="22291" y="7962"/>
                  </a:lnTo>
                  <a:lnTo>
                    <a:pt x="22203" y="7254"/>
                  </a:lnTo>
                  <a:lnTo>
                    <a:pt x="22026" y="6281"/>
                  </a:lnTo>
                  <a:lnTo>
                    <a:pt x="21849" y="5839"/>
                  </a:lnTo>
                  <a:lnTo>
                    <a:pt x="21495" y="5396"/>
                  </a:lnTo>
                  <a:lnTo>
                    <a:pt x="21142" y="4954"/>
                  </a:lnTo>
                  <a:lnTo>
                    <a:pt x="20699" y="4600"/>
                  </a:lnTo>
                  <a:lnTo>
                    <a:pt x="19903" y="4070"/>
                  </a:lnTo>
                  <a:lnTo>
                    <a:pt x="19372" y="3716"/>
                  </a:lnTo>
                  <a:lnTo>
                    <a:pt x="18399" y="2389"/>
                  </a:lnTo>
                  <a:lnTo>
                    <a:pt x="17692" y="1681"/>
                  </a:lnTo>
                  <a:lnTo>
                    <a:pt x="17161" y="1327"/>
                  </a:lnTo>
                  <a:lnTo>
                    <a:pt x="16542" y="885"/>
                  </a:lnTo>
                  <a:lnTo>
                    <a:pt x="15923" y="620"/>
                  </a:lnTo>
                  <a:lnTo>
                    <a:pt x="15215" y="354"/>
                  </a:lnTo>
                  <a:lnTo>
                    <a:pt x="14507" y="89"/>
                  </a:lnTo>
                  <a:lnTo>
                    <a:pt x="13800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3" name="Google Shape;1203;p16"/>
            <p:cNvSpPr/>
            <p:nvPr/>
          </p:nvSpPr>
          <p:spPr>
            <a:xfrm>
              <a:off x="2974201" y="1360257"/>
              <a:ext cx="79129" cy="126212"/>
            </a:xfrm>
            <a:custGeom>
              <a:avLst/>
              <a:gdLst/>
              <a:ahLst/>
              <a:cxnLst/>
              <a:rect l="l" t="t" r="r" b="b"/>
              <a:pathLst>
                <a:path w="10704" h="17073" extrusionOk="0">
                  <a:moveTo>
                    <a:pt x="5661" y="1"/>
                  </a:moveTo>
                  <a:lnTo>
                    <a:pt x="5484" y="443"/>
                  </a:lnTo>
                  <a:lnTo>
                    <a:pt x="5131" y="797"/>
                  </a:lnTo>
                  <a:lnTo>
                    <a:pt x="4688" y="1062"/>
                  </a:lnTo>
                  <a:lnTo>
                    <a:pt x="4246" y="1239"/>
                  </a:lnTo>
                  <a:lnTo>
                    <a:pt x="3185" y="1593"/>
                  </a:lnTo>
                  <a:lnTo>
                    <a:pt x="2123" y="1947"/>
                  </a:lnTo>
                  <a:lnTo>
                    <a:pt x="1592" y="2124"/>
                  </a:lnTo>
                  <a:lnTo>
                    <a:pt x="1150" y="2389"/>
                  </a:lnTo>
                  <a:lnTo>
                    <a:pt x="708" y="2743"/>
                  </a:lnTo>
                  <a:lnTo>
                    <a:pt x="354" y="3097"/>
                  </a:lnTo>
                  <a:lnTo>
                    <a:pt x="177" y="3627"/>
                  </a:lnTo>
                  <a:lnTo>
                    <a:pt x="0" y="4247"/>
                  </a:lnTo>
                  <a:lnTo>
                    <a:pt x="0" y="5043"/>
                  </a:lnTo>
                  <a:lnTo>
                    <a:pt x="177" y="5927"/>
                  </a:lnTo>
                  <a:lnTo>
                    <a:pt x="531" y="6546"/>
                  </a:lnTo>
                  <a:lnTo>
                    <a:pt x="1239" y="7608"/>
                  </a:lnTo>
                  <a:lnTo>
                    <a:pt x="2123" y="8758"/>
                  </a:lnTo>
                  <a:lnTo>
                    <a:pt x="3273" y="10085"/>
                  </a:lnTo>
                  <a:lnTo>
                    <a:pt x="4511" y="11323"/>
                  </a:lnTo>
                  <a:lnTo>
                    <a:pt x="5661" y="12561"/>
                  </a:lnTo>
                  <a:lnTo>
                    <a:pt x="6723" y="13534"/>
                  </a:lnTo>
                  <a:lnTo>
                    <a:pt x="7607" y="14242"/>
                  </a:lnTo>
                  <a:lnTo>
                    <a:pt x="9642" y="17073"/>
                  </a:lnTo>
                  <a:lnTo>
                    <a:pt x="9996" y="16719"/>
                  </a:lnTo>
                  <a:lnTo>
                    <a:pt x="10261" y="16277"/>
                  </a:lnTo>
                  <a:lnTo>
                    <a:pt x="10438" y="15746"/>
                  </a:lnTo>
                  <a:lnTo>
                    <a:pt x="10526" y="15215"/>
                  </a:lnTo>
                  <a:lnTo>
                    <a:pt x="10526" y="14684"/>
                  </a:lnTo>
                  <a:lnTo>
                    <a:pt x="10526" y="14154"/>
                  </a:lnTo>
                  <a:lnTo>
                    <a:pt x="10349" y="13004"/>
                  </a:lnTo>
                  <a:lnTo>
                    <a:pt x="10084" y="12031"/>
                  </a:lnTo>
                  <a:lnTo>
                    <a:pt x="9819" y="11146"/>
                  </a:lnTo>
                  <a:lnTo>
                    <a:pt x="9553" y="10439"/>
                  </a:lnTo>
                  <a:lnTo>
                    <a:pt x="9199" y="9996"/>
                  </a:lnTo>
                  <a:lnTo>
                    <a:pt x="9023" y="9377"/>
                  </a:lnTo>
                  <a:lnTo>
                    <a:pt x="8846" y="8669"/>
                  </a:lnTo>
                  <a:lnTo>
                    <a:pt x="8846" y="7873"/>
                  </a:lnTo>
                  <a:lnTo>
                    <a:pt x="8934" y="7343"/>
                  </a:lnTo>
                  <a:lnTo>
                    <a:pt x="9023" y="6900"/>
                  </a:lnTo>
                  <a:lnTo>
                    <a:pt x="9199" y="6458"/>
                  </a:lnTo>
                  <a:lnTo>
                    <a:pt x="9465" y="6104"/>
                  </a:lnTo>
                  <a:lnTo>
                    <a:pt x="9730" y="5839"/>
                  </a:lnTo>
                  <a:lnTo>
                    <a:pt x="9996" y="5573"/>
                  </a:lnTo>
                  <a:lnTo>
                    <a:pt x="10261" y="5485"/>
                  </a:lnTo>
                  <a:lnTo>
                    <a:pt x="10526" y="5397"/>
                  </a:lnTo>
                  <a:lnTo>
                    <a:pt x="10703" y="5485"/>
                  </a:lnTo>
                  <a:lnTo>
                    <a:pt x="5661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4" name="Google Shape;1204;p16"/>
            <p:cNvSpPr/>
            <p:nvPr/>
          </p:nvSpPr>
          <p:spPr>
            <a:xfrm>
              <a:off x="3011471" y="1323646"/>
              <a:ext cx="122287" cy="148441"/>
            </a:xfrm>
            <a:custGeom>
              <a:avLst/>
              <a:gdLst/>
              <a:ahLst/>
              <a:cxnLst/>
              <a:rect l="l" t="t" r="r" b="b"/>
              <a:pathLst>
                <a:path w="16542" h="20080" extrusionOk="0">
                  <a:moveTo>
                    <a:pt x="8050" y="0"/>
                  </a:moveTo>
                  <a:lnTo>
                    <a:pt x="7165" y="89"/>
                  </a:lnTo>
                  <a:lnTo>
                    <a:pt x="6280" y="266"/>
                  </a:lnTo>
                  <a:lnTo>
                    <a:pt x="5484" y="531"/>
                  </a:lnTo>
                  <a:lnTo>
                    <a:pt x="5131" y="708"/>
                  </a:lnTo>
                  <a:lnTo>
                    <a:pt x="4777" y="973"/>
                  </a:lnTo>
                  <a:lnTo>
                    <a:pt x="4246" y="1504"/>
                  </a:lnTo>
                  <a:lnTo>
                    <a:pt x="3892" y="2035"/>
                  </a:lnTo>
                  <a:lnTo>
                    <a:pt x="3627" y="2654"/>
                  </a:lnTo>
                  <a:lnTo>
                    <a:pt x="3361" y="3362"/>
                  </a:lnTo>
                  <a:lnTo>
                    <a:pt x="2919" y="4688"/>
                  </a:lnTo>
                  <a:lnTo>
                    <a:pt x="2477" y="6104"/>
                  </a:lnTo>
                  <a:lnTo>
                    <a:pt x="2211" y="6723"/>
                  </a:lnTo>
                  <a:lnTo>
                    <a:pt x="1946" y="7254"/>
                  </a:lnTo>
                  <a:lnTo>
                    <a:pt x="1238" y="6723"/>
                  </a:lnTo>
                  <a:lnTo>
                    <a:pt x="1150" y="7607"/>
                  </a:lnTo>
                  <a:lnTo>
                    <a:pt x="1150" y="8492"/>
                  </a:lnTo>
                  <a:lnTo>
                    <a:pt x="0" y="10084"/>
                  </a:lnTo>
                  <a:lnTo>
                    <a:pt x="2035" y="14330"/>
                  </a:lnTo>
                  <a:lnTo>
                    <a:pt x="2565" y="15745"/>
                  </a:lnTo>
                  <a:lnTo>
                    <a:pt x="3096" y="17249"/>
                  </a:lnTo>
                  <a:lnTo>
                    <a:pt x="3538" y="18134"/>
                  </a:lnTo>
                  <a:lnTo>
                    <a:pt x="3892" y="18841"/>
                  </a:lnTo>
                  <a:lnTo>
                    <a:pt x="4423" y="19460"/>
                  </a:lnTo>
                  <a:lnTo>
                    <a:pt x="4865" y="20080"/>
                  </a:lnTo>
                  <a:lnTo>
                    <a:pt x="4954" y="20080"/>
                  </a:lnTo>
                  <a:lnTo>
                    <a:pt x="4688" y="16365"/>
                  </a:lnTo>
                  <a:lnTo>
                    <a:pt x="4334" y="16276"/>
                  </a:lnTo>
                  <a:lnTo>
                    <a:pt x="3981" y="16188"/>
                  </a:lnTo>
                  <a:lnTo>
                    <a:pt x="3627" y="15922"/>
                  </a:lnTo>
                  <a:lnTo>
                    <a:pt x="3273" y="15657"/>
                  </a:lnTo>
                  <a:lnTo>
                    <a:pt x="3804" y="15215"/>
                  </a:lnTo>
                  <a:lnTo>
                    <a:pt x="4246" y="14684"/>
                  </a:lnTo>
                  <a:lnTo>
                    <a:pt x="4688" y="14242"/>
                  </a:lnTo>
                  <a:lnTo>
                    <a:pt x="5042" y="13622"/>
                  </a:lnTo>
                  <a:lnTo>
                    <a:pt x="5573" y="12649"/>
                  </a:lnTo>
                  <a:lnTo>
                    <a:pt x="6015" y="11499"/>
                  </a:lnTo>
                  <a:lnTo>
                    <a:pt x="6457" y="10438"/>
                  </a:lnTo>
                  <a:lnTo>
                    <a:pt x="6988" y="9377"/>
                  </a:lnTo>
                  <a:lnTo>
                    <a:pt x="7430" y="8669"/>
                  </a:lnTo>
                  <a:lnTo>
                    <a:pt x="8050" y="7873"/>
                  </a:lnTo>
                  <a:lnTo>
                    <a:pt x="8757" y="7165"/>
                  </a:lnTo>
                  <a:lnTo>
                    <a:pt x="9730" y="6369"/>
                  </a:lnTo>
                  <a:lnTo>
                    <a:pt x="10792" y="5573"/>
                  </a:lnTo>
                  <a:lnTo>
                    <a:pt x="12118" y="4954"/>
                  </a:lnTo>
                  <a:lnTo>
                    <a:pt x="12826" y="4688"/>
                  </a:lnTo>
                  <a:lnTo>
                    <a:pt x="13534" y="4423"/>
                  </a:lnTo>
                  <a:lnTo>
                    <a:pt x="14418" y="4246"/>
                  </a:lnTo>
                  <a:lnTo>
                    <a:pt x="15214" y="4158"/>
                  </a:lnTo>
                  <a:lnTo>
                    <a:pt x="15657" y="4069"/>
                  </a:lnTo>
                  <a:lnTo>
                    <a:pt x="16010" y="3981"/>
                  </a:lnTo>
                  <a:lnTo>
                    <a:pt x="16364" y="3804"/>
                  </a:lnTo>
                  <a:lnTo>
                    <a:pt x="16453" y="3627"/>
                  </a:lnTo>
                  <a:lnTo>
                    <a:pt x="16541" y="3450"/>
                  </a:lnTo>
                  <a:lnTo>
                    <a:pt x="16453" y="3185"/>
                  </a:lnTo>
                  <a:lnTo>
                    <a:pt x="16364" y="2742"/>
                  </a:lnTo>
                  <a:lnTo>
                    <a:pt x="16010" y="1946"/>
                  </a:lnTo>
                  <a:lnTo>
                    <a:pt x="15657" y="1327"/>
                  </a:lnTo>
                  <a:lnTo>
                    <a:pt x="15568" y="1150"/>
                  </a:lnTo>
                  <a:lnTo>
                    <a:pt x="15480" y="1062"/>
                  </a:lnTo>
                  <a:lnTo>
                    <a:pt x="15303" y="973"/>
                  </a:lnTo>
                  <a:lnTo>
                    <a:pt x="15126" y="885"/>
                  </a:lnTo>
                  <a:lnTo>
                    <a:pt x="12118" y="443"/>
                  </a:lnTo>
                  <a:lnTo>
                    <a:pt x="10084" y="177"/>
                  </a:lnTo>
                  <a:lnTo>
                    <a:pt x="9023" y="89"/>
                  </a:lnTo>
                  <a:lnTo>
                    <a:pt x="8050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5" name="Google Shape;1205;p16"/>
            <p:cNvSpPr/>
            <p:nvPr/>
          </p:nvSpPr>
          <p:spPr>
            <a:xfrm>
              <a:off x="2951316" y="1836908"/>
              <a:ext cx="15702" cy="25512"/>
            </a:xfrm>
            <a:custGeom>
              <a:avLst/>
              <a:gdLst/>
              <a:ahLst/>
              <a:cxnLst/>
              <a:rect l="l" t="t" r="r" b="b"/>
              <a:pathLst>
                <a:path w="2124" h="3451" extrusionOk="0">
                  <a:moveTo>
                    <a:pt x="1416" y="1"/>
                  </a:moveTo>
                  <a:lnTo>
                    <a:pt x="1150" y="89"/>
                  </a:lnTo>
                  <a:lnTo>
                    <a:pt x="973" y="266"/>
                  </a:lnTo>
                  <a:lnTo>
                    <a:pt x="796" y="443"/>
                  </a:lnTo>
                  <a:lnTo>
                    <a:pt x="89" y="2477"/>
                  </a:lnTo>
                  <a:lnTo>
                    <a:pt x="0" y="2743"/>
                  </a:lnTo>
                  <a:lnTo>
                    <a:pt x="89" y="3008"/>
                  </a:lnTo>
                  <a:lnTo>
                    <a:pt x="266" y="3185"/>
                  </a:lnTo>
                  <a:lnTo>
                    <a:pt x="443" y="3362"/>
                  </a:lnTo>
                  <a:lnTo>
                    <a:pt x="708" y="3450"/>
                  </a:lnTo>
                  <a:lnTo>
                    <a:pt x="973" y="3362"/>
                  </a:lnTo>
                  <a:lnTo>
                    <a:pt x="1239" y="3185"/>
                  </a:lnTo>
                  <a:lnTo>
                    <a:pt x="1327" y="3008"/>
                  </a:lnTo>
                  <a:lnTo>
                    <a:pt x="2123" y="974"/>
                  </a:lnTo>
                  <a:lnTo>
                    <a:pt x="2123" y="708"/>
                  </a:lnTo>
                  <a:lnTo>
                    <a:pt x="2035" y="443"/>
                  </a:lnTo>
                  <a:lnTo>
                    <a:pt x="1946" y="266"/>
                  </a:lnTo>
                  <a:lnTo>
                    <a:pt x="1681" y="89"/>
                  </a:lnTo>
                  <a:lnTo>
                    <a:pt x="1416" y="1"/>
                  </a:lnTo>
                  <a:close/>
                </a:path>
              </a:pathLst>
            </a:custGeom>
            <a:solidFill>
              <a:srgbClr val="FF998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6" name="Google Shape;1206;p16"/>
            <p:cNvSpPr/>
            <p:nvPr/>
          </p:nvSpPr>
          <p:spPr>
            <a:xfrm>
              <a:off x="2923198" y="1883986"/>
              <a:ext cx="41206" cy="20278"/>
            </a:xfrm>
            <a:custGeom>
              <a:avLst/>
              <a:gdLst/>
              <a:ahLst/>
              <a:cxnLst/>
              <a:rect l="l" t="t" r="r" b="b"/>
              <a:pathLst>
                <a:path w="5574" h="2743" extrusionOk="0">
                  <a:moveTo>
                    <a:pt x="708" y="0"/>
                  </a:moveTo>
                  <a:lnTo>
                    <a:pt x="443" y="89"/>
                  </a:lnTo>
                  <a:lnTo>
                    <a:pt x="178" y="266"/>
                  </a:lnTo>
                  <a:lnTo>
                    <a:pt x="1" y="619"/>
                  </a:lnTo>
                  <a:lnTo>
                    <a:pt x="1" y="885"/>
                  </a:lnTo>
                  <a:lnTo>
                    <a:pt x="89" y="1239"/>
                  </a:lnTo>
                  <a:lnTo>
                    <a:pt x="266" y="1504"/>
                  </a:lnTo>
                  <a:lnTo>
                    <a:pt x="620" y="1592"/>
                  </a:lnTo>
                  <a:lnTo>
                    <a:pt x="4512" y="2654"/>
                  </a:lnTo>
                  <a:lnTo>
                    <a:pt x="4866" y="2742"/>
                  </a:lnTo>
                  <a:lnTo>
                    <a:pt x="5131" y="2566"/>
                  </a:lnTo>
                  <a:lnTo>
                    <a:pt x="5396" y="2389"/>
                  </a:lnTo>
                  <a:lnTo>
                    <a:pt x="5573" y="2123"/>
                  </a:lnTo>
                  <a:lnTo>
                    <a:pt x="5573" y="1769"/>
                  </a:lnTo>
                  <a:lnTo>
                    <a:pt x="5485" y="1416"/>
                  </a:lnTo>
                  <a:lnTo>
                    <a:pt x="5220" y="1239"/>
                  </a:lnTo>
                  <a:lnTo>
                    <a:pt x="4954" y="1062"/>
                  </a:lnTo>
                  <a:lnTo>
                    <a:pt x="1062" y="0"/>
                  </a:lnTo>
                  <a:close/>
                </a:path>
              </a:pathLst>
            </a:custGeom>
            <a:solidFill>
              <a:srgbClr val="FF998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7" name="Google Shape;1207;p16"/>
            <p:cNvSpPr/>
            <p:nvPr/>
          </p:nvSpPr>
          <p:spPr>
            <a:xfrm>
              <a:off x="2923856" y="1873526"/>
              <a:ext cx="51666" cy="22887"/>
            </a:xfrm>
            <a:custGeom>
              <a:avLst/>
              <a:gdLst/>
              <a:ahLst/>
              <a:cxnLst/>
              <a:rect l="l" t="t" r="r" b="b"/>
              <a:pathLst>
                <a:path w="6989" h="3096" extrusionOk="0">
                  <a:moveTo>
                    <a:pt x="708" y="0"/>
                  </a:moveTo>
                  <a:lnTo>
                    <a:pt x="442" y="88"/>
                  </a:lnTo>
                  <a:lnTo>
                    <a:pt x="177" y="265"/>
                  </a:lnTo>
                  <a:lnTo>
                    <a:pt x="0" y="619"/>
                  </a:lnTo>
                  <a:lnTo>
                    <a:pt x="0" y="973"/>
                  </a:lnTo>
                  <a:lnTo>
                    <a:pt x="89" y="1238"/>
                  </a:lnTo>
                  <a:lnTo>
                    <a:pt x="354" y="1504"/>
                  </a:lnTo>
                  <a:lnTo>
                    <a:pt x="619" y="1681"/>
                  </a:lnTo>
                  <a:lnTo>
                    <a:pt x="5927" y="3096"/>
                  </a:lnTo>
                  <a:lnTo>
                    <a:pt x="6280" y="3096"/>
                  </a:lnTo>
                  <a:lnTo>
                    <a:pt x="6546" y="3007"/>
                  </a:lnTo>
                  <a:lnTo>
                    <a:pt x="6811" y="2831"/>
                  </a:lnTo>
                  <a:lnTo>
                    <a:pt x="6988" y="2477"/>
                  </a:lnTo>
                  <a:lnTo>
                    <a:pt x="6988" y="2123"/>
                  </a:lnTo>
                  <a:lnTo>
                    <a:pt x="6900" y="1858"/>
                  </a:lnTo>
                  <a:lnTo>
                    <a:pt x="6723" y="1592"/>
                  </a:lnTo>
                  <a:lnTo>
                    <a:pt x="6369" y="1415"/>
                  </a:lnTo>
                  <a:lnTo>
                    <a:pt x="1062" y="0"/>
                  </a:lnTo>
                  <a:close/>
                </a:path>
              </a:pathLst>
            </a:custGeom>
            <a:solidFill>
              <a:srgbClr val="FF998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8" name="Google Shape;1208;p16"/>
            <p:cNvSpPr/>
            <p:nvPr/>
          </p:nvSpPr>
          <p:spPr>
            <a:xfrm>
              <a:off x="2931048" y="1849984"/>
              <a:ext cx="51666" cy="22895"/>
            </a:xfrm>
            <a:custGeom>
              <a:avLst/>
              <a:gdLst/>
              <a:ahLst/>
              <a:cxnLst/>
              <a:rect l="l" t="t" r="r" b="b"/>
              <a:pathLst>
                <a:path w="6989" h="3097" extrusionOk="0">
                  <a:moveTo>
                    <a:pt x="708" y="1"/>
                  </a:moveTo>
                  <a:lnTo>
                    <a:pt x="442" y="89"/>
                  </a:lnTo>
                  <a:lnTo>
                    <a:pt x="177" y="354"/>
                  </a:lnTo>
                  <a:lnTo>
                    <a:pt x="0" y="620"/>
                  </a:lnTo>
                  <a:lnTo>
                    <a:pt x="0" y="974"/>
                  </a:lnTo>
                  <a:lnTo>
                    <a:pt x="89" y="1239"/>
                  </a:lnTo>
                  <a:lnTo>
                    <a:pt x="354" y="1504"/>
                  </a:lnTo>
                  <a:lnTo>
                    <a:pt x="619" y="1681"/>
                  </a:lnTo>
                  <a:lnTo>
                    <a:pt x="5927" y="3097"/>
                  </a:lnTo>
                  <a:lnTo>
                    <a:pt x="6280" y="3097"/>
                  </a:lnTo>
                  <a:lnTo>
                    <a:pt x="6546" y="3008"/>
                  </a:lnTo>
                  <a:lnTo>
                    <a:pt x="6811" y="2831"/>
                  </a:lnTo>
                  <a:lnTo>
                    <a:pt x="6988" y="2477"/>
                  </a:lnTo>
                  <a:lnTo>
                    <a:pt x="6988" y="2124"/>
                  </a:lnTo>
                  <a:lnTo>
                    <a:pt x="6900" y="1858"/>
                  </a:lnTo>
                  <a:lnTo>
                    <a:pt x="6723" y="1593"/>
                  </a:lnTo>
                  <a:lnTo>
                    <a:pt x="6369" y="1416"/>
                  </a:lnTo>
                  <a:lnTo>
                    <a:pt x="1062" y="1"/>
                  </a:lnTo>
                  <a:close/>
                </a:path>
              </a:pathLst>
            </a:custGeom>
            <a:solidFill>
              <a:srgbClr val="FF998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9" name="Google Shape;1209;p16"/>
            <p:cNvSpPr/>
            <p:nvPr/>
          </p:nvSpPr>
          <p:spPr>
            <a:xfrm>
              <a:off x="2927773" y="1861751"/>
              <a:ext cx="55592" cy="24203"/>
            </a:xfrm>
            <a:custGeom>
              <a:avLst/>
              <a:gdLst/>
              <a:ahLst/>
              <a:cxnLst/>
              <a:rect l="l" t="t" r="r" b="b"/>
              <a:pathLst>
                <a:path w="7520" h="3274" extrusionOk="0">
                  <a:moveTo>
                    <a:pt x="709" y="1"/>
                  </a:moveTo>
                  <a:lnTo>
                    <a:pt x="443" y="89"/>
                  </a:lnTo>
                  <a:lnTo>
                    <a:pt x="178" y="355"/>
                  </a:lnTo>
                  <a:lnTo>
                    <a:pt x="1" y="620"/>
                  </a:lnTo>
                  <a:lnTo>
                    <a:pt x="1" y="974"/>
                  </a:lnTo>
                  <a:lnTo>
                    <a:pt x="89" y="1239"/>
                  </a:lnTo>
                  <a:lnTo>
                    <a:pt x="355" y="1505"/>
                  </a:lnTo>
                  <a:lnTo>
                    <a:pt x="620" y="1681"/>
                  </a:lnTo>
                  <a:lnTo>
                    <a:pt x="6458" y="3274"/>
                  </a:lnTo>
                  <a:lnTo>
                    <a:pt x="6723" y="3274"/>
                  </a:lnTo>
                  <a:lnTo>
                    <a:pt x="7077" y="3185"/>
                  </a:lnTo>
                  <a:lnTo>
                    <a:pt x="7343" y="2920"/>
                  </a:lnTo>
                  <a:lnTo>
                    <a:pt x="7431" y="2654"/>
                  </a:lnTo>
                  <a:lnTo>
                    <a:pt x="7520" y="2301"/>
                  </a:lnTo>
                  <a:lnTo>
                    <a:pt x="7431" y="2035"/>
                  </a:lnTo>
                  <a:lnTo>
                    <a:pt x="7166" y="1770"/>
                  </a:lnTo>
                  <a:lnTo>
                    <a:pt x="6900" y="1593"/>
                  </a:lnTo>
                  <a:lnTo>
                    <a:pt x="1062" y="1"/>
                  </a:lnTo>
                  <a:close/>
                </a:path>
              </a:pathLst>
            </a:custGeom>
            <a:solidFill>
              <a:srgbClr val="FF998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0" name="Google Shape;1210;p16"/>
            <p:cNvSpPr/>
            <p:nvPr/>
          </p:nvSpPr>
          <p:spPr>
            <a:xfrm>
              <a:off x="2922547" y="1853251"/>
              <a:ext cx="17661" cy="35972"/>
            </a:xfrm>
            <a:custGeom>
              <a:avLst/>
              <a:gdLst/>
              <a:ahLst/>
              <a:cxnLst/>
              <a:rect l="l" t="t" r="r" b="b"/>
              <a:pathLst>
                <a:path w="2389" h="4866" extrusionOk="0">
                  <a:moveTo>
                    <a:pt x="1239" y="1"/>
                  </a:moveTo>
                  <a:lnTo>
                    <a:pt x="973" y="355"/>
                  </a:lnTo>
                  <a:lnTo>
                    <a:pt x="796" y="797"/>
                  </a:lnTo>
                  <a:lnTo>
                    <a:pt x="443" y="1416"/>
                  </a:lnTo>
                  <a:lnTo>
                    <a:pt x="177" y="2124"/>
                  </a:lnTo>
                  <a:lnTo>
                    <a:pt x="0" y="3008"/>
                  </a:lnTo>
                  <a:lnTo>
                    <a:pt x="0" y="3893"/>
                  </a:lnTo>
                  <a:lnTo>
                    <a:pt x="89" y="4866"/>
                  </a:lnTo>
                  <a:lnTo>
                    <a:pt x="1062" y="4601"/>
                  </a:lnTo>
                  <a:lnTo>
                    <a:pt x="1416" y="4247"/>
                  </a:lnTo>
                  <a:lnTo>
                    <a:pt x="1769" y="3716"/>
                  </a:lnTo>
                  <a:lnTo>
                    <a:pt x="2123" y="3097"/>
                  </a:lnTo>
                  <a:lnTo>
                    <a:pt x="2389" y="2389"/>
                  </a:lnTo>
                  <a:lnTo>
                    <a:pt x="2389" y="2035"/>
                  </a:lnTo>
                  <a:lnTo>
                    <a:pt x="2389" y="1593"/>
                  </a:lnTo>
                  <a:lnTo>
                    <a:pt x="2212" y="1239"/>
                  </a:lnTo>
                  <a:lnTo>
                    <a:pt x="2035" y="797"/>
                  </a:lnTo>
                  <a:lnTo>
                    <a:pt x="1681" y="355"/>
                  </a:lnTo>
                  <a:lnTo>
                    <a:pt x="1239" y="1"/>
                  </a:lnTo>
                  <a:close/>
                </a:path>
              </a:pathLst>
            </a:custGeom>
            <a:solidFill>
              <a:srgbClr val="FF998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1" name="Google Shape;1211;p16"/>
            <p:cNvSpPr/>
            <p:nvPr/>
          </p:nvSpPr>
          <p:spPr>
            <a:xfrm>
              <a:off x="3236388" y="1275259"/>
              <a:ext cx="157601" cy="173295"/>
            </a:xfrm>
            <a:custGeom>
              <a:avLst/>
              <a:gdLst/>
              <a:ahLst/>
              <a:cxnLst/>
              <a:rect l="l" t="t" r="r" b="b"/>
              <a:pathLst>
                <a:path w="21319" h="23442" extrusionOk="0">
                  <a:moveTo>
                    <a:pt x="8846" y="1"/>
                  </a:moveTo>
                  <a:lnTo>
                    <a:pt x="8581" y="178"/>
                  </a:lnTo>
                  <a:lnTo>
                    <a:pt x="8315" y="354"/>
                  </a:lnTo>
                  <a:lnTo>
                    <a:pt x="8050" y="620"/>
                  </a:lnTo>
                  <a:lnTo>
                    <a:pt x="7785" y="1062"/>
                  </a:lnTo>
                  <a:lnTo>
                    <a:pt x="7608" y="1416"/>
                  </a:lnTo>
                  <a:lnTo>
                    <a:pt x="7342" y="1770"/>
                  </a:lnTo>
                  <a:lnTo>
                    <a:pt x="7077" y="2035"/>
                  </a:lnTo>
                  <a:lnTo>
                    <a:pt x="6812" y="2300"/>
                  </a:lnTo>
                  <a:lnTo>
                    <a:pt x="6104" y="2477"/>
                  </a:lnTo>
                  <a:lnTo>
                    <a:pt x="5396" y="2654"/>
                  </a:lnTo>
                  <a:lnTo>
                    <a:pt x="4689" y="2743"/>
                  </a:lnTo>
                  <a:lnTo>
                    <a:pt x="3981" y="2743"/>
                  </a:lnTo>
                  <a:lnTo>
                    <a:pt x="3273" y="2920"/>
                  </a:lnTo>
                  <a:lnTo>
                    <a:pt x="2654" y="3185"/>
                  </a:lnTo>
                  <a:lnTo>
                    <a:pt x="2389" y="3450"/>
                  </a:lnTo>
                  <a:lnTo>
                    <a:pt x="2124" y="3716"/>
                  </a:lnTo>
                  <a:lnTo>
                    <a:pt x="1947" y="4070"/>
                  </a:lnTo>
                  <a:lnTo>
                    <a:pt x="1858" y="4423"/>
                  </a:lnTo>
                  <a:lnTo>
                    <a:pt x="1770" y="4777"/>
                  </a:lnTo>
                  <a:lnTo>
                    <a:pt x="1770" y="5131"/>
                  </a:lnTo>
                  <a:lnTo>
                    <a:pt x="1947" y="5927"/>
                  </a:lnTo>
                  <a:lnTo>
                    <a:pt x="2124" y="6635"/>
                  </a:lnTo>
                  <a:lnTo>
                    <a:pt x="1947" y="6546"/>
                  </a:lnTo>
                  <a:lnTo>
                    <a:pt x="1770" y="6635"/>
                  </a:lnTo>
                  <a:lnTo>
                    <a:pt x="1593" y="6723"/>
                  </a:lnTo>
                  <a:lnTo>
                    <a:pt x="1327" y="6900"/>
                  </a:lnTo>
                  <a:lnTo>
                    <a:pt x="1062" y="7342"/>
                  </a:lnTo>
                  <a:lnTo>
                    <a:pt x="974" y="7608"/>
                  </a:lnTo>
                  <a:lnTo>
                    <a:pt x="974" y="7873"/>
                  </a:lnTo>
                  <a:lnTo>
                    <a:pt x="1062" y="8846"/>
                  </a:lnTo>
                  <a:lnTo>
                    <a:pt x="1062" y="9377"/>
                  </a:lnTo>
                  <a:lnTo>
                    <a:pt x="885" y="9819"/>
                  </a:lnTo>
                  <a:lnTo>
                    <a:pt x="531" y="10173"/>
                  </a:lnTo>
                  <a:lnTo>
                    <a:pt x="266" y="10527"/>
                  </a:lnTo>
                  <a:lnTo>
                    <a:pt x="89" y="10969"/>
                  </a:lnTo>
                  <a:lnTo>
                    <a:pt x="1" y="11411"/>
                  </a:lnTo>
                  <a:lnTo>
                    <a:pt x="1" y="11942"/>
                  </a:lnTo>
                  <a:lnTo>
                    <a:pt x="89" y="12473"/>
                  </a:lnTo>
                  <a:lnTo>
                    <a:pt x="266" y="13004"/>
                  </a:lnTo>
                  <a:lnTo>
                    <a:pt x="531" y="13446"/>
                  </a:lnTo>
                  <a:lnTo>
                    <a:pt x="885" y="13800"/>
                  </a:lnTo>
                  <a:lnTo>
                    <a:pt x="1151" y="14065"/>
                  </a:lnTo>
                  <a:lnTo>
                    <a:pt x="1239" y="13977"/>
                  </a:lnTo>
                  <a:lnTo>
                    <a:pt x="1239" y="14242"/>
                  </a:lnTo>
                  <a:lnTo>
                    <a:pt x="1416" y="14507"/>
                  </a:lnTo>
                  <a:lnTo>
                    <a:pt x="1327" y="14684"/>
                  </a:lnTo>
                  <a:lnTo>
                    <a:pt x="1327" y="14861"/>
                  </a:lnTo>
                  <a:lnTo>
                    <a:pt x="1327" y="15038"/>
                  </a:lnTo>
                  <a:lnTo>
                    <a:pt x="1504" y="15126"/>
                  </a:lnTo>
                  <a:lnTo>
                    <a:pt x="1593" y="15215"/>
                  </a:lnTo>
                  <a:lnTo>
                    <a:pt x="1858" y="15215"/>
                  </a:lnTo>
                  <a:lnTo>
                    <a:pt x="3450" y="14950"/>
                  </a:lnTo>
                  <a:lnTo>
                    <a:pt x="3627" y="14861"/>
                  </a:lnTo>
                  <a:lnTo>
                    <a:pt x="3804" y="14773"/>
                  </a:lnTo>
                  <a:lnTo>
                    <a:pt x="3804" y="14596"/>
                  </a:lnTo>
                  <a:lnTo>
                    <a:pt x="3893" y="14419"/>
                  </a:lnTo>
                  <a:lnTo>
                    <a:pt x="3804" y="14242"/>
                  </a:lnTo>
                  <a:lnTo>
                    <a:pt x="3716" y="14153"/>
                  </a:lnTo>
                  <a:lnTo>
                    <a:pt x="3539" y="14065"/>
                  </a:lnTo>
                  <a:lnTo>
                    <a:pt x="3362" y="14065"/>
                  </a:lnTo>
                  <a:lnTo>
                    <a:pt x="1770" y="14330"/>
                  </a:lnTo>
                  <a:lnTo>
                    <a:pt x="1770" y="13534"/>
                  </a:lnTo>
                  <a:lnTo>
                    <a:pt x="1858" y="12738"/>
                  </a:lnTo>
                  <a:lnTo>
                    <a:pt x="2035" y="12031"/>
                  </a:lnTo>
                  <a:lnTo>
                    <a:pt x="2300" y="11323"/>
                  </a:lnTo>
                  <a:lnTo>
                    <a:pt x="3008" y="10881"/>
                  </a:lnTo>
                  <a:lnTo>
                    <a:pt x="4070" y="10438"/>
                  </a:lnTo>
                  <a:lnTo>
                    <a:pt x="4777" y="10261"/>
                  </a:lnTo>
                  <a:lnTo>
                    <a:pt x="5573" y="10173"/>
                  </a:lnTo>
                  <a:lnTo>
                    <a:pt x="6458" y="10085"/>
                  </a:lnTo>
                  <a:lnTo>
                    <a:pt x="8138" y="10085"/>
                  </a:lnTo>
                  <a:lnTo>
                    <a:pt x="8758" y="10261"/>
                  </a:lnTo>
                  <a:lnTo>
                    <a:pt x="9288" y="10527"/>
                  </a:lnTo>
                  <a:lnTo>
                    <a:pt x="9819" y="10881"/>
                  </a:lnTo>
                  <a:lnTo>
                    <a:pt x="10261" y="11234"/>
                  </a:lnTo>
                  <a:lnTo>
                    <a:pt x="10615" y="11677"/>
                  </a:lnTo>
                  <a:lnTo>
                    <a:pt x="11323" y="12561"/>
                  </a:lnTo>
                  <a:lnTo>
                    <a:pt x="12030" y="13446"/>
                  </a:lnTo>
                  <a:lnTo>
                    <a:pt x="12473" y="13888"/>
                  </a:lnTo>
                  <a:lnTo>
                    <a:pt x="12915" y="14242"/>
                  </a:lnTo>
                  <a:lnTo>
                    <a:pt x="13446" y="14596"/>
                  </a:lnTo>
                  <a:lnTo>
                    <a:pt x="13976" y="14861"/>
                  </a:lnTo>
                  <a:lnTo>
                    <a:pt x="14684" y="14950"/>
                  </a:lnTo>
                  <a:lnTo>
                    <a:pt x="15569" y="15038"/>
                  </a:lnTo>
                  <a:lnTo>
                    <a:pt x="16984" y="14419"/>
                  </a:lnTo>
                  <a:lnTo>
                    <a:pt x="17338" y="14507"/>
                  </a:lnTo>
                  <a:lnTo>
                    <a:pt x="17692" y="14596"/>
                  </a:lnTo>
                  <a:lnTo>
                    <a:pt x="18045" y="14684"/>
                  </a:lnTo>
                  <a:lnTo>
                    <a:pt x="18311" y="14950"/>
                  </a:lnTo>
                  <a:lnTo>
                    <a:pt x="18576" y="15215"/>
                  </a:lnTo>
                  <a:lnTo>
                    <a:pt x="18842" y="15569"/>
                  </a:lnTo>
                  <a:lnTo>
                    <a:pt x="18930" y="16011"/>
                  </a:lnTo>
                  <a:lnTo>
                    <a:pt x="19107" y="16453"/>
                  </a:lnTo>
                  <a:lnTo>
                    <a:pt x="19107" y="16896"/>
                  </a:lnTo>
                  <a:lnTo>
                    <a:pt x="19018" y="17338"/>
                  </a:lnTo>
                  <a:lnTo>
                    <a:pt x="18930" y="17780"/>
                  </a:lnTo>
                  <a:lnTo>
                    <a:pt x="18753" y="18134"/>
                  </a:lnTo>
                  <a:lnTo>
                    <a:pt x="18488" y="18488"/>
                  </a:lnTo>
                  <a:lnTo>
                    <a:pt x="18134" y="18753"/>
                  </a:lnTo>
                  <a:lnTo>
                    <a:pt x="17780" y="18930"/>
                  </a:lnTo>
                  <a:lnTo>
                    <a:pt x="17426" y="19107"/>
                  </a:lnTo>
                  <a:lnTo>
                    <a:pt x="17426" y="19638"/>
                  </a:lnTo>
                  <a:lnTo>
                    <a:pt x="17338" y="20257"/>
                  </a:lnTo>
                  <a:lnTo>
                    <a:pt x="17249" y="20876"/>
                  </a:lnTo>
                  <a:lnTo>
                    <a:pt x="17072" y="21407"/>
                  </a:lnTo>
                  <a:lnTo>
                    <a:pt x="17161" y="22380"/>
                  </a:lnTo>
                  <a:lnTo>
                    <a:pt x="17249" y="23441"/>
                  </a:lnTo>
                  <a:lnTo>
                    <a:pt x="17515" y="23176"/>
                  </a:lnTo>
                  <a:lnTo>
                    <a:pt x="18045" y="22468"/>
                  </a:lnTo>
                  <a:lnTo>
                    <a:pt x="18399" y="21849"/>
                  </a:lnTo>
                  <a:lnTo>
                    <a:pt x="18753" y="21141"/>
                  </a:lnTo>
                  <a:lnTo>
                    <a:pt x="19018" y="20345"/>
                  </a:lnTo>
                  <a:lnTo>
                    <a:pt x="19195" y="19549"/>
                  </a:lnTo>
                  <a:lnTo>
                    <a:pt x="19638" y="17161"/>
                  </a:lnTo>
                  <a:lnTo>
                    <a:pt x="19815" y="15126"/>
                  </a:lnTo>
                  <a:lnTo>
                    <a:pt x="20080" y="14507"/>
                  </a:lnTo>
                  <a:lnTo>
                    <a:pt x="20168" y="14242"/>
                  </a:lnTo>
                  <a:lnTo>
                    <a:pt x="20168" y="13888"/>
                  </a:lnTo>
                  <a:lnTo>
                    <a:pt x="20257" y="13623"/>
                  </a:lnTo>
                  <a:lnTo>
                    <a:pt x="20345" y="13357"/>
                  </a:lnTo>
                  <a:lnTo>
                    <a:pt x="20522" y="13004"/>
                  </a:lnTo>
                  <a:lnTo>
                    <a:pt x="20611" y="12561"/>
                  </a:lnTo>
                  <a:lnTo>
                    <a:pt x="20611" y="12119"/>
                  </a:lnTo>
                  <a:lnTo>
                    <a:pt x="20699" y="11677"/>
                  </a:lnTo>
                  <a:lnTo>
                    <a:pt x="20964" y="10792"/>
                  </a:lnTo>
                  <a:lnTo>
                    <a:pt x="21230" y="9908"/>
                  </a:lnTo>
                  <a:lnTo>
                    <a:pt x="21318" y="9554"/>
                  </a:lnTo>
                  <a:lnTo>
                    <a:pt x="21230" y="9112"/>
                  </a:lnTo>
                  <a:lnTo>
                    <a:pt x="21141" y="8846"/>
                  </a:lnTo>
                  <a:lnTo>
                    <a:pt x="21053" y="8581"/>
                  </a:lnTo>
                  <a:lnTo>
                    <a:pt x="20699" y="8227"/>
                  </a:lnTo>
                  <a:lnTo>
                    <a:pt x="20345" y="7873"/>
                  </a:lnTo>
                  <a:lnTo>
                    <a:pt x="20080" y="7431"/>
                  </a:lnTo>
                  <a:lnTo>
                    <a:pt x="19903" y="6900"/>
                  </a:lnTo>
                  <a:lnTo>
                    <a:pt x="19815" y="6369"/>
                  </a:lnTo>
                  <a:lnTo>
                    <a:pt x="19815" y="5839"/>
                  </a:lnTo>
                  <a:lnTo>
                    <a:pt x="19726" y="5308"/>
                  </a:lnTo>
                  <a:lnTo>
                    <a:pt x="19461" y="4512"/>
                  </a:lnTo>
                  <a:lnTo>
                    <a:pt x="19018" y="3804"/>
                  </a:lnTo>
                  <a:lnTo>
                    <a:pt x="18842" y="3627"/>
                  </a:lnTo>
                  <a:lnTo>
                    <a:pt x="18488" y="3362"/>
                  </a:lnTo>
                  <a:lnTo>
                    <a:pt x="18134" y="3185"/>
                  </a:lnTo>
                  <a:lnTo>
                    <a:pt x="17692" y="3097"/>
                  </a:lnTo>
                  <a:lnTo>
                    <a:pt x="16542" y="3097"/>
                  </a:lnTo>
                  <a:lnTo>
                    <a:pt x="16099" y="3008"/>
                  </a:lnTo>
                  <a:lnTo>
                    <a:pt x="15922" y="2920"/>
                  </a:lnTo>
                  <a:lnTo>
                    <a:pt x="15746" y="2831"/>
                  </a:lnTo>
                  <a:lnTo>
                    <a:pt x="15126" y="2124"/>
                  </a:lnTo>
                  <a:lnTo>
                    <a:pt x="14861" y="1770"/>
                  </a:lnTo>
                  <a:lnTo>
                    <a:pt x="14507" y="1593"/>
                  </a:lnTo>
                  <a:lnTo>
                    <a:pt x="14065" y="1416"/>
                  </a:lnTo>
                  <a:lnTo>
                    <a:pt x="13711" y="1327"/>
                  </a:lnTo>
                  <a:lnTo>
                    <a:pt x="13269" y="1327"/>
                  </a:lnTo>
                  <a:lnTo>
                    <a:pt x="12915" y="1416"/>
                  </a:lnTo>
                  <a:lnTo>
                    <a:pt x="12207" y="1593"/>
                  </a:lnTo>
                  <a:lnTo>
                    <a:pt x="11942" y="1681"/>
                  </a:lnTo>
                  <a:lnTo>
                    <a:pt x="11588" y="1593"/>
                  </a:lnTo>
                  <a:lnTo>
                    <a:pt x="11411" y="1504"/>
                  </a:lnTo>
                  <a:lnTo>
                    <a:pt x="10969" y="885"/>
                  </a:lnTo>
                  <a:lnTo>
                    <a:pt x="10438" y="354"/>
                  </a:lnTo>
                  <a:lnTo>
                    <a:pt x="9908" y="89"/>
                  </a:lnTo>
                  <a:lnTo>
                    <a:pt x="9377" y="1"/>
                  </a:ln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2" name="Google Shape;1212;p16"/>
            <p:cNvSpPr/>
            <p:nvPr/>
          </p:nvSpPr>
          <p:spPr>
            <a:xfrm>
              <a:off x="3249464" y="1349798"/>
              <a:ext cx="128171" cy="199450"/>
            </a:xfrm>
            <a:custGeom>
              <a:avLst/>
              <a:gdLst/>
              <a:ahLst/>
              <a:cxnLst/>
              <a:rect l="l" t="t" r="r" b="b"/>
              <a:pathLst>
                <a:path w="17338" h="26980" extrusionOk="0">
                  <a:moveTo>
                    <a:pt x="4689" y="1"/>
                  </a:moveTo>
                  <a:lnTo>
                    <a:pt x="3804" y="89"/>
                  </a:lnTo>
                  <a:lnTo>
                    <a:pt x="3008" y="177"/>
                  </a:lnTo>
                  <a:lnTo>
                    <a:pt x="2301" y="354"/>
                  </a:lnTo>
                  <a:lnTo>
                    <a:pt x="1239" y="797"/>
                  </a:lnTo>
                  <a:lnTo>
                    <a:pt x="531" y="1239"/>
                  </a:lnTo>
                  <a:lnTo>
                    <a:pt x="266" y="1947"/>
                  </a:lnTo>
                  <a:lnTo>
                    <a:pt x="89" y="2654"/>
                  </a:lnTo>
                  <a:lnTo>
                    <a:pt x="1" y="3450"/>
                  </a:lnTo>
                  <a:lnTo>
                    <a:pt x="1" y="4246"/>
                  </a:lnTo>
                  <a:lnTo>
                    <a:pt x="89" y="5131"/>
                  </a:lnTo>
                  <a:lnTo>
                    <a:pt x="885" y="10969"/>
                  </a:lnTo>
                  <a:lnTo>
                    <a:pt x="1062" y="11677"/>
                  </a:lnTo>
                  <a:lnTo>
                    <a:pt x="1151" y="12384"/>
                  </a:lnTo>
                  <a:lnTo>
                    <a:pt x="1416" y="13003"/>
                  </a:lnTo>
                  <a:lnTo>
                    <a:pt x="1681" y="13623"/>
                  </a:lnTo>
                  <a:lnTo>
                    <a:pt x="2035" y="14153"/>
                  </a:lnTo>
                  <a:lnTo>
                    <a:pt x="2389" y="14684"/>
                  </a:lnTo>
                  <a:lnTo>
                    <a:pt x="2743" y="15126"/>
                  </a:lnTo>
                  <a:lnTo>
                    <a:pt x="3185" y="15569"/>
                  </a:lnTo>
                  <a:lnTo>
                    <a:pt x="3627" y="15922"/>
                  </a:lnTo>
                  <a:lnTo>
                    <a:pt x="4158" y="16276"/>
                  </a:lnTo>
                  <a:lnTo>
                    <a:pt x="4689" y="16542"/>
                  </a:lnTo>
                  <a:lnTo>
                    <a:pt x="5308" y="16719"/>
                  </a:lnTo>
                  <a:lnTo>
                    <a:pt x="5927" y="16895"/>
                  </a:lnTo>
                  <a:lnTo>
                    <a:pt x="6546" y="16984"/>
                  </a:lnTo>
                  <a:lnTo>
                    <a:pt x="7166" y="17072"/>
                  </a:lnTo>
                  <a:lnTo>
                    <a:pt x="7873" y="17072"/>
                  </a:lnTo>
                  <a:lnTo>
                    <a:pt x="8050" y="24503"/>
                  </a:lnTo>
                  <a:lnTo>
                    <a:pt x="8050" y="24591"/>
                  </a:lnTo>
                  <a:lnTo>
                    <a:pt x="8227" y="24768"/>
                  </a:lnTo>
                  <a:lnTo>
                    <a:pt x="8669" y="25122"/>
                  </a:lnTo>
                  <a:lnTo>
                    <a:pt x="9288" y="25564"/>
                  </a:lnTo>
                  <a:lnTo>
                    <a:pt x="10085" y="26006"/>
                  </a:lnTo>
                  <a:lnTo>
                    <a:pt x="11765" y="26714"/>
                  </a:lnTo>
                  <a:lnTo>
                    <a:pt x="12384" y="26891"/>
                  </a:lnTo>
                  <a:lnTo>
                    <a:pt x="12738" y="26979"/>
                  </a:lnTo>
                  <a:lnTo>
                    <a:pt x="14684" y="23795"/>
                  </a:lnTo>
                  <a:lnTo>
                    <a:pt x="14950" y="23795"/>
                  </a:lnTo>
                  <a:lnTo>
                    <a:pt x="15215" y="23883"/>
                  </a:lnTo>
                  <a:lnTo>
                    <a:pt x="15569" y="24149"/>
                  </a:lnTo>
                  <a:lnTo>
                    <a:pt x="15746" y="24237"/>
                  </a:lnTo>
                  <a:lnTo>
                    <a:pt x="15834" y="24237"/>
                  </a:lnTo>
                  <a:lnTo>
                    <a:pt x="15923" y="24149"/>
                  </a:lnTo>
                  <a:lnTo>
                    <a:pt x="15923" y="23972"/>
                  </a:lnTo>
                  <a:lnTo>
                    <a:pt x="15746" y="13092"/>
                  </a:lnTo>
                  <a:lnTo>
                    <a:pt x="15480" y="13357"/>
                  </a:lnTo>
                  <a:lnTo>
                    <a:pt x="15392" y="12296"/>
                  </a:lnTo>
                  <a:lnTo>
                    <a:pt x="15303" y="11323"/>
                  </a:lnTo>
                  <a:lnTo>
                    <a:pt x="15480" y="10792"/>
                  </a:lnTo>
                  <a:lnTo>
                    <a:pt x="15569" y="10173"/>
                  </a:lnTo>
                  <a:lnTo>
                    <a:pt x="15657" y="9554"/>
                  </a:lnTo>
                  <a:lnTo>
                    <a:pt x="15657" y="9023"/>
                  </a:lnTo>
                  <a:lnTo>
                    <a:pt x="16011" y="8846"/>
                  </a:lnTo>
                  <a:lnTo>
                    <a:pt x="16365" y="8669"/>
                  </a:lnTo>
                  <a:lnTo>
                    <a:pt x="16719" y="8404"/>
                  </a:lnTo>
                  <a:lnTo>
                    <a:pt x="16984" y="8050"/>
                  </a:lnTo>
                  <a:lnTo>
                    <a:pt x="17161" y="7696"/>
                  </a:lnTo>
                  <a:lnTo>
                    <a:pt x="17249" y="7254"/>
                  </a:lnTo>
                  <a:lnTo>
                    <a:pt x="17338" y="6812"/>
                  </a:lnTo>
                  <a:lnTo>
                    <a:pt x="17338" y="6369"/>
                  </a:lnTo>
                  <a:lnTo>
                    <a:pt x="17161" y="5927"/>
                  </a:lnTo>
                  <a:lnTo>
                    <a:pt x="17073" y="5485"/>
                  </a:lnTo>
                  <a:lnTo>
                    <a:pt x="16807" y="5131"/>
                  </a:lnTo>
                  <a:lnTo>
                    <a:pt x="16542" y="4866"/>
                  </a:lnTo>
                  <a:lnTo>
                    <a:pt x="16276" y="4600"/>
                  </a:lnTo>
                  <a:lnTo>
                    <a:pt x="15923" y="4512"/>
                  </a:lnTo>
                  <a:lnTo>
                    <a:pt x="15569" y="4423"/>
                  </a:lnTo>
                  <a:lnTo>
                    <a:pt x="15215" y="4335"/>
                  </a:lnTo>
                  <a:lnTo>
                    <a:pt x="13800" y="4954"/>
                  </a:lnTo>
                  <a:lnTo>
                    <a:pt x="12915" y="4866"/>
                  </a:lnTo>
                  <a:lnTo>
                    <a:pt x="12207" y="4777"/>
                  </a:lnTo>
                  <a:lnTo>
                    <a:pt x="11677" y="4512"/>
                  </a:lnTo>
                  <a:lnTo>
                    <a:pt x="11146" y="4158"/>
                  </a:lnTo>
                  <a:lnTo>
                    <a:pt x="10704" y="3804"/>
                  </a:lnTo>
                  <a:lnTo>
                    <a:pt x="10261" y="3362"/>
                  </a:lnTo>
                  <a:lnTo>
                    <a:pt x="9554" y="2477"/>
                  </a:lnTo>
                  <a:lnTo>
                    <a:pt x="8846" y="1593"/>
                  </a:lnTo>
                  <a:lnTo>
                    <a:pt x="8492" y="1150"/>
                  </a:lnTo>
                  <a:lnTo>
                    <a:pt x="8050" y="797"/>
                  </a:lnTo>
                  <a:lnTo>
                    <a:pt x="7519" y="443"/>
                  </a:lnTo>
                  <a:lnTo>
                    <a:pt x="6989" y="177"/>
                  </a:lnTo>
                  <a:lnTo>
                    <a:pt x="6369" y="1"/>
                  </a:lnTo>
                  <a:close/>
                </a:path>
              </a:pathLst>
            </a:custGeom>
            <a:solidFill>
              <a:srgbClr val="FF998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3" name="Google Shape;1213;p16"/>
            <p:cNvSpPr/>
            <p:nvPr/>
          </p:nvSpPr>
          <p:spPr>
            <a:xfrm>
              <a:off x="3249464" y="1349798"/>
              <a:ext cx="128171" cy="199450"/>
            </a:xfrm>
            <a:custGeom>
              <a:avLst/>
              <a:gdLst/>
              <a:ahLst/>
              <a:cxnLst/>
              <a:rect l="l" t="t" r="r" b="b"/>
              <a:pathLst>
                <a:path w="17338" h="26980" fill="none" extrusionOk="0">
                  <a:moveTo>
                    <a:pt x="89" y="5131"/>
                  </a:moveTo>
                  <a:lnTo>
                    <a:pt x="885" y="10969"/>
                  </a:lnTo>
                  <a:lnTo>
                    <a:pt x="885" y="10969"/>
                  </a:lnTo>
                  <a:lnTo>
                    <a:pt x="1062" y="11677"/>
                  </a:lnTo>
                  <a:lnTo>
                    <a:pt x="1151" y="12384"/>
                  </a:lnTo>
                  <a:lnTo>
                    <a:pt x="1416" y="13003"/>
                  </a:lnTo>
                  <a:lnTo>
                    <a:pt x="1681" y="13623"/>
                  </a:lnTo>
                  <a:lnTo>
                    <a:pt x="2035" y="14153"/>
                  </a:lnTo>
                  <a:lnTo>
                    <a:pt x="2389" y="14684"/>
                  </a:lnTo>
                  <a:lnTo>
                    <a:pt x="2743" y="15126"/>
                  </a:lnTo>
                  <a:lnTo>
                    <a:pt x="3185" y="15569"/>
                  </a:lnTo>
                  <a:lnTo>
                    <a:pt x="3627" y="15922"/>
                  </a:lnTo>
                  <a:lnTo>
                    <a:pt x="4158" y="16276"/>
                  </a:lnTo>
                  <a:lnTo>
                    <a:pt x="4689" y="16542"/>
                  </a:lnTo>
                  <a:lnTo>
                    <a:pt x="5308" y="16719"/>
                  </a:lnTo>
                  <a:lnTo>
                    <a:pt x="5927" y="16895"/>
                  </a:lnTo>
                  <a:lnTo>
                    <a:pt x="6546" y="16984"/>
                  </a:lnTo>
                  <a:lnTo>
                    <a:pt x="7166" y="17072"/>
                  </a:lnTo>
                  <a:lnTo>
                    <a:pt x="7873" y="17072"/>
                  </a:lnTo>
                  <a:lnTo>
                    <a:pt x="8050" y="24503"/>
                  </a:lnTo>
                  <a:lnTo>
                    <a:pt x="8050" y="24503"/>
                  </a:lnTo>
                  <a:lnTo>
                    <a:pt x="8050" y="24591"/>
                  </a:lnTo>
                  <a:lnTo>
                    <a:pt x="8227" y="24768"/>
                  </a:lnTo>
                  <a:lnTo>
                    <a:pt x="8669" y="25122"/>
                  </a:lnTo>
                  <a:lnTo>
                    <a:pt x="9288" y="25564"/>
                  </a:lnTo>
                  <a:lnTo>
                    <a:pt x="10085" y="26006"/>
                  </a:lnTo>
                  <a:lnTo>
                    <a:pt x="11765" y="26714"/>
                  </a:lnTo>
                  <a:lnTo>
                    <a:pt x="12384" y="26891"/>
                  </a:lnTo>
                  <a:lnTo>
                    <a:pt x="12738" y="26979"/>
                  </a:lnTo>
                  <a:lnTo>
                    <a:pt x="14684" y="23795"/>
                  </a:lnTo>
                  <a:lnTo>
                    <a:pt x="14684" y="23795"/>
                  </a:lnTo>
                  <a:lnTo>
                    <a:pt x="14950" y="23795"/>
                  </a:lnTo>
                  <a:lnTo>
                    <a:pt x="15215" y="23883"/>
                  </a:lnTo>
                  <a:lnTo>
                    <a:pt x="15569" y="24149"/>
                  </a:lnTo>
                  <a:lnTo>
                    <a:pt x="15746" y="24237"/>
                  </a:lnTo>
                  <a:lnTo>
                    <a:pt x="15834" y="24237"/>
                  </a:lnTo>
                  <a:lnTo>
                    <a:pt x="15923" y="24149"/>
                  </a:lnTo>
                  <a:lnTo>
                    <a:pt x="15923" y="23972"/>
                  </a:lnTo>
                  <a:lnTo>
                    <a:pt x="15746" y="13092"/>
                  </a:lnTo>
                  <a:lnTo>
                    <a:pt x="15746" y="13092"/>
                  </a:lnTo>
                  <a:lnTo>
                    <a:pt x="15480" y="13357"/>
                  </a:lnTo>
                  <a:lnTo>
                    <a:pt x="15480" y="13357"/>
                  </a:lnTo>
                  <a:lnTo>
                    <a:pt x="15392" y="12296"/>
                  </a:lnTo>
                  <a:lnTo>
                    <a:pt x="15303" y="11323"/>
                  </a:lnTo>
                  <a:lnTo>
                    <a:pt x="15303" y="11323"/>
                  </a:lnTo>
                  <a:lnTo>
                    <a:pt x="15480" y="10792"/>
                  </a:lnTo>
                  <a:lnTo>
                    <a:pt x="15569" y="10173"/>
                  </a:lnTo>
                  <a:lnTo>
                    <a:pt x="15657" y="9554"/>
                  </a:lnTo>
                  <a:lnTo>
                    <a:pt x="15657" y="9023"/>
                  </a:lnTo>
                  <a:lnTo>
                    <a:pt x="15657" y="9023"/>
                  </a:lnTo>
                  <a:lnTo>
                    <a:pt x="16011" y="8846"/>
                  </a:lnTo>
                  <a:lnTo>
                    <a:pt x="16365" y="8669"/>
                  </a:lnTo>
                  <a:lnTo>
                    <a:pt x="16719" y="8404"/>
                  </a:lnTo>
                  <a:lnTo>
                    <a:pt x="16984" y="8050"/>
                  </a:lnTo>
                  <a:lnTo>
                    <a:pt x="17161" y="7696"/>
                  </a:lnTo>
                  <a:lnTo>
                    <a:pt x="17249" y="7254"/>
                  </a:lnTo>
                  <a:lnTo>
                    <a:pt x="17338" y="6812"/>
                  </a:lnTo>
                  <a:lnTo>
                    <a:pt x="17338" y="6369"/>
                  </a:lnTo>
                  <a:lnTo>
                    <a:pt x="17338" y="6369"/>
                  </a:lnTo>
                  <a:lnTo>
                    <a:pt x="17161" y="5927"/>
                  </a:lnTo>
                  <a:lnTo>
                    <a:pt x="17073" y="5485"/>
                  </a:lnTo>
                  <a:lnTo>
                    <a:pt x="16807" y="5131"/>
                  </a:lnTo>
                  <a:lnTo>
                    <a:pt x="16542" y="4866"/>
                  </a:lnTo>
                  <a:lnTo>
                    <a:pt x="16276" y="4600"/>
                  </a:lnTo>
                  <a:lnTo>
                    <a:pt x="15923" y="4512"/>
                  </a:lnTo>
                  <a:lnTo>
                    <a:pt x="15569" y="4423"/>
                  </a:lnTo>
                  <a:lnTo>
                    <a:pt x="15215" y="4335"/>
                  </a:lnTo>
                  <a:lnTo>
                    <a:pt x="13800" y="4954"/>
                  </a:lnTo>
                  <a:lnTo>
                    <a:pt x="13800" y="4954"/>
                  </a:lnTo>
                  <a:lnTo>
                    <a:pt x="12915" y="4866"/>
                  </a:lnTo>
                  <a:lnTo>
                    <a:pt x="12207" y="4777"/>
                  </a:lnTo>
                  <a:lnTo>
                    <a:pt x="11677" y="4512"/>
                  </a:lnTo>
                  <a:lnTo>
                    <a:pt x="11146" y="4158"/>
                  </a:lnTo>
                  <a:lnTo>
                    <a:pt x="10704" y="3804"/>
                  </a:lnTo>
                  <a:lnTo>
                    <a:pt x="10261" y="3362"/>
                  </a:lnTo>
                  <a:lnTo>
                    <a:pt x="9554" y="2477"/>
                  </a:lnTo>
                  <a:lnTo>
                    <a:pt x="8846" y="1593"/>
                  </a:lnTo>
                  <a:lnTo>
                    <a:pt x="8492" y="1150"/>
                  </a:lnTo>
                  <a:lnTo>
                    <a:pt x="8050" y="797"/>
                  </a:lnTo>
                  <a:lnTo>
                    <a:pt x="7519" y="443"/>
                  </a:lnTo>
                  <a:lnTo>
                    <a:pt x="6989" y="177"/>
                  </a:lnTo>
                  <a:lnTo>
                    <a:pt x="6369" y="1"/>
                  </a:lnTo>
                  <a:lnTo>
                    <a:pt x="5662" y="1"/>
                  </a:lnTo>
                  <a:lnTo>
                    <a:pt x="5662" y="1"/>
                  </a:lnTo>
                  <a:lnTo>
                    <a:pt x="4689" y="1"/>
                  </a:lnTo>
                  <a:lnTo>
                    <a:pt x="3804" y="89"/>
                  </a:lnTo>
                  <a:lnTo>
                    <a:pt x="3008" y="177"/>
                  </a:lnTo>
                  <a:lnTo>
                    <a:pt x="2301" y="354"/>
                  </a:lnTo>
                  <a:lnTo>
                    <a:pt x="1239" y="797"/>
                  </a:lnTo>
                  <a:lnTo>
                    <a:pt x="531" y="1239"/>
                  </a:lnTo>
                  <a:lnTo>
                    <a:pt x="531" y="1239"/>
                  </a:lnTo>
                  <a:lnTo>
                    <a:pt x="266" y="1947"/>
                  </a:lnTo>
                  <a:lnTo>
                    <a:pt x="89" y="2654"/>
                  </a:lnTo>
                  <a:lnTo>
                    <a:pt x="1" y="3450"/>
                  </a:lnTo>
                  <a:lnTo>
                    <a:pt x="1" y="4246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4" name="Google Shape;1214;p16"/>
            <p:cNvSpPr/>
            <p:nvPr/>
          </p:nvSpPr>
          <p:spPr>
            <a:xfrm>
              <a:off x="2870893" y="2042214"/>
              <a:ext cx="22237" cy="35314"/>
            </a:xfrm>
            <a:custGeom>
              <a:avLst/>
              <a:gdLst/>
              <a:ahLst/>
              <a:cxnLst/>
              <a:rect l="l" t="t" r="r" b="b"/>
              <a:pathLst>
                <a:path w="3008" h="4777" extrusionOk="0">
                  <a:moveTo>
                    <a:pt x="443" y="0"/>
                  </a:moveTo>
                  <a:lnTo>
                    <a:pt x="266" y="89"/>
                  </a:lnTo>
                  <a:lnTo>
                    <a:pt x="89" y="266"/>
                  </a:lnTo>
                  <a:lnTo>
                    <a:pt x="0" y="443"/>
                  </a:lnTo>
                  <a:lnTo>
                    <a:pt x="0" y="797"/>
                  </a:lnTo>
                  <a:lnTo>
                    <a:pt x="89" y="1062"/>
                  </a:lnTo>
                  <a:lnTo>
                    <a:pt x="1858" y="4335"/>
                  </a:lnTo>
                  <a:lnTo>
                    <a:pt x="2035" y="4600"/>
                  </a:lnTo>
                  <a:lnTo>
                    <a:pt x="2300" y="4689"/>
                  </a:lnTo>
                  <a:lnTo>
                    <a:pt x="2565" y="4777"/>
                  </a:lnTo>
                  <a:lnTo>
                    <a:pt x="2742" y="4689"/>
                  </a:lnTo>
                  <a:lnTo>
                    <a:pt x="2919" y="4512"/>
                  </a:lnTo>
                  <a:lnTo>
                    <a:pt x="3008" y="4246"/>
                  </a:lnTo>
                  <a:lnTo>
                    <a:pt x="3008" y="3981"/>
                  </a:lnTo>
                  <a:lnTo>
                    <a:pt x="2919" y="3716"/>
                  </a:lnTo>
                  <a:lnTo>
                    <a:pt x="1150" y="354"/>
                  </a:lnTo>
                  <a:lnTo>
                    <a:pt x="973" y="177"/>
                  </a:lnTo>
                  <a:lnTo>
                    <a:pt x="708" y="0"/>
                  </a:lnTo>
                  <a:close/>
                </a:path>
              </a:pathLst>
            </a:custGeom>
            <a:solidFill>
              <a:srgbClr val="C1886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5" name="Google Shape;1215;p16"/>
            <p:cNvSpPr/>
            <p:nvPr/>
          </p:nvSpPr>
          <p:spPr>
            <a:xfrm>
              <a:off x="2835583" y="2012787"/>
              <a:ext cx="45131" cy="64744"/>
            </a:xfrm>
            <a:custGeom>
              <a:avLst/>
              <a:gdLst/>
              <a:ahLst/>
              <a:cxnLst/>
              <a:rect l="l" t="t" r="r" b="b"/>
              <a:pathLst>
                <a:path w="6105" h="8758" extrusionOk="0">
                  <a:moveTo>
                    <a:pt x="1947" y="1"/>
                  </a:moveTo>
                  <a:lnTo>
                    <a:pt x="1593" y="266"/>
                  </a:lnTo>
                  <a:lnTo>
                    <a:pt x="1151" y="709"/>
                  </a:lnTo>
                  <a:lnTo>
                    <a:pt x="885" y="1328"/>
                  </a:lnTo>
                  <a:lnTo>
                    <a:pt x="620" y="2212"/>
                  </a:lnTo>
                  <a:lnTo>
                    <a:pt x="178" y="4158"/>
                  </a:lnTo>
                  <a:lnTo>
                    <a:pt x="1" y="5131"/>
                  </a:lnTo>
                  <a:lnTo>
                    <a:pt x="1" y="5574"/>
                  </a:lnTo>
                  <a:lnTo>
                    <a:pt x="89" y="6104"/>
                  </a:lnTo>
                  <a:lnTo>
                    <a:pt x="266" y="6989"/>
                  </a:lnTo>
                  <a:lnTo>
                    <a:pt x="443" y="7343"/>
                  </a:lnTo>
                  <a:lnTo>
                    <a:pt x="620" y="7697"/>
                  </a:lnTo>
                  <a:lnTo>
                    <a:pt x="1062" y="8050"/>
                  </a:lnTo>
                  <a:lnTo>
                    <a:pt x="1504" y="8316"/>
                  </a:lnTo>
                  <a:lnTo>
                    <a:pt x="2654" y="8670"/>
                  </a:lnTo>
                  <a:lnTo>
                    <a:pt x="3804" y="8758"/>
                  </a:lnTo>
                  <a:lnTo>
                    <a:pt x="4423" y="8758"/>
                  </a:lnTo>
                  <a:lnTo>
                    <a:pt x="4954" y="8581"/>
                  </a:lnTo>
                  <a:lnTo>
                    <a:pt x="5220" y="8404"/>
                  </a:lnTo>
                  <a:lnTo>
                    <a:pt x="5485" y="8227"/>
                  </a:lnTo>
                  <a:lnTo>
                    <a:pt x="5662" y="7962"/>
                  </a:lnTo>
                  <a:lnTo>
                    <a:pt x="5839" y="7608"/>
                  </a:lnTo>
                  <a:lnTo>
                    <a:pt x="6104" y="6900"/>
                  </a:lnTo>
                  <a:lnTo>
                    <a:pt x="6104" y="6104"/>
                  </a:lnTo>
                  <a:lnTo>
                    <a:pt x="6104" y="5220"/>
                  </a:lnTo>
                  <a:lnTo>
                    <a:pt x="5927" y="4512"/>
                  </a:lnTo>
                  <a:lnTo>
                    <a:pt x="5485" y="3274"/>
                  </a:lnTo>
                  <a:lnTo>
                    <a:pt x="5131" y="2389"/>
                  </a:lnTo>
                  <a:lnTo>
                    <a:pt x="4689" y="1593"/>
                  </a:lnTo>
                  <a:lnTo>
                    <a:pt x="3981" y="886"/>
                  </a:lnTo>
                  <a:lnTo>
                    <a:pt x="3450" y="443"/>
                  </a:lnTo>
                  <a:lnTo>
                    <a:pt x="2920" y="178"/>
                  </a:lnTo>
                  <a:lnTo>
                    <a:pt x="2477" y="1"/>
                  </a:lnTo>
                  <a:close/>
                </a:path>
              </a:pathLst>
            </a:custGeom>
            <a:solidFill>
              <a:srgbClr val="C1886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6" name="Google Shape;1216;p16"/>
            <p:cNvSpPr/>
            <p:nvPr/>
          </p:nvSpPr>
          <p:spPr>
            <a:xfrm>
              <a:off x="2862393" y="2062482"/>
              <a:ext cx="17010" cy="47090"/>
            </a:xfrm>
            <a:custGeom>
              <a:avLst/>
              <a:gdLst/>
              <a:ahLst/>
              <a:cxnLst/>
              <a:rect l="l" t="t" r="r" b="b"/>
              <a:pathLst>
                <a:path w="2301" h="6370" extrusionOk="0">
                  <a:moveTo>
                    <a:pt x="1681" y="1"/>
                  </a:moveTo>
                  <a:lnTo>
                    <a:pt x="1416" y="89"/>
                  </a:lnTo>
                  <a:lnTo>
                    <a:pt x="1239" y="177"/>
                  </a:lnTo>
                  <a:lnTo>
                    <a:pt x="1150" y="443"/>
                  </a:lnTo>
                  <a:lnTo>
                    <a:pt x="0" y="5485"/>
                  </a:lnTo>
                  <a:lnTo>
                    <a:pt x="0" y="5750"/>
                  </a:lnTo>
                  <a:lnTo>
                    <a:pt x="89" y="6015"/>
                  </a:lnTo>
                  <a:lnTo>
                    <a:pt x="177" y="6192"/>
                  </a:lnTo>
                  <a:lnTo>
                    <a:pt x="443" y="6281"/>
                  </a:lnTo>
                  <a:lnTo>
                    <a:pt x="620" y="6369"/>
                  </a:lnTo>
                  <a:lnTo>
                    <a:pt x="885" y="6281"/>
                  </a:lnTo>
                  <a:lnTo>
                    <a:pt x="1062" y="6192"/>
                  </a:lnTo>
                  <a:lnTo>
                    <a:pt x="1150" y="5927"/>
                  </a:lnTo>
                  <a:lnTo>
                    <a:pt x="2300" y="885"/>
                  </a:lnTo>
                  <a:lnTo>
                    <a:pt x="2300" y="620"/>
                  </a:lnTo>
                  <a:lnTo>
                    <a:pt x="2212" y="354"/>
                  </a:lnTo>
                  <a:lnTo>
                    <a:pt x="2123" y="177"/>
                  </a:lnTo>
                  <a:lnTo>
                    <a:pt x="1858" y="1"/>
                  </a:lnTo>
                  <a:close/>
                </a:path>
              </a:pathLst>
            </a:custGeom>
            <a:solidFill>
              <a:srgbClr val="C1886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7" name="Google Shape;1217;p16"/>
            <p:cNvSpPr/>
            <p:nvPr/>
          </p:nvSpPr>
          <p:spPr>
            <a:xfrm>
              <a:off x="2849967" y="2061832"/>
              <a:ext cx="17668" cy="47083"/>
            </a:xfrm>
            <a:custGeom>
              <a:avLst/>
              <a:gdLst/>
              <a:ahLst/>
              <a:cxnLst/>
              <a:rect l="l" t="t" r="r" b="b"/>
              <a:pathLst>
                <a:path w="2390" h="6369" extrusionOk="0">
                  <a:moveTo>
                    <a:pt x="1504" y="0"/>
                  </a:moveTo>
                  <a:lnTo>
                    <a:pt x="1328" y="177"/>
                  </a:lnTo>
                  <a:lnTo>
                    <a:pt x="1239" y="442"/>
                  </a:lnTo>
                  <a:lnTo>
                    <a:pt x="1" y="5484"/>
                  </a:lnTo>
                  <a:lnTo>
                    <a:pt x="1" y="5750"/>
                  </a:lnTo>
                  <a:lnTo>
                    <a:pt x="89" y="5927"/>
                  </a:lnTo>
                  <a:lnTo>
                    <a:pt x="266" y="6192"/>
                  </a:lnTo>
                  <a:lnTo>
                    <a:pt x="443" y="6280"/>
                  </a:lnTo>
                  <a:lnTo>
                    <a:pt x="708" y="6369"/>
                  </a:lnTo>
                  <a:lnTo>
                    <a:pt x="885" y="6280"/>
                  </a:lnTo>
                  <a:lnTo>
                    <a:pt x="1062" y="6103"/>
                  </a:lnTo>
                  <a:lnTo>
                    <a:pt x="1151" y="5927"/>
                  </a:lnTo>
                  <a:lnTo>
                    <a:pt x="2301" y="885"/>
                  </a:lnTo>
                  <a:lnTo>
                    <a:pt x="2389" y="619"/>
                  </a:lnTo>
                  <a:lnTo>
                    <a:pt x="2301" y="354"/>
                  </a:lnTo>
                  <a:lnTo>
                    <a:pt x="2124" y="177"/>
                  </a:lnTo>
                  <a:lnTo>
                    <a:pt x="1947" y="0"/>
                  </a:lnTo>
                  <a:close/>
                </a:path>
              </a:pathLst>
            </a:custGeom>
            <a:solidFill>
              <a:srgbClr val="C1886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8" name="Google Shape;1218;p16"/>
            <p:cNvSpPr/>
            <p:nvPr/>
          </p:nvSpPr>
          <p:spPr>
            <a:xfrm>
              <a:off x="2839508" y="2052023"/>
              <a:ext cx="17010" cy="47090"/>
            </a:xfrm>
            <a:custGeom>
              <a:avLst/>
              <a:gdLst/>
              <a:ahLst/>
              <a:cxnLst/>
              <a:rect l="l" t="t" r="r" b="b"/>
              <a:pathLst>
                <a:path w="2301" h="6370" extrusionOk="0">
                  <a:moveTo>
                    <a:pt x="1681" y="0"/>
                  </a:moveTo>
                  <a:lnTo>
                    <a:pt x="1416" y="89"/>
                  </a:lnTo>
                  <a:lnTo>
                    <a:pt x="1327" y="266"/>
                  </a:lnTo>
                  <a:lnTo>
                    <a:pt x="1150" y="443"/>
                  </a:lnTo>
                  <a:lnTo>
                    <a:pt x="0" y="5484"/>
                  </a:lnTo>
                  <a:lnTo>
                    <a:pt x="0" y="5750"/>
                  </a:lnTo>
                  <a:lnTo>
                    <a:pt x="89" y="6015"/>
                  </a:lnTo>
                  <a:lnTo>
                    <a:pt x="266" y="6192"/>
                  </a:lnTo>
                  <a:lnTo>
                    <a:pt x="443" y="6369"/>
                  </a:lnTo>
                  <a:lnTo>
                    <a:pt x="620" y="6369"/>
                  </a:lnTo>
                  <a:lnTo>
                    <a:pt x="885" y="6281"/>
                  </a:lnTo>
                  <a:lnTo>
                    <a:pt x="1062" y="6192"/>
                  </a:lnTo>
                  <a:lnTo>
                    <a:pt x="1150" y="5927"/>
                  </a:lnTo>
                  <a:lnTo>
                    <a:pt x="2300" y="885"/>
                  </a:lnTo>
                  <a:lnTo>
                    <a:pt x="2300" y="619"/>
                  </a:lnTo>
                  <a:lnTo>
                    <a:pt x="2300" y="354"/>
                  </a:lnTo>
                  <a:lnTo>
                    <a:pt x="2123" y="177"/>
                  </a:lnTo>
                  <a:lnTo>
                    <a:pt x="1858" y="89"/>
                  </a:lnTo>
                  <a:lnTo>
                    <a:pt x="1681" y="0"/>
                  </a:lnTo>
                  <a:close/>
                </a:path>
              </a:pathLst>
            </a:custGeom>
            <a:solidFill>
              <a:srgbClr val="C1886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9" name="Google Shape;1219;p16"/>
            <p:cNvSpPr/>
            <p:nvPr/>
          </p:nvSpPr>
          <p:spPr>
            <a:xfrm>
              <a:off x="2831007" y="2038289"/>
              <a:ext cx="17661" cy="47090"/>
            </a:xfrm>
            <a:custGeom>
              <a:avLst/>
              <a:gdLst/>
              <a:ahLst/>
              <a:cxnLst/>
              <a:rect l="l" t="t" r="r" b="b"/>
              <a:pathLst>
                <a:path w="2389" h="6370" extrusionOk="0">
                  <a:moveTo>
                    <a:pt x="1681" y="1"/>
                  </a:moveTo>
                  <a:lnTo>
                    <a:pt x="1504" y="89"/>
                  </a:lnTo>
                  <a:lnTo>
                    <a:pt x="1327" y="178"/>
                  </a:lnTo>
                  <a:lnTo>
                    <a:pt x="1239" y="443"/>
                  </a:lnTo>
                  <a:lnTo>
                    <a:pt x="1" y="5485"/>
                  </a:lnTo>
                  <a:lnTo>
                    <a:pt x="1" y="5750"/>
                  </a:lnTo>
                  <a:lnTo>
                    <a:pt x="89" y="6016"/>
                  </a:lnTo>
                  <a:lnTo>
                    <a:pt x="266" y="6193"/>
                  </a:lnTo>
                  <a:lnTo>
                    <a:pt x="443" y="6281"/>
                  </a:lnTo>
                  <a:lnTo>
                    <a:pt x="708" y="6369"/>
                  </a:lnTo>
                  <a:lnTo>
                    <a:pt x="885" y="6281"/>
                  </a:lnTo>
                  <a:lnTo>
                    <a:pt x="1062" y="6104"/>
                  </a:lnTo>
                  <a:lnTo>
                    <a:pt x="1150" y="5927"/>
                  </a:lnTo>
                  <a:lnTo>
                    <a:pt x="2300" y="885"/>
                  </a:lnTo>
                  <a:lnTo>
                    <a:pt x="2389" y="620"/>
                  </a:lnTo>
                  <a:lnTo>
                    <a:pt x="2300" y="355"/>
                  </a:lnTo>
                  <a:lnTo>
                    <a:pt x="2123" y="178"/>
                  </a:lnTo>
                  <a:lnTo>
                    <a:pt x="1947" y="1"/>
                  </a:lnTo>
                  <a:close/>
                </a:path>
              </a:pathLst>
            </a:custGeom>
            <a:solidFill>
              <a:srgbClr val="C1886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0" name="Google Shape;1220;p16"/>
            <p:cNvSpPr/>
            <p:nvPr/>
          </p:nvSpPr>
          <p:spPr>
            <a:xfrm>
              <a:off x="2841467" y="1785912"/>
              <a:ext cx="106592" cy="250451"/>
            </a:xfrm>
            <a:custGeom>
              <a:avLst/>
              <a:gdLst/>
              <a:ahLst/>
              <a:cxnLst/>
              <a:rect l="l" t="t" r="r" b="b"/>
              <a:pathLst>
                <a:path w="14419" h="33879" extrusionOk="0">
                  <a:moveTo>
                    <a:pt x="8669" y="0"/>
                  </a:moveTo>
                  <a:lnTo>
                    <a:pt x="8050" y="177"/>
                  </a:lnTo>
                  <a:lnTo>
                    <a:pt x="7608" y="442"/>
                  </a:lnTo>
                  <a:lnTo>
                    <a:pt x="7166" y="885"/>
                  </a:lnTo>
                  <a:lnTo>
                    <a:pt x="6370" y="2211"/>
                  </a:lnTo>
                  <a:lnTo>
                    <a:pt x="5573" y="3715"/>
                  </a:lnTo>
                  <a:lnTo>
                    <a:pt x="4866" y="5484"/>
                  </a:lnTo>
                  <a:lnTo>
                    <a:pt x="4158" y="7430"/>
                  </a:lnTo>
                  <a:lnTo>
                    <a:pt x="3539" y="9465"/>
                  </a:lnTo>
                  <a:lnTo>
                    <a:pt x="3008" y="11676"/>
                  </a:lnTo>
                  <a:lnTo>
                    <a:pt x="2478" y="13887"/>
                  </a:lnTo>
                  <a:lnTo>
                    <a:pt x="2035" y="16187"/>
                  </a:lnTo>
                  <a:lnTo>
                    <a:pt x="1239" y="20875"/>
                  </a:lnTo>
                  <a:lnTo>
                    <a:pt x="708" y="25475"/>
                  </a:lnTo>
                  <a:lnTo>
                    <a:pt x="266" y="29632"/>
                  </a:lnTo>
                  <a:lnTo>
                    <a:pt x="1" y="33171"/>
                  </a:lnTo>
                  <a:lnTo>
                    <a:pt x="3716" y="33878"/>
                  </a:lnTo>
                  <a:lnTo>
                    <a:pt x="3981" y="32817"/>
                  </a:lnTo>
                  <a:lnTo>
                    <a:pt x="4070" y="32109"/>
                  </a:lnTo>
                  <a:lnTo>
                    <a:pt x="5397" y="27510"/>
                  </a:lnTo>
                  <a:lnTo>
                    <a:pt x="6900" y="22910"/>
                  </a:lnTo>
                  <a:lnTo>
                    <a:pt x="10262" y="12914"/>
                  </a:lnTo>
                  <a:lnTo>
                    <a:pt x="10792" y="11853"/>
                  </a:lnTo>
                  <a:lnTo>
                    <a:pt x="11323" y="10615"/>
                  </a:lnTo>
                  <a:lnTo>
                    <a:pt x="12561" y="7784"/>
                  </a:lnTo>
                  <a:lnTo>
                    <a:pt x="14331" y="2919"/>
                  </a:lnTo>
                  <a:lnTo>
                    <a:pt x="14419" y="2919"/>
                  </a:lnTo>
                  <a:lnTo>
                    <a:pt x="14331" y="2742"/>
                  </a:lnTo>
                  <a:lnTo>
                    <a:pt x="13977" y="2388"/>
                  </a:lnTo>
                  <a:lnTo>
                    <a:pt x="13092" y="1769"/>
                  </a:lnTo>
                  <a:lnTo>
                    <a:pt x="12031" y="973"/>
                  </a:lnTo>
                  <a:lnTo>
                    <a:pt x="11058" y="531"/>
                  </a:lnTo>
                  <a:lnTo>
                    <a:pt x="10173" y="177"/>
                  </a:lnTo>
                  <a:lnTo>
                    <a:pt x="9377" y="0"/>
                  </a:lnTo>
                  <a:close/>
                </a:path>
              </a:pathLst>
            </a:custGeom>
            <a:solidFill>
              <a:srgbClr val="C1886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1" name="Google Shape;1221;p16"/>
            <p:cNvSpPr/>
            <p:nvPr/>
          </p:nvSpPr>
          <p:spPr>
            <a:xfrm>
              <a:off x="2884620" y="1706790"/>
              <a:ext cx="104633" cy="137981"/>
            </a:xfrm>
            <a:custGeom>
              <a:avLst/>
              <a:gdLst/>
              <a:ahLst/>
              <a:cxnLst/>
              <a:rect l="l" t="t" r="r" b="b"/>
              <a:pathLst>
                <a:path w="14154" h="18665" extrusionOk="0">
                  <a:moveTo>
                    <a:pt x="5397" y="1"/>
                  </a:moveTo>
                  <a:lnTo>
                    <a:pt x="266" y="13446"/>
                  </a:lnTo>
                  <a:lnTo>
                    <a:pt x="178" y="13977"/>
                  </a:lnTo>
                  <a:lnTo>
                    <a:pt x="1" y="14596"/>
                  </a:lnTo>
                  <a:lnTo>
                    <a:pt x="1" y="15304"/>
                  </a:lnTo>
                  <a:lnTo>
                    <a:pt x="1" y="16100"/>
                  </a:lnTo>
                  <a:lnTo>
                    <a:pt x="89" y="16807"/>
                  </a:lnTo>
                  <a:lnTo>
                    <a:pt x="266" y="17427"/>
                  </a:lnTo>
                  <a:lnTo>
                    <a:pt x="532" y="17957"/>
                  </a:lnTo>
                  <a:lnTo>
                    <a:pt x="708" y="18134"/>
                  </a:lnTo>
                  <a:lnTo>
                    <a:pt x="974" y="18311"/>
                  </a:lnTo>
                  <a:lnTo>
                    <a:pt x="1947" y="18577"/>
                  </a:lnTo>
                  <a:lnTo>
                    <a:pt x="2920" y="18665"/>
                  </a:lnTo>
                  <a:lnTo>
                    <a:pt x="3893" y="18577"/>
                  </a:lnTo>
                  <a:lnTo>
                    <a:pt x="4866" y="18223"/>
                  </a:lnTo>
                  <a:lnTo>
                    <a:pt x="5750" y="17869"/>
                  </a:lnTo>
                  <a:lnTo>
                    <a:pt x="6547" y="17250"/>
                  </a:lnTo>
                  <a:lnTo>
                    <a:pt x="7254" y="16542"/>
                  </a:lnTo>
                  <a:lnTo>
                    <a:pt x="7785" y="15658"/>
                  </a:lnTo>
                  <a:lnTo>
                    <a:pt x="14154" y="3451"/>
                  </a:lnTo>
                  <a:lnTo>
                    <a:pt x="5397" y="1"/>
                  </a:lnTo>
                  <a:close/>
                </a:path>
              </a:pathLst>
            </a:custGeom>
            <a:solidFill>
              <a:srgbClr val="C1886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2" name="Google Shape;1222;p16"/>
            <p:cNvSpPr/>
            <p:nvPr/>
          </p:nvSpPr>
          <p:spPr>
            <a:xfrm>
              <a:off x="2885278" y="1576681"/>
              <a:ext cx="153675" cy="209910"/>
            </a:xfrm>
            <a:custGeom>
              <a:avLst/>
              <a:gdLst/>
              <a:ahLst/>
              <a:cxnLst/>
              <a:rect l="l" t="t" r="r" b="b"/>
              <a:pathLst>
                <a:path w="20788" h="28395" extrusionOk="0">
                  <a:moveTo>
                    <a:pt x="13622" y="0"/>
                  </a:moveTo>
                  <a:lnTo>
                    <a:pt x="13092" y="89"/>
                  </a:lnTo>
                  <a:lnTo>
                    <a:pt x="12649" y="177"/>
                  </a:lnTo>
                  <a:lnTo>
                    <a:pt x="12119" y="354"/>
                  </a:lnTo>
                  <a:lnTo>
                    <a:pt x="11676" y="620"/>
                  </a:lnTo>
                  <a:lnTo>
                    <a:pt x="11234" y="885"/>
                  </a:lnTo>
                  <a:lnTo>
                    <a:pt x="10792" y="1327"/>
                  </a:lnTo>
                  <a:lnTo>
                    <a:pt x="10350" y="1770"/>
                  </a:lnTo>
                  <a:lnTo>
                    <a:pt x="9996" y="2300"/>
                  </a:lnTo>
                  <a:lnTo>
                    <a:pt x="6900" y="7784"/>
                  </a:lnTo>
                  <a:lnTo>
                    <a:pt x="5573" y="10173"/>
                  </a:lnTo>
                  <a:lnTo>
                    <a:pt x="4335" y="12473"/>
                  </a:lnTo>
                  <a:lnTo>
                    <a:pt x="3185" y="14772"/>
                  </a:lnTo>
                  <a:lnTo>
                    <a:pt x="2123" y="17072"/>
                  </a:lnTo>
                  <a:lnTo>
                    <a:pt x="1150" y="19549"/>
                  </a:lnTo>
                  <a:lnTo>
                    <a:pt x="89" y="22291"/>
                  </a:lnTo>
                  <a:lnTo>
                    <a:pt x="0" y="22645"/>
                  </a:lnTo>
                  <a:lnTo>
                    <a:pt x="0" y="22999"/>
                  </a:lnTo>
                  <a:lnTo>
                    <a:pt x="89" y="23353"/>
                  </a:lnTo>
                  <a:lnTo>
                    <a:pt x="177" y="23618"/>
                  </a:lnTo>
                  <a:lnTo>
                    <a:pt x="354" y="23972"/>
                  </a:lnTo>
                  <a:lnTo>
                    <a:pt x="619" y="24237"/>
                  </a:lnTo>
                  <a:lnTo>
                    <a:pt x="885" y="24414"/>
                  </a:lnTo>
                  <a:lnTo>
                    <a:pt x="1150" y="24591"/>
                  </a:lnTo>
                  <a:lnTo>
                    <a:pt x="10350" y="28218"/>
                  </a:lnTo>
                  <a:lnTo>
                    <a:pt x="10703" y="28395"/>
                  </a:lnTo>
                  <a:lnTo>
                    <a:pt x="11411" y="28395"/>
                  </a:lnTo>
                  <a:lnTo>
                    <a:pt x="11765" y="28306"/>
                  </a:lnTo>
                  <a:lnTo>
                    <a:pt x="12030" y="28129"/>
                  </a:lnTo>
                  <a:lnTo>
                    <a:pt x="12296" y="27952"/>
                  </a:lnTo>
                  <a:lnTo>
                    <a:pt x="12561" y="27687"/>
                  </a:lnTo>
                  <a:lnTo>
                    <a:pt x="12738" y="27333"/>
                  </a:lnTo>
                  <a:lnTo>
                    <a:pt x="13888" y="25122"/>
                  </a:lnTo>
                  <a:lnTo>
                    <a:pt x="14861" y="22822"/>
                  </a:lnTo>
                  <a:lnTo>
                    <a:pt x="16807" y="18399"/>
                  </a:lnTo>
                  <a:lnTo>
                    <a:pt x="18487" y="14330"/>
                  </a:lnTo>
                  <a:lnTo>
                    <a:pt x="19283" y="12561"/>
                  </a:lnTo>
                  <a:lnTo>
                    <a:pt x="20080" y="10880"/>
                  </a:lnTo>
                  <a:lnTo>
                    <a:pt x="20345" y="10261"/>
                  </a:lnTo>
                  <a:lnTo>
                    <a:pt x="20522" y="9642"/>
                  </a:lnTo>
                  <a:lnTo>
                    <a:pt x="20699" y="9023"/>
                  </a:lnTo>
                  <a:lnTo>
                    <a:pt x="20787" y="8404"/>
                  </a:lnTo>
                  <a:lnTo>
                    <a:pt x="20787" y="7784"/>
                  </a:lnTo>
                  <a:lnTo>
                    <a:pt x="20699" y="7077"/>
                  </a:lnTo>
                  <a:lnTo>
                    <a:pt x="20610" y="6458"/>
                  </a:lnTo>
                  <a:lnTo>
                    <a:pt x="20433" y="5927"/>
                  </a:lnTo>
                  <a:lnTo>
                    <a:pt x="19991" y="4689"/>
                  </a:lnTo>
                  <a:lnTo>
                    <a:pt x="19372" y="3627"/>
                  </a:lnTo>
                  <a:lnTo>
                    <a:pt x="18576" y="2566"/>
                  </a:lnTo>
                  <a:lnTo>
                    <a:pt x="17691" y="1770"/>
                  </a:lnTo>
                  <a:lnTo>
                    <a:pt x="16718" y="973"/>
                  </a:lnTo>
                  <a:lnTo>
                    <a:pt x="15745" y="443"/>
                  </a:lnTo>
                  <a:lnTo>
                    <a:pt x="14684" y="177"/>
                  </a:lnTo>
                  <a:lnTo>
                    <a:pt x="14153" y="89"/>
                  </a:lnTo>
                  <a:lnTo>
                    <a:pt x="13622" y="0"/>
                  </a:lnTo>
                  <a:close/>
                </a:path>
              </a:pathLst>
            </a:custGeom>
            <a:solidFill>
              <a:srgbClr val="D9395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3" name="Google Shape;1223;p16"/>
            <p:cNvSpPr/>
            <p:nvPr/>
          </p:nvSpPr>
          <p:spPr>
            <a:xfrm>
              <a:off x="2844083" y="2012787"/>
              <a:ext cx="22895" cy="15702"/>
            </a:xfrm>
            <a:custGeom>
              <a:avLst/>
              <a:gdLst/>
              <a:ahLst/>
              <a:cxnLst/>
              <a:rect l="l" t="t" r="r" b="b"/>
              <a:pathLst>
                <a:path w="3097" h="2124" extrusionOk="0">
                  <a:moveTo>
                    <a:pt x="266" y="1"/>
                  </a:moveTo>
                  <a:lnTo>
                    <a:pt x="89" y="89"/>
                  </a:lnTo>
                  <a:lnTo>
                    <a:pt x="1" y="178"/>
                  </a:lnTo>
                  <a:lnTo>
                    <a:pt x="1" y="355"/>
                  </a:lnTo>
                  <a:lnTo>
                    <a:pt x="1" y="532"/>
                  </a:lnTo>
                  <a:lnTo>
                    <a:pt x="89" y="709"/>
                  </a:lnTo>
                  <a:lnTo>
                    <a:pt x="266" y="797"/>
                  </a:lnTo>
                  <a:lnTo>
                    <a:pt x="2389" y="2035"/>
                  </a:lnTo>
                  <a:lnTo>
                    <a:pt x="2566" y="2124"/>
                  </a:lnTo>
                  <a:lnTo>
                    <a:pt x="2743" y="2124"/>
                  </a:lnTo>
                  <a:lnTo>
                    <a:pt x="2920" y="2035"/>
                  </a:lnTo>
                  <a:lnTo>
                    <a:pt x="3008" y="1947"/>
                  </a:lnTo>
                  <a:lnTo>
                    <a:pt x="3097" y="1770"/>
                  </a:lnTo>
                  <a:lnTo>
                    <a:pt x="3008" y="1593"/>
                  </a:lnTo>
                  <a:lnTo>
                    <a:pt x="2920" y="1505"/>
                  </a:lnTo>
                  <a:lnTo>
                    <a:pt x="2743" y="1328"/>
                  </a:lnTo>
                  <a:lnTo>
                    <a:pt x="620" y="89"/>
                  </a:lnTo>
                  <a:lnTo>
                    <a:pt x="443" y="1"/>
                  </a:lnTo>
                  <a:close/>
                </a:path>
              </a:pathLst>
            </a:custGeom>
            <a:solidFill>
              <a:srgbClr val="C1886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4" name="Google Shape;1224;p16"/>
            <p:cNvSpPr/>
            <p:nvPr/>
          </p:nvSpPr>
          <p:spPr>
            <a:xfrm>
              <a:off x="2846049" y="1987293"/>
              <a:ext cx="13735" cy="30087"/>
            </a:xfrm>
            <a:custGeom>
              <a:avLst/>
              <a:gdLst/>
              <a:ahLst/>
              <a:cxnLst/>
              <a:rect l="l" t="t" r="r" b="b"/>
              <a:pathLst>
                <a:path w="1858" h="4070" extrusionOk="0">
                  <a:moveTo>
                    <a:pt x="265" y="0"/>
                  </a:moveTo>
                  <a:lnTo>
                    <a:pt x="177" y="89"/>
                  </a:lnTo>
                  <a:lnTo>
                    <a:pt x="0" y="177"/>
                  </a:lnTo>
                  <a:lnTo>
                    <a:pt x="0" y="266"/>
                  </a:lnTo>
                  <a:lnTo>
                    <a:pt x="0" y="442"/>
                  </a:lnTo>
                  <a:lnTo>
                    <a:pt x="1061" y="3715"/>
                  </a:lnTo>
                  <a:lnTo>
                    <a:pt x="1150" y="3892"/>
                  </a:lnTo>
                  <a:lnTo>
                    <a:pt x="1238" y="3981"/>
                  </a:lnTo>
                  <a:lnTo>
                    <a:pt x="1415" y="4069"/>
                  </a:lnTo>
                  <a:lnTo>
                    <a:pt x="1592" y="4069"/>
                  </a:lnTo>
                  <a:lnTo>
                    <a:pt x="1681" y="3981"/>
                  </a:lnTo>
                  <a:lnTo>
                    <a:pt x="1769" y="3892"/>
                  </a:lnTo>
                  <a:lnTo>
                    <a:pt x="1858" y="3715"/>
                  </a:lnTo>
                  <a:lnTo>
                    <a:pt x="1858" y="3538"/>
                  </a:lnTo>
                  <a:lnTo>
                    <a:pt x="796" y="354"/>
                  </a:lnTo>
                  <a:lnTo>
                    <a:pt x="708" y="177"/>
                  </a:lnTo>
                  <a:lnTo>
                    <a:pt x="619" y="89"/>
                  </a:lnTo>
                  <a:lnTo>
                    <a:pt x="442" y="0"/>
                  </a:lnTo>
                  <a:close/>
                </a:path>
              </a:pathLst>
            </a:custGeom>
            <a:solidFill>
              <a:srgbClr val="C1886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5" name="Google Shape;1225;p16"/>
            <p:cNvSpPr/>
            <p:nvPr/>
          </p:nvSpPr>
          <p:spPr>
            <a:xfrm>
              <a:off x="2853242" y="1983368"/>
              <a:ext cx="13735" cy="30087"/>
            </a:xfrm>
            <a:custGeom>
              <a:avLst/>
              <a:gdLst/>
              <a:ahLst/>
              <a:cxnLst/>
              <a:rect l="l" t="t" r="r" b="b"/>
              <a:pathLst>
                <a:path w="1858" h="4070" extrusionOk="0">
                  <a:moveTo>
                    <a:pt x="265" y="0"/>
                  </a:moveTo>
                  <a:lnTo>
                    <a:pt x="177" y="89"/>
                  </a:lnTo>
                  <a:lnTo>
                    <a:pt x="88" y="177"/>
                  </a:lnTo>
                  <a:lnTo>
                    <a:pt x="0" y="354"/>
                  </a:lnTo>
                  <a:lnTo>
                    <a:pt x="0" y="531"/>
                  </a:lnTo>
                  <a:lnTo>
                    <a:pt x="1061" y="3716"/>
                  </a:lnTo>
                  <a:lnTo>
                    <a:pt x="1150" y="3892"/>
                  </a:lnTo>
                  <a:lnTo>
                    <a:pt x="1238" y="3981"/>
                  </a:lnTo>
                  <a:lnTo>
                    <a:pt x="1415" y="4069"/>
                  </a:lnTo>
                  <a:lnTo>
                    <a:pt x="1592" y="4069"/>
                  </a:lnTo>
                  <a:lnTo>
                    <a:pt x="1681" y="3981"/>
                  </a:lnTo>
                  <a:lnTo>
                    <a:pt x="1769" y="3892"/>
                  </a:lnTo>
                  <a:lnTo>
                    <a:pt x="1858" y="3804"/>
                  </a:lnTo>
                  <a:lnTo>
                    <a:pt x="1858" y="3627"/>
                  </a:lnTo>
                  <a:lnTo>
                    <a:pt x="796" y="354"/>
                  </a:lnTo>
                  <a:lnTo>
                    <a:pt x="708" y="266"/>
                  </a:lnTo>
                  <a:lnTo>
                    <a:pt x="619" y="89"/>
                  </a:lnTo>
                  <a:lnTo>
                    <a:pt x="442" y="89"/>
                  </a:lnTo>
                  <a:lnTo>
                    <a:pt x="265" y="0"/>
                  </a:lnTo>
                  <a:close/>
                </a:path>
              </a:pathLst>
            </a:custGeom>
            <a:solidFill>
              <a:srgbClr val="C1886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6" name="Google Shape;1226;p16"/>
            <p:cNvSpPr/>
            <p:nvPr/>
          </p:nvSpPr>
          <p:spPr>
            <a:xfrm>
              <a:off x="3422736" y="1680638"/>
              <a:ext cx="56242" cy="154984"/>
            </a:xfrm>
            <a:custGeom>
              <a:avLst/>
              <a:gdLst/>
              <a:ahLst/>
              <a:cxnLst/>
              <a:rect l="l" t="t" r="r" b="b"/>
              <a:pathLst>
                <a:path w="7608" h="20965" extrusionOk="0">
                  <a:moveTo>
                    <a:pt x="266" y="1"/>
                  </a:moveTo>
                  <a:lnTo>
                    <a:pt x="89" y="89"/>
                  </a:lnTo>
                  <a:lnTo>
                    <a:pt x="0" y="355"/>
                  </a:lnTo>
                  <a:lnTo>
                    <a:pt x="1681" y="18665"/>
                  </a:lnTo>
                  <a:lnTo>
                    <a:pt x="1769" y="19019"/>
                  </a:lnTo>
                  <a:lnTo>
                    <a:pt x="1858" y="19372"/>
                  </a:lnTo>
                  <a:lnTo>
                    <a:pt x="2035" y="19726"/>
                  </a:lnTo>
                  <a:lnTo>
                    <a:pt x="2212" y="19992"/>
                  </a:lnTo>
                  <a:lnTo>
                    <a:pt x="2477" y="20257"/>
                  </a:lnTo>
                  <a:lnTo>
                    <a:pt x="2831" y="20522"/>
                  </a:lnTo>
                  <a:lnTo>
                    <a:pt x="3185" y="20699"/>
                  </a:lnTo>
                  <a:lnTo>
                    <a:pt x="3538" y="20788"/>
                  </a:lnTo>
                  <a:lnTo>
                    <a:pt x="7254" y="20965"/>
                  </a:lnTo>
                  <a:lnTo>
                    <a:pt x="7342" y="20965"/>
                  </a:lnTo>
                  <a:lnTo>
                    <a:pt x="7519" y="20876"/>
                  </a:lnTo>
                  <a:lnTo>
                    <a:pt x="7607" y="20699"/>
                  </a:lnTo>
                  <a:lnTo>
                    <a:pt x="7519" y="20434"/>
                  </a:lnTo>
                  <a:lnTo>
                    <a:pt x="7254" y="20345"/>
                  </a:lnTo>
                  <a:lnTo>
                    <a:pt x="3627" y="20169"/>
                  </a:lnTo>
                  <a:lnTo>
                    <a:pt x="3096" y="19992"/>
                  </a:lnTo>
                  <a:lnTo>
                    <a:pt x="2742" y="19638"/>
                  </a:lnTo>
                  <a:lnTo>
                    <a:pt x="2477" y="19107"/>
                  </a:lnTo>
                  <a:lnTo>
                    <a:pt x="2300" y="18576"/>
                  </a:lnTo>
                  <a:lnTo>
                    <a:pt x="619" y="266"/>
                  </a:lnTo>
                  <a:lnTo>
                    <a:pt x="531" y="89"/>
                  </a:lnTo>
                  <a:lnTo>
                    <a:pt x="266" y="1"/>
                  </a:lnTo>
                  <a:close/>
                </a:path>
              </a:pathLst>
            </a:custGeom>
            <a:solidFill>
              <a:srgbClr val="B7B7B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7" name="Google Shape;1227;p16"/>
            <p:cNvSpPr/>
            <p:nvPr/>
          </p:nvSpPr>
          <p:spPr>
            <a:xfrm>
              <a:off x="3100387" y="1126182"/>
              <a:ext cx="290340" cy="803661"/>
            </a:xfrm>
            <a:custGeom>
              <a:avLst/>
              <a:gdLst/>
              <a:ahLst/>
              <a:cxnLst/>
              <a:rect l="l" t="t" r="r" b="b"/>
              <a:pathLst>
                <a:path w="39275" h="108713" extrusionOk="0">
                  <a:moveTo>
                    <a:pt x="1239" y="1"/>
                  </a:moveTo>
                  <a:lnTo>
                    <a:pt x="974" y="89"/>
                  </a:lnTo>
                  <a:lnTo>
                    <a:pt x="709" y="178"/>
                  </a:lnTo>
                  <a:lnTo>
                    <a:pt x="443" y="355"/>
                  </a:lnTo>
                  <a:lnTo>
                    <a:pt x="266" y="620"/>
                  </a:lnTo>
                  <a:lnTo>
                    <a:pt x="178" y="797"/>
                  </a:lnTo>
                  <a:lnTo>
                    <a:pt x="89" y="1062"/>
                  </a:lnTo>
                  <a:lnTo>
                    <a:pt x="1" y="1328"/>
                  </a:lnTo>
                  <a:lnTo>
                    <a:pt x="1" y="1593"/>
                  </a:lnTo>
                  <a:lnTo>
                    <a:pt x="89" y="1947"/>
                  </a:lnTo>
                  <a:lnTo>
                    <a:pt x="36444" y="107739"/>
                  </a:lnTo>
                  <a:lnTo>
                    <a:pt x="36710" y="108181"/>
                  </a:lnTo>
                  <a:lnTo>
                    <a:pt x="37064" y="108535"/>
                  </a:lnTo>
                  <a:lnTo>
                    <a:pt x="37417" y="108712"/>
                  </a:lnTo>
                  <a:lnTo>
                    <a:pt x="37948" y="108712"/>
                  </a:lnTo>
                  <a:lnTo>
                    <a:pt x="38302" y="108624"/>
                  </a:lnTo>
                  <a:lnTo>
                    <a:pt x="38567" y="108535"/>
                  </a:lnTo>
                  <a:lnTo>
                    <a:pt x="38744" y="108358"/>
                  </a:lnTo>
                  <a:lnTo>
                    <a:pt x="39010" y="108181"/>
                  </a:lnTo>
                  <a:lnTo>
                    <a:pt x="39098" y="107916"/>
                  </a:lnTo>
                  <a:lnTo>
                    <a:pt x="39187" y="107651"/>
                  </a:lnTo>
                  <a:lnTo>
                    <a:pt x="39275" y="107385"/>
                  </a:lnTo>
                  <a:lnTo>
                    <a:pt x="39275" y="107120"/>
                  </a:lnTo>
                  <a:lnTo>
                    <a:pt x="39187" y="106855"/>
                  </a:lnTo>
                  <a:lnTo>
                    <a:pt x="2832" y="974"/>
                  </a:lnTo>
                  <a:lnTo>
                    <a:pt x="2655" y="709"/>
                  </a:lnTo>
                  <a:lnTo>
                    <a:pt x="2478" y="532"/>
                  </a:lnTo>
                  <a:lnTo>
                    <a:pt x="2301" y="266"/>
                  </a:lnTo>
                  <a:lnTo>
                    <a:pt x="2035" y="178"/>
                  </a:lnTo>
                  <a:lnTo>
                    <a:pt x="1770" y="89"/>
                  </a:lnTo>
                  <a:lnTo>
                    <a:pt x="1505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228" name="Google Shape;1228;p16"/>
            <p:cNvGrpSpPr/>
            <p:nvPr/>
          </p:nvGrpSpPr>
          <p:grpSpPr>
            <a:xfrm>
              <a:off x="2517782" y="775707"/>
              <a:ext cx="1244252" cy="653182"/>
              <a:chOff x="4412426" y="4857123"/>
              <a:chExt cx="2171470" cy="1139934"/>
            </a:xfrm>
          </p:grpSpPr>
          <p:sp>
            <p:nvSpPr>
              <p:cNvPr id="1229" name="Google Shape;1229;p16"/>
              <p:cNvSpPr/>
              <p:nvPr/>
            </p:nvSpPr>
            <p:spPr>
              <a:xfrm>
                <a:off x="4427261" y="4857123"/>
                <a:ext cx="2073340" cy="1023550"/>
              </a:xfrm>
              <a:custGeom>
                <a:avLst/>
                <a:gdLst/>
                <a:ahLst/>
                <a:cxnLst/>
                <a:rect l="l" t="t" r="r" b="b"/>
                <a:pathLst>
                  <a:path w="160724" h="79345" extrusionOk="0">
                    <a:moveTo>
                      <a:pt x="97213" y="0"/>
                    </a:moveTo>
                    <a:lnTo>
                      <a:pt x="95001" y="88"/>
                    </a:lnTo>
                    <a:lnTo>
                      <a:pt x="92701" y="265"/>
                    </a:lnTo>
                    <a:lnTo>
                      <a:pt x="90490" y="531"/>
                    </a:lnTo>
                    <a:lnTo>
                      <a:pt x="88190" y="796"/>
                    </a:lnTo>
                    <a:lnTo>
                      <a:pt x="85890" y="1150"/>
                    </a:lnTo>
                    <a:lnTo>
                      <a:pt x="83502" y="1592"/>
                    </a:lnTo>
                    <a:lnTo>
                      <a:pt x="81114" y="2123"/>
                    </a:lnTo>
                    <a:lnTo>
                      <a:pt x="78725" y="2654"/>
                    </a:lnTo>
                    <a:lnTo>
                      <a:pt x="76337" y="3361"/>
                    </a:lnTo>
                    <a:lnTo>
                      <a:pt x="73860" y="4069"/>
                    </a:lnTo>
                    <a:lnTo>
                      <a:pt x="71384" y="4865"/>
                    </a:lnTo>
                    <a:lnTo>
                      <a:pt x="65103" y="6988"/>
                    </a:lnTo>
                    <a:lnTo>
                      <a:pt x="58823" y="9111"/>
                    </a:lnTo>
                    <a:lnTo>
                      <a:pt x="56346" y="9995"/>
                    </a:lnTo>
                    <a:lnTo>
                      <a:pt x="53958" y="10880"/>
                    </a:lnTo>
                    <a:lnTo>
                      <a:pt x="51658" y="11853"/>
                    </a:lnTo>
                    <a:lnTo>
                      <a:pt x="49358" y="12826"/>
                    </a:lnTo>
                    <a:lnTo>
                      <a:pt x="47235" y="13887"/>
                    </a:lnTo>
                    <a:lnTo>
                      <a:pt x="45113" y="14949"/>
                    </a:lnTo>
                    <a:lnTo>
                      <a:pt x="42990" y="16099"/>
                    </a:lnTo>
                    <a:lnTo>
                      <a:pt x="41044" y="17249"/>
                    </a:lnTo>
                    <a:lnTo>
                      <a:pt x="39098" y="18487"/>
                    </a:lnTo>
                    <a:lnTo>
                      <a:pt x="37240" y="19725"/>
                    </a:lnTo>
                    <a:lnTo>
                      <a:pt x="35383" y="20964"/>
                    </a:lnTo>
                    <a:lnTo>
                      <a:pt x="33613" y="22202"/>
                    </a:lnTo>
                    <a:lnTo>
                      <a:pt x="31933" y="23529"/>
                    </a:lnTo>
                    <a:lnTo>
                      <a:pt x="30341" y="24856"/>
                    </a:lnTo>
                    <a:lnTo>
                      <a:pt x="27156" y="27598"/>
                    </a:lnTo>
                    <a:lnTo>
                      <a:pt x="24326" y="30429"/>
                    </a:lnTo>
                    <a:lnTo>
                      <a:pt x="21584" y="33348"/>
                    </a:lnTo>
                    <a:lnTo>
                      <a:pt x="19107" y="36267"/>
                    </a:lnTo>
                    <a:lnTo>
                      <a:pt x="16807" y="39186"/>
                    </a:lnTo>
                    <a:lnTo>
                      <a:pt x="14773" y="42105"/>
                    </a:lnTo>
                    <a:lnTo>
                      <a:pt x="12827" y="45112"/>
                    </a:lnTo>
                    <a:lnTo>
                      <a:pt x="11057" y="48031"/>
                    </a:lnTo>
                    <a:lnTo>
                      <a:pt x="9465" y="50862"/>
                    </a:lnTo>
                    <a:lnTo>
                      <a:pt x="8050" y="53781"/>
                    </a:lnTo>
                    <a:lnTo>
                      <a:pt x="6723" y="56523"/>
                    </a:lnTo>
                    <a:lnTo>
                      <a:pt x="5573" y="59176"/>
                    </a:lnTo>
                    <a:lnTo>
                      <a:pt x="4600" y="61830"/>
                    </a:lnTo>
                    <a:lnTo>
                      <a:pt x="3716" y="64307"/>
                    </a:lnTo>
                    <a:lnTo>
                      <a:pt x="2920" y="66607"/>
                    </a:lnTo>
                    <a:lnTo>
                      <a:pt x="2300" y="68818"/>
                    </a:lnTo>
                    <a:lnTo>
                      <a:pt x="1681" y="70852"/>
                    </a:lnTo>
                    <a:lnTo>
                      <a:pt x="885" y="74391"/>
                    </a:lnTo>
                    <a:lnTo>
                      <a:pt x="354" y="77044"/>
                    </a:lnTo>
                    <a:lnTo>
                      <a:pt x="89" y="78725"/>
                    </a:lnTo>
                    <a:lnTo>
                      <a:pt x="1" y="79344"/>
                    </a:lnTo>
                    <a:lnTo>
                      <a:pt x="80406" y="52365"/>
                    </a:lnTo>
                    <a:lnTo>
                      <a:pt x="80495" y="52277"/>
                    </a:lnTo>
                    <a:lnTo>
                      <a:pt x="160723" y="24856"/>
                    </a:lnTo>
                    <a:lnTo>
                      <a:pt x="160281" y="24414"/>
                    </a:lnTo>
                    <a:lnTo>
                      <a:pt x="159043" y="23264"/>
                    </a:lnTo>
                    <a:lnTo>
                      <a:pt x="157008" y="21495"/>
                    </a:lnTo>
                    <a:lnTo>
                      <a:pt x="154266" y="19195"/>
                    </a:lnTo>
                    <a:lnTo>
                      <a:pt x="152585" y="17868"/>
                    </a:lnTo>
                    <a:lnTo>
                      <a:pt x="150728" y="16541"/>
                    </a:lnTo>
                    <a:lnTo>
                      <a:pt x="148693" y="15214"/>
                    </a:lnTo>
                    <a:lnTo>
                      <a:pt x="146482" y="13711"/>
                    </a:lnTo>
                    <a:lnTo>
                      <a:pt x="144094" y="12295"/>
                    </a:lnTo>
                    <a:lnTo>
                      <a:pt x="141528" y="10880"/>
                    </a:lnTo>
                    <a:lnTo>
                      <a:pt x="138875" y="9465"/>
                    </a:lnTo>
                    <a:lnTo>
                      <a:pt x="135956" y="8049"/>
                    </a:lnTo>
                    <a:lnTo>
                      <a:pt x="132948" y="6723"/>
                    </a:lnTo>
                    <a:lnTo>
                      <a:pt x="129764" y="5484"/>
                    </a:lnTo>
                    <a:lnTo>
                      <a:pt x="126491" y="4246"/>
                    </a:lnTo>
                    <a:lnTo>
                      <a:pt x="122953" y="3184"/>
                    </a:lnTo>
                    <a:lnTo>
                      <a:pt x="119415" y="2300"/>
                    </a:lnTo>
                    <a:lnTo>
                      <a:pt x="115611" y="1415"/>
                    </a:lnTo>
                    <a:lnTo>
                      <a:pt x="111719" y="796"/>
                    </a:lnTo>
                    <a:lnTo>
                      <a:pt x="107739" y="354"/>
                    </a:lnTo>
                    <a:lnTo>
                      <a:pt x="103581" y="0"/>
                    </a:lnTo>
                    <a:close/>
                  </a:path>
                </a:pathLst>
              </a:custGeom>
              <a:solidFill>
                <a:srgbClr val="FFB6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30" name="Google Shape;1230;p16"/>
              <p:cNvSpPr/>
              <p:nvPr/>
            </p:nvSpPr>
            <p:spPr>
              <a:xfrm>
                <a:off x="4412426" y="5165200"/>
                <a:ext cx="2171470" cy="831857"/>
              </a:xfrm>
              <a:custGeom>
                <a:avLst/>
                <a:gdLst/>
                <a:ahLst/>
                <a:cxnLst/>
                <a:rect l="l" t="t" r="r" b="b"/>
                <a:pathLst>
                  <a:path w="168331" h="64485" extrusionOk="0">
                    <a:moveTo>
                      <a:pt x="151878" y="1"/>
                    </a:moveTo>
                    <a:lnTo>
                      <a:pt x="80760" y="25830"/>
                    </a:lnTo>
                    <a:lnTo>
                      <a:pt x="80672" y="25918"/>
                    </a:lnTo>
                    <a:lnTo>
                      <a:pt x="8581" y="48563"/>
                    </a:lnTo>
                    <a:lnTo>
                      <a:pt x="1151" y="55462"/>
                    </a:lnTo>
                    <a:lnTo>
                      <a:pt x="1" y="64485"/>
                    </a:lnTo>
                    <a:lnTo>
                      <a:pt x="885" y="63777"/>
                    </a:lnTo>
                    <a:lnTo>
                      <a:pt x="1858" y="62981"/>
                    </a:lnTo>
                    <a:lnTo>
                      <a:pt x="3273" y="61919"/>
                    </a:lnTo>
                    <a:lnTo>
                      <a:pt x="5131" y="60681"/>
                    </a:lnTo>
                    <a:lnTo>
                      <a:pt x="7431" y="59266"/>
                    </a:lnTo>
                    <a:lnTo>
                      <a:pt x="10085" y="57762"/>
                    </a:lnTo>
                    <a:lnTo>
                      <a:pt x="13269" y="56170"/>
                    </a:lnTo>
                    <a:lnTo>
                      <a:pt x="16719" y="54578"/>
                    </a:lnTo>
                    <a:lnTo>
                      <a:pt x="20699" y="52985"/>
                    </a:lnTo>
                    <a:lnTo>
                      <a:pt x="22822" y="52189"/>
                    </a:lnTo>
                    <a:lnTo>
                      <a:pt x="25033" y="51482"/>
                    </a:lnTo>
                    <a:lnTo>
                      <a:pt x="27422" y="50774"/>
                    </a:lnTo>
                    <a:lnTo>
                      <a:pt x="29810" y="50066"/>
                    </a:lnTo>
                    <a:lnTo>
                      <a:pt x="32375" y="49447"/>
                    </a:lnTo>
                    <a:lnTo>
                      <a:pt x="35029" y="48828"/>
                    </a:lnTo>
                    <a:lnTo>
                      <a:pt x="37771" y="48297"/>
                    </a:lnTo>
                    <a:lnTo>
                      <a:pt x="40690" y="47767"/>
                    </a:lnTo>
                    <a:lnTo>
                      <a:pt x="43697" y="47324"/>
                    </a:lnTo>
                    <a:lnTo>
                      <a:pt x="46705" y="46970"/>
                    </a:lnTo>
                    <a:lnTo>
                      <a:pt x="49889" y="46705"/>
                    </a:lnTo>
                    <a:lnTo>
                      <a:pt x="53251" y="46440"/>
                    </a:lnTo>
                    <a:lnTo>
                      <a:pt x="53693" y="45997"/>
                    </a:lnTo>
                    <a:lnTo>
                      <a:pt x="55197" y="44848"/>
                    </a:lnTo>
                    <a:lnTo>
                      <a:pt x="57585" y="42990"/>
                    </a:lnTo>
                    <a:lnTo>
                      <a:pt x="59089" y="41929"/>
                    </a:lnTo>
                    <a:lnTo>
                      <a:pt x="60858" y="40779"/>
                    </a:lnTo>
                    <a:lnTo>
                      <a:pt x="62804" y="39540"/>
                    </a:lnTo>
                    <a:lnTo>
                      <a:pt x="65015" y="38213"/>
                    </a:lnTo>
                    <a:lnTo>
                      <a:pt x="67403" y="36975"/>
                    </a:lnTo>
                    <a:lnTo>
                      <a:pt x="69968" y="35648"/>
                    </a:lnTo>
                    <a:lnTo>
                      <a:pt x="72799" y="34410"/>
                    </a:lnTo>
                    <a:lnTo>
                      <a:pt x="75807" y="33172"/>
                    </a:lnTo>
                    <a:lnTo>
                      <a:pt x="78991" y="31933"/>
                    </a:lnTo>
                    <a:lnTo>
                      <a:pt x="82352" y="30872"/>
                    </a:lnTo>
                    <a:lnTo>
                      <a:pt x="85713" y="29633"/>
                    </a:lnTo>
                    <a:lnTo>
                      <a:pt x="88986" y="28660"/>
                    </a:lnTo>
                    <a:lnTo>
                      <a:pt x="92171" y="27776"/>
                    </a:lnTo>
                    <a:lnTo>
                      <a:pt x="95178" y="27157"/>
                    </a:lnTo>
                    <a:lnTo>
                      <a:pt x="98009" y="26537"/>
                    </a:lnTo>
                    <a:lnTo>
                      <a:pt x="100751" y="26095"/>
                    </a:lnTo>
                    <a:lnTo>
                      <a:pt x="103228" y="25830"/>
                    </a:lnTo>
                    <a:lnTo>
                      <a:pt x="105527" y="25564"/>
                    </a:lnTo>
                    <a:lnTo>
                      <a:pt x="107650" y="25476"/>
                    </a:lnTo>
                    <a:lnTo>
                      <a:pt x="109508" y="25387"/>
                    </a:lnTo>
                    <a:lnTo>
                      <a:pt x="112515" y="25387"/>
                    </a:lnTo>
                    <a:lnTo>
                      <a:pt x="114461" y="25476"/>
                    </a:lnTo>
                    <a:lnTo>
                      <a:pt x="115081" y="25476"/>
                    </a:lnTo>
                    <a:lnTo>
                      <a:pt x="117823" y="23707"/>
                    </a:lnTo>
                    <a:lnTo>
                      <a:pt x="120565" y="21938"/>
                    </a:lnTo>
                    <a:lnTo>
                      <a:pt x="123218" y="20346"/>
                    </a:lnTo>
                    <a:lnTo>
                      <a:pt x="125872" y="18930"/>
                    </a:lnTo>
                    <a:lnTo>
                      <a:pt x="128437" y="17603"/>
                    </a:lnTo>
                    <a:lnTo>
                      <a:pt x="131002" y="16365"/>
                    </a:lnTo>
                    <a:lnTo>
                      <a:pt x="133479" y="15215"/>
                    </a:lnTo>
                    <a:lnTo>
                      <a:pt x="135867" y="14154"/>
                    </a:lnTo>
                    <a:lnTo>
                      <a:pt x="138167" y="13181"/>
                    </a:lnTo>
                    <a:lnTo>
                      <a:pt x="140467" y="12385"/>
                    </a:lnTo>
                    <a:lnTo>
                      <a:pt x="142767" y="11588"/>
                    </a:lnTo>
                    <a:lnTo>
                      <a:pt x="144890" y="10881"/>
                    </a:lnTo>
                    <a:lnTo>
                      <a:pt x="148959" y="9731"/>
                    </a:lnTo>
                    <a:lnTo>
                      <a:pt x="152762" y="8935"/>
                    </a:lnTo>
                    <a:lnTo>
                      <a:pt x="156212" y="8316"/>
                    </a:lnTo>
                    <a:lnTo>
                      <a:pt x="159220" y="7873"/>
                    </a:lnTo>
                    <a:lnTo>
                      <a:pt x="161873" y="7608"/>
                    </a:lnTo>
                    <a:lnTo>
                      <a:pt x="164173" y="7431"/>
                    </a:lnTo>
                    <a:lnTo>
                      <a:pt x="168330" y="7431"/>
                    </a:lnTo>
                    <a:lnTo>
                      <a:pt x="161873" y="974"/>
                    </a:lnTo>
                    <a:lnTo>
                      <a:pt x="151878" y="1"/>
                    </a:lnTo>
                    <a:close/>
                  </a:path>
                </a:pathLst>
              </a:custGeom>
              <a:solidFill>
                <a:srgbClr val="FFB6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231" name="Google Shape;1231;p16"/>
            <p:cNvSpPr/>
            <p:nvPr/>
          </p:nvSpPr>
          <p:spPr>
            <a:xfrm>
              <a:off x="3303085" y="1632910"/>
              <a:ext cx="13085" cy="42514"/>
            </a:xfrm>
            <a:custGeom>
              <a:avLst/>
              <a:gdLst/>
              <a:ahLst/>
              <a:cxnLst/>
              <a:rect l="l" t="t" r="r" b="b"/>
              <a:pathLst>
                <a:path w="1770" h="5751" extrusionOk="0">
                  <a:moveTo>
                    <a:pt x="796" y="1"/>
                  </a:moveTo>
                  <a:lnTo>
                    <a:pt x="442" y="89"/>
                  </a:lnTo>
                  <a:lnTo>
                    <a:pt x="265" y="266"/>
                  </a:lnTo>
                  <a:lnTo>
                    <a:pt x="88" y="531"/>
                  </a:lnTo>
                  <a:lnTo>
                    <a:pt x="0" y="885"/>
                  </a:lnTo>
                  <a:lnTo>
                    <a:pt x="177" y="4954"/>
                  </a:lnTo>
                  <a:lnTo>
                    <a:pt x="265" y="5308"/>
                  </a:lnTo>
                  <a:lnTo>
                    <a:pt x="442" y="5573"/>
                  </a:lnTo>
                  <a:lnTo>
                    <a:pt x="708" y="5750"/>
                  </a:lnTo>
                  <a:lnTo>
                    <a:pt x="1327" y="5750"/>
                  </a:lnTo>
                  <a:lnTo>
                    <a:pt x="1592" y="5573"/>
                  </a:lnTo>
                  <a:lnTo>
                    <a:pt x="1681" y="5308"/>
                  </a:lnTo>
                  <a:lnTo>
                    <a:pt x="1769" y="4954"/>
                  </a:lnTo>
                  <a:lnTo>
                    <a:pt x="1592" y="797"/>
                  </a:lnTo>
                  <a:lnTo>
                    <a:pt x="1504" y="531"/>
                  </a:lnTo>
                  <a:lnTo>
                    <a:pt x="1327" y="266"/>
                  </a:lnTo>
                  <a:lnTo>
                    <a:pt x="1061" y="89"/>
                  </a:lnTo>
                  <a:lnTo>
                    <a:pt x="796" y="1"/>
                  </a:lnTo>
                  <a:close/>
                </a:path>
              </a:pathLst>
            </a:custGeom>
            <a:solidFill>
              <a:srgbClr val="FF998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32" name="Google Shape;1232;p16"/>
            <p:cNvSpPr/>
            <p:nvPr/>
          </p:nvSpPr>
          <p:spPr>
            <a:xfrm>
              <a:off x="3256657" y="1644677"/>
              <a:ext cx="62785" cy="71936"/>
            </a:xfrm>
            <a:custGeom>
              <a:avLst/>
              <a:gdLst/>
              <a:ahLst/>
              <a:cxnLst/>
              <a:rect l="l" t="t" r="r" b="b"/>
              <a:pathLst>
                <a:path w="8493" h="9731" extrusionOk="0">
                  <a:moveTo>
                    <a:pt x="4600" y="1"/>
                  </a:moveTo>
                  <a:lnTo>
                    <a:pt x="4247" y="89"/>
                  </a:lnTo>
                  <a:lnTo>
                    <a:pt x="3539" y="266"/>
                  </a:lnTo>
                  <a:lnTo>
                    <a:pt x="2831" y="531"/>
                  </a:lnTo>
                  <a:lnTo>
                    <a:pt x="2212" y="974"/>
                  </a:lnTo>
                  <a:lnTo>
                    <a:pt x="1681" y="1416"/>
                  </a:lnTo>
                  <a:lnTo>
                    <a:pt x="1062" y="1947"/>
                  </a:lnTo>
                  <a:lnTo>
                    <a:pt x="531" y="2477"/>
                  </a:lnTo>
                  <a:lnTo>
                    <a:pt x="266" y="2920"/>
                  </a:lnTo>
                  <a:lnTo>
                    <a:pt x="89" y="3185"/>
                  </a:lnTo>
                  <a:lnTo>
                    <a:pt x="1" y="3451"/>
                  </a:lnTo>
                  <a:lnTo>
                    <a:pt x="1" y="3893"/>
                  </a:lnTo>
                  <a:lnTo>
                    <a:pt x="89" y="4335"/>
                  </a:lnTo>
                  <a:lnTo>
                    <a:pt x="443" y="5308"/>
                  </a:lnTo>
                  <a:lnTo>
                    <a:pt x="708" y="5750"/>
                  </a:lnTo>
                  <a:lnTo>
                    <a:pt x="1062" y="6281"/>
                  </a:lnTo>
                  <a:lnTo>
                    <a:pt x="1858" y="7077"/>
                  </a:lnTo>
                  <a:lnTo>
                    <a:pt x="3627" y="8581"/>
                  </a:lnTo>
                  <a:lnTo>
                    <a:pt x="4423" y="9200"/>
                  </a:lnTo>
                  <a:lnTo>
                    <a:pt x="5220" y="9554"/>
                  </a:lnTo>
                  <a:lnTo>
                    <a:pt x="5927" y="9731"/>
                  </a:lnTo>
                  <a:lnTo>
                    <a:pt x="6546" y="9731"/>
                  </a:lnTo>
                  <a:lnTo>
                    <a:pt x="7077" y="9465"/>
                  </a:lnTo>
                  <a:lnTo>
                    <a:pt x="7519" y="9023"/>
                  </a:lnTo>
                  <a:lnTo>
                    <a:pt x="7873" y="8492"/>
                  </a:lnTo>
                  <a:lnTo>
                    <a:pt x="8139" y="7696"/>
                  </a:lnTo>
                  <a:lnTo>
                    <a:pt x="8492" y="6635"/>
                  </a:lnTo>
                  <a:lnTo>
                    <a:pt x="8492" y="6104"/>
                  </a:lnTo>
                  <a:lnTo>
                    <a:pt x="8492" y="5662"/>
                  </a:lnTo>
                  <a:lnTo>
                    <a:pt x="8315" y="4600"/>
                  </a:lnTo>
                  <a:lnTo>
                    <a:pt x="7962" y="3274"/>
                  </a:lnTo>
                  <a:lnTo>
                    <a:pt x="7696" y="2389"/>
                  </a:lnTo>
                  <a:lnTo>
                    <a:pt x="7166" y="1681"/>
                  </a:lnTo>
                  <a:lnTo>
                    <a:pt x="6635" y="974"/>
                  </a:lnTo>
                  <a:lnTo>
                    <a:pt x="6281" y="708"/>
                  </a:lnTo>
                  <a:lnTo>
                    <a:pt x="5839" y="443"/>
                  </a:lnTo>
                  <a:lnTo>
                    <a:pt x="5485" y="178"/>
                  </a:lnTo>
                  <a:lnTo>
                    <a:pt x="5043" y="89"/>
                  </a:lnTo>
                  <a:lnTo>
                    <a:pt x="4600" y="1"/>
                  </a:lnTo>
                  <a:close/>
                </a:path>
              </a:pathLst>
            </a:custGeom>
            <a:solidFill>
              <a:srgbClr val="FF998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33" name="Google Shape;1233;p16"/>
            <p:cNvSpPr/>
            <p:nvPr/>
          </p:nvSpPr>
          <p:spPr>
            <a:xfrm>
              <a:off x="3257965" y="1617217"/>
              <a:ext cx="44473" cy="39897"/>
            </a:xfrm>
            <a:custGeom>
              <a:avLst/>
              <a:gdLst/>
              <a:ahLst/>
              <a:cxnLst/>
              <a:rect l="l" t="t" r="r" b="b"/>
              <a:pathLst>
                <a:path w="6016" h="5397" extrusionOk="0">
                  <a:moveTo>
                    <a:pt x="708" y="1"/>
                  </a:moveTo>
                  <a:lnTo>
                    <a:pt x="354" y="89"/>
                  </a:lnTo>
                  <a:lnTo>
                    <a:pt x="178" y="266"/>
                  </a:lnTo>
                  <a:lnTo>
                    <a:pt x="1" y="531"/>
                  </a:lnTo>
                  <a:lnTo>
                    <a:pt x="1" y="797"/>
                  </a:lnTo>
                  <a:lnTo>
                    <a:pt x="89" y="1062"/>
                  </a:lnTo>
                  <a:lnTo>
                    <a:pt x="266" y="1327"/>
                  </a:lnTo>
                  <a:lnTo>
                    <a:pt x="4866" y="5219"/>
                  </a:lnTo>
                  <a:lnTo>
                    <a:pt x="5043" y="5308"/>
                  </a:lnTo>
                  <a:lnTo>
                    <a:pt x="5396" y="5396"/>
                  </a:lnTo>
                  <a:lnTo>
                    <a:pt x="5662" y="5308"/>
                  </a:lnTo>
                  <a:lnTo>
                    <a:pt x="5839" y="5131"/>
                  </a:lnTo>
                  <a:lnTo>
                    <a:pt x="6016" y="4866"/>
                  </a:lnTo>
                  <a:lnTo>
                    <a:pt x="6016" y="4600"/>
                  </a:lnTo>
                  <a:lnTo>
                    <a:pt x="6016" y="4335"/>
                  </a:lnTo>
                  <a:lnTo>
                    <a:pt x="5750" y="4070"/>
                  </a:lnTo>
                  <a:lnTo>
                    <a:pt x="1239" y="178"/>
                  </a:lnTo>
                  <a:lnTo>
                    <a:pt x="974" y="1"/>
                  </a:lnTo>
                  <a:close/>
                </a:path>
              </a:pathLst>
            </a:custGeom>
            <a:solidFill>
              <a:srgbClr val="FF998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34" name="Google Shape;1234;p16"/>
            <p:cNvSpPr/>
            <p:nvPr/>
          </p:nvSpPr>
          <p:spPr>
            <a:xfrm>
              <a:off x="3244889" y="1625717"/>
              <a:ext cx="44473" cy="39239"/>
            </a:xfrm>
            <a:custGeom>
              <a:avLst/>
              <a:gdLst/>
              <a:ahLst/>
              <a:cxnLst/>
              <a:rect l="l" t="t" r="r" b="b"/>
              <a:pathLst>
                <a:path w="6016" h="5308" extrusionOk="0">
                  <a:moveTo>
                    <a:pt x="443" y="1"/>
                  </a:moveTo>
                  <a:lnTo>
                    <a:pt x="177" y="177"/>
                  </a:lnTo>
                  <a:lnTo>
                    <a:pt x="1" y="443"/>
                  </a:lnTo>
                  <a:lnTo>
                    <a:pt x="1" y="708"/>
                  </a:lnTo>
                  <a:lnTo>
                    <a:pt x="89" y="974"/>
                  </a:lnTo>
                  <a:lnTo>
                    <a:pt x="266" y="1239"/>
                  </a:lnTo>
                  <a:lnTo>
                    <a:pt x="4866" y="5131"/>
                  </a:lnTo>
                  <a:lnTo>
                    <a:pt x="5131" y="5308"/>
                  </a:lnTo>
                  <a:lnTo>
                    <a:pt x="5396" y="5308"/>
                  </a:lnTo>
                  <a:lnTo>
                    <a:pt x="5662" y="5219"/>
                  </a:lnTo>
                  <a:lnTo>
                    <a:pt x="5927" y="5042"/>
                  </a:lnTo>
                  <a:lnTo>
                    <a:pt x="6015" y="4777"/>
                  </a:lnTo>
                  <a:lnTo>
                    <a:pt x="6015" y="4512"/>
                  </a:lnTo>
                  <a:lnTo>
                    <a:pt x="6015" y="4246"/>
                  </a:lnTo>
                  <a:lnTo>
                    <a:pt x="5839" y="4069"/>
                  </a:lnTo>
                  <a:lnTo>
                    <a:pt x="1239" y="177"/>
                  </a:lnTo>
                  <a:lnTo>
                    <a:pt x="974" y="1"/>
                  </a:lnTo>
                  <a:close/>
                </a:path>
              </a:pathLst>
            </a:custGeom>
            <a:solidFill>
              <a:srgbClr val="FF998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35" name="Google Shape;1235;p16"/>
            <p:cNvSpPr/>
            <p:nvPr/>
          </p:nvSpPr>
          <p:spPr>
            <a:xfrm>
              <a:off x="3239005" y="1641410"/>
              <a:ext cx="44473" cy="39897"/>
            </a:xfrm>
            <a:custGeom>
              <a:avLst/>
              <a:gdLst/>
              <a:ahLst/>
              <a:cxnLst/>
              <a:rect l="l" t="t" r="r" b="b"/>
              <a:pathLst>
                <a:path w="6016" h="5397" extrusionOk="0">
                  <a:moveTo>
                    <a:pt x="620" y="0"/>
                  </a:moveTo>
                  <a:lnTo>
                    <a:pt x="354" y="89"/>
                  </a:lnTo>
                  <a:lnTo>
                    <a:pt x="177" y="266"/>
                  </a:lnTo>
                  <a:lnTo>
                    <a:pt x="0" y="531"/>
                  </a:lnTo>
                  <a:lnTo>
                    <a:pt x="0" y="797"/>
                  </a:lnTo>
                  <a:lnTo>
                    <a:pt x="89" y="1062"/>
                  </a:lnTo>
                  <a:lnTo>
                    <a:pt x="266" y="1327"/>
                  </a:lnTo>
                  <a:lnTo>
                    <a:pt x="4865" y="5219"/>
                  </a:lnTo>
                  <a:lnTo>
                    <a:pt x="5042" y="5396"/>
                  </a:lnTo>
                  <a:lnTo>
                    <a:pt x="5396" y="5396"/>
                  </a:lnTo>
                  <a:lnTo>
                    <a:pt x="5662" y="5308"/>
                  </a:lnTo>
                  <a:lnTo>
                    <a:pt x="5838" y="5131"/>
                  </a:lnTo>
                  <a:lnTo>
                    <a:pt x="6015" y="4866"/>
                  </a:lnTo>
                  <a:lnTo>
                    <a:pt x="6015" y="4600"/>
                  </a:lnTo>
                  <a:lnTo>
                    <a:pt x="5927" y="4335"/>
                  </a:lnTo>
                  <a:lnTo>
                    <a:pt x="5750" y="4158"/>
                  </a:lnTo>
                  <a:lnTo>
                    <a:pt x="1239" y="177"/>
                  </a:lnTo>
                  <a:lnTo>
                    <a:pt x="973" y="89"/>
                  </a:lnTo>
                  <a:lnTo>
                    <a:pt x="620" y="0"/>
                  </a:lnTo>
                  <a:close/>
                </a:path>
              </a:pathLst>
            </a:custGeom>
            <a:solidFill>
              <a:srgbClr val="FF998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236" name="Google Shape;1236;p16"/>
            <p:cNvGrpSpPr/>
            <p:nvPr/>
          </p:nvGrpSpPr>
          <p:grpSpPr>
            <a:xfrm>
              <a:off x="2512555" y="797932"/>
              <a:ext cx="1254704" cy="636189"/>
              <a:chOff x="4403305" y="4895913"/>
              <a:chExt cx="2189711" cy="1110277"/>
            </a:xfrm>
          </p:grpSpPr>
          <p:sp>
            <p:nvSpPr>
              <p:cNvPr id="1237" name="Google Shape;1237;p16"/>
              <p:cNvSpPr/>
              <p:nvPr/>
            </p:nvSpPr>
            <p:spPr>
              <a:xfrm>
                <a:off x="5200899" y="4895913"/>
                <a:ext cx="130097" cy="90158"/>
              </a:xfrm>
              <a:custGeom>
                <a:avLst/>
                <a:gdLst/>
                <a:ahLst/>
                <a:cxnLst/>
                <a:rect l="l" t="t" r="r" b="b"/>
                <a:pathLst>
                  <a:path w="10085" h="6989" extrusionOk="0">
                    <a:moveTo>
                      <a:pt x="8316" y="0"/>
                    </a:moveTo>
                    <a:lnTo>
                      <a:pt x="355" y="2654"/>
                    </a:lnTo>
                    <a:lnTo>
                      <a:pt x="178" y="2743"/>
                    </a:lnTo>
                    <a:lnTo>
                      <a:pt x="89" y="2919"/>
                    </a:lnTo>
                    <a:lnTo>
                      <a:pt x="1" y="3096"/>
                    </a:lnTo>
                    <a:lnTo>
                      <a:pt x="89" y="3273"/>
                    </a:lnTo>
                    <a:lnTo>
                      <a:pt x="1239" y="6723"/>
                    </a:lnTo>
                    <a:lnTo>
                      <a:pt x="1328" y="6900"/>
                    </a:lnTo>
                    <a:lnTo>
                      <a:pt x="1505" y="6988"/>
                    </a:lnTo>
                    <a:lnTo>
                      <a:pt x="1859" y="6988"/>
                    </a:lnTo>
                    <a:lnTo>
                      <a:pt x="9731" y="4335"/>
                    </a:lnTo>
                    <a:lnTo>
                      <a:pt x="9908" y="4246"/>
                    </a:lnTo>
                    <a:lnTo>
                      <a:pt x="10085" y="4069"/>
                    </a:lnTo>
                    <a:lnTo>
                      <a:pt x="10085" y="3892"/>
                    </a:lnTo>
                    <a:lnTo>
                      <a:pt x="10085" y="3716"/>
                    </a:lnTo>
                    <a:lnTo>
                      <a:pt x="8935" y="266"/>
                    </a:lnTo>
                    <a:lnTo>
                      <a:pt x="8846" y="177"/>
                    </a:lnTo>
                    <a:lnTo>
                      <a:pt x="8670" y="0"/>
                    </a:lnTo>
                    <a:close/>
                  </a:path>
                </a:pathLst>
              </a:custGeom>
              <a:solidFill>
                <a:srgbClr val="FFB6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38" name="Google Shape;1238;p16"/>
              <p:cNvSpPr/>
              <p:nvPr/>
            </p:nvSpPr>
            <p:spPr>
              <a:xfrm>
                <a:off x="5097067" y="4933568"/>
                <a:ext cx="170035" cy="878632"/>
              </a:xfrm>
              <a:custGeom>
                <a:avLst/>
                <a:gdLst/>
                <a:ahLst/>
                <a:cxnLst/>
                <a:rect l="l" t="t" r="r" b="b"/>
                <a:pathLst>
                  <a:path w="13181" h="68111" extrusionOk="0">
                    <a:moveTo>
                      <a:pt x="12207" y="0"/>
                    </a:moveTo>
                    <a:lnTo>
                      <a:pt x="12030" y="177"/>
                    </a:lnTo>
                    <a:lnTo>
                      <a:pt x="11854" y="354"/>
                    </a:lnTo>
                    <a:lnTo>
                      <a:pt x="10615" y="3008"/>
                    </a:lnTo>
                    <a:lnTo>
                      <a:pt x="9465" y="5750"/>
                    </a:lnTo>
                    <a:lnTo>
                      <a:pt x="8404" y="8492"/>
                    </a:lnTo>
                    <a:lnTo>
                      <a:pt x="7431" y="11234"/>
                    </a:lnTo>
                    <a:lnTo>
                      <a:pt x="6546" y="14065"/>
                    </a:lnTo>
                    <a:lnTo>
                      <a:pt x="5662" y="16895"/>
                    </a:lnTo>
                    <a:lnTo>
                      <a:pt x="4954" y="19726"/>
                    </a:lnTo>
                    <a:lnTo>
                      <a:pt x="4246" y="22557"/>
                    </a:lnTo>
                    <a:lnTo>
                      <a:pt x="3627" y="25387"/>
                    </a:lnTo>
                    <a:lnTo>
                      <a:pt x="3097" y="28218"/>
                    </a:lnTo>
                    <a:lnTo>
                      <a:pt x="2124" y="33790"/>
                    </a:lnTo>
                    <a:lnTo>
                      <a:pt x="1416" y="39098"/>
                    </a:lnTo>
                    <a:lnTo>
                      <a:pt x="885" y="44228"/>
                    </a:lnTo>
                    <a:lnTo>
                      <a:pt x="443" y="49005"/>
                    </a:lnTo>
                    <a:lnTo>
                      <a:pt x="178" y="53427"/>
                    </a:lnTo>
                    <a:lnTo>
                      <a:pt x="89" y="57319"/>
                    </a:lnTo>
                    <a:lnTo>
                      <a:pt x="1" y="60681"/>
                    </a:lnTo>
                    <a:lnTo>
                      <a:pt x="1" y="65546"/>
                    </a:lnTo>
                    <a:lnTo>
                      <a:pt x="89" y="67403"/>
                    </a:lnTo>
                    <a:lnTo>
                      <a:pt x="178" y="67669"/>
                    </a:lnTo>
                    <a:lnTo>
                      <a:pt x="354" y="67934"/>
                    </a:lnTo>
                    <a:lnTo>
                      <a:pt x="531" y="68022"/>
                    </a:lnTo>
                    <a:lnTo>
                      <a:pt x="885" y="68111"/>
                    </a:lnTo>
                    <a:lnTo>
                      <a:pt x="1151" y="68022"/>
                    </a:lnTo>
                    <a:lnTo>
                      <a:pt x="1327" y="67846"/>
                    </a:lnTo>
                    <a:lnTo>
                      <a:pt x="1504" y="67580"/>
                    </a:lnTo>
                    <a:lnTo>
                      <a:pt x="1504" y="67315"/>
                    </a:lnTo>
                    <a:lnTo>
                      <a:pt x="1416" y="65457"/>
                    </a:lnTo>
                    <a:lnTo>
                      <a:pt x="1416" y="60681"/>
                    </a:lnTo>
                    <a:lnTo>
                      <a:pt x="1504" y="57319"/>
                    </a:lnTo>
                    <a:lnTo>
                      <a:pt x="1593" y="53427"/>
                    </a:lnTo>
                    <a:lnTo>
                      <a:pt x="1858" y="49093"/>
                    </a:lnTo>
                    <a:lnTo>
                      <a:pt x="2300" y="44405"/>
                    </a:lnTo>
                    <a:lnTo>
                      <a:pt x="2831" y="39363"/>
                    </a:lnTo>
                    <a:lnTo>
                      <a:pt x="3539" y="34056"/>
                    </a:lnTo>
                    <a:lnTo>
                      <a:pt x="4423" y="28571"/>
                    </a:lnTo>
                    <a:lnTo>
                      <a:pt x="5043" y="25741"/>
                    </a:lnTo>
                    <a:lnTo>
                      <a:pt x="5662" y="22999"/>
                    </a:lnTo>
                    <a:lnTo>
                      <a:pt x="6281" y="20168"/>
                    </a:lnTo>
                    <a:lnTo>
                      <a:pt x="7077" y="17338"/>
                    </a:lnTo>
                    <a:lnTo>
                      <a:pt x="7873" y="14507"/>
                    </a:lnTo>
                    <a:lnTo>
                      <a:pt x="8758" y="11765"/>
                    </a:lnTo>
                    <a:lnTo>
                      <a:pt x="9731" y="9023"/>
                    </a:lnTo>
                    <a:lnTo>
                      <a:pt x="10792" y="6281"/>
                    </a:lnTo>
                    <a:lnTo>
                      <a:pt x="11942" y="3627"/>
                    </a:lnTo>
                    <a:lnTo>
                      <a:pt x="13092" y="973"/>
                    </a:lnTo>
                    <a:lnTo>
                      <a:pt x="13180" y="708"/>
                    </a:lnTo>
                    <a:lnTo>
                      <a:pt x="13180" y="443"/>
                    </a:lnTo>
                    <a:lnTo>
                      <a:pt x="13003" y="266"/>
                    </a:lnTo>
                    <a:lnTo>
                      <a:pt x="12827" y="89"/>
                    </a:lnTo>
                    <a:lnTo>
                      <a:pt x="12561" y="0"/>
                    </a:lnTo>
                    <a:close/>
                  </a:path>
                </a:pathLst>
              </a:custGeom>
              <a:solidFill>
                <a:srgbClr val="FFB6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39" name="Google Shape;1239;p16"/>
              <p:cNvSpPr/>
              <p:nvPr/>
            </p:nvSpPr>
            <p:spPr>
              <a:xfrm>
                <a:off x="5261387" y="4930150"/>
                <a:ext cx="661822" cy="608196"/>
              </a:xfrm>
              <a:custGeom>
                <a:avLst/>
                <a:gdLst/>
                <a:ahLst/>
                <a:cxnLst/>
                <a:rect l="l" t="t" r="r" b="b"/>
                <a:pathLst>
                  <a:path w="51304" h="47147" extrusionOk="0">
                    <a:moveTo>
                      <a:pt x="531" y="0"/>
                    </a:moveTo>
                    <a:lnTo>
                      <a:pt x="265" y="177"/>
                    </a:lnTo>
                    <a:lnTo>
                      <a:pt x="89" y="354"/>
                    </a:lnTo>
                    <a:lnTo>
                      <a:pt x="0" y="619"/>
                    </a:lnTo>
                    <a:lnTo>
                      <a:pt x="89" y="885"/>
                    </a:lnTo>
                    <a:lnTo>
                      <a:pt x="177" y="1150"/>
                    </a:lnTo>
                    <a:lnTo>
                      <a:pt x="442" y="1327"/>
                    </a:lnTo>
                    <a:lnTo>
                      <a:pt x="3008" y="2654"/>
                    </a:lnTo>
                    <a:lnTo>
                      <a:pt x="5484" y="4069"/>
                    </a:lnTo>
                    <a:lnTo>
                      <a:pt x="7961" y="5573"/>
                    </a:lnTo>
                    <a:lnTo>
                      <a:pt x="10438" y="7253"/>
                    </a:lnTo>
                    <a:lnTo>
                      <a:pt x="12826" y="8846"/>
                    </a:lnTo>
                    <a:lnTo>
                      <a:pt x="15126" y="10615"/>
                    </a:lnTo>
                    <a:lnTo>
                      <a:pt x="17426" y="12384"/>
                    </a:lnTo>
                    <a:lnTo>
                      <a:pt x="19726" y="14153"/>
                    </a:lnTo>
                    <a:lnTo>
                      <a:pt x="21937" y="16010"/>
                    </a:lnTo>
                    <a:lnTo>
                      <a:pt x="24060" y="17868"/>
                    </a:lnTo>
                    <a:lnTo>
                      <a:pt x="28129" y="21672"/>
                    </a:lnTo>
                    <a:lnTo>
                      <a:pt x="31932" y="25475"/>
                    </a:lnTo>
                    <a:lnTo>
                      <a:pt x="35382" y="29102"/>
                    </a:lnTo>
                    <a:lnTo>
                      <a:pt x="38566" y="32640"/>
                    </a:lnTo>
                    <a:lnTo>
                      <a:pt x="41397" y="35913"/>
                    </a:lnTo>
                    <a:lnTo>
                      <a:pt x="43874" y="38920"/>
                    </a:lnTo>
                    <a:lnTo>
                      <a:pt x="45997" y="41574"/>
                    </a:lnTo>
                    <a:lnTo>
                      <a:pt x="48916" y="45378"/>
                    </a:lnTo>
                    <a:lnTo>
                      <a:pt x="49977" y="46881"/>
                    </a:lnTo>
                    <a:lnTo>
                      <a:pt x="50243" y="47147"/>
                    </a:lnTo>
                    <a:lnTo>
                      <a:pt x="50773" y="47147"/>
                    </a:lnTo>
                    <a:lnTo>
                      <a:pt x="50950" y="47058"/>
                    </a:lnTo>
                    <a:lnTo>
                      <a:pt x="51127" y="46881"/>
                    </a:lnTo>
                    <a:lnTo>
                      <a:pt x="51304" y="46616"/>
                    </a:lnTo>
                    <a:lnTo>
                      <a:pt x="51304" y="46351"/>
                    </a:lnTo>
                    <a:lnTo>
                      <a:pt x="51127" y="46085"/>
                    </a:lnTo>
                    <a:lnTo>
                      <a:pt x="50066" y="44581"/>
                    </a:lnTo>
                    <a:lnTo>
                      <a:pt x="47147" y="40689"/>
                    </a:lnTo>
                    <a:lnTo>
                      <a:pt x="45024" y="38036"/>
                    </a:lnTo>
                    <a:lnTo>
                      <a:pt x="42547" y="35028"/>
                    </a:lnTo>
                    <a:lnTo>
                      <a:pt x="39628" y="31667"/>
                    </a:lnTo>
                    <a:lnTo>
                      <a:pt x="36444" y="28129"/>
                    </a:lnTo>
                    <a:lnTo>
                      <a:pt x="32905" y="24414"/>
                    </a:lnTo>
                    <a:lnTo>
                      <a:pt x="29102" y="20610"/>
                    </a:lnTo>
                    <a:lnTo>
                      <a:pt x="24944" y="16807"/>
                    </a:lnTo>
                    <a:lnTo>
                      <a:pt x="22821" y="14949"/>
                    </a:lnTo>
                    <a:lnTo>
                      <a:pt x="20610" y="13091"/>
                    </a:lnTo>
                    <a:lnTo>
                      <a:pt x="18310" y="11234"/>
                    </a:lnTo>
                    <a:lnTo>
                      <a:pt x="16010" y="9465"/>
                    </a:lnTo>
                    <a:lnTo>
                      <a:pt x="13622" y="7696"/>
                    </a:lnTo>
                    <a:lnTo>
                      <a:pt x="11145" y="6015"/>
                    </a:lnTo>
                    <a:lnTo>
                      <a:pt x="8669" y="4423"/>
                    </a:lnTo>
                    <a:lnTo>
                      <a:pt x="6192" y="2831"/>
                    </a:lnTo>
                    <a:lnTo>
                      <a:pt x="3627" y="1415"/>
                    </a:lnTo>
                    <a:lnTo>
                      <a:pt x="1062" y="0"/>
                    </a:lnTo>
                    <a:close/>
                  </a:path>
                </a:pathLst>
              </a:custGeom>
              <a:solidFill>
                <a:srgbClr val="FFB6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40" name="Google Shape;1240;p16"/>
              <p:cNvSpPr/>
              <p:nvPr/>
            </p:nvSpPr>
            <p:spPr>
              <a:xfrm>
                <a:off x="4403305" y="4942701"/>
                <a:ext cx="839829" cy="1063489"/>
              </a:xfrm>
              <a:custGeom>
                <a:avLst/>
                <a:gdLst/>
                <a:ahLst/>
                <a:cxnLst/>
                <a:rect l="l" t="t" r="r" b="b"/>
                <a:pathLst>
                  <a:path w="65103" h="82441" extrusionOk="0">
                    <a:moveTo>
                      <a:pt x="64395" y="0"/>
                    </a:moveTo>
                    <a:lnTo>
                      <a:pt x="64130" y="89"/>
                    </a:lnTo>
                    <a:lnTo>
                      <a:pt x="61918" y="1150"/>
                    </a:lnTo>
                    <a:lnTo>
                      <a:pt x="59796" y="2388"/>
                    </a:lnTo>
                    <a:lnTo>
                      <a:pt x="57673" y="3538"/>
                    </a:lnTo>
                    <a:lnTo>
                      <a:pt x="55550" y="4865"/>
                    </a:lnTo>
                    <a:lnTo>
                      <a:pt x="53604" y="6104"/>
                    </a:lnTo>
                    <a:lnTo>
                      <a:pt x="51569" y="7430"/>
                    </a:lnTo>
                    <a:lnTo>
                      <a:pt x="49712" y="8846"/>
                    </a:lnTo>
                    <a:lnTo>
                      <a:pt x="47766" y="10261"/>
                    </a:lnTo>
                    <a:lnTo>
                      <a:pt x="44139" y="13180"/>
                    </a:lnTo>
                    <a:lnTo>
                      <a:pt x="40689" y="16187"/>
                    </a:lnTo>
                    <a:lnTo>
                      <a:pt x="37328" y="19372"/>
                    </a:lnTo>
                    <a:lnTo>
                      <a:pt x="34144" y="22556"/>
                    </a:lnTo>
                    <a:lnTo>
                      <a:pt x="31136" y="25829"/>
                    </a:lnTo>
                    <a:lnTo>
                      <a:pt x="28306" y="29190"/>
                    </a:lnTo>
                    <a:lnTo>
                      <a:pt x="25652" y="32552"/>
                    </a:lnTo>
                    <a:lnTo>
                      <a:pt x="23087" y="36001"/>
                    </a:lnTo>
                    <a:lnTo>
                      <a:pt x="20698" y="39363"/>
                    </a:lnTo>
                    <a:lnTo>
                      <a:pt x="18487" y="42724"/>
                    </a:lnTo>
                    <a:lnTo>
                      <a:pt x="16364" y="46085"/>
                    </a:lnTo>
                    <a:lnTo>
                      <a:pt x="14418" y="49358"/>
                    </a:lnTo>
                    <a:lnTo>
                      <a:pt x="12561" y="52542"/>
                    </a:lnTo>
                    <a:lnTo>
                      <a:pt x="10880" y="55727"/>
                    </a:lnTo>
                    <a:lnTo>
                      <a:pt x="9376" y="58734"/>
                    </a:lnTo>
                    <a:lnTo>
                      <a:pt x="7961" y="61653"/>
                    </a:lnTo>
                    <a:lnTo>
                      <a:pt x="6634" y="64484"/>
                    </a:lnTo>
                    <a:lnTo>
                      <a:pt x="5484" y="67049"/>
                    </a:lnTo>
                    <a:lnTo>
                      <a:pt x="3450" y="71826"/>
                    </a:lnTo>
                    <a:lnTo>
                      <a:pt x="1946" y="75806"/>
                    </a:lnTo>
                    <a:lnTo>
                      <a:pt x="885" y="78814"/>
                    </a:lnTo>
                    <a:lnTo>
                      <a:pt x="0" y="81556"/>
                    </a:lnTo>
                    <a:lnTo>
                      <a:pt x="0" y="81821"/>
                    </a:lnTo>
                    <a:lnTo>
                      <a:pt x="88" y="82086"/>
                    </a:lnTo>
                    <a:lnTo>
                      <a:pt x="265" y="82263"/>
                    </a:lnTo>
                    <a:lnTo>
                      <a:pt x="531" y="82440"/>
                    </a:lnTo>
                    <a:lnTo>
                      <a:pt x="796" y="82440"/>
                    </a:lnTo>
                    <a:lnTo>
                      <a:pt x="973" y="82352"/>
                    </a:lnTo>
                    <a:lnTo>
                      <a:pt x="1150" y="82263"/>
                    </a:lnTo>
                    <a:lnTo>
                      <a:pt x="1327" y="82086"/>
                    </a:lnTo>
                    <a:lnTo>
                      <a:pt x="1415" y="81910"/>
                    </a:lnTo>
                    <a:lnTo>
                      <a:pt x="2300" y="79256"/>
                    </a:lnTo>
                    <a:lnTo>
                      <a:pt x="3273" y="76248"/>
                    </a:lnTo>
                    <a:lnTo>
                      <a:pt x="4777" y="72356"/>
                    </a:lnTo>
                    <a:lnTo>
                      <a:pt x="6723" y="67668"/>
                    </a:lnTo>
                    <a:lnTo>
                      <a:pt x="7961" y="65015"/>
                    </a:lnTo>
                    <a:lnTo>
                      <a:pt x="9199" y="62272"/>
                    </a:lnTo>
                    <a:lnTo>
                      <a:pt x="10615" y="59353"/>
                    </a:lnTo>
                    <a:lnTo>
                      <a:pt x="12118" y="56346"/>
                    </a:lnTo>
                    <a:lnTo>
                      <a:pt x="13799" y="53250"/>
                    </a:lnTo>
                    <a:lnTo>
                      <a:pt x="15657" y="50066"/>
                    </a:lnTo>
                    <a:lnTo>
                      <a:pt x="17514" y="46793"/>
                    </a:lnTo>
                    <a:lnTo>
                      <a:pt x="19637" y="43520"/>
                    </a:lnTo>
                    <a:lnTo>
                      <a:pt x="21848" y="40159"/>
                    </a:lnTo>
                    <a:lnTo>
                      <a:pt x="24237" y="36797"/>
                    </a:lnTo>
                    <a:lnTo>
                      <a:pt x="26713" y="33525"/>
                    </a:lnTo>
                    <a:lnTo>
                      <a:pt x="29367" y="30163"/>
                    </a:lnTo>
                    <a:lnTo>
                      <a:pt x="32198" y="26890"/>
                    </a:lnTo>
                    <a:lnTo>
                      <a:pt x="35117" y="23618"/>
                    </a:lnTo>
                    <a:lnTo>
                      <a:pt x="38301" y="20433"/>
                    </a:lnTo>
                    <a:lnTo>
                      <a:pt x="41574" y="17337"/>
                    </a:lnTo>
                    <a:lnTo>
                      <a:pt x="45024" y="14330"/>
                    </a:lnTo>
                    <a:lnTo>
                      <a:pt x="48650" y="11411"/>
                    </a:lnTo>
                    <a:lnTo>
                      <a:pt x="50508" y="9996"/>
                    </a:lnTo>
                    <a:lnTo>
                      <a:pt x="52365" y="8669"/>
                    </a:lnTo>
                    <a:lnTo>
                      <a:pt x="54311" y="7342"/>
                    </a:lnTo>
                    <a:lnTo>
                      <a:pt x="56346" y="6015"/>
                    </a:lnTo>
                    <a:lnTo>
                      <a:pt x="58380" y="4777"/>
                    </a:lnTo>
                    <a:lnTo>
                      <a:pt x="60415" y="3627"/>
                    </a:lnTo>
                    <a:lnTo>
                      <a:pt x="62538" y="2477"/>
                    </a:lnTo>
                    <a:lnTo>
                      <a:pt x="64749" y="1327"/>
                    </a:lnTo>
                    <a:lnTo>
                      <a:pt x="64926" y="1150"/>
                    </a:lnTo>
                    <a:lnTo>
                      <a:pt x="65103" y="973"/>
                    </a:lnTo>
                    <a:lnTo>
                      <a:pt x="65103" y="619"/>
                    </a:lnTo>
                    <a:lnTo>
                      <a:pt x="65014" y="354"/>
                    </a:lnTo>
                    <a:lnTo>
                      <a:pt x="64837" y="177"/>
                    </a:lnTo>
                    <a:lnTo>
                      <a:pt x="64661" y="0"/>
                    </a:lnTo>
                    <a:close/>
                  </a:path>
                </a:pathLst>
              </a:custGeom>
              <a:solidFill>
                <a:srgbClr val="FFB6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41" name="Google Shape;1241;p16"/>
              <p:cNvSpPr/>
              <p:nvPr/>
            </p:nvSpPr>
            <p:spPr>
              <a:xfrm>
                <a:off x="5285343" y="4898196"/>
                <a:ext cx="1307673" cy="373145"/>
              </a:xfrm>
              <a:custGeom>
                <a:avLst/>
                <a:gdLst/>
                <a:ahLst/>
                <a:cxnLst/>
                <a:rect l="l" t="t" r="r" b="b"/>
                <a:pathLst>
                  <a:path w="101370" h="28926" extrusionOk="0">
                    <a:moveTo>
                      <a:pt x="19726" y="0"/>
                    </a:moveTo>
                    <a:lnTo>
                      <a:pt x="17338" y="89"/>
                    </a:lnTo>
                    <a:lnTo>
                      <a:pt x="14950" y="177"/>
                    </a:lnTo>
                    <a:lnTo>
                      <a:pt x="12561" y="266"/>
                    </a:lnTo>
                    <a:lnTo>
                      <a:pt x="10173" y="443"/>
                    </a:lnTo>
                    <a:lnTo>
                      <a:pt x="7785" y="708"/>
                    </a:lnTo>
                    <a:lnTo>
                      <a:pt x="5396" y="1062"/>
                    </a:lnTo>
                    <a:lnTo>
                      <a:pt x="2920" y="1416"/>
                    </a:lnTo>
                    <a:lnTo>
                      <a:pt x="531" y="1858"/>
                    </a:lnTo>
                    <a:lnTo>
                      <a:pt x="266" y="1946"/>
                    </a:lnTo>
                    <a:lnTo>
                      <a:pt x="89" y="2123"/>
                    </a:lnTo>
                    <a:lnTo>
                      <a:pt x="1" y="2389"/>
                    </a:lnTo>
                    <a:lnTo>
                      <a:pt x="1" y="2654"/>
                    </a:lnTo>
                    <a:lnTo>
                      <a:pt x="89" y="2919"/>
                    </a:lnTo>
                    <a:lnTo>
                      <a:pt x="266" y="3185"/>
                    </a:lnTo>
                    <a:lnTo>
                      <a:pt x="531" y="3273"/>
                    </a:lnTo>
                    <a:lnTo>
                      <a:pt x="797" y="3273"/>
                    </a:lnTo>
                    <a:lnTo>
                      <a:pt x="3185" y="2831"/>
                    </a:lnTo>
                    <a:lnTo>
                      <a:pt x="5573" y="2477"/>
                    </a:lnTo>
                    <a:lnTo>
                      <a:pt x="7962" y="2123"/>
                    </a:lnTo>
                    <a:lnTo>
                      <a:pt x="10350" y="1858"/>
                    </a:lnTo>
                    <a:lnTo>
                      <a:pt x="12738" y="1681"/>
                    </a:lnTo>
                    <a:lnTo>
                      <a:pt x="15038" y="1593"/>
                    </a:lnTo>
                    <a:lnTo>
                      <a:pt x="17426" y="1504"/>
                    </a:lnTo>
                    <a:lnTo>
                      <a:pt x="19726" y="1416"/>
                    </a:lnTo>
                    <a:lnTo>
                      <a:pt x="24326" y="1593"/>
                    </a:lnTo>
                    <a:lnTo>
                      <a:pt x="28925" y="1858"/>
                    </a:lnTo>
                    <a:lnTo>
                      <a:pt x="33437" y="2300"/>
                    </a:lnTo>
                    <a:lnTo>
                      <a:pt x="37859" y="2919"/>
                    </a:lnTo>
                    <a:lnTo>
                      <a:pt x="42194" y="3715"/>
                    </a:lnTo>
                    <a:lnTo>
                      <a:pt x="46439" y="4688"/>
                    </a:lnTo>
                    <a:lnTo>
                      <a:pt x="50597" y="5662"/>
                    </a:lnTo>
                    <a:lnTo>
                      <a:pt x="54577" y="6811"/>
                    </a:lnTo>
                    <a:lnTo>
                      <a:pt x="58558" y="8050"/>
                    </a:lnTo>
                    <a:lnTo>
                      <a:pt x="62273" y="9377"/>
                    </a:lnTo>
                    <a:lnTo>
                      <a:pt x="65988" y="10703"/>
                    </a:lnTo>
                    <a:lnTo>
                      <a:pt x="69526" y="12119"/>
                    </a:lnTo>
                    <a:lnTo>
                      <a:pt x="72888" y="13534"/>
                    </a:lnTo>
                    <a:lnTo>
                      <a:pt x="76072" y="14949"/>
                    </a:lnTo>
                    <a:lnTo>
                      <a:pt x="79168" y="16453"/>
                    </a:lnTo>
                    <a:lnTo>
                      <a:pt x="81998" y="17868"/>
                    </a:lnTo>
                    <a:lnTo>
                      <a:pt x="84740" y="19284"/>
                    </a:lnTo>
                    <a:lnTo>
                      <a:pt x="87217" y="20610"/>
                    </a:lnTo>
                    <a:lnTo>
                      <a:pt x="91640" y="23176"/>
                    </a:lnTo>
                    <a:lnTo>
                      <a:pt x="95267" y="25387"/>
                    </a:lnTo>
                    <a:lnTo>
                      <a:pt x="97920" y="27156"/>
                    </a:lnTo>
                    <a:lnTo>
                      <a:pt x="100220" y="28748"/>
                    </a:lnTo>
                    <a:lnTo>
                      <a:pt x="100397" y="28837"/>
                    </a:lnTo>
                    <a:lnTo>
                      <a:pt x="100662" y="28925"/>
                    </a:lnTo>
                    <a:lnTo>
                      <a:pt x="100928" y="28837"/>
                    </a:lnTo>
                    <a:lnTo>
                      <a:pt x="101193" y="28571"/>
                    </a:lnTo>
                    <a:lnTo>
                      <a:pt x="101282" y="28306"/>
                    </a:lnTo>
                    <a:lnTo>
                      <a:pt x="101370" y="28041"/>
                    </a:lnTo>
                    <a:lnTo>
                      <a:pt x="101282" y="27775"/>
                    </a:lnTo>
                    <a:lnTo>
                      <a:pt x="101016" y="27598"/>
                    </a:lnTo>
                    <a:lnTo>
                      <a:pt x="98716" y="26006"/>
                    </a:lnTo>
                    <a:lnTo>
                      <a:pt x="96063" y="24237"/>
                    </a:lnTo>
                    <a:lnTo>
                      <a:pt x="92436" y="22026"/>
                    </a:lnTo>
                    <a:lnTo>
                      <a:pt x="87925" y="19460"/>
                    </a:lnTo>
                    <a:lnTo>
                      <a:pt x="85448" y="18045"/>
                    </a:lnTo>
                    <a:lnTo>
                      <a:pt x="82706" y="16630"/>
                    </a:lnTo>
                    <a:lnTo>
                      <a:pt x="79787" y="15126"/>
                    </a:lnTo>
                    <a:lnTo>
                      <a:pt x="76691" y="13711"/>
                    </a:lnTo>
                    <a:lnTo>
                      <a:pt x="73418" y="12207"/>
                    </a:lnTo>
                    <a:lnTo>
                      <a:pt x="70057" y="10792"/>
                    </a:lnTo>
                    <a:lnTo>
                      <a:pt x="66430" y="9377"/>
                    </a:lnTo>
                    <a:lnTo>
                      <a:pt x="62715" y="7961"/>
                    </a:lnTo>
                    <a:lnTo>
                      <a:pt x="58912" y="6723"/>
                    </a:lnTo>
                    <a:lnTo>
                      <a:pt x="54931" y="5485"/>
                    </a:lnTo>
                    <a:lnTo>
                      <a:pt x="50862" y="4335"/>
                    </a:lnTo>
                    <a:lnTo>
                      <a:pt x="46705" y="3273"/>
                    </a:lnTo>
                    <a:lnTo>
                      <a:pt x="42371" y="2300"/>
                    </a:lnTo>
                    <a:lnTo>
                      <a:pt x="38036" y="1504"/>
                    </a:lnTo>
                    <a:lnTo>
                      <a:pt x="33525" y="885"/>
                    </a:lnTo>
                    <a:lnTo>
                      <a:pt x="29014" y="443"/>
                    </a:lnTo>
                    <a:lnTo>
                      <a:pt x="24326" y="89"/>
                    </a:lnTo>
                    <a:lnTo>
                      <a:pt x="19726" y="0"/>
                    </a:lnTo>
                    <a:close/>
                  </a:path>
                </a:pathLst>
              </a:custGeom>
              <a:solidFill>
                <a:srgbClr val="FFB6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242" name="Google Shape;1242;p16"/>
            <p:cNvSpPr/>
            <p:nvPr/>
          </p:nvSpPr>
          <p:spPr>
            <a:xfrm>
              <a:off x="3239005" y="1658411"/>
              <a:ext cx="45124" cy="39897"/>
            </a:xfrm>
            <a:custGeom>
              <a:avLst/>
              <a:gdLst/>
              <a:ahLst/>
              <a:cxnLst/>
              <a:rect l="l" t="t" r="r" b="b"/>
              <a:pathLst>
                <a:path w="6104" h="5397" extrusionOk="0">
                  <a:moveTo>
                    <a:pt x="708" y="0"/>
                  </a:moveTo>
                  <a:lnTo>
                    <a:pt x="443" y="89"/>
                  </a:lnTo>
                  <a:lnTo>
                    <a:pt x="177" y="266"/>
                  </a:lnTo>
                  <a:lnTo>
                    <a:pt x="0" y="531"/>
                  </a:lnTo>
                  <a:lnTo>
                    <a:pt x="0" y="796"/>
                  </a:lnTo>
                  <a:lnTo>
                    <a:pt x="89" y="1062"/>
                  </a:lnTo>
                  <a:lnTo>
                    <a:pt x="266" y="1239"/>
                  </a:lnTo>
                  <a:lnTo>
                    <a:pt x="4865" y="5219"/>
                  </a:lnTo>
                  <a:lnTo>
                    <a:pt x="5131" y="5308"/>
                  </a:lnTo>
                  <a:lnTo>
                    <a:pt x="5396" y="5396"/>
                  </a:lnTo>
                  <a:lnTo>
                    <a:pt x="5662" y="5308"/>
                  </a:lnTo>
                  <a:lnTo>
                    <a:pt x="5927" y="5131"/>
                  </a:lnTo>
                  <a:lnTo>
                    <a:pt x="6015" y="4865"/>
                  </a:lnTo>
                  <a:lnTo>
                    <a:pt x="6104" y="4600"/>
                  </a:lnTo>
                  <a:lnTo>
                    <a:pt x="6015" y="4335"/>
                  </a:lnTo>
                  <a:lnTo>
                    <a:pt x="5838" y="4069"/>
                  </a:lnTo>
                  <a:lnTo>
                    <a:pt x="1239" y="177"/>
                  </a:lnTo>
                  <a:lnTo>
                    <a:pt x="973" y="0"/>
                  </a:lnTo>
                  <a:close/>
                </a:path>
              </a:pathLst>
            </a:custGeom>
            <a:solidFill>
              <a:srgbClr val="FF998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43" name="Google Shape;1243;p16"/>
            <p:cNvSpPr/>
            <p:nvPr/>
          </p:nvSpPr>
          <p:spPr>
            <a:xfrm>
              <a:off x="3280200" y="1670829"/>
              <a:ext cx="230831" cy="206643"/>
            </a:xfrm>
            <a:custGeom>
              <a:avLst/>
              <a:gdLst/>
              <a:ahLst/>
              <a:cxnLst/>
              <a:rect l="l" t="t" r="r" b="b"/>
              <a:pathLst>
                <a:path w="31225" h="27953" extrusionOk="0">
                  <a:moveTo>
                    <a:pt x="1062" y="1"/>
                  </a:moveTo>
                  <a:lnTo>
                    <a:pt x="796" y="89"/>
                  </a:lnTo>
                  <a:lnTo>
                    <a:pt x="619" y="178"/>
                  </a:lnTo>
                  <a:lnTo>
                    <a:pt x="442" y="355"/>
                  </a:lnTo>
                  <a:lnTo>
                    <a:pt x="354" y="532"/>
                  </a:lnTo>
                  <a:lnTo>
                    <a:pt x="265" y="886"/>
                  </a:lnTo>
                  <a:lnTo>
                    <a:pt x="177" y="1328"/>
                  </a:lnTo>
                  <a:lnTo>
                    <a:pt x="89" y="1505"/>
                  </a:lnTo>
                  <a:lnTo>
                    <a:pt x="0" y="1682"/>
                  </a:lnTo>
                  <a:lnTo>
                    <a:pt x="89" y="1947"/>
                  </a:lnTo>
                  <a:lnTo>
                    <a:pt x="89" y="2301"/>
                  </a:lnTo>
                  <a:lnTo>
                    <a:pt x="265" y="2832"/>
                  </a:lnTo>
                  <a:lnTo>
                    <a:pt x="619" y="3451"/>
                  </a:lnTo>
                  <a:lnTo>
                    <a:pt x="1062" y="4247"/>
                  </a:lnTo>
                  <a:lnTo>
                    <a:pt x="1769" y="5131"/>
                  </a:lnTo>
                  <a:lnTo>
                    <a:pt x="2742" y="6281"/>
                  </a:lnTo>
                  <a:lnTo>
                    <a:pt x="6015" y="9643"/>
                  </a:lnTo>
                  <a:lnTo>
                    <a:pt x="8403" y="11942"/>
                  </a:lnTo>
                  <a:lnTo>
                    <a:pt x="11057" y="14508"/>
                  </a:lnTo>
                  <a:lnTo>
                    <a:pt x="13976" y="17161"/>
                  </a:lnTo>
                  <a:lnTo>
                    <a:pt x="16983" y="19815"/>
                  </a:lnTo>
                  <a:lnTo>
                    <a:pt x="20079" y="22380"/>
                  </a:lnTo>
                  <a:lnTo>
                    <a:pt x="23175" y="24857"/>
                  </a:lnTo>
                  <a:lnTo>
                    <a:pt x="25298" y="26361"/>
                  </a:lnTo>
                  <a:lnTo>
                    <a:pt x="26979" y="27510"/>
                  </a:lnTo>
                  <a:lnTo>
                    <a:pt x="27333" y="27776"/>
                  </a:lnTo>
                  <a:lnTo>
                    <a:pt x="27686" y="27864"/>
                  </a:lnTo>
                  <a:lnTo>
                    <a:pt x="28129" y="27953"/>
                  </a:lnTo>
                  <a:lnTo>
                    <a:pt x="28483" y="27953"/>
                  </a:lnTo>
                  <a:lnTo>
                    <a:pt x="28836" y="27864"/>
                  </a:lnTo>
                  <a:lnTo>
                    <a:pt x="29279" y="27776"/>
                  </a:lnTo>
                  <a:lnTo>
                    <a:pt x="29898" y="27422"/>
                  </a:lnTo>
                  <a:lnTo>
                    <a:pt x="30517" y="26891"/>
                  </a:lnTo>
                  <a:lnTo>
                    <a:pt x="30782" y="26626"/>
                  </a:lnTo>
                  <a:lnTo>
                    <a:pt x="30959" y="26272"/>
                  </a:lnTo>
                  <a:lnTo>
                    <a:pt x="31048" y="25918"/>
                  </a:lnTo>
                  <a:lnTo>
                    <a:pt x="31136" y="25476"/>
                  </a:lnTo>
                  <a:lnTo>
                    <a:pt x="31225" y="25122"/>
                  </a:lnTo>
                  <a:lnTo>
                    <a:pt x="31136" y="24680"/>
                  </a:lnTo>
                  <a:lnTo>
                    <a:pt x="30517" y="20611"/>
                  </a:lnTo>
                  <a:lnTo>
                    <a:pt x="30340" y="20080"/>
                  </a:lnTo>
                  <a:lnTo>
                    <a:pt x="30163" y="19550"/>
                  </a:lnTo>
                  <a:lnTo>
                    <a:pt x="29986" y="19107"/>
                  </a:lnTo>
                  <a:lnTo>
                    <a:pt x="29721" y="18665"/>
                  </a:lnTo>
                  <a:lnTo>
                    <a:pt x="29367" y="18223"/>
                  </a:lnTo>
                  <a:lnTo>
                    <a:pt x="29013" y="17780"/>
                  </a:lnTo>
                  <a:lnTo>
                    <a:pt x="28659" y="17515"/>
                  </a:lnTo>
                  <a:lnTo>
                    <a:pt x="28217" y="17161"/>
                  </a:lnTo>
                  <a:lnTo>
                    <a:pt x="25652" y="15569"/>
                  </a:lnTo>
                  <a:lnTo>
                    <a:pt x="23175" y="13888"/>
                  </a:lnTo>
                  <a:lnTo>
                    <a:pt x="17514" y="9996"/>
                  </a:lnTo>
                  <a:lnTo>
                    <a:pt x="10792" y="5485"/>
                  </a:lnTo>
                  <a:lnTo>
                    <a:pt x="4777" y="1505"/>
                  </a:lnTo>
                  <a:lnTo>
                    <a:pt x="3096" y="620"/>
                  </a:lnTo>
                  <a:lnTo>
                    <a:pt x="2477" y="266"/>
                  </a:lnTo>
                  <a:lnTo>
                    <a:pt x="1946" y="89"/>
                  </a:lnTo>
                  <a:lnTo>
                    <a:pt x="1504" y="1"/>
                  </a:lnTo>
                  <a:close/>
                </a:path>
              </a:pathLst>
            </a:custGeom>
            <a:solidFill>
              <a:srgbClr val="FF998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44" name="Google Shape;1244;p16"/>
            <p:cNvSpPr/>
            <p:nvPr/>
          </p:nvSpPr>
          <p:spPr>
            <a:xfrm>
              <a:off x="3035657" y="1343914"/>
              <a:ext cx="117060" cy="214486"/>
            </a:xfrm>
            <a:custGeom>
              <a:avLst/>
              <a:gdLst/>
              <a:ahLst/>
              <a:cxnLst/>
              <a:rect l="l" t="t" r="r" b="b"/>
              <a:pathLst>
                <a:path w="15835" h="29014" extrusionOk="0">
                  <a:moveTo>
                    <a:pt x="13092" y="0"/>
                  </a:moveTo>
                  <a:lnTo>
                    <a:pt x="13181" y="443"/>
                  </a:lnTo>
                  <a:lnTo>
                    <a:pt x="13269" y="708"/>
                  </a:lnTo>
                  <a:lnTo>
                    <a:pt x="13181" y="885"/>
                  </a:lnTo>
                  <a:lnTo>
                    <a:pt x="13092" y="1062"/>
                  </a:lnTo>
                  <a:lnTo>
                    <a:pt x="12738" y="1239"/>
                  </a:lnTo>
                  <a:lnTo>
                    <a:pt x="12385" y="1327"/>
                  </a:lnTo>
                  <a:lnTo>
                    <a:pt x="11942" y="1416"/>
                  </a:lnTo>
                  <a:lnTo>
                    <a:pt x="11146" y="1504"/>
                  </a:lnTo>
                  <a:lnTo>
                    <a:pt x="10262" y="1681"/>
                  </a:lnTo>
                  <a:lnTo>
                    <a:pt x="9554" y="1946"/>
                  </a:lnTo>
                  <a:lnTo>
                    <a:pt x="8846" y="2212"/>
                  </a:lnTo>
                  <a:lnTo>
                    <a:pt x="7520" y="2831"/>
                  </a:lnTo>
                  <a:lnTo>
                    <a:pt x="6458" y="3627"/>
                  </a:lnTo>
                  <a:lnTo>
                    <a:pt x="5485" y="4423"/>
                  </a:lnTo>
                  <a:lnTo>
                    <a:pt x="4778" y="5131"/>
                  </a:lnTo>
                  <a:lnTo>
                    <a:pt x="4158" y="5927"/>
                  </a:lnTo>
                  <a:lnTo>
                    <a:pt x="3716" y="6635"/>
                  </a:lnTo>
                  <a:lnTo>
                    <a:pt x="3185" y="7696"/>
                  </a:lnTo>
                  <a:lnTo>
                    <a:pt x="2743" y="8757"/>
                  </a:lnTo>
                  <a:lnTo>
                    <a:pt x="2301" y="9907"/>
                  </a:lnTo>
                  <a:lnTo>
                    <a:pt x="1770" y="10880"/>
                  </a:lnTo>
                  <a:lnTo>
                    <a:pt x="1416" y="11500"/>
                  </a:lnTo>
                  <a:lnTo>
                    <a:pt x="974" y="11942"/>
                  </a:lnTo>
                  <a:lnTo>
                    <a:pt x="532" y="12473"/>
                  </a:lnTo>
                  <a:lnTo>
                    <a:pt x="1" y="12915"/>
                  </a:lnTo>
                  <a:lnTo>
                    <a:pt x="355" y="13180"/>
                  </a:lnTo>
                  <a:lnTo>
                    <a:pt x="709" y="13446"/>
                  </a:lnTo>
                  <a:lnTo>
                    <a:pt x="1062" y="13534"/>
                  </a:lnTo>
                  <a:lnTo>
                    <a:pt x="1416" y="13623"/>
                  </a:lnTo>
                  <a:lnTo>
                    <a:pt x="1682" y="17338"/>
                  </a:lnTo>
                  <a:lnTo>
                    <a:pt x="2212" y="27687"/>
                  </a:lnTo>
                  <a:lnTo>
                    <a:pt x="2301" y="28218"/>
                  </a:lnTo>
                  <a:lnTo>
                    <a:pt x="2566" y="28660"/>
                  </a:lnTo>
                  <a:lnTo>
                    <a:pt x="2920" y="28925"/>
                  </a:lnTo>
                  <a:lnTo>
                    <a:pt x="3185" y="29014"/>
                  </a:lnTo>
                  <a:lnTo>
                    <a:pt x="3362" y="29014"/>
                  </a:lnTo>
                  <a:lnTo>
                    <a:pt x="7520" y="28837"/>
                  </a:lnTo>
                  <a:lnTo>
                    <a:pt x="7785" y="28748"/>
                  </a:lnTo>
                  <a:lnTo>
                    <a:pt x="7962" y="28660"/>
                  </a:lnTo>
                  <a:lnTo>
                    <a:pt x="8316" y="28395"/>
                  </a:lnTo>
                  <a:lnTo>
                    <a:pt x="8493" y="27952"/>
                  </a:lnTo>
                  <a:lnTo>
                    <a:pt x="8493" y="27422"/>
                  </a:lnTo>
                  <a:lnTo>
                    <a:pt x="8050" y="18576"/>
                  </a:lnTo>
                  <a:lnTo>
                    <a:pt x="9731" y="18576"/>
                  </a:lnTo>
                  <a:lnTo>
                    <a:pt x="10439" y="18399"/>
                  </a:lnTo>
                  <a:lnTo>
                    <a:pt x="11058" y="18134"/>
                  </a:lnTo>
                  <a:lnTo>
                    <a:pt x="11765" y="17868"/>
                  </a:lnTo>
                  <a:lnTo>
                    <a:pt x="12385" y="17515"/>
                  </a:lnTo>
                  <a:lnTo>
                    <a:pt x="12915" y="17161"/>
                  </a:lnTo>
                  <a:lnTo>
                    <a:pt x="13446" y="16718"/>
                  </a:lnTo>
                  <a:lnTo>
                    <a:pt x="13977" y="16188"/>
                  </a:lnTo>
                  <a:lnTo>
                    <a:pt x="14419" y="15657"/>
                  </a:lnTo>
                  <a:lnTo>
                    <a:pt x="14773" y="15038"/>
                  </a:lnTo>
                  <a:lnTo>
                    <a:pt x="15127" y="14419"/>
                  </a:lnTo>
                  <a:lnTo>
                    <a:pt x="15392" y="13799"/>
                  </a:lnTo>
                  <a:lnTo>
                    <a:pt x="15569" y="13092"/>
                  </a:lnTo>
                  <a:lnTo>
                    <a:pt x="15746" y="12384"/>
                  </a:lnTo>
                  <a:lnTo>
                    <a:pt x="15834" y="11677"/>
                  </a:lnTo>
                  <a:lnTo>
                    <a:pt x="15834" y="10880"/>
                  </a:lnTo>
                  <a:lnTo>
                    <a:pt x="15481" y="5042"/>
                  </a:lnTo>
                  <a:lnTo>
                    <a:pt x="15392" y="4246"/>
                  </a:lnTo>
                  <a:lnTo>
                    <a:pt x="15215" y="3539"/>
                  </a:lnTo>
                  <a:lnTo>
                    <a:pt x="15038" y="2919"/>
                  </a:lnTo>
                  <a:lnTo>
                    <a:pt x="14773" y="2212"/>
                  </a:lnTo>
                  <a:lnTo>
                    <a:pt x="14419" y="1593"/>
                  </a:lnTo>
                  <a:lnTo>
                    <a:pt x="14065" y="1062"/>
                  </a:lnTo>
                  <a:lnTo>
                    <a:pt x="13623" y="531"/>
                  </a:lnTo>
                  <a:lnTo>
                    <a:pt x="13092" y="0"/>
                  </a:lnTo>
                  <a:close/>
                </a:path>
              </a:pathLst>
            </a:custGeom>
            <a:solidFill>
              <a:srgbClr val="C1886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245" name="Google Shape;1245;p16"/>
          <p:cNvGrpSpPr/>
          <p:nvPr/>
        </p:nvGrpSpPr>
        <p:grpSpPr>
          <a:xfrm>
            <a:off x="4555494" y="4454558"/>
            <a:ext cx="206597" cy="406705"/>
            <a:chOff x="5405450" y="2130600"/>
            <a:chExt cx="825950" cy="920425"/>
          </a:xfrm>
        </p:grpSpPr>
        <p:sp>
          <p:nvSpPr>
            <p:cNvPr id="1246" name="Google Shape;1246;p16"/>
            <p:cNvSpPr/>
            <p:nvPr/>
          </p:nvSpPr>
          <p:spPr>
            <a:xfrm>
              <a:off x="5833650" y="2913850"/>
              <a:ext cx="35075" cy="137175"/>
            </a:xfrm>
            <a:custGeom>
              <a:avLst/>
              <a:gdLst/>
              <a:ahLst/>
              <a:cxnLst/>
              <a:rect l="l" t="t" r="r" b="b"/>
              <a:pathLst>
                <a:path w="1403" h="5487" extrusionOk="0">
                  <a:moveTo>
                    <a:pt x="244" y="1"/>
                  </a:moveTo>
                  <a:lnTo>
                    <a:pt x="61" y="123"/>
                  </a:lnTo>
                  <a:lnTo>
                    <a:pt x="0" y="306"/>
                  </a:lnTo>
                  <a:lnTo>
                    <a:pt x="0" y="5182"/>
                  </a:lnTo>
                  <a:lnTo>
                    <a:pt x="61" y="5304"/>
                  </a:lnTo>
                  <a:lnTo>
                    <a:pt x="244" y="5426"/>
                  </a:lnTo>
                  <a:lnTo>
                    <a:pt x="488" y="5487"/>
                  </a:lnTo>
                  <a:lnTo>
                    <a:pt x="976" y="5487"/>
                  </a:lnTo>
                  <a:lnTo>
                    <a:pt x="1219" y="5426"/>
                  </a:lnTo>
                  <a:lnTo>
                    <a:pt x="1402" y="5304"/>
                  </a:lnTo>
                  <a:lnTo>
                    <a:pt x="1402" y="5182"/>
                  </a:lnTo>
                  <a:lnTo>
                    <a:pt x="1402" y="4085"/>
                  </a:lnTo>
                  <a:lnTo>
                    <a:pt x="1341" y="2744"/>
                  </a:lnTo>
                  <a:lnTo>
                    <a:pt x="1219" y="1464"/>
                  </a:lnTo>
                  <a:lnTo>
                    <a:pt x="1219" y="306"/>
                  </a:lnTo>
                  <a:lnTo>
                    <a:pt x="1158" y="123"/>
                  </a:lnTo>
                  <a:lnTo>
                    <a:pt x="976" y="1"/>
                  </a:lnTo>
                  <a:close/>
                </a:path>
              </a:pathLst>
            </a:custGeom>
            <a:solidFill>
              <a:srgbClr val="7E3B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47" name="Google Shape;1247;p16"/>
            <p:cNvSpPr/>
            <p:nvPr/>
          </p:nvSpPr>
          <p:spPr>
            <a:xfrm>
              <a:off x="5833650" y="2913850"/>
              <a:ext cx="35075" cy="137175"/>
            </a:xfrm>
            <a:custGeom>
              <a:avLst/>
              <a:gdLst/>
              <a:ahLst/>
              <a:cxnLst/>
              <a:rect l="l" t="t" r="r" b="b"/>
              <a:pathLst>
                <a:path w="1403" h="5487" fill="none" extrusionOk="0">
                  <a:moveTo>
                    <a:pt x="1219" y="306"/>
                  </a:moveTo>
                  <a:lnTo>
                    <a:pt x="1219" y="306"/>
                  </a:lnTo>
                  <a:lnTo>
                    <a:pt x="1158" y="123"/>
                  </a:lnTo>
                  <a:lnTo>
                    <a:pt x="976" y="1"/>
                  </a:lnTo>
                  <a:lnTo>
                    <a:pt x="793" y="1"/>
                  </a:lnTo>
                  <a:lnTo>
                    <a:pt x="610" y="1"/>
                  </a:lnTo>
                  <a:lnTo>
                    <a:pt x="610" y="1"/>
                  </a:lnTo>
                  <a:lnTo>
                    <a:pt x="427" y="1"/>
                  </a:lnTo>
                  <a:lnTo>
                    <a:pt x="244" y="1"/>
                  </a:lnTo>
                  <a:lnTo>
                    <a:pt x="61" y="123"/>
                  </a:lnTo>
                  <a:lnTo>
                    <a:pt x="0" y="306"/>
                  </a:lnTo>
                  <a:lnTo>
                    <a:pt x="0" y="306"/>
                  </a:lnTo>
                  <a:lnTo>
                    <a:pt x="0" y="5182"/>
                  </a:lnTo>
                  <a:lnTo>
                    <a:pt x="0" y="5182"/>
                  </a:lnTo>
                  <a:lnTo>
                    <a:pt x="61" y="5304"/>
                  </a:lnTo>
                  <a:lnTo>
                    <a:pt x="244" y="5426"/>
                  </a:lnTo>
                  <a:lnTo>
                    <a:pt x="488" y="5487"/>
                  </a:lnTo>
                  <a:lnTo>
                    <a:pt x="732" y="5487"/>
                  </a:lnTo>
                  <a:lnTo>
                    <a:pt x="976" y="5487"/>
                  </a:lnTo>
                  <a:lnTo>
                    <a:pt x="1219" y="5426"/>
                  </a:lnTo>
                  <a:lnTo>
                    <a:pt x="1402" y="5304"/>
                  </a:lnTo>
                  <a:lnTo>
                    <a:pt x="1402" y="5182"/>
                  </a:lnTo>
                  <a:lnTo>
                    <a:pt x="1402" y="5182"/>
                  </a:lnTo>
                  <a:lnTo>
                    <a:pt x="1402" y="4085"/>
                  </a:lnTo>
                  <a:lnTo>
                    <a:pt x="1341" y="2744"/>
                  </a:lnTo>
                  <a:lnTo>
                    <a:pt x="1219" y="1464"/>
                  </a:lnTo>
                  <a:lnTo>
                    <a:pt x="1219" y="306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48" name="Google Shape;1248;p16"/>
            <p:cNvSpPr/>
            <p:nvPr/>
          </p:nvSpPr>
          <p:spPr>
            <a:xfrm>
              <a:off x="5405450" y="2130600"/>
              <a:ext cx="825950" cy="813750"/>
            </a:xfrm>
            <a:custGeom>
              <a:avLst/>
              <a:gdLst/>
              <a:ahLst/>
              <a:cxnLst/>
              <a:rect l="l" t="t" r="r" b="b"/>
              <a:pathLst>
                <a:path w="33038" h="32550" extrusionOk="0">
                  <a:moveTo>
                    <a:pt x="17494" y="1"/>
                  </a:moveTo>
                  <a:lnTo>
                    <a:pt x="16823" y="123"/>
                  </a:lnTo>
                  <a:lnTo>
                    <a:pt x="16153" y="245"/>
                  </a:lnTo>
                  <a:lnTo>
                    <a:pt x="15543" y="488"/>
                  </a:lnTo>
                  <a:lnTo>
                    <a:pt x="14934" y="793"/>
                  </a:lnTo>
                  <a:lnTo>
                    <a:pt x="14324" y="1220"/>
                  </a:lnTo>
                  <a:lnTo>
                    <a:pt x="13837" y="1646"/>
                  </a:lnTo>
                  <a:lnTo>
                    <a:pt x="13349" y="2195"/>
                  </a:lnTo>
                  <a:lnTo>
                    <a:pt x="12922" y="2744"/>
                  </a:lnTo>
                  <a:lnTo>
                    <a:pt x="12557" y="3353"/>
                  </a:lnTo>
                  <a:lnTo>
                    <a:pt x="11825" y="4633"/>
                  </a:lnTo>
                  <a:lnTo>
                    <a:pt x="11155" y="5974"/>
                  </a:lnTo>
                  <a:lnTo>
                    <a:pt x="10667" y="7315"/>
                  </a:lnTo>
                  <a:lnTo>
                    <a:pt x="10241" y="8473"/>
                  </a:lnTo>
                  <a:lnTo>
                    <a:pt x="9936" y="9388"/>
                  </a:lnTo>
                  <a:lnTo>
                    <a:pt x="9692" y="10241"/>
                  </a:lnTo>
                  <a:lnTo>
                    <a:pt x="9387" y="10302"/>
                  </a:lnTo>
                  <a:lnTo>
                    <a:pt x="8595" y="10485"/>
                  </a:lnTo>
                  <a:lnTo>
                    <a:pt x="8046" y="10668"/>
                  </a:lnTo>
                  <a:lnTo>
                    <a:pt x="7498" y="10911"/>
                  </a:lnTo>
                  <a:lnTo>
                    <a:pt x="6949" y="11277"/>
                  </a:lnTo>
                  <a:lnTo>
                    <a:pt x="6400" y="11704"/>
                  </a:lnTo>
                  <a:lnTo>
                    <a:pt x="6096" y="11948"/>
                  </a:lnTo>
                  <a:lnTo>
                    <a:pt x="5852" y="12313"/>
                  </a:lnTo>
                  <a:lnTo>
                    <a:pt x="5425" y="12984"/>
                  </a:lnTo>
                  <a:lnTo>
                    <a:pt x="5120" y="13654"/>
                  </a:lnTo>
                  <a:lnTo>
                    <a:pt x="4877" y="14325"/>
                  </a:lnTo>
                  <a:lnTo>
                    <a:pt x="4694" y="14934"/>
                  </a:lnTo>
                  <a:lnTo>
                    <a:pt x="4633" y="15422"/>
                  </a:lnTo>
                  <a:lnTo>
                    <a:pt x="4572" y="15849"/>
                  </a:lnTo>
                  <a:lnTo>
                    <a:pt x="3901" y="16092"/>
                  </a:lnTo>
                  <a:lnTo>
                    <a:pt x="3231" y="16519"/>
                  </a:lnTo>
                  <a:lnTo>
                    <a:pt x="2560" y="17007"/>
                  </a:lnTo>
                  <a:lnTo>
                    <a:pt x="2012" y="17616"/>
                  </a:lnTo>
                  <a:lnTo>
                    <a:pt x="1463" y="18287"/>
                  </a:lnTo>
                  <a:lnTo>
                    <a:pt x="1037" y="19079"/>
                  </a:lnTo>
                  <a:lnTo>
                    <a:pt x="610" y="19932"/>
                  </a:lnTo>
                  <a:lnTo>
                    <a:pt x="305" y="20847"/>
                  </a:lnTo>
                  <a:lnTo>
                    <a:pt x="122" y="21761"/>
                  </a:lnTo>
                  <a:lnTo>
                    <a:pt x="0" y="22736"/>
                  </a:lnTo>
                  <a:lnTo>
                    <a:pt x="0" y="23773"/>
                  </a:lnTo>
                  <a:lnTo>
                    <a:pt x="183" y="24809"/>
                  </a:lnTo>
                  <a:lnTo>
                    <a:pt x="427" y="25845"/>
                  </a:lnTo>
                  <a:lnTo>
                    <a:pt x="610" y="26333"/>
                  </a:lnTo>
                  <a:lnTo>
                    <a:pt x="854" y="26820"/>
                  </a:lnTo>
                  <a:lnTo>
                    <a:pt x="1097" y="27308"/>
                  </a:lnTo>
                  <a:lnTo>
                    <a:pt x="1402" y="27856"/>
                  </a:lnTo>
                  <a:lnTo>
                    <a:pt x="1768" y="28344"/>
                  </a:lnTo>
                  <a:lnTo>
                    <a:pt x="2134" y="28771"/>
                  </a:lnTo>
                  <a:lnTo>
                    <a:pt x="2621" y="29319"/>
                  </a:lnTo>
                  <a:lnTo>
                    <a:pt x="3109" y="29746"/>
                  </a:lnTo>
                  <a:lnTo>
                    <a:pt x="3597" y="30112"/>
                  </a:lnTo>
                  <a:lnTo>
                    <a:pt x="4145" y="30477"/>
                  </a:lnTo>
                  <a:lnTo>
                    <a:pt x="4633" y="30782"/>
                  </a:lnTo>
                  <a:lnTo>
                    <a:pt x="5181" y="31026"/>
                  </a:lnTo>
                  <a:lnTo>
                    <a:pt x="5730" y="31270"/>
                  </a:lnTo>
                  <a:lnTo>
                    <a:pt x="6218" y="31453"/>
                  </a:lnTo>
                  <a:lnTo>
                    <a:pt x="7315" y="31697"/>
                  </a:lnTo>
                  <a:lnTo>
                    <a:pt x="8351" y="31757"/>
                  </a:lnTo>
                  <a:lnTo>
                    <a:pt x="9387" y="31818"/>
                  </a:lnTo>
                  <a:lnTo>
                    <a:pt x="10423" y="31697"/>
                  </a:lnTo>
                  <a:lnTo>
                    <a:pt x="11338" y="31575"/>
                  </a:lnTo>
                  <a:lnTo>
                    <a:pt x="12191" y="31392"/>
                  </a:lnTo>
                  <a:lnTo>
                    <a:pt x="12983" y="31148"/>
                  </a:lnTo>
                  <a:lnTo>
                    <a:pt x="13654" y="30965"/>
                  </a:lnTo>
                  <a:lnTo>
                    <a:pt x="14568" y="30599"/>
                  </a:lnTo>
                  <a:lnTo>
                    <a:pt x="14934" y="30416"/>
                  </a:lnTo>
                  <a:lnTo>
                    <a:pt x="15361" y="30782"/>
                  </a:lnTo>
                  <a:lnTo>
                    <a:pt x="15970" y="31148"/>
                  </a:lnTo>
                  <a:lnTo>
                    <a:pt x="16702" y="31575"/>
                  </a:lnTo>
                  <a:lnTo>
                    <a:pt x="17616" y="32001"/>
                  </a:lnTo>
                  <a:lnTo>
                    <a:pt x="18164" y="32184"/>
                  </a:lnTo>
                  <a:lnTo>
                    <a:pt x="18713" y="32306"/>
                  </a:lnTo>
                  <a:lnTo>
                    <a:pt x="19384" y="32428"/>
                  </a:lnTo>
                  <a:lnTo>
                    <a:pt x="19993" y="32489"/>
                  </a:lnTo>
                  <a:lnTo>
                    <a:pt x="20725" y="32550"/>
                  </a:lnTo>
                  <a:lnTo>
                    <a:pt x="21456" y="32550"/>
                  </a:lnTo>
                  <a:lnTo>
                    <a:pt x="22005" y="32428"/>
                  </a:lnTo>
                  <a:lnTo>
                    <a:pt x="22553" y="32306"/>
                  </a:lnTo>
                  <a:lnTo>
                    <a:pt x="23041" y="32184"/>
                  </a:lnTo>
                  <a:lnTo>
                    <a:pt x="23528" y="31940"/>
                  </a:lnTo>
                  <a:lnTo>
                    <a:pt x="23955" y="31697"/>
                  </a:lnTo>
                  <a:lnTo>
                    <a:pt x="24321" y="31453"/>
                  </a:lnTo>
                  <a:lnTo>
                    <a:pt x="24991" y="30904"/>
                  </a:lnTo>
                  <a:lnTo>
                    <a:pt x="25479" y="30416"/>
                  </a:lnTo>
                  <a:lnTo>
                    <a:pt x="25845" y="29929"/>
                  </a:lnTo>
                  <a:lnTo>
                    <a:pt x="26149" y="29502"/>
                  </a:lnTo>
                  <a:lnTo>
                    <a:pt x="26576" y="29624"/>
                  </a:lnTo>
                  <a:lnTo>
                    <a:pt x="26942" y="29685"/>
                  </a:lnTo>
                  <a:lnTo>
                    <a:pt x="27368" y="29746"/>
                  </a:lnTo>
                  <a:lnTo>
                    <a:pt x="27795" y="29685"/>
                  </a:lnTo>
                  <a:lnTo>
                    <a:pt x="28222" y="29624"/>
                  </a:lnTo>
                  <a:lnTo>
                    <a:pt x="28648" y="29563"/>
                  </a:lnTo>
                  <a:lnTo>
                    <a:pt x="29075" y="29441"/>
                  </a:lnTo>
                  <a:lnTo>
                    <a:pt x="29441" y="29258"/>
                  </a:lnTo>
                  <a:lnTo>
                    <a:pt x="29807" y="29076"/>
                  </a:lnTo>
                  <a:lnTo>
                    <a:pt x="30172" y="28832"/>
                  </a:lnTo>
                  <a:lnTo>
                    <a:pt x="30538" y="28588"/>
                  </a:lnTo>
                  <a:lnTo>
                    <a:pt x="30843" y="28344"/>
                  </a:lnTo>
                  <a:lnTo>
                    <a:pt x="31148" y="27978"/>
                  </a:lnTo>
                  <a:lnTo>
                    <a:pt x="31391" y="27674"/>
                  </a:lnTo>
                  <a:lnTo>
                    <a:pt x="31574" y="27308"/>
                  </a:lnTo>
                  <a:lnTo>
                    <a:pt x="31818" y="26881"/>
                  </a:lnTo>
                  <a:lnTo>
                    <a:pt x="32123" y="26089"/>
                  </a:lnTo>
                  <a:lnTo>
                    <a:pt x="32428" y="25114"/>
                  </a:lnTo>
                  <a:lnTo>
                    <a:pt x="32610" y="24138"/>
                  </a:lnTo>
                  <a:lnTo>
                    <a:pt x="32854" y="23041"/>
                  </a:lnTo>
                  <a:lnTo>
                    <a:pt x="32976" y="21883"/>
                  </a:lnTo>
                  <a:lnTo>
                    <a:pt x="33037" y="20664"/>
                  </a:lnTo>
                  <a:lnTo>
                    <a:pt x="33037" y="19323"/>
                  </a:lnTo>
                  <a:lnTo>
                    <a:pt x="32976" y="17921"/>
                  </a:lnTo>
                  <a:lnTo>
                    <a:pt x="32854" y="17311"/>
                  </a:lnTo>
                  <a:lnTo>
                    <a:pt x="32671" y="16702"/>
                  </a:lnTo>
                  <a:lnTo>
                    <a:pt x="32428" y="16153"/>
                  </a:lnTo>
                  <a:lnTo>
                    <a:pt x="32123" y="15727"/>
                  </a:lnTo>
                  <a:lnTo>
                    <a:pt x="31757" y="15300"/>
                  </a:lnTo>
                  <a:lnTo>
                    <a:pt x="31330" y="14934"/>
                  </a:lnTo>
                  <a:lnTo>
                    <a:pt x="30904" y="14630"/>
                  </a:lnTo>
                  <a:lnTo>
                    <a:pt x="30477" y="14325"/>
                  </a:lnTo>
                  <a:lnTo>
                    <a:pt x="29685" y="13959"/>
                  </a:lnTo>
                  <a:lnTo>
                    <a:pt x="28953" y="13654"/>
                  </a:lnTo>
                  <a:lnTo>
                    <a:pt x="28222" y="13471"/>
                  </a:lnTo>
                  <a:lnTo>
                    <a:pt x="28222" y="13106"/>
                  </a:lnTo>
                  <a:lnTo>
                    <a:pt x="28161" y="12009"/>
                  </a:lnTo>
                  <a:lnTo>
                    <a:pt x="28039" y="11277"/>
                  </a:lnTo>
                  <a:lnTo>
                    <a:pt x="27856" y="10424"/>
                  </a:lnTo>
                  <a:lnTo>
                    <a:pt x="27673" y="9448"/>
                  </a:lnTo>
                  <a:lnTo>
                    <a:pt x="27368" y="8473"/>
                  </a:lnTo>
                  <a:lnTo>
                    <a:pt x="27125" y="7986"/>
                  </a:lnTo>
                  <a:lnTo>
                    <a:pt x="26881" y="7498"/>
                  </a:lnTo>
                  <a:lnTo>
                    <a:pt x="26637" y="7071"/>
                  </a:lnTo>
                  <a:lnTo>
                    <a:pt x="26332" y="6706"/>
                  </a:lnTo>
                  <a:lnTo>
                    <a:pt x="25723" y="5974"/>
                  </a:lnTo>
                  <a:lnTo>
                    <a:pt x="25052" y="5426"/>
                  </a:lnTo>
                  <a:lnTo>
                    <a:pt x="24443" y="4999"/>
                  </a:lnTo>
                  <a:lnTo>
                    <a:pt x="23955" y="4694"/>
                  </a:lnTo>
                  <a:lnTo>
                    <a:pt x="23467" y="4450"/>
                  </a:lnTo>
                  <a:lnTo>
                    <a:pt x="22919" y="3414"/>
                  </a:lnTo>
                  <a:lnTo>
                    <a:pt x="22248" y="2561"/>
                  </a:lnTo>
                  <a:lnTo>
                    <a:pt x="21639" y="1829"/>
                  </a:lnTo>
                  <a:lnTo>
                    <a:pt x="20968" y="1220"/>
                  </a:lnTo>
                  <a:lnTo>
                    <a:pt x="20298" y="793"/>
                  </a:lnTo>
                  <a:lnTo>
                    <a:pt x="19566" y="427"/>
                  </a:lnTo>
                  <a:lnTo>
                    <a:pt x="18896" y="184"/>
                  </a:lnTo>
                  <a:lnTo>
                    <a:pt x="18164" y="62"/>
                  </a:lnTo>
                  <a:lnTo>
                    <a:pt x="17494" y="1"/>
                  </a:lnTo>
                  <a:close/>
                </a:path>
              </a:pathLst>
            </a:custGeom>
            <a:solidFill>
              <a:srgbClr val="65A2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49" name="Google Shape;1249;p16"/>
            <p:cNvSpPr/>
            <p:nvPr/>
          </p:nvSpPr>
          <p:spPr>
            <a:xfrm>
              <a:off x="5405450" y="2130600"/>
              <a:ext cx="825950" cy="813750"/>
            </a:xfrm>
            <a:custGeom>
              <a:avLst/>
              <a:gdLst/>
              <a:ahLst/>
              <a:cxnLst/>
              <a:rect l="l" t="t" r="r" b="b"/>
              <a:pathLst>
                <a:path w="33038" h="32550" fill="none" extrusionOk="0">
                  <a:moveTo>
                    <a:pt x="14934" y="30416"/>
                  </a:moveTo>
                  <a:lnTo>
                    <a:pt x="14934" y="30416"/>
                  </a:lnTo>
                  <a:lnTo>
                    <a:pt x="14568" y="30599"/>
                  </a:lnTo>
                  <a:lnTo>
                    <a:pt x="13654" y="30965"/>
                  </a:lnTo>
                  <a:lnTo>
                    <a:pt x="12983" y="31148"/>
                  </a:lnTo>
                  <a:lnTo>
                    <a:pt x="12191" y="31392"/>
                  </a:lnTo>
                  <a:lnTo>
                    <a:pt x="11338" y="31575"/>
                  </a:lnTo>
                  <a:lnTo>
                    <a:pt x="10423" y="31697"/>
                  </a:lnTo>
                  <a:lnTo>
                    <a:pt x="9387" y="31818"/>
                  </a:lnTo>
                  <a:lnTo>
                    <a:pt x="8351" y="31757"/>
                  </a:lnTo>
                  <a:lnTo>
                    <a:pt x="7315" y="31697"/>
                  </a:lnTo>
                  <a:lnTo>
                    <a:pt x="6218" y="31453"/>
                  </a:lnTo>
                  <a:lnTo>
                    <a:pt x="5730" y="31270"/>
                  </a:lnTo>
                  <a:lnTo>
                    <a:pt x="5181" y="31026"/>
                  </a:lnTo>
                  <a:lnTo>
                    <a:pt x="4633" y="30782"/>
                  </a:lnTo>
                  <a:lnTo>
                    <a:pt x="4145" y="30477"/>
                  </a:lnTo>
                  <a:lnTo>
                    <a:pt x="3597" y="30112"/>
                  </a:lnTo>
                  <a:lnTo>
                    <a:pt x="3109" y="29746"/>
                  </a:lnTo>
                  <a:lnTo>
                    <a:pt x="2621" y="29319"/>
                  </a:lnTo>
                  <a:lnTo>
                    <a:pt x="2134" y="28771"/>
                  </a:lnTo>
                  <a:lnTo>
                    <a:pt x="2134" y="28771"/>
                  </a:lnTo>
                  <a:lnTo>
                    <a:pt x="1768" y="28344"/>
                  </a:lnTo>
                  <a:lnTo>
                    <a:pt x="1402" y="27856"/>
                  </a:lnTo>
                  <a:lnTo>
                    <a:pt x="1097" y="27308"/>
                  </a:lnTo>
                  <a:lnTo>
                    <a:pt x="854" y="26820"/>
                  </a:lnTo>
                  <a:lnTo>
                    <a:pt x="610" y="26333"/>
                  </a:lnTo>
                  <a:lnTo>
                    <a:pt x="427" y="25845"/>
                  </a:lnTo>
                  <a:lnTo>
                    <a:pt x="183" y="24809"/>
                  </a:lnTo>
                  <a:lnTo>
                    <a:pt x="0" y="23773"/>
                  </a:lnTo>
                  <a:lnTo>
                    <a:pt x="0" y="22736"/>
                  </a:lnTo>
                  <a:lnTo>
                    <a:pt x="122" y="21761"/>
                  </a:lnTo>
                  <a:lnTo>
                    <a:pt x="305" y="20847"/>
                  </a:lnTo>
                  <a:lnTo>
                    <a:pt x="610" y="19932"/>
                  </a:lnTo>
                  <a:lnTo>
                    <a:pt x="1037" y="19079"/>
                  </a:lnTo>
                  <a:lnTo>
                    <a:pt x="1463" y="18287"/>
                  </a:lnTo>
                  <a:lnTo>
                    <a:pt x="2012" y="17616"/>
                  </a:lnTo>
                  <a:lnTo>
                    <a:pt x="2560" y="17007"/>
                  </a:lnTo>
                  <a:lnTo>
                    <a:pt x="3231" y="16519"/>
                  </a:lnTo>
                  <a:lnTo>
                    <a:pt x="3901" y="16092"/>
                  </a:lnTo>
                  <a:lnTo>
                    <a:pt x="4572" y="15849"/>
                  </a:lnTo>
                  <a:lnTo>
                    <a:pt x="4572" y="15849"/>
                  </a:lnTo>
                  <a:lnTo>
                    <a:pt x="4633" y="15422"/>
                  </a:lnTo>
                  <a:lnTo>
                    <a:pt x="4694" y="14934"/>
                  </a:lnTo>
                  <a:lnTo>
                    <a:pt x="4877" y="14325"/>
                  </a:lnTo>
                  <a:lnTo>
                    <a:pt x="5120" y="13654"/>
                  </a:lnTo>
                  <a:lnTo>
                    <a:pt x="5425" y="12984"/>
                  </a:lnTo>
                  <a:lnTo>
                    <a:pt x="5852" y="12313"/>
                  </a:lnTo>
                  <a:lnTo>
                    <a:pt x="6096" y="11948"/>
                  </a:lnTo>
                  <a:lnTo>
                    <a:pt x="6400" y="11704"/>
                  </a:lnTo>
                  <a:lnTo>
                    <a:pt x="6400" y="11704"/>
                  </a:lnTo>
                  <a:lnTo>
                    <a:pt x="6949" y="11277"/>
                  </a:lnTo>
                  <a:lnTo>
                    <a:pt x="7498" y="10911"/>
                  </a:lnTo>
                  <a:lnTo>
                    <a:pt x="8046" y="10668"/>
                  </a:lnTo>
                  <a:lnTo>
                    <a:pt x="8595" y="10485"/>
                  </a:lnTo>
                  <a:lnTo>
                    <a:pt x="9387" y="10302"/>
                  </a:lnTo>
                  <a:lnTo>
                    <a:pt x="9692" y="10241"/>
                  </a:lnTo>
                  <a:lnTo>
                    <a:pt x="9692" y="10241"/>
                  </a:lnTo>
                  <a:lnTo>
                    <a:pt x="9936" y="9388"/>
                  </a:lnTo>
                  <a:lnTo>
                    <a:pt x="10241" y="8473"/>
                  </a:lnTo>
                  <a:lnTo>
                    <a:pt x="10667" y="7315"/>
                  </a:lnTo>
                  <a:lnTo>
                    <a:pt x="11155" y="5974"/>
                  </a:lnTo>
                  <a:lnTo>
                    <a:pt x="11825" y="4633"/>
                  </a:lnTo>
                  <a:lnTo>
                    <a:pt x="12557" y="3353"/>
                  </a:lnTo>
                  <a:lnTo>
                    <a:pt x="12922" y="2744"/>
                  </a:lnTo>
                  <a:lnTo>
                    <a:pt x="13349" y="2195"/>
                  </a:lnTo>
                  <a:lnTo>
                    <a:pt x="13349" y="2195"/>
                  </a:lnTo>
                  <a:lnTo>
                    <a:pt x="13837" y="1646"/>
                  </a:lnTo>
                  <a:lnTo>
                    <a:pt x="14324" y="1220"/>
                  </a:lnTo>
                  <a:lnTo>
                    <a:pt x="14934" y="793"/>
                  </a:lnTo>
                  <a:lnTo>
                    <a:pt x="15543" y="488"/>
                  </a:lnTo>
                  <a:lnTo>
                    <a:pt x="16153" y="245"/>
                  </a:lnTo>
                  <a:lnTo>
                    <a:pt x="16823" y="123"/>
                  </a:lnTo>
                  <a:lnTo>
                    <a:pt x="17494" y="1"/>
                  </a:lnTo>
                  <a:lnTo>
                    <a:pt x="18164" y="62"/>
                  </a:lnTo>
                  <a:lnTo>
                    <a:pt x="18896" y="184"/>
                  </a:lnTo>
                  <a:lnTo>
                    <a:pt x="19566" y="427"/>
                  </a:lnTo>
                  <a:lnTo>
                    <a:pt x="20298" y="793"/>
                  </a:lnTo>
                  <a:lnTo>
                    <a:pt x="20968" y="1220"/>
                  </a:lnTo>
                  <a:lnTo>
                    <a:pt x="21639" y="1829"/>
                  </a:lnTo>
                  <a:lnTo>
                    <a:pt x="22248" y="2561"/>
                  </a:lnTo>
                  <a:lnTo>
                    <a:pt x="22919" y="3414"/>
                  </a:lnTo>
                  <a:lnTo>
                    <a:pt x="23467" y="4450"/>
                  </a:lnTo>
                  <a:lnTo>
                    <a:pt x="23467" y="4450"/>
                  </a:lnTo>
                  <a:lnTo>
                    <a:pt x="23955" y="4694"/>
                  </a:lnTo>
                  <a:lnTo>
                    <a:pt x="24443" y="4999"/>
                  </a:lnTo>
                  <a:lnTo>
                    <a:pt x="25052" y="5426"/>
                  </a:lnTo>
                  <a:lnTo>
                    <a:pt x="25723" y="5974"/>
                  </a:lnTo>
                  <a:lnTo>
                    <a:pt x="26332" y="6706"/>
                  </a:lnTo>
                  <a:lnTo>
                    <a:pt x="26637" y="7071"/>
                  </a:lnTo>
                  <a:lnTo>
                    <a:pt x="26881" y="7498"/>
                  </a:lnTo>
                  <a:lnTo>
                    <a:pt x="27125" y="7986"/>
                  </a:lnTo>
                  <a:lnTo>
                    <a:pt x="27368" y="8473"/>
                  </a:lnTo>
                  <a:lnTo>
                    <a:pt x="27368" y="8473"/>
                  </a:lnTo>
                  <a:lnTo>
                    <a:pt x="27673" y="9448"/>
                  </a:lnTo>
                  <a:lnTo>
                    <a:pt x="27856" y="10424"/>
                  </a:lnTo>
                  <a:lnTo>
                    <a:pt x="28039" y="11277"/>
                  </a:lnTo>
                  <a:lnTo>
                    <a:pt x="28161" y="12009"/>
                  </a:lnTo>
                  <a:lnTo>
                    <a:pt x="28222" y="13106"/>
                  </a:lnTo>
                  <a:lnTo>
                    <a:pt x="28222" y="13471"/>
                  </a:lnTo>
                  <a:lnTo>
                    <a:pt x="28222" y="13471"/>
                  </a:lnTo>
                  <a:lnTo>
                    <a:pt x="28953" y="13654"/>
                  </a:lnTo>
                  <a:lnTo>
                    <a:pt x="29685" y="13959"/>
                  </a:lnTo>
                  <a:lnTo>
                    <a:pt x="30477" y="14325"/>
                  </a:lnTo>
                  <a:lnTo>
                    <a:pt x="30904" y="14630"/>
                  </a:lnTo>
                  <a:lnTo>
                    <a:pt x="31330" y="14934"/>
                  </a:lnTo>
                  <a:lnTo>
                    <a:pt x="31757" y="15300"/>
                  </a:lnTo>
                  <a:lnTo>
                    <a:pt x="32123" y="15727"/>
                  </a:lnTo>
                  <a:lnTo>
                    <a:pt x="32428" y="16153"/>
                  </a:lnTo>
                  <a:lnTo>
                    <a:pt x="32671" y="16702"/>
                  </a:lnTo>
                  <a:lnTo>
                    <a:pt x="32854" y="17311"/>
                  </a:lnTo>
                  <a:lnTo>
                    <a:pt x="32976" y="17921"/>
                  </a:lnTo>
                  <a:lnTo>
                    <a:pt x="32976" y="17921"/>
                  </a:lnTo>
                  <a:lnTo>
                    <a:pt x="33037" y="19323"/>
                  </a:lnTo>
                  <a:lnTo>
                    <a:pt x="33037" y="20664"/>
                  </a:lnTo>
                  <a:lnTo>
                    <a:pt x="32976" y="21883"/>
                  </a:lnTo>
                  <a:lnTo>
                    <a:pt x="32854" y="23041"/>
                  </a:lnTo>
                  <a:lnTo>
                    <a:pt x="32610" y="24138"/>
                  </a:lnTo>
                  <a:lnTo>
                    <a:pt x="32428" y="25114"/>
                  </a:lnTo>
                  <a:lnTo>
                    <a:pt x="32123" y="26089"/>
                  </a:lnTo>
                  <a:lnTo>
                    <a:pt x="31818" y="26881"/>
                  </a:lnTo>
                  <a:lnTo>
                    <a:pt x="31818" y="26881"/>
                  </a:lnTo>
                  <a:lnTo>
                    <a:pt x="31574" y="27308"/>
                  </a:lnTo>
                  <a:lnTo>
                    <a:pt x="31391" y="27674"/>
                  </a:lnTo>
                  <a:lnTo>
                    <a:pt x="31148" y="27978"/>
                  </a:lnTo>
                  <a:lnTo>
                    <a:pt x="30843" y="28344"/>
                  </a:lnTo>
                  <a:lnTo>
                    <a:pt x="30538" y="28588"/>
                  </a:lnTo>
                  <a:lnTo>
                    <a:pt x="30172" y="28832"/>
                  </a:lnTo>
                  <a:lnTo>
                    <a:pt x="29807" y="29076"/>
                  </a:lnTo>
                  <a:lnTo>
                    <a:pt x="29441" y="29258"/>
                  </a:lnTo>
                  <a:lnTo>
                    <a:pt x="29075" y="29441"/>
                  </a:lnTo>
                  <a:lnTo>
                    <a:pt x="28648" y="29563"/>
                  </a:lnTo>
                  <a:lnTo>
                    <a:pt x="28222" y="29624"/>
                  </a:lnTo>
                  <a:lnTo>
                    <a:pt x="27795" y="29685"/>
                  </a:lnTo>
                  <a:lnTo>
                    <a:pt x="27368" y="29746"/>
                  </a:lnTo>
                  <a:lnTo>
                    <a:pt x="26942" y="29685"/>
                  </a:lnTo>
                  <a:lnTo>
                    <a:pt x="26576" y="29624"/>
                  </a:lnTo>
                  <a:lnTo>
                    <a:pt x="26149" y="29502"/>
                  </a:lnTo>
                  <a:lnTo>
                    <a:pt x="26149" y="29502"/>
                  </a:lnTo>
                  <a:lnTo>
                    <a:pt x="25845" y="29929"/>
                  </a:lnTo>
                  <a:lnTo>
                    <a:pt x="25479" y="30416"/>
                  </a:lnTo>
                  <a:lnTo>
                    <a:pt x="24991" y="30904"/>
                  </a:lnTo>
                  <a:lnTo>
                    <a:pt x="24321" y="31453"/>
                  </a:lnTo>
                  <a:lnTo>
                    <a:pt x="23955" y="31697"/>
                  </a:lnTo>
                  <a:lnTo>
                    <a:pt x="23528" y="31940"/>
                  </a:lnTo>
                  <a:lnTo>
                    <a:pt x="23041" y="32184"/>
                  </a:lnTo>
                  <a:lnTo>
                    <a:pt x="22553" y="32306"/>
                  </a:lnTo>
                  <a:lnTo>
                    <a:pt x="22005" y="32428"/>
                  </a:lnTo>
                  <a:lnTo>
                    <a:pt x="21456" y="32550"/>
                  </a:lnTo>
                  <a:lnTo>
                    <a:pt x="21456" y="32550"/>
                  </a:lnTo>
                  <a:lnTo>
                    <a:pt x="20725" y="32550"/>
                  </a:lnTo>
                  <a:lnTo>
                    <a:pt x="19993" y="32489"/>
                  </a:lnTo>
                  <a:lnTo>
                    <a:pt x="19384" y="32428"/>
                  </a:lnTo>
                  <a:lnTo>
                    <a:pt x="18713" y="32306"/>
                  </a:lnTo>
                  <a:lnTo>
                    <a:pt x="18164" y="32184"/>
                  </a:lnTo>
                  <a:lnTo>
                    <a:pt x="17616" y="32001"/>
                  </a:lnTo>
                  <a:lnTo>
                    <a:pt x="16702" y="31575"/>
                  </a:lnTo>
                  <a:lnTo>
                    <a:pt x="15970" y="31148"/>
                  </a:lnTo>
                  <a:lnTo>
                    <a:pt x="15361" y="30782"/>
                  </a:lnTo>
                  <a:lnTo>
                    <a:pt x="14934" y="30416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50" name="Google Shape;1250;p16"/>
            <p:cNvSpPr/>
            <p:nvPr/>
          </p:nvSpPr>
          <p:spPr>
            <a:xfrm>
              <a:off x="5519725" y="2493275"/>
              <a:ext cx="6125" cy="33550"/>
            </a:xfrm>
            <a:custGeom>
              <a:avLst/>
              <a:gdLst/>
              <a:ahLst/>
              <a:cxnLst/>
              <a:rect l="l" t="t" r="r" b="b"/>
              <a:pathLst>
                <a:path w="245" h="1342" extrusionOk="0">
                  <a:moveTo>
                    <a:pt x="245" y="1"/>
                  </a:moveTo>
                  <a:lnTo>
                    <a:pt x="62" y="671"/>
                  </a:lnTo>
                  <a:lnTo>
                    <a:pt x="1" y="1342"/>
                  </a:lnTo>
                  <a:lnTo>
                    <a:pt x="123" y="671"/>
                  </a:lnTo>
                  <a:lnTo>
                    <a:pt x="245" y="1"/>
                  </a:lnTo>
                  <a:close/>
                </a:path>
              </a:pathLst>
            </a:custGeom>
            <a:solidFill>
              <a:srgbClr val="DFDDD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51" name="Google Shape;1251;p16"/>
            <p:cNvSpPr/>
            <p:nvPr/>
          </p:nvSpPr>
          <p:spPr>
            <a:xfrm>
              <a:off x="5519725" y="2473475"/>
              <a:ext cx="12225" cy="53350"/>
            </a:xfrm>
            <a:custGeom>
              <a:avLst/>
              <a:gdLst/>
              <a:ahLst/>
              <a:cxnLst/>
              <a:rect l="l" t="t" r="r" b="b"/>
              <a:pathLst>
                <a:path w="489" h="2134" fill="none" extrusionOk="0">
                  <a:moveTo>
                    <a:pt x="488" y="0"/>
                  </a:moveTo>
                  <a:lnTo>
                    <a:pt x="488" y="0"/>
                  </a:lnTo>
                  <a:lnTo>
                    <a:pt x="488" y="0"/>
                  </a:lnTo>
                  <a:lnTo>
                    <a:pt x="245" y="793"/>
                  </a:lnTo>
                  <a:lnTo>
                    <a:pt x="62" y="1463"/>
                  </a:lnTo>
                  <a:lnTo>
                    <a:pt x="1" y="2134"/>
                  </a:lnTo>
                  <a:lnTo>
                    <a:pt x="1" y="2134"/>
                  </a:lnTo>
                  <a:lnTo>
                    <a:pt x="1" y="2134"/>
                  </a:lnTo>
                  <a:lnTo>
                    <a:pt x="1" y="2134"/>
                  </a:lnTo>
                  <a:lnTo>
                    <a:pt x="123" y="1463"/>
                  </a:lnTo>
                  <a:lnTo>
                    <a:pt x="245" y="793"/>
                  </a:lnTo>
                  <a:lnTo>
                    <a:pt x="48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52" name="Google Shape;1252;p16"/>
            <p:cNvSpPr/>
            <p:nvPr/>
          </p:nvSpPr>
          <p:spPr>
            <a:xfrm>
              <a:off x="5519725" y="2473475"/>
              <a:ext cx="178325" cy="79250"/>
            </a:xfrm>
            <a:custGeom>
              <a:avLst/>
              <a:gdLst/>
              <a:ahLst/>
              <a:cxnLst/>
              <a:rect l="l" t="t" r="r" b="b"/>
              <a:pathLst>
                <a:path w="7133" h="3170" extrusionOk="0">
                  <a:moveTo>
                    <a:pt x="488" y="0"/>
                  </a:moveTo>
                  <a:lnTo>
                    <a:pt x="245" y="793"/>
                  </a:lnTo>
                  <a:lnTo>
                    <a:pt x="123" y="1463"/>
                  </a:lnTo>
                  <a:lnTo>
                    <a:pt x="1" y="2134"/>
                  </a:lnTo>
                  <a:lnTo>
                    <a:pt x="732" y="2012"/>
                  </a:lnTo>
                  <a:lnTo>
                    <a:pt x="1464" y="1890"/>
                  </a:lnTo>
                  <a:lnTo>
                    <a:pt x="2439" y="1829"/>
                  </a:lnTo>
                  <a:lnTo>
                    <a:pt x="3536" y="1890"/>
                  </a:lnTo>
                  <a:lnTo>
                    <a:pt x="4146" y="2012"/>
                  </a:lnTo>
                  <a:lnTo>
                    <a:pt x="4694" y="2134"/>
                  </a:lnTo>
                  <a:lnTo>
                    <a:pt x="5304" y="2256"/>
                  </a:lnTo>
                  <a:lnTo>
                    <a:pt x="5913" y="2499"/>
                  </a:lnTo>
                  <a:lnTo>
                    <a:pt x="6523" y="2804"/>
                  </a:lnTo>
                  <a:lnTo>
                    <a:pt x="7132" y="3170"/>
                  </a:lnTo>
                  <a:lnTo>
                    <a:pt x="6706" y="2682"/>
                  </a:lnTo>
                  <a:lnTo>
                    <a:pt x="6157" y="2134"/>
                  </a:lnTo>
                  <a:lnTo>
                    <a:pt x="5487" y="1585"/>
                  </a:lnTo>
                  <a:lnTo>
                    <a:pt x="4572" y="975"/>
                  </a:lnTo>
                  <a:lnTo>
                    <a:pt x="4085" y="732"/>
                  </a:lnTo>
                  <a:lnTo>
                    <a:pt x="3536" y="488"/>
                  </a:lnTo>
                  <a:lnTo>
                    <a:pt x="2927" y="305"/>
                  </a:lnTo>
                  <a:lnTo>
                    <a:pt x="2256" y="122"/>
                  </a:lnTo>
                  <a:lnTo>
                    <a:pt x="1586" y="61"/>
                  </a:lnTo>
                  <a:lnTo>
                    <a:pt x="854" y="0"/>
                  </a:lnTo>
                  <a:close/>
                </a:path>
              </a:pathLst>
            </a:custGeom>
            <a:solidFill>
              <a:srgbClr val="52873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53" name="Google Shape;1253;p16"/>
            <p:cNvSpPr/>
            <p:nvPr/>
          </p:nvSpPr>
          <p:spPr>
            <a:xfrm>
              <a:off x="6033275" y="2430800"/>
              <a:ext cx="77725" cy="68600"/>
            </a:xfrm>
            <a:custGeom>
              <a:avLst/>
              <a:gdLst/>
              <a:ahLst/>
              <a:cxnLst/>
              <a:rect l="l" t="t" r="r" b="b"/>
              <a:pathLst>
                <a:path w="3109" h="2744" extrusionOk="0">
                  <a:moveTo>
                    <a:pt x="3048" y="1"/>
                  </a:moveTo>
                  <a:lnTo>
                    <a:pt x="2560" y="122"/>
                  </a:lnTo>
                  <a:lnTo>
                    <a:pt x="2134" y="305"/>
                  </a:lnTo>
                  <a:lnTo>
                    <a:pt x="1768" y="488"/>
                  </a:lnTo>
                  <a:lnTo>
                    <a:pt x="1402" y="671"/>
                  </a:lnTo>
                  <a:lnTo>
                    <a:pt x="854" y="1159"/>
                  </a:lnTo>
                  <a:lnTo>
                    <a:pt x="488" y="1585"/>
                  </a:lnTo>
                  <a:lnTo>
                    <a:pt x="244" y="2012"/>
                  </a:lnTo>
                  <a:lnTo>
                    <a:pt x="61" y="2439"/>
                  </a:lnTo>
                  <a:lnTo>
                    <a:pt x="0" y="2743"/>
                  </a:lnTo>
                  <a:lnTo>
                    <a:pt x="305" y="2378"/>
                  </a:lnTo>
                  <a:lnTo>
                    <a:pt x="671" y="2073"/>
                  </a:lnTo>
                  <a:lnTo>
                    <a:pt x="1036" y="1829"/>
                  </a:lnTo>
                  <a:lnTo>
                    <a:pt x="1402" y="1646"/>
                  </a:lnTo>
                  <a:lnTo>
                    <a:pt x="1768" y="1585"/>
                  </a:lnTo>
                  <a:lnTo>
                    <a:pt x="2134" y="1463"/>
                  </a:lnTo>
                  <a:lnTo>
                    <a:pt x="3109" y="1463"/>
                  </a:lnTo>
                  <a:lnTo>
                    <a:pt x="3109" y="1098"/>
                  </a:lnTo>
                  <a:lnTo>
                    <a:pt x="3048" y="1"/>
                  </a:lnTo>
                  <a:close/>
                </a:path>
              </a:pathLst>
            </a:custGeom>
            <a:solidFill>
              <a:srgbClr val="52873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54" name="Google Shape;1254;p16"/>
            <p:cNvSpPr/>
            <p:nvPr/>
          </p:nvSpPr>
          <p:spPr>
            <a:xfrm>
              <a:off x="5687350" y="2875750"/>
              <a:ext cx="367275" cy="54900"/>
            </a:xfrm>
            <a:custGeom>
              <a:avLst/>
              <a:gdLst/>
              <a:ahLst/>
              <a:cxnLst/>
              <a:rect l="l" t="t" r="r" b="b"/>
              <a:pathLst>
                <a:path w="14691" h="2196" extrusionOk="0">
                  <a:moveTo>
                    <a:pt x="14691" y="1"/>
                  </a:moveTo>
                  <a:lnTo>
                    <a:pt x="14203" y="610"/>
                  </a:lnTo>
                  <a:lnTo>
                    <a:pt x="14006" y="840"/>
                  </a:lnTo>
                  <a:lnTo>
                    <a:pt x="14006" y="840"/>
                  </a:lnTo>
                  <a:lnTo>
                    <a:pt x="14203" y="671"/>
                  </a:lnTo>
                  <a:lnTo>
                    <a:pt x="14691" y="1"/>
                  </a:lnTo>
                  <a:close/>
                  <a:moveTo>
                    <a:pt x="14006" y="840"/>
                  </a:moveTo>
                  <a:lnTo>
                    <a:pt x="13776" y="1037"/>
                  </a:lnTo>
                  <a:lnTo>
                    <a:pt x="13350" y="1464"/>
                  </a:lnTo>
                  <a:lnTo>
                    <a:pt x="13837" y="1037"/>
                  </a:lnTo>
                  <a:lnTo>
                    <a:pt x="14006" y="840"/>
                  </a:lnTo>
                  <a:close/>
                  <a:moveTo>
                    <a:pt x="1890" y="1281"/>
                  </a:moveTo>
                  <a:lnTo>
                    <a:pt x="976" y="1586"/>
                  </a:lnTo>
                  <a:lnTo>
                    <a:pt x="1" y="1769"/>
                  </a:lnTo>
                  <a:lnTo>
                    <a:pt x="1" y="1769"/>
                  </a:lnTo>
                  <a:lnTo>
                    <a:pt x="1037" y="1586"/>
                  </a:lnTo>
                  <a:lnTo>
                    <a:pt x="1890" y="1281"/>
                  </a:lnTo>
                  <a:close/>
                  <a:moveTo>
                    <a:pt x="13350" y="1464"/>
                  </a:moveTo>
                  <a:lnTo>
                    <a:pt x="12740" y="1891"/>
                  </a:lnTo>
                  <a:lnTo>
                    <a:pt x="12130" y="2195"/>
                  </a:lnTo>
                  <a:lnTo>
                    <a:pt x="12130" y="2195"/>
                  </a:lnTo>
                  <a:lnTo>
                    <a:pt x="12801" y="1891"/>
                  </a:lnTo>
                  <a:lnTo>
                    <a:pt x="13350" y="1464"/>
                  </a:lnTo>
                  <a:close/>
                </a:path>
              </a:pathLst>
            </a:custGeom>
            <a:solidFill>
              <a:srgbClr val="DFDDD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55" name="Google Shape;1255;p16"/>
            <p:cNvSpPr/>
            <p:nvPr/>
          </p:nvSpPr>
          <p:spPr>
            <a:xfrm>
              <a:off x="5573075" y="2891000"/>
              <a:ext cx="205725" cy="35075"/>
            </a:xfrm>
            <a:custGeom>
              <a:avLst/>
              <a:gdLst/>
              <a:ahLst/>
              <a:cxnLst/>
              <a:rect l="l" t="t" r="r" b="b"/>
              <a:pathLst>
                <a:path w="8229" h="1403" fill="none" extrusionOk="0">
                  <a:moveTo>
                    <a:pt x="8229" y="0"/>
                  </a:moveTo>
                  <a:lnTo>
                    <a:pt x="8229" y="0"/>
                  </a:lnTo>
                  <a:lnTo>
                    <a:pt x="7741" y="244"/>
                  </a:lnTo>
                  <a:lnTo>
                    <a:pt x="7193" y="427"/>
                  </a:lnTo>
                  <a:lnTo>
                    <a:pt x="6461" y="671"/>
                  </a:lnTo>
                  <a:lnTo>
                    <a:pt x="5608" y="976"/>
                  </a:lnTo>
                  <a:lnTo>
                    <a:pt x="4572" y="1159"/>
                  </a:lnTo>
                  <a:lnTo>
                    <a:pt x="3475" y="1341"/>
                  </a:lnTo>
                  <a:lnTo>
                    <a:pt x="2255" y="1402"/>
                  </a:lnTo>
                  <a:lnTo>
                    <a:pt x="2255" y="1402"/>
                  </a:lnTo>
                  <a:lnTo>
                    <a:pt x="1158" y="1341"/>
                  </a:lnTo>
                  <a:lnTo>
                    <a:pt x="549" y="1220"/>
                  </a:lnTo>
                  <a:lnTo>
                    <a:pt x="0" y="1159"/>
                  </a:lnTo>
                  <a:lnTo>
                    <a:pt x="0" y="1159"/>
                  </a:lnTo>
                  <a:lnTo>
                    <a:pt x="549" y="1220"/>
                  </a:lnTo>
                  <a:lnTo>
                    <a:pt x="1158" y="1341"/>
                  </a:lnTo>
                  <a:lnTo>
                    <a:pt x="2255" y="1402"/>
                  </a:lnTo>
                  <a:lnTo>
                    <a:pt x="2255" y="1402"/>
                  </a:lnTo>
                  <a:lnTo>
                    <a:pt x="3475" y="1341"/>
                  </a:lnTo>
                  <a:lnTo>
                    <a:pt x="4572" y="1159"/>
                  </a:lnTo>
                  <a:lnTo>
                    <a:pt x="5547" y="976"/>
                  </a:lnTo>
                  <a:lnTo>
                    <a:pt x="6461" y="671"/>
                  </a:lnTo>
                  <a:lnTo>
                    <a:pt x="7193" y="427"/>
                  </a:lnTo>
                  <a:lnTo>
                    <a:pt x="7741" y="244"/>
                  </a:lnTo>
                  <a:lnTo>
                    <a:pt x="8229" y="0"/>
                  </a:lnTo>
                  <a:lnTo>
                    <a:pt x="8229" y="0"/>
                  </a:lnTo>
                  <a:lnTo>
                    <a:pt x="8229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56" name="Google Shape;1256;p16"/>
            <p:cNvSpPr/>
            <p:nvPr/>
          </p:nvSpPr>
          <p:spPr>
            <a:xfrm>
              <a:off x="5990600" y="2868150"/>
              <a:ext cx="68600" cy="62500"/>
            </a:xfrm>
            <a:custGeom>
              <a:avLst/>
              <a:gdLst/>
              <a:ahLst/>
              <a:cxnLst/>
              <a:rect l="l" t="t" r="r" b="b"/>
              <a:pathLst>
                <a:path w="2744" h="2500" fill="none" extrusionOk="0">
                  <a:moveTo>
                    <a:pt x="2743" y="0"/>
                  </a:moveTo>
                  <a:lnTo>
                    <a:pt x="2743" y="0"/>
                  </a:lnTo>
                  <a:lnTo>
                    <a:pt x="2561" y="305"/>
                  </a:lnTo>
                  <a:lnTo>
                    <a:pt x="2073" y="914"/>
                  </a:lnTo>
                  <a:lnTo>
                    <a:pt x="1707" y="1341"/>
                  </a:lnTo>
                  <a:lnTo>
                    <a:pt x="1220" y="1768"/>
                  </a:lnTo>
                  <a:lnTo>
                    <a:pt x="671" y="2195"/>
                  </a:lnTo>
                  <a:lnTo>
                    <a:pt x="0" y="2499"/>
                  </a:lnTo>
                  <a:lnTo>
                    <a:pt x="0" y="2499"/>
                  </a:lnTo>
                  <a:lnTo>
                    <a:pt x="610" y="2195"/>
                  </a:lnTo>
                  <a:lnTo>
                    <a:pt x="1220" y="1768"/>
                  </a:lnTo>
                  <a:lnTo>
                    <a:pt x="1646" y="1341"/>
                  </a:lnTo>
                  <a:lnTo>
                    <a:pt x="2073" y="975"/>
                  </a:lnTo>
                  <a:lnTo>
                    <a:pt x="2561" y="305"/>
                  </a:lnTo>
                  <a:lnTo>
                    <a:pt x="2743" y="0"/>
                  </a:lnTo>
                  <a:lnTo>
                    <a:pt x="2743" y="0"/>
                  </a:lnTo>
                  <a:lnTo>
                    <a:pt x="274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57" name="Google Shape;1257;p16"/>
            <p:cNvSpPr/>
            <p:nvPr/>
          </p:nvSpPr>
          <p:spPr>
            <a:xfrm>
              <a:off x="5445075" y="28315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58" name="Google Shape;1258;p16"/>
            <p:cNvSpPr/>
            <p:nvPr/>
          </p:nvSpPr>
          <p:spPr>
            <a:xfrm>
              <a:off x="5445075" y="28315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59" name="Google Shape;1259;p16"/>
            <p:cNvSpPr/>
            <p:nvPr/>
          </p:nvSpPr>
          <p:spPr>
            <a:xfrm>
              <a:off x="5443550" y="2831575"/>
              <a:ext cx="1550" cy="25"/>
            </a:xfrm>
            <a:custGeom>
              <a:avLst/>
              <a:gdLst/>
              <a:ahLst/>
              <a:cxnLst/>
              <a:rect l="l" t="t" r="r" b="b"/>
              <a:pathLst>
                <a:path w="62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60" name="Google Shape;1260;p16"/>
            <p:cNvSpPr/>
            <p:nvPr/>
          </p:nvSpPr>
          <p:spPr>
            <a:xfrm>
              <a:off x="5443550" y="2830050"/>
              <a:ext cx="25" cy="1550"/>
            </a:xfrm>
            <a:custGeom>
              <a:avLst/>
              <a:gdLst/>
              <a:ahLst/>
              <a:cxnLst/>
              <a:rect l="l" t="t" r="r" b="b"/>
              <a:pathLst>
                <a:path w="1" h="62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61" name="Google Shape;1261;p16"/>
            <p:cNvSpPr/>
            <p:nvPr/>
          </p:nvSpPr>
          <p:spPr>
            <a:xfrm>
              <a:off x="5443550" y="28300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62" name="Google Shape;1262;p16"/>
            <p:cNvSpPr/>
            <p:nvPr/>
          </p:nvSpPr>
          <p:spPr>
            <a:xfrm>
              <a:off x="5443550" y="28300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63" name="Google Shape;1263;p16"/>
            <p:cNvSpPr/>
            <p:nvPr/>
          </p:nvSpPr>
          <p:spPr>
            <a:xfrm>
              <a:off x="5443550" y="28300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64" name="Google Shape;1264;p16"/>
            <p:cNvSpPr/>
            <p:nvPr/>
          </p:nvSpPr>
          <p:spPr>
            <a:xfrm>
              <a:off x="5443550" y="2828525"/>
              <a:ext cx="25" cy="1550"/>
            </a:xfrm>
            <a:custGeom>
              <a:avLst/>
              <a:gdLst/>
              <a:ahLst/>
              <a:cxnLst/>
              <a:rect l="l" t="t" r="r" b="b"/>
              <a:pathLst>
                <a:path w="1" h="62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65" name="Google Shape;1265;p16"/>
            <p:cNvSpPr/>
            <p:nvPr/>
          </p:nvSpPr>
          <p:spPr>
            <a:xfrm>
              <a:off x="5442025" y="2828525"/>
              <a:ext cx="1550" cy="25"/>
            </a:xfrm>
            <a:custGeom>
              <a:avLst/>
              <a:gdLst/>
              <a:ahLst/>
              <a:cxnLst/>
              <a:rect l="l" t="t" r="r" b="b"/>
              <a:pathLst>
                <a:path w="62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66" name="Google Shape;1266;p16"/>
            <p:cNvSpPr/>
            <p:nvPr/>
          </p:nvSpPr>
          <p:spPr>
            <a:xfrm>
              <a:off x="6097275" y="2827000"/>
              <a:ext cx="88400" cy="45750"/>
            </a:xfrm>
            <a:custGeom>
              <a:avLst/>
              <a:gdLst/>
              <a:ahLst/>
              <a:cxnLst/>
              <a:rect l="l" t="t" r="r" b="b"/>
              <a:pathLst>
                <a:path w="3536" h="1830" fill="none" extrusionOk="0">
                  <a:moveTo>
                    <a:pt x="3536" y="0"/>
                  </a:moveTo>
                  <a:lnTo>
                    <a:pt x="3536" y="0"/>
                  </a:lnTo>
                  <a:lnTo>
                    <a:pt x="3231" y="427"/>
                  </a:lnTo>
                  <a:lnTo>
                    <a:pt x="2865" y="732"/>
                  </a:lnTo>
                  <a:lnTo>
                    <a:pt x="2438" y="1037"/>
                  </a:lnTo>
                  <a:lnTo>
                    <a:pt x="2012" y="1341"/>
                  </a:lnTo>
                  <a:lnTo>
                    <a:pt x="1524" y="1524"/>
                  </a:lnTo>
                  <a:lnTo>
                    <a:pt x="1036" y="1707"/>
                  </a:lnTo>
                  <a:lnTo>
                    <a:pt x="549" y="1768"/>
                  </a:lnTo>
                  <a:lnTo>
                    <a:pt x="0" y="1829"/>
                  </a:lnTo>
                  <a:lnTo>
                    <a:pt x="0" y="1829"/>
                  </a:lnTo>
                  <a:lnTo>
                    <a:pt x="549" y="1768"/>
                  </a:lnTo>
                  <a:lnTo>
                    <a:pt x="1036" y="1707"/>
                  </a:lnTo>
                  <a:lnTo>
                    <a:pt x="1524" y="1524"/>
                  </a:lnTo>
                  <a:lnTo>
                    <a:pt x="2012" y="1341"/>
                  </a:lnTo>
                  <a:lnTo>
                    <a:pt x="2438" y="1037"/>
                  </a:lnTo>
                  <a:lnTo>
                    <a:pt x="2865" y="732"/>
                  </a:lnTo>
                  <a:lnTo>
                    <a:pt x="3231" y="427"/>
                  </a:lnTo>
                  <a:lnTo>
                    <a:pt x="353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67" name="Google Shape;1267;p16"/>
            <p:cNvSpPr/>
            <p:nvPr/>
          </p:nvSpPr>
          <p:spPr>
            <a:xfrm>
              <a:off x="5440500" y="2825475"/>
              <a:ext cx="1550" cy="3075"/>
            </a:xfrm>
            <a:custGeom>
              <a:avLst/>
              <a:gdLst/>
              <a:ahLst/>
              <a:cxnLst/>
              <a:rect l="l" t="t" r="r" b="b"/>
              <a:pathLst>
                <a:path w="62" h="123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68" name="Google Shape;1268;p16"/>
            <p:cNvSpPr/>
            <p:nvPr/>
          </p:nvSpPr>
          <p:spPr>
            <a:xfrm>
              <a:off x="5440500" y="28254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69" name="Google Shape;1269;p16"/>
            <p:cNvSpPr/>
            <p:nvPr/>
          </p:nvSpPr>
          <p:spPr>
            <a:xfrm>
              <a:off x="5440500" y="28254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70" name="Google Shape;1270;p16"/>
            <p:cNvSpPr/>
            <p:nvPr/>
          </p:nvSpPr>
          <p:spPr>
            <a:xfrm>
              <a:off x="5440500" y="2823950"/>
              <a:ext cx="25" cy="1550"/>
            </a:xfrm>
            <a:custGeom>
              <a:avLst/>
              <a:gdLst/>
              <a:ahLst/>
              <a:cxnLst/>
              <a:rect l="l" t="t" r="r" b="b"/>
              <a:pathLst>
                <a:path w="1" h="62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71" name="Google Shape;1271;p16"/>
            <p:cNvSpPr/>
            <p:nvPr/>
          </p:nvSpPr>
          <p:spPr>
            <a:xfrm>
              <a:off x="5438975" y="2823950"/>
              <a:ext cx="1550" cy="25"/>
            </a:xfrm>
            <a:custGeom>
              <a:avLst/>
              <a:gdLst/>
              <a:ahLst/>
              <a:cxnLst/>
              <a:rect l="l" t="t" r="r" b="b"/>
              <a:pathLst>
                <a:path w="62" h="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72" name="Google Shape;1272;p16"/>
            <p:cNvSpPr/>
            <p:nvPr/>
          </p:nvSpPr>
          <p:spPr>
            <a:xfrm>
              <a:off x="5438975" y="28239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73" name="Google Shape;1273;p16"/>
            <p:cNvSpPr/>
            <p:nvPr/>
          </p:nvSpPr>
          <p:spPr>
            <a:xfrm>
              <a:off x="5438975" y="28239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74" name="Google Shape;1274;p16"/>
            <p:cNvSpPr/>
            <p:nvPr/>
          </p:nvSpPr>
          <p:spPr>
            <a:xfrm>
              <a:off x="5438975" y="282242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75" name="Google Shape;1275;p16"/>
            <p:cNvSpPr/>
            <p:nvPr/>
          </p:nvSpPr>
          <p:spPr>
            <a:xfrm>
              <a:off x="5426775" y="2718800"/>
              <a:ext cx="797000" cy="225550"/>
            </a:xfrm>
            <a:custGeom>
              <a:avLst/>
              <a:gdLst/>
              <a:ahLst/>
              <a:cxnLst/>
              <a:rect l="l" t="t" r="r" b="b"/>
              <a:pathLst>
                <a:path w="31880" h="9022" extrusionOk="0">
                  <a:moveTo>
                    <a:pt x="31879" y="1"/>
                  </a:moveTo>
                  <a:lnTo>
                    <a:pt x="31636" y="549"/>
                  </a:lnTo>
                  <a:lnTo>
                    <a:pt x="31270" y="1037"/>
                  </a:lnTo>
                  <a:lnTo>
                    <a:pt x="30843" y="1646"/>
                  </a:lnTo>
                  <a:lnTo>
                    <a:pt x="30295" y="2195"/>
                  </a:lnTo>
                  <a:lnTo>
                    <a:pt x="29990" y="2500"/>
                  </a:lnTo>
                  <a:lnTo>
                    <a:pt x="29624" y="2744"/>
                  </a:lnTo>
                  <a:lnTo>
                    <a:pt x="29258" y="2927"/>
                  </a:lnTo>
                  <a:lnTo>
                    <a:pt x="28832" y="3048"/>
                  </a:lnTo>
                  <a:lnTo>
                    <a:pt x="28466" y="3170"/>
                  </a:lnTo>
                  <a:lnTo>
                    <a:pt x="27978" y="3231"/>
                  </a:lnTo>
                  <a:lnTo>
                    <a:pt x="27430" y="3170"/>
                  </a:lnTo>
                  <a:lnTo>
                    <a:pt x="26820" y="2927"/>
                  </a:lnTo>
                  <a:lnTo>
                    <a:pt x="26150" y="2622"/>
                  </a:lnTo>
                  <a:lnTo>
                    <a:pt x="25479" y="2134"/>
                  </a:lnTo>
                  <a:lnTo>
                    <a:pt x="25114" y="2805"/>
                  </a:lnTo>
                  <a:lnTo>
                    <a:pt x="24626" y="3536"/>
                  </a:lnTo>
                  <a:lnTo>
                    <a:pt x="23955" y="4389"/>
                  </a:lnTo>
                  <a:lnTo>
                    <a:pt x="23590" y="4816"/>
                  </a:lnTo>
                  <a:lnTo>
                    <a:pt x="23102" y="5243"/>
                  </a:lnTo>
                  <a:lnTo>
                    <a:pt x="22614" y="5608"/>
                  </a:lnTo>
                  <a:lnTo>
                    <a:pt x="22127" y="5974"/>
                  </a:lnTo>
                  <a:lnTo>
                    <a:pt x="21517" y="6279"/>
                  </a:lnTo>
                  <a:lnTo>
                    <a:pt x="20908" y="6523"/>
                  </a:lnTo>
                  <a:lnTo>
                    <a:pt x="20237" y="6645"/>
                  </a:lnTo>
                  <a:lnTo>
                    <a:pt x="19506" y="6706"/>
                  </a:lnTo>
                  <a:lnTo>
                    <a:pt x="19018" y="6645"/>
                  </a:lnTo>
                  <a:lnTo>
                    <a:pt x="18531" y="6584"/>
                  </a:lnTo>
                  <a:lnTo>
                    <a:pt x="18043" y="6462"/>
                  </a:lnTo>
                  <a:lnTo>
                    <a:pt x="17494" y="6279"/>
                  </a:lnTo>
                  <a:lnTo>
                    <a:pt x="16946" y="6035"/>
                  </a:lnTo>
                  <a:lnTo>
                    <a:pt x="16397" y="5730"/>
                  </a:lnTo>
                  <a:lnTo>
                    <a:pt x="15788" y="5365"/>
                  </a:lnTo>
                  <a:lnTo>
                    <a:pt x="15178" y="4938"/>
                  </a:lnTo>
                  <a:lnTo>
                    <a:pt x="14630" y="5243"/>
                  </a:lnTo>
                  <a:lnTo>
                    <a:pt x="13959" y="5548"/>
                  </a:lnTo>
                  <a:lnTo>
                    <a:pt x="13106" y="5913"/>
                  </a:lnTo>
                  <a:lnTo>
                    <a:pt x="12009" y="6279"/>
                  </a:lnTo>
                  <a:lnTo>
                    <a:pt x="10789" y="6584"/>
                  </a:lnTo>
                  <a:lnTo>
                    <a:pt x="9448" y="6828"/>
                  </a:lnTo>
                  <a:lnTo>
                    <a:pt x="8717" y="6888"/>
                  </a:lnTo>
                  <a:lnTo>
                    <a:pt x="7986" y="6888"/>
                  </a:lnTo>
                  <a:lnTo>
                    <a:pt x="7010" y="6828"/>
                  </a:lnTo>
                  <a:lnTo>
                    <a:pt x="6035" y="6706"/>
                  </a:lnTo>
                  <a:lnTo>
                    <a:pt x="4999" y="6462"/>
                  </a:lnTo>
                  <a:lnTo>
                    <a:pt x="3963" y="6157"/>
                  </a:lnTo>
                  <a:lnTo>
                    <a:pt x="2987" y="5669"/>
                  </a:lnTo>
                  <a:lnTo>
                    <a:pt x="1951" y="5060"/>
                  </a:lnTo>
                  <a:lnTo>
                    <a:pt x="976" y="4267"/>
                  </a:lnTo>
                  <a:lnTo>
                    <a:pt x="488" y="3841"/>
                  </a:lnTo>
                  <a:lnTo>
                    <a:pt x="1" y="3353"/>
                  </a:lnTo>
                  <a:lnTo>
                    <a:pt x="488" y="4146"/>
                  </a:lnTo>
                  <a:lnTo>
                    <a:pt x="488" y="4207"/>
                  </a:lnTo>
                  <a:lnTo>
                    <a:pt x="549" y="4207"/>
                  </a:lnTo>
                  <a:lnTo>
                    <a:pt x="549" y="4267"/>
                  </a:lnTo>
                  <a:lnTo>
                    <a:pt x="610" y="4389"/>
                  </a:lnTo>
                  <a:lnTo>
                    <a:pt x="671" y="4389"/>
                  </a:lnTo>
                  <a:lnTo>
                    <a:pt x="671" y="4450"/>
                  </a:lnTo>
                  <a:lnTo>
                    <a:pt x="671" y="4511"/>
                  </a:lnTo>
                  <a:lnTo>
                    <a:pt x="732" y="4511"/>
                  </a:lnTo>
                  <a:lnTo>
                    <a:pt x="1281" y="5243"/>
                  </a:lnTo>
                  <a:lnTo>
                    <a:pt x="1829" y="5791"/>
                  </a:lnTo>
                  <a:lnTo>
                    <a:pt x="2378" y="6279"/>
                  </a:lnTo>
                  <a:lnTo>
                    <a:pt x="2926" y="6706"/>
                  </a:lnTo>
                  <a:lnTo>
                    <a:pt x="3475" y="7071"/>
                  </a:lnTo>
                  <a:lnTo>
                    <a:pt x="4085" y="7376"/>
                  </a:lnTo>
                  <a:lnTo>
                    <a:pt x="4633" y="7620"/>
                  </a:lnTo>
                  <a:lnTo>
                    <a:pt x="5243" y="7864"/>
                  </a:lnTo>
                  <a:lnTo>
                    <a:pt x="5852" y="8047"/>
                  </a:lnTo>
                  <a:lnTo>
                    <a:pt x="6401" y="8108"/>
                  </a:lnTo>
                  <a:lnTo>
                    <a:pt x="7010" y="8229"/>
                  </a:lnTo>
                  <a:lnTo>
                    <a:pt x="8107" y="8290"/>
                  </a:lnTo>
                  <a:lnTo>
                    <a:pt x="9327" y="8229"/>
                  </a:lnTo>
                  <a:lnTo>
                    <a:pt x="10424" y="8047"/>
                  </a:lnTo>
                  <a:lnTo>
                    <a:pt x="11460" y="7864"/>
                  </a:lnTo>
                  <a:lnTo>
                    <a:pt x="12313" y="7559"/>
                  </a:lnTo>
                  <a:lnTo>
                    <a:pt x="13045" y="7315"/>
                  </a:lnTo>
                  <a:lnTo>
                    <a:pt x="13593" y="7132"/>
                  </a:lnTo>
                  <a:lnTo>
                    <a:pt x="14081" y="6888"/>
                  </a:lnTo>
                  <a:lnTo>
                    <a:pt x="14508" y="7193"/>
                  </a:lnTo>
                  <a:lnTo>
                    <a:pt x="14995" y="7559"/>
                  </a:lnTo>
                  <a:lnTo>
                    <a:pt x="15666" y="7925"/>
                  </a:lnTo>
                  <a:lnTo>
                    <a:pt x="16519" y="8351"/>
                  </a:lnTo>
                  <a:lnTo>
                    <a:pt x="17494" y="8656"/>
                  </a:lnTo>
                  <a:lnTo>
                    <a:pt x="18043" y="8839"/>
                  </a:lnTo>
                  <a:lnTo>
                    <a:pt x="18652" y="8900"/>
                  </a:lnTo>
                  <a:lnTo>
                    <a:pt x="19262" y="9022"/>
                  </a:lnTo>
                  <a:lnTo>
                    <a:pt x="20603" y="9022"/>
                  </a:lnTo>
                  <a:lnTo>
                    <a:pt x="21152" y="8900"/>
                  </a:lnTo>
                  <a:lnTo>
                    <a:pt x="21639" y="8839"/>
                  </a:lnTo>
                  <a:lnTo>
                    <a:pt x="22127" y="8656"/>
                  </a:lnTo>
                  <a:lnTo>
                    <a:pt x="22553" y="8473"/>
                  </a:lnTo>
                  <a:lnTo>
                    <a:pt x="23224" y="8169"/>
                  </a:lnTo>
                  <a:lnTo>
                    <a:pt x="23773" y="7742"/>
                  </a:lnTo>
                  <a:lnTo>
                    <a:pt x="24260" y="7315"/>
                  </a:lnTo>
                  <a:lnTo>
                    <a:pt x="24626" y="6888"/>
                  </a:lnTo>
                  <a:lnTo>
                    <a:pt x="25114" y="6279"/>
                  </a:lnTo>
                  <a:lnTo>
                    <a:pt x="25296" y="5974"/>
                  </a:lnTo>
                  <a:lnTo>
                    <a:pt x="25967" y="6157"/>
                  </a:lnTo>
                  <a:lnTo>
                    <a:pt x="26576" y="6218"/>
                  </a:lnTo>
                  <a:lnTo>
                    <a:pt x="26820" y="6157"/>
                  </a:lnTo>
                  <a:lnTo>
                    <a:pt x="27369" y="6096"/>
                  </a:lnTo>
                  <a:lnTo>
                    <a:pt x="27856" y="6035"/>
                  </a:lnTo>
                  <a:lnTo>
                    <a:pt x="28344" y="5852"/>
                  </a:lnTo>
                  <a:lnTo>
                    <a:pt x="28832" y="5669"/>
                  </a:lnTo>
                  <a:lnTo>
                    <a:pt x="29258" y="5365"/>
                  </a:lnTo>
                  <a:lnTo>
                    <a:pt x="29685" y="5060"/>
                  </a:lnTo>
                  <a:lnTo>
                    <a:pt x="30051" y="4755"/>
                  </a:lnTo>
                  <a:lnTo>
                    <a:pt x="30356" y="4328"/>
                  </a:lnTo>
                  <a:lnTo>
                    <a:pt x="30660" y="3902"/>
                  </a:lnTo>
                  <a:lnTo>
                    <a:pt x="30965" y="3353"/>
                  </a:lnTo>
                  <a:lnTo>
                    <a:pt x="31209" y="2622"/>
                  </a:lnTo>
                  <a:lnTo>
                    <a:pt x="31514" y="1829"/>
                  </a:lnTo>
                  <a:lnTo>
                    <a:pt x="31696" y="976"/>
                  </a:lnTo>
                  <a:lnTo>
                    <a:pt x="31879" y="1"/>
                  </a:lnTo>
                  <a:close/>
                </a:path>
              </a:pathLst>
            </a:custGeom>
            <a:solidFill>
              <a:srgbClr val="52873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76" name="Google Shape;1276;p16"/>
            <p:cNvSpPr/>
            <p:nvPr/>
          </p:nvSpPr>
          <p:spPr>
            <a:xfrm>
              <a:off x="5908300" y="2197650"/>
              <a:ext cx="83850" cy="175275"/>
            </a:xfrm>
            <a:custGeom>
              <a:avLst/>
              <a:gdLst/>
              <a:ahLst/>
              <a:cxnLst/>
              <a:rect l="l" t="t" r="r" b="b"/>
              <a:pathLst>
                <a:path w="3354" h="7011" extrusionOk="0">
                  <a:moveTo>
                    <a:pt x="2256" y="1"/>
                  </a:moveTo>
                  <a:lnTo>
                    <a:pt x="1708" y="427"/>
                  </a:lnTo>
                  <a:lnTo>
                    <a:pt x="1281" y="915"/>
                  </a:lnTo>
                  <a:lnTo>
                    <a:pt x="915" y="1403"/>
                  </a:lnTo>
                  <a:lnTo>
                    <a:pt x="611" y="1951"/>
                  </a:lnTo>
                  <a:lnTo>
                    <a:pt x="367" y="2500"/>
                  </a:lnTo>
                  <a:lnTo>
                    <a:pt x="184" y="3109"/>
                  </a:lnTo>
                  <a:lnTo>
                    <a:pt x="123" y="3658"/>
                  </a:lnTo>
                  <a:lnTo>
                    <a:pt x="1" y="4267"/>
                  </a:lnTo>
                  <a:lnTo>
                    <a:pt x="1" y="5304"/>
                  </a:lnTo>
                  <a:lnTo>
                    <a:pt x="62" y="6157"/>
                  </a:lnTo>
                  <a:lnTo>
                    <a:pt x="184" y="7010"/>
                  </a:lnTo>
                  <a:lnTo>
                    <a:pt x="184" y="6157"/>
                  </a:lnTo>
                  <a:lnTo>
                    <a:pt x="245" y="5426"/>
                  </a:lnTo>
                  <a:lnTo>
                    <a:pt x="428" y="4816"/>
                  </a:lnTo>
                  <a:lnTo>
                    <a:pt x="611" y="4206"/>
                  </a:lnTo>
                  <a:lnTo>
                    <a:pt x="854" y="3719"/>
                  </a:lnTo>
                  <a:lnTo>
                    <a:pt x="1098" y="3292"/>
                  </a:lnTo>
                  <a:lnTo>
                    <a:pt x="1403" y="2926"/>
                  </a:lnTo>
                  <a:lnTo>
                    <a:pt x="1708" y="2622"/>
                  </a:lnTo>
                  <a:lnTo>
                    <a:pt x="2012" y="2378"/>
                  </a:lnTo>
                  <a:lnTo>
                    <a:pt x="2317" y="2195"/>
                  </a:lnTo>
                  <a:lnTo>
                    <a:pt x="2805" y="1890"/>
                  </a:lnTo>
                  <a:lnTo>
                    <a:pt x="3232" y="1768"/>
                  </a:lnTo>
                  <a:lnTo>
                    <a:pt x="3353" y="1768"/>
                  </a:lnTo>
                  <a:lnTo>
                    <a:pt x="2805" y="854"/>
                  </a:lnTo>
                  <a:lnTo>
                    <a:pt x="2256" y="1"/>
                  </a:lnTo>
                  <a:close/>
                </a:path>
              </a:pathLst>
            </a:custGeom>
            <a:solidFill>
              <a:srgbClr val="52873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77" name="Google Shape;1277;p16"/>
            <p:cNvSpPr/>
            <p:nvPr/>
          </p:nvSpPr>
          <p:spPr>
            <a:xfrm>
              <a:off x="5647725" y="2368325"/>
              <a:ext cx="44225" cy="45750"/>
            </a:xfrm>
            <a:custGeom>
              <a:avLst/>
              <a:gdLst/>
              <a:ahLst/>
              <a:cxnLst/>
              <a:rect l="l" t="t" r="r" b="b"/>
              <a:pathLst>
                <a:path w="1769" h="1830" extrusionOk="0">
                  <a:moveTo>
                    <a:pt x="184" y="0"/>
                  </a:moveTo>
                  <a:lnTo>
                    <a:pt x="1" y="732"/>
                  </a:lnTo>
                  <a:lnTo>
                    <a:pt x="489" y="915"/>
                  </a:lnTo>
                  <a:lnTo>
                    <a:pt x="915" y="1159"/>
                  </a:lnTo>
                  <a:lnTo>
                    <a:pt x="1342" y="1463"/>
                  </a:lnTo>
                  <a:lnTo>
                    <a:pt x="1769" y="1829"/>
                  </a:lnTo>
                  <a:lnTo>
                    <a:pt x="1647" y="1646"/>
                  </a:lnTo>
                  <a:lnTo>
                    <a:pt x="1342" y="1220"/>
                  </a:lnTo>
                  <a:lnTo>
                    <a:pt x="854" y="610"/>
                  </a:lnTo>
                  <a:lnTo>
                    <a:pt x="550" y="305"/>
                  </a:lnTo>
                  <a:lnTo>
                    <a:pt x="184" y="0"/>
                  </a:lnTo>
                  <a:close/>
                </a:path>
              </a:pathLst>
            </a:custGeom>
            <a:solidFill>
              <a:srgbClr val="52873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278" name="Google Shape;1278;p16"/>
          <p:cNvGrpSpPr/>
          <p:nvPr/>
        </p:nvGrpSpPr>
        <p:grpSpPr>
          <a:xfrm>
            <a:off x="4376978" y="3098400"/>
            <a:ext cx="855209" cy="872427"/>
            <a:chOff x="1395050" y="238125"/>
            <a:chExt cx="4829875" cy="5238750"/>
          </a:xfrm>
        </p:grpSpPr>
        <p:sp>
          <p:nvSpPr>
            <p:cNvPr id="1279" name="Google Shape;1279;p16"/>
            <p:cNvSpPr/>
            <p:nvPr/>
          </p:nvSpPr>
          <p:spPr>
            <a:xfrm>
              <a:off x="3036375" y="3108975"/>
              <a:ext cx="247100" cy="158875"/>
            </a:xfrm>
            <a:custGeom>
              <a:avLst/>
              <a:gdLst/>
              <a:ahLst/>
              <a:cxnLst/>
              <a:rect l="l" t="t" r="r" b="b"/>
              <a:pathLst>
                <a:path w="9884" h="6355" extrusionOk="0">
                  <a:moveTo>
                    <a:pt x="8589" y="1"/>
                  </a:moveTo>
                  <a:lnTo>
                    <a:pt x="7295" y="354"/>
                  </a:lnTo>
                  <a:lnTo>
                    <a:pt x="6236" y="707"/>
                  </a:lnTo>
                  <a:lnTo>
                    <a:pt x="5295" y="1177"/>
                  </a:lnTo>
                  <a:lnTo>
                    <a:pt x="4589" y="1530"/>
                  </a:lnTo>
                  <a:lnTo>
                    <a:pt x="4001" y="1883"/>
                  </a:lnTo>
                  <a:lnTo>
                    <a:pt x="3412" y="2001"/>
                  </a:lnTo>
                  <a:lnTo>
                    <a:pt x="2354" y="2119"/>
                  </a:lnTo>
                  <a:lnTo>
                    <a:pt x="1412" y="2236"/>
                  </a:lnTo>
                  <a:lnTo>
                    <a:pt x="589" y="2589"/>
                  </a:lnTo>
                  <a:lnTo>
                    <a:pt x="118" y="2825"/>
                  </a:lnTo>
                  <a:lnTo>
                    <a:pt x="0" y="3060"/>
                  </a:lnTo>
                  <a:lnTo>
                    <a:pt x="0" y="3531"/>
                  </a:lnTo>
                  <a:lnTo>
                    <a:pt x="236" y="4707"/>
                  </a:lnTo>
                  <a:lnTo>
                    <a:pt x="824" y="6354"/>
                  </a:lnTo>
                  <a:lnTo>
                    <a:pt x="2118" y="6001"/>
                  </a:lnTo>
                  <a:lnTo>
                    <a:pt x="2942" y="5766"/>
                  </a:lnTo>
                  <a:lnTo>
                    <a:pt x="3765" y="5413"/>
                  </a:lnTo>
                  <a:lnTo>
                    <a:pt x="5295" y="4825"/>
                  </a:lnTo>
                  <a:lnTo>
                    <a:pt x="6001" y="4590"/>
                  </a:lnTo>
                  <a:lnTo>
                    <a:pt x="6825" y="4590"/>
                  </a:lnTo>
                  <a:lnTo>
                    <a:pt x="7413" y="4472"/>
                  </a:lnTo>
                  <a:lnTo>
                    <a:pt x="8354" y="4119"/>
                  </a:lnTo>
                  <a:lnTo>
                    <a:pt x="9178" y="3648"/>
                  </a:lnTo>
                  <a:lnTo>
                    <a:pt x="9648" y="3178"/>
                  </a:lnTo>
                  <a:lnTo>
                    <a:pt x="9766" y="2825"/>
                  </a:lnTo>
                  <a:lnTo>
                    <a:pt x="9884" y="2354"/>
                  </a:lnTo>
                  <a:lnTo>
                    <a:pt x="9766" y="1295"/>
                  </a:lnTo>
                  <a:lnTo>
                    <a:pt x="9531" y="707"/>
                  </a:lnTo>
                  <a:lnTo>
                    <a:pt x="9295" y="236"/>
                  </a:lnTo>
                  <a:lnTo>
                    <a:pt x="9060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80" name="Google Shape;1280;p16"/>
            <p:cNvSpPr/>
            <p:nvPr/>
          </p:nvSpPr>
          <p:spPr>
            <a:xfrm>
              <a:off x="2198050" y="2806000"/>
              <a:ext cx="164750" cy="276525"/>
            </a:xfrm>
            <a:custGeom>
              <a:avLst/>
              <a:gdLst/>
              <a:ahLst/>
              <a:cxnLst/>
              <a:rect l="l" t="t" r="r" b="b"/>
              <a:pathLst>
                <a:path w="6590" h="11061" extrusionOk="0">
                  <a:moveTo>
                    <a:pt x="4236" y="1"/>
                  </a:moveTo>
                  <a:lnTo>
                    <a:pt x="3883" y="354"/>
                  </a:lnTo>
                  <a:lnTo>
                    <a:pt x="3178" y="942"/>
                  </a:lnTo>
                  <a:lnTo>
                    <a:pt x="2472" y="2001"/>
                  </a:lnTo>
                  <a:lnTo>
                    <a:pt x="2119" y="2472"/>
                  </a:lnTo>
                  <a:lnTo>
                    <a:pt x="2001" y="3178"/>
                  </a:lnTo>
                  <a:lnTo>
                    <a:pt x="1530" y="4472"/>
                  </a:lnTo>
                  <a:lnTo>
                    <a:pt x="824" y="6355"/>
                  </a:lnTo>
                  <a:lnTo>
                    <a:pt x="236" y="8119"/>
                  </a:lnTo>
                  <a:lnTo>
                    <a:pt x="118" y="8943"/>
                  </a:lnTo>
                  <a:lnTo>
                    <a:pt x="1" y="9649"/>
                  </a:lnTo>
                  <a:lnTo>
                    <a:pt x="3530" y="10590"/>
                  </a:lnTo>
                  <a:lnTo>
                    <a:pt x="5295" y="11061"/>
                  </a:lnTo>
                  <a:lnTo>
                    <a:pt x="6237" y="11061"/>
                  </a:lnTo>
                  <a:lnTo>
                    <a:pt x="6472" y="10943"/>
                  </a:lnTo>
                  <a:lnTo>
                    <a:pt x="6590" y="10826"/>
                  </a:lnTo>
                  <a:lnTo>
                    <a:pt x="6472" y="10708"/>
                  </a:lnTo>
                  <a:lnTo>
                    <a:pt x="6001" y="9884"/>
                  </a:lnTo>
                  <a:lnTo>
                    <a:pt x="5884" y="9061"/>
                  </a:lnTo>
                  <a:lnTo>
                    <a:pt x="5766" y="8355"/>
                  </a:lnTo>
                  <a:lnTo>
                    <a:pt x="5531" y="7766"/>
                  </a:lnTo>
                  <a:lnTo>
                    <a:pt x="5413" y="7296"/>
                  </a:lnTo>
                  <a:lnTo>
                    <a:pt x="5295" y="6590"/>
                  </a:lnTo>
                  <a:lnTo>
                    <a:pt x="5295" y="5296"/>
                  </a:lnTo>
                  <a:lnTo>
                    <a:pt x="5413" y="3648"/>
                  </a:lnTo>
                  <a:lnTo>
                    <a:pt x="5413" y="3413"/>
                  </a:lnTo>
                  <a:lnTo>
                    <a:pt x="4236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81" name="Google Shape;1281;p16"/>
            <p:cNvSpPr/>
            <p:nvPr/>
          </p:nvSpPr>
          <p:spPr>
            <a:xfrm>
              <a:off x="2198050" y="2806000"/>
              <a:ext cx="164750" cy="276525"/>
            </a:xfrm>
            <a:custGeom>
              <a:avLst/>
              <a:gdLst/>
              <a:ahLst/>
              <a:cxnLst/>
              <a:rect l="l" t="t" r="r" b="b"/>
              <a:pathLst>
                <a:path w="6590" h="11061" fill="none" extrusionOk="0">
                  <a:moveTo>
                    <a:pt x="3530" y="10590"/>
                  </a:moveTo>
                  <a:lnTo>
                    <a:pt x="1" y="9649"/>
                  </a:lnTo>
                  <a:lnTo>
                    <a:pt x="1" y="9649"/>
                  </a:lnTo>
                  <a:lnTo>
                    <a:pt x="118" y="8943"/>
                  </a:lnTo>
                  <a:lnTo>
                    <a:pt x="236" y="8119"/>
                  </a:lnTo>
                  <a:lnTo>
                    <a:pt x="824" y="6355"/>
                  </a:lnTo>
                  <a:lnTo>
                    <a:pt x="1530" y="4472"/>
                  </a:lnTo>
                  <a:lnTo>
                    <a:pt x="2001" y="3178"/>
                  </a:lnTo>
                  <a:lnTo>
                    <a:pt x="2001" y="3178"/>
                  </a:lnTo>
                  <a:lnTo>
                    <a:pt x="2119" y="2472"/>
                  </a:lnTo>
                  <a:lnTo>
                    <a:pt x="2472" y="2001"/>
                  </a:lnTo>
                  <a:lnTo>
                    <a:pt x="3178" y="942"/>
                  </a:lnTo>
                  <a:lnTo>
                    <a:pt x="3883" y="354"/>
                  </a:lnTo>
                  <a:lnTo>
                    <a:pt x="4236" y="1"/>
                  </a:lnTo>
                  <a:lnTo>
                    <a:pt x="5413" y="3413"/>
                  </a:lnTo>
                  <a:lnTo>
                    <a:pt x="5413" y="3648"/>
                  </a:lnTo>
                  <a:lnTo>
                    <a:pt x="5413" y="3648"/>
                  </a:lnTo>
                  <a:lnTo>
                    <a:pt x="5295" y="5296"/>
                  </a:lnTo>
                  <a:lnTo>
                    <a:pt x="5295" y="6590"/>
                  </a:lnTo>
                  <a:lnTo>
                    <a:pt x="5413" y="7296"/>
                  </a:lnTo>
                  <a:lnTo>
                    <a:pt x="5531" y="7766"/>
                  </a:lnTo>
                  <a:lnTo>
                    <a:pt x="5531" y="7766"/>
                  </a:lnTo>
                  <a:lnTo>
                    <a:pt x="5766" y="8355"/>
                  </a:lnTo>
                  <a:lnTo>
                    <a:pt x="5884" y="9061"/>
                  </a:lnTo>
                  <a:lnTo>
                    <a:pt x="6001" y="9884"/>
                  </a:lnTo>
                  <a:lnTo>
                    <a:pt x="6472" y="10708"/>
                  </a:lnTo>
                  <a:lnTo>
                    <a:pt x="6472" y="10708"/>
                  </a:lnTo>
                  <a:lnTo>
                    <a:pt x="6590" y="10826"/>
                  </a:lnTo>
                  <a:lnTo>
                    <a:pt x="6472" y="10943"/>
                  </a:lnTo>
                  <a:lnTo>
                    <a:pt x="6237" y="11061"/>
                  </a:lnTo>
                  <a:lnTo>
                    <a:pt x="5766" y="11061"/>
                  </a:lnTo>
                  <a:lnTo>
                    <a:pt x="5295" y="11061"/>
                  </a:lnTo>
                  <a:lnTo>
                    <a:pt x="3530" y="1059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82" name="Google Shape;1282;p16"/>
            <p:cNvSpPr/>
            <p:nvPr/>
          </p:nvSpPr>
          <p:spPr>
            <a:xfrm>
              <a:off x="2330425" y="2911900"/>
              <a:ext cx="2975" cy="73575"/>
            </a:xfrm>
            <a:custGeom>
              <a:avLst/>
              <a:gdLst/>
              <a:ahLst/>
              <a:cxnLst/>
              <a:rect l="l" t="t" r="r" b="b"/>
              <a:pathLst>
                <a:path w="119" h="2943" extrusionOk="0">
                  <a:moveTo>
                    <a:pt x="118" y="2942"/>
                  </a:moveTo>
                  <a:lnTo>
                    <a:pt x="118" y="2942"/>
                  </a:lnTo>
                  <a:lnTo>
                    <a:pt x="118" y="2942"/>
                  </a:lnTo>
                  <a:lnTo>
                    <a:pt x="118" y="2942"/>
                  </a:lnTo>
                  <a:lnTo>
                    <a:pt x="118" y="2942"/>
                  </a:lnTo>
                  <a:lnTo>
                    <a:pt x="118" y="2942"/>
                  </a:lnTo>
                  <a:lnTo>
                    <a:pt x="118" y="2942"/>
                  </a:lnTo>
                  <a:close/>
                  <a:moveTo>
                    <a:pt x="0" y="1"/>
                  </a:moveTo>
                  <a:lnTo>
                    <a:pt x="0" y="1"/>
                  </a:lnTo>
                  <a:lnTo>
                    <a:pt x="0" y="1530"/>
                  </a:lnTo>
                  <a:lnTo>
                    <a:pt x="0" y="1530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5D2D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83" name="Google Shape;1283;p16"/>
            <p:cNvSpPr/>
            <p:nvPr/>
          </p:nvSpPr>
          <p:spPr>
            <a:xfrm>
              <a:off x="2333375" y="29854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84" name="Google Shape;1284;p16"/>
            <p:cNvSpPr/>
            <p:nvPr/>
          </p:nvSpPr>
          <p:spPr>
            <a:xfrm>
              <a:off x="2330425" y="2911900"/>
              <a:ext cx="25" cy="38275"/>
            </a:xfrm>
            <a:custGeom>
              <a:avLst/>
              <a:gdLst/>
              <a:ahLst/>
              <a:cxnLst/>
              <a:rect l="l" t="t" r="r" b="b"/>
              <a:pathLst>
                <a:path w="1" h="153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530"/>
                  </a:lnTo>
                  <a:lnTo>
                    <a:pt x="0" y="1530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85" name="Google Shape;1285;p16"/>
            <p:cNvSpPr/>
            <p:nvPr/>
          </p:nvSpPr>
          <p:spPr>
            <a:xfrm>
              <a:off x="2259825" y="2900150"/>
              <a:ext cx="73575" cy="91200"/>
            </a:xfrm>
            <a:custGeom>
              <a:avLst/>
              <a:gdLst/>
              <a:ahLst/>
              <a:cxnLst/>
              <a:rect l="l" t="t" r="r" b="b"/>
              <a:pathLst>
                <a:path w="2943" h="3648" extrusionOk="0">
                  <a:moveTo>
                    <a:pt x="1765" y="0"/>
                  </a:moveTo>
                  <a:lnTo>
                    <a:pt x="1059" y="471"/>
                  </a:lnTo>
                  <a:lnTo>
                    <a:pt x="118" y="1294"/>
                  </a:lnTo>
                  <a:lnTo>
                    <a:pt x="1" y="1530"/>
                  </a:lnTo>
                  <a:lnTo>
                    <a:pt x="1" y="1883"/>
                  </a:lnTo>
                  <a:lnTo>
                    <a:pt x="118" y="2236"/>
                  </a:lnTo>
                  <a:lnTo>
                    <a:pt x="236" y="2706"/>
                  </a:lnTo>
                  <a:lnTo>
                    <a:pt x="589" y="3059"/>
                  </a:lnTo>
                  <a:lnTo>
                    <a:pt x="942" y="3294"/>
                  </a:lnTo>
                  <a:lnTo>
                    <a:pt x="1412" y="3530"/>
                  </a:lnTo>
                  <a:lnTo>
                    <a:pt x="1883" y="3647"/>
                  </a:lnTo>
                  <a:lnTo>
                    <a:pt x="2471" y="3530"/>
                  </a:lnTo>
                  <a:lnTo>
                    <a:pt x="2942" y="3412"/>
                  </a:lnTo>
                  <a:lnTo>
                    <a:pt x="2824" y="2706"/>
                  </a:lnTo>
                  <a:lnTo>
                    <a:pt x="2824" y="2000"/>
                  </a:lnTo>
                  <a:lnTo>
                    <a:pt x="2824" y="471"/>
                  </a:lnTo>
                  <a:lnTo>
                    <a:pt x="1765" y="0"/>
                  </a:lnTo>
                  <a:close/>
                </a:path>
              </a:pathLst>
            </a:custGeom>
            <a:solidFill>
              <a:srgbClr val="CA919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86" name="Google Shape;1286;p16"/>
            <p:cNvSpPr/>
            <p:nvPr/>
          </p:nvSpPr>
          <p:spPr>
            <a:xfrm>
              <a:off x="2259825" y="2900150"/>
              <a:ext cx="73575" cy="91200"/>
            </a:xfrm>
            <a:custGeom>
              <a:avLst/>
              <a:gdLst/>
              <a:ahLst/>
              <a:cxnLst/>
              <a:rect l="l" t="t" r="r" b="b"/>
              <a:pathLst>
                <a:path w="2943" h="3648" fill="none" extrusionOk="0">
                  <a:moveTo>
                    <a:pt x="1765" y="0"/>
                  </a:moveTo>
                  <a:lnTo>
                    <a:pt x="1765" y="0"/>
                  </a:lnTo>
                  <a:lnTo>
                    <a:pt x="1059" y="471"/>
                  </a:lnTo>
                  <a:lnTo>
                    <a:pt x="118" y="1294"/>
                  </a:lnTo>
                  <a:lnTo>
                    <a:pt x="118" y="1294"/>
                  </a:lnTo>
                  <a:lnTo>
                    <a:pt x="1" y="1530"/>
                  </a:lnTo>
                  <a:lnTo>
                    <a:pt x="1" y="1883"/>
                  </a:lnTo>
                  <a:lnTo>
                    <a:pt x="118" y="2236"/>
                  </a:lnTo>
                  <a:lnTo>
                    <a:pt x="236" y="2706"/>
                  </a:lnTo>
                  <a:lnTo>
                    <a:pt x="589" y="3059"/>
                  </a:lnTo>
                  <a:lnTo>
                    <a:pt x="942" y="3294"/>
                  </a:lnTo>
                  <a:lnTo>
                    <a:pt x="1412" y="3530"/>
                  </a:lnTo>
                  <a:lnTo>
                    <a:pt x="1883" y="3647"/>
                  </a:lnTo>
                  <a:lnTo>
                    <a:pt x="1883" y="3647"/>
                  </a:lnTo>
                  <a:lnTo>
                    <a:pt x="2471" y="3530"/>
                  </a:lnTo>
                  <a:lnTo>
                    <a:pt x="2942" y="3412"/>
                  </a:lnTo>
                  <a:lnTo>
                    <a:pt x="2942" y="3412"/>
                  </a:lnTo>
                  <a:lnTo>
                    <a:pt x="2942" y="3412"/>
                  </a:lnTo>
                  <a:lnTo>
                    <a:pt x="2942" y="3412"/>
                  </a:lnTo>
                  <a:lnTo>
                    <a:pt x="2824" y="2706"/>
                  </a:lnTo>
                  <a:lnTo>
                    <a:pt x="2824" y="2000"/>
                  </a:lnTo>
                  <a:lnTo>
                    <a:pt x="2824" y="2000"/>
                  </a:lnTo>
                  <a:lnTo>
                    <a:pt x="2824" y="471"/>
                  </a:lnTo>
                  <a:lnTo>
                    <a:pt x="176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87" name="Google Shape;1287;p16"/>
            <p:cNvSpPr/>
            <p:nvPr/>
          </p:nvSpPr>
          <p:spPr>
            <a:xfrm>
              <a:off x="2245125" y="2794250"/>
              <a:ext cx="144150" cy="161800"/>
            </a:xfrm>
            <a:custGeom>
              <a:avLst/>
              <a:gdLst/>
              <a:ahLst/>
              <a:cxnLst/>
              <a:rect l="l" t="t" r="r" b="b"/>
              <a:pathLst>
                <a:path w="5766" h="6472" extrusionOk="0">
                  <a:moveTo>
                    <a:pt x="118" y="0"/>
                  </a:moveTo>
                  <a:lnTo>
                    <a:pt x="0" y="1530"/>
                  </a:lnTo>
                  <a:lnTo>
                    <a:pt x="0" y="2942"/>
                  </a:lnTo>
                  <a:lnTo>
                    <a:pt x="236" y="4001"/>
                  </a:lnTo>
                  <a:lnTo>
                    <a:pt x="353" y="4471"/>
                  </a:lnTo>
                  <a:lnTo>
                    <a:pt x="706" y="4824"/>
                  </a:lnTo>
                  <a:lnTo>
                    <a:pt x="1177" y="5295"/>
                  </a:lnTo>
                  <a:lnTo>
                    <a:pt x="1765" y="5648"/>
                  </a:lnTo>
                  <a:lnTo>
                    <a:pt x="2471" y="6001"/>
                  </a:lnTo>
                  <a:lnTo>
                    <a:pt x="3177" y="6236"/>
                  </a:lnTo>
                  <a:lnTo>
                    <a:pt x="3883" y="6472"/>
                  </a:lnTo>
                  <a:lnTo>
                    <a:pt x="4707" y="6472"/>
                  </a:lnTo>
                  <a:lnTo>
                    <a:pt x="4942" y="6354"/>
                  </a:lnTo>
                  <a:lnTo>
                    <a:pt x="5060" y="6001"/>
                  </a:lnTo>
                  <a:lnTo>
                    <a:pt x="5060" y="5177"/>
                  </a:lnTo>
                  <a:lnTo>
                    <a:pt x="5060" y="4236"/>
                  </a:lnTo>
                  <a:lnTo>
                    <a:pt x="5177" y="3883"/>
                  </a:lnTo>
                  <a:lnTo>
                    <a:pt x="5413" y="3765"/>
                  </a:lnTo>
                  <a:lnTo>
                    <a:pt x="5648" y="3765"/>
                  </a:lnTo>
                  <a:lnTo>
                    <a:pt x="5766" y="3648"/>
                  </a:lnTo>
                  <a:lnTo>
                    <a:pt x="5766" y="3412"/>
                  </a:lnTo>
                  <a:lnTo>
                    <a:pt x="5766" y="3059"/>
                  </a:lnTo>
                  <a:lnTo>
                    <a:pt x="5413" y="1883"/>
                  </a:lnTo>
                  <a:lnTo>
                    <a:pt x="5295" y="1059"/>
                  </a:lnTo>
                  <a:lnTo>
                    <a:pt x="5177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88" name="Google Shape;1288;p16"/>
            <p:cNvSpPr/>
            <p:nvPr/>
          </p:nvSpPr>
          <p:spPr>
            <a:xfrm>
              <a:off x="2189225" y="2714825"/>
              <a:ext cx="211825" cy="182400"/>
            </a:xfrm>
            <a:custGeom>
              <a:avLst/>
              <a:gdLst/>
              <a:ahLst/>
              <a:cxnLst/>
              <a:rect l="l" t="t" r="r" b="b"/>
              <a:pathLst>
                <a:path w="8473" h="7296" extrusionOk="0">
                  <a:moveTo>
                    <a:pt x="4942" y="1"/>
                  </a:moveTo>
                  <a:lnTo>
                    <a:pt x="4472" y="118"/>
                  </a:lnTo>
                  <a:lnTo>
                    <a:pt x="4236" y="354"/>
                  </a:lnTo>
                  <a:lnTo>
                    <a:pt x="3883" y="471"/>
                  </a:lnTo>
                  <a:lnTo>
                    <a:pt x="3531" y="589"/>
                  </a:lnTo>
                  <a:lnTo>
                    <a:pt x="3178" y="471"/>
                  </a:lnTo>
                  <a:lnTo>
                    <a:pt x="2589" y="354"/>
                  </a:lnTo>
                  <a:lnTo>
                    <a:pt x="2119" y="236"/>
                  </a:lnTo>
                  <a:lnTo>
                    <a:pt x="1883" y="236"/>
                  </a:lnTo>
                  <a:lnTo>
                    <a:pt x="1530" y="471"/>
                  </a:lnTo>
                  <a:lnTo>
                    <a:pt x="1177" y="824"/>
                  </a:lnTo>
                  <a:lnTo>
                    <a:pt x="942" y="1177"/>
                  </a:lnTo>
                  <a:lnTo>
                    <a:pt x="824" y="1648"/>
                  </a:lnTo>
                  <a:lnTo>
                    <a:pt x="824" y="2001"/>
                  </a:lnTo>
                  <a:lnTo>
                    <a:pt x="707" y="2942"/>
                  </a:lnTo>
                  <a:lnTo>
                    <a:pt x="589" y="3295"/>
                  </a:lnTo>
                  <a:lnTo>
                    <a:pt x="236" y="3766"/>
                  </a:lnTo>
                  <a:lnTo>
                    <a:pt x="118" y="4001"/>
                  </a:lnTo>
                  <a:lnTo>
                    <a:pt x="1" y="4236"/>
                  </a:lnTo>
                  <a:lnTo>
                    <a:pt x="1" y="4825"/>
                  </a:lnTo>
                  <a:lnTo>
                    <a:pt x="236" y="5531"/>
                  </a:lnTo>
                  <a:lnTo>
                    <a:pt x="589" y="6119"/>
                  </a:lnTo>
                  <a:lnTo>
                    <a:pt x="1060" y="6707"/>
                  </a:lnTo>
                  <a:lnTo>
                    <a:pt x="1530" y="7060"/>
                  </a:lnTo>
                  <a:lnTo>
                    <a:pt x="1883" y="7295"/>
                  </a:lnTo>
                  <a:lnTo>
                    <a:pt x="2119" y="7295"/>
                  </a:lnTo>
                  <a:lnTo>
                    <a:pt x="2236" y="7178"/>
                  </a:lnTo>
                  <a:lnTo>
                    <a:pt x="2236" y="6942"/>
                  </a:lnTo>
                  <a:lnTo>
                    <a:pt x="2236" y="6354"/>
                  </a:lnTo>
                  <a:lnTo>
                    <a:pt x="2236" y="5766"/>
                  </a:lnTo>
                  <a:lnTo>
                    <a:pt x="2236" y="5531"/>
                  </a:lnTo>
                  <a:lnTo>
                    <a:pt x="2354" y="5413"/>
                  </a:lnTo>
                  <a:lnTo>
                    <a:pt x="2707" y="5178"/>
                  </a:lnTo>
                  <a:lnTo>
                    <a:pt x="2942" y="5295"/>
                  </a:lnTo>
                  <a:lnTo>
                    <a:pt x="3531" y="5883"/>
                  </a:lnTo>
                  <a:lnTo>
                    <a:pt x="4001" y="6236"/>
                  </a:lnTo>
                  <a:lnTo>
                    <a:pt x="4472" y="6236"/>
                  </a:lnTo>
                  <a:lnTo>
                    <a:pt x="4589" y="6001"/>
                  </a:lnTo>
                  <a:lnTo>
                    <a:pt x="4589" y="5766"/>
                  </a:lnTo>
                  <a:lnTo>
                    <a:pt x="4354" y="5531"/>
                  </a:lnTo>
                  <a:lnTo>
                    <a:pt x="4119" y="4942"/>
                  </a:lnTo>
                  <a:lnTo>
                    <a:pt x="4119" y="4707"/>
                  </a:lnTo>
                  <a:lnTo>
                    <a:pt x="4119" y="4589"/>
                  </a:lnTo>
                  <a:lnTo>
                    <a:pt x="4472" y="4472"/>
                  </a:lnTo>
                  <a:lnTo>
                    <a:pt x="4825" y="4472"/>
                  </a:lnTo>
                  <a:lnTo>
                    <a:pt x="5531" y="4589"/>
                  </a:lnTo>
                  <a:lnTo>
                    <a:pt x="5766" y="4589"/>
                  </a:lnTo>
                  <a:lnTo>
                    <a:pt x="6001" y="4472"/>
                  </a:lnTo>
                  <a:lnTo>
                    <a:pt x="6119" y="4354"/>
                  </a:lnTo>
                  <a:lnTo>
                    <a:pt x="6237" y="4236"/>
                  </a:lnTo>
                  <a:lnTo>
                    <a:pt x="6119" y="3883"/>
                  </a:lnTo>
                  <a:lnTo>
                    <a:pt x="6237" y="3648"/>
                  </a:lnTo>
                  <a:lnTo>
                    <a:pt x="6354" y="3530"/>
                  </a:lnTo>
                  <a:lnTo>
                    <a:pt x="6590" y="3413"/>
                  </a:lnTo>
                  <a:lnTo>
                    <a:pt x="7296" y="3295"/>
                  </a:lnTo>
                  <a:lnTo>
                    <a:pt x="7884" y="3177"/>
                  </a:lnTo>
                  <a:lnTo>
                    <a:pt x="8119" y="2942"/>
                  </a:lnTo>
                  <a:lnTo>
                    <a:pt x="8354" y="2824"/>
                  </a:lnTo>
                  <a:lnTo>
                    <a:pt x="8472" y="2471"/>
                  </a:lnTo>
                  <a:lnTo>
                    <a:pt x="8472" y="2118"/>
                  </a:lnTo>
                  <a:lnTo>
                    <a:pt x="8472" y="1648"/>
                  </a:lnTo>
                  <a:lnTo>
                    <a:pt x="8354" y="1295"/>
                  </a:lnTo>
                  <a:lnTo>
                    <a:pt x="8237" y="1059"/>
                  </a:lnTo>
                  <a:lnTo>
                    <a:pt x="7884" y="942"/>
                  </a:lnTo>
                  <a:lnTo>
                    <a:pt x="7296" y="942"/>
                  </a:lnTo>
                  <a:lnTo>
                    <a:pt x="6590" y="1059"/>
                  </a:lnTo>
                  <a:lnTo>
                    <a:pt x="6472" y="1059"/>
                  </a:lnTo>
                  <a:lnTo>
                    <a:pt x="6237" y="942"/>
                  </a:lnTo>
                  <a:lnTo>
                    <a:pt x="6001" y="589"/>
                  </a:lnTo>
                  <a:lnTo>
                    <a:pt x="5531" y="236"/>
                  </a:lnTo>
                  <a:lnTo>
                    <a:pt x="5295" y="118"/>
                  </a:lnTo>
                  <a:lnTo>
                    <a:pt x="4942" y="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89" name="Google Shape;1289;p16"/>
            <p:cNvSpPr/>
            <p:nvPr/>
          </p:nvSpPr>
          <p:spPr>
            <a:xfrm>
              <a:off x="2418675" y="5173900"/>
              <a:ext cx="108850" cy="200025"/>
            </a:xfrm>
            <a:custGeom>
              <a:avLst/>
              <a:gdLst/>
              <a:ahLst/>
              <a:cxnLst/>
              <a:rect l="l" t="t" r="r" b="b"/>
              <a:pathLst>
                <a:path w="4354" h="8001" extrusionOk="0">
                  <a:moveTo>
                    <a:pt x="0" y="0"/>
                  </a:moveTo>
                  <a:lnTo>
                    <a:pt x="235" y="6001"/>
                  </a:lnTo>
                  <a:lnTo>
                    <a:pt x="3059" y="8001"/>
                  </a:lnTo>
                  <a:lnTo>
                    <a:pt x="4353" y="5765"/>
                  </a:lnTo>
                  <a:lnTo>
                    <a:pt x="4353" y="4236"/>
                  </a:lnTo>
                  <a:lnTo>
                    <a:pt x="4353" y="2353"/>
                  </a:lnTo>
                  <a:lnTo>
                    <a:pt x="4353" y="1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0" name="Google Shape;1290;p16"/>
            <p:cNvSpPr/>
            <p:nvPr/>
          </p:nvSpPr>
          <p:spPr>
            <a:xfrm>
              <a:off x="2409850" y="5279775"/>
              <a:ext cx="326525" cy="144175"/>
            </a:xfrm>
            <a:custGeom>
              <a:avLst/>
              <a:gdLst/>
              <a:ahLst/>
              <a:cxnLst/>
              <a:rect l="l" t="t" r="r" b="b"/>
              <a:pathLst>
                <a:path w="13061" h="5767" extrusionOk="0">
                  <a:moveTo>
                    <a:pt x="471" y="1"/>
                  </a:moveTo>
                  <a:lnTo>
                    <a:pt x="235" y="236"/>
                  </a:lnTo>
                  <a:lnTo>
                    <a:pt x="118" y="589"/>
                  </a:lnTo>
                  <a:lnTo>
                    <a:pt x="0" y="2001"/>
                  </a:lnTo>
                  <a:lnTo>
                    <a:pt x="0" y="3648"/>
                  </a:lnTo>
                  <a:lnTo>
                    <a:pt x="235" y="5060"/>
                  </a:lnTo>
                  <a:lnTo>
                    <a:pt x="353" y="5296"/>
                  </a:lnTo>
                  <a:lnTo>
                    <a:pt x="588" y="5531"/>
                  </a:lnTo>
                  <a:lnTo>
                    <a:pt x="941" y="5648"/>
                  </a:lnTo>
                  <a:lnTo>
                    <a:pt x="1177" y="5766"/>
                  </a:lnTo>
                  <a:lnTo>
                    <a:pt x="11531" y="5766"/>
                  </a:lnTo>
                  <a:lnTo>
                    <a:pt x="12237" y="5648"/>
                  </a:lnTo>
                  <a:lnTo>
                    <a:pt x="12707" y="5413"/>
                  </a:lnTo>
                  <a:lnTo>
                    <a:pt x="12943" y="5060"/>
                  </a:lnTo>
                  <a:lnTo>
                    <a:pt x="13060" y="4590"/>
                  </a:lnTo>
                  <a:lnTo>
                    <a:pt x="12943" y="4237"/>
                  </a:lnTo>
                  <a:lnTo>
                    <a:pt x="12825" y="3884"/>
                  </a:lnTo>
                  <a:lnTo>
                    <a:pt x="12707" y="3531"/>
                  </a:lnTo>
                  <a:lnTo>
                    <a:pt x="12590" y="3413"/>
                  </a:lnTo>
                  <a:lnTo>
                    <a:pt x="11295" y="3295"/>
                  </a:lnTo>
                  <a:lnTo>
                    <a:pt x="9295" y="3060"/>
                  </a:lnTo>
                  <a:lnTo>
                    <a:pt x="8236" y="2825"/>
                  </a:lnTo>
                  <a:lnTo>
                    <a:pt x="7413" y="2472"/>
                  </a:lnTo>
                  <a:lnTo>
                    <a:pt x="6707" y="2119"/>
                  </a:lnTo>
                  <a:lnTo>
                    <a:pt x="6471" y="1883"/>
                  </a:lnTo>
                  <a:lnTo>
                    <a:pt x="6354" y="1648"/>
                  </a:lnTo>
                  <a:lnTo>
                    <a:pt x="6118" y="1060"/>
                  </a:lnTo>
                  <a:lnTo>
                    <a:pt x="5765" y="589"/>
                  </a:lnTo>
                  <a:lnTo>
                    <a:pt x="5412" y="236"/>
                  </a:lnTo>
                  <a:lnTo>
                    <a:pt x="5177" y="119"/>
                  </a:lnTo>
                  <a:lnTo>
                    <a:pt x="5059" y="236"/>
                  </a:lnTo>
                  <a:lnTo>
                    <a:pt x="4471" y="472"/>
                  </a:lnTo>
                  <a:lnTo>
                    <a:pt x="3765" y="707"/>
                  </a:lnTo>
                  <a:lnTo>
                    <a:pt x="3177" y="707"/>
                  </a:lnTo>
                  <a:lnTo>
                    <a:pt x="2471" y="589"/>
                  </a:lnTo>
                  <a:lnTo>
                    <a:pt x="1294" y="236"/>
                  </a:lnTo>
                  <a:lnTo>
                    <a:pt x="471" y="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1" name="Google Shape;1291;p16"/>
            <p:cNvSpPr/>
            <p:nvPr/>
          </p:nvSpPr>
          <p:spPr>
            <a:xfrm>
              <a:off x="1995100" y="5173900"/>
              <a:ext cx="111800" cy="200025"/>
            </a:xfrm>
            <a:custGeom>
              <a:avLst/>
              <a:gdLst/>
              <a:ahLst/>
              <a:cxnLst/>
              <a:rect l="l" t="t" r="r" b="b"/>
              <a:pathLst>
                <a:path w="4472" h="8001" extrusionOk="0">
                  <a:moveTo>
                    <a:pt x="0" y="0"/>
                  </a:moveTo>
                  <a:lnTo>
                    <a:pt x="236" y="6001"/>
                  </a:lnTo>
                  <a:lnTo>
                    <a:pt x="3177" y="8001"/>
                  </a:lnTo>
                  <a:lnTo>
                    <a:pt x="4354" y="5765"/>
                  </a:lnTo>
                  <a:lnTo>
                    <a:pt x="4471" y="4236"/>
                  </a:lnTo>
                  <a:lnTo>
                    <a:pt x="4471" y="2353"/>
                  </a:lnTo>
                  <a:lnTo>
                    <a:pt x="4471" y="1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2" name="Google Shape;1292;p16"/>
            <p:cNvSpPr/>
            <p:nvPr/>
          </p:nvSpPr>
          <p:spPr>
            <a:xfrm>
              <a:off x="1986275" y="5265075"/>
              <a:ext cx="326525" cy="161800"/>
            </a:xfrm>
            <a:custGeom>
              <a:avLst/>
              <a:gdLst/>
              <a:ahLst/>
              <a:cxnLst/>
              <a:rect l="l" t="t" r="r" b="b"/>
              <a:pathLst>
                <a:path w="13061" h="6472" extrusionOk="0">
                  <a:moveTo>
                    <a:pt x="353" y="1"/>
                  </a:moveTo>
                  <a:lnTo>
                    <a:pt x="236" y="118"/>
                  </a:lnTo>
                  <a:lnTo>
                    <a:pt x="236" y="236"/>
                  </a:lnTo>
                  <a:lnTo>
                    <a:pt x="118" y="707"/>
                  </a:lnTo>
                  <a:lnTo>
                    <a:pt x="0" y="2236"/>
                  </a:lnTo>
                  <a:lnTo>
                    <a:pt x="118" y="4119"/>
                  </a:lnTo>
                  <a:lnTo>
                    <a:pt x="353" y="5648"/>
                  </a:lnTo>
                  <a:lnTo>
                    <a:pt x="471" y="5884"/>
                  </a:lnTo>
                  <a:lnTo>
                    <a:pt x="589" y="6119"/>
                  </a:lnTo>
                  <a:lnTo>
                    <a:pt x="942" y="6236"/>
                  </a:lnTo>
                  <a:lnTo>
                    <a:pt x="1177" y="6354"/>
                  </a:lnTo>
                  <a:lnTo>
                    <a:pt x="11531" y="6472"/>
                  </a:lnTo>
                  <a:lnTo>
                    <a:pt x="12237" y="6354"/>
                  </a:lnTo>
                  <a:lnTo>
                    <a:pt x="12707" y="6119"/>
                  </a:lnTo>
                  <a:lnTo>
                    <a:pt x="12943" y="5766"/>
                  </a:lnTo>
                  <a:lnTo>
                    <a:pt x="13060" y="5295"/>
                  </a:lnTo>
                  <a:lnTo>
                    <a:pt x="13060" y="4942"/>
                  </a:lnTo>
                  <a:lnTo>
                    <a:pt x="12943" y="4589"/>
                  </a:lnTo>
                  <a:lnTo>
                    <a:pt x="12707" y="4236"/>
                  </a:lnTo>
                  <a:lnTo>
                    <a:pt x="12590" y="4119"/>
                  </a:lnTo>
                  <a:lnTo>
                    <a:pt x="11178" y="3883"/>
                  </a:lnTo>
                  <a:lnTo>
                    <a:pt x="8942" y="3295"/>
                  </a:lnTo>
                  <a:lnTo>
                    <a:pt x="7883" y="2942"/>
                  </a:lnTo>
                  <a:lnTo>
                    <a:pt x="6825" y="2471"/>
                  </a:lnTo>
                  <a:lnTo>
                    <a:pt x="6119" y="2001"/>
                  </a:lnTo>
                  <a:lnTo>
                    <a:pt x="5883" y="1765"/>
                  </a:lnTo>
                  <a:lnTo>
                    <a:pt x="5766" y="1530"/>
                  </a:lnTo>
                  <a:lnTo>
                    <a:pt x="5648" y="707"/>
                  </a:lnTo>
                  <a:lnTo>
                    <a:pt x="5530" y="471"/>
                  </a:lnTo>
                  <a:lnTo>
                    <a:pt x="5177" y="354"/>
                  </a:lnTo>
                  <a:lnTo>
                    <a:pt x="2236" y="236"/>
                  </a:lnTo>
                  <a:lnTo>
                    <a:pt x="1177" y="118"/>
                  </a:lnTo>
                  <a:lnTo>
                    <a:pt x="353" y="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3" name="Google Shape;1293;p16"/>
            <p:cNvSpPr/>
            <p:nvPr/>
          </p:nvSpPr>
          <p:spPr>
            <a:xfrm>
              <a:off x="1945100" y="3632575"/>
              <a:ext cx="626550" cy="1638400"/>
            </a:xfrm>
            <a:custGeom>
              <a:avLst/>
              <a:gdLst/>
              <a:ahLst/>
              <a:cxnLst/>
              <a:rect l="l" t="t" r="r" b="b"/>
              <a:pathLst>
                <a:path w="25062" h="65536" extrusionOk="0">
                  <a:moveTo>
                    <a:pt x="6471" y="0"/>
                  </a:moveTo>
                  <a:lnTo>
                    <a:pt x="4824" y="235"/>
                  </a:lnTo>
                  <a:lnTo>
                    <a:pt x="3412" y="471"/>
                  </a:lnTo>
                  <a:lnTo>
                    <a:pt x="2236" y="941"/>
                  </a:lnTo>
                  <a:lnTo>
                    <a:pt x="1647" y="1294"/>
                  </a:lnTo>
                  <a:lnTo>
                    <a:pt x="1177" y="1647"/>
                  </a:lnTo>
                  <a:lnTo>
                    <a:pt x="824" y="2000"/>
                  </a:lnTo>
                  <a:lnTo>
                    <a:pt x="588" y="2471"/>
                  </a:lnTo>
                  <a:lnTo>
                    <a:pt x="353" y="2942"/>
                  </a:lnTo>
                  <a:lnTo>
                    <a:pt x="235" y="3530"/>
                  </a:lnTo>
                  <a:lnTo>
                    <a:pt x="118" y="5883"/>
                  </a:lnTo>
                  <a:lnTo>
                    <a:pt x="0" y="8707"/>
                  </a:lnTo>
                  <a:lnTo>
                    <a:pt x="0" y="11413"/>
                  </a:lnTo>
                  <a:lnTo>
                    <a:pt x="0" y="12943"/>
                  </a:lnTo>
                  <a:lnTo>
                    <a:pt x="118" y="14943"/>
                  </a:lnTo>
                  <a:lnTo>
                    <a:pt x="353" y="17296"/>
                  </a:lnTo>
                  <a:lnTo>
                    <a:pt x="706" y="20943"/>
                  </a:lnTo>
                  <a:lnTo>
                    <a:pt x="1059" y="26356"/>
                  </a:lnTo>
                  <a:lnTo>
                    <a:pt x="1294" y="32474"/>
                  </a:lnTo>
                  <a:lnTo>
                    <a:pt x="1294" y="35415"/>
                  </a:lnTo>
                  <a:lnTo>
                    <a:pt x="1294" y="38121"/>
                  </a:lnTo>
                  <a:lnTo>
                    <a:pt x="1294" y="44710"/>
                  </a:lnTo>
                  <a:lnTo>
                    <a:pt x="1412" y="52476"/>
                  </a:lnTo>
                  <a:lnTo>
                    <a:pt x="1765" y="63536"/>
                  </a:lnTo>
                  <a:lnTo>
                    <a:pt x="2471" y="63771"/>
                  </a:lnTo>
                  <a:lnTo>
                    <a:pt x="3177" y="64006"/>
                  </a:lnTo>
                  <a:lnTo>
                    <a:pt x="4589" y="64006"/>
                  </a:lnTo>
                  <a:lnTo>
                    <a:pt x="6118" y="63889"/>
                  </a:lnTo>
                  <a:lnTo>
                    <a:pt x="8001" y="63536"/>
                  </a:lnTo>
                  <a:lnTo>
                    <a:pt x="8354" y="55417"/>
                  </a:lnTo>
                  <a:lnTo>
                    <a:pt x="9177" y="38710"/>
                  </a:lnTo>
                  <a:lnTo>
                    <a:pt x="9530" y="33180"/>
                  </a:lnTo>
                  <a:lnTo>
                    <a:pt x="9883" y="29415"/>
                  </a:lnTo>
                  <a:lnTo>
                    <a:pt x="11531" y="18237"/>
                  </a:lnTo>
                  <a:lnTo>
                    <a:pt x="12590" y="21296"/>
                  </a:lnTo>
                  <a:lnTo>
                    <a:pt x="13648" y="24591"/>
                  </a:lnTo>
                  <a:lnTo>
                    <a:pt x="14943" y="28591"/>
                  </a:lnTo>
                  <a:lnTo>
                    <a:pt x="16119" y="32709"/>
                  </a:lnTo>
                  <a:lnTo>
                    <a:pt x="17061" y="36710"/>
                  </a:lnTo>
                  <a:lnTo>
                    <a:pt x="17414" y="38239"/>
                  </a:lnTo>
                  <a:lnTo>
                    <a:pt x="17649" y="40004"/>
                  </a:lnTo>
                  <a:lnTo>
                    <a:pt x="17884" y="44122"/>
                  </a:lnTo>
                  <a:lnTo>
                    <a:pt x="18119" y="48593"/>
                  </a:lnTo>
                  <a:lnTo>
                    <a:pt x="18237" y="53182"/>
                  </a:lnTo>
                  <a:lnTo>
                    <a:pt x="18237" y="60947"/>
                  </a:lnTo>
                  <a:lnTo>
                    <a:pt x="18355" y="63536"/>
                  </a:lnTo>
                  <a:lnTo>
                    <a:pt x="18472" y="64242"/>
                  </a:lnTo>
                  <a:lnTo>
                    <a:pt x="18590" y="64595"/>
                  </a:lnTo>
                  <a:lnTo>
                    <a:pt x="19414" y="64948"/>
                  </a:lnTo>
                  <a:lnTo>
                    <a:pt x="20355" y="65301"/>
                  </a:lnTo>
                  <a:lnTo>
                    <a:pt x="21296" y="65418"/>
                  </a:lnTo>
                  <a:lnTo>
                    <a:pt x="22238" y="65536"/>
                  </a:lnTo>
                  <a:lnTo>
                    <a:pt x="23061" y="65418"/>
                  </a:lnTo>
                  <a:lnTo>
                    <a:pt x="23885" y="65183"/>
                  </a:lnTo>
                  <a:lnTo>
                    <a:pt x="24473" y="64712"/>
                  </a:lnTo>
                  <a:lnTo>
                    <a:pt x="24944" y="64242"/>
                  </a:lnTo>
                  <a:lnTo>
                    <a:pt x="25061" y="60359"/>
                  </a:lnTo>
                  <a:lnTo>
                    <a:pt x="25061" y="51535"/>
                  </a:lnTo>
                  <a:lnTo>
                    <a:pt x="25061" y="42122"/>
                  </a:lnTo>
                  <a:lnTo>
                    <a:pt x="24826" y="38357"/>
                  </a:lnTo>
                  <a:lnTo>
                    <a:pt x="24708" y="36121"/>
                  </a:lnTo>
                  <a:lnTo>
                    <a:pt x="22002" y="20237"/>
                  </a:lnTo>
                  <a:lnTo>
                    <a:pt x="20237" y="9177"/>
                  </a:lnTo>
                  <a:lnTo>
                    <a:pt x="19061" y="1294"/>
                  </a:lnTo>
                  <a:lnTo>
                    <a:pt x="16237" y="706"/>
                  </a:lnTo>
                  <a:lnTo>
                    <a:pt x="13296" y="353"/>
                  </a:lnTo>
                  <a:lnTo>
                    <a:pt x="9883" y="0"/>
                  </a:lnTo>
                  <a:close/>
                </a:path>
              </a:pathLst>
            </a:custGeom>
            <a:solidFill>
              <a:srgbClr val="3D3D3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4" name="Google Shape;1294;p16"/>
            <p:cNvSpPr/>
            <p:nvPr/>
          </p:nvSpPr>
          <p:spPr>
            <a:xfrm>
              <a:off x="1945100" y="3632575"/>
              <a:ext cx="626550" cy="1638400"/>
            </a:xfrm>
            <a:custGeom>
              <a:avLst/>
              <a:gdLst/>
              <a:ahLst/>
              <a:cxnLst/>
              <a:rect l="l" t="t" r="r" b="b"/>
              <a:pathLst>
                <a:path w="25062" h="65536" fill="none" extrusionOk="0">
                  <a:moveTo>
                    <a:pt x="118" y="14943"/>
                  </a:moveTo>
                  <a:lnTo>
                    <a:pt x="118" y="14943"/>
                  </a:lnTo>
                  <a:lnTo>
                    <a:pt x="353" y="17296"/>
                  </a:lnTo>
                  <a:lnTo>
                    <a:pt x="353" y="17296"/>
                  </a:lnTo>
                  <a:lnTo>
                    <a:pt x="706" y="20943"/>
                  </a:lnTo>
                  <a:lnTo>
                    <a:pt x="1059" y="26356"/>
                  </a:lnTo>
                  <a:lnTo>
                    <a:pt x="1294" y="32474"/>
                  </a:lnTo>
                  <a:lnTo>
                    <a:pt x="1294" y="35415"/>
                  </a:lnTo>
                  <a:lnTo>
                    <a:pt x="1294" y="38121"/>
                  </a:lnTo>
                  <a:lnTo>
                    <a:pt x="1294" y="38121"/>
                  </a:lnTo>
                  <a:lnTo>
                    <a:pt x="1294" y="44710"/>
                  </a:lnTo>
                  <a:lnTo>
                    <a:pt x="1412" y="52476"/>
                  </a:lnTo>
                  <a:lnTo>
                    <a:pt x="1765" y="63536"/>
                  </a:lnTo>
                  <a:lnTo>
                    <a:pt x="1765" y="63536"/>
                  </a:lnTo>
                  <a:lnTo>
                    <a:pt x="2471" y="63771"/>
                  </a:lnTo>
                  <a:lnTo>
                    <a:pt x="3177" y="64006"/>
                  </a:lnTo>
                  <a:lnTo>
                    <a:pt x="3883" y="64006"/>
                  </a:lnTo>
                  <a:lnTo>
                    <a:pt x="4589" y="64006"/>
                  </a:lnTo>
                  <a:lnTo>
                    <a:pt x="6118" y="63889"/>
                  </a:lnTo>
                  <a:lnTo>
                    <a:pt x="8001" y="63536"/>
                  </a:lnTo>
                  <a:lnTo>
                    <a:pt x="8001" y="63536"/>
                  </a:lnTo>
                  <a:lnTo>
                    <a:pt x="8354" y="55417"/>
                  </a:lnTo>
                  <a:lnTo>
                    <a:pt x="9177" y="38710"/>
                  </a:lnTo>
                  <a:lnTo>
                    <a:pt x="9177" y="38710"/>
                  </a:lnTo>
                  <a:lnTo>
                    <a:pt x="9530" y="33180"/>
                  </a:lnTo>
                  <a:lnTo>
                    <a:pt x="9883" y="29415"/>
                  </a:lnTo>
                  <a:lnTo>
                    <a:pt x="11531" y="18237"/>
                  </a:lnTo>
                  <a:lnTo>
                    <a:pt x="11531" y="18237"/>
                  </a:lnTo>
                  <a:lnTo>
                    <a:pt x="11531" y="18237"/>
                  </a:lnTo>
                  <a:lnTo>
                    <a:pt x="12590" y="21296"/>
                  </a:lnTo>
                  <a:lnTo>
                    <a:pt x="12590" y="21296"/>
                  </a:lnTo>
                  <a:lnTo>
                    <a:pt x="13648" y="24591"/>
                  </a:lnTo>
                  <a:lnTo>
                    <a:pt x="14943" y="28591"/>
                  </a:lnTo>
                  <a:lnTo>
                    <a:pt x="16119" y="32709"/>
                  </a:lnTo>
                  <a:lnTo>
                    <a:pt x="17061" y="36710"/>
                  </a:lnTo>
                  <a:lnTo>
                    <a:pt x="17061" y="36710"/>
                  </a:lnTo>
                  <a:lnTo>
                    <a:pt x="17414" y="38239"/>
                  </a:lnTo>
                  <a:lnTo>
                    <a:pt x="17649" y="40004"/>
                  </a:lnTo>
                  <a:lnTo>
                    <a:pt x="17884" y="44122"/>
                  </a:lnTo>
                  <a:lnTo>
                    <a:pt x="18119" y="48593"/>
                  </a:lnTo>
                  <a:lnTo>
                    <a:pt x="18237" y="53182"/>
                  </a:lnTo>
                  <a:lnTo>
                    <a:pt x="18237" y="60947"/>
                  </a:lnTo>
                  <a:lnTo>
                    <a:pt x="18355" y="63536"/>
                  </a:lnTo>
                  <a:lnTo>
                    <a:pt x="18472" y="64242"/>
                  </a:lnTo>
                  <a:lnTo>
                    <a:pt x="18590" y="64595"/>
                  </a:lnTo>
                  <a:lnTo>
                    <a:pt x="18590" y="64595"/>
                  </a:lnTo>
                  <a:lnTo>
                    <a:pt x="19414" y="64948"/>
                  </a:lnTo>
                  <a:lnTo>
                    <a:pt x="20355" y="65301"/>
                  </a:lnTo>
                  <a:lnTo>
                    <a:pt x="21296" y="65418"/>
                  </a:lnTo>
                  <a:lnTo>
                    <a:pt x="22238" y="65536"/>
                  </a:lnTo>
                  <a:lnTo>
                    <a:pt x="23061" y="65418"/>
                  </a:lnTo>
                  <a:lnTo>
                    <a:pt x="23885" y="65183"/>
                  </a:lnTo>
                  <a:lnTo>
                    <a:pt x="24473" y="64712"/>
                  </a:lnTo>
                  <a:lnTo>
                    <a:pt x="24944" y="64242"/>
                  </a:lnTo>
                  <a:lnTo>
                    <a:pt x="24944" y="64242"/>
                  </a:lnTo>
                  <a:lnTo>
                    <a:pt x="25061" y="60359"/>
                  </a:lnTo>
                  <a:lnTo>
                    <a:pt x="25061" y="51535"/>
                  </a:lnTo>
                  <a:lnTo>
                    <a:pt x="25061" y="42122"/>
                  </a:lnTo>
                  <a:lnTo>
                    <a:pt x="24826" y="38357"/>
                  </a:lnTo>
                  <a:lnTo>
                    <a:pt x="24708" y="36121"/>
                  </a:lnTo>
                  <a:lnTo>
                    <a:pt x="24708" y="36121"/>
                  </a:lnTo>
                  <a:lnTo>
                    <a:pt x="22002" y="20237"/>
                  </a:lnTo>
                  <a:lnTo>
                    <a:pt x="20237" y="9177"/>
                  </a:lnTo>
                  <a:lnTo>
                    <a:pt x="19061" y="1294"/>
                  </a:lnTo>
                  <a:lnTo>
                    <a:pt x="19061" y="1294"/>
                  </a:lnTo>
                  <a:lnTo>
                    <a:pt x="16237" y="706"/>
                  </a:lnTo>
                  <a:lnTo>
                    <a:pt x="13296" y="353"/>
                  </a:lnTo>
                  <a:lnTo>
                    <a:pt x="9883" y="0"/>
                  </a:lnTo>
                  <a:lnTo>
                    <a:pt x="8119" y="0"/>
                  </a:lnTo>
                  <a:lnTo>
                    <a:pt x="6471" y="0"/>
                  </a:lnTo>
                  <a:lnTo>
                    <a:pt x="4824" y="235"/>
                  </a:lnTo>
                  <a:lnTo>
                    <a:pt x="3412" y="471"/>
                  </a:lnTo>
                  <a:lnTo>
                    <a:pt x="2236" y="941"/>
                  </a:lnTo>
                  <a:lnTo>
                    <a:pt x="1647" y="1294"/>
                  </a:lnTo>
                  <a:lnTo>
                    <a:pt x="1177" y="1647"/>
                  </a:lnTo>
                  <a:lnTo>
                    <a:pt x="824" y="2000"/>
                  </a:lnTo>
                  <a:lnTo>
                    <a:pt x="588" y="2471"/>
                  </a:lnTo>
                  <a:lnTo>
                    <a:pt x="353" y="2942"/>
                  </a:lnTo>
                  <a:lnTo>
                    <a:pt x="235" y="3530"/>
                  </a:lnTo>
                  <a:lnTo>
                    <a:pt x="235" y="3530"/>
                  </a:lnTo>
                  <a:lnTo>
                    <a:pt x="118" y="5883"/>
                  </a:lnTo>
                  <a:lnTo>
                    <a:pt x="118" y="5883"/>
                  </a:lnTo>
                  <a:lnTo>
                    <a:pt x="0" y="8707"/>
                  </a:lnTo>
                  <a:lnTo>
                    <a:pt x="0" y="8707"/>
                  </a:lnTo>
                  <a:lnTo>
                    <a:pt x="0" y="11413"/>
                  </a:lnTo>
                  <a:lnTo>
                    <a:pt x="0" y="12943"/>
                  </a:lnTo>
                  <a:lnTo>
                    <a:pt x="118" y="14943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5" name="Google Shape;1295;p16"/>
            <p:cNvSpPr/>
            <p:nvPr/>
          </p:nvSpPr>
          <p:spPr>
            <a:xfrm>
              <a:off x="2192175" y="4003200"/>
              <a:ext cx="2975" cy="25"/>
            </a:xfrm>
            <a:custGeom>
              <a:avLst/>
              <a:gdLst/>
              <a:ahLst/>
              <a:cxnLst/>
              <a:rect l="l" t="t" r="r" b="b"/>
              <a:pathLst>
                <a:path w="119" h="1" extrusionOk="0">
                  <a:moveTo>
                    <a:pt x="118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18" y="0"/>
                  </a:lnTo>
                  <a:close/>
                </a:path>
              </a:pathLst>
            </a:custGeom>
            <a:solidFill>
              <a:srgbClr val="2F2E3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6" name="Google Shape;1296;p16"/>
            <p:cNvSpPr/>
            <p:nvPr/>
          </p:nvSpPr>
          <p:spPr>
            <a:xfrm>
              <a:off x="2192175" y="4003200"/>
              <a:ext cx="2975" cy="25"/>
            </a:xfrm>
            <a:custGeom>
              <a:avLst/>
              <a:gdLst/>
              <a:ahLst/>
              <a:cxnLst/>
              <a:rect l="l" t="t" r="r" b="b"/>
              <a:pathLst>
                <a:path w="119" h="1" fill="none" extrusionOk="0">
                  <a:moveTo>
                    <a:pt x="118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1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7" name="Google Shape;1297;p16"/>
            <p:cNvSpPr/>
            <p:nvPr/>
          </p:nvSpPr>
          <p:spPr>
            <a:xfrm>
              <a:off x="2233350" y="4088500"/>
              <a:ext cx="14725" cy="47075"/>
            </a:xfrm>
            <a:custGeom>
              <a:avLst/>
              <a:gdLst/>
              <a:ahLst/>
              <a:cxnLst/>
              <a:rect l="l" t="t" r="r" b="b"/>
              <a:pathLst>
                <a:path w="589" h="1883" extrusionOk="0">
                  <a:moveTo>
                    <a:pt x="1" y="0"/>
                  </a:moveTo>
                  <a:lnTo>
                    <a:pt x="1" y="0"/>
                  </a:lnTo>
                  <a:lnTo>
                    <a:pt x="589" y="1883"/>
                  </a:lnTo>
                  <a:lnTo>
                    <a:pt x="589" y="188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A575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8" name="Google Shape;1298;p16"/>
            <p:cNvSpPr/>
            <p:nvPr/>
          </p:nvSpPr>
          <p:spPr>
            <a:xfrm>
              <a:off x="2233350" y="4088500"/>
              <a:ext cx="14725" cy="47075"/>
            </a:xfrm>
            <a:custGeom>
              <a:avLst/>
              <a:gdLst/>
              <a:ahLst/>
              <a:cxnLst/>
              <a:rect l="l" t="t" r="r" b="b"/>
              <a:pathLst>
                <a:path w="589" h="1883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589" y="1883"/>
                  </a:lnTo>
                  <a:lnTo>
                    <a:pt x="589" y="1883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9" name="Google Shape;1299;p16"/>
            <p:cNvSpPr/>
            <p:nvPr/>
          </p:nvSpPr>
          <p:spPr>
            <a:xfrm>
              <a:off x="2233350" y="4012025"/>
              <a:ext cx="35325" cy="179450"/>
            </a:xfrm>
            <a:custGeom>
              <a:avLst/>
              <a:gdLst/>
              <a:ahLst/>
              <a:cxnLst/>
              <a:rect l="l" t="t" r="r" b="b"/>
              <a:pathLst>
                <a:path w="1413" h="7178" extrusionOk="0">
                  <a:moveTo>
                    <a:pt x="707" y="0"/>
                  </a:moveTo>
                  <a:lnTo>
                    <a:pt x="589" y="588"/>
                  </a:lnTo>
                  <a:lnTo>
                    <a:pt x="1" y="3059"/>
                  </a:lnTo>
                  <a:lnTo>
                    <a:pt x="589" y="4942"/>
                  </a:lnTo>
                  <a:lnTo>
                    <a:pt x="1413" y="7177"/>
                  </a:lnTo>
                  <a:lnTo>
                    <a:pt x="1413" y="7177"/>
                  </a:lnTo>
                  <a:lnTo>
                    <a:pt x="707" y="0"/>
                  </a:lnTo>
                  <a:close/>
                </a:path>
              </a:pathLst>
            </a:custGeom>
            <a:solidFill>
              <a:srgbClr val="1B1D1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00" name="Google Shape;1300;p16"/>
            <p:cNvSpPr/>
            <p:nvPr/>
          </p:nvSpPr>
          <p:spPr>
            <a:xfrm>
              <a:off x="2233350" y="4012025"/>
              <a:ext cx="35325" cy="179450"/>
            </a:xfrm>
            <a:custGeom>
              <a:avLst/>
              <a:gdLst/>
              <a:ahLst/>
              <a:cxnLst/>
              <a:rect l="l" t="t" r="r" b="b"/>
              <a:pathLst>
                <a:path w="1413" h="7178" fill="none" extrusionOk="0">
                  <a:moveTo>
                    <a:pt x="707" y="0"/>
                  </a:moveTo>
                  <a:lnTo>
                    <a:pt x="707" y="0"/>
                  </a:lnTo>
                  <a:lnTo>
                    <a:pt x="589" y="588"/>
                  </a:lnTo>
                  <a:lnTo>
                    <a:pt x="1" y="3059"/>
                  </a:lnTo>
                  <a:lnTo>
                    <a:pt x="1" y="3059"/>
                  </a:lnTo>
                  <a:lnTo>
                    <a:pt x="1" y="3059"/>
                  </a:lnTo>
                  <a:lnTo>
                    <a:pt x="1" y="3059"/>
                  </a:lnTo>
                  <a:lnTo>
                    <a:pt x="589" y="4942"/>
                  </a:lnTo>
                  <a:lnTo>
                    <a:pt x="589" y="4942"/>
                  </a:lnTo>
                  <a:lnTo>
                    <a:pt x="1413" y="7177"/>
                  </a:lnTo>
                  <a:lnTo>
                    <a:pt x="70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01" name="Google Shape;1301;p16"/>
            <p:cNvSpPr/>
            <p:nvPr/>
          </p:nvSpPr>
          <p:spPr>
            <a:xfrm>
              <a:off x="1945100" y="3914950"/>
              <a:ext cx="25" cy="44150"/>
            </a:xfrm>
            <a:custGeom>
              <a:avLst/>
              <a:gdLst/>
              <a:ahLst/>
              <a:cxnLst/>
              <a:rect l="l" t="t" r="r" b="b"/>
              <a:pathLst>
                <a:path w="1" h="1766" extrusionOk="0">
                  <a:moveTo>
                    <a:pt x="0" y="0"/>
                  </a:moveTo>
                  <a:lnTo>
                    <a:pt x="0" y="0"/>
                  </a:lnTo>
                  <a:lnTo>
                    <a:pt x="0" y="1765"/>
                  </a:lnTo>
                  <a:lnTo>
                    <a:pt x="0" y="17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98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02" name="Google Shape;1302;p16"/>
            <p:cNvSpPr/>
            <p:nvPr/>
          </p:nvSpPr>
          <p:spPr>
            <a:xfrm>
              <a:off x="1945100" y="3914950"/>
              <a:ext cx="25" cy="44150"/>
            </a:xfrm>
            <a:custGeom>
              <a:avLst/>
              <a:gdLst/>
              <a:ahLst/>
              <a:cxnLst/>
              <a:rect l="l" t="t" r="r" b="b"/>
              <a:pathLst>
                <a:path w="1" h="1766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1765"/>
                  </a:lnTo>
                  <a:lnTo>
                    <a:pt x="0" y="1765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03" name="Google Shape;1303;p16"/>
            <p:cNvSpPr/>
            <p:nvPr/>
          </p:nvSpPr>
          <p:spPr>
            <a:xfrm>
              <a:off x="1945100" y="3832575"/>
              <a:ext cx="202975" cy="126525"/>
            </a:xfrm>
            <a:custGeom>
              <a:avLst/>
              <a:gdLst/>
              <a:ahLst/>
              <a:cxnLst/>
              <a:rect l="l" t="t" r="r" b="b"/>
              <a:pathLst>
                <a:path w="8119" h="5061" extrusionOk="0">
                  <a:moveTo>
                    <a:pt x="8119" y="1"/>
                  </a:moveTo>
                  <a:lnTo>
                    <a:pt x="7883" y="471"/>
                  </a:lnTo>
                  <a:lnTo>
                    <a:pt x="7530" y="1060"/>
                  </a:lnTo>
                  <a:lnTo>
                    <a:pt x="6471" y="1766"/>
                  </a:lnTo>
                  <a:lnTo>
                    <a:pt x="5530" y="2354"/>
                  </a:lnTo>
                  <a:lnTo>
                    <a:pt x="4353" y="2707"/>
                  </a:lnTo>
                  <a:lnTo>
                    <a:pt x="3177" y="2825"/>
                  </a:lnTo>
                  <a:lnTo>
                    <a:pt x="2353" y="2825"/>
                  </a:lnTo>
                  <a:lnTo>
                    <a:pt x="1530" y="2589"/>
                  </a:lnTo>
                  <a:lnTo>
                    <a:pt x="706" y="2354"/>
                  </a:lnTo>
                  <a:lnTo>
                    <a:pt x="0" y="2001"/>
                  </a:lnTo>
                  <a:lnTo>
                    <a:pt x="0" y="3295"/>
                  </a:lnTo>
                  <a:lnTo>
                    <a:pt x="0" y="5060"/>
                  </a:lnTo>
                  <a:lnTo>
                    <a:pt x="1177" y="4707"/>
                  </a:lnTo>
                  <a:lnTo>
                    <a:pt x="2353" y="4354"/>
                  </a:lnTo>
                  <a:lnTo>
                    <a:pt x="3765" y="3766"/>
                  </a:lnTo>
                  <a:lnTo>
                    <a:pt x="5177" y="3060"/>
                  </a:lnTo>
                  <a:lnTo>
                    <a:pt x="6471" y="2236"/>
                  </a:lnTo>
                  <a:lnTo>
                    <a:pt x="7060" y="1766"/>
                  </a:lnTo>
                  <a:lnTo>
                    <a:pt x="7530" y="1177"/>
                  </a:lnTo>
                  <a:lnTo>
                    <a:pt x="7883" y="589"/>
                  </a:lnTo>
                  <a:lnTo>
                    <a:pt x="8119" y="1"/>
                  </a:lnTo>
                  <a:close/>
                </a:path>
              </a:pathLst>
            </a:custGeom>
            <a:solidFill>
              <a:srgbClr val="26272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04" name="Google Shape;1304;p16"/>
            <p:cNvSpPr/>
            <p:nvPr/>
          </p:nvSpPr>
          <p:spPr>
            <a:xfrm>
              <a:off x="1945100" y="3832575"/>
              <a:ext cx="202975" cy="126525"/>
            </a:xfrm>
            <a:custGeom>
              <a:avLst/>
              <a:gdLst/>
              <a:ahLst/>
              <a:cxnLst/>
              <a:rect l="l" t="t" r="r" b="b"/>
              <a:pathLst>
                <a:path w="8119" h="5061" fill="none" extrusionOk="0">
                  <a:moveTo>
                    <a:pt x="8119" y="1"/>
                  </a:moveTo>
                  <a:lnTo>
                    <a:pt x="8119" y="1"/>
                  </a:lnTo>
                  <a:lnTo>
                    <a:pt x="8119" y="1"/>
                  </a:lnTo>
                  <a:lnTo>
                    <a:pt x="8119" y="1"/>
                  </a:lnTo>
                  <a:lnTo>
                    <a:pt x="7883" y="471"/>
                  </a:lnTo>
                  <a:lnTo>
                    <a:pt x="7530" y="1060"/>
                  </a:lnTo>
                  <a:lnTo>
                    <a:pt x="7530" y="1060"/>
                  </a:lnTo>
                  <a:lnTo>
                    <a:pt x="6471" y="1766"/>
                  </a:lnTo>
                  <a:lnTo>
                    <a:pt x="5530" y="2354"/>
                  </a:lnTo>
                  <a:lnTo>
                    <a:pt x="4353" y="2707"/>
                  </a:lnTo>
                  <a:lnTo>
                    <a:pt x="3177" y="2825"/>
                  </a:lnTo>
                  <a:lnTo>
                    <a:pt x="3177" y="2825"/>
                  </a:lnTo>
                  <a:lnTo>
                    <a:pt x="2353" y="2825"/>
                  </a:lnTo>
                  <a:lnTo>
                    <a:pt x="1530" y="2589"/>
                  </a:lnTo>
                  <a:lnTo>
                    <a:pt x="706" y="2354"/>
                  </a:lnTo>
                  <a:lnTo>
                    <a:pt x="0" y="2001"/>
                  </a:lnTo>
                  <a:lnTo>
                    <a:pt x="0" y="2001"/>
                  </a:lnTo>
                  <a:lnTo>
                    <a:pt x="0" y="3295"/>
                  </a:lnTo>
                  <a:lnTo>
                    <a:pt x="0" y="3295"/>
                  </a:lnTo>
                  <a:lnTo>
                    <a:pt x="0" y="5060"/>
                  </a:lnTo>
                  <a:lnTo>
                    <a:pt x="0" y="5060"/>
                  </a:lnTo>
                  <a:lnTo>
                    <a:pt x="0" y="5060"/>
                  </a:lnTo>
                  <a:lnTo>
                    <a:pt x="0" y="5060"/>
                  </a:lnTo>
                  <a:lnTo>
                    <a:pt x="1177" y="4707"/>
                  </a:lnTo>
                  <a:lnTo>
                    <a:pt x="2353" y="4354"/>
                  </a:lnTo>
                  <a:lnTo>
                    <a:pt x="3765" y="3766"/>
                  </a:lnTo>
                  <a:lnTo>
                    <a:pt x="5177" y="3060"/>
                  </a:lnTo>
                  <a:lnTo>
                    <a:pt x="6471" y="2236"/>
                  </a:lnTo>
                  <a:lnTo>
                    <a:pt x="7060" y="1766"/>
                  </a:lnTo>
                  <a:lnTo>
                    <a:pt x="7530" y="1177"/>
                  </a:lnTo>
                  <a:lnTo>
                    <a:pt x="7883" y="589"/>
                  </a:lnTo>
                  <a:lnTo>
                    <a:pt x="8119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05" name="Google Shape;1305;p16"/>
            <p:cNvSpPr/>
            <p:nvPr/>
          </p:nvSpPr>
          <p:spPr>
            <a:xfrm>
              <a:off x="1983325" y="2964850"/>
              <a:ext cx="453025" cy="861875"/>
            </a:xfrm>
            <a:custGeom>
              <a:avLst/>
              <a:gdLst/>
              <a:ahLst/>
              <a:cxnLst/>
              <a:rect l="l" t="t" r="r" b="b"/>
              <a:pathLst>
                <a:path w="18121" h="34475" extrusionOk="0">
                  <a:moveTo>
                    <a:pt x="10002" y="1"/>
                  </a:moveTo>
                  <a:lnTo>
                    <a:pt x="9413" y="118"/>
                  </a:lnTo>
                  <a:lnTo>
                    <a:pt x="7531" y="1648"/>
                  </a:lnTo>
                  <a:lnTo>
                    <a:pt x="5766" y="2824"/>
                  </a:lnTo>
                  <a:lnTo>
                    <a:pt x="4001" y="3883"/>
                  </a:lnTo>
                  <a:lnTo>
                    <a:pt x="2119" y="14237"/>
                  </a:lnTo>
                  <a:lnTo>
                    <a:pt x="118" y="25415"/>
                  </a:lnTo>
                  <a:lnTo>
                    <a:pt x="1" y="26003"/>
                  </a:lnTo>
                  <a:lnTo>
                    <a:pt x="1" y="27062"/>
                  </a:lnTo>
                  <a:lnTo>
                    <a:pt x="118" y="28356"/>
                  </a:lnTo>
                  <a:lnTo>
                    <a:pt x="471" y="29651"/>
                  </a:lnTo>
                  <a:lnTo>
                    <a:pt x="707" y="30356"/>
                  </a:lnTo>
                  <a:lnTo>
                    <a:pt x="1060" y="31062"/>
                  </a:lnTo>
                  <a:lnTo>
                    <a:pt x="1530" y="31768"/>
                  </a:lnTo>
                  <a:lnTo>
                    <a:pt x="2119" y="32357"/>
                  </a:lnTo>
                  <a:lnTo>
                    <a:pt x="2707" y="32945"/>
                  </a:lnTo>
                  <a:lnTo>
                    <a:pt x="3413" y="33416"/>
                  </a:lnTo>
                  <a:lnTo>
                    <a:pt x="4354" y="33886"/>
                  </a:lnTo>
                  <a:lnTo>
                    <a:pt x="5295" y="34239"/>
                  </a:lnTo>
                  <a:lnTo>
                    <a:pt x="6119" y="34357"/>
                  </a:lnTo>
                  <a:lnTo>
                    <a:pt x="6943" y="34475"/>
                  </a:lnTo>
                  <a:lnTo>
                    <a:pt x="8825" y="34357"/>
                  </a:lnTo>
                  <a:lnTo>
                    <a:pt x="10590" y="34122"/>
                  </a:lnTo>
                  <a:lnTo>
                    <a:pt x="12237" y="33651"/>
                  </a:lnTo>
                  <a:lnTo>
                    <a:pt x="13649" y="33180"/>
                  </a:lnTo>
                  <a:lnTo>
                    <a:pt x="14708" y="32592"/>
                  </a:lnTo>
                  <a:lnTo>
                    <a:pt x="15061" y="32239"/>
                  </a:lnTo>
                  <a:lnTo>
                    <a:pt x="15296" y="32004"/>
                  </a:lnTo>
                  <a:lnTo>
                    <a:pt x="15414" y="31768"/>
                  </a:lnTo>
                  <a:lnTo>
                    <a:pt x="15414" y="31533"/>
                  </a:lnTo>
                  <a:lnTo>
                    <a:pt x="15296" y="31062"/>
                  </a:lnTo>
                  <a:lnTo>
                    <a:pt x="15414" y="30121"/>
                  </a:lnTo>
                  <a:lnTo>
                    <a:pt x="16002" y="27415"/>
                  </a:lnTo>
                  <a:lnTo>
                    <a:pt x="16826" y="23532"/>
                  </a:lnTo>
                  <a:lnTo>
                    <a:pt x="17179" y="21414"/>
                  </a:lnTo>
                  <a:lnTo>
                    <a:pt x="17649" y="19061"/>
                  </a:lnTo>
                  <a:lnTo>
                    <a:pt x="17885" y="16708"/>
                  </a:lnTo>
                  <a:lnTo>
                    <a:pt x="18120" y="14237"/>
                  </a:lnTo>
                  <a:lnTo>
                    <a:pt x="18120" y="11884"/>
                  </a:lnTo>
                  <a:lnTo>
                    <a:pt x="18002" y="9531"/>
                  </a:lnTo>
                  <a:lnTo>
                    <a:pt x="17649" y="7295"/>
                  </a:lnTo>
                  <a:lnTo>
                    <a:pt x="17296" y="6119"/>
                  </a:lnTo>
                  <a:lnTo>
                    <a:pt x="16943" y="5178"/>
                  </a:lnTo>
                  <a:lnTo>
                    <a:pt x="16473" y="4119"/>
                  </a:lnTo>
                  <a:lnTo>
                    <a:pt x="16002" y="3295"/>
                  </a:lnTo>
                  <a:lnTo>
                    <a:pt x="15414" y="2354"/>
                  </a:lnTo>
                  <a:lnTo>
                    <a:pt x="14708" y="1648"/>
                  </a:lnTo>
                  <a:lnTo>
                    <a:pt x="14473" y="1412"/>
                  </a:lnTo>
                  <a:lnTo>
                    <a:pt x="14237" y="1412"/>
                  </a:lnTo>
                  <a:lnTo>
                    <a:pt x="13884" y="1765"/>
                  </a:lnTo>
                  <a:lnTo>
                    <a:pt x="13649" y="2001"/>
                  </a:lnTo>
                  <a:lnTo>
                    <a:pt x="13414" y="2236"/>
                  </a:lnTo>
                  <a:lnTo>
                    <a:pt x="13296" y="2354"/>
                  </a:lnTo>
                  <a:lnTo>
                    <a:pt x="12825" y="2354"/>
                  </a:lnTo>
                  <a:lnTo>
                    <a:pt x="12237" y="2236"/>
                  </a:lnTo>
                  <a:lnTo>
                    <a:pt x="11767" y="1883"/>
                  </a:lnTo>
                  <a:lnTo>
                    <a:pt x="11414" y="1530"/>
                  </a:lnTo>
                  <a:lnTo>
                    <a:pt x="11061" y="1059"/>
                  </a:lnTo>
                  <a:lnTo>
                    <a:pt x="10825" y="589"/>
                  </a:lnTo>
                  <a:lnTo>
                    <a:pt x="10355" y="236"/>
                  </a:lnTo>
                  <a:lnTo>
                    <a:pt x="1000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06" name="Google Shape;1306;p16"/>
            <p:cNvSpPr/>
            <p:nvPr/>
          </p:nvSpPr>
          <p:spPr>
            <a:xfrm>
              <a:off x="1983325" y="2964850"/>
              <a:ext cx="453025" cy="861875"/>
            </a:xfrm>
            <a:custGeom>
              <a:avLst/>
              <a:gdLst/>
              <a:ahLst/>
              <a:cxnLst/>
              <a:rect l="l" t="t" r="r" b="b"/>
              <a:pathLst>
                <a:path w="18121" h="34475" fill="none" extrusionOk="0">
                  <a:moveTo>
                    <a:pt x="9413" y="118"/>
                  </a:moveTo>
                  <a:lnTo>
                    <a:pt x="9413" y="118"/>
                  </a:lnTo>
                  <a:lnTo>
                    <a:pt x="10002" y="1"/>
                  </a:lnTo>
                  <a:lnTo>
                    <a:pt x="10355" y="236"/>
                  </a:lnTo>
                  <a:lnTo>
                    <a:pt x="10825" y="589"/>
                  </a:lnTo>
                  <a:lnTo>
                    <a:pt x="11061" y="1059"/>
                  </a:lnTo>
                  <a:lnTo>
                    <a:pt x="11414" y="1530"/>
                  </a:lnTo>
                  <a:lnTo>
                    <a:pt x="11767" y="1883"/>
                  </a:lnTo>
                  <a:lnTo>
                    <a:pt x="12237" y="2236"/>
                  </a:lnTo>
                  <a:lnTo>
                    <a:pt x="12825" y="2354"/>
                  </a:lnTo>
                  <a:lnTo>
                    <a:pt x="12825" y="2354"/>
                  </a:lnTo>
                  <a:lnTo>
                    <a:pt x="13296" y="2354"/>
                  </a:lnTo>
                  <a:lnTo>
                    <a:pt x="13414" y="2236"/>
                  </a:lnTo>
                  <a:lnTo>
                    <a:pt x="13649" y="2001"/>
                  </a:lnTo>
                  <a:lnTo>
                    <a:pt x="13884" y="1765"/>
                  </a:lnTo>
                  <a:lnTo>
                    <a:pt x="13884" y="1765"/>
                  </a:lnTo>
                  <a:lnTo>
                    <a:pt x="14237" y="1412"/>
                  </a:lnTo>
                  <a:lnTo>
                    <a:pt x="14473" y="1412"/>
                  </a:lnTo>
                  <a:lnTo>
                    <a:pt x="14708" y="1648"/>
                  </a:lnTo>
                  <a:lnTo>
                    <a:pt x="14708" y="1648"/>
                  </a:lnTo>
                  <a:lnTo>
                    <a:pt x="15414" y="2354"/>
                  </a:lnTo>
                  <a:lnTo>
                    <a:pt x="16002" y="3295"/>
                  </a:lnTo>
                  <a:lnTo>
                    <a:pt x="16473" y="4119"/>
                  </a:lnTo>
                  <a:lnTo>
                    <a:pt x="16943" y="5178"/>
                  </a:lnTo>
                  <a:lnTo>
                    <a:pt x="17296" y="6119"/>
                  </a:lnTo>
                  <a:lnTo>
                    <a:pt x="17649" y="7295"/>
                  </a:lnTo>
                  <a:lnTo>
                    <a:pt x="18002" y="9531"/>
                  </a:lnTo>
                  <a:lnTo>
                    <a:pt x="18120" y="11884"/>
                  </a:lnTo>
                  <a:lnTo>
                    <a:pt x="18120" y="14237"/>
                  </a:lnTo>
                  <a:lnTo>
                    <a:pt x="17885" y="16708"/>
                  </a:lnTo>
                  <a:lnTo>
                    <a:pt x="17649" y="19061"/>
                  </a:lnTo>
                  <a:lnTo>
                    <a:pt x="17179" y="21414"/>
                  </a:lnTo>
                  <a:lnTo>
                    <a:pt x="16826" y="23532"/>
                  </a:lnTo>
                  <a:lnTo>
                    <a:pt x="16002" y="27415"/>
                  </a:lnTo>
                  <a:lnTo>
                    <a:pt x="15414" y="30121"/>
                  </a:lnTo>
                  <a:lnTo>
                    <a:pt x="15296" y="31062"/>
                  </a:lnTo>
                  <a:lnTo>
                    <a:pt x="15414" y="31533"/>
                  </a:lnTo>
                  <a:lnTo>
                    <a:pt x="15414" y="31533"/>
                  </a:lnTo>
                  <a:lnTo>
                    <a:pt x="15414" y="31768"/>
                  </a:lnTo>
                  <a:lnTo>
                    <a:pt x="15296" y="32004"/>
                  </a:lnTo>
                  <a:lnTo>
                    <a:pt x="15061" y="32239"/>
                  </a:lnTo>
                  <a:lnTo>
                    <a:pt x="14708" y="32592"/>
                  </a:lnTo>
                  <a:lnTo>
                    <a:pt x="13649" y="33180"/>
                  </a:lnTo>
                  <a:lnTo>
                    <a:pt x="12237" y="33651"/>
                  </a:lnTo>
                  <a:lnTo>
                    <a:pt x="10590" y="34122"/>
                  </a:lnTo>
                  <a:lnTo>
                    <a:pt x="8825" y="34357"/>
                  </a:lnTo>
                  <a:lnTo>
                    <a:pt x="6943" y="34475"/>
                  </a:lnTo>
                  <a:lnTo>
                    <a:pt x="6119" y="34357"/>
                  </a:lnTo>
                  <a:lnTo>
                    <a:pt x="5295" y="34239"/>
                  </a:lnTo>
                  <a:lnTo>
                    <a:pt x="5295" y="34239"/>
                  </a:lnTo>
                  <a:lnTo>
                    <a:pt x="4354" y="33886"/>
                  </a:lnTo>
                  <a:lnTo>
                    <a:pt x="3413" y="33416"/>
                  </a:lnTo>
                  <a:lnTo>
                    <a:pt x="2707" y="32945"/>
                  </a:lnTo>
                  <a:lnTo>
                    <a:pt x="2119" y="32357"/>
                  </a:lnTo>
                  <a:lnTo>
                    <a:pt x="1530" y="31768"/>
                  </a:lnTo>
                  <a:lnTo>
                    <a:pt x="1060" y="31062"/>
                  </a:lnTo>
                  <a:lnTo>
                    <a:pt x="707" y="30356"/>
                  </a:lnTo>
                  <a:lnTo>
                    <a:pt x="471" y="29651"/>
                  </a:lnTo>
                  <a:lnTo>
                    <a:pt x="118" y="28356"/>
                  </a:lnTo>
                  <a:lnTo>
                    <a:pt x="1" y="27062"/>
                  </a:lnTo>
                  <a:lnTo>
                    <a:pt x="1" y="26003"/>
                  </a:lnTo>
                  <a:lnTo>
                    <a:pt x="118" y="25415"/>
                  </a:lnTo>
                  <a:lnTo>
                    <a:pt x="118" y="25415"/>
                  </a:lnTo>
                  <a:lnTo>
                    <a:pt x="2119" y="14237"/>
                  </a:lnTo>
                  <a:lnTo>
                    <a:pt x="4001" y="3883"/>
                  </a:lnTo>
                  <a:lnTo>
                    <a:pt x="4001" y="3883"/>
                  </a:lnTo>
                  <a:lnTo>
                    <a:pt x="5766" y="2824"/>
                  </a:lnTo>
                  <a:lnTo>
                    <a:pt x="7531" y="1648"/>
                  </a:lnTo>
                  <a:lnTo>
                    <a:pt x="9413" y="118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07" name="Google Shape;1307;p16"/>
            <p:cNvSpPr/>
            <p:nvPr/>
          </p:nvSpPr>
          <p:spPr>
            <a:xfrm>
              <a:off x="2315725" y="3006025"/>
              <a:ext cx="847150" cy="888350"/>
            </a:xfrm>
            <a:custGeom>
              <a:avLst/>
              <a:gdLst/>
              <a:ahLst/>
              <a:cxnLst/>
              <a:rect l="l" t="t" r="r" b="b"/>
              <a:pathLst>
                <a:path w="33886" h="35534" extrusionOk="0">
                  <a:moveTo>
                    <a:pt x="1412" y="1"/>
                  </a:moveTo>
                  <a:lnTo>
                    <a:pt x="1412" y="1060"/>
                  </a:lnTo>
                  <a:lnTo>
                    <a:pt x="1412" y="2589"/>
                  </a:lnTo>
                  <a:lnTo>
                    <a:pt x="1647" y="4825"/>
                  </a:lnTo>
                  <a:lnTo>
                    <a:pt x="1765" y="6590"/>
                  </a:lnTo>
                  <a:lnTo>
                    <a:pt x="1647" y="8119"/>
                  </a:lnTo>
                  <a:lnTo>
                    <a:pt x="1294" y="9766"/>
                  </a:lnTo>
                  <a:lnTo>
                    <a:pt x="941" y="11296"/>
                  </a:lnTo>
                  <a:lnTo>
                    <a:pt x="588" y="12943"/>
                  </a:lnTo>
                  <a:lnTo>
                    <a:pt x="235" y="14590"/>
                  </a:lnTo>
                  <a:lnTo>
                    <a:pt x="118" y="16473"/>
                  </a:lnTo>
                  <a:lnTo>
                    <a:pt x="118" y="18473"/>
                  </a:lnTo>
                  <a:lnTo>
                    <a:pt x="353" y="21179"/>
                  </a:lnTo>
                  <a:lnTo>
                    <a:pt x="353" y="23885"/>
                  </a:lnTo>
                  <a:lnTo>
                    <a:pt x="118" y="28827"/>
                  </a:lnTo>
                  <a:lnTo>
                    <a:pt x="0" y="30827"/>
                  </a:lnTo>
                  <a:lnTo>
                    <a:pt x="118" y="32592"/>
                  </a:lnTo>
                  <a:lnTo>
                    <a:pt x="235" y="33416"/>
                  </a:lnTo>
                  <a:lnTo>
                    <a:pt x="353" y="34004"/>
                  </a:lnTo>
                  <a:lnTo>
                    <a:pt x="588" y="34475"/>
                  </a:lnTo>
                  <a:lnTo>
                    <a:pt x="824" y="34828"/>
                  </a:lnTo>
                  <a:lnTo>
                    <a:pt x="1294" y="35181"/>
                  </a:lnTo>
                  <a:lnTo>
                    <a:pt x="1765" y="35416"/>
                  </a:lnTo>
                  <a:lnTo>
                    <a:pt x="2236" y="35534"/>
                  </a:lnTo>
                  <a:lnTo>
                    <a:pt x="2706" y="35534"/>
                  </a:lnTo>
                  <a:lnTo>
                    <a:pt x="3294" y="35416"/>
                  </a:lnTo>
                  <a:lnTo>
                    <a:pt x="3883" y="35181"/>
                  </a:lnTo>
                  <a:lnTo>
                    <a:pt x="4471" y="34828"/>
                  </a:lnTo>
                  <a:lnTo>
                    <a:pt x="5059" y="34239"/>
                  </a:lnTo>
                  <a:lnTo>
                    <a:pt x="5530" y="33533"/>
                  </a:lnTo>
                  <a:lnTo>
                    <a:pt x="5883" y="32828"/>
                  </a:lnTo>
                  <a:lnTo>
                    <a:pt x="6236" y="32004"/>
                  </a:lnTo>
                  <a:lnTo>
                    <a:pt x="6471" y="31063"/>
                  </a:lnTo>
                  <a:lnTo>
                    <a:pt x="6589" y="28945"/>
                  </a:lnTo>
                  <a:lnTo>
                    <a:pt x="6589" y="26709"/>
                  </a:lnTo>
                  <a:lnTo>
                    <a:pt x="6471" y="24474"/>
                  </a:lnTo>
                  <a:lnTo>
                    <a:pt x="6236" y="22474"/>
                  </a:lnTo>
                  <a:lnTo>
                    <a:pt x="5765" y="19650"/>
                  </a:lnTo>
                  <a:lnTo>
                    <a:pt x="5295" y="16473"/>
                  </a:lnTo>
                  <a:lnTo>
                    <a:pt x="5177" y="15061"/>
                  </a:lnTo>
                  <a:lnTo>
                    <a:pt x="5295" y="13532"/>
                  </a:lnTo>
                  <a:lnTo>
                    <a:pt x="5412" y="12826"/>
                  </a:lnTo>
                  <a:lnTo>
                    <a:pt x="5648" y="12237"/>
                  </a:lnTo>
                  <a:lnTo>
                    <a:pt x="5883" y="11884"/>
                  </a:lnTo>
                  <a:lnTo>
                    <a:pt x="6118" y="11649"/>
                  </a:lnTo>
                  <a:lnTo>
                    <a:pt x="6589" y="11531"/>
                  </a:lnTo>
                  <a:lnTo>
                    <a:pt x="7177" y="11649"/>
                  </a:lnTo>
                  <a:lnTo>
                    <a:pt x="8471" y="12120"/>
                  </a:lnTo>
                  <a:lnTo>
                    <a:pt x="9883" y="12826"/>
                  </a:lnTo>
                  <a:lnTo>
                    <a:pt x="11413" y="13649"/>
                  </a:lnTo>
                  <a:lnTo>
                    <a:pt x="13060" y="14590"/>
                  </a:lnTo>
                  <a:lnTo>
                    <a:pt x="14707" y="15414"/>
                  </a:lnTo>
                  <a:lnTo>
                    <a:pt x="16237" y="15885"/>
                  </a:lnTo>
                  <a:lnTo>
                    <a:pt x="16943" y="16120"/>
                  </a:lnTo>
                  <a:lnTo>
                    <a:pt x="17649" y="16120"/>
                  </a:lnTo>
                  <a:lnTo>
                    <a:pt x="19061" y="15885"/>
                  </a:lnTo>
                  <a:lnTo>
                    <a:pt x="21296" y="15296"/>
                  </a:lnTo>
                  <a:lnTo>
                    <a:pt x="23767" y="14590"/>
                  </a:lnTo>
                  <a:lnTo>
                    <a:pt x="26591" y="13649"/>
                  </a:lnTo>
                  <a:lnTo>
                    <a:pt x="31415" y="11884"/>
                  </a:lnTo>
                  <a:lnTo>
                    <a:pt x="32944" y="11178"/>
                  </a:lnTo>
                  <a:lnTo>
                    <a:pt x="33650" y="10825"/>
                  </a:lnTo>
                  <a:lnTo>
                    <a:pt x="33886" y="10590"/>
                  </a:lnTo>
                  <a:lnTo>
                    <a:pt x="33886" y="10237"/>
                  </a:lnTo>
                  <a:lnTo>
                    <a:pt x="33886" y="9413"/>
                  </a:lnTo>
                  <a:lnTo>
                    <a:pt x="33650" y="8590"/>
                  </a:lnTo>
                  <a:lnTo>
                    <a:pt x="33415" y="7649"/>
                  </a:lnTo>
                  <a:lnTo>
                    <a:pt x="32591" y="6001"/>
                  </a:lnTo>
                  <a:lnTo>
                    <a:pt x="32238" y="5295"/>
                  </a:lnTo>
                  <a:lnTo>
                    <a:pt x="32003" y="5178"/>
                  </a:lnTo>
                  <a:lnTo>
                    <a:pt x="31533" y="5295"/>
                  </a:lnTo>
                  <a:lnTo>
                    <a:pt x="29885" y="5766"/>
                  </a:lnTo>
                  <a:lnTo>
                    <a:pt x="25297" y="7649"/>
                  </a:lnTo>
                  <a:lnTo>
                    <a:pt x="22708" y="8708"/>
                  </a:lnTo>
                  <a:lnTo>
                    <a:pt x="20355" y="9649"/>
                  </a:lnTo>
                  <a:lnTo>
                    <a:pt x="18472" y="10119"/>
                  </a:lnTo>
                  <a:lnTo>
                    <a:pt x="17766" y="10237"/>
                  </a:lnTo>
                  <a:lnTo>
                    <a:pt x="17296" y="10237"/>
                  </a:lnTo>
                  <a:lnTo>
                    <a:pt x="16472" y="9884"/>
                  </a:lnTo>
                  <a:lnTo>
                    <a:pt x="15649" y="9413"/>
                  </a:lnTo>
                  <a:lnTo>
                    <a:pt x="14001" y="8237"/>
                  </a:lnTo>
                  <a:lnTo>
                    <a:pt x="10236" y="5178"/>
                  </a:lnTo>
                  <a:lnTo>
                    <a:pt x="8118" y="3648"/>
                  </a:lnTo>
                  <a:lnTo>
                    <a:pt x="6001" y="2119"/>
                  </a:lnTo>
                  <a:lnTo>
                    <a:pt x="4824" y="1413"/>
                  </a:lnTo>
                  <a:lnTo>
                    <a:pt x="3765" y="824"/>
                  </a:lnTo>
                  <a:lnTo>
                    <a:pt x="2589" y="354"/>
                  </a:lnTo>
                  <a:lnTo>
                    <a:pt x="1412" y="1"/>
                  </a:lnTo>
                  <a:close/>
                </a:path>
              </a:pathLst>
            </a:custGeom>
            <a:solidFill>
              <a:srgbClr val="E47D0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08" name="Google Shape;1308;p16"/>
            <p:cNvSpPr/>
            <p:nvPr/>
          </p:nvSpPr>
          <p:spPr>
            <a:xfrm>
              <a:off x="1918625" y="2967800"/>
              <a:ext cx="305925" cy="935400"/>
            </a:xfrm>
            <a:custGeom>
              <a:avLst/>
              <a:gdLst/>
              <a:ahLst/>
              <a:cxnLst/>
              <a:rect l="l" t="t" r="r" b="b"/>
              <a:pathLst>
                <a:path w="12237" h="37416" extrusionOk="0">
                  <a:moveTo>
                    <a:pt x="11413" y="0"/>
                  </a:moveTo>
                  <a:lnTo>
                    <a:pt x="10589" y="118"/>
                  </a:lnTo>
                  <a:lnTo>
                    <a:pt x="9648" y="471"/>
                  </a:lnTo>
                  <a:lnTo>
                    <a:pt x="8589" y="824"/>
                  </a:lnTo>
                  <a:lnTo>
                    <a:pt x="7413" y="1412"/>
                  </a:lnTo>
                  <a:lnTo>
                    <a:pt x="6236" y="2236"/>
                  </a:lnTo>
                  <a:lnTo>
                    <a:pt x="4942" y="3295"/>
                  </a:lnTo>
                  <a:lnTo>
                    <a:pt x="4824" y="3412"/>
                  </a:lnTo>
                  <a:lnTo>
                    <a:pt x="4707" y="3530"/>
                  </a:lnTo>
                  <a:lnTo>
                    <a:pt x="4236" y="4118"/>
                  </a:lnTo>
                  <a:lnTo>
                    <a:pt x="3765" y="5060"/>
                  </a:lnTo>
                  <a:lnTo>
                    <a:pt x="3412" y="6001"/>
                  </a:lnTo>
                  <a:lnTo>
                    <a:pt x="3059" y="7177"/>
                  </a:lnTo>
                  <a:lnTo>
                    <a:pt x="2589" y="9648"/>
                  </a:lnTo>
                  <a:lnTo>
                    <a:pt x="2353" y="12119"/>
                  </a:lnTo>
                  <a:lnTo>
                    <a:pt x="2236" y="14590"/>
                  </a:lnTo>
                  <a:lnTo>
                    <a:pt x="2236" y="15884"/>
                  </a:lnTo>
                  <a:lnTo>
                    <a:pt x="2236" y="16355"/>
                  </a:lnTo>
                  <a:lnTo>
                    <a:pt x="2353" y="17296"/>
                  </a:lnTo>
                  <a:lnTo>
                    <a:pt x="2353" y="17414"/>
                  </a:lnTo>
                  <a:lnTo>
                    <a:pt x="2353" y="17767"/>
                  </a:lnTo>
                  <a:lnTo>
                    <a:pt x="2353" y="18943"/>
                  </a:lnTo>
                  <a:lnTo>
                    <a:pt x="2471" y="20708"/>
                  </a:lnTo>
                  <a:lnTo>
                    <a:pt x="2353" y="21532"/>
                  </a:lnTo>
                  <a:lnTo>
                    <a:pt x="2118" y="23414"/>
                  </a:lnTo>
                  <a:lnTo>
                    <a:pt x="1647" y="25650"/>
                  </a:lnTo>
                  <a:lnTo>
                    <a:pt x="824" y="29062"/>
                  </a:lnTo>
                  <a:lnTo>
                    <a:pt x="118" y="32356"/>
                  </a:lnTo>
                  <a:lnTo>
                    <a:pt x="0" y="33768"/>
                  </a:lnTo>
                  <a:lnTo>
                    <a:pt x="0" y="34945"/>
                  </a:lnTo>
                  <a:lnTo>
                    <a:pt x="118" y="35768"/>
                  </a:lnTo>
                  <a:lnTo>
                    <a:pt x="236" y="36121"/>
                  </a:lnTo>
                  <a:lnTo>
                    <a:pt x="471" y="36357"/>
                  </a:lnTo>
                  <a:lnTo>
                    <a:pt x="1412" y="36827"/>
                  </a:lnTo>
                  <a:lnTo>
                    <a:pt x="2471" y="37180"/>
                  </a:lnTo>
                  <a:lnTo>
                    <a:pt x="3530" y="37416"/>
                  </a:lnTo>
                  <a:lnTo>
                    <a:pt x="4589" y="37416"/>
                  </a:lnTo>
                  <a:lnTo>
                    <a:pt x="5648" y="37298"/>
                  </a:lnTo>
                  <a:lnTo>
                    <a:pt x="6707" y="36945"/>
                  </a:lnTo>
                  <a:lnTo>
                    <a:pt x="7648" y="36357"/>
                  </a:lnTo>
                  <a:lnTo>
                    <a:pt x="8589" y="35651"/>
                  </a:lnTo>
                  <a:lnTo>
                    <a:pt x="9060" y="34945"/>
                  </a:lnTo>
                  <a:lnTo>
                    <a:pt x="9295" y="34239"/>
                  </a:lnTo>
                  <a:lnTo>
                    <a:pt x="9413" y="33533"/>
                  </a:lnTo>
                  <a:lnTo>
                    <a:pt x="9413" y="32827"/>
                  </a:lnTo>
                  <a:lnTo>
                    <a:pt x="9295" y="31180"/>
                  </a:lnTo>
                  <a:lnTo>
                    <a:pt x="9295" y="30121"/>
                  </a:lnTo>
                  <a:lnTo>
                    <a:pt x="9413" y="29062"/>
                  </a:lnTo>
                  <a:lnTo>
                    <a:pt x="9531" y="27885"/>
                  </a:lnTo>
                  <a:lnTo>
                    <a:pt x="9883" y="26709"/>
                  </a:lnTo>
                  <a:lnTo>
                    <a:pt x="10472" y="24473"/>
                  </a:lnTo>
                  <a:lnTo>
                    <a:pt x="11178" y="21885"/>
                  </a:lnTo>
                  <a:lnTo>
                    <a:pt x="11766" y="19061"/>
                  </a:lnTo>
                  <a:lnTo>
                    <a:pt x="12001" y="16590"/>
                  </a:lnTo>
                  <a:lnTo>
                    <a:pt x="12237" y="14002"/>
                  </a:lnTo>
                  <a:lnTo>
                    <a:pt x="12237" y="11413"/>
                  </a:lnTo>
                  <a:lnTo>
                    <a:pt x="12237" y="6471"/>
                  </a:lnTo>
                  <a:lnTo>
                    <a:pt x="12119" y="2471"/>
                  </a:lnTo>
                  <a:lnTo>
                    <a:pt x="12001" y="0"/>
                  </a:lnTo>
                  <a:close/>
                </a:path>
              </a:pathLst>
            </a:custGeom>
            <a:solidFill>
              <a:srgbClr val="E47D0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09" name="Google Shape;1309;p16"/>
            <p:cNvSpPr/>
            <p:nvPr/>
          </p:nvSpPr>
          <p:spPr>
            <a:xfrm>
              <a:off x="1918625" y="2967800"/>
              <a:ext cx="305925" cy="935400"/>
            </a:xfrm>
            <a:custGeom>
              <a:avLst/>
              <a:gdLst/>
              <a:ahLst/>
              <a:cxnLst/>
              <a:rect l="l" t="t" r="r" b="b"/>
              <a:pathLst>
                <a:path w="12237" h="37416" fill="none" extrusionOk="0">
                  <a:moveTo>
                    <a:pt x="12001" y="16590"/>
                  </a:moveTo>
                  <a:lnTo>
                    <a:pt x="12001" y="16590"/>
                  </a:lnTo>
                  <a:lnTo>
                    <a:pt x="11766" y="19061"/>
                  </a:lnTo>
                  <a:lnTo>
                    <a:pt x="11178" y="21885"/>
                  </a:lnTo>
                  <a:lnTo>
                    <a:pt x="10472" y="24473"/>
                  </a:lnTo>
                  <a:lnTo>
                    <a:pt x="9883" y="26709"/>
                  </a:lnTo>
                  <a:lnTo>
                    <a:pt x="9883" y="26709"/>
                  </a:lnTo>
                  <a:lnTo>
                    <a:pt x="9531" y="27885"/>
                  </a:lnTo>
                  <a:lnTo>
                    <a:pt x="9413" y="29062"/>
                  </a:lnTo>
                  <a:lnTo>
                    <a:pt x="9295" y="30121"/>
                  </a:lnTo>
                  <a:lnTo>
                    <a:pt x="9295" y="31180"/>
                  </a:lnTo>
                  <a:lnTo>
                    <a:pt x="9413" y="32827"/>
                  </a:lnTo>
                  <a:lnTo>
                    <a:pt x="9413" y="33533"/>
                  </a:lnTo>
                  <a:lnTo>
                    <a:pt x="9295" y="34239"/>
                  </a:lnTo>
                  <a:lnTo>
                    <a:pt x="9295" y="34239"/>
                  </a:lnTo>
                  <a:lnTo>
                    <a:pt x="9295" y="34239"/>
                  </a:lnTo>
                  <a:lnTo>
                    <a:pt x="9060" y="34945"/>
                  </a:lnTo>
                  <a:lnTo>
                    <a:pt x="8589" y="35651"/>
                  </a:lnTo>
                  <a:lnTo>
                    <a:pt x="8589" y="35651"/>
                  </a:lnTo>
                  <a:lnTo>
                    <a:pt x="7648" y="36357"/>
                  </a:lnTo>
                  <a:lnTo>
                    <a:pt x="6707" y="36945"/>
                  </a:lnTo>
                  <a:lnTo>
                    <a:pt x="5648" y="37298"/>
                  </a:lnTo>
                  <a:lnTo>
                    <a:pt x="4589" y="37416"/>
                  </a:lnTo>
                  <a:lnTo>
                    <a:pt x="3530" y="37416"/>
                  </a:lnTo>
                  <a:lnTo>
                    <a:pt x="2471" y="37180"/>
                  </a:lnTo>
                  <a:lnTo>
                    <a:pt x="1412" y="36827"/>
                  </a:lnTo>
                  <a:lnTo>
                    <a:pt x="471" y="36357"/>
                  </a:lnTo>
                  <a:lnTo>
                    <a:pt x="471" y="36357"/>
                  </a:lnTo>
                  <a:lnTo>
                    <a:pt x="236" y="36121"/>
                  </a:lnTo>
                  <a:lnTo>
                    <a:pt x="118" y="35768"/>
                  </a:lnTo>
                  <a:lnTo>
                    <a:pt x="0" y="34945"/>
                  </a:lnTo>
                  <a:lnTo>
                    <a:pt x="0" y="33768"/>
                  </a:lnTo>
                  <a:lnTo>
                    <a:pt x="118" y="32356"/>
                  </a:lnTo>
                  <a:lnTo>
                    <a:pt x="824" y="29062"/>
                  </a:lnTo>
                  <a:lnTo>
                    <a:pt x="1647" y="25650"/>
                  </a:lnTo>
                  <a:lnTo>
                    <a:pt x="1647" y="25650"/>
                  </a:lnTo>
                  <a:lnTo>
                    <a:pt x="1647" y="25650"/>
                  </a:lnTo>
                  <a:lnTo>
                    <a:pt x="2118" y="23414"/>
                  </a:lnTo>
                  <a:lnTo>
                    <a:pt x="2118" y="23414"/>
                  </a:lnTo>
                  <a:lnTo>
                    <a:pt x="2353" y="21532"/>
                  </a:lnTo>
                  <a:lnTo>
                    <a:pt x="2353" y="21532"/>
                  </a:lnTo>
                  <a:lnTo>
                    <a:pt x="2471" y="20708"/>
                  </a:lnTo>
                  <a:lnTo>
                    <a:pt x="2471" y="20708"/>
                  </a:lnTo>
                  <a:lnTo>
                    <a:pt x="2353" y="18943"/>
                  </a:lnTo>
                  <a:lnTo>
                    <a:pt x="2353" y="18943"/>
                  </a:lnTo>
                  <a:lnTo>
                    <a:pt x="2353" y="18943"/>
                  </a:lnTo>
                  <a:lnTo>
                    <a:pt x="2353" y="17767"/>
                  </a:lnTo>
                  <a:lnTo>
                    <a:pt x="2353" y="17767"/>
                  </a:lnTo>
                  <a:lnTo>
                    <a:pt x="2353" y="17414"/>
                  </a:lnTo>
                  <a:lnTo>
                    <a:pt x="2353" y="17414"/>
                  </a:lnTo>
                  <a:lnTo>
                    <a:pt x="2353" y="17296"/>
                  </a:lnTo>
                  <a:lnTo>
                    <a:pt x="2353" y="17296"/>
                  </a:lnTo>
                  <a:lnTo>
                    <a:pt x="2236" y="16355"/>
                  </a:lnTo>
                  <a:lnTo>
                    <a:pt x="2236" y="16355"/>
                  </a:lnTo>
                  <a:lnTo>
                    <a:pt x="2236" y="15884"/>
                  </a:lnTo>
                  <a:lnTo>
                    <a:pt x="2236" y="15884"/>
                  </a:lnTo>
                  <a:lnTo>
                    <a:pt x="2236" y="14590"/>
                  </a:lnTo>
                  <a:lnTo>
                    <a:pt x="2236" y="14590"/>
                  </a:lnTo>
                  <a:lnTo>
                    <a:pt x="2353" y="12119"/>
                  </a:lnTo>
                  <a:lnTo>
                    <a:pt x="2353" y="12119"/>
                  </a:lnTo>
                  <a:lnTo>
                    <a:pt x="2589" y="9648"/>
                  </a:lnTo>
                  <a:lnTo>
                    <a:pt x="3059" y="7177"/>
                  </a:lnTo>
                  <a:lnTo>
                    <a:pt x="3412" y="6001"/>
                  </a:lnTo>
                  <a:lnTo>
                    <a:pt x="3765" y="5060"/>
                  </a:lnTo>
                  <a:lnTo>
                    <a:pt x="4236" y="4118"/>
                  </a:lnTo>
                  <a:lnTo>
                    <a:pt x="4707" y="3530"/>
                  </a:lnTo>
                  <a:lnTo>
                    <a:pt x="4824" y="3412"/>
                  </a:lnTo>
                  <a:lnTo>
                    <a:pt x="4824" y="3412"/>
                  </a:lnTo>
                  <a:lnTo>
                    <a:pt x="4942" y="3295"/>
                  </a:lnTo>
                  <a:lnTo>
                    <a:pt x="4942" y="3295"/>
                  </a:lnTo>
                  <a:lnTo>
                    <a:pt x="6236" y="2236"/>
                  </a:lnTo>
                  <a:lnTo>
                    <a:pt x="7413" y="1412"/>
                  </a:lnTo>
                  <a:lnTo>
                    <a:pt x="8589" y="824"/>
                  </a:lnTo>
                  <a:lnTo>
                    <a:pt x="9648" y="471"/>
                  </a:lnTo>
                  <a:lnTo>
                    <a:pt x="10589" y="118"/>
                  </a:lnTo>
                  <a:lnTo>
                    <a:pt x="11413" y="0"/>
                  </a:lnTo>
                  <a:lnTo>
                    <a:pt x="12001" y="0"/>
                  </a:lnTo>
                  <a:lnTo>
                    <a:pt x="12001" y="0"/>
                  </a:lnTo>
                  <a:lnTo>
                    <a:pt x="12001" y="0"/>
                  </a:lnTo>
                  <a:lnTo>
                    <a:pt x="12119" y="2471"/>
                  </a:lnTo>
                  <a:lnTo>
                    <a:pt x="12237" y="6471"/>
                  </a:lnTo>
                  <a:lnTo>
                    <a:pt x="12237" y="11413"/>
                  </a:lnTo>
                  <a:lnTo>
                    <a:pt x="12237" y="14002"/>
                  </a:lnTo>
                  <a:lnTo>
                    <a:pt x="12001" y="1659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10" name="Google Shape;1310;p16"/>
            <p:cNvSpPr/>
            <p:nvPr/>
          </p:nvSpPr>
          <p:spPr>
            <a:xfrm>
              <a:off x="1974500" y="3309000"/>
              <a:ext cx="61800" cy="197100"/>
            </a:xfrm>
            <a:custGeom>
              <a:avLst/>
              <a:gdLst/>
              <a:ahLst/>
              <a:cxnLst/>
              <a:rect l="l" t="t" r="r" b="b"/>
              <a:pathLst>
                <a:path w="2472" h="7884" extrusionOk="0">
                  <a:moveTo>
                    <a:pt x="2472" y="1"/>
                  </a:moveTo>
                  <a:lnTo>
                    <a:pt x="1" y="2707"/>
                  </a:lnTo>
                  <a:lnTo>
                    <a:pt x="118" y="3648"/>
                  </a:lnTo>
                  <a:lnTo>
                    <a:pt x="118" y="3766"/>
                  </a:lnTo>
                  <a:lnTo>
                    <a:pt x="118" y="4119"/>
                  </a:lnTo>
                  <a:lnTo>
                    <a:pt x="118" y="5295"/>
                  </a:lnTo>
                  <a:lnTo>
                    <a:pt x="236" y="7060"/>
                  </a:lnTo>
                  <a:lnTo>
                    <a:pt x="236" y="7178"/>
                  </a:lnTo>
                  <a:lnTo>
                    <a:pt x="118" y="7884"/>
                  </a:lnTo>
                  <a:lnTo>
                    <a:pt x="942" y="6472"/>
                  </a:lnTo>
                  <a:lnTo>
                    <a:pt x="1530" y="4942"/>
                  </a:lnTo>
                  <a:lnTo>
                    <a:pt x="1883" y="3413"/>
                  </a:lnTo>
                  <a:lnTo>
                    <a:pt x="2119" y="2118"/>
                  </a:lnTo>
                  <a:lnTo>
                    <a:pt x="2354" y="942"/>
                  </a:lnTo>
                  <a:lnTo>
                    <a:pt x="2472" y="1"/>
                  </a:lnTo>
                  <a:close/>
                </a:path>
              </a:pathLst>
            </a:custGeom>
            <a:solidFill>
              <a:srgbClr val="B9662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11" name="Google Shape;1311;p16"/>
            <p:cNvSpPr/>
            <p:nvPr/>
          </p:nvSpPr>
          <p:spPr>
            <a:xfrm>
              <a:off x="1974500" y="3309000"/>
              <a:ext cx="61800" cy="197100"/>
            </a:xfrm>
            <a:custGeom>
              <a:avLst/>
              <a:gdLst/>
              <a:ahLst/>
              <a:cxnLst/>
              <a:rect l="l" t="t" r="r" b="b"/>
              <a:pathLst>
                <a:path w="2472" h="7884" fill="none" extrusionOk="0">
                  <a:moveTo>
                    <a:pt x="2472" y="1"/>
                  </a:moveTo>
                  <a:lnTo>
                    <a:pt x="2472" y="1"/>
                  </a:lnTo>
                  <a:lnTo>
                    <a:pt x="1" y="2707"/>
                  </a:lnTo>
                  <a:lnTo>
                    <a:pt x="1" y="2707"/>
                  </a:lnTo>
                  <a:lnTo>
                    <a:pt x="1" y="2707"/>
                  </a:lnTo>
                  <a:lnTo>
                    <a:pt x="1" y="2707"/>
                  </a:lnTo>
                  <a:lnTo>
                    <a:pt x="1" y="2707"/>
                  </a:lnTo>
                  <a:lnTo>
                    <a:pt x="118" y="3648"/>
                  </a:lnTo>
                  <a:lnTo>
                    <a:pt x="118" y="3648"/>
                  </a:lnTo>
                  <a:lnTo>
                    <a:pt x="118" y="3766"/>
                  </a:lnTo>
                  <a:lnTo>
                    <a:pt x="118" y="3766"/>
                  </a:lnTo>
                  <a:lnTo>
                    <a:pt x="118" y="4119"/>
                  </a:lnTo>
                  <a:lnTo>
                    <a:pt x="118" y="4119"/>
                  </a:lnTo>
                  <a:lnTo>
                    <a:pt x="118" y="5295"/>
                  </a:lnTo>
                  <a:lnTo>
                    <a:pt x="118" y="5295"/>
                  </a:lnTo>
                  <a:lnTo>
                    <a:pt x="118" y="5295"/>
                  </a:lnTo>
                  <a:lnTo>
                    <a:pt x="236" y="7060"/>
                  </a:lnTo>
                  <a:lnTo>
                    <a:pt x="236" y="7060"/>
                  </a:lnTo>
                  <a:lnTo>
                    <a:pt x="236" y="7178"/>
                  </a:lnTo>
                  <a:lnTo>
                    <a:pt x="236" y="7178"/>
                  </a:lnTo>
                  <a:lnTo>
                    <a:pt x="118" y="7884"/>
                  </a:lnTo>
                  <a:lnTo>
                    <a:pt x="118" y="7884"/>
                  </a:lnTo>
                  <a:lnTo>
                    <a:pt x="942" y="6472"/>
                  </a:lnTo>
                  <a:lnTo>
                    <a:pt x="942" y="6472"/>
                  </a:lnTo>
                  <a:lnTo>
                    <a:pt x="1530" y="4942"/>
                  </a:lnTo>
                  <a:lnTo>
                    <a:pt x="1883" y="3413"/>
                  </a:lnTo>
                  <a:lnTo>
                    <a:pt x="1883" y="3413"/>
                  </a:lnTo>
                  <a:lnTo>
                    <a:pt x="2119" y="2118"/>
                  </a:lnTo>
                  <a:lnTo>
                    <a:pt x="2354" y="942"/>
                  </a:lnTo>
                  <a:lnTo>
                    <a:pt x="2354" y="942"/>
                  </a:lnTo>
                  <a:lnTo>
                    <a:pt x="2472" y="1"/>
                  </a:lnTo>
                  <a:lnTo>
                    <a:pt x="247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12" name="Google Shape;1312;p16"/>
            <p:cNvSpPr/>
            <p:nvPr/>
          </p:nvSpPr>
          <p:spPr>
            <a:xfrm>
              <a:off x="1748025" y="3941425"/>
              <a:ext cx="144150" cy="88250"/>
            </a:xfrm>
            <a:custGeom>
              <a:avLst/>
              <a:gdLst/>
              <a:ahLst/>
              <a:cxnLst/>
              <a:rect l="l" t="t" r="r" b="b"/>
              <a:pathLst>
                <a:path w="5766" h="3530" extrusionOk="0">
                  <a:moveTo>
                    <a:pt x="824" y="0"/>
                  </a:moveTo>
                  <a:lnTo>
                    <a:pt x="588" y="236"/>
                  </a:lnTo>
                  <a:lnTo>
                    <a:pt x="353" y="471"/>
                  </a:lnTo>
                  <a:lnTo>
                    <a:pt x="235" y="824"/>
                  </a:lnTo>
                  <a:lnTo>
                    <a:pt x="118" y="1177"/>
                  </a:lnTo>
                  <a:lnTo>
                    <a:pt x="118" y="2000"/>
                  </a:lnTo>
                  <a:lnTo>
                    <a:pt x="0" y="3295"/>
                  </a:lnTo>
                  <a:lnTo>
                    <a:pt x="706" y="3295"/>
                  </a:lnTo>
                  <a:lnTo>
                    <a:pt x="824" y="2000"/>
                  </a:lnTo>
                  <a:lnTo>
                    <a:pt x="824" y="1883"/>
                  </a:lnTo>
                  <a:lnTo>
                    <a:pt x="941" y="1294"/>
                  </a:lnTo>
                  <a:lnTo>
                    <a:pt x="1177" y="1059"/>
                  </a:lnTo>
                  <a:lnTo>
                    <a:pt x="1294" y="941"/>
                  </a:lnTo>
                  <a:lnTo>
                    <a:pt x="3412" y="941"/>
                  </a:lnTo>
                  <a:lnTo>
                    <a:pt x="4118" y="1059"/>
                  </a:lnTo>
                  <a:lnTo>
                    <a:pt x="4589" y="1059"/>
                  </a:lnTo>
                  <a:lnTo>
                    <a:pt x="4824" y="1294"/>
                  </a:lnTo>
                  <a:lnTo>
                    <a:pt x="4942" y="1530"/>
                  </a:lnTo>
                  <a:lnTo>
                    <a:pt x="5059" y="1883"/>
                  </a:lnTo>
                  <a:lnTo>
                    <a:pt x="5059" y="2000"/>
                  </a:lnTo>
                  <a:lnTo>
                    <a:pt x="5059" y="2236"/>
                  </a:lnTo>
                  <a:lnTo>
                    <a:pt x="4942" y="3412"/>
                  </a:lnTo>
                  <a:lnTo>
                    <a:pt x="4942" y="3530"/>
                  </a:lnTo>
                  <a:lnTo>
                    <a:pt x="5648" y="3530"/>
                  </a:lnTo>
                  <a:lnTo>
                    <a:pt x="5765" y="2236"/>
                  </a:lnTo>
                  <a:lnTo>
                    <a:pt x="5765" y="1530"/>
                  </a:lnTo>
                  <a:lnTo>
                    <a:pt x="5765" y="941"/>
                  </a:lnTo>
                  <a:lnTo>
                    <a:pt x="5530" y="471"/>
                  </a:lnTo>
                  <a:lnTo>
                    <a:pt x="5295" y="236"/>
                  </a:lnTo>
                  <a:lnTo>
                    <a:pt x="4942" y="118"/>
                  </a:lnTo>
                  <a:lnTo>
                    <a:pt x="4000" y="118"/>
                  </a:lnTo>
                  <a:lnTo>
                    <a:pt x="3294" y="0"/>
                  </a:lnTo>
                  <a:close/>
                </a:path>
              </a:pathLst>
            </a:custGeom>
            <a:solidFill>
              <a:srgbClr val="221C2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13" name="Google Shape;1313;p16"/>
            <p:cNvSpPr/>
            <p:nvPr/>
          </p:nvSpPr>
          <p:spPr>
            <a:xfrm>
              <a:off x="1765650" y="3850225"/>
              <a:ext cx="120625" cy="129450"/>
            </a:xfrm>
            <a:custGeom>
              <a:avLst/>
              <a:gdLst/>
              <a:ahLst/>
              <a:cxnLst/>
              <a:rect l="l" t="t" r="r" b="b"/>
              <a:pathLst>
                <a:path w="4825" h="5178" extrusionOk="0">
                  <a:moveTo>
                    <a:pt x="707" y="1"/>
                  </a:moveTo>
                  <a:lnTo>
                    <a:pt x="589" y="118"/>
                  </a:lnTo>
                  <a:lnTo>
                    <a:pt x="236" y="1295"/>
                  </a:lnTo>
                  <a:lnTo>
                    <a:pt x="119" y="2119"/>
                  </a:lnTo>
                  <a:lnTo>
                    <a:pt x="1" y="2942"/>
                  </a:lnTo>
                  <a:lnTo>
                    <a:pt x="119" y="3531"/>
                  </a:lnTo>
                  <a:lnTo>
                    <a:pt x="354" y="4119"/>
                  </a:lnTo>
                  <a:lnTo>
                    <a:pt x="589" y="4707"/>
                  </a:lnTo>
                  <a:lnTo>
                    <a:pt x="1060" y="5060"/>
                  </a:lnTo>
                  <a:lnTo>
                    <a:pt x="1648" y="5178"/>
                  </a:lnTo>
                  <a:lnTo>
                    <a:pt x="2354" y="5178"/>
                  </a:lnTo>
                  <a:lnTo>
                    <a:pt x="3060" y="4942"/>
                  </a:lnTo>
                  <a:lnTo>
                    <a:pt x="3413" y="4707"/>
                  </a:lnTo>
                  <a:lnTo>
                    <a:pt x="3531" y="4472"/>
                  </a:lnTo>
                  <a:lnTo>
                    <a:pt x="3531" y="4354"/>
                  </a:lnTo>
                  <a:lnTo>
                    <a:pt x="3413" y="4001"/>
                  </a:lnTo>
                  <a:lnTo>
                    <a:pt x="3295" y="3766"/>
                  </a:lnTo>
                  <a:lnTo>
                    <a:pt x="3413" y="3766"/>
                  </a:lnTo>
                  <a:lnTo>
                    <a:pt x="3884" y="4119"/>
                  </a:lnTo>
                  <a:lnTo>
                    <a:pt x="4237" y="4237"/>
                  </a:lnTo>
                  <a:lnTo>
                    <a:pt x="4825" y="4237"/>
                  </a:lnTo>
                  <a:lnTo>
                    <a:pt x="4825" y="4001"/>
                  </a:lnTo>
                  <a:lnTo>
                    <a:pt x="4707" y="3413"/>
                  </a:lnTo>
                  <a:lnTo>
                    <a:pt x="4354" y="2589"/>
                  </a:lnTo>
                  <a:lnTo>
                    <a:pt x="4001" y="1766"/>
                  </a:lnTo>
                  <a:lnTo>
                    <a:pt x="3884" y="1295"/>
                  </a:lnTo>
                  <a:lnTo>
                    <a:pt x="3648" y="942"/>
                  </a:lnTo>
                  <a:lnTo>
                    <a:pt x="3531" y="707"/>
                  </a:lnTo>
                  <a:lnTo>
                    <a:pt x="3413" y="236"/>
                  </a:lnTo>
                  <a:lnTo>
                    <a:pt x="2001" y="1"/>
                  </a:lnTo>
                  <a:close/>
                </a:path>
              </a:pathLst>
            </a:custGeom>
            <a:solidFill>
              <a:srgbClr val="EEADA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14" name="Google Shape;1314;p16"/>
            <p:cNvSpPr/>
            <p:nvPr/>
          </p:nvSpPr>
          <p:spPr>
            <a:xfrm>
              <a:off x="1850975" y="3944350"/>
              <a:ext cx="41200" cy="85325"/>
            </a:xfrm>
            <a:custGeom>
              <a:avLst/>
              <a:gdLst/>
              <a:ahLst/>
              <a:cxnLst/>
              <a:rect l="l" t="t" r="r" b="b"/>
              <a:pathLst>
                <a:path w="1648" h="3413" extrusionOk="0">
                  <a:moveTo>
                    <a:pt x="0" y="1"/>
                  </a:moveTo>
                  <a:lnTo>
                    <a:pt x="0" y="119"/>
                  </a:lnTo>
                  <a:lnTo>
                    <a:pt x="0" y="236"/>
                  </a:lnTo>
                  <a:lnTo>
                    <a:pt x="118" y="472"/>
                  </a:lnTo>
                  <a:lnTo>
                    <a:pt x="235" y="942"/>
                  </a:lnTo>
                  <a:lnTo>
                    <a:pt x="471" y="942"/>
                  </a:lnTo>
                  <a:lnTo>
                    <a:pt x="706" y="1177"/>
                  </a:lnTo>
                  <a:lnTo>
                    <a:pt x="824" y="1413"/>
                  </a:lnTo>
                  <a:lnTo>
                    <a:pt x="941" y="1766"/>
                  </a:lnTo>
                  <a:lnTo>
                    <a:pt x="941" y="1883"/>
                  </a:lnTo>
                  <a:lnTo>
                    <a:pt x="941" y="2119"/>
                  </a:lnTo>
                  <a:lnTo>
                    <a:pt x="824" y="3295"/>
                  </a:lnTo>
                  <a:lnTo>
                    <a:pt x="824" y="3413"/>
                  </a:lnTo>
                  <a:lnTo>
                    <a:pt x="1530" y="3413"/>
                  </a:lnTo>
                  <a:lnTo>
                    <a:pt x="1647" y="2119"/>
                  </a:lnTo>
                  <a:lnTo>
                    <a:pt x="1647" y="1413"/>
                  </a:lnTo>
                  <a:lnTo>
                    <a:pt x="1647" y="824"/>
                  </a:lnTo>
                  <a:lnTo>
                    <a:pt x="1412" y="354"/>
                  </a:lnTo>
                  <a:lnTo>
                    <a:pt x="1177" y="119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221C2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15" name="Google Shape;1315;p16"/>
            <p:cNvSpPr/>
            <p:nvPr/>
          </p:nvSpPr>
          <p:spPr>
            <a:xfrm>
              <a:off x="1553875" y="3985550"/>
              <a:ext cx="547125" cy="332400"/>
            </a:xfrm>
            <a:custGeom>
              <a:avLst/>
              <a:gdLst/>
              <a:ahLst/>
              <a:cxnLst/>
              <a:rect l="l" t="t" r="r" b="b"/>
              <a:pathLst>
                <a:path w="21885" h="13296" extrusionOk="0">
                  <a:moveTo>
                    <a:pt x="2589" y="0"/>
                  </a:moveTo>
                  <a:lnTo>
                    <a:pt x="2001" y="118"/>
                  </a:lnTo>
                  <a:lnTo>
                    <a:pt x="1530" y="235"/>
                  </a:lnTo>
                  <a:lnTo>
                    <a:pt x="1177" y="471"/>
                  </a:lnTo>
                  <a:lnTo>
                    <a:pt x="824" y="706"/>
                  </a:lnTo>
                  <a:lnTo>
                    <a:pt x="354" y="1412"/>
                  </a:lnTo>
                  <a:lnTo>
                    <a:pt x="118" y="2000"/>
                  </a:lnTo>
                  <a:lnTo>
                    <a:pt x="1" y="10825"/>
                  </a:lnTo>
                  <a:lnTo>
                    <a:pt x="1" y="11413"/>
                  </a:lnTo>
                  <a:lnTo>
                    <a:pt x="118" y="11648"/>
                  </a:lnTo>
                  <a:lnTo>
                    <a:pt x="236" y="12001"/>
                  </a:lnTo>
                  <a:lnTo>
                    <a:pt x="471" y="12354"/>
                  </a:lnTo>
                  <a:lnTo>
                    <a:pt x="824" y="12590"/>
                  </a:lnTo>
                  <a:lnTo>
                    <a:pt x="1295" y="12707"/>
                  </a:lnTo>
                  <a:lnTo>
                    <a:pt x="2001" y="12825"/>
                  </a:lnTo>
                  <a:lnTo>
                    <a:pt x="20238" y="13296"/>
                  </a:lnTo>
                  <a:lnTo>
                    <a:pt x="20708" y="13296"/>
                  </a:lnTo>
                  <a:lnTo>
                    <a:pt x="21061" y="13060"/>
                  </a:lnTo>
                  <a:lnTo>
                    <a:pt x="21297" y="12707"/>
                  </a:lnTo>
                  <a:lnTo>
                    <a:pt x="21414" y="12354"/>
                  </a:lnTo>
                  <a:lnTo>
                    <a:pt x="21885" y="2942"/>
                  </a:lnTo>
                  <a:lnTo>
                    <a:pt x="21767" y="2471"/>
                  </a:lnTo>
                  <a:lnTo>
                    <a:pt x="21650" y="2118"/>
                  </a:lnTo>
                  <a:lnTo>
                    <a:pt x="21532" y="1647"/>
                  </a:lnTo>
                  <a:lnTo>
                    <a:pt x="21179" y="1412"/>
                  </a:lnTo>
                  <a:lnTo>
                    <a:pt x="20826" y="1059"/>
                  </a:lnTo>
                  <a:lnTo>
                    <a:pt x="20473" y="941"/>
                  </a:lnTo>
                  <a:lnTo>
                    <a:pt x="20002" y="706"/>
                  </a:lnTo>
                  <a:lnTo>
                    <a:pt x="18826" y="706"/>
                  </a:lnTo>
                  <a:lnTo>
                    <a:pt x="2589" y="0"/>
                  </a:lnTo>
                  <a:close/>
                </a:path>
              </a:pathLst>
            </a:custGeom>
            <a:solidFill>
              <a:srgbClr val="65646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16" name="Google Shape;1316;p16"/>
            <p:cNvSpPr/>
            <p:nvPr/>
          </p:nvSpPr>
          <p:spPr>
            <a:xfrm>
              <a:off x="2024500" y="4003200"/>
              <a:ext cx="76500" cy="314750"/>
            </a:xfrm>
            <a:custGeom>
              <a:avLst/>
              <a:gdLst/>
              <a:ahLst/>
              <a:cxnLst/>
              <a:rect l="l" t="t" r="r" b="b"/>
              <a:pathLst>
                <a:path w="3060" h="12590" extrusionOk="0">
                  <a:moveTo>
                    <a:pt x="1" y="0"/>
                  </a:moveTo>
                  <a:lnTo>
                    <a:pt x="589" y="2118"/>
                  </a:lnTo>
                  <a:lnTo>
                    <a:pt x="1060" y="4589"/>
                  </a:lnTo>
                  <a:lnTo>
                    <a:pt x="1295" y="5883"/>
                  </a:lnTo>
                  <a:lnTo>
                    <a:pt x="1413" y="7177"/>
                  </a:lnTo>
                  <a:lnTo>
                    <a:pt x="1413" y="8471"/>
                  </a:lnTo>
                  <a:lnTo>
                    <a:pt x="1295" y="9766"/>
                  </a:lnTo>
                  <a:lnTo>
                    <a:pt x="1177" y="10707"/>
                  </a:lnTo>
                  <a:lnTo>
                    <a:pt x="1177" y="11531"/>
                  </a:lnTo>
                  <a:lnTo>
                    <a:pt x="1295" y="12119"/>
                  </a:lnTo>
                  <a:lnTo>
                    <a:pt x="1413" y="12590"/>
                  </a:lnTo>
                  <a:lnTo>
                    <a:pt x="1883" y="12590"/>
                  </a:lnTo>
                  <a:lnTo>
                    <a:pt x="2236" y="12354"/>
                  </a:lnTo>
                  <a:lnTo>
                    <a:pt x="2472" y="12001"/>
                  </a:lnTo>
                  <a:lnTo>
                    <a:pt x="2589" y="11648"/>
                  </a:lnTo>
                  <a:lnTo>
                    <a:pt x="3060" y="2236"/>
                  </a:lnTo>
                  <a:lnTo>
                    <a:pt x="2942" y="1765"/>
                  </a:lnTo>
                  <a:lnTo>
                    <a:pt x="2825" y="1412"/>
                  </a:lnTo>
                  <a:lnTo>
                    <a:pt x="2707" y="941"/>
                  </a:lnTo>
                  <a:lnTo>
                    <a:pt x="2354" y="706"/>
                  </a:lnTo>
                  <a:lnTo>
                    <a:pt x="2001" y="353"/>
                  </a:lnTo>
                  <a:lnTo>
                    <a:pt x="1648" y="235"/>
                  </a:lnTo>
                  <a:lnTo>
                    <a:pt x="1177" y="0"/>
                  </a:lnTo>
                  <a:close/>
                </a:path>
              </a:pathLst>
            </a:custGeom>
            <a:solidFill>
              <a:srgbClr val="91929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17" name="Google Shape;1317;p16"/>
            <p:cNvSpPr/>
            <p:nvPr/>
          </p:nvSpPr>
          <p:spPr>
            <a:xfrm>
              <a:off x="1721550" y="3032500"/>
              <a:ext cx="467700" cy="853050"/>
            </a:xfrm>
            <a:custGeom>
              <a:avLst/>
              <a:gdLst/>
              <a:ahLst/>
              <a:cxnLst/>
              <a:rect l="l" t="t" r="r" b="b"/>
              <a:pathLst>
                <a:path w="18708" h="34122" extrusionOk="0">
                  <a:moveTo>
                    <a:pt x="15296" y="1"/>
                  </a:moveTo>
                  <a:lnTo>
                    <a:pt x="14354" y="118"/>
                  </a:lnTo>
                  <a:lnTo>
                    <a:pt x="13531" y="354"/>
                  </a:lnTo>
                  <a:lnTo>
                    <a:pt x="12825" y="707"/>
                  </a:lnTo>
                  <a:lnTo>
                    <a:pt x="12707" y="824"/>
                  </a:lnTo>
                  <a:lnTo>
                    <a:pt x="10001" y="3766"/>
                  </a:lnTo>
                  <a:lnTo>
                    <a:pt x="8001" y="6001"/>
                  </a:lnTo>
                  <a:lnTo>
                    <a:pt x="5883" y="8590"/>
                  </a:lnTo>
                  <a:lnTo>
                    <a:pt x="3765" y="11296"/>
                  </a:lnTo>
                  <a:lnTo>
                    <a:pt x="2000" y="13884"/>
                  </a:lnTo>
                  <a:lnTo>
                    <a:pt x="1294" y="15061"/>
                  </a:lnTo>
                  <a:lnTo>
                    <a:pt x="706" y="16238"/>
                  </a:lnTo>
                  <a:lnTo>
                    <a:pt x="235" y="17179"/>
                  </a:lnTo>
                  <a:lnTo>
                    <a:pt x="0" y="18120"/>
                  </a:lnTo>
                  <a:lnTo>
                    <a:pt x="0" y="19061"/>
                  </a:lnTo>
                  <a:lnTo>
                    <a:pt x="0" y="20944"/>
                  </a:lnTo>
                  <a:lnTo>
                    <a:pt x="353" y="26003"/>
                  </a:lnTo>
                  <a:lnTo>
                    <a:pt x="706" y="30945"/>
                  </a:lnTo>
                  <a:lnTo>
                    <a:pt x="941" y="32710"/>
                  </a:lnTo>
                  <a:lnTo>
                    <a:pt x="1177" y="33651"/>
                  </a:lnTo>
                  <a:lnTo>
                    <a:pt x="1412" y="33886"/>
                  </a:lnTo>
                  <a:lnTo>
                    <a:pt x="1530" y="34004"/>
                  </a:lnTo>
                  <a:lnTo>
                    <a:pt x="2236" y="34122"/>
                  </a:lnTo>
                  <a:lnTo>
                    <a:pt x="3059" y="34004"/>
                  </a:lnTo>
                  <a:lnTo>
                    <a:pt x="3883" y="33886"/>
                  </a:lnTo>
                  <a:lnTo>
                    <a:pt x="5530" y="33416"/>
                  </a:lnTo>
                  <a:lnTo>
                    <a:pt x="6001" y="33063"/>
                  </a:lnTo>
                  <a:lnTo>
                    <a:pt x="6236" y="32945"/>
                  </a:lnTo>
                  <a:lnTo>
                    <a:pt x="5765" y="26827"/>
                  </a:lnTo>
                  <a:lnTo>
                    <a:pt x="5648" y="22356"/>
                  </a:lnTo>
                  <a:lnTo>
                    <a:pt x="5648" y="20591"/>
                  </a:lnTo>
                  <a:lnTo>
                    <a:pt x="5765" y="19414"/>
                  </a:lnTo>
                  <a:lnTo>
                    <a:pt x="6118" y="18473"/>
                  </a:lnTo>
                  <a:lnTo>
                    <a:pt x="6589" y="17532"/>
                  </a:lnTo>
                  <a:lnTo>
                    <a:pt x="7766" y="16238"/>
                  </a:lnTo>
                  <a:lnTo>
                    <a:pt x="10001" y="13884"/>
                  </a:lnTo>
                  <a:lnTo>
                    <a:pt x="10119" y="13767"/>
                  </a:lnTo>
                  <a:lnTo>
                    <a:pt x="12590" y="11061"/>
                  </a:lnTo>
                  <a:lnTo>
                    <a:pt x="12707" y="10943"/>
                  </a:lnTo>
                  <a:lnTo>
                    <a:pt x="17061" y="5884"/>
                  </a:lnTo>
                  <a:lnTo>
                    <a:pt x="17296" y="5531"/>
                  </a:lnTo>
                  <a:lnTo>
                    <a:pt x="17766" y="4707"/>
                  </a:lnTo>
                  <a:lnTo>
                    <a:pt x="18237" y="3530"/>
                  </a:lnTo>
                  <a:lnTo>
                    <a:pt x="18472" y="2707"/>
                  </a:lnTo>
                  <a:lnTo>
                    <a:pt x="18708" y="2001"/>
                  </a:lnTo>
                  <a:lnTo>
                    <a:pt x="18708" y="1530"/>
                  </a:lnTo>
                  <a:lnTo>
                    <a:pt x="18590" y="1177"/>
                  </a:lnTo>
                  <a:lnTo>
                    <a:pt x="18355" y="942"/>
                  </a:lnTo>
                  <a:lnTo>
                    <a:pt x="18119" y="707"/>
                  </a:lnTo>
                  <a:lnTo>
                    <a:pt x="17296" y="236"/>
                  </a:lnTo>
                  <a:lnTo>
                    <a:pt x="16355" y="118"/>
                  </a:lnTo>
                  <a:lnTo>
                    <a:pt x="15296" y="1"/>
                  </a:lnTo>
                  <a:close/>
                </a:path>
              </a:pathLst>
            </a:custGeom>
            <a:solidFill>
              <a:srgbClr val="E47D0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18" name="Google Shape;1318;p16"/>
            <p:cNvSpPr/>
            <p:nvPr/>
          </p:nvSpPr>
          <p:spPr>
            <a:xfrm>
              <a:off x="1721550" y="3032500"/>
              <a:ext cx="467700" cy="853050"/>
            </a:xfrm>
            <a:custGeom>
              <a:avLst/>
              <a:gdLst/>
              <a:ahLst/>
              <a:cxnLst/>
              <a:rect l="l" t="t" r="r" b="b"/>
              <a:pathLst>
                <a:path w="18708" h="34122" fill="none" extrusionOk="0">
                  <a:moveTo>
                    <a:pt x="18708" y="2001"/>
                  </a:moveTo>
                  <a:lnTo>
                    <a:pt x="18708" y="2001"/>
                  </a:lnTo>
                  <a:lnTo>
                    <a:pt x="18472" y="2707"/>
                  </a:lnTo>
                  <a:lnTo>
                    <a:pt x="18237" y="3530"/>
                  </a:lnTo>
                  <a:lnTo>
                    <a:pt x="17766" y="4707"/>
                  </a:lnTo>
                  <a:lnTo>
                    <a:pt x="17296" y="5531"/>
                  </a:lnTo>
                  <a:lnTo>
                    <a:pt x="17061" y="5884"/>
                  </a:lnTo>
                  <a:lnTo>
                    <a:pt x="17061" y="5884"/>
                  </a:lnTo>
                  <a:lnTo>
                    <a:pt x="12707" y="10943"/>
                  </a:lnTo>
                  <a:lnTo>
                    <a:pt x="12590" y="11061"/>
                  </a:lnTo>
                  <a:lnTo>
                    <a:pt x="12590" y="11061"/>
                  </a:lnTo>
                  <a:lnTo>
                    <a:pt x="12590" y="11061"/>
                  </a:lnTo>
                  <a:lnTo>
                    <a:pt x="10119" y="13767"/>
                  </a:lnTo>
                  <a:lnTo>
                    <a:pt x="10119" y="13767"/>
                  </a:lnTo>
                  <a:lnTo>
                    <a:pt x="10001" y="13884"/>
                  </a:lnTo>
                  <a:lnTo>
                    <a:pt x="10001" y="13884"/>
                  </a:lnTo>
                  <a:lnTo>
                    <a:pt x="7766" y="16238"/>
                  </a:lnTo>
                  <a:lnTo>
                    <a:pt x="6589" y="17532"/>
                  </a:lnTo>
                  <a:lnTo>
                    <a:pt x="6118" y="18473"/>
                  </a:lnTo>
                  <a:lnTo>
                    <a:pt x="5765" y="19414"/>
                  </a:lnTo>
                  <a:lnTo>
                    <a:pt x="5765" y="19414"/>
                  </a:lnTo>
                  <a:lnTo>
                    <a:pt x="5648" y="20591"/>
                  </a:lnTo>
                  <a:lnTo>
                    <a:pt x="5648" y="22356"/>
                  </a:lnTo>
                  <a:lnTo>
                    <a:pt x="5765" y="26827"/>
                  </a:lnTo>
                  <a:lnTo>
                    <a:pt x="6236" y="32945"/>
                  </a:lnTo>
                  <a:lnTo>
                    <a:pt x="6236" y="32945"/>
                  </a:lnTo>
                  <a:lnTo>
                    <a:pt x="6001" y="33063"/>
                  </a:lnTo>
                  <a:lnTo>
                    <a:pt x="5530" y="33416"/>
                  </a:lnTo>
                  <a:lnTo>
                    <a:pt x="3883" y="33886"/>
                  </a:lnTo>
                  <a:lnTo>
                    <a:pt x="3059" y="34004"/>
                  </a:lnTo>
                  <a:lnTo>
                    <a:pt x="2236" y="34122"/>
                  </a:lnTo>
                  <a:lnTo>
                    <a:pt x="1530" y="34004"/>
                  </a:lnTo>
                  <a:lnTo>
                    <a:pt x="1412" y="33886"/>
                  </a:lnTo>
                  <a:lnTo>
                    <a:pt x="1177" y="33651"/>
                  </a:lnTo>
                  <a:lnTo>
                    <a:pt x="1177" y="33651"/>
                  </a:lnTo>
                  <a:lnTo>
                    <a:pt x="941" y="32710"/>
                  </a:lnTo>
                  <a:lnTo>
                    <a:pt x="706" y="30945"/>
                  </a:lnTo>
                  <a:lnTo>
                    <a:pt x="353" y="26003"/>
                  </a:lnTo>
                  <a:lnTo>
                    <a:pt x="0" y="20944"/>
                  </a:lnTo>
                  <a:lnTo>
                    <a:pt x="0" y="19061"/>
                  </a:lnTo>
                  <a:lnTo>
                    <a:pt x="0" y="18120"/>
                  </a:lnTo>
                  <a:lnTo>
                    <a:pt x="0" y="18120"/>
                  </a:lnTo>
                  <a:lnTo>
                    <a:pt x="235" y="17179"/>
                  </a:lnTo>
                  <a:lnTo>
                    <a:pt x="706" y="16238"/>
                  </a:lnTo>
                  <a:lnTo>
                    <a:pt x="1294" y="15061"/>
                  </a:lnTo>
                  <a:lnTo>
                    <a:pt x="2000" y="13884"/>
                  </a:lnTo>
                  <a:lnTo>
                    <a:pt x="3765" y="11296"/>
                  </a:lnTo>
                  <a:lnTo>
                    <a:pt x="5883" y="8590"/>
                  </a:lnTo>
                  <a:lnTo>
                    <a:pt x="8001" y="6001"/>
                  </a:lnTo>
                  <a:lnTo>
                    <a:pt x="10001" y="3766"/>
                  </a:lnTo>
                  <a:lnTo>
                    <a:pt x="12707" y="824"/>
                  </a:lnTo>
                  <a:lnTo>
                    <a:pt x="12707" y="824"/>
                  </a:lnTo>
                  <a:lnTo>
                    <a:pt x="12825" y="707"/>
                  </a:lnTo>
                  <a:lnTo>
                    <a:pt x="12825" y="707"/>
                  </a:lnTo>
                  <a:lnTo>
                    <a:pt x="13531" y="354"/>
                  </a:lnTo>
                  <a:lnTo>
                    <a:pt x="14354" y="118"/>
                  </a:lnTo>
                  <a:lnTo>
                    <a:pt x="15296" y="1"/>
                  </a:lnTo>
                  <a:lnTo>
                    <a:pt x="16355" y="118"/>
                  </a:lnTo>
                  <a:lnTo>
                    <a:pt x="16355" y="118"/>
                  </a:lnTo>
                  <a:lnTo>
                    <a:pt x="17296" y="236"/>
                  </a:lnTo>
                  <a:lnTo>
                    <a:pt x="18119" y="707"/>
                  </a:lnTo>
                  <a:lnTo>
                    <a:pt x="18355" y="942"/>
                  </a:lnTo>
                  <a:lnTo>
                    <a:pt x="18590" y="1177"/>
                  </a:lnTo>
                  <a:lnTo>
                    <a:pt x="18708" y="1530"/>
                  </a:lnTo>
                  <a:lnTo>
                    <a:pt x="18708" y="200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19" name="Google Shape;1319;p16"/>
            <p:cNvSpPr/>
            <p:nvPr/>
          </p:nvSpPr>
          <p:spPr>
            <a:xfrm>
              <a:off x="2289250" y="3008975"/>
              <a:ext cx="20600" cy="14725"/>
            </a:xfrm>
            <a:custGeom>
              <a:avLst/>
              <a:gdLst/>
              <a:ahLst/>
              <a:cxnLst/>
              <a:rect l="l" t="t" r="r" b="b"/>
              <a:pathLst>
                <a:path w="824" h="589" extrusionOk="0">
                  <a:moveTo>
                    <a:pt x="353" y="0"/>
                  </a:moveTo>
                  <a:lnTo>
                    <a:pt x="235" y="118"/>
                  </a:lnTo>
                  <a:lnTo>
                    <a:pt x="0" y="471"/>
                  </a:lnTo>
                  <a:lnTo>
                    <a:pt x="588" y="589"/>
                  </a:lnTo>
                  <a:lnTo>
                    <a:pt x="824" y="353"/>
                  </a:lnTo>
                  <a:lnTo>
                    <a:pt x="824" y="118"/>
                  </a:lnTo>
                  <a:lnTo>
                    <a:pt x="706" y="0"/>
                  </a:lnTo>
                  <a:close/>
                </a:path>
              </a:pathLst>
            </a:custGeom>
            <a:solidFill>
              <a:srgbClr val="C0898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20" name="Google Shape;1320;p16"/>
            <p:cNvSpPr/>
            <p:nvPr/>
          </p:nvSpPr>
          <p:spPr>
            <a:xfrm>
              <a:off x="2289250" y="3008975"/>
              <a:ext cx="20600" cy="14725"/>
            </a:xfrm>
            <a:custGeom>
              <a:avLst/>
              <a:gdLst/>
              <a:ahLst/>
              <a:cxnLst/>
              <a:rect l="l" t="t" r="r" b="b"/>
              <a:pathLst>
                <a:path w="824" h="589" fill="none" extrusionOk="0">
                  <a:moveTo>
                    <a:pt x="588" y="0"/>
                  </a:moveTo>
                  <a:lnTo>
                    <a:pt x="588" y="0"/>
                  </a:lnTo>
                  <a:lnTo>
                    <a:pt x="588" y="0"/>
                  </a:lnTo>
                  <a:lnTo>
                    <a:pt x="588" y="0"/>
                  </a:lnTo>
                  <a:lnTo>
                    <a:pt x="353" y="0"/>
                  </a:lnTo>
                  <a:lnTo>
                    <a:pt x="235" y="118"/>
                  </a:lnTo>
                  <a:lnTo>
                    <a:pt x="0" y="471"/>
                  </a:lnTo>
                  <a:lnTo>
                    <a:pt x="0" y="471"/>
                  </a:lnTo>
                  <a:lnTo>
                    <a:pt x="588" y="589"/>
                  </a:lnTo>
                  <a:lnTo>
                    <a:pt x="588" y="589"/>
                  </a:lnTo>
                  <a:lnTo>
                    <a:pt x="588" y="589"/>
                  </a:lnTo>
                  <a:lnTo>
                    <a:pt x="588" y="589"/>
                  </a:lnTo>
                  <a:lnTo>
                    <a:pt x="824" y="353"/>
                  </a:lnTo>
                  <a:lnTo>
                    <a:pt x="824" y="353"/>
                  </a:lnTo>
                  <a:lnTo>
                    <a:pt x="824" y="118"/>
                  </a:lnTo>
                  <a:lnTo>
                    <a:pt x="706" y="0"/>
                  </a:lnTo>
                  <a:lnTo>
                    <a:pt x="58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21" name="Google Shape;1321;p16"/>
            <p:cNvSpPr/>
            <p:nvPr/>
          </p:nvSpPr>
          <p:spPr>
            <a:xfrm>
              <a:off x="2224525" y="3020750"/>
              <a:ext cx="79450" cy="97075"/>
            </a:xfrm>
            <a:custGeom>
              <a:avLst/>
              <a:gdLst/>
              <a:ahLst/>
              <a:cxnLst/>
              <a:rect l="l" t="t" r="r" b="b"/>
              <a:pathLst>
                <a:path w="3178" h="3883" extrusionOk="0">
                  <a:moveTo>
                    <a:pt x="2589" y="0"/>
                  </a:moveTo>
                  <a:lnTo>
                    <a:pt x="2354" y="353"/>
                  </a:lnTo>
                  <a:lnTo>
                    <a:pt x="1295" y="1294"/>
                  </a:lnTo>
                  <a:lnTo>
                    <a:pt x="707" y="1765"/>
                  </a:lnTo>
                  <a:lnTo>
                    <a:pt x="1" y="2118"/>
                  </a:lnTo>
                  <a:lnTo>
                    <a:pt x="1" y="3883"/>
                  </a:lnTo>
                  <a:lnTo>
                    <a:pt x="707" y="3412"/>
                  </a:lnTo>
                  <a:lnTo>
                    <a:pt x="1177" y="2942"/>
                  </a:lnTo>
                  <a:lnTo>
                    <a:pt x="2119" y="1765"/>
                  </a:lnTo>
                  <a:lnTo>
                    <a:pt x="2707" y="706"/>
                  </a:lnTo>
                  <a:lnTo>
                    <a:pt x="3060" y="235"/>
                  </a:lnTo>
                  <a:lnTo>
                    <a:pt x="3177" y="118"/>
                  </a:lnTo>
                  <a:lnTo>
                    <a:pt x="2589" y="0"/>
                  </a:lnTo>
                  <a:close/>
                </a:path>
              </a:pathLst>
            </a:custGeom>
            <a:solidFill>
              <a:srgbClr val="C9C6D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22" name="Google Shape;1322;p16"/>
            <p:cNvSpPr/>
            <p:nvPr/>
          </p:nvSpPr>
          <p:spPr>
            <a:xfrm>
              <a:off x="2224525" y="3020750"/>
              <a:ext cx="79450" cy="97075"/>
            </a:xfrm>
            <a:custGeom>
              <a:avLst/>
              <a:gdLst/>
              <a:ahLst/>
              <a:cxnLst/>
              <a:rect l="l" t="t" r="r" b="b"/>
              <a:pathLst>
                <a:path w="3178" h="3883" fill="none" extrusionOk="0">
                  <a:moveTo>
                    <a:pt x="2589" y="0"/>
                  </a:moveTo>
                  <a:lnTo>
                    <a:pt x="2589" y="0"/>
                  </a:lnTo>
                  <a:lnTo>
                    <a:pt x="2354" y="353"/>
                  </a:lnTo>
                  <a:lnTo>
                    <a:pt x="2354" y="353"/>
                  </a:lnTo>
                  <a:lnTo>
                    <a:pt x="1295" y="1294"/>
                  </a:lnTo>
                  <a:lnTo>
                    <a:pt x="707" y="1765"/>
                  </a:lnTo>
                  <a:lnTo>
                    <a:pt x="1" y="2118"/>
                  </a:lnTo>
                  <a:lnTo>
                    <a:pt x="1" y="2118"/>
                  </a:lnTo>
                  <a:lnTo>
                    <a:pt x="1" y="3883"/>
                  </a:lnTo>
                  <a:lnTo>
                    <a:pt x="1" y="3883"/>
                  </a:lnTo>
                  <a:lnTo>
                    <a:pt x="707" y="3412"/>
                  </a:lnTo>
                  <a:lnTo>
                    <a:pt x="1177" y="2942"/>
                  </a:lnTo>
                  <a:lnTo>
                    <a:pt x="2119" y="1765"/>
                  </a:lnTo>
                  <a:lnTo>
                    <a:pt x="2707" y="706"/>
                  </a:lnTo>
                  <a:lnTo>
                    <a:pt x="3060" y="235"/>
                  </a:lnTo>
                  <a:lnTo>
                    <a:pt x="3060" y="235"/>
                  </a:lnTo>
                  <a:lnTo>
                    <a:pt x="3060" y="235"/>
                  </a:lnTo>
                  <a:lnTo>
                    <a:pt x="3060" y="235"/>
                  </a:lnTo>
                  <a:lnTo>
                    <a:pt x="3060" y="235"/>
                  </a:lnTo>
                  <a:lnTo>
                    <a:pt x="3060" y="235"/>
                  </a:lnTo>
                  <a:lnTo>
                    <a:pt x="3177" y="118"/>
                  </a:lnTo>
                  <a:lnTo>
                    <a:pt x="3177" y="118"/>
                  </a:lnTo>
                  <a:lnTo>
                    <a:pt x="3177" y="118"/>
                  </a:lnTo>
                  <a:lnTo>
                    <a:pt x="3177" y="118"/>
                  </a:lnTo>
                  <a:lnTo>
                    <a:pt x="2589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23" name="Google Shape;1323;p16"/>
            <p:cNvSpPr/>
            <p:nvPr/>
          </p:nvSpPr>
          <p:spPr>
            <a:xfrm>
              <a:off x="2171575" y="3073675"/>
              <a:ext cx="52975" cy="61800"/>
            </a:xfrm>
            <a:custGeom>
              <a:avLst/>
              <a:gdLst/>
              <a:ahLst/>
              <a:cxnLst/>
              <a:rect l="l" t="t" r="r" b="b"/>
              <a:pathLst>
                <a:path w="2119" h="2472" extrusionOk="0">
                  <a:moveTo>
                    <a:pt x="2119" y="1"/>
                  </a:moveTo>
                  <a:lnTo>
                    <a:pt x="2001" y="119"/>
                  </a:lnTo>
                  <a:lnTo>
                    <a:pt x="1295" y="472"/>
                  </a:lnTo>
                  <a:lnTo>
                    <a:pt x="589" y="707"/>
                  </a:lnTo>
                  <a:lnTo>
                    <a:pt x="354" y="1648"/>
                  </a:lnTo>
                  <a:lnTo>
                    <a:pt x="1" y="2472"/>
                  </a:lnTo>
                  <a:lnTo>
                    <a:pt x="471" y="2354"/>
                  </a:lnTo>
                  <a:lnTo>
                    <a:pt x="1295" y="2236"/>
                  </a:lnTo>
                  <a:lnTo>
                    <a:pt x="2119" y="1883"/>
                  </a:lnTo>
                  <a:lnTo>
                    <a:pt x="2119" y="1766"/>
                  </a:lnTo>
                  <a:lnTo>
                    <a:pt x="2119" y="1"/>
                  </a:lnTo>
                  <a:close/>
                </a:path>
              </a:pathLst>
            </a:custGeom>
            <a:solidFill>
              <a:srgbClr val="B9662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24" name="Google Shape;1324;p16"/>
            <p:cNvSpPr/>
            <p:nvPr/>
          </p:nvSpPr>
          <p:spPr>
            <a:xfrm>
              <a:off x="2171575" y="3073675"/>
              <a:ext cx="52975" cy="61800"/>
            </a:xfrm>
            <a:custGeom>
              <a:avLst/>
              <a:gdLst/>
              <a:ahLst/>
              <a:cxnLst/>
              <a:rect l="l" t="t" r="r" b="b"/>
              <a:pathLst>
                <a:path w="2119" h="2472" fill="none" extrusionOk="0">
                  <a:moveTo>
                    <a:pt x="2119" y="1"/>
                  </a:moveTo>
                  <a:lnTo>
                    <a:pt x="2119" y="1"/>
                  </a:lnTo>
                  <a:lnTo>
                    <a:pt x="2001" y="119"/>
                  </a:lnTo>
                  <a:lnTo>
                    <a:pt x="2001" y="119"/>
                  </a:lnTo>
                  <a:lnTo>
                    <a:pt x="1295" y="472"/>
                  </a:lnTo>
                  <a:lnTo>
                    <a:pt x="589" y="707"/>
                  </a:lnTo>
                  <a:lnTo>
                    <a:pt x="589" y="707"/>
                  </a:lnTo>
                  <a:lnTo>
                    <a:pt x="354" y="1648"/>
                  </a:lnTo>
                  <a:lnTo>
                    <a:pt x="1" y="2472"/>
                  </a:lnTo>
                  <a:lnTo>
                    <a:pt x="1" y="2472"/>
                  </a:lnTo>
                  <a:lnTo>
                    <a:pt x="471" y="2354"/>
                  </a:lnTo>
                  <a:lnTo>
                    <a:pt x="471" y="2354"/>
                  </a:lnTo>
                  <a:lnTo>
                    <a:pt x="1295" y="2236"/>
                  </a:lnTo>
                  <a:lnTo>
                    <a:pt x="2119" y="1883"/>
                  </a:lnTo>
                  <a:lnTo>
                    <a:pt x="2119" y="1883"/>
                  </a:lnTo>
                  <a:lnTo>
                    <a:pt x="2119" y="1766"/>
                  </a:lnTo>
                  <a:lnTo>
                    <a:pt x="2119" y="1766"/>
                  </a:lnTo>
                  <a:lnTo>
                    <a:pt x="2119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25" name="Google Shape;1325;p16"/>
            <p:cNvSpPr/>
            <p:nvPr/>
          </p:nvSpPr>
          <p:spPr>
            <a:xfrm>
              <a:off x="1968625" y="3103100"/>
              <a:ext cx="20600" cy="23550"/>
            </a:xfrm>
            <a:custGeom>
              <a:avLst/>
              <a:gdLst/>
              <a:ahLst/>
              <a:cxnLst/>
              <a:rect l="l" t="t" r="r" b="b"/>
              <a:pathLst>
                <a:path w="824" h="942" extrusionOk="0">
                  <a:moveTo>
                    <a:pt x="824" y="0"/>
                  </a:moveTo>
                  <a:lnTo>
                    <a:pt x="0" y="942"/>
                  </a:lnTo>
                  <a:lnTo>
                    <a:pt x="118" y="942"/>
                  </a:lnTo>
                  <a:lnTo>
                    <a:pt x="824" y="0"/>
                  </a:lnTo>
                  <a:close/>
                </a:path>
              </a:pathLst>
            </a:custGeom>
            <a:solidFill>
              <a:srgbClr val="C9C6D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26" name="Google Shape;1326;p16"/>
            <p:cNvSpPr/>
            <p:nvPr/>
          </p:nvSpPr>
          <p:spPr>
            <a:xfrm>
              <a:off x="1968625" y="3103100"/>
              <a:ext cx="20600" cy="23550"/>
            </a:xfrm>
            <a:custGeom>
              <a:avLst/>
              <a:gdLst/>
              <a:ahLst/>
              <a:cxnLst/>
              <a:rect l="l" t="t" r="r" b="b"/>
              <a:pathLst>
                <a:path w="824" h="942" fill="none" extrusionOk="0">
                  <a:moveTo>
                    <a:pt x="824" y="0"/>
                  </a:moveTo>
                  <a:lnTo>
                    <a:pt x="824" y="0"/>
                  </a:lnTo>
                  <a:lnTo>
                    <a:pt x="0" y="942"/>
                  </a:lnTo>
                  <a:lnTo>
                    <a:pt x="0" y="942"/>
                  </a:lnTo>
                  <a:lnTo>
                    <a:pt x="118" y="942"/>
                  </a:lnTo>
                  <a:lnTo>
                    <a:pt x="118" y="942"/>
                  </a:lnTo>
                  <a:lnTo>
                    <a:pt x="82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27" name="Google Shape;1327;p16"/>
            <p:cNvSpPr/>
            <p:nvPr/>
          </p:nvSpPr>
          <p:spPr>
            <a:xfrm>
              <a:off x="1971575" y="3070750"/>
              <a:ext cx="214750" cy="64725"/>
            </a:xfrm>
            <a:custGeom>
              <a:avLst/>
              <a:gdLst/>
              <a:ahLst/>
              <a:cxnLst/>
              <a:rect l="l" t="t" r="r" b="b"/>
              <a:pathLst>
                <a:path w="8590" h="2589" extrusionOk="0">
                  <a:moveTo>
                    <a:pt x="2118" y="0"/>
                  </a:moveTo>
                  <a:lnTo>
                    <a:pt x="706" y="1294"/>
                  </a:lnTo>
                  <a:lnTo>
                    <a:pt x="0" y="2236"/>
                  </a:lnTo>
                  <a:lnTo>
                    <a:pt x="2824" y="2353"/>
                  </a:lnTo>
                  <a:lnTo>
                    <a:pt x="7295" y="2589"/>
                  </a:lnTo>
                  <a:lnTo>
                    <a:pt x="8001" y="2589"/>
                  </a:lnTo>
                  <a:lnTo>
                    <a:pt x="8354" y="1765"/>
                  </a:lnTo>
                  <a:lnTo>
                    <a:pt x="8589" y="824"/>
                  </a:lnTo>
                  <a:lnTo>
                    <a:pt x="6589" y="824"/>
                  </a:lnTo>
                  <a:lnTo>
                    <a:pt x="5059" y="589"/>
                  </a:lnTo>
                  <a:lnTo>
                    <a:pt x="2118" y="0"/>
                  </a:lnTo>
                  <a:close/>
                </a:path>
              </a:pathLst>
            </a:custGeom>
            <a:solidFill>
              <a:srgbClr val="B9662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28" name="Google Shape;1328;p16"/>
            <p:cNvSpPr/>
            <p:nvPr/>
          </p:nvSpPr>
          <p:spPr>
            <a:xfrm>
              <a:off x="1971575" y="3070750"/>
              <a:ext cx="214750" cy="64725"/>
            </a:xfrm>
            <a:custGeom>
              <a:avLst/>
              <a:gdLst/>
              <a:ahLst/>
              <a:cxnLst/>
              <a:rect l="l" t="t" r="r" b="b"/>
              <a:pathLst>
                <a:path w="8590" h="2589" fill="none" extrusionOk="0">
                  <a:moveTo>
                    <a:pt x="2118" y="0"/>
                  </a:moveTo>
                  <a:lnTo>
                    <a:pt x="2118" y="0"/>
                  </a:lnTo>
                  <a:lnTo>
                    <a:pt x="706" y="1294"/>
                  </a:lnTo>
                  <a:lnTo>
                    <a:pt x="706" y="1294"/>
                  </a:lnTo>
                  <a:lnTo>
                    <a:pt x="0" y="2236"/>
                  </a:lnTo>
                  <a:lnTo>
                    <a:pt x="0" y="2236"/>
                  </a:lnTo>
                  <a:lnTo>
                    <a:pt x="2824" y="2353"/>
                  </a:lnTo>
                  <a:lnTo>
                    <a:pt x="7295" y="2589"/>
                  </a:lnTo>
                  <a:lnTo>
                    <a:pt x="7295" y="2589"/>
                  </a:lnTo>
                  <a:lnTo>
                    <a:pt x="8001" y="2589"/>
                  </a:lnTo>
                  <a:lnTo>
                    <a:pt x="8001" y="2589"/>
                  </a:lnTo>
                  <a:lnTo>
                    <a:pt x="8354" y="1765"/>
                  </a:lnTo>
                  <a:lnTo>
                    <a:pt x="8589" y="824"/>
                  </a:lnTo>
                  <a:lnTo>
                    <a:pt x="8589" y="824"/>
                  </a:lnTo>
                  <a:lnTo>
                    <a:pt x="8236" y="824"/>
                  </a:lnTo>
                  <a:lnTo>
                    <a:pt x="8236" y="824"/>
                  </a:lnTo>
                  <a:lnTo>
                    <a:pt x="7883" y="824"/>
                  </a:lnTo>
                  <a:lnTo>
                    <a:pt x="7883" y="824"/>
                  </a:lnTo>
                  <a:lnTo>
                    <a:pt x="6589" y="824"/>
                  </a:lnTo>
                  <a:lnTo>
                    <a:pt x="5059" y="589"/>
                  </a:lnTo>
                  <a:lnTo>
                    <a:pt x="211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29" name="Google Shape;1329;p16"/>
            <p:cNvSpPr/>
            <p:nvPr/>
          </p:nvSpPr>
          <p:spPr>
            <a:xfrm>
              <a:off x="1492100" y="2997200"/>
              <a:ext cx="829525" cy="220650"/>
            </a:xfrm>
            <a:custGeom>
              <a:avLst/>
              <a:gdLst/>
              <a:ahLst/>
              <a:cxnLst/>
              <a:rect l="l" t="t" r="r" b="b"/>
              <a:pathLst>
                <a:path w="33181" h="8826" extrusionOk="0">
                  <a:moveTo>
                    <a:pt x="32357" y="1"/>
                  </a:moveTo>
                  <a:lnTo>
                    <a:pt x="32121" y="118"/>
                  </a:lnTo>
                  <a:lnTo>
                    <a:pt x="31886" y="236"/>
                  </a:lnTo>
                  <a:lnTo>
                    <a:pt x="31533" y="589"/>
                  </a:lnTo>
                  <a:lnTo>
                    <a:pt x="30710" y="1295"/>
                  </a:lnTo>
                  <a:lnTo>
                    <a:pt x="29768" y="2119"/>
                  </a:lnTo>
                  <a:lnTo>
                    <a:pt x="28592" y="2707"/>
                  </a:lnTo>
                  <a:lnTo>
                    <a:pt x="28003" y="2942"/>
                  </a:lnTo>
                  <a:lnTo>
                    <a:pt x="27297" y="3060"/>
                  </a:lnTo>
                  <a:lnTo>
                    <a:pt x="26474" y="3060"/>
                  </a:lnTo>
                  <a:lnTo>
                    <a:pt x="25533" y="2942"/>
                  </a:lnTo>
                  <a:lnTo>
                    <a:pt x="23179" y="2472"/>
                  </a:lnTo>
                  <a:lnTo>
                    <a:pt x="21885" y="2119"/>
                  </a:lnTo>
                  <a:lnTo>
                    <a:pt x="20709" y="2001"/>
                  </a:lnTo>
                  <a:lnTo>
                    <a:pt x="19414" y="1883"/>
                  </a:lnTo>
                  <a:lnTo>
                    <a:pt x="18355" y="2119"/>
                  </a:lnTo>
                  <a:lnTo>
                    <a:pt x="17414" y="2472"/>
                  </a:lnTo>
                  <a:lnTo>
                    <a:pt x="16708" y="2942"/>
                  </a:lnTo>
                  <a:lnTo>
                    <a:pt x="15179" y="4119"/>
                  </a:lnTo>
                  <a:lnTo>
                    <a:pt x="14473" y="4825"/>
                  </a:lnTo>
                  <a:lnTo>
                    <a:pt x="13531" y="5413"/>
                  </a:lnTo>
                  <a:lnTo>
                    <a:pt x="12473" y="5884"/>
                  </a:lnTo>
                  <a:lnTo>
                    <a:pt x="11178" y="6237"/>
                  </a:lnTo>
                  <a:lnTo>
                    <a:pt x="9649" y="6590"/>
                  </a:lnTo>
                  <a:lnTo>
                    <a:pt x="6707" y="6590"/>
                  </a:lnTo>
                  <a:lnTo>
                    <a:pt x="5413" y="6472"/>
                  </a:lnTo>
                  <a:lnTo>
                    <a:pt x="3178" y="6119"/>
                  </a:lnTo>
                  <a:lnTo>
                    <a:pt x="1766" y="6119"/>
                  </a:lnTo>
                  <a:lnTo>
                    <a:pt x="942" y="6354"/>
                  </a:lnTo>
                  <a:lnTo>
                    <a:pt x="354" y="6590"/>
                  </a:lnTo>
                  <a:lnTo>
                    <a:pt x="1" y="6825"/>
                  </a:lnTo>
                  <a:lnTo>
                    <a:pt x="1" y="7178"/>
                  </a:lnTo>
                  <a:lnTo>
                    <a:pt x="118" y="7531"/>
                  </a:lnTo>
                  <a:lnTo>
                    <a:pt x="471" y="8002"/>
                  </a:lnTo>
                  <a:lnTo>
                    <a:pt x="942" y="8355"/>
                  </a:lnTo>
                  <a:lnTo>
                    <a:pt x="1530" y="8590"/>
                  </a:lnTo>
                  <a:lnTo>
                    <a:pt x="2119" y="8708"/>
                  </a:lnTo>
                  <a:lnTo>
                    <a:pt x="3178" y="8708"/>
                  </a:lnTo>
                  <a:lnTo>
                    <a:pt x="6119" y="8825"/>
                  </a:lnTo>
                  <a:lnTo>
                    <a:pt x="9178" y="8708"/>
                  </a:lnTo>
                  <a:lnTo>
                    <a:pt x="10472" y="8590"/>
                  </a:lnTo>
                  <a:lnTo>
                    <a:pt x="11414" y="8472"/>
                  </a:lnTo>
                  <a:lnTo>
                    <a:pt x="12590" y="8119"/>
                  </a:lnTo>
                  <a:lnTo>
                    <a:pt x="13649" y="7649"/>
                  </a:lnTo>
                  <a:lnTo>
                    <a:pt x="14708" y="7060"/>
                  </a:lnTo>
                  <a:lnTo>
                    <a:pt x="15649" y="6354"/>
                  </a:lnTo>
                  <a:lnTo>
                    <a:pt x="17414" y="5178"/>
                  </a:lnTo>
                  <a:lnTo>
                    <a:pt x="18238" y="4707"/>
                  </a:lnTo>
                  <a:lnTo>
                    <a:pt x="18944" y="4472"/>
                  </a:lnTo>
                  <a:lnTo>
                    <a:pt x="20826" y="4472"/>
                  </a:lnTo>
                  <a:lnTo>
                    <a:pt x="23179" y="4589"/>
                  </a:lnTo>
                  <a:lnTo>
                    <a:pt x="25533" y="4825"/>
                  </a:lnTo>
                  <a:lnTo>
                    <a:pt x="26592" y="4825"/>
                  </a:lnTo>
                  <a:lnTo>
                    <a:pt x="27650" y="4707"/>
                  </a:lnTo>
                  <a:lnTo>
                    <a:pt x="28592" y="4472"/>
                  </a:lnTo>
                  <a:lnTo>
                    <a:pt x="29415" y="4119"/>
                  </a:lnTo>
                  <a:lnTo>
                    <a:pt x="30121" y="3531"/>
                  </a:lnTo>
                  <a:lnTo>
                    <a:pt x="30827" y="2825"/>
                  </a:lnTo>
                  <a:lnTo>
                    <a:pt x="31886" y="1766"/>
                  </a:lnTo>
                  <a:lnTo>
                    <a:pt x="32121" y="1413"/>
                  </a:lnTo>
                  <a:lnTo>
                    <a:pt x="32239" y="1295"/>
                  </a:lnTo>
                  <a:lnTo>
                    <a:pt x="32592" y="1413"/>
                  </a:lnTo>
                  <a:lnTo>
                    <a:pt x="32945" y="1413"/>
                  </a:lnTo>
                  <a:lnTo>
                    <a:pt x="33063" y="1295"/>
                  </a:lnTo>
                  <a:lnTo>
                    <a:pt x="33180" y="1060"/>
                  </a:lnTo>
                  <a:lnTo>
                    <a:pt x="33180" y="589"/>
                  </a:lnTo>
                  <a:lnTo>
                    <a:pt x="33063" y="354"/>
                  </a:lnTo>
                  <a:lnTo>
                    <a:pt x="32945" y="236"/>
                  </a:lnTo>
                  <a:lnTo>
                    <a:pt x="32710" y="1"/>
                  </a:lnTo>
                  <a:close/>
                </a:path>
              </a:pathLst>
            </a:custGeom>
            <a:solidFill>
              <a:srgbClr val="E83C3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0" name="Google Shape;1330;p16"/>
            <p:cNvSpPr/>
            <p:nvPr/>
          </p:nvSpPr>
          <p:spPr>
            <a:xfrm>
              <a:off x="3221675" y="3108975"/>
              <a:ext cx="47100" cy="105925"/>
            </a:xfrm>
            <a:custGeom>
              <a:avLst/>
              <a:gdLst/>
              <a:ahLst/>
              <a:cxnLst/>
              <a:rect l="l" t="t" r="r" b="b"/>
              <a:pathLst>
                <a:path w="1884" h="4237" extrusionOk="0">
                  <a:moveTo>
                    <a:pt x="1177" y="1"/>
                  </a:moveTo>
                  <a:lnTo>
                    <a:pt x="942" y="118"/>
                  </a:lnTo>
                  <a:lnTo>
                    <a:pt x="471" y="589"/>
                  </a:lnTo>
                  <a:lnTo>
                    <a:pt x="118" y="1295"/>
                  </a:lnTo>
                  <a:lnTo>
                    <a:pt x="1" y="1766"/>
                  </a:lnTo>
                  <a:lnTo>
                    <a:pt x="1" y="2236"/>
                  </a:lnTo>
                  <a:lnTo>
                    <a:pt x="1" y="3060"/>
                  </a:lnTo>
                  <a:lnTo>
                    <a:pt x="118" y="3766"/>
                  </a:lnTo>
                  <a:lnTo>
                    <a:pt x="471" y="4119"/>
                  </a:lnTo>
                  <a:lnTo>
                    <a:pt x="589" y="4237"/>
                  </a:lnTo>
                  <a:lnTo>
                    <a:pt x="707" y="4237"/>
                  </a:lnTo>
                  <a:lnTo>
                    <a:pt x="1413" y="3884"/>
                  </a:lnTo>
                  <a:lnTo>
                    <a:pt x="1766" y="3648"/>
                  </a:lnTo>
                  <a:lnTo>
                    <a:pt x="1883" y="3413"/>
                  </a:lnTo>
                  <a:lnTo>
                    <a:pt x="1413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1" name="Google Shape;1331;p16"/>
            <p:cNvSpPr/>
            <p:nvPr/>
          </p:nvSpPr>
          <p:spPr>
            <a:xfrm>
              <a:off x="3812925" y="2617750"/>
              <a:ext cx="726550" cy="1576650"/>
            </a:xfrm>
            <a:custGeom>
              <a:avLst/>
              <a:gdLst/>
              <a:ahLst/>
              <a:cxnLst/>
              <a:rect l="l" t="t" r="r" b="b"/>
              <a:pathLst>
                <a:path w="29062" h="63066" extrusionOk="0">
                  <a:moveTo>
                    <a:pt x="28709" y="1"/>
                  </a:moveTo>
                  <a:lnTo>
                    <a:pt x="28121" y="118"/>
                  </a:lnTo>
                  <a:lnTo>
                    <a:pt x="27297" y="354"/>
                  </a:lnTo>
                  <a:lnTo>
                    <a:pt x="25061" y="1530"/>
                  </a:lnTo>
                  <a:lnTo>
                    <a:pt x="22238" y="3295"/>
                  </a:lnTo>
                  <a:lnTo>
                    <a:pt x="19178" y="5178"/>
                  </a:lnTo>
                  <a:lnTo>
                    <a:pt x="13178" y="9178"/>
                  </a:lnTo>
                  <a:lnTo>
                    <a:pt x="11884" y="10237"/>
                  </a:lnTo>
                  <a:lnTo>
                    <a:pt x="10707" y="11178"/>
                  </a:lnTo>
                  <a:lnTo>
                    <a:pt x="9648" y="12355"/>
                  </a:lnTo>
                  <a:lnTo>
                    <a:pt x="8589" y="13532"/>
                  </a:lnTo>
                  <a:lnTo>
                    <a:pt x="7648" y="14826"/>
                  </a:lnTo>
                  <a:lnTo>
                    <a:pt x="6824" y="16120"/>
                  </a:lnTo>
                  <a:lnTo>
                    <a:pt x="6001" y="17414"/>
                  </a:lnTo>
                  <a:lnTo>
                    <a:pt x="5295" y="18826"/>
                  </a:lnTo>
                  <a:lnTo>
                    <a:pt x="4001" y="21768"/>
                  </a:lnTo>
                  <a:lnTo>
                    <a:pt x="2942" y="24709"/>
                  </a:lnTo>
                  <a:lnTo>
                    <a:pt x="2000" y="27768"/>
                  </a:lnTo>
                  <a:lnTo>
                    <a:pt x="1412" y="30710"/>
                  </a:lnTo>
                  <a:lnTo>
                    <a:pt x="1177" y="32122"/>
                  </a:lnTo>
                  <a:lnTo>
                    <a:pt x="941" y="33534"/>
                  </a:lnTo>
                  <a:lnTo>
                    <a:pt x="824" y="36475"/>
                  </a:lnTo>
                  <a:lnTo>
                    <a:pt x="824" y="39416"/>
                  </a:lnTo>
                  <a:lnTo>
                    <a:pt x="824" y="42476"/>
                  </a:lnTo>
                  <a:lnTo>
                    <a:pt x="941" y="45652"/>
                  </a:lnTo>
                  <a:lnTo>
                    <a:pt x="941" y="49182"/>
                  </a:lnTo>
                  <a:lnTo>
                    <a:pt x="706" y="53065"/>
                  </a:lnTo>
                  <a:lnTo>
                    <a:pt x="471" y="55065"/>
                  </a:lnTo>
                  <a:lnTo>
                    <a:pt x="118" y="57301"/>
                  </a:lnTo>
                  <a:lnTo>
                    <a:pt x="0" y="58124"/>
                  </a:lnTo>
                  <a:lnTo>
                    <a:pt x="118" y="58948"/>
                  </a:lnTo>
                  <a:lnTo>
                    <a:pt x="235" y="59536"/>
                  </a:lnTo>
                  <a:lnTo>
                    <a:pt x="471" y="60242"/>
                  </a:lnTo>
                  <a:lnTo>
                    <a:pt x="824" y="60713"/>
                  </a:lnTo>
                  <a:lnTo>
                    <a:pt x="1177" y="61183"/>
                  </a:lnTo>
                  <a:lnTo>
                    <a:pt x="2118" y="62007"/>
                  </a:lnTo>
                  <a:lnTo>
                    <a:pt x="3059" y="62478"/>
                  </a:lnTo>
                  <a:lnTo>
                    <a:pt x="3883" y="62831"/>
                  </a:lnTo>
                  <a:lnTo>
                    <a:pt x="4589" y="63066"/>
                  </a:lnTo>
                  <a:lnTo>
                    <a:pt x="5059" y="50359"/>
                  </a:lnTo>
                  <a:lnTo>
                    <a:pt x="5177" y="40005"/>
                  </a:lnTo>
                  <a:lnTo>
                    <a:pt x="5295" y="35416"/>
                  </a:lnTo>
                  <a:lnTo>
                    <a:pt x="5177" y="31769"/>
                  </a:lnTo>
                  <a:lnTo>
                    <a:pt x="5177" y="31180"/>
                  </a:lnTo>
                  <a:lnTo>
                    <a:pt x="5295" y="30474"/>
                  </a:lnTo>
                  <a:lnTo>
                    <a:pt x="5883" y="28945"/>
                  </a:lnTo>
                  <a:lnTo>
                    <a:pt x="6707" y="27298"/>
                  </a:lnTo>
                  <a:lnTo>
                    <a:pt x="7883" y="25297"/>
                  </a:lnTo>
                  <a:lnTo>
                    <a:pt x="9295" y="23297"/>
                  </a:lnTo>
                  <a:lnTo>
                    <a:pt x="10825" y="21179"/>
                  </a:lnTo>
                  <a:lnTo>
                    <a:pt x="14472" y="16708"/>
                  </a:lnTo>
                  <a:lnTo>
                    <a:pt x="18355" y="12237"/>
                  </a:lnTo>
                  <a:lnTo>
                    <a:pt x="22120" y="8119"/>
                  </a:lnTo>
                  <a:lnTo>
                    <a:pt x="27885" y="1883"/>
                  </a:lnTo>
                  <a:lnTo>
                    <a:pt x="28591" y="942"/>
                  </a:lnTo>
                  <a:lnTo>
                    <a:pt x="28944" y="354"/>
                  </a:lnTo>
                  <a:lnTo>
                    <a:pt x="29062" y="236"/>
                  </a:lnTo>
                  <a:lnTo>
                    <a:pt x="28944" y="1"/>
                  </a:lnTo>
                  <a:close/>
                </a:path>
              </a:pathLst>
            </a:custGeom>
            <a:solidFill>
              <a:srgbClr val="66A3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2" name="Google Shape;1332;p16"/>
            <p:cNvSpPr/>
            <p:nvPr/>
          </p:nvSpPr>
          <p:spPr>
            <a:xfrm>
              <a:off x="2951075" y="2247125"/>
              <a:ext cx="929525" cy="1176625"/>
            </a:xfrm>
            <a:custGeom>
              <a:avLst/>
              <a:gdLst/>
              <a:ahLst/>
              <a:cxnLst/>
              <a:rect l="l" t="t" r="r" b="b"/>
              <a:pathLst>
                <a:path w="37181" h="47065" extrusionOk="0">
                  <a:moveTo>
                    <a:pt x="0" y="1"/>
                  </a:moveTo>
                  <a:lnTo>
                    <a:pt x="236" y="4590"/>
                  </a:lnTo>
                  <a:lnTo>
                    <a:pt x="471" y="7060"/>
                  </a:lnTo>
                  <a:lnTo>
                    <a:pt x="824" y="9649"/>
                  </a:lnTo>
                  <a:lnTo>
                    <a:pt x="1412" y="12473"/>
                  </a:lnTo>
                  <a:lnTo>
                    <a:pt x="2236" y="15296"/>
                  </a:lnTo>
                  <a:lnTo>
                    <a:pt x="2706" y="16708"/>
                  </a:lnTo>
                  <a:lnTo>
                    <a:pt x="3295" y="18238"/>
                  </a:lnTo>
                  <a:lnTo>
                    <a:pt x="4001" y="19650"/>
                  </a:lnTo>
                  <a:lnTo>
                    <a:pt x="4824" y="21179"/>
                  </a:lnTo>
                  <a:lnTo>
                    <a:pt x="5766" y="22709"/>
                  </a:lnTo>
                  <a:lnTo>
                    <a:pt x="6824" y="24356"/>
                  </a:lnTo>
                  <a:lnTo>
                    <a:pt x="7883" y="25886"/>
                  </a:lnTo>
                  <a:lnTo>
                    <a:pt x="9178" y="27415"/>
                  </a:lnTo>
                  <a:lnTo>
                    <a:pt x="10590" y="29063"/>
                  </a:lnTo>
                  <a:lnTo>
                    <a:pt x="12119" y="30710"/>
                  </a:lnTo>
                  <a:lnTo>
                    <a:pt x="13766" y="32239"/>
                  </a:lnTo>
                  <a:lnTo>
                    <a:pt x="15649" y="33887"/>
                  </a:lnTo>
                  <a:lnTo>
                    <a:pt x="17649" y="35534"/>
                  </a:lnTo>
                  <a:lnTo>
                    <a:pt x="19767" y="37181"/>
                  </a:lnTo>
                  <a:lnTo>
                    <a:pt x="22120" y="38828"/>
                  </a:lnTo>
                  <a:lnTo>
                    <a:pt x="24591" y="40475"/>
                  </a:lnTo>
                  <a:lnTo>
                    <a:pt x="27297" y="42123"/>
                  </a:lnTo>
                  <a:lnTo>
                    <a:pt x="30238" y="43770"/>
                  </a:lnTo>
                  <a:lnTo>
                    <a:pt x="33298" y="45417"/>
                  </a:lnTo>
                  <a:lnTo>
                    <a:pt x="36592" y="47064"/>
                  </a:lnTo>
                  <a:lnTo>
                    <a:pt x="37180" y="44476"/>
                  </a:lnTo>
                  <a:lnTo>
                    <a:pt x="36592" y="40240"/>
                  </a:lnTo>
                  <a:lnTo>
                    <a:pt x="35886" y="36357"/>
                  </a:lnTo>
                  <a:lnTo>
                    <a:pt x="34945" y="32710"/>
                  </a:lnTo>
                  <a:lnTo>
                    <a:pt x="33886" y="29180"/>
                  </a:lnTo>
                  <a:lnTo>
                    <a:pt x="32592" y="26003"/>
                  </a:lnTo>
                  <a:lnTo>
                    <a:pt x="31180" y="23062"/>
                  </a:lnTo>
                  <a:lnTo>
                    <a:pt x="29533" y="20356"/>
                  </a:lnTo>
                  <a:lnTo>
                    <a:pt x="27768" y="17885"/>
                  </a:lnTo>
                  <a:lnTo>
                    <a:pt x="25885" y="15532"/>
                  </a:lnTo>
                  <a:lnTo>
                    <a:pt x="24003" y="13414"/>
                  </a:lnTo>
                  <a:lnTo>
                    <a:pt x="21885" y="11414"/>
                  </a:lnTo>
                  <a:lnTo>
                    <a:pt x="19649" y="9649"/>
                  </a:lnTo>
                  <a:lnTo>
                    <a:pt x="17414" y="8119"/>
                  </a:lnTo>
                  <a:lnTo>
                    <a:pt x="15061" y="6707"/>
                  </a:lnTo>
                  <a:lnTo>
                    <a:pt x="12590" y="5413"/>
                  </a:lnTo>
                  <a:lnTo>
                    <a:pt x="10119" y="4237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66A3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3" name="Google Shape;1333;p16"/>
            <p:cNvSpPr/>
            <p:nvPr/>
          </p:nvSpPr>
          <p:spPr>
            <a:xfrm>
              <a:off x="2942250" y="2244200"/>
              <a:ext cx="938350" cy="1179550"/>
            </a:xfrm>
            <a:custGeom>
              <a:avLst/>
              <a:gdLst/>
              <a:ahLst/>
              <a:cxnLst/>
              <a:rect l="l" t="t" r="r" b="b"/>
              <a:pathLst>
                <a:path w="37534" h="47182" fill="none" extrusionOk="0">
                  <a:moveTo>
                    <a:pt x="37533" y="44593"/>
                  </a:moveTo>
                  <a:lnTo>
                    <a:pt x="37533" y="44593"/>
                  </a:lnTo>
                  <a:lnTo>
                    <a:pt x="36945" y="40357"/>
                  </a:lnTo>
                  <a:lnTo>
                    <a:pt x="36239" y="36474"/>
                  </a:lnTo>
                  <a:lnTo>
                    <a:pt x="35298" y="32827"/>
                  </a:lnTo>
                  <a:lnTo>
                    <a:pt x="34239" y="29297"/>
                  </a:lnTo>
                  <a:lnTo>
                    <a:pt x="32945" y="26120"/>
                  </a:lnTo>
                  <a:lnTo>
                    <a:pt x="31533" y="23179"/>
                  </a:lnTo>
                  <a:lnTo>
                    <a:pt x="29886" y="20473"/>
                  </a:lnTo>
                  <a:lnTo>
                    <a:pt x="28121" y="18002"/>
                  </a:lnTo>
                  <a:lnTo>
                    <a:pt x="26238" y="15649"/>
                  </a:lnTo>
                  <a:lnTo>
                    <a:pt x="24356" y="13531"/>
                  </a:lnTo>
                  <a:lnTo>
                    <a:pt x="22238" y="11531"/>
                  </a:lnTo>
                  <a:lnTo>
                    <a:pt x="20002" y="9766"/>
                  </a:lnTo>
                  <a:lnTo>
                    <a:pt x="17767" y="8236"/>
                  </a:lnTo>
                  <a:lnTo>
                    <a:pt x="15414" y="6824"/>
                  </a:lnTo>
                  <a:lnTo>
                    <a:pt x="12943" y="5530"/>
                  </a:lnTo>
                  <a:lnTo>
                    <a:pt x="10472" y="4354"/>
                  </a:lnTo>
                  <a:lnTo>
                    <a:pt x="10472" y="4354"/>
                  </a:lnTo>
                  <a:lnTo>
                    <a:pt x="353" y="118"/>
                  </a:lnTo>
                  <a:lnTo>
                    <a:pt x="0" y="0"/>
                  </a:lnTo>
                  <a:lnTo>
                    <a:pt x="353" y="118"/>
                  </a:lnTo>
                  <a:lnTo>
                    <a:pt x="353" y="118"/>
                  </a:lnTo>
                  <a:lnTo>
                    <a:pt x="589" y="4707"/>
                  </a:lnTo>
                  <a:lnTo>
                    <a:pt x="824" y="7177"/>
                  </a:lnTo>
                  <a:lnTo>
                    <a:pt x="1177" y="9766"/>
                  </a:lnTo>
                  <a:lnTo>
                    <a:pt x="1765" y="12590"/>
                  </a:lnTo>
                  <a:lnTo>
                    <a:pt x="2589" y="15413"/>
                  </a:lnTo>
                  <a:lnTo>
                    <a:pt x="3059" y="16825"/>
                  </a:lnTo>
                  <a:lnTo>
                    <a:pt x="3648" y="18355"/>
                  </a:lnTo>
                  <a:lnTo>
                    <a:pt x="4354" y="19767"/>
                  </a:lnTo>
                  <a:lnTo>
                    <a:pt x="5177" y="21296"/>
                  </a:lnTo>
                  <a:lnTo>
                    <a:pt x="6119" y="22826"/>
                  </a:lnTo>
                  <a:lnTo>
                    <a:pt x="7177" y="24473"/>
                  </a:lnTo>
                  <a:lnTo>
                    <a:pt x="8236" y="26003"/>
                  </a:lnTo>
                  <a:lnTo>
                    <a:pt x="9531" y="27532"/>
                  </a:lnTo>
                  <a:lnTo>
                    <a:pt x="10943" y="29180"/>
                  </a:lnTo>
                  <a:lnTo>
                    <a:pt x="12472" y="30827"/>
                  </a:lnTo>
                  <a:lnTo>
                    <a:pt x="14119" y="32356"/>
                  </a:lnTo>
                  <a:lnTo>
                    <a:pt x="16002" y="34004"/>
                  </a:lnTo>
                  <a:lnTo>
                    <a:pt x="18002" y="35651"/>
                  </a:lnTo>
                  <a:lnTo>
                    <a:pt x="20120" y="37298"/>
                  </a:lnTo>
                  <a:lnTo>
                    <a:pt x="22473" y="38945"/>
                  </a:lnTo>
                  <a:lnTo>
                    <a:pt x="24944" y="40592"/>
                  </a:lnTo>
                  <a:lnTo>
                    <a:pt x="27650" y="42240"/>
                  </a:lnTo>
                  <a:lnTo>
                    <a:pt x="30591" y="43887"/>
                  </a:lnTo>
                  <a:lnTo>
                    <a:pt x="33651" y="45534"/>
                  </a:lnTo>
                  <a:lnTo>
                    <a:pt x="36945" y="47181"/>
                  </a:lnTo>
                  <a:lnTo>
                    <a:pt x="37533" y="44593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4" name="Google Shape;1334;p16"/>
            <p:cNvSpPr/>
            <p:nvPr/>
          </p:nvSpPr>
          <p:spPr>
            <a:xfrm>
              <a:off x="2942250" y="2241250"/>
              <a:ext cx="361825" cy="820700"/>
            </a:xfrm>
            <a:custGeom>
              <a:avLst/>
              <a:gdLst/>
              <a:ahLst/>
              <a:cxnLst/>
              <a:rect l="l" t="t" r="r" b="b"/>
              <a:pathLst>
                <a:path w="14473" h="32828" extrusionOk="0">
                  <a:moveTo>
                    <a:pt x="14472" y="32827"/>
                  </a:moveTo>
                  <a:lnTo>
                    <a:pt x="14472" y="32827"/>
                  </a:lnTo>
                  <a:lnTo>
                    <a:pt x="14472" y="32827"/>
                  </a:lnTo>
                  <a:lnTo>
                    <a:pt x="14472" y="32827"/>
                  </a:lnTo>
                  <a:lnTo>
                    <a:pt x="14472" y="32827"/>
                  </a:lnTo>
                  <a:close/>
                  <a:moveTo>
                    <a:pt x="14472" y="32827"/>
                  </a:moveTo>
                  <a:lnTo>
                    <a:pt x="14472" y="32827"/>
                  </a:lnTo>
                  <a:lnTo>
                    <a:pt x="14472" y="32827"/>
                  </a:lnTo>
                  <a:lnTo>
                    <a:pt x="14472" y="32827"/>
                  </a:lnTo>
                  <a:lnTo>
                    <a:pt x="14472" y="32827"/>
                  </a:lnTo>
                  <a:close/>
                  <a:moveTo>
                    <a:pt x="14355" y="32827"/>
                  </a:moveTo>
                  <a:lnTo>
                    <a:pt x="14355" y="32827"/>
                  </a:lnTo>
                  <a:lnTo>
                    <a:pt x="14472" y="32827"/>
                  </a:lnTo>
                  <a:lnTo>
                    <a:pt x="14472" y="32827"/>
                  </a:lnTo>
                  <a:lnTo>
                    <a:pt x="14355" y="32827"/>
                  </a:lnTo>
                  <a:close/>
                  <a:moveTo>
                    <a:pt x="14355" y="32710"/>
                  </a:moveTo>
                  <a:lnTo>
                    <a:pt x="14355" y="32710"/>
                  </a:lnTo>
                  <a:lnTo>
                    <a:pt x="14355" y="32827"/>
                  </a:lnTo>
                  <a:lnTo>
                    <a:pt x="14355" y="32827"/>
                  </a:lnTo>
                  <a:lnTo>
                    <a:pt x="14355" y="32710"/>
                  </a:lnTo>
                  <a:close/>
                  <a:moveTo>
                    <a:pt x="14355" y="32710"/>
                  </a:moveTo>
                  <a:lnTo>
                    <a:pt x="14355" y="32710"/>
                  </a:lnTo>
                  <a:lnTo>
                    <a:pt x="14355" y="32710"/>
                  </a:lnTo>
                  <a:lnTo>
                    <a:pt x="14355" y="32710"/>
                  </a:lnTo>
                  <a:lnTo>
                    <a:pt x="14355" y="32710"/>
                  </a:lnTo>
                  <a:close/>
                  <a:moveTo>
                    <a:pt x="14355" y="32710"/>
                  </a:moveTo>
                  <a:lnTo>
                    <a:pt x="14355" y="32710"/>
                  </a:lnTo>
                  <a:lnTo>
                    <a:pt x="14355" y="32710"/>
                  </a:lnTo>
                  <a:lnTo>
                    <a:pt x="14355" y="32710"/>
                  </a:lnTo>
                  <a:lnTo>
                    <a:pt x="14355" y="32710"/>
                  </a:lnTo>
                  <a:close/>
                  <a:moveTo>
                    <a:pt x="6119" y="23062"/>
                  </a:moveTo>
                  <a:lnTo>
                    <a:pt x="6119" y="23062"/>
                  </a:lnTo>
                  <a:lnTo>
                    <a:pt x="7766" y="25415"/>
                  </a:lnTo>
                  <a:lnTo>
                    <a:pt x="9648" y="27886"/>
                  </a:lnTo>
                  <a:lnTo>
                    <a:pt x="11766" y="30239"/>
                  </a:lnTo>
                  <a:lnTo>
                    <a:pt x="14355" y="32710"/>
                  </a:lnTo>
                  <a:lnTo>
                    <a:pt x="14355" y="32710"/>
                  </a:lnTo>
                  <a:lnTo>
                    <a:pt x="11766" y="30239"/>
                  </a:lnTo>
                  <a:lnTo>
                    <a:pt x="9648" y="27886"/>
                  </a:lnTo>
                  <a:lnTo>
                    <a:pt x="7766" y="25415"/>
                  </a:lnTo>
                  <a:lnTo>
                    <a:pt x="6119" y="23062"/>
                  </a:lnTo>
                  <a:close/>
                  <a:moveTo>
                    <a:pt x="6119" y="23062"/>
                  </a:moveTo>
                  <a:lnTo>
                    <a:pt x="6119" y="23062"/>
                  </a:lnTo>
                  <a:lnTo>
                    <a:pt x="6119" y="23062"/>
                  </a:lnTo>
                  <a:lnTo>
                    <a:pt x="6119" y="23062"/>
                  </a:lnTo>
                  <a:lnTo>
                    <a:pt x="6119" y="23062"/>
                  </a:lnTo>
                  <a:close/>
                  <a:moveTo>
                    <a:pt x="6119" y="23062"/>
                  </a:moveTo>
                  <a:lnTo>
                    <a:pt x="6119" y="23062"/>
                  </a:lnTo>
                  <a:lnTo>
                    <a:pt x="6119" y="23062"/>
                  </a:lnTo>
                  <a:lnTo>
                    <a:pt x="6119" y="23062"/>
                  </a:lnTo>
                  <a:lnTo>
                    <a:pt x="6119" y="23062"/>
                  </a:lnTo>
                  <a:close/>
                  <a:moveTo>
                    <a:pt x="6119" y="23062"/>
                  </a:moveTo>
                  <a:lnTo>
                    <a:pt x="6119" y="23062"/>
                  </a:lnTo>
                  <a:lnTo>
                    <a:pt x="6119" y="23062"/>
                  </a:lnTo>
                  <a:lnTo>
                    <a:pt x="6119" y="23062"/>
                  </a:lnTo>
                  <a:lnTo>
                    <a:pt x="6119" y="23062"/>
                  </a:lnTo>
                  <a:close/>
                  <a:moveTo>
                    <a:pt x="6119" y="22944"/>
                  </a:moveTo>
                  <a:lnTo>
                    <a:pt x="6119" y="22944"/>
                  </a:lnTo>
                  <a:lnTo>
                    <a:pt x="6119" y="22944"/>
                  </a:lnTo>
                  <a:close/>
                  <a:moveTo>
                    <a:pt x="0" y="1"/>
                  </a:moveTo>
                  <a:lnTo>
                    <a:pt x="0" y="1"/>
                  </a:lnTo>
                  <a:lnTo>
                    <a:pt x="824" y="353"/>
                  </a:lnTo>
                  <a:lnTo>
                    <a:pt x="824" y="353"/>
                  </a:lnTo>
                  <a:lnTo>
                    <a:pt x="824" y="353"/>
                  </a:lnTo>
                  <a:lnTo>
                    <a:pt x="824" y="353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CDC9D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5" name="Google Shape;1335;p16"/>
            <p:cNvSpPr/>
            <p:nvPr/>
          </p:nvSpPr>
          <p:spPr>
            <a:xfrm>
              <a:off x="3304050" y="306192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6" name="Google Shape;1336;p16"/>
            <p:cNvSpPr/>
            <p:nvPr/>
          </p:nvSpPr>
          <p:spPr>
            <a:xfrm>
              <a:off x="3304050" y="306192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7" name="Google Shape;1337;p16"/>
            <p:cNvSpPr/>
            <p:nvPr/>
          </p:nvSpPr>
          <p:spPr>
            <a:xfrm>
              <a:off x="3301100" y="3061925"/>
              <a:ext cx="2975" cy="25"/>
            </a:xfrm>
            <a:custGeom>
              <a:avLst/>
              <a:gdLst/>
              <a:ahLst/>
              <a:cxnLst/>
              <a:rect l="l" t="t" r="r" b="b"/>
              <a:pathLst>
                <a:path w="119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8" name="Google Shape;1338;p16"/>
            <p:cNvSpPr/>
            <p:nvPr/>
          </p:nvSpPr>
          <p:spPr>
            <a:xfrm>
              <a:off x="3301100" y="3058975"/>
              <a:ext cx="25" cy="2975"/>
            </a:xfrm>
            <a:custGeom>
              <a:avLst/>
              <a:gdLst/>
              <a:ahLst/>
              <a:cxnLst/>
              <a:rect l="l" t="t" r="r" b="b"/>
              <a:pathLst>
                <a:path w="1" h="119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18"/>
                  </a:lnTo>
                  <a:lnTo>
                    <a:pt x="1" y="118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9" name="Google Shape;1339;p16"/>
            <p:cNvSpPr/>
            <p:nvPr/>
          </p:nvSpPr>
          <p:spPr>
            <a:xfrm>
              <a:off x="3301100" y="30589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40" name="Google Shape;1340;p16"/>
            <p:cNvSpPr/>
            <p:nvPr/>
          </p:nvSpPr>
          <p:spPr>
            <a:xfrm>
              <a:off x="3301100" y="30589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41" name="Google Shape;1341;p16"/>
            <p:cNvSpPr/>
            <p:nvPr/>
          </p:nvSpPr>
          <p:spPr>
            <a:xfrm>
              <a:off x="3095200" y="2817775"/>
              <a:ext cx="205925" cy="241225"/>
            </a:xfrm>
            <a:custGeom>
              <a:avLst/>
              <a:gdLst/>
              <a:ahLst/>
              <a:cxnLst/>
              <a:rect l="l" t="t" r="r" b="b"/>
              <a:pathLst>
                <a:path w="8237" h="9649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648" y="2354"/>
                  </a:lnTo>
                  <a:lnTo>
                    <a:pt x="3530" y="4825"/>
                  </a:lnTo>
                  <a:lnTo>
                    <a:pt x="5648" y="7178"/>
                  </a:lnTo>
                  <a:lnTo>
                    <a:pt x="8237" y="9649"/>
                  </a:lnTo>
                  <a:lnTo>
                    <a:pt x="8237" y="9649"/>
                  </a:lnTo>
                  <a:lnTo>
                    <a:pt x="5648" y="7178"/>
                  </a:lnTo>
                  <a:lnTo>
                    <a:pt x="3530" y="4825"/>
                  </a:lnTo>
                  <a:lnTo>
                    <a:pt x="1648" y="2354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42" name="Google Shape;1342;p16"/>
            <p:cNvSpPr/>
            <p:nvPr/>
          </p:nvSpPr>
          <p:spPr>
            <a:xfrm>
              <a:off x="3095200" y="28177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43" name="Google Shape;1343;p16"/>
            <p:cNvSpPr/>
            <p:nvPr/>
          </p:nvSpPr>
          <p:spPr>
            <a:xfrm>
              <a:off x="3095200" y="28177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44" name="Google Shape;1344;p16"/>
            <p:cNvSpPr/>
            <p:nvPr/>
          </p:nvSpPr>
          <p:spPr>
            <a:xfrm>
              <a:off x="3095200" y="28177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45" name="Google Shape;1345;p16"/>
            <p:cNvSpPr/>
            <p:nvPr/>
          </p:nvSpPr>
          <p:spPr>
            <a:xfrm>
              <a:off x="3095200" y="281482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46" name="Google Shape;1346;p16"/>
            <p:cNvSpPr/>
            <p:nvPr/>
          </p:nvSpPr>
          <p:spPr>
            <a:xfrm>
              <a:off x="2942250" y="2241250"/>
              <a:ext cx="20600" cy="8850"/>
            </a:xfrm>
            <a:custGeom>
              <a:avLst/>
              <a:gdLst/>
              <a:ahLst/>
              <a:cxnLst/>
              <a:rect l="l" t="t" r="r" b="b"/>
              <a:pathLst>
                <a:path w="824" h="354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824" y="353"/>
                  </a:lnTo>
                  <a:lnTo>
                    <a:pt x="824" y="353"/>
                  </a:lnTo>
                  <a:lnTo>
                    <a:pt x="824" y="353"/>
                  </a:lnTo>
                  <a:lnTo>
                    <a:pt x="824" y="353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47" name="Google Shape;1347;p16"/>
            <p:cNvSpPr/>
            <p:nvPr/>
          </p:nvSpPr>
          <p:spPr>
            <a:xfrm>
              <a:off x="2942250" y="2241250"/>
              <a:ext cx="753025" cy="1094250"/>
            </a:xfrm>
            <a:custGeom>
              <a:avLst/>
              <a:gdLst/>
              <a:ahLst/>
              <a:cxnLst/>
              <a:rect l="l" t="t" r="r" b="b"/>
              <a:pathLst>
                <a:path w="30121" h="43770" extrusionOk="0">
                  <a:moveTo>
                    <a:pt x="0" y="1"/>
                  </a:moveTo>
                  <a:lnTo>
                    <a:pt x="353" y="236"/>
                  </a:lnTo>
                  <a:lnTo>
                    <a:pt x="589" y="5060"/>
                  </a:lnTo>
                  <a:lnTo>
                    <a:pt x="824" y="7766"/>
                  </a:lnTo>
                  <a:lnTo>
                    <a:pt x="1295" y="10590"/>
                  </a:lnTo>
                  <a:lnTo>
                    <a:pt x="2000" y="13531"/>
                  </a:lnTo>
                  <a:lnTo>
                    <a:pt x="2471" y="15061"/>
                  </a:lnTo>
                  <a:lnTo>
                    <a:pt x="2942" y="16590"/>
                  </a:lnTo>
                  <a:lnTo>
                    <a:pt x="3530" y="18120"/>
                  </a:lnTo>
                  <a:lnTo>
                    <a:pt x="4354" y="19767"/>
                  </a:lnTo>
                  <a:lnTo>
                    <a:pt x="5177" y="21414"/>
                  </a:lnTo>
                  <a:lnTo>
                    <a:pt x="6119" y="22944"/>
                  </a:lnTo>
                  <a:lnTo>
                    <a:pt x="6119" y="23062"/>
                  </a:lnTo>
                  <a:lnTo>
                    <a:pt x="7766" y="25415"/>
                  </a:lnTo>
                  <a:lnTo>
                    <a:pt x="9648" y="27886"/>
                  </a:lnTo>
                  <a:lnTo>
                    <a:pt x="11766" y="30239"/>
                  </a:lnTo>
                  <a:lnTo>
                    <a:pt x="14355" y="32710"/>
                  </a:lnTo>
                  <a:lnTo>
                    <a:pt x="14355" y="32827"/>
                  </a:lnTo>
                  <a:lnTo>
                    <a:pt x="14472" y="32827"/>
                  </a:lnTo>
                  <a:lnTo>
                    <a:pt x="17649" y="35533"/>
                  </a:lnTo>
                  <a:lnTo>
                    <a:pt x="21296" y="38357"/>
                  </a:lnTo>
                  <a:lnTo>
                    <a:pt x="25532" y="41063"/>
                  </a:lnTo>
                  <a:lnTo>
                    <a:pt x="30121" y="43770"/>
                  </a:lnTo>
                  <a:lnTo>
                    <a:pt x="29415" y="41534"/>
                  </a:lnTo>
                  <a:lnTo>
                    <a:pt x="28474" y="39063"/>
                  </a:lnTo>
                  <a:lnTo>
                    <a:pt x="27415" y="36357"/>
                  </a:lnTo>
                  <a:lnTo>
                    <a:pt x="26238" y="33533"/>
                  </a:lnTo>
                  <a:lnTo>
                    <a:pt x="24826" y="30592"/>
                  </a:lnTo>
                  <a:lnTo>
                    <a:pt x="23297" y="27533"/>
                  </a:lnTo>
                  <a:lnTo>
                    <a:pt x="21649" y="24474"/>
                  </a:lnTo>
                  <a:lnTo>
                    <a:pt x="19885" y="21414"/>
                  </a:lnTo>
                  <a:lnTo>
                    <a:pt x="18002" y="18355"/>
                  </a:lnTo>
                  <a:lnTo>
                    <a:pt x="15884" y="15296"/>
                  </a:lnTo>
                  <a:lnTo>
                    <a:pt x="13766" y="12472"/>
                  </a:lnTo>
                  <a:lnTo>
                    <a:pt x="11413" y="9649"/>
                  </a:lnTo>
                  <a:lnTo>
                    <a:pt x="8942" y="7060"/>
                  </a:lnTo>
                  <a:lnTo>
                    <a:pt x="6354" y="4589"/>
                  </a:lnTo>
                  <a:lnTo>
                    <a:pt x="3648" y="2354"/>
                  </a:lnTo>
                  <a:lnTo>
                    <a:pt x="2236" y="1295"/>
                  </a:lnTo>
                  <a:lnTo>
                    <a:pt x="824" y="353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54884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48" name="Google Shape;1348;p16"/>
            <p:cNvSpPr/>
            <p:nvPr/>
          </p:nvSpPr>
          <p:spPr>
            <a:xfrm>
              <a:off x="2942250" y="2241250"/>
              <a:ext cx="753025" cy="1094250"/>
            </a:xfrm>
            <a:custGeom>
              <a:avLst/>
              <a:gdLst/>
              <a:ahLst/>
              <a:cxnLst/>
              <a:rect l="l" t="t" r="r" b="b"/>
              <a:pathLst>
                <a:path w="30121" h="43770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353" y="236"/>
                  </a:lnTo>
                  <a:lnTo>
                    <a:pt x="353" y="236"/>
                  </a:lnTo>
                  <a:lnTo>
                    <a:pt x="589" y="5060"/>
                  </a:lnTo>
                  <a:lnTo>
                    <a:pt x="824" y="7766"/>
                  </a:lnTo>
                  <a:lnTo>
                    <a:pt x="1295" y="10590"/>
                  </a:lnTo>
                  <a:lnTo>
                    <a:pt x="2000" y="13531"/>
                  </a:lnTo>
                  <a:lnTo>
                    <a:pt x="2471" y="15061"/>
                  </a:lnTo>
                  <a:lnTo>
                    <a:pt x="2942" y="16590"/>
                  </a:lnTo>
                  <a:lnTo>
                    <a:pt x="3530" y="18120"/>
                  </a:lnTo>
                  <a:lnTo>
                    <a:pt x="4354" y="19767"/>
                  </a:lnTo>
                  <a:lnTo>
                    <a:pt x="5177" y="21414"/>
                  </a:lnTo>
                  <a:lnTo>
                    <a:pt x="6119" y="22944"/>
                  </a:lnTo>
                  <a:lnTo>
                    <a:pt x="6119" y="22944"/>
                  </a:lnTo>
                  <a:lnTo>
                    <a:pt x="6119" y="22944"/>
                  </a:lnTo>
                  <a:lnTo>
                    <a:pt x="6119" y="23062"/>
                  </a:lnTo>
                  <a:lnTo>
                    <a:pt x="6119" y="23062"/>
                  </a:lnTo>
                  <a:lnTo>
                    <a:pt x="6119" y="23062"/>
                  </a:lnTo>
                  <a:lnTo>
                    <a:pt x="6119" y="23062"/>
                  </a:lnTo>
                  <a:lnTo>
                    <a:pt x="6119" y="23062"/>
                  </a:lnTo>
                  <a:lnTo>
                    <a:pt x="6119" y="23062"/>
                  </a:lnTo>
                  <a:lnTo>
                    <a:pt x="6119" y="23062"/>
                  </a:lnTo>
                  <a:lnTo>
                    <a:pt x="6119" y="23062"/>
                  </a:lnTo>
                  <a:lnTo>
                    <a:pt x="6119" y="23062"/>
                  </a:lnTo>
                  <a:lnTo>
                    <a:pt x="6119" y="23062"/>
                  </a:lnTo>
                  <a:lnTo>
                    <a:pt x="6119" y="23062"/>
                  </a:lnTo>
                  <a:lnTo>
                    <a:pt x="6119" y="23062"/>
                  </a:lnTo>
                  <a:lnTo>
                    <a:pt x="6119" y="23062"/>
                  </a:lnTo>
                  <a:lnTo>
                    <a:pt x="6119" y="23062"/>
                  </a:lnTo>
                  <a:lnTo>
                    <a:pt x="7766" y="25415"/>
                  </a:lnTo>
                  <a:lnTo>
                    <a:pt x="9648" y="27886"/>
                  </a:lnTo>
                  <a:lnTo>
                    <a:pt x="11766" y="30239"/>
                  </a:lnTo>
                  <a:lnTo>
                    <a:pt x="14355" y="32710"/>
                  </a:lnTo>
                  <a:lnTo>
                    <a:pt x="14355" y="32710"/>
                  </a:lnTo>
                  <a:lnTo>
                    <a:pt x="14355" y="32710"/>
                  </a:lnTo>
                  <a:lnTo>
                    <a:pt x="14355" y="32710"/>
                  </a:lnTo>
                  <a:lnTo>
                    <a:pt x="14355" y="32710"/>
                  </a:lnTo>
                  <a:lnTo>
                    <a:pt x="14355" y="32710"/>
                  </a:lnTo>
                  <a:lnTo>
                    <a:pt x="14355" y="32710"/>
                  </a:lnTo>
                  <a:lnTo>
                    <a:pt x="14355" y="32710"/>
                  </a:lnTo>
                  <a:lnTo>
                    <a:pt x="14355" y="32710"/>
                  </a:lnTo>
                  <a:lnTo>
                    <a:pt x="14355" y="32710"/>
                  </a:lnTo>
                  <a:lnTo>
                    <a:pt x="14355" y="32710"/>
                  </a:lnTo>
                  <a:lnTo>
                    <a:pt x="14355" y="32827"/>
                  </a:lnTo>
                  <a:lnTo>
                    <a:pt x="14355" y="32827"/>
                  </a:lnTo>
                  <a:lnTo>
                    <a:pt x="14355" y="32827"/>
                  </a:lnTo>
                  <a:lnTo>
                    <a:pt x="14355" y="32827"/>
                  </a:lnTo>
                  <a:lnTo>
                    <a:pt x="14472" y="32827"/>
                  </a:lnTo>
                  <a:lnTo>
                    <a:pt x="14472" y="32827"/>
                  </a:lnTo>
                  <a:lnTo>
                    <a:pt x="14472" y="32827"/>
                  </a:lnTo>
                  <a:lnTo>
                    <a:pt x="14472" y="32827"/>
                  </a:lnTo>
                  <a:lnTo>
                    <a:pt x="14472" y="32827"/>
                  </a:lnTo>
                  <a:lnTo>
                    <a:pt x="14472" y="32827"/>
                  </a:lnTo>
                  <a:lnTo>
                    <a:pt x="14472" y="32827"/>
                  </a:lnTo>
                  <a:lnTo>
                    <a:pt x="14472" y="32827"/>
                  </a:lnTo>
                  <a:lnTo>
                    <a:pt x="14472" y="32827"/>
                  </a:lnTo>
                  <a:lnTo>
                    <a:pt x="14472" y="32827"/>
                  </a:lnTo>
                  <a:lnTo>
                    <a:pt x="17649" y="35533"/>
                  </a:lnTo>
                  <a:lnTo>
                    <a:pt x="21296" y="38357"/>
                  </a:lnTo>
                  <a:lnTo>
                    <a:pt x="25532" y="41063"/>
                  </a:lnTo>
                  <a:lnTo>
                    <a:pt x="30121" y="43770"/>
                  </a:lnTo>
                  <a:lnTo>
                    <a:pt x="30121" y="43770"/>
                  </a:lnTo>
                  <a:lnTo>
                    <a:pt x="29415" y="41534"/>
                  </a:lnTo>
                  <a:lnTo>
                    <a:pt x="28474" y="39063"/>
                  </a:lnTo>
                  <a:lnTo>
                    <a:pt x="27415" y="36357"/>
                  </a:lnTo>
                  <a:lnTo>
                    <a:pt x="26238" y="33533"/>
                  </a:lnTo>
                  <a:lnTo>
                    <a:pt x="24826" y="30592"/>
                  </a:lnTo>
                  <a:lnTo>
                    <a:pt x="23297" y="27533"/>
                  </a:lnTo>
                  <a:lnTo>
                    <a:pt x="21649" y="24474"/>
                  </a:lnTo>
                  <a:lnTo>
                    <a:pt x="19885" y="21414"/>
                  </a:lnTo>
                  <a:lnTo>
                    <a:pt x="18002" y="18355"/>
                  </a:lnTo>
                  <a:lnTo>
                    <a:pt x="15884" y="15296"/>
                  </a:lnTo>
                  <a:lnTo>
                    <a:pt x="13766" y="12472"/>
                  </a:lnTo>
                  <a:lnTo>
                    <a:pt x="11413" y="9649"/>
                  </a:lnTo>
                  <a:lnTo>
                    <a:pt x="8942" y="7060"/>
                  </a:lnTo>
                  <a:lnTo>
                    <a:pt x="6354" y="4589"/>
                  </a:lnTo>
                  <a:lnTo>
                    <a:pt x="3648" y="2354"/>
                  </a:lnTo>
                  <a:lnTo>
                    <a:pt x="2236" y="1295"/>
                  </a:lnTo>
                  <a:lnTo>
                    <a:pt x="824" y="353"/>
                  </a:lnTo>
                  <a:lnTo>
                    <a:pt x="824" y="353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49" name="Google Shape;1349;p16"/>
            <p:cNvSpPr/>
            <p:nvPr/>
          </p:nvSpPr>
          <p:spPr>
            <a:xfrm>
              <a:off x="3468775" y="2032400"/>
              <a:ext cx="476525" cy="1326625"/>
            </a:xfrm>
            <a:custGeom>
              <a:avLst/>
              <a:gdLst/>
              <a:ahLst/>
              <a:cxnLst/>
              <a:rect l="l" t="t" r="r" b="b"/>
              <a:pathLst>
                <a:path w="19061" h="53065" extrusionOk="0">
                  <a:moveTo>
                    <a:pt x="2000" y="1"/>
                  </a:moveTo>
                  <a:lnTo>
                    <a:pt x="941" y="118"/>
                  </a:lnTo>
                  <a:lnTo>
                    <a:pt x="235" y="236"/>
                  </a:lnTo>
                  <a:lnTo>
                    <a:pt x="118" y="354"/>
                  </a:lnTo>
                  <a:lnTo>
                    <a:pt x="0" y="589"/>
                  </a:lnTo>
                  <a:lnTo>
                    <a:pt x="0" y="707"/>
                  </a:lnTo>
                  <a:lnTo>
                    <a:pt x="235" y="824"/>
                  </a:lnTo>
                  <a:lnTo>
                    <a:pt x="941" y="1295"/>
                  </a:lnTo>
                  <a:lnTo>
                    <a:pt x="2000" y="1766"/>
                  </a:lnTo>
                  <a:lnTo>
                    <a:pt x="2824" y="2236"/>
                  </a:lnTo>
                  <a:lnTo>
                    <a:pt x="3765" y="2825"/>
                  </a:lnTo>
                  <a:lnTo>
                    <a:pt x="4589" y="3413"/>
                  </a:lnTo>
                  <a:lnTo>
                    <a:pt x="5295" y="4119"/>
                  </a:lnTo>
                  <a:lnTo>
                    <a:pt x="6001" y="4825"/>
                  </a:lnTo>
                  <a:lnTo>
                    <a:pt x="7413" y="6590"/>
                  </a:lnTo>
                  <a:lnTo>
                    <a:pt x="8707" y="8590"/>
                  </a:lnTo>
                  <a:lnTo>
                    <a:pt x="10001" y="11061"/>
                  </a:lnTo>
                  <a:lnTo>
                    <a:pt x="11295" y="13884"/>
                  </a:lnTo>
                  <a:lnTo>
                    <a:pt x="12825" y="17179"/>
                  </a:lnTo>
                  <a:lnTo>
                    <a:pt x="14119" y="20238"/>
                  </a:lnTo>
                  <a:lnTo>
                    <a:pt x="14707" y="22003"/>
                  </a:lnTo>
                  <a:lnTo>
                    <a:pt x="15178" y="23650"/>
                  </a:lnTo>
                  <a:lnTo>
                    <a:pt x="15649" y="25415"/>
                  </a:lnTo>
                  <a:lnTo>
                    <a:pt x="15884" y="27062"/>
                  </a:lnTo>
                  <a:lnTo>
                    <a:pt x="16002" y="28709"/>
                  </a:lnTo>
                  <a:lnTo>
                    <a:pt x="16002" y="30239"/>
                  </a:lnTo>
                  <a:lnTo>
                    <a:pt x="15884" y="34475"/>
                  </a:lnTo>
                  <a:lnTo>
                    <a:pt x="15766" y="39299"/>
                  </a:lnTo>
                  <a:lnTo>
                    <a:pt x="15531" y="44593"/>
                  </a:lnTo>
                  <a:lnTo>
                    <a:pt x="15413" y="47417"/>
                  </a:lnTo>
                  <a:lnTo>
                    <a:pt x="15060" y="50241"/>
                  </a:lnTo>
                  <a:lnTo>
                    <a:pt x="16472" y="53065"/>
                  </a:lnTo>
                  <a:lnTo>
                    <a:pt x="16943" y="53065"/>
                  </a:lnTo>
                  <a:lnTo>
                    <a:pt x="17767" y="52712"/>
                  </a:lnTo>
                  <a:lnTo>
                    <a:pt x="18237" y="52477"/>
                  </a:lnTo>
                  <a:lnTo>
                    <a:pt x="18590" y="52241"/>
                  </a:lnTo>
                  <a:lnTo>
                    <a:pt x="18943" y="51771"/>
                  </a:lnTo>
                  <a:lnTo>
                    <a:pt x="18943" y="51182"/>
                  </a:lnTo>
                  <a:lnTo>
                    <a:pt x="18943" y="47535"/>
                  </a:lnTo>
                  <a:lnTo>
                    <a:pt x="18943" y="40946"/>
                  </a:lnTo>
                  <a:lnTo>
                    <a:pt x="19061" y="33886"/>
                  </a:lnTo>
                  <a:lnTo>
                    <a:pt x="18943" y="31063"/>
                  </a:lnTo>
                  <a:lnTo>
                    <a:pt x="18825" y="29180"/>
                  </a:lnTo>
                  <a:lnTo>
                    <a:pt x="18590" y="26239"/>
                  </a:lnTo>
                  <a:lnTo>
                    <a:pt x="18120" y="23650"/>
                  </a:lnTo>
                  <a:lnTo>
                    <a:pt x="17649" y="21650"/>
                  </a:lnTo>
                  <a:lnTo>
                    <a:pt x="17061" y="20003"/>
                  </a:lnTo>
                  <a:lnTo>
                    <a:pt x="16825" y="19061"/>
                  </a:lnTo>
                  <a:lnTo>
                    <a:pt x="16472" y="17885"/>
                  </a:lnTo>
                  <a:lnTo>
                    <a:pt x="16119" y="15061"/>
                  </a:lnTo>
                  <a:lnTo>
                    <a:pt x="15884" y="12237"/>
                  </a:lnTo>
                  <a:lnTo>
                    <a:pt x="15766" y="10237"/>
                  </a:lnTo>
                  <a:lnTo>
                    <a:pt x="15766" y="9178"/>
                  </a:lnTo>
                  <a:lnTo>
                    <a:pt x="15649" y="8237"/>
                  </a:lnTo>
                  <a:lnTo>
                    <a:pt x="15413" y="7296"/>
                  </a:lnTo>
                  <a:lnTo>
                    <a:pt x="15060" y="6472"/>
                  </a:lnTo>
                  <a:lnTo>
                    <a:pt x="14707" y="5648"/>
                  </a:lnTo>
                  <a:lnTo>
                    <a:pt x="14119" y="4942"/>
                  </a:lnTo>
                  <a:lnTo>
                    <a:pt x="13531" y="4354"/>
                  </a:lnTo>
                  <a:lnTo>
                    <a:pt x="12943" y="3648"/>
                  </a:lnTo>
                  <a:lnTo>
                    <a:pt x="12237" y="3178"/>
                  </a:lnTo>
                  <a:lnTo>
                    <a:pt x="11413" y="2589"/>
                  </a:lnTo>
                  <a:lnTo>
                    <a:pt x="9883" y="1766"/>
                  </a:lnTo>
                  <a:lnTo>
                    <a:pt x="8119" y="1060"/>
                  </a:lnTo>
                  <a:lnTo>
                    <a:pt x="6471" y="589"/>
                  </a:lnTo>
                  <a:lnTo>
                    <a:pt x="4824" y="236"/>
                  </a:lnTo>
                  <a:lnTo>
                    <a:pt x="3295" y="118"/>
                  </a:lnTo>
                  <a:lnTo>
                    <a:pt x="2000" y="1"/>
                  </a:lnTo>
                  <a:close/>
                </a:path>
              </a:pathLst>
            </a:custGeom>
            <a:solidFill>
              <a:srgbClr val="66A3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50" name="Google Shape;1350;p16"/>
            <p:cNvSpPr/>
            <p:nvPr/>
          </p:nvSpPr>
          <p:spPr>
            <a:xfrm>
              <a:off x="2624575" y="1085250"/>
              <a:ext cx="2456125" cy="3403300"/>
            </a:xfrm>
            <a:custGeom>
              <a:avLst/>
              <a:gdLst/>
              <a:ahLst/>
              <a:cxnLst/>
              <a:rect l="l" t="t" r="r" b="b"/>
              <a:pathLst>
                <a:path w="98245" h="136132" extrusionOk="0">
                  <a:moveTo>
                    <a:pt x="55182" y="3060"/>
                  </a:moveTo>
                  <a:lnTo>
                    <a:pt x="57653" y="3295"/>
                  </a:lnTo>
                  <a:lnTo>
                    <a:pt x="60006" y="3648"/>
                  </a:lnTo>
                  <a:lnTo>
                    <a:pt x="62241" y="4001"/>
                  </a:lnTo>
                  <a:lnTo>
                    <a:pt x="64477" y="4589"/>
                  </a:lnTo>
                  <a:lnTo>
                    <a:pt x="66712" y="5295"/>
                  </a:lnTo>
                  <a:lnTo>
                    <a:pt x="68830" y="6119"/>
                  </a:lnTo>
                  <a:lnTo>
                    <a:pt x="70831" y="7060"/>
                  </a:lnTo>
                  <a:lnTo>
                    <a:pt x="72831" y="8119"/>
                  </a:lnTo>
                  <a:lnTo>
                    <a:pt x="74713" y="9296"/>
                  </a:lnTo>
                  <a:lnTo>
                    <a:pt x="76596" y="10590"/>
                  </a:lnTo>
                  <a:lnTo>
                    <a:pt x="78361" y="12002"/>
                  </a:lnTo>
                  <a:lnTo>
                    <a:pt x="80008" y="13531"/>
                  </a:lnTo>
                  <a:lnTo>
                    <a:pt x="81655" y="15296"/>
                  </a:lnTo>
                  <a:lnTo>
                    <a:pt x="83185" y="17061"/>
                  </a:lnTo>
                  <a:lnTo>
                    <a:pt x="84714" y="18944"/>
                  </a:lnTo>
                  <a:lnTo>
                    <a:pt x="86008" y="20944"/>
                  </a:lnTo>
                  <a:lnTo>
                    <a:pt x="87185" y="22709"/>
                  </a:lnTo>
                  <a:lnTo>
                    <a:pt x="88126" y="24474"/>
                  </a:lnTo>
                  <a:lnTo>
                    <a:pt x="89185" y="26474"/>
                  </a:lnTo>
                  <a:lnTo>
                    <a:pt x="90009" y="28356"/>
                  </a:lnTo>
                  <a:lnTo>
                    <a:pt x="90832" y="30357"/>
                  </a:lnTo>
                  <a:lnTo>
                    <a:pt x="91656" y="32474"/>
                  </a:lnTo>
                  <a:lnTo>
                    <a:pt x="92362" y="34592"/>
                  </a:lnTo>
                  <a:lnTo>
                    <a:pt x="92950" y="36828"/>
                  </a:lnTo>
                  <a:lnTo>
                    <a:pt x="93539" y="39063"/>
                  </a:lnTo>
                  <a:lnTo>
                    <a:pt x="94009" y="41299"/>
                  </a:lnTo>
                  <a:lnTo>
                    <a:pt x="94362" y="43534"/>
                  </a:lnTo>
                  <a:lnTo>
                    <a:pt x="94715" y="45888"/>
                  </a:lnTo>
                  <a:lnTo>
                    <a:pt x="94950" y="48123"/>
                  </a:lnTo>
                  <a:lnTo>
                    <a:pt x="95068" y="50476"/>
                  </a:lnTo>
                  <a:lnTo>
                    <a:pt x="95186" y="52829"/>
                  </a:lnTo>
                  <a:lnTo>
                    <a:pt x="95186" y="55183"/>
                  </a:lnTo>
                  <a:lnTo>
                    <a:pt x="95068" y="59536"/>
                  </a:lnTo>
                  <a:lnTo>
                    <a:pt x="94598" y="63654"/>
                  </a:lnTo>
                  <a:lnTo>
                    <a:pt x="94009" y="67654"/>
                  </a:lnTo>
                  <a:lnTo>
                    <a:pt x="93186" y="71419"/>
                  </a:lnTo>
                  <a:lnTo>
                    <a:pt x="92127" y="75067"/>
                  </a:lnTo>
                  <a:lnTo>
                    <a:pt x="90950" y="78597"/>
                  </a:lnTo>
                  <a:lnTo>
                    <a:pt x="89538" y="81891"/>
                  </a:lnTo>
                  <a:lnTo>
                    <a:pt x="88126" y="85186"/>
                  </a:lnTo>
                  <a:lnTo>
                    <a:pt x="86479" y="88245"/>
                  </a:lnTo>
                  <a:lnTo>
                    <a:pt x="84714" y="91304"/>
                  </a:lnTo>
                  <a:lnTo>
                    <a:pt x="82949" y="94128"/>
                  </a:lnTo>
                  <a:lnTo>
                    <a:pt x="81067" y="96834"/>
                  </a:lnTo>
                  <a:lnTo>
                    <a:pt x="79184" y="99540"/>
                  </a:lnTo>
                  <a:lnTo>
                    <a:pt x="77302" y="102128"/>
                  </a:lnTo>
                  <a:lnTo>
                    <a:pt x="73301" y="107070"/>
                  </a:lnTo>
                  <a:lnTo>
                    <a:pt x="72125" y="108600"/>
                  </a:lnTo>
                  <a:lnTo>
                    <a:pt x="70713" y="110011"/>
                  </a:lnTo>
                  <a:lnTo>
                    <a:pt x="68007" y="112600"/>
                  </a:lnTo>
                  <a:lnTo>
                    <a:pt x="65183" y="115306"/>
                  </a:lnTo>
                  <a:lnTo>
                    <a:pt x="63889" y="116718"/>
                  </a:lnTo>
                  <a:lnTo>
                    <a:pt x="62947" y="118012"/>
                  </a:lnTo>
                  <a:lnTo>
                    <a:pt x="62594" y="118601"/>
                  </a:lnTo>
                  <a:lnTo>
                    <a:pt x="62359" y="119071"/>
                  </a:lnTo>
                  <a:lnTo>
                    <a:pt x="62006" y="120248"/>
                  </a:lnTo>
                  <a:lnTo>
                    <a:pt x="61888" y="121424"/>
                  </a:lnTo>
                  <a:lnTo>
                    <a:pt x="61771" y="122601"/>
                  </a:lnTo>
                  <a:lnTo>
                    <a:pt x="61771" y="123425"/>
                  </a:lnTo>
                  <a:lnTo>
                    <a:pt x="61653" y="124131"/>
                  </a:lnTo>
                  <a:lnTo>
                    <a:pt x="61418" y="125189"/>
                  </a:lnTo>
                  <a:lnTo>
                    <a:pt x="61300" y="126131"/>
                  </a:lnTo>
                  <a:lnTo>
                    <a:pt x="61183" y="126954"/>
                  </a:lnTo>
                  <a:lnTo>
                    <a:pt x="60947" y="127660"/>
                  </a:lnTo>
                  <a:lnTo>
                    <a:pt x="60477" y="128366"/>
                  </a:lnTo>
                  <a:lnTo>
                    <a:pt x="60006" y="129072"/>
                  </a:lnTo>
                  <a:lnTo>
                    <a:pt x="59182" y="129778"/>
                  </a:lnTo>
                  <a:lnTo>
                    <a:pt x="58123" y="130484"/>
                  </a:lnTo>
                  <a:lnTo>
                    <a:pt x="56947" y="131190"/>
                  </a:lnTo>
                  <a:lnTo>
                    <a:pt x="55653" y="131661"/>
                  </a:lnTo>
                  <a:lnTo>
                    <a:pt x="55417" y="131778"/>
                  </a:lnTo>
                  <a:lnTo>
                    <a:pt x="54005" y="132249"/>
                  </a:lnTo>
                  <a:lnTo>
                    <a:pt x="52593" y="132602"/>
                  </a:lnTo>
                  <a:lnTo>
                    <a:pt x="51064" y="132837"/>
                  </a:lnTo>
                  <a:lnTo>
                    <a:pt x="49417" y="133073"/>
                  </a:lnTo>
                  <a:lnTo>
                    <a:pt x="47887" y="133190"/>
                  </a:lnTo>
                  <a:lnTo>
                    <a:pt x="46240" y="133190"/>
                  </a:lnTo>
                  <a:lnTo>
                    <a:pt x="44593" y="133073"/>
                  </a:lnTo>
                  <a:lnTo>
                    <a:pt x="43063" y="132955"/>
                  </a:lnTo>
                  <a:lnTo>
                    <a:pt x="41534" y="132720"/>
                  </a:lnTo>
                  <a:lnTo>
                    <a:pt x="40239" y="132484"/>
                  </a:lnTo>
                  <a:lnTo>
                    <a:pt x="39063" y="132131"/>
                  </a:lnTo>
                  <a:lnTo>
                    <a:pt x="37886" y="131661"/>
                  </a:lnTo>
                  <a:lnTo>
                    <a:pt x="36827" y="131190"/>
                  </a:lnTo>
                  <a:lnTo>
                    <a:pt x="35651" y="130484"/>
                  </a:lnTo>
                  <a:lnTo>
                    <a:pt x="35180" y="130013"/>
                  </a:lnTo>
                  <a:lnTo>
                    <a:pt x="34827" y="129660"/>
                  </a:lnTo>
                  <a:lnTo>
                    <a:pt x="34592" y="129190"/>
                  </a:lnTo>
                  <a:lnTo>
                    <a:pt x="34356" y="128719"/>
                  </a:lnTo>
                  <a:lnTo>
                    <a:pt x="34239" y="128249"/>
                  </a:lnTo>
                  <a:lnTo>
                    <a:pt x="34121" y="127660"/>
                  </a:lnTo>
                  <a:lnTo>
                    <a:pt x="34121" y="127543"/>
                  </a:lnTo>
                  <a:lnTo>
                    <a:pt x="34239" y="125425"/>
                  </a:lnTo>
                  <a:lnTo>
                    <a:pt x="34239" y="122954"/>
                  </a:lnTo>
                  <a:lnTo>
                    <a:pt x="34121" y="121660"/>
                  </a:lnTo>
                  <a:lnTo>
                    <a:pt x="33886" y="120365"/>
                  </a:lnTo>
                  <a:lnTo>
                    <a:pt x="33533" y="119189"/>
                  </a:lnTo>
                  <a:lnTo>
                    <a:pt x="33062" y="117895"/>
                  </a:lnTo>
                  <a:lnTo>
                    <a:pt x="32239" y="116247"/>
                  </a:lnTo>
                  <a:lnTo>
                    <a:pt x="31297" y="114600"/>
                  </a:lnTo>
                  <a:lnTo>
                    <a:pt x="29179" y="111070"/>
                  </a:lnTo>
                  <a:lnTo>
                    <a:pt x="26591" y="107423"/>
                  </a:lnTo>
                  <a:lnTo>
                    <a:pt x="23767" y="103540"/>
                  </a:lnTo>
                  <a:lnTo>
                    <a:pt x="20120" y="98599"/>
                  </a:lnTo>
                  <a:lnTo>
                    <a:pt x="16472" y="93304"/>
                  </a:lnTo>
                  <a:lnTo>
                    <a:pt x="14707" y="90598"/>
                  </a:lnTo>
                  <a:lnTo>
                    <a:pt x="13060" y="87656"/>
                  </a:lnTo>
                  <a:lnTo>
                    <a:pt x="11295" y="84715"/>
                  </a:lnTo>
                  <a:lnTo>
                    <a:pt x="9766" y="81773"/>
                  </a:lnTo>
                  <a:lnTo>
                    <a:pt x="8354" y="78597"/>
                  </a:lnTo>
                  <a:lnTo>
                    <a:pt x="7060" y="75302"/>
                  </a:lnTo>
                  <a:lnTo>
                    <a:pt x="5883" y="72008"/>
                  </a:lnTo>
                  <a:lnTo>
                    <a:pt x="4824" y="68478"/>
                  </a:lnTo>
                  <a:lnTo>
                    <a:pt x="4001" y="64831"/>
                  </a:lnTo>
                  <a:lnTo>
                    <a:pt x="3412" y="61183"/>
                  </a:lnTo>
                  <a:lnTo>
                    <a:pt x="3059" y="57300"/>
                  </a:lnTo>
                  <a:lnTo>
                    <a:pt x="2942" y="53300"/>
                  </a:lnTo>
                  <a:lnTo>
                    <a:pt x="3059" y="50476"/>
                  </a:lnTo>
                  <a:lnTo>
                    <a:pt x="3295" y="47770"/>
                  </a:lnTo>
                  <a:lnTo>
                    <a:pt x="3648" y="45064"/>
                  </a:lnTo>
                  <a:lnTo>
                    <a:pt x="4001" y="42358"/>
                  </a:lnTo>
                  <a:lnTo>
                    <a:pt x="4589" y="39769"/>
                  </a:lnTo>
                  <a:lnTo>
                    <a:pt x="5295" y="37298"/>
                  </a:lnTo>
                  <a:lnTo>
                    <a:pt x="6001" y="34828"/>
                  </a:lnTo>
                  <a:lnTo>
                    <a:pt x="6942" y="32357"/>
                  </a:lnTo>
                  <a:lnTo>
                    <a:pt x="7883" y="30121"/>
                  </a:lnTo>
                  <a:lnTo>
                    <a:pt x="9060" y="27768"/>
                  </a:lnTo>
                  <a:lnTo>
                    <a:pt x="10236" y="25650"/>
                  </a:lnTo>
                  <a:lnTo>
                    <a:pt x="11648" y="23532"/>
                  </a:lnTo>
                  <a:lnTo>
                    <a:pt x="13060" y="21532"/>
                  </a:lnTo>
                  <a:lnTo>
                    <a:pt x="14590" y="19650"/>
                  </a:lnTo>
                  <a:lnTo>
                    <a:pt x="16237" y="17767"/>
                  </a:lnTo>
                  <a:lnTo>
                    <a:pt x="18002" y="16002"/>
                  </a:lnTo>
                  <a:lnTo>
                    <a:pt x="19649" y="14473"/>
                  </a:lnTo>
                  <a:lnTo>
                    <a:pt x="21414" y="13061"/>
                  </a:lnTo>
                  <a:lnTo>
                    <a:pt x="23297" y="11649"/>
                  </a:lnTo>
                  <a:lnTo>
                    <a:pt x="25179" y="10355"/>
                  </a:lnTo>
                  <a:lnTo>
                    <a:pt x="27179" y="9296"/>
                  </a:lnTo>
                  <a:lnTo>
                    <a:pt x="29179" y="8237"/>
                  </a:lnTo>
                  <a:lnTo>
                    <a:pt x="31297" y="7178"/>
                  </a:lnTo>
                  <a:lnTo>
                    <a:pt x="33415" y="6354"/>
                  </a:lnTo>
                  <a:lnTo>
                    <a:pt x="35651" y="5531"/>
                  </a:lnTo>
                  <a:lnTo>
                    <a:pt x="37886" y="4942"/>
                  </a:lnTo>
                  <a:lnTo>
                    <a:pt x="40122" y="4354"/>
                  </a:lnTo>
                  <a:lnTo>
                    <a:pt x="42475" y="3883"/>
                  </a:lnTo>
                  <a:lnTo>
                    <a:pt x="44828" y="3530"/>
                  </a:lnTo>
                  <a:lnTo>
                    <a:pt x="47299" y="3177"/>
                  </a:lnTo>
                  <a:lnTo>
                    <a:pt x="49652" y="3060"/>
                  </a:lnTo>
                  <a:close/>
                  <a:moveTo>
                    <a:pt x="51770" y="1"/>
                  </a:moveTo>
                  <a:lnTo>
                    <a:pt x="49064" y="118"/>
                  </a:lnTo>
                  <a:lnTo>
                    <a:pt x="46358" y="354"/>
                  </a:lnTo>
                  <a:lnTo>
                    <a:pt x="43651" y="589"/>
                  </a:lnTo>
                  <a:lnTo>
                    <a:pt x="40945" y="1060"/>
                  </a:lnTo>
                  <a:lnTo>
                    <a:pt x="38357" y="1648"/>
                  </a:lnTo>
                  <a:lnTo>
                    <a:pt x="35886" y="2354"/>
                  </a:lnTo>
                  <a:lnTo>
                    <a:pt x="33415" y="3177"/>
                  </a:lnTo>
                  <a:lnTo>
                    <a:pt x="30944" y="4119"/>
                  </a:lnTo>
                  <a:lnTo>
                    <a:pt x="28591" y="5178"/>
                  </a:lnTo>
                  <a:lnTo>
                    <a:pt x="26238" y="6354"/>
                  </a:lnTo>
                  <a:lnTo>
                    <a:pt x="24002" y="7531"/>
                  </a:lnTo>
                  <a:lnTo>
                    <a:pt x="21885" y="8943"/>
                  </a:lnTo>
                  <a:lnTo>
                    <a:pt x="19884" y="10472"/>
                  </a:lnTo>
                  <a:lnTo>
                    <a:pt x="17884" y="12120"/>
                  </a:lnTo>
                  <a:lnTo>
                    <a:pt x="15884" y="13767"/>
                  </a:lnTo>
                  <a:lnTo>
                    <a:pt x="14002" y="15649"/>
                  </a:lnTo>
                  <a:lnTo>
                    <a:pt x="12354" y="17649"/>
                  </a:lnTo>
                  <a:lnTo>
                    <a:pt x="10707" y="19650"/>
                  </a:lnTo>
                  <a:lnTo>
                    <a:pt x="9178" y="21885"/>
                  </a:lnTo>
                  <a:lnTo>
                    <a:pt x="7766" y="24121"/>
                  </a:lnTo>
                  <a:lnTo>
                    <a:pt x="6354" y="26356"/>
                  </a:lnTo>
                  <a:lnTo>
                    <a:pt x="5177" y="28709"/>
                  </a:lnTo>
                  <a:lnTo>
                    <a:pt x="4118" y="31180"/>
                  </a:lnTo>
                  <a:lnTo>
                    <a:pt x="3177" y="33769"/>
                  </a:lnTo>
                  <a:lnTo>
                    <a:pt x="2353" y="36357"/>
                  </a:lnTo>
                  <a:lnTo>
                    <a:pt x="1647" y="38946"/>
                  </a:lnTo>
                  <a:lnTo>
                    <a:pt x="1059" y="41769"/>
                  </a:lnTo>
                  <a:lnTo>
                    <a:pt x="588" y="44476"/>
                  </a:lnTo>
                  <a:lnTo>
                    <a:pt x="353" y="47417"/>
                  </a:lnTo>
                  <a:lnTo>
                    <a:pt x="118" y="50359"/>
                  </a:lnTo>
                  <a:lnTo>
                    <a:pt x="0" y="53300"/>
                  </a:lnTo>
                  <a:lnTo>
                    <a:pt x="118" y="57418"/>
                  </a:lnTo>
                  <a:lnTo>
                    <a:pt x="471" y="61418"/>
                  </a:lnTo>
                  <a:lnTo>
                    <a:pt x="1059" y="65301"/>
                  </a:lnTo>
                  <a:lnTo>
                    <a:pt x="1883" y="69066"/>
                  </a:lnTo>
                  <a:lnTo>
                    <a:pt x="2942" y="72714"/>
                  </a:lnTo>
                  <a:lnTo>
                    <a:pt x="4118" y="76243"/>
                  </a:lnTo>
                  <a:lnTo>
                    <a:pt x="5530" y="79538"/>
                  </a:lnTo>
                  <a:lnTo>
                    <a:pt x="6942" y="82832"/>
                  </a:lnTo>
                  <a:lnTo>
                    <a:pt x="8589" y="86009"/>
                  </a:lnTo>
                  <a:lnTo>
                    <a:pt x="10236" y="89068"/>
                  </a:lnTo>
                  <a:lnTo>
                    <a:pt x="12119" y="92010"/>
                  </a:lnTo>
                  <a:lnTo>
                    <a:pt x="13884" y="94834"/>
                  </a:lnTo>
                  <a:lnTo>
                    <a:pt x="17649" y="100246"/>
                  </a:lnTo>
                  <a:lnTo>
                    <a:pt x="21296" y="105305"/>
                  </a:lnTo>
                  <a:lnTo>
                    <a:pt x="24120" y="109070"/>
                  </a:lnTo>
                  <a:lnTo>
                    <a:pt x="26591" y="112718"/>
                  </a:lnTo>
                  <a:lnTo>
                    <a:pt x="28709" y="116012"/>
                  </a:lnTo>
                  <a:lnTo>
                    <a:pt x="29650" y="117659"/>
                  </a:lnTo>
                  <a:lnTo>
                    <a:pt x="30356" y="119189"/>
                  </a:lnTo>
                  <a:lnTo>
                    <a:pt x="30709" y="120130"/>
                  </a:lnTo>
                  <a:lnTo>
                    <a:pt x="30944" y="121189"/>
                  </a:lnTo>
                  <a:lnTo>
                    <a:pt x="31180" y="122248"/>
                  </a:lnTo>
                  <a:lnTo>
                    <a:pt x="31297" y="123307"/>
                  </a:lnTo>
                  <a:lnTo>
                    <a:pt x="31297" y="125425"/>
                  </a:lnTo>
                  <a:lnTo>
                    <a:pt x="31180" y="127307"/>
                  </a:lnTo>
                  <a:lnTo>
                    <a:pt x="31180" y="127660"/>
                  </a:lnTo>
                  <a:lnTo>
                    <a:pt x="31180" y="128366"/>
                  </a:lnTo>
                  <a:lnTo>
                    <a:pt x="31297" y="129072"/>
                  </a:lnTo>
                  <a:lnTo>
                    <a:pt x="31533" y="129896"/>
                  </a:lnTo>
                  <a:lnTo>
                    <a:pt x="32003" y="130719"/>
                  </a:lnTo>
                  <a:lnTo>
                    <a:pt x="32474" y="131543"/>
                  </a:lnTo>
                  <a:lnTo>
                    <a:pt x="33298" y="132367"/>
                  </a:lnTo>
                  <a:lnTo>
                    <a:pt x="34239" y="133190"/>
                  </a:lnTo>
                  <a:lnTo>
                    <a:pt x="35415" y="133896"/>
                  </a:lnTo>
                  <a:lnTo>
                    <a:pt x="36710" y="134484"/>
                  </a:lnTo>
                  <a:lnTo>
                    <a:pt x="38004" y="134955"/>
                  </a:lnTo>
                  <a:lnTo>
                    <a:pt x="39533" y="135426"/>
                  </a:lnTo>
                  <a:lnTo>
                    <a:pt x="41063" y="135661"/>
                  </a:lnTo>
                  <a:lnTo>
                    <a:pt x="42710" y="136014"/>
                  </a:lnTo>
                  <a:lnTo>
                    <a:pt x="44593" y="136132"/>
                  </a:lnTo>
                  <a:lnTo>
                    <a:pt x="49181" y="136132"/>
                  </a:lnTo>
                  <a:lnTo>
                    <a:pt x="51652" y="135779"/>
                  </a:lnTo>
                  <a:lnTo>
                    <a:pt x="54123" y="135308"/>
                  </a:lnTo>
                  <a:lnTo>
                    <a:pt x="56476" y="134602"/>
                  </a:lnTo>
                  <a:lnTo>
                    <a:pt x="56594" y="134484"/>
                  </a:lnTo>
                  <a:lnTo>
                    <a:pt x="58359" y="133779"/>
                  </a:lnTo>
                  <a:lnTo>
                    <a:pt x="59888" y="132955"/>
                  </a:lnTo>
                  <a:lnTo>
                    <a:pt x="61183" y="132014"/>
                  </a:lnTo>
                  <a:lnTo>
                    <a:pt x="62241" y="131072"/>
                  </a:lnTo>
                  <a:lnTo>
                    <a:pt x="63065" y="130013"/>
                  </a:lnTo>
                  <a:lnTo>
                    <a:pt x="63653" y="128837"/>
                  </a:lnTo>
                  <a:lnTo>
                    <a:pt x="64124" y="127543"/>
                  </a:lnTo>
                  <a:lnTo>
                    <a:pt x="64242" y="126366"/>
                  </a:lnTo>
                  <a:lnTo>
                    <a:pt x="64359" y="125660"/>
                  </a:lnTo>
                  <a:lnTo>
                    <a:pt x="64477" y="125072"/>
                  </a:lnTo>
                  <a:lnTo>
                    <a:pt x="64712" y="124013"/>
                  </a:lnTo>
                  <a:lnTo>
                    <a:pt x="64830" y="122719"/>
                  </a:lnTo>
                  <a:lnTo>
                    <a:pt x="64948" y="121071"/>
                  </a:lnTo>
                  <a:lnTo>
                    <a:pt x="65183" y="120248"/>
                  </a:lnTo>
                  <a:lnTo>
                    <a:pt x="65418" y="119660"/>
                  </a:lnTo>
                  <a:lnTo>
                    <a:pt x="66242" y="118483"/>
                  </a:lnTo>
                  <a:lnTo>
                    <a:pt x="67418" y="117306"/>
                  </a:lnTo>
                  <a:lnTo>
                    <a:pt x="70007" y="114836"/>
                  </a:lnTo>
                  <a:lnTo>
                    <a:pt x="72831" y="112129"/>
                  </a:lnTo>
                  <a:lnTo>
                    <a:pt x="74243" y="110600"/>
                  </a:lnTo>
                  <a:lnTo>
                    <a:pt x="75655" y="108953"/>
                  </a:lnTo>
                  <a:lnTo>
                    <a:pt x="79773" y="103893"/>
                  </a:lnTo>
                  <a:lnTo>
                    <a:pt x="81773" y="101187"/>
                  </a:lnTo>
                  <a:lnTo>
                    <a:pt x="83655" y="98481"/>
                  </a:lnTo>
                  <a:lnTo>
                    <a:pt x="85655" y="95657"/>
                  </a:lnTo>
                  <a:lnTo>
                    <a:pt x="87420" y="92598"/>
                  </a:lnTo>
                  <a:lnTo>
                    <a:pt x="89185" y="89539"/>
                  </a:lnTo>
                  <a:lnTo>
                    <a:pt x="90832" y="86362"/>
                  </a:lnTo>
                  <a:lnTo>
                    <a:pt x="92362" y="82950"/>
                  </a:lnTo>
                  <a:lnTo>
                    <a:pt x="93774" y="79538"/>
                  </a:lnTo>
                  <a:lnTo>
                    <a:pt x="95068" y="75890"/>
                  </a:lnTo>
                  <a:lnTo>
                    <a:pt x="96127" y="72125"/>
                  </a:lnTo>
                  <a:lnTo>
                    <a:pt x="96951" y="68125"/>
                  </a:lnTo>
                  <a:lnTo>
                    <a:pt x="97539" y="64007"/>
                  </a:lnTo>
                  <a:lnTo>
                    <a:pt x="98010" y="59771"/>
                  </a:lnTo>
                  <a:lnTo>
                    <a:pt x="98245" y="55300"/>
                  </a:lnTo>
                  <a:lnTo>
                    <a:pt x="98245" y="52829"/>
                  </a:lnTo>
                  <a:lnTo>
                    <a:pt x="98127" y="50359"/>
                  </a:lnTo>
                  <a:lnTo>
                    <a:pt x="97892" y="47888"/>
                  </a:lnTo>
                  <a:lnTo>
                    <a:pt x="97657" y="45417"/>
                  </a:lnTo>
                  <a:lnTo>
                    <a:pt x="97304" y="43064"/>
                  </a:lnTo>
                  <a:lnTo>
                    <a:pt x="96833" y="40593"/>
                  </a:lnTo>
                  <a:lnTo>
                    <a:pt x="96362" y="38240"/>
                  </a:lnTo>
                  <a:lnTo>
                    <a:pt x="95774" y="36004"/>
                  </a:lnTo>
                  <a:lnTo>
                    <a:pt x="95186" y="33651"/>
                  </a:lnTo>
                  <a:lnTo>
                    <a:pt x="94480" y="31416"/>
                  </a:lnTo>
                  <a:lnTo>
                    <a:pt x="93656" y="29298"/>
                  </a:lnTo>
                  <a:lnTo>
                    <a:pt x="92715" y="27180"/>
                  </a:lnTo>
                  <a:lnTo>
                    <a:pt x="91774" y="25062"/>
                  </a:lnTo>
                  <a:lnTo>
                    <a:pt x="90832" y="23062"/>
                  </a:lnTo>
                  <a:lnTo>
                    <a:pt x="89774" y="21179"/>
                  </a:lnTo>
                  <a:lnTo>
                    <a:pt x="88597" y="19297"/>
                  </a:lnTo>
                  <a:lnTo>
                    <a:pt x="87067" y="17179"/>
                  </a:lnTo>
                  <a:lnTo>
                    <a:pt x="85538" y="15061"/>
                  </a:lnTo>
                  <a:lnTo>
                    <a:pt x="83891" y="13178"/>
                  </a:lnTo>
                  <a:lnTo>
                    <a:pt x="82126" y="11414"/>
                  </a:lnTo>
                  <a:lnTo>
                    <a:pt x="80243" y="9766"/>
                  </a:lnTo>
                  <a:lnTo>
                    <a:pt x="78361" y="8237"/>
                  </a:lnTo>
                  <a:lnTo>
                    <a:pt x="76360" y="6825"/>
                  </a:lnTo>
                  <a:lnTo>
                    <a:pt x="74360" y="5531"/>
                  </a:lnTo>
                  <a:lnTo>
                    <a:pt x="72242" y="4354"/>
                  </a:lnTo>
                  <a:lnTo>
                    <a:pt x="70007" y="3413"/>
                  </a:lnTo>
                  <a:lnTo>
                    <a:pt x="67771" y="2472"/>
                  </a:lnTo>
                  <a:lnTo>
                    <a:pt x="65418" y="1766"/>
                  </a:lnTo>
                  <a:lnTo>
                    <a:pt x="62947" y="1060"/>
                  </a:lnTo>
                  <a:lnTo>
                    <a:pt x="60477" y="589"/>
                  </a:lnTo>
                  <a:lnTo>
                    <a:pt x="58006" y="236"/>
                  </a:lnTo>
                  <a:lnTo>
                    <a:pt x="55417" y="118"/>
                  </a:lnTo>
                  <a:lnTo>
                    <a:pt x="54594" y="118"/>
                  </a:lnTo>
                  <a:lnTo>
                    <a:pt x="51770" y="1"/>
                  </a:lnTo>
                  <a:close/>
                </a:path>
              </a:pathLst>
            </a:custGeom>
            <a:solidFill>
              <a:srgbClr val="FCBF0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51" name="Google Shape;1351;p16"/>
            <p:cNvSpPr/>
            <p:nvPr/>
          </p:nvSpPr>
          <p:spPr>
            <a:xfrm>
              <a:off x="2624575" y="1085250"/>
              <a:ext cx="2456125" cy="3403300"/>
            </a:xfrm>
            <a:custGeom>
              <a:avLst/>
              <a:gdLst/>
              <a:ahLst/>
              <a:cxnLst/>
              <a:rect l="l" t="t" r="r" b="b"/>
              <a:pathLst>
                <a:path w="98245" h="136132" fill="none" extrusionOk="0">
                  <a:moveTo>
                    <a:pt x="46475" y="136132"/>
                  </a:moveTo>
                  <a:lnTo>
                    <a:pt x="46475" y="136132"/>
                  </a:lnTo>
                  <a:lnTo>
                    <a:pt x="44593" y="136132"/>
                  </a:lnTo>
                  <a:lnTo>
                    <a:pt x="42710" y="136014"/>
                  </a:lnTo>
                  <a:lnTo>
                    <a:pt x="42710" y="136014"/>
                  </a:lnTo>
                  <a:lnTo>
                    <a:pt x="41063" y="135661"/>
                  </a:lnTo>
                  <a:lnTo>
                    <a:pt x="41063" y="135661"/>
                  </a:lnTo>
                  <a:lnTo>
                    <a:pt x="39533" y="135426"/>
                  </a:lnTo>
                  <a:lnTo>
                    <a:pt x="38004" y="134955"/>
                  </a:lnTo>
                  <a:lnTo>
                    <a:pt x="36710" y="134484"/>
                  </a:lnTo>
                  <a:lnTo>
                    <a:pt x="35415" y="133896"/>
                  </a:lnTo>
                  <a:lnTo>
                    <a:pt x="35415" y="133896"/>
                  </a:lnTo>
                  <a:lnTo>
                    <a:pt x="34239" y="133190"/>
                  </a:lnTo>
                  <a:lnTo>
                    <a:pt x="33298" y="132367"/>
                  </a:lnTo>
                  <a:lnTo>
                    <a:pt x="32474" y="131543"/>
                  </a:lnTo>
                  <a:lnTo>
                    <a:pt x="32003" y="130719"/>
                  </a:lnTo>
                  <a:lnTo>
                    <a:pt x="31533" y="129896"/>
                  </a:lnTo>
                  <a:lnTo>
                    <a:pt x="31297" y="129072"/>
                  </a:lnTo>
                  <a:lnTo>
                    <a:pt x="31180" y="128366"/>
                  </a:lnTo>
                  <a:lnTo>
                    <a:pt x="31180" y="127660"/>
                  </a:lnTo>
                  <a:lnTo>
                    <a:pt x="31180" y="127660"/>
                  </a:lnTo>
                  <a:lnTo>
                    <a:pt x="31180" y="127307"/>
                  </a:lnTo>
                  <a:lnTo>
                    <a:pt x="31180" y="127307"/>
                  </a:lnTo>
                  <a:lnTo>
                    <a:pt x="31297" y="125425"/>
                  </a:lnTo>
                  <a:lnTo>
                    <a:pt x="31297" y="123307"/>
                  </a:lnTo>
                  <a:lnTo>
                    <a:pt x="31180" y="122248"/>
                  </a:lnTo>
                  <a:lnTo>
                    <a:pt x="30944" y="121189"/>
                  </a:lnTo>
                  <a:lnTo>
                    <a:pt x="30709" y="120130"/>
                  </a:lnTo>
                  <a:lnTo>
                    <a:pt x="30356" y="119189"/>
                  </a:lnTo>
                  <a:lnTo>
                    <a:pt x="30356" y="119189"/>
                  </a:lnTo>
                  <a:lnTo>
                    <a:pt x="29650" y="117659"/>
                  </a:lnTo>
                  <a:lnTo>
                    <a:pt x="28709" y="116012"/>
                  </a:lnTo>
                  <a:lnTo>
                    <a:pt x="26591" y="112718"/>
                  </a:lnTo>
                  <a:lnTo>
                    <a:pt x="24120" y="109070"/>
                  </a:lnTo>
                  <a:lnTo>
                    <a:pt x="21296" y="105305"/>
                  </a:lnTo>
                  <a:lnTo>
                    <a:pt x="21296" y="105305"/>
                  </a:lnTo>
                  <a:lnTo>
                    <a:pt x="17649" y="100246"/>
                  </a:lnTo>
                  <a:lnTo>
                    <a:pt x="13884" y="94834"/>
                  </a:lnTo>
                  <a:lnTo>
                    <a:pt x="12119" y="92010"/>
                  </a:lnTo>
                  <a:lnTo>
                    <a:pt x="10236" y="89068"/>
                  </a:lnTo>
                  <a:lnTo>
                    <a:pt x="8589" y="86009"/>
                  </a:lnTo>
                  <a:lnTo>
                    <a:pt x="6942" y="82832"/>
                  </a:lnTo>
                  <a:lnTo>
                    <a:pt x="5530" y="79538"/>
                  </a:lnTo>
                  <a:lnTo>
                    <a:pt x="4118" y="76243"/>
                  </a:lnTo>
                  <a:lnTo>
                    <a:pt x="2942" y="72714"/>
                  </a:lnTo>
                  <a:lnTo>
                    <a:pt x="1883" y="69066"/>
                  </a:lnTo>
                  <a:lnTo>
                    <a:pt x="1059" y="65301"/>
                  </a:lnTo>
                  <a:lnTo>
                    <a:pt x="471" y="61418"/>
                  </a:lnTo>
                  <a:lnTo>
                    <a:pt x="118" y="57418"/>
                  </a:lnTo>
                  <a:lnTo>
                    <a:pt x="0" y="53300"/>
                  </a:lnTo>
                  <a:lnTo>
                    <a:pt x="0" y="53300"/>
                  </a:lnTo>
                  <a:lnTo>
                    <a:pt x="118" y="50359"/>
                  </a:lnTo>
                  <a:lnTo>
                    <a:pt x="353" y="47417"/>
                  </a:lnTo>
                  <a:lnTo>
                    <a:pt x="588" y="44476"/>
                  </a:lnTo>
                  <a:lnTo>
                    <a:pt x="1059" y="41769"/>
                  </a:lnTo>
                  <a:lnTo>
                    <a:pt x="1647" y="38946"/>
                  </a:lnTo>
                  <a:lnTo>
                    <a:pt x="2353" y="36357"/>
                  </a:lnTo>
                  <a:lnTo>
                    <a:pt x="3177" y="33769"/>
                  </a:lnTo>
                  <a:lnTo>
                    <a:pt x="4118" y="31180"/>
                  </a:lnTo>
                  <a:lnTo>
                    <a:pt x="5177" y="28709"/>
                  </a:lnTo>
                  <a:lnTo>
                    <a:pt x="6354" y="26356"/>
                  </a:lnTo>
                  <a:lnTo>
                    <a:pt x="7766" y="24121"/>
                  </a:lnTo>
                  <a:lnTo>
                    <a:pt x="9178" y="21885"/>
                  </a:lnTo>
                  <a:lnTo>
                    <a:pt x="10707" y="19650"/>
                  </a:lnTo>
                  <a:lnTo>
                    <a:pt x="12354" y="17649"/>
                  </a:lnTo>
                  <a:lnTo>
                    <a:pt x="14002" y="15649"/>
                  </a:lnTo>
                  <a:lnTo>
                    <a:pt x="15884" y="13767"/>
                  </a:lnTo>
                  <a:lnTo>
                    <a:pt x="15884" y="13767"/>
                  </a:lnTo>
                  <a:lnTo>
                    <a:pt x="17884" y="12120"/>
                  </a:lnTo>
                  <a:lnTo>
                    <a:pt x="19884" y="10472"/>
                  </a:lnTo>
                  <a:lnTo>
                    <a:pt x="21885" y="8943"/>
                  </a:lnTo>
                  <a:lnTo>
                    <a:pt x="24002" y="7531"/>
                  </a:lnTo>
                  <a:lnTo>
                    <a:pt x="26238" y="6354"/>
                  </a:lnTo>
                  <a:lnTo>
                    <a:pt x="28591" y="5178"/>
                  </a:lnTo>
                  <a:lnTo>
                    <a:pt x="30944" y="4119"/>
                  </a:lnTo>
                  <a:lnTo>
                    <a:pt x="33415" y="3177"/>
                  </a:lnTo>
                  <a:lnTo>
                    <a:pt x="35886" y="2354"/>
                  </a:lnTo>
                  <a:lnTo>
                    <a:pt x="38357" y="1648"/>
                  </a:lnTo>
                  <a:lnTo>
                    <a:pt x="40945" y="1060"/>
                  </a:lnTo>
                  <a:lnTo>
                    <a:pt x="43651" y="589"/>
                  </a:lnTo>
                  <a:lnTo>
                    <a:pt x="46358" y="354"/>
                  </a:lnTo>
                  <a:lnTo>
                    <a:pt x="49064" y="118"/>
                  </a:lnTo>
                  <a:lnTo>
                    <a:pt x="51770" y="1"/>
                  </a:lnTo>
                  <a:lnTo>
                    <a:pt x="54594" y="118"/>
                  </a:lnTo>
                  <a:lnTo>
                    <a:pt x="54594" y="118"/>
                  </a:lnTo>
                  <a:lnTo>
                    <a:pt x="55417" y="118"/>
                  </a:lnTo>
                  <a:lnTo>
                    <a:pt x="55417" y="118"/>
                  </a:lnTo>
                  <a:lnTo>
                    <a:pt x="58006" y="236"/>
                  </a:lnTo>
                  <a:lnTo>
                    <a:pt x="60477" y="589"/>
                  </a:lnTo>
                  <a:lnTo>
                    <a:pt x="62947" y="1060"/>
                  </a:lnTo>
                  <a:lnTo>
                    <a:pt x="65418" y="1766"/>
                  </a:lnTo>
                  <a:lnTo>
                    <a:pt x="67771" y="2472"/>
                  </a:lnTo>
                  <a:lnTo>
                    <a:pt x="70007" y="3413"/>
                  </a:lnTo>
                  <a:lnTo>
                    <a:pt x="72242" y="4354"/>
                  </a:lnTo>
                  <a:lnTo>
                    <a:pt x="74360" y="5531"/>
                  </a:lnTo>
                  <a:lnTo>
                    <a:pt x="76360" y="6825"/>
                  </a:lnTo>
                  <a:lnTo>
                    <a:pt x="78361" y="8237"/>
                  </a:lnTo>
                  <a:lnTo>
                    <a:pt x="80243" y="9766"/>
                  </a:lnTo>
                  <a:lnTo>
                    <a:pt x="82126" y="11414"/>
                  </a:lnTo>
                  <a:lnTo>
                    <a:pt x="83891" y="13178"/>
                  </a:lnTo>
                  <a:lnTo>
                    <a:pt x="85538" y="15061"/>
                  </a:lnTo>
                  <a:lnTo>
                    <a:pt x="87067" y="17179"/>
                  </a:lnTo>
                  <a:lnTo>
                    <a:pt x="88597" y="19297"/>
                  </a:lnTo>
                  <a:lnTo>
                    <a:pt x="88597" y="19297"/>
                  </a:lnTo>
                  <a:lnTo>
                    <a:pt x="89774" y="21179"/>
                  </a:lnTo>
                  <a:lnTo>
                    <a:pt x="90832" y="23062"/>
                  </a:lnTo>
                  <a:lnTo>
                    <a:pt x="91774" y="25062"/>
                  </a:lnTo>
                  <a:lnTo>
                    <a:pt x="92715" y="27180"/>
                  </a:lnTo>
                  <a:lnTo>
                    <a:pt x="93656" y="29298"/>
                  </a:lnTo>
                  <a:lnTo>
                    <a:pt x="94480" y="31416"/>
                  </a:lnTo>
                  <a:lnTo>
                    <a:pt x="95186" y="33651"/>
                  </a:lnTo>
                  <a:lnTo>
                    <a:pt x="95774" y="36004"/>
                  </a:lnTo>
                  <a:lnTo>
                    <a:pt x="96362" y="38240"/>
                  </a:lnTo>
                  <a:lnTo>
                    <a:pt x="96833" y="40593"/>
                  </a:lnTo>
                  <a:lnTo>
                    <a:pt x="97304" y="43064"/>
                  </a:lnTo>
                  <a:lnTo>
                    <a:pt x="97657" y="45417"/>
                  </a:lnTo>
                  <a:lnTo>
                    <a:pt x="97892" y="47888"/>
                  </a:lnTo>
                  <a:lnTo>
                    <a:pt x="98127" y="50359"/>
                  </a:lnTo>
                  <a:lnTo>
                    <a:pt x="98245" y="52829"/>
                  </a:lnTo>
                  <a:lnTo>
                    <a:pt x="98245" y="55300"/>
                  </a:lnTo>
                  <a:lnTo>
                    <a:pt x="98245" y="55300"/>
                  </a:lnTo>
                  <a:lnTo>
                    <a:pt x="98010" y="59771"/>
                  </a:lnTo>
                  <a:lnTo>
                    <a:pt x="97539" y="64007"/>
                  </a:lnTo>
                  <a:lnTo>
                    <a:pt x="96951" y="68125"/>
                  </a:lnTo>
                  <a:lnTo>
                    <a:pt x="96127" y="72125"/>
                  </a:lnTo>
                  <a:lnTo>
                    <a:pt x="95068" y="75890"/>
                  </a:lnTo>
                  <a:lnTo>
                    <a:pt x="93774" y="79538"/>
                  </a:lnTo>
                  <a:lnTo>
                    <a:pt x="92362" y="82950"/>
                  </a:lnTo>
                  <a:lnTo>
                    <a:pt x="90832" y="86362"/>
                  </a:lnTo>
                  <a:lnTo>
                    <a:pt x="89185" y="89539"/>
                  </a:lnTo>
                  <a:lnTo>
                    <a:pt x="87420" y="92598"/>
                  </a:lnTo>
                  <a:lnTo>
                    <a:pt x="85655" y="95657"/>
                  </a:lnTo>
                  <a:lnTo>
                    <a:pt x="83655" y="98481"/>
                  </a:lnTo>
                  <a:lnTo>
                    <a:pt x="81773" y="101187"/>
                  </a:lnTo>
                  <a:lnTo>
                    <a:pt x="79773" y="103893"/>
                  </a:lnTo>
                  <a:lnTo>
                    <a:pt x="75655" y="108953"/>
                  </a:lnTo>
                  <a:lnTo>
                    <a:pt x="75655" y="108953"/>
                  </a:lnTo>
                  <a:lnTo>
                    <a:pt x="74243" y="110600"/>
                  </a:lnTo>
                  <a:lnTo>
                    <a:pt x="72831" y="112129"/>
                  </a:lnTo>
                  <a:lnTo>
                    <a:pt x="70007" y="114836"/>
                  </a:lnTo>
                  <a:lnTo>
                    <a:pt x="70007" y="114836"/>
                  </a:lnTo>
                  <a:lnTo>
                    <a:pt x="67418" y="117306"/>
                  </a:lnTo>
                  <a:lnTo>
                    <a:pt x="66242" y="118483"/>
                  </a:lnTo>
                  <a:lnTo>
                    <a:pt x="65418" y="119660"/>
                  </a:lnTo>
                  <a:lnTo>
                    <a:pt x="65418" y="119660"/>
                  </a:lnTo>
                  <a:lnTo>
                    <a:pt x="65183" y="120248"/>
                  </a:lnTo>
                  <a:lnTo>
                    <a:pt x="64948" y="121071"/>
                  </a:lnTo>
                  <a:lnTo>
                    <a:pt x="64830" y="122719"/>
                  </a:lnTo>
                  <a:lnTo>
                    <a:pt x="64830" y="122719"/>
                  </a:lnTo>
                  <a:lnTo>
                    <a:pt x="64712" y="124013"/>
                  </a:lnTo>
                  <a:lnTo>
                    <a:pt x="64477" y="125072"/>
                  </a:lnTo>
                  <a:lnTo>
                    <a:pt x="64477" y="125072"/>
                  </a:lnTo>
                  <a:lnTo>
                    <a:pt x="64359" y="125660"/>
                  </a:lnTo>
                  <a:lnTo>
                    <a:pt x="64242" y="126366"/>
                  </a:lnTo>
                  <a:lnTo>
                    <a:pt x="64242" y="126366"/>
                  </a:lnTo>
                  <a:lnTo>
                    <a:pt x="64124" y="127543"/>
                  </a:lnTo>
                  <a:lnTo>
                    <a:pt x="63653" y="128837"/>
                  </a:lnTo>
                  <a:lnTo>
                    <a:pt x="63065" y="130013"/>
                  </a:lnTo>
                  <a:lnTo>
                    <a:pt x="62241" y="131072"/>
                  </a:lnTo>
                  <a:lnTo>
                    <a:pt x="62241" y="131072"/>
                  </a:lnTo>
                  <a:lnTo>
                    <a:pt x="61183" y="132014"/>
                  </a:lnTo>
                  <a:lnTo>
                    <a:pt x="59888" y="132955"/>
                  </a:lnTo>
                  <a:lnTo>
                    <a:pt x="58359" y="133779"/>
                  </a:lnTo>
                  <a:lnTo>
                    <a:pt x="56594" y="134484"/>
                  </a:lnTo>
                  <a:lnTo>
                    <a:pt x="56594" y="134484"/>
                  </a:lnTo>
                  <a:lnTo>
                    <a:pt x="56476" y="134602"/>
                  </a:lnTo>
                  <a:lnTo>
                    <a:pt x="56476" y="134602"/>
                  </a:lnTo>
                  <a:lnTo>
                    <a:pt x="56476" y="134602"/>
                  </a:lnTo>
                  <a:lnTo>
                    <a:pt x="54123" y="135308"/>
                  </a:lnTo>
                  <a:lnTo>
                    <a:pt x="51652" y="135779"/>
                  </a:lnTo>
                  <a:lnTo>
                    <a:pt x="49181" y="136132"/>
                  </a:lnTo>
                  <a:lnTo>
                    <a:pt x="46475" y="136132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52" name="Google Shape;1352;p16"/>
            <p:cNvSpPr/>
            <p:nvPr/>
          </p:nvSpPr>
          <p:spPr>
            <a:xfrm>
              <a:off x="2698100" y="1161725"/>
              <a:ext cx="2306125" cy="3253300"/>
            </a:xfrm>
            <a:custGeom>
              <a:avLst/>
              <a:gdLst/>
              <a:ahLst/>
              <a:cxnLst/>
              <a:rect l="l" t="t" r="r" b="b"/>
              <a:pathLst>
                <a:path w="92245" h="130132" fill="none" extrusionOk="0">
                  <a:moveTo>
                    <a:pt x="49182" y="1"/>
                  </a:moveTo>
                  <a:lnTo>
                    <a:pt x="49182" y="1"/>
                  </a:lnTo>
                  <a:lnTo>
                    <a:pt x="46711" y="1"/>
                  </a:lnTo>
                  <a:lnTo>
                    <a:pt x="44358" y="118"/>
                  </a:lnTo>
                  <a:lnTo>
                    <a:pt x="41887" y="471"/>
                  </a:lnTo>
                  <a:lnTo>
                    <a:pt x="39534" y="824"/>
                  </a:lnTo>
                  <a:lnTo>
                    <a:pt x="37181" y="1295"/>
                  </a:lnTo>
                  <a:lnTo>
                    <a:pt x="34945" y="1883"/>
                  </a:lnTo>
                  <a:lnTo>
                    <a:pt x="32710" y="2472"/>
                  </a:lnTo>
                  <a:lnTo>
                    <a:pt x="30474" y="3295"/>
                  </a:lnTo>
                  <a:lnTo>
                    <a:pt x="28356" y="4119"/>
                  </a:lnTo>
                  <a:lnTo>
                    <a:pt x="26238" y="5178"/>
                  </a:lnTo>
                  <a:lnTo>
                    <a:pt x="24238" y="6237"/>
                  </a:lnTo>
                  <a:lnTo>
                    <a:pt x="22238" y="7296"/>
                  </a:lnTo>
                  <a:lnTo>
                    <a:pt x="20356" y="8590"/>
                  </a:lnTo>
                  <a:lnTo>
                    <a:pt x="18473" y="10002"/>
                  </a:lnTo>
                  <a:lnTo>
                    <a:pt x="16708" y="11414"/>
                  </a:lnTo>
                  <a:lnTo>
                    <a:pt x="15061" y="12943"/>
                  </a:lnTo>
                  <a:lnTo>
                    <a:pt x="15061" y="12943"/>
                  </a:lnTo>
                  <a:lnTo>
                    <a:pt x="13296" y="14708"/>
                  </a:lnTo>
                  <a:lnTo>
                    <a:pt x="11649" y="16591"/>
                  </a:lnTo>
                  <a:lnTo>
                    <a:pt x="10119" y="18473"/>
                  </a:lnTo>
                  <a:lnTo>
                    <a:pt x="8707" y="20473"/>
                  </a:lnTo>
                  <a:lnTo>
                    <a:pt x="7295" y="22591"/>
                  </a:lnTo>
                  <a:lnTo>
                    <a:pt x="6119" y="24709"/>
                  </a:lnTo>
                  <a:lnTo>
                    <a:pt x="4942" y="27062"/>
                  </a:lnTo>
                  <a:lnTo>
                    <a:pt x="4001" y="29298"/>
                  </a:lnTo>
                  <a:lnTo>
                    <a:pt x="3060" y="31769"/>
                  </a:lnTo>
                  <a:lnTo>
                    <a:pt x="2354" y="34239"/>
                  </a:lnTo>
                  <a:lnTo>
                    <a:pt x="1648" y="36710"/>
                  </a:lnTo>
                  <a:lnTo>
                    <a:pt x="1060" y="39299"/>
                  </a:lnTo>
                  <a:lnTo>
                    <a:pt x="707" y="42005"/>
                  </a:lnTo>
                  <a:lnTo>
                    <a:pt x="354" y="44711"/>
                  </a:lnTo>
                  <a:lnTo>
                    <a:pt x="118" y="47417"/>
                  </a:lnTo>
                  <a:lnTo>
                    <a:pt x="1" y="50241"/>
                  </a:lnTo>
                  <a:lnTo>
                    <a:pt x="1" y="50241"/>
                  </a:lnTo>
                  <a:lnTo>
                    <a:pt x="118" y="54241"/>
                  </a:lnTo>
                  <a:lnTo>
                    <a:pt x="471" y="58124"/>
                  </a:lnTo>
                  <a:lnTo>
                    <a:pt x="1060" y="61772"/>
                  </a:lnTo>
                  <a:lnTo>
                    <a:pt x="1883" y="65419"/>
                  </a:lnTo>
                  <a:lnTo>
                    <a:pt x="2942" y="68949"/>
                  </a:lnTo>
                  <a:lnTo>
                    <a:pt x="4119" y="72243"/>
                  </a:lnTo>
                  <a:lnTo>
                    <a:pt x="5413" y="75538"/>
                  </a:lnTo>
                  <a:lnTo>
                    <a:pt x="6825" y="78714"/>
                  </a:lnTo>
                  <a:lnTo>
                    <a:pt x="8354" y="81656"/>
                  </a:lnTo>
                  <a:lnTo>
                    <a:pt x="10119" y="84597"/>
                  </a:lnTo>
                  <a:lnTo>
                    <a:pt x="11766" y="87539"/>
                  </a:lnTo>
                  <a:lnTo>
                    <a:pt x="13531" y="90245"/>
                  </a:lnTo>
                  <a:lnTo>
                    <a:pt x="17179" y="95540"/>
                  </a:lnTo>
                  <a:lnTo>
                    <a:pt x="20826" y="100481"/>
                  </a:lnTo>
                  <a:lnTo>
                    <a:pt x="20826" y="100481"/>
                  </a:lnTo>
                  <a:lnTo>
                    <a:pt x="23650" y="104364"/>
                  </a:lnTo>
                  <a:lnTo>
                    <a:pt x="26238" y="108011"/>
                  </a:lnTo>
                  <a:lnTo>
                    <a:pt x="28356" y="111541"/>
                  </a:lnTo>
                  <a:lnTo>
                    <a:pt x="29298" y="113188"/>
                  </a:lnTo>
                  <a:lnTo>
                    <a:pt x="30121" y="114836"/>
                  </a:lnTo>
                  <a:lnTo>
                    <a:pt x="30121" y="114836"/>
                  </a:lnTo>
                  <a:lnTo>
                    <a:pt x="30592" y="116130"/>
                  </a:lnTo>
                  <a:lnTo>
                    <a:pt x="30945" y="117306"/>
                  </a:lnTo>
                  <a:lnTo>
                    <a:pt x="31180" y="118601"/>
                  </a:lnTo>
                  <a:lnTo>
                    <a:pt x="31298" y="119895"/>
                  </a:lnTo>
                  <a:lnTo>
                    <a:pt x="31298" y="122366"/>
                  </a:lnTo>
                  <a:lnTo>
                    <a:pt x="31180" y="124484"/>
                  </a:lnTo>
                  <a:lnTo>
                    <a:pt x="31180" y="124484"/>
                  </a:lnTo>
                  <a:lnTo>
                    <a:pt x="31180" y="124601"/>
                  </a:lnTo>
                  <a:lnTo>
                    <a:pt x="31180" y="124601"/>
                  </a:lnTo>
                  <a:lnTo>
                    <a:pt x="31298" y="125190"/>
                  </a:lnTo>
                  <a:lnTo>
                    <a:pt x="31415" y="125660"/>
                  </a:lnTo>
                  <a:lnTo>
                    <a:pt x="31651" y="126131"/>
                  </a:lnTo>
                  <a:lnTo>
                    <a:pt x="31886" y="126601"/>
                  </a:lnTo>
                  <a:lnTo>
                    <a:pt x="32239" y="126954"/>
                  </a:lnTo>
                  <a:lnTo>
                    <a:pt x="32710" y="127425"/>
                  </a:lnTo>
                  <a:lnTo>
                    <a:pt x="33886" y="128131"/>
                  </a:lnTo>
                  <a:lnTo>
                    <a:pt x="33886" y="128131"/>
                  </a:lnTo>
                  <a:lnTo>
                    <a:pt x="33886" y="128131"/>
                  </a:lnTo>
                  <a:lnTo>
                    <a:pt x="34945" y="128602"/>
                  </a:lnTo>
                  <a:lnTo>
                    <a:pt x="36122" y="129072"/>
                  </a:lnTo>
                  <a:lnTo>
                    <a:pt x="37298" y="129425"/>
                  </a:lnTo>
                  <a:lnTo>
                    <a:pt x="38593" y="129661"/>
                  </a:lnTo>
                  <a:lnTo>
                    <a:pt x="38593" y="129661"/>
                  </a:lnTo>
                  <a:lnTo>
                    <a:pt x="40122" y="129896"/>
                  </a:lnTo>
                  <a:lnTo>
                    <a:pt x="40122" y="129896"/>
                  </a:lnTo>
                  <a:lnTo>
                    <a:pt x="41652" y="130014"/>
                  </a:lnTo>
                  <a:lnTo>
                    <a:pt x="43299" y="130131"/>
                  </a:lnTo>
                  <a:lnTo>
                    <a:pt x="44946" y="130131"/>
                  </a:lnTo>
                  <a:lnTo>
                    <a:pt x="46476" y="130014"/>
                  </a:lnTo>
                  <a:lnTo>
                    <a:pt x="48123" y="129778"/>
                  </a:lnTo>
                  <a:lnTo>
                    <a:pt x="49652" y="129543"/>
                  </a:lnTo>
                  <a:lnTo>
                    <a:pt x="51064" y="129190"/>
                  </a:lnTo>
                  <a:lnTo>
                    <a:pt x="52476" y="128719"/>
                  </a:lnTo>
                  <a:lnTo>
                    <a:pt x="52476" y="128719"/>
                  </a:lnTo>
                  <a:lnTo>
                    <a:pt x="52712" y="128602"/>
                  </a:lnTo>
                  <a:lnTo>
                    <a:pt x="52712" y="128602"/>
                  </a:lnTo>
                  <a:lnTo>
                    <a:pt x="54006" y="128131"/>
                  </a:lnTo>
                  <a:lnTo>
                    <a:pt x="55182" y="127425"/>
                  </a:lnTo>
                  <a:lnTo>
                    <a:pt x="56241" y="126719"/>
                  </a:lnTo>
                  <a:lnTo>
                    <a:pt x="57065" y="126013"/>
                  </a:lnTo>
                  <a:lnTo>
                    <a:pt x="57065" y="126013"/>
                  </a:lnTo>
                  <a:lnTo>
                    <a:pt x="57536" y="125307"/>
                  </a:lnTo>
                  <a:lnTo>
                    <a:pt x="58006" y="124601"/>
                  </a:lnTo>
                  <a:lnTo>
                    <a:pt x="58242" y="123895"/>
                  </a:lnTo>
                  <a:lnTo>
                    <a:pt x="58359" y="123072"/>
                  </a:lnTo>
                  <a:lnTo>
                    <a:pt x="58359" y="123072"/>
                  </a:lnTo>
                  <a:lnTo>
                    <a:pt x="58477" y="122130"/>
                  </a:lnTo>
                  <a:lnTo>
                    <a:pt x="58712" y="121072"/>
                  </a:lnTo>
                  <a:lnTo>
                    <a:pt x="58712" y="121072"/>
                  </a:lnTo>
                  <a:lnTo>
                    <a:pt x="58830" y="120366"/>
                  </a:lnTo>
                  <a:lnTo>
                    <a:pt x="58830" y="119542"/>
                  </a:lnTo>
                  <a:lnTo>
                    <a:pt x="58830" y="119542"/>
                  </a:lnTo>
                  <a:lnTo>
                    <a:pt x="58947" y="118365"/>
                  </a:lnTo>
                  <a:lnTo>
                    <a:pt x="59065" y="117189"/>
                  </a:lnTo>
                  <a:lnTo>
                    <a:pt x="59418" y="116012"/>
                  </a:lnTo>
                  <a:lnTo>
                    <a:pt x="59653" y="115542"/>
                  </a:lnTo>
                  <a:lnTo>
                    <a:pt x="60006" y="114953"/>
                  </a:lnTo>
                  <a:lnTo>
                    <a:pt x="60006" y="114953"/>
                  </a:lnTo>
                  <a:lnTo>
                    <a:pt x="60948" y="113659"/>
                  </a:lnTo>
                  <a:lnTo>
                    <a:pt x="62242" y="112247"/>
                  </a:lnTo>
                  <a:lnTo>
                    <a:pt x="65066" y="109541"/>
                  </a:lnTo>
                  <a:lnTo>
                    <a:pt x="65066" y="109541"/>
                  </a:lnTo>
                  <a:lnTo>
                    <a:pt x="67772" y="106952"/>
                  </a:lnTo>
                  <a:lnTo>
                    <a:pt x="69184" y="105541"/>
                  </a:lnTo>
                  <a:lnTo>
                    <a:pt x="70360" y="104011"/>
                  </a:lnTo>
                  <a:lnTo>
                    <a:pt x="70360" y="104011"/>
                  </a:lnTo>
                  <a:lnTo>
                    <a:pt x="74361" y="99069"/>
                  </a:lnTo>
                  <a:lnTo>
                    <a:pt x="76243" y="96481"/>
                  </a:lnTo>
                  <a:lnTo>
                    <a:pt x="78126" y="93775"/>
                  </a:lnTo>
                  <a:lnTo>
                    <a:pt x="80008" y="91069"/>
                  </a:lnTo>
                  <a:lnTo>
                    <a:pt x="81773" y="88245"/>
                  </a:lnTo>
                  <a:lnTo>
                    <a:pt x="83538" y="85186"/>
                  </a:lnTo>
                  <a:lnTo>
                    <a:pt x="85185" y="82127"/>
                  </a:lnTo>
                  <a:lnTo>
                    <a:pt x="86597" y="78832"/>
                  </a:lnTo>
                  <a:lnTo>
                    <a:pt x="88009" y="75538"/>
                  </a:lnTo>
                  <a:lnTo>
                    <a:pt x="89186" y="72008"/>
                  </a:lnTo>
                  <a:lnTo>
                    <a:pt x="90245" y="68360"/>
                  </a:lnTo>
                  <a:lnTo>
                    <a:pt x="91068" y="64595"/>
                  </a:lnTo>
                  <a:lnTo>
                    <a:pt x="91657" y="60595"/>
                  </a:lnTo>
                  <a:lnTo>
                    <a:pt x="92127" y="56477"/>
                  </a:lnTo>
                  <a:lnTo>
                    <a:pt x="92245" y="52124"/>
                  </a:lnTo>
                  <a:lnTo>
                    <a:pt x="92245" y="52124"/>
                  </a:lnTo>
                  <a:lnTo>
                    <a:pt x="92245" y="49770"/>
                  </a:lnTo>
                  <a:lnTo>
                    <a:pt x="92127" y="47417"/>
                  </a:lnTo>
                  <a:lnTo>
                    <a:pt x="92009" y="45064"/>
                  </a:lnTo>
                  <a:lnTo>
                    <a:pt x="91774" y="42829"/>
                  </a:lnTo>
                  <a:lnTo>
                    <a:pt x="91421" y="40475"/>
                  </a:lnTo>
                  <a:lnTo>
                    <a:pt x="91068" y="38240"/>
                  </a:lnTo>
                  <a:lnTo>
                    <a:pt x="90598" y="36004"/>
                  </a:lnTo>
                  <a:lnTo>
                    <a:pt x="90009" y="33769"/>
                  </a:lnTo>
                  <a:lnTo>
                    <a:pt x="89421" y="31533"/>
                  </a:lnTo>
                  <a:lnTo>
                    <a:pt x="88715" y="29415"/>
                  </a:lnTo>
                  <a:lnTo>
                    <a:pt x="87891" y="27298"/>
                  </a:lnTo>
                  <a:lnTo>
                    <a:pt x="87068" y="25297"/>
                  </a:lnTo>
                  <a:lnTo>
                    <a:pt x="86244" y="23415"/>
                  </a:lnTo>
                  <a:lnTo>
                    <a:pt x="85185" y="21415"/>
                  </a:lnTo>
                  <a:lnTo>
                    <a:pt x="84244" y="19650"/>
                  </a:lnTo>
                  <a:lnTo>
                    <a:pt x="83067" y="17885"/>
                  </a:lnTo>
                  <a:lnTo>
                    <a:pt x="83067" y="17885"/>
                  </a:lnTo>
                  <a:lnTo>
                    <a:pt x="81773" y="15885"/>
                  </a:lnTo>
                  <a:lnTo>
                    <a:pt x="80244" y="14002"/>
                  </a:lnTo>
                  <a:lnTo>
                    <a:pt x="78714" y="12237"/>
                  </a:lnTo>
                  <a:lnTo>
                    <a:pt x="77067" y="10472"/>
                  </a:lnTo>
                  <a:lnTo>
                    <a:pt x="75420" y="8943"/>
                  </a:lnTo>
                  <a:lnTo>
                    <a:pt x="73655" y="7531"/>
                  </a:lnTo>
                  <a:lnTo>
                    <a:pt x="71772" y="6237"/>
                  </a:lnTo>
                  <a:lnTo>
                    <a:pt x="69890" y="5060"/>
                  </a:lnTo>
                  <a:lnTo>
                    <a:pt x="67890" y="4001"/>
                  </a:lnTo>
                  <a:lnTo>
                    <a:pt x="65889" y="3060"/>
                  </a:lnTo>
                  <a:lnTo>
                    <a:pt x="63771" y="2236"/>
                  </a:lnTo>
                  <a:lnTo>
                    <a:pt x="61536" y="1530"/>
                  </a:lnTo>
                  <a:lnTo>
                    <a:pt x="59300" y="942"/>
                  </a:lnTo>
                  <a:lnTo>
                    <a:pt x="57065" y="589"/>
                  </a:lnTo>
                  <a:lnTo>
                    <a:pt x="54712" y="236"/>
                  </a:lnTo>
                  <a:lnTo>
                    <a:pt x="52241" y="1"/>
                  </a:lnTo>
                  <a:lnTo>
                    <a:pt x="52241" y="1"/>
                  </a:lnTo>
                  <a:lnTo>
                    <a:pt x="51653" y="1"/>
                  </a:lnTo>
                  <a:lnTo>
                    <a:pt x="51535" y="1"/>
                  </a:lnTo>
                  <a:lnTo>
                    <a:pt x="51535" y="1"/>
                  </a:lnTo>
                  <a:lnTo>
                    <a:pt x="4918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53" name="Google Shape;1353;p16"/>
            <p:cNvSpPr/>
            <p:nvPr/>
          </p:nvSpPr>
          <p:spPr>
            <a:xfrm>
              <a:off x="3242275" y="1420575"/>
              <a:ext cx="455950" cy="344175"/>
            </a:xfrm>
            <a:custGeom>
              <a:avLst/>
              <a:gdLst/>
              <a:ahLst/>
              <a:cxnLst/>
              <a:rect l="l" t="t" r="r" b="b"/>
              <a:pathLst>
                <a:path w="18238" h="13767" extrusionOk="0">
                  <a:moveTo>
                    <a:pt x="12472" y="1"/>
                  </a:moveTo>
                  <a:lnTo>
                    <a:pt x="12472" y="118"/>
                  </a:lnTo>
                  <a:lnTo>
                    <a:pt x="10825" y="471"/>
                  </a:lnTo>
                  <a:lnTo>
                    <a:pt x="9178" y="1060"/>
                  </a:lnTo>
                  <a:lnTo>
                    <a:pt x="7766" y="1766"/>
                  </a:lnTo>
                  <a:lnTo>
                    <a:pt x="6472" y="2472"/>
                  </a:lnTo>
                  <a:lnTo>
                    <a:pt x="4236" y="3766"/>
                  </a:lnTo>
                  <a:lnTo>
                    <a:pt x="2471" y="4825"/>
                  </a:lnTo>
                  <a:lnTo>
                    <a:pt x="2471" y="4942"/>
                  </a:lnTo>
                  <a:lnTo>
                    <a:pt x="1648" y="5413"/>
                  </a:lnTo>
                  <a:lnTo>
                    <a:pt x="1059" y="6119"/>
                  </a:lnTo>
                  <a:lnTo>
                    <a:pt x="471" y="6825"/>
                  </a:lnTo>
                  <a:lnTo>
                    <a:pt x="118" y="7649"/>
                  </a:lnTo>
                  <a:lnTo>
                    <a:pt x="0" y="8590"/>
                  </a:lnTo>
                  <a:lnTo>
                    <a:pt x="0" y="9413"/>
                  </a:lnTo>
                  <a:lnTo>
                    <a:pt x="118" y="10355"/>
                  </a:lnTo>
                  <a:lnTo>
                    <a:pt x="471" y="11296"/>
                  </a:lnTo>
                  <a:lnTo>
                    <a:pt x="1059" y="12002"/>
                  </a:lnTo>
                  <a:lnTo>
                    <a:pt x="1648" y="12708"/>
                  </a:lnTo>
                  <a:lnTo>
                    <a:pt x="2471" y="13179"/>
                  </a:lnTo>
                  <a:lnTo>
                    <a:pt x="3295" y="13532"/>
                  </a:lnTo>
                  <a:lnTo>
                    <a:pt x="4118" y="13767"/>
                  </a:lnTo>
                  <a:lnTo>
                    <a:pt x="5060" y="13767"/>
                  </a:lnTo>
                  <a:lnTo>
                    <a:pt x="6001" y="13649"/>
                  </a:lnTo>
                  <a:lnTo>
                    <a:pt x="6825" y="13296"/>
                  </a:lnTo>
                  <a:lnTo>
                    <a:pt x="9295" y="11884"/>
                  </a:lnTo>
                  <a:lnTo>
                    <a:pt x="11178" y="10708"/>
                  </a:lnTo>
                  <a:lnTo>
                    <a:pt x="12943" y="9884"/>
                  </a:lnTo>
                  <a:lnTo>
                    <a:pt x="13649" y="9649"/>
                  </a:lnTo>
                  <a:lnTo>
                    <a:pt x="14355" y="9413"/>
                  </a:lnTo>
                  <a:lnTo>
                    <a:pt x="15296" y="9178"/>
                  </a:lnTo>
                  <a:lnTo>
                    <a:pt x="16120" y="8708"/>
                  </a:lnTo>
                  <a:lnTo>
                    <a:pt x="16826" y="8119"/>
                  </a:lnTo>
                  <a:lnTo>
                    <a:pt x="17414" y="7413"/>
                  </a:lnTo>
                  <a:lnTo>
                    <a:pt x="17885" y="6590"/>
                  </a:lnTo>
                  <a:lnTo>
                    <a:pt x="18120" y="5648"/>
                  </a:lnTo>
                  <a:lnTo>
                    <a:pt x="18237" y="4707"/>
                  </a:lnTo>
                  <a:lnTo>
                    <a:pt x="18120" y="3766"/>
                  </a:lnTo>
                  <a:lnTo>
                    <a:pt x="17885" y="2825"/>
                  </a:lnTo>
                  <a:lnTo>
                    <a:pt x="17414" y="2001"/>
                  </a:lnTo>
                  <a:lnTo>
                    <a:pt x="16826" y="1295"/>
                  </a:lnTo>
                  <a:lnTo>
                    <a:pt x="16120" y="824"/>
                  </a:lnTo>
                  <a:lnTo>
                    <a:pt x="15296" y="354"/>
                  </a:lnTo>
                  <a:lnTo>
                    <a:pt x="14355" y="118"/>
                  </a:lnTo>
                  <a:lnTo>
                    <a:pt x="13413" y="1"/>
                  </a:lnTo>
                  <a:close/>
                </a:path>
              </a:pathLst>
            </a:custGeom>
            <a:solidFill>
              <a:srgbClr val="FCBF06">
                <a:alpha val="34510"/>
              </a:srgb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54" name="Google Shape;1354;p16"/>
            <p:cNvSpPr/>
            <p:nvPr/>
          </p:nvSpPr>
          <p:spPr>
            <a:xfrm>
              <a:off x="2865775" y="1761800"/>
              <a:ext cx="367700" cy="873625"/>
            </a:xfrm>
            <a:custGeom>
              <a:avLst/>
              <a:gdLst/>
              <a:ahLst/>
              <a:cxnLst/>
              <a:rect l="l" t="t" r="r" b="b"/>
              <a:pathLst>
                <a:path w="14708" h="34945" extrusionOk="0">
                  <a:moveTo>
                    <a:pt x="9766" y="0"/>
                  </a:moveTo>
                  <a:lnTo>
                    <a:pt x="8942" y="118"/>
                  </a:lnTo>
                  <a:lnTo>
                    <a:pt x="8001" y="471"/>
                  </a:lnTo>
                  <a:lnTo>
                    <a:pt x="7295" y="941"/>
                  </a:lnTo>
                  <a:lnTo>
                    <a:pt x="6589" y="1530"/>
                  </a:lnTo>
                  <a:lnTo>
                    <a:pt x="6118" y="2236"/>
                  </a:lnTo>
                  <a:lnTo>
                    <a:pt x="4354" y="5530"/>
                  </a:lnTo>
                  <a:lnTo>
                    <a:pt x="3530" y="7177"/>
                  </a:lnTo>
                  <a:lnTo>
                    <a:pt x="2824" y="8825"/>
                  </a:lnTo>
                  <a:lnTo>
                    <a:pt x="2236" y="10589"/>
                  </a:lnTo>
                  <a:lnTo>
                    <a:pt x="1647" y="12472"/>
                  </a:lnTo>
                  <a:lnTo>
                    <a:pt x="1177" y="14237"/>
                  </a:lnTo>
                  <a:lnTo>
                    <a:pt x="706" y="16119"/>
                  </a:lnTo>
                  <a:lnTo>
                    <a:pt x="471" y="17884"/>
                  </a:lnTo>
                  <a:lnTo>
                    <a:pt x="235" y="19767"/>
                  </a:lnTo>
                  <a:lnTo>
                    <a:pt x="0" y="21649"/>
                  </a:lnTo>
                  <a:lnTo>
                    <a:pt x="0" y="23532"/>
                  </a:lnTo>
                  <a:lnTo>
                    <a:pt x="118" y="27179"/>
                  </a:lnTo>
                  <a:lnTo>
                    <a:pt x="353" y="30827"/>
                  </a:lnTo>
                  <a:lnTo>
                    <a:pt x="588" y="31768"/>
                  </a:lnTo>
                  <a:lnTo>
                    <a:pt x="1059" y="32592"/>
                  </a:lnTo>
                  <a:lnTo>
                    <a:pt x="1530" y="33298"/>
                  </a:lnTo>
                  <a:lnTo>
                    <a:pt x="2236" y="34004"/>
                  </a:lnTo>
                  <a:lnTo>
                    <a:pt x="2942" y="34474"/>
                  </a:lnTo>
                  <a:lnTo>
                    <a:pt x="3883" y="34709"/>
                  </a:lnTo>
                  <a:lnTo>
                    <a:pt x="4707" y="34945"/>
                  </a:lnTo>
                  <a:lnTo>
                    <a:pt x="5648" y="34945"/>
                  </a:lnTo>
                  <a:lnTo>
                    <a:pt x="6589" y="34709"/>
                  </a:lnTo>
                  <a:lnTo>
                    <a:pt x="7413" y="34239"/>
                  </a:lnTo>
                  <a:lnTo>
                    <a:pt x="8236" y="33768"/>
                  </a:lnTo>
                  <a:lnTo>
                    <a:pt x="8825" y="33062"/>
                  </a:lnTo>
                  <a:lnTo>
                    <a:pt x="9295" y="32356"/>
                  </a:lnTo>
                  <a:lnTo>
                    <a:pt x="9648" y="31533"/>
                  </a:lnTo>
                  <a:lnTo>
                    <a:pt x="9766" y="30591"/>
                  </a:lnTo>
                  <a:lnTo>
                    <a:pt x="9766" y="29650"/>
                  </a:lnTo>
                  <a:lnTo>
                    <a:pt x="9531" y="26591"/>
                  </a:lnTo>
                  <a:lnTo>
                    <a:pt x="9413" y="23650"/>
                  </a:lnTo>
                  <a:lnTo>
                    <a:pt x="9531" y="20708"/>
                  </a:lnTo>
                  <a:lnTo>
                    <a:pt x="9883" y="17767"/>
                  </a:lnTo>
                  <a:lnTo>
                    <a:pt x="10236" y="16355"/>
                  </a:lnTo>
                  <a:lnTo>
                    <a:pt x="10589" y="15060"/>
                  </a:lnTo>
                  <a:lnTo>
                    <a:pt x="11531" y="12237"/>
                  </a:lnTo>
                  <a:lnTo>
                    <a:pt x="12707" y="9531"/>
                  </a:lnTo>
                  <a:lnTo>
                    <a:pt x="14002" y="6942"/>
                  </a:lnTo>
                  <a:lnTo>
                    <a:pt x="14472" y="6118"/>
                  </a:lnTo>
                  <a:lnTo>
                    <a:pt x="14590" y="5177"/>
                  </a:lnTo>
                  <a:lnTo>
                    <a:pt x="14707" y="4236"/>
                  </a:lnTo>
                  <a:lnTo>
                    <a:pt x="14472" y="3412"/>
                  </a:lnTo>
                  <a:lnTo>
                    <a:pt x="14237" y="2589"/>
                  </a:lnTo>
                  <a:lnTo>
                    <a:pt x="13766" y="1883"/>
                  </a:lnTo>
                  <a:lnTo>
                    <a:pt x="13178" y="1177"/>
                  </a:lnTo>
                  <a:lnTo>
                    <a:pt x="12354" y="588"/>
                  </a:lnTo>
                  <a:lnTo>
                    <a:pt x="11531" y="235"/>
                  </a:lnTo>
                  <a:lnTo>
                    <a:pt x="10707" y="0"/>
                  </a:lnTo>
                  <a:close/>
                </a:path>
              </a:pathLst>
            </a:custGeom>
            <a:solidFill>
              <a:srgbClr val="FCBF06">
                <a:alpha val="34510"/>
              </a:srgb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55" name="Google Shape;1355;p16"/>
            <p:cNvSpPr/>
            <p:nvPr/>
          </p:nvSpPr>
          <p:spPr>
            <a:xfrm>
              <a:off x="5336600" y="2335375"/>
              <a:ext cx="658900" cy="105925"/>
            </a:xfrm>
            <a:custGeom>
              <a:avLst/>
              <a:gdLst/>
              <a:ahLst/>
              <a:cxnLst/>
              <a:rect l="l" t="t" r="r" b="b"/>
              <a:pathLst>
                <a:path w="26356" h="4237" extrusionOk="0">
                  <a:moveTo>
                    <a:pt x="1647" y="1"/>
                  </a:moveTo>
                  <a:lnTo>
                    <a:pt x="1059" y="118"/>
                  </a:lnTo>
                  <a:lnTo>
                    <a:pt x="588" y="354"/>
                  </a:lnTo>
                  <a:lnTo>
                    <a:pt x="236" y="824"/>
                  </a:lnTo>
                  <a:lnTo>
                    <a:pt x="0" y="1413"/>
                  </a:lnTo>
                  <a:lnTo>
                    <a:pt x="118" y="2001"/>
                  </a:lnTo>
                  <a:lnTo>
                    <a:pt x="471" y="2471"/>
                  </a:lnTo>
                  <a:lnTo>
                    <a:pt x="941" y="2824"/>
                  </a:lnTo>
                  <a:lnTo>
                    <a:pt x="1530" y="3060"/>
                  </a:lnTo>
                  <a:lnTo>
                    <a:pt x="24826" y="4236"/>
                  </a:lnTo>
                  <a:lnTo>
                    <a:pt x="24944" y="4236"/>
                  </a:lnTo>
                  <a:lnTo>
                    <a:pt x="25414" y="4119"/>
                  </a:lnTo>
                  <a:lnTo>
                    <a:pt x="25885" y="3766"/>
                  </a:lnTo>
                  <a:lnTo>
                    <a:pt x="26238" y="3295"/>
                  </a:lnTo>
                  <a:lnTo>
                    <a:pt x="26356" y="2824"/>
                  </a:lnTo>
                  <a:lnTo>
                    <a:pt x="26356" y="2236"/>
                  </a:lnTo>
                  <a:lnTo>
                    <a:pt x="26003" y="1765"/>
                  </a:lnTo>
                  <a:lnTo>
                    <a:pt x="25532" y="1413"/>
                  </a:lnTo>
                  <a:lnTo>
                    <a:pt x="24944" y="1177"/>
                  </a:lnTo>
                  <a:lnTo>
                    <a:pt x="1647" y="1"/>
                  </a:lnTo>
                  <a:close/>
                </a:path>
              </a:pathLst>
            </a:custGeom>
            <a:solidFill>
              <a:srgbClr val="FCBF0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56" name="Google Shape;1356;p16"/>
            <p:cNvSpPr/>
            <p:nvPr/>
          </p:nvSpPr>
          <p:spPr>
            <a:xfrm>
              <a:off x="5192450" y="2329500"/>
              <a:ext cx="114750" cy="76500"/>
            </a:xfrm>
            <a:custGeom>
              <a:avLst/>
              <a:gdLst/>
              <a:ahLst/>
              <a:cxnLst/>
              <a:rect l="l" t="t" r="r" b="b"/>
              <a:pathLst>
                <a:path w="4590" h="3060" extrusionOk="0">
                  <a:moveTo>
                    <a:pt x="1060" y="0"/>
                  </a:moveTo>
                  <a:lnTo>
                    <a:pt x="589" y="353"/>
                  </a:lnTo>
                  <a:lnTo>
                    <a:pt x="236" y="824"/>
                  </a:lnTo>
                  <a:lnTo>
                    <a:pt x="1" y="1412"/>
                  </a:lnTo>
                  <a:lnTo>
                    <a:pt x="119" y="2000"/>
                  </a:lnTo>
                  <a:lnTo>
                    <a:pt x="472" y="2471"/>
                  </a:lnTo>
                  <a:lnTo>
                    <a:pt x="942" y="2824"/>
                  </a:lnTo>
                  <a:lnTo>
                    <a:pt x="1530" y="2942"/>
                  </a:lnTo>
                  <a:lnTo>
                    <a:pt x="2942" y="3059"/>
                  </a:lnTo>
                  <a:lnTo>
                    <a:pt x="3060" y="3059"/>
                  </a:lnTo>
                  <a:lnTo>
                    <a:pt x="3648" y="2942"/>
                  </a:lnTo>
                  <a:lnTo>
                    <a:pt x="4119" y="2589"/>
                  </a:lnTo>
                  <a:lnTo>
                    <a:pt x="4354" y="2118"/>
                  </a:lnTo>
                  <a:lnTo>
                    <a:pt x="4590" y="1648"/>
                  </a:lnTo>
                  <a:lnTo>
                    <a:pt x="4472" y="1059"/>
                  </a:lnTo>
                  <a:lnTo>
                    <a:pt x="4119" y="471"/>
                  </a:lnTo>
                  <a:lnTo>
                    <a:pt x="3648" y="118"/>
                  </a:lnTo>
                  <a:lnTo>
                    <a:pt x="3178" y="0"/>
                  </a:lnTo>
                  <a:close/>
                </a:path>
              </a:pathLst>
            </a:custGeom>
            <a:solidFill>
              <a:srgbClr val="FCBF0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57" name="Google Shape;1357;p16"/>
            <p:cNvSpPr/>
            <p:nvPr/>
          </p:nvSpPr>
          <p:spPr>
            <a:xfrm>
              <a:off x="5218925" y="1520600"/>
              <a:ext cx="623625" cy="276525"/>
            </a:xfrm>
            <a:custGeom>
              <a:avLst/>
              <a:gdLst/>
              <a:ahLst/>
              <a:cxnLst/>
              <a:rect l="l" t="t" r="r" b="b"/>
              <a:pathLst>
                <a:path w="24945" h="11061" extrusionOk="0">
                  <a:moveTo>
                    <a:pt x="23533" y="0"/>
                  </a:moveTo>
                  <a:lnTo>
                    <a:pt x="22944" y="118"/>
                  </a:lnTo>
                  <a:lnTo>
                    <a:pt x="942" y="8119"/>
                  </a:lnTo>
                  <a:lnTo>
                    <a:pt x="471" y="8354"/>
                  </a:lnTo>
                  <a:lnTo>
                    <a:pt x="119" y="8825"/>
                  </a:lnTo>
                  <a:lnTo>
                    <a:pt x="1" y="9413"/>
                  </a:lnTo>
                  <a:lnTo>
                    <a:pt x="119" y="10001"/>
                  </a:lnTo>
                  <a:lnTo>
                    <a:pt x="354" y="10472"/>
                  </a:lnTo>
                  <a:lnTo>
                    <a:pt x="707" y="10707"/>
                  </a:lnTo>
                  <a:lnTo>
                    <a:pt x="1060" y="10942"/>
                  </a:lnTo>
                  <a:lnTo>
                    <a:pt x="1530" y="11060"/>
                  </a:lnTo>
                  <a:lnTo>
                    <a:pt x="2001" y="10942"/>
                  </a:lnTo>
                  <a:lnTo>
                    <a:pt x="24003" y="2942"/>
                  </a:lnTo>
                  <a:lnTo>
                    <a:pt x="24474" y="2589"/>
                  </a:lnTo>
                  <a:lnTo>
                    <a:pt x="24827" y="2118"/>
                  </a:lnTo>
                  <a:lnTo>
                    <a:pt x="24944" y="1530"/>
                  </a:lnTo>
                  <a:lnTo>
                    <a:pt x="24827" y="941"/>
                  </a:lnTo>
                  <a:lnTo>
                    <a:pt x="24591" y="471"/>
                  </a:lnTo>
                  <a:lnTo>
                    <a:pt x="24121" y="118"/>
                  </a:lnTo>
                  <a:lnTo>
                    <a:pt x="23533" y="0"/>
                  </a:lnTo>
                  <a:close/>
                </a:path>
              </a:pathLst>
            </a:custGeom>
            <a:solidFill>
              <a:srgbClr val="FCBF0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58" name="Google Shape;1358;p16"/>
            <p:cNvSpPr/>
            <p:nvPr/>
          </p:nvSpPr>
          <p:spPr>
            <a:xfrm>
              <a:off x="5083625" y="1755900"/>
              <a:ext cx="108850" cy="88275"/>
            </a:xfrm>
            <a:custGeom>
              <a:avLst/>
              <a:gdLst/>
              <a:ahLst/>
              <a:cxnLst/>
              <a:rect l="l" t="t" r="r" b="b"/>
              <a:pathLst>
                <a:path w="4354" h="3531" extrusionOk="0">
                  <a:moveTo>
                    <a:pt x="2942" y="1"/>
                  </a:moveTo>
                  <a:lnTo>
                    <a:pt x="2354" y="119"/>
                  </a:lnTo>
                  <a:lnTo>
                    <a:pt x="942" y="707"/>
                  </a:lnTo>
                  <a:lnTo>
                    <a:pt x="471" y="942"/>
                  </a:lnTo>
                  <a:lnTo>
                    <a:pt x="118" y="1413"/>
                  </a:lnTo>
                  <a:lnTo>
                    <a:pt x="1" y="2001"/>
                  </a:lnTo>
                  <a:lnTo>
                    <a:pt x="118" y="2589"/>
                  </a:lnTo>
                  <a:lnTo>
                    <a:pt x="354" y="2942"/>
                  </a:lnTo>
                  <a:lnTo>
                    <a:pt x="589" y="3295"/>
                  </a:lnTo>
                  <a:lnTo>
                    <a:pt x="1059" y="3531"/>
                  </a:lnTo>
                  <a:lnTo>
                    <a:pt x="2001" y="3531"/>
                  </a:lnTo>
                  <a:lnTo>
                    <a:pt x="3413" y="2942"/>
                  </a:lnTo>
                  <a:lnTo>
                    <a:pt x="3883" y="2707"/>
                  </a:lnTo>
                  <a:lnTo>
                    <a:pt x="4236" y="2236"/>
                  </a:lnTo>
                  <a:lnTo>
                    <a:pt x="4354" y="1648"/>
                  </a:lnTo>
                  <a:lnTo>
                    <a:pt x="4354" y="1060"/>
                  </a:lnTo>
                  <a:lnTo>
                    <a:pt x="4001" y="589"/>
                  </a:lnTo>
                  <a:lnTo>
                    <a:pt x="3530" y="236"/>
                  </a:lnTo>
                  <a:lnTo>
                    <a:pt x="2942" y="1"/>
                  </a:lnTo>
                  <a:close/>
                </a:path>
              </a:pathLst>
            </a:custGeom>
            <a:solidFill>
              <a:srgbClr val="FCBF0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59" name="Google Shape;1359;p16"/>
            <p:cNvSpPr/>
            <p:nvPr/>
          </p:nvSpPr>
          <p:spPr>
            <a:xfrm>
              <a:off x="4921850" y="752875"/>
              <a:ext cx="503000" cy="473600"/>
            </a:xfrm>
            <a:custGeom>
              <a:avLst/>
              <a:gdLst/>
              <a:ahLst/>
              <a:cxnLst/>
              <a:rect l="l" t="t" r="r" b="b"/>
              <a:pathLst>
                <a:path w="20120" h="18944" extrusionOk="0">
                  <a:moveTo>
                    <a:pt x="18590" y="0"/>
                  </a:moveTo>
                  <a:lnTo>
                    <a:pt x="18120" y="118"/>
                  </a:lnTo>
                  <a:lnTo>
                    <a:pt x="17531" y="353"/>
                  </a:lnTo>
                  <a:lnTo>
                    <a:pt x="471" y="16355"/>
                  </a:lnTo>
                  <a:lnTo>
                    <a:pt x="118" y="16825"/>
                  </a:lnTo>
                  <a:lnTo>
                    <a:pt x="0" y="17414"/>
                  </a:lnTo>
                  <a:lnTo>
                    <a:pt x="118" y="18002"/>
                  </a:lnTo>
                  <a:lnTo>
                    <a:pt x="471" y="18473"/>
                  </a:lnTo>
                  <a:lnTo>
                    <a:pt x="942" y="18826"/>
                  </a:lnTo>
                  <a:lnTo>
                    <a:pt x="1530" y="18943"/>
                  </a:lnTo>
                  <a:lnTo>
                    <a:pt x="2118" y="18943"/>
                  </a:lnTo>
                  <a:lnTo>
                    <a:pt x="2589" y="18590"/>
                  </a:lnTo>
                  <a:lnTo>
                    <a:pt x="19649" y="2589"/>
                  </a:lnTo>
                  <a:lnTo>
                    <a:pt x="20002" y="2118"/>
                  </a:lnTo>
                  <a:lnTo>
                    <a:pt x="20120" y="1530"/>
                  </a:lnTo>
                  <a:lnTo>
                    <a:pt x="20002" y="942"/>
                  </a:lnTo>
                  <a:lnTo>
                    <a:pt x="19649" y="471"/>
                  </a:lnTo>
                  <a:lnTo>
                    <a:pt x="19179" y="118"/>
                  </a:lnTo>
                  <a:lnTo>
                    <a:pt x="18590" y="0"/>
                  </a:lnTo>
                  <a:close/>
                </a:path>
              </a:pathLst>
            </a:custGeom>
            <a:solidFill>
              <a:srgbClr val="FCBF0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60" name="Google Shape;1360;p16"/>
            <p:cNvSpPr/>
            <p:nvPr/>
          </p:nvSpPr>
          <p:spPr>
            <a:xfrm>
              <a:off x="4818900" y="1226450"/>
              <a:ext cx="100025" cy="100025"/>
            </a:xfrm>
            <a:custGeom>
              <a:avLst/>
              <a:gdLst/>
              <a:ahLst/>
              <a:cxnLst/>
              <a:rect l="l" t="t" r="r" b="b"/>
              <a:pathLst>
                <a:path w="4001" h="4001" extrusionOk="0">
                  <a:moveTo>
                    <a:pt x="2589" y="0"/>
                  </a:moveTo>
                  <a:lnTo>
                    <a:pt x="2001" y="118"/>
                  </a:lnTo>
                  <a:lnTo>
                    <a:pt x="1530" y="353"/>
                  </a:lnTo>
                  <a:lnTo>
                    <a:pt x="471" y="1412"/>
                  </a:lnTo>
                  <a:lnTo>
                    <a:pt x="118" y="1883"/>
                  </a:lnTo>
                  <a:lnTo>
                    <a:pt x="0" y="2471"/>
                  </a:lnTo>
                  <a:lnTo>
                    <a:pt x="0" y="3059"/>
                  </a:lnTo>
                  <a:lnTo>
                    <a:pt x="353" y="3530"/>
                  </a:lnTo>
                  <a:lnTo>
                    <a:pt x="824" y="3883"/>
                  </a:lnTo>
                  <a:lnTo>
                    <a:pt x="1412" y="4001"/>
                  </a:lnTo>
                  <a:lnTo>
                    <a:pt x="2001" y="3883"/>
                  </a:lnTo>
                  <a:lnTo>
                    <a:pt x="2471" y="3530"/>
                  </a:lnTo>
                  <a:lnTo>
                    <a:pt x="3530" y="2589"/>
                  </a:lnTo>
                  <a:lnTo>
                    <a:pt x="3883" y="2118"/>
                  </a:lnTo>
                  <a:lnTo>
                    <a:pt x="4001" y="1530"/>
                  </a:lnTo>
                  <a:lnTo>
                    <a:pt x="4001" y="942"/>
                  </a:lnTo>
                  <a:lnTo>
                    <a:pt x="3648" y="471"/>
                  </a:lnTo>
                  <a:lnTo>
                    <a:pt x="3177" y="118"/>
                  </a:lnTo>
                  <a:lnTo>
                    <a:pt x="2589" y="0"/>
                  </a:lnTo>
                  <a:close/>
                </a:path>
              </a:pathLst>
            </a:custGeom>
            <a:solidFill>
              <a:srgbClr val="FCBF0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61" name="Google Shape;1361;p16"/>
            <p:cNvSpPr/>
            <p:nvPr/>
          </p:nvSpPr>
          <p:spPr>
            <a:xfrm>
              <a:off x="4168825" y="238125"/>
              <a:ext cx="235350" cy="635375"/>
            </a:xfrm>
            <a:custGeom>
              <a:avLst/>
              <a:gdLst/>
              <a:ahLst/>
              <a:cxnLst/>
              <a:rect l="l" t="t" r="r" b="b"/>
              <a:pathLst>
                <a:path w="9414" h="25415" extrusionOk="0">
                  <a:moveTo>
                    <a:pt x="7766" y="0"/>
                  </a:moveTo>
                  <a:lnTo>
                    <a:pt x="7296" y="118"/>
                  </a:lnTo>
                  <a:lnTo>
                    <a:pt x="6825" y="471"/>
                  </a:lnTo>
                  <a:lnTo>
                    <a:pt x="6472" y="1059"/>
                  </a:lnTo>
                  <a:lnTo>
                    <a:pt x="1" y="23532"/>
                  </a:lnTo>
                  <a:lnTo>
                    <a:pt x="1" y="24120"/>
                  </a:lnTo>
                  <a:lnTo>
                    <a:pt x="118" y="24591"/>
                  </a:lnTo>
                  <a:lnTo>
                    <a:pt x="471" y="25061"/>
                  </a:lnTo>
                  <a:lnTo>
                    <a:pt x="1060" y="25297"/>
                  </a:lnTo>
                  <a:lnTo>
                    <a:pt x="1413" y="25414"/>
                  </a:lnTo>
                  <a:lnTo>
                    <a:pt x="1883" y="25297"/>
                  </a:lnTo>
                  <a:lnTo>
                    <a:pt x="2354" y="25061"/>
                  </a:lnTo>
                  <a:lnTo>
                    <a:pt x="2707" y="24826"/>
                  </a:lnTo>
                  <a:lnTo>
                    <a:pt x="2942" y="24355"/>
                  </a:lnTo>
                  <a:lnTo>
                    <a:pt x="9413" y="1883"/>
                  </a:lnTo>
                  <a:lnTo>
                    <a:pt x="9413" y="1294"/>
                  </a:lnTo>
                  <a:lnTo>
                    <a:pt x="9296" y="706"/>
                  </a:lnTo>
                  <a:lnTo>
                    <a:pt x="8943" y="235"/>
                  </a:lnTo>
                  <a:lnTo>
                    <a:pt x="8355" y="0"/>
                  </a:lnTo>
                  <a:close/>
                </a:path>
              </a:pathLst>
            </a:custGeom>
            <a:solidFill>
              <a:srgbClr val="FCBF0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62" name="Google Shape;1362;p16"/>
            <p:cNvSpPr/>
            <p:nvPr/>
          </p:nvSpPr>
          <p:spPr>
            <a:xfrm>
              <a:off x="4127650" y="899950"/>
              <a:ext cx="85325" cy="111800"/>
            </a:xfrm>
            <a:custGeom>
              <a:avLst/>
              <a:gdLst/>
              <a:ahLst/>
              <a:cxnLst/>
              <a:rect l="l" t="t" r="r" b="b"/>
              <a:pathLst>
                <a:path w="3413" h="4472" extrusionOk="0">
                  <a:moveTo>
                    <a:pt x="1765" y="0"/>
                  </a:moveTo>
                  <a:lnTo>
                    <a:pt x="1177" y="236"/>
                  </a:lnTo>
                  <a:lnTo>
                    <a:pt x="707" y="588"/>
                  </a:lnTo>
                  <a:lnTo>
                    <a:pt x="471" y="1177"/>
                  </a:lnTo>
                  <a:lnTo>
                    <a:pt x="118" y="2589"/>
                  </a:lnTo>
                  <a:lnTo>
                    <a:pt x="1" y="3177"/>
                  </a:lnTo>
                  <a:lnTo>
                    <a:pt x="236" y="3648"/>
                  </a:lnTo>
                  <a:lnTo>
                    <a:pt x="589" y="4118"/>
                  </a:lnTo>
                  <a:lnTo>
                    <a:pt x="1060" y="4471"/>
                  </a:lnTo>
                  <a:lnTo>
                    <a:pt x="1530" y="4471"/>
                  </a:lnTo>
                  <a:lnTo>
                    <a:pt x="2001" y="4354"/>
                  </a:lnTo>
                  <a:lnTo>
                    <a:pt x="2354" y="4118"/>
                  </a:lnTo>
                  <a:lnTo>
                    <a:pt x="2707" y="3883"/>
                  </a:lnTo>
                  <a:lnTo>
                    <a:pt x="2942" y="3412"/>
                  </a:lnTo>
                  <a:lnTo>
                    <a:pt x="3413" y="2000"/>
                  </a:lnTo>
                  <a:lnTo>
                    <a:pt x="3413" y="1412"/>
                  </a:lnTo>
                  <a:lnTo>
                    <a:pt x="3295" y="824"/>
                  </a:lnTo>
                  <a:lnTo>
                    <a:pt x="2824" y="353"/>
                  </a:lnTo>
                  <a:lnTo>
                    <a:pt x="2354" y="118"/>
                  </a:lnTo>
                  <a:lnTo>
                    <a:pt x="1765" y="0"/>
                  </a:lnTo>
                  <a:close/>
                </a:path>
              </a:pathLst>
            </a:custGeom>
            <a:solidFill>
              <a:srgbClr val="FCBF0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63" name="Google Shape;1363;p16"/>
            <p:cNvSpPr/>
            <p:nvPr/>
          </p:nvSpPr>
          <p:spPr>
            <a:xfrm>
              <a:off x="3154025" y="308700"/>
              <a:ext cx="255925" cy="632450"/>
            </a:xfrm>
            <a:custGeom>
              <a:avLst/>
              <a:gdLst/>
              <a:ahLst/>
              <a:cxnLst/>
              <a:rect l="l" t="t" r="r" b="b"/>
              <a:pathLst>
                <a:path w="10237" h="25298" extrusionOk="0">
                  <a:moveTo>
                    <a:pt x="1648" y="1"/>
                  </a:moveTo>
                  <a:lnTo>
                    <a:pt x="1060" y="118"/>
                  </a:lnTo>
                  <a:lnTo>
                    <a:pt x="471" y="354"/>
                  </a:lnTo>
                  <a:lnTo>
                    <a:pt x="118" y="824"/>
                  </a:lnTo>
                  <a:lnTo>
                    <a:pt x="1" y="1413"/>
                  </a:lnTo>
                  <a:lnTo>
                    <a:pt x="118" y="2001"/>
                  </a:lnTo>
                  <a:lnTo>
                    <a:pt x="7296" y="24238"/>
                  </a:lnTo>
                  <a:lnTo>
                    <a:pt x="7531" y="24591"/>
                  </a:lnTo>
                  <a:lnTo>
                    <a:pt x="7884" y="24944"/>
                  </a:lnTo>
                  <a:lnTo>
                    <a:pt x="8237" y="25180"/>
                  </a:lnTo>
                  <a:lnTo>
                    <a:pt x="8707" y="25297"/>
                  </a:lnTo>
                  <a:lnTo>
                    <a:pt x="9178" y="25180"/>
                  </a:lnTo>
                  <a:lnTo>
                    <a:pt x="9649" y="24827"/>
                  </a:lnTo>
                  <a:lnTo>
                    <a:pt x="10002" y="24474"/>
                  </a:lnTo>
                  <a:lnTo>
                    <a:pt x="10237" y="23886"/>
                  </a:lnTo>
                  <a:lnTo>
                    <a:pt x="10119" y="23297"/>
                  </a:lnTo>
                  <a:lnTo>
                    <a:pt x="2942" y="1060"/>
                  </a:lnTo>
                  <a:lnTo>
                    <a:pt x="2589" y="471"/>
                  </a:lnTo>
                  <a:lnTo>
                    <a:pt x="2119" y="118"/>
                  </a:lnTo>
                  <a:lnTo>
                    <a:pt x="1648" y="1"/>
                  </a:lnTo>
                  <a:close/>
                </a:path>
              </a:pathLst>
            </a:custGeom>
            <a:solidFill>
              <a:srgbClr val="FCBF0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64" name="Google Shape;1364;p16"/>
            <p:cNvSpPr/>
            <p:nvPr/>
          </p:nvSpPr>
          <p:spPr>
            <a:xfrm>
              <a:off x="3368750" y="967600"/>
              <a:ext cx="85325" cy="108850"/>
            </a:xfrm>
            <a:custGeom>
              <a:avLst/>
              <a:gdLst/>
              <a:ahLst/>
              <a:cxnLst/>
              <a:rect l="l" t="t" r="r" b="b"/>
              <a:pathLst>
                <a:path w="3413" h="4354" extrusionOk="0">
                  <a:moveTo>
                    <a:pt x="942" y="0"/>
                  </a:moveTo>
                  <a:lnTo>
                    <a:pt x="471" y="353"/>
                  </a:lnTo>
                  <a:lnTo>
                    <a:pt x="118" y="824"/>
                  </a:lnTo>
                  <a:lnTo>
                    <a:pt x="1" y="1295"/>
                  </a:lnTo>
                  <a:lnTo>
                    <a:pt x="1" y="1883"/>
                  </a:lnTo>
                  <a:lnTo>
                    <a:pt x="471" y="3295"/>
                  </a:lnTo>
                  <a:lnTo>
                    <a:pt x="707" y="3765"/>
                  </a:lnTo>
                  <a:lnTo>
                    <a:pt x="1060" y="4118"/>
                  </a:lnTo>
                  <a:lnTo>
                    <a:pt x="1413" y="4354"/>
                  </a:lnTo>
                  <a:lnTo>
                    <a:pt x="2354" y="4354"/>
                  </a:lnTo>
                  <a:lnTo>
                    <a:pt x="2942" y="4001"/>
                  </a:lnTo>
                  <a:lnTo>
                    <a:pt x="3295" y="3530"/>
                  </a:lnTo>
                  <a:lnTo>
                    <a:pt x="3413" y="2942"/>
                  </a:lnTo>
                  <a:lnTo>
                    <a:pt x="3295" y="2354"/>
                  </a:lnTo>
                  <a:lnTo>
                    <a:pt x="2825" y="942"/>
                  </a:lnTo>
                  <a:lnTo>
                    <a:pt x="2589" y="471"/>
                  </a:lnTo>
                  <a:lnTo>
                    <a:pt x="2119" y="118"/>
                  </a:lnTo>
                  <a:lnTo>
                    <a:pt x="1530" y="0"/>
                  </a:lnTo>
                  <a:close/>
                </a:path>
              </a:pathLst>
            </a:custGeom>
            <a:solidFill>
              <a:srgbClr val="FCBF0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65" name="Google Shape;1365;p16"/>
            <p:cNvSpPr/>
            <p:nvPr/>
          </p:nvSpPr>
          <p:spPr>
            <a:xfrm>
              <a:off x="1750950" y="2505975"/>
              <a:ext cx="655975" cy="150050"/>
            </a:xfrm>
            <a:custGeom>
              <a:avLst/>
              <a:gdLst/>
              <a:ahLst/>
              <a:cxnLst/>
              <a:rect l="l" t="t" r="r" b="b"/>
              <a:pathLst>
                <a:path w="26239" h="6002" extrusionOk="0">
                  <a:moveTo>
                    <a:pt x="24591" y="1"/>
                  </a:moveTo>
                  <a:lnTo>
                    <a:pt x="1295" y="2942"/>
                  </a:lnTo>
                  <a:lnTo>
                    <a:pt x="824" y="3178"/>
                  </a:lnTo>
                  <a:lnTo>
                    <a:pt x="354" y="3531"/>
                  </a:lnTo>
                  <a:lnTo>
                    <a:pt x="118" y="4001"/>
                  </a:lnTo>
                  <a:lnTo>
                    <a:pt x="1" y="4707"/>
                  </a:lnTo>
                  <a:lnTo>
                    <a:pt x="236" y="5178"/>
                  </a:lnTo>
                  <a:lnTo>
                    <a:pt x="589" y="5648"/>
                  </a:lnTo>
                  <a:lnTo>
                    <a:pt x="1060" y="5884"/>
                  </a:lnTo>
                  <a:lnTo>
                    <a:pt x="1530" y="6001"/>
                  </a:lnTo>
                  <a:lnTo>
                    <a:pt x="1766" y="6001"/>
                  </a:lnTo>
                  <a:lnTo>
                    <a:pt x="24944" y="2942"/>
                  </a:lnTo>
                  <a:lnTo>
                    <a:pt x="25533" y="2707"/>
                  </a:lnTo>
                  <a:lnTo>
                    <a:pt x="25885" y="2354"/>
                  </a:lnTo>
                  <a:lnTo>
                    <a:pt x="26121" y="1883"/>
                  </a:lnTo>
                  <a:lnTo>
                    <a:pt x="26238" y="1295"/>
                  </a:lnTo>
                  <a:lnTo>
                    <a:pt x="26003" y="707"/>
                  </a:lnTo>
                  <a:lnTo>
                    <a:pt x="25650" y="236"/>
                  </a:lnTo>
                  <a:lnTo>
                    <a:pt x="25180" y="1"/>
                  </a:lnTo>
                  <a:close/>
                </a:path>
              </a:pathLst>
            </a:custGeom>
            <a:solidFill>
              <a:srgbClr val="FCBF0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66" name="Google Shape;1366;p16"/>
            <p:cNvSpPr/>
            <p:nvPr/>
          </p:nvSpPr>
          <p:spPr>
            <a:xfrm>
              <a:off x="2439250" y="2485400"/>
              <a:ext cx="108875" cy="79425"/>
            </a:xfrm>
            <a:custGeom>
              <a:avLst/>
              <a:gdLst/>
              <a:ahLst/>
              <a:cxnLst/>
              <a:rect l="l" t="t" r="r" b="b"/>
              <a:pathLst>
                <a:path w="4355" h="3177" extrusionOk="0">
                  <a:moveTo>
                    <a:pt x="2707" y="0"/>
                  </a:moveTo>
                  <a:lnTo>
                    <a:pt x="1295" y="236"/>
                  </a:lnTo>
                  <a:lnTo>
                    <a:pt x="707" y="471"/>
                  </a:lnTo>
                  <a:lnTo>
                    <a:pt x="236" y="824"/>
                  </a:lnTo>
                  <a:lnTo>
                    <a:pt x="1" y="1294"/>
                  </a:lnTo>
                  <a:lnTo>
                    <a:pt x="1" y="1883"/>
                  </a:lnTo>
                  <a:lnTo>
                    <a:pt x="118" y="2471"/>
                  </a:lnTo>
                  <a:lnTo>
                    <a:pt x="471" y="2824"/>
                  </a:lnTo>
                  <a:lnTo>
                    <a:pt x="942" y="3177"/>
                  </a:lnTo>
                  <a:lnTo>
                    <a:pt x="1648" y="3177"/>
                  </a:lnTo>
                  <a:lnTo>
                    <a:pt x="3060" y="3059"/>
                  </a:lnTo>
                  <a:lnTo>
                    <a:pt x="3648" y="2824"/>
                  </a:lnTo>
                  <a:lnTo>
                    <a:pt x="4119" y="2471"/>
                  </a:lnTo>
                  <a:lnTo>
                    <a:pt x="4354" y="1883"/>
                  </a:lnTo>
                  <a:lnTo>
                    <a:pt x="4354" y="1294"/>
                  </a:lnTo>
                  <a:lnTo>
                    <a:pt x="4236" y="824"/>
                  </a:lnTo>
                  <a:lnTo>
                    <a:pt x="3883" y="353"/>
                  </a:lnTo>
                  <a:lnTo>
                    <a:pt x="3295" y="118"/>
                  </a:lnTo>
                  <a:lnTo>
                    <a:pt x="2707" y="0"/>
                  </a:lnTo>
                  <a:close/>
                </a:path>
              </a:pathLst>
            </a:custGeom>
            <a:solidFill>
              <a:srgbClr val="FCBF0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67" name="Google Shape;1367;p16"/>
            <p:cNvSpPr/>
            <p:nvPr/>
          </p:nvSpPr>
          <p:spPr>
            <a:xfrm>
              <a:off x="1833325" y="1567650"/>
              <a:ext cx="614775" cy="300050"/>
            </a:xfrm>
            <a:custGeom>
              <a:avLst/>
              <a:gdLst/>
              <a:ahLst/>
              <a:cxnLst/>
              <a:rect l="l" t="t" r="r" b="b"/>
              <a:pathLst>
                <a:path w="24591" h="12002" extrusionOk="0">
                  <a:moveTo>
                    <a:pt x="941" y="1"/>
                  </a:moveTo>
                  <a:lnTo>
                    <a:pt x="471" y="354"/>
                  </a:lnTo>
                  <a:lnTo>
                    <a:pt x="118" y="824"/>
                  </a:lnTo>
                  <a:lnTo>
                    <a:pt x="0" y="1413"/>
                  </a:lnTo>
                  <a:lnTo>
                    <a:pt x="118" y="2001"/>
                  </a:lnTo>
                  <a:lnTo>
                    <a:pt x="471" y="2472"/>
                  </a:lnTo>
                  <a:lnTo>
                    <a:pt x="941" y="2825"/>
                  </a:lnTo>
                  <a:lnTo>
                    <a:pt x="22590" y="11884"/>
                  </a:lnTo>
                  <a:lnTo>
                    <a:pt x="23061" y="12002"/>
                  </a:lnTo>
                  <a:lnTo>
                    <a:pt x="23532" y="11884"/>
                  </a:lnTo>
                  <a:lnTo>
                    <a:pt x="23885" y="11767"/>
                  </a:lnTo>
                  <a:lnTo>
                    <a:pt x="24238" y="11414"/>
                  </a:lnTo>
                  <a:lnTo>
                    <a:pt x="24473" y="11061"/>
                  </a:lnTo>
                  <a:lnTo>
                    <a:pt x="24591" y="10472"/>
                  </a:lnTo>
                  <a:lnTo>
                    <a:pt x="24473" y="9884"/>
                  </a:lnTo>
                  <a:lnTo>
                    <a:pt x="24238" y="9413"/>
                  </a:lnTo>
                  <a:lnTo>
                    <a:pt x="23649" y="9060"/>
                  </a:lnTo>
                  <a:lnTo>
                    <a:pt x="2118" y="118"/>
                  </a:lnTo>
                  <a:lnTo>
                    <a:pt x="1530" y="1"/>
                  </a:lnTo>
                  <a:close/>
                </a:path>
              </a:pathLst>
            </a:custGeom>
            <a:solidFill>
              <a:srgbClr val="FCBF0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68" name="Google Shape;1368;p16"/>
            <p:cNvSpPr/>
            <p:nvPr/>
          </p:nvSpPr>
          <p:spPr>
            <a:xfrm>
              <a:off x="2471600" y="1832375"/>
              <a:ext cx="108875" cy="91225"/>
            </a:xfrm>
            <a:custGeom>
              <a:avLst/>
              <a:gdLst/>
              <a:ahLst/>
              <a:cxnLst/>
              <a:rect l="l" t="t" r="r" b="b"/>
              <a:pathLst>
                <a:path w="4355" h="3649" extrusionOk="0">
                  <a:moveTo>
                    <a:pt x="1531" y="1"/>
                  </a:moveTo>
                  <a:lnTo>
                    <a:pt x="942" y="119"/>
                  </a:lnTo>
                  <a:lnTo>
                    <a:pt x="472" y="472"/>
                  </a:lnTo>
                  <a:lnTo>
                    <a:pt x="119" y="942"/>
                  </a:lnTo>
                  <a:lnTo>
                    <a:pt x="1" y="1531"/>
                  </a:lnTo>
                  <a:lnTo>
                    <a:pt x="119" y="2119"/>
                  </a:lnTo>
                  <a:lnTo>
                    <a:pt x="472" y="2589"/>
                  </a:lnTo>
                  <a:lnTo>
                    <a:pt x="942" y="2942"/>
                  </a:lnTo>
                  <a:lnTo>
                    <a:pt x="2354" y="3531"/>
                  </a:lnTo>
                  <a:lnTo>
                    <a:pt x="2942" y="3648"/>
                  </a:lnTo>
                  <a:lnTo>
                    <a:pt x="3295" y="3531"/>
                  </a:lnTo>
                  <a:lnTo>
                    <a:pt x="3766" y="3413"/>
                  </a:lnTo>
                  <a:lnTo>
                    <a:pt x="4001" y="3060"/>
                  </a:lnTo>
                  <a:lnTo>
                    <a:pt x="4237" y="2707"/>
                  </a:lnTo>
                  <a:lnTo>
                    <a:pt x="4354" y="2119"/>
                  </a:lnTo>
                  <a:lnTo>
                    <a:pt x="4237" y="1531"/>
                  </a:lnTo>
                  <a:lnTo>
                    <a:pt x="4001" y="1060"/>
                  </a:lnTo>
                  <a:lnTo>
                    <a:pt x="3531" y="707"/>
                  </a:lnTo>
                  <a:lnTo>
                    <a:pt x="2119" y="119"/>
                  </a:lnTo>
                  <a:lnTo>
                    <a:pt x="1531" y="1"/>
                  </a:lnTo>
                  <a:close/>
                </a:path>
              </a:pathLst>
            </a:custGeom>
            <a:solidFill>
              <a:srgbClr val="FCBF0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69" name="Google Shape;1369;p16"/>
            <p:cNvSpPr/>
            <p:nvPr/>
          </p:nvSpPr>
          <p:spPr>
            <a:xfrm>
              <a:off x="2283350" y="826400"/>
              <a:ext cx="482425" cy="494200"/>
            </a:xfrm>
            <a:custGeom>
              <a:avLst/>
              <a:gdLst/>
              <a:ahLst/>
              <a:cxnLst/>
              <a:rect l="l" t="t" r="r" b="b"/>
              <a:pathLst>
                <a:path w="19297" h="19768" extrusionOk="0">
                  <a:moveTo>
                    <a:pt x="1530" y="1"/>
                  </a:moveTo>
                  <a:lnTo>
                    <a:pt x="942" y="118"/>
                  </a:lnTo>
                  <a:lnTo>
                    <a:pt x="471" y="354"/>
                  </a:lnTo>
                  <a:lnTo>
                    <a:pt x="118" y="824"/>
                  </a:lnTo>
                  <a:lnTo>
                    <a:pt x="1" y="1413"/>
                  </a:lnTo>
                  <a:lnTo>
                    <a:pt x="118" y="2001"/>
                  </a:lnTo>
                  <a:lnTo>
                    <a:pt x="354" y="2472"/>
                  </a:lnTo>
                  <a:lnTo>
                    <a:pt x="16708" y="19297"/>
                  </a:lnTo>
                  <a:lnTo>
                    <a:pt x="17179" y="19650"/>
                  </a:lnTo>
                  <a:lnTo>
                    <a:pt x="17767" y="19767"/>
                  </a:lnTo>
                  <a:lnTo>
                    <a:pt x="18356" y="19650"/>
                  </a:lnTo>
                  <a:lnTo>
                    <a:pt x="18826" y="19297"/>
                  </a:lnTo>
                  <a:lnTo>
                    <a:pt x="19179" y="18826"/>
                  </a:lnTo>
                  <a:lnTo>
                    <a:pt x="19297" y="18238"/>
                  </a:lnTo>
                  <a:lnTo>
                    <a:pt x="19179" y="17650"/>
                  </a:lnTo>
                  <a:lnTo>
                    <a:pt x="18826" y="17179"/>
                  </a:lnTo>
                  <a:lnTo>
                    <a:pt x="2589" y="471"/>
                  </a:lnTo>
                  <a:lnTo>
                    <a:pt x="2001" y="118"/>
                  </a:lnTo>
                  <a:lnTo>
                    <a:pt x="1530" y="1"/>
                  </a:lnTo>
                  <a:close/>
                </a:path>
              </a:pathLst>
            </a:custGeom>
            <a:solidFill>
              <a:srgbClr val="FCBF0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70" name="Google Shape;1370;p16"/>
            <p:cNvSpPr/>
            <p:nvPr/>
          </p:nvSpPr>
          <p:spPr>
            <a:xfrm>
              <a:off x="2765750" y="1320575"/>
              <a:ext cx="100050" cy="102975"/>
            </a:xfrm>
            <a:custGeom>
              <a:avLst/>
              <a:gdLst/>
              <a:ahLst/>
              <a:cxnLst/>
              <a:rect l="l" t="t" r="r" b="b"/>
              <a:pathLst>
                <a:path w="4002" h="4119" extrusionOk="0">
                  <a:moveTo>
                    <a:pt x="1413" y="0"/>
                  </a:moveTo>
                  <a:lnTo>
                    <a:pt x="942" y="118"/>
                  </a:lnTo>
                  <a:lnTo>
                    <a:pt x="354" y="471"/>
                  </a:lnTo>
                  <a:lnTo>
                    <a:pt x="118" y="942"/>
                  </a:lnTo>
                  <a:lnTo>
                    <a:pt x="1" y="1530"/>
                  </a:lnTo>
                  <a:lnTo>
                    <a:pt x="1" y="2118"/>
                  </a:lnTo>
                  <a:lnTo>
                    <a:pt x="354" y="2589"/>
                  </a:lnTo>
                  <a:lnTo>
                    <a:pt x="1413" y="3648"/>
                  </a:lnTo>
                  <a:lnTo>
                    <a:pt x="1883" y="4001"/>
                  </a:lnTo>
                  <a:lnTo>
                    <a:pt x="2472" y="4118"/>
                  </a:lnTo>
                  <a:lnTo>
                    <a:pt x="3060" y="4001"/>
                  </a:lnTo>
                  <a:lnTo>
                    <a:pt x="3531" y="3648"/>
                  </a:lnTo>
                  <a:lnTo>
                    <a:pt x="3884" y="3177"/>
                  </a:lnTo>
                  <a:lnTo>
                    <a:pt x="4001" y="2589"/>
                  </a:lnTo>
                  <a:lnTo>
                    <a:pt x="3884" y="2118"/>
                  </a:lnTo>
                  <a:lnTo>
                    <a:pt x="3531" y="1530"/>
                  </a:lnTo>
                  <a:lnTo>
                    <a:pt x="2472" y="471"/>
                  </a:lnTo>
                  <a:lnTo>
                    <a:pt x="2001" y="118"/>
                  </a:lnTo>
                  <a:lnTo>
                    <a:pt x="1413" y="0"/>
                  </a:lnTo>
                  <a:close/>
                </a:path>
              </a:pathLst>
            </a:custGeom>
            <a:solidFill>
              <a:srgbClr val="FCBF0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71" name="Google Shape;1371;p16"/>
            <p:cNvSpPr/>
            <p:nvPr/>
          </p:nvSpPr>
          <p:spPr>
            <a:xfrm>
              <a:off x="3365825" y="4056125"/>
              <a:ext cx="905975" cy="1003075"/>
            </a:xfrm>
            <a:custGeom>
              <a:avLst/>
              <a:gdLst/>
              <a:ahLst/>
              <a:cxnLst/>
              <a:rect l="l" t="t" r="r" b="b"/>
              <a:pathLst>
                <a:path w="36239" h="40123" extrusionOk="0">
                  <a:moveTo>
                    <a:pt x="12707" y="1"/>
                  </a:moveTo>
                  <a:lnTo>
                    <a:pt x="7295" y="119"/>
                  </a:lnTo>
                  <a:lnTo>
                    <a:pt x="4942" y="354"/>
                  </a:lnTo>
                  <a:lnTo>
                    <a:pt x="3177" y="472"/>
                  </a:lnTo>
                  <a:lnTo>
                    <a:pt x="1765" y="707"/>
                  </a:lnTo>
                  <a:lnTo>
                    <a:pt x="1059" y="942"/>
                  </a:lnTo>
                  <a:lnTo>
                    <a:pt x="824" y="1177"/>
                  </a:lnTo>
                  <a:lnTo>
                    <a:pt x="706" y="1413"/>
                  </a:lnTo>
                  <a:lnTo>
                    <a:pt x="353" y="2354"/>
                  </a:lnTo>
                  <a:lnTo>
                    <a:pt x="235" y="3531"/>
                  </a:lnTo>
                  <a:lnTo>
                    <a:pt x="0" y="5060"/>
                  </a:lnTo>
                  <a:lnTo>
                    <a:pt x="0" y="8590"/>
                  </a:lnTo>
                  <a:lnTo>
                    <a:pt x="0" y="12590"/>
                  </a:lnTo>
                  <a:lnTo>
                    <a:pt x="235" y="16473"/>
                  </a:lnTo>
                  <a:lnTo>
                    <a:pt x="471" y="19885"/>
                  </a:lnTo>
                  <a:lnTo>
                    <a:pt x="706" y="23180"/>
                  </a:lnTo>
                  <a:lnTo>
                    <a:pt x="824" y="24827"/>
                  </a:lnTo>
                  <a:lnTo>
                    <a:pt x="1059" y="26474"/>
                  </a:lnTo>
                  <a:lnTo>
                    <a:pt x="1412" y="28121"/>
                  </a:lnTo>
                  <a:lnTo>
                    <a:pt x="2000" y="29651"/>
                  </a:lnTo>
                  <a:lnTo>
                    <a:pt x="2706" y="31180"/>
                  </a:lnTo>
                  <a:lnTo>
                    <a:pt x="3530" y="32592"/>
                  </a:lnTo>
                  <a:lnTo>
                    <a:pt x="4471" y="33887"/>
                  </a:lnTo>
                  <a:lnTo>
                    <a:pt x="5530" y="35063"/>
                  </a:lnTo>
                  <a:lnTo>
                    <a:pt x="6707" y="36122"/>
                  </a:lnTo>
                  <a:lnTo>
                    <a:pt x="8001" y="37181"/>
                  </a:lnTo>
                  <a:lnTo>
                    <a:pt x="9413" y="38005"/>
                  </a:lnTo>
                  <a:lnTo>
                    <a:pt x="10825" y="38711"/>
                  </a:lnTo>
                  <a:lnTo>
                    <a:pt x="12354" y="39299"/>
                  </a:lnTo>
                  <a:lnTo>
                    <a:pt x="14001" y="39770"/>
                  </a:lnTo>
                  <a:lnTo>
                    <a:pt x="15649" y="40005"/>
                  </a:lnTo>
                  <a:lnTo>
                    <a:pt x="17296" y="40122"/>
                  </a:lnTo>
                  <a:lnTo>
                    <a:pt x="20237" y="40122"/>
                  </a:lnTo>
                  <a:lnTo>
                    <a:pt x="21885" y="39887"/>
                  </a:lnTo>
                  <a:lnTo>
                    <a:pt x="23532" y="39652"/>
                  </a:lnTo>
                  <a:lnTo>
                    <a:pt x="25061" y="39299"/>
                  </a:lnTo>
                  <a:lnTo>
                    <a:pt x="26591" y="38711"/>
                  </a:lnTo>
                  <a:lnTo>
                    <a:pt x="28003" y="38005"/>
                  </a:lnTo>
                  <a:lnTo>
                    <a:pt x="29297" y="37181"/>
                  </a:lnTo>
                  <a:lnTo>
                    <a:pt x="30474" y="36240"/>
                  </a:lnTo>
                  <a:lnTo>
                    <a:pt x="31533" y="35181"/>
                  </a:lnTo>
                  <a:lnTo>
                    <a:pt x="32591" y="34004"/>
                  </a:lnTo>
                  <a:lnTo>
                    <a:pt x="33415" y="32592"/>
                  </a:lnTo>
                  <a:lnTo>
                    <a:pt x="34121" y="31180"/>
                  </a:lnTo>
                  <a:lnTo>
                    <a:pt x="34709" y="29416"/>
                  </a:lnTo>
                  <a:lnTo>
                    <a:pt x="35180" y="27651"/>
                  </a:lnTo>
                  <a:lnTo>
                    <a:pt x="35415" y="25650"/>
                  </a:lnTo>
                  <a:lnTo>
                    <a:pt x="35533" y="23533"/>
                  </a:lnTo>
                  <a:lnTo>
                    <a:pt x="35768" y="20356"/>
                  </a:lnTo>
                  <a:lnTo>
                    <a:pt x="36121" y="13061"/>
                  </a:lnTo>
                  <a:lnTo>
                    <a:pt x="36239" y="9061"/>
                  </a:lnTo>
                  <a:lnTo>
                    <a:pt x="36239" y="5531"/>
                  </a:lnTo>
                  <a:lnTo>
                    <a:pt x="36121" y="2707"/>
                  </a:lnTo>
                  <a:lnTo>
                    <a:pt x="36004" y="1883"/>
                  </a:lnTo>
                  <a:lnTo>
                    <a:pt x="35768" y="1413"/>
                  </a:lnTo>
                  <a:lnTo>
                    <a:pt x="35651" y="1295"/>
                  </a:lnTo>
                  <a:lnTo>
                    <a:pt x="35298" y="1060"/>
                  </a:lnTo>
                  <a:lnTo>
                    <a:pt x="34121" y="825"/>
                  </a:lnTo>
                  <a:lnTo>
                    <a:pt x="32356" y="707"/>
                  </a:lnTo>
                  <a:lnTo>
                    <a:pt x="30238" y="472"/>
                  </a:lnTo>
                  <a:lnTo>
                    <a:pt x="24944" y="236"/>
                  </a:lnTo>
                  <a:lnTo>
                    <a:pt x="18825" y="1"/>
                  </a:lnTo>
                  <a:close/>
                </a:path>
              </a:pathLst>
            </a:custGeom>
            <a:solidFill>
              <a:srgbClr val="91929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72" name="Google Shape;1372;p16"/>
            <p:cNvSpPr/>
            <p:nvPr/>
          </p:nvSpPr>
          <p:spPr>
            <a:xfrm>
              <a:off x="3336400" y="4197325"/>
              <a:ext cx="970700" cy="214750"/>
            </a:xfrm>
            <a:custGeom>
              <a:avLst/>
              <a:gdLst/>
              <a:ahLst/>
              <a:cxnLst/>
              <a:rect l="l" t="t" r="r" b="b"/>
              <a:pathLst>
                <a:path w="38828" h="8590" extrusionOk="0">
                  <a:moveTo>
                    <a:pt x="36239" y="1"/>
                  </a:moveTo>
                  <a:lnTo>
                    <a:pt x="2118" y="3413"/>
                  </a:lnTo>
                  <a:lnTo>
                    <a:pt x="1648" y="3530"/>
                  </a:lnTo>
                  <a:lnTo>
                    <a:pt x="1295" y="3648"/>
                  </a:lnTo>
                  <a:lnTo>
                    <a:pt x="942" y="3883"/>
                  </a:lnTo>
                  <a:lnTo>
                    <a:pt x="589" y="4236"/>
                  </a:lnTo>
                  <a:lnTo>
                    <a:pt x="353" y="4589"/>
                  </a:lnTo>
                  <a:lnTo>
                    <a:pt x="118" y="5060"/>
                  </a:lnTo>
                  <a:lnTo>
                    <a:pt x="1" y="5530"/>
                  </a:lnTo>
                  <a:lnTo>
                    <a:pt x="1" y="6001"/>
                  </a:lnTo>
                  <a:lnTo>
                    <a:pt x="118" y="6472"/>
                  </a:lnTo>
                  <a:lnTo>
                    <a:pt x="236" y="6942"/>
                  </a:lnTo>
                  <a:lnTo>
                    <a:pt x="353" y="7413"/>
                  </a:lnTo>
                  <a:lnTo>
                    <a:pt x="589" y="7766"/>
                  </a:lnTo>
                  <a:lnTo>
                    <a:pt x="942" y="8119"/>
                  </a:lnTo>
                  <a:lnTo>
                    <a:pt x="1295" y="8354"/>
                  </a:lnTo>
                  <a:lnTo>
                    <a:pt x="1765" y="8472"/>
                  </a:lnTo>
                  <a:lnTo>
                    <a:pt x="2236" y="8590"/>
                  </a:lnTo>
                  <a:lnTo>
                    <a:pt x="2707" y="8590"/>
                  </a:lnTo>
                  <a:lnTo>
                    <a:pt x="36710" y="5177"/>
                  </a:lnTo>
                  <a:lnTo>
                    <a:pt x="37181" y="5060"/>
                  </a:lnTo>
                  <a:lnTo>
                    <a:pt x="37651" y="4825"/>
                  </a:lnTo>
                  <a:lnTo>
                    <a:pt x="38004" y="4589"/>
                  </a:lnTo>
                  <a:lnTo>
                    <a:pt x="38357" y="4236"/>
                  </a:lnTo>
                  <a:lnTo>
                    <a:pt x="38592" y="3883"/>
                  </a:lnTo>
                  <a:lnTo>
                    <a:pt x="38710" y="3530"/>
                  </a:lnTo>
                  <a:lnTo>
                    <a:pt x="38828" y="3060"/>
                  </a:lnTo>
                  <a:lnTo>
                    <a:pt x="38828" y="2589"/>
                  </a:lnTo>
                  <a:lnTo>
                    <a:pt x="38828" y="2118"/>
                  </a:lnTo>
                  <a:lnTo>
                    <a:pt x="38710" y="1648"/>
                  </a:lnTo>
                  <a:lnTo>
                    <a:pt x="38475" y="1177"/>
                  </a:lnTo>
                  <a:lnTo>
                    <a:pt x="38239" y="824"/>
                  </a:lnTo>
                  <a:lnTo>
                    <a:pt x="37887" y="471"/>
                  </a:lnTo>
                  <a:lnTo>
                    <a:pt x="37534" y="236"/>
                  </a:lnTo>
                  <a:lnTo>
                    <a:pt x="37181" y="1"/>
                  </a:lnTo>
                  <a:close/>
                </a:path>
              </a:pathLst>
            </a:custGeom>
            <a:solidFill>
              <a:srgbClr val="E3E3E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73" name="Google Shape;1373;p16"/>
            <p:cNvSpPr/>
            <p:nvPr/>
          </p:nvSpPr>
          <p:spPr>
            <a:xfrm>
              <a:off x="3336400" y="4391450"/>
              <a:ext cx="970700" cy="217700"/>
            </a:xfrm>
            <a:custGeom>
              <a:avLst/>
              <a:gdLst/>
              <a:ahLst/>
              <a:cxnLst/>
              <a:rect l="l" t="t" r="r" b="b"/>
              <a:pathLst>
                <a:path w="38828" h="8708" extrusionOk="0">
                  <a:moveTo>
                    <a:pt x="36122" y="1"/>
                  </a:moveTo>
                  <a:lnTo>
                    <a:pt x="2118" y="3413"/>
                  </a:lnTo>
                  <a:lnTo>
                    <a:pt x="1648" y="3531"/>
                  </a:lnTo>
                  <a:lnTo>
                    <a:pt x="1177" y="3766"/>
                  </a:lnTo>
                  <a:lnTo>
                    <a:pt x="824" y="4001"/>
                  </a:lnTo>
                  <a:lnTo>
                    <a:pt x="471" y="4354"/>
                  </a:lnTo>
                  <a:lnTo>
                    <a:pt x="236" y="4707"/>
                  </a:lnTo>
                  <a:lnTo>
                    <a:pt x="118" y="5178"/>
                  </a:lnTo>
                  <a:lnTo>
                    <a:pt x="1" y="5531"/>
                  </a:lnTo>
                  <a:lnTo>
                    <a:pt x="1" y="6119"/>
                  </a:lnTo>
                  <a:lnTo>
                    <a:pt x="1" y="6590"/>
                  </a:lnTo>
                  <a:lnTo>
                    <a:pt x="118" y="7060"/>
                  </a:lnTo>
                  <a:lnTo>
                    <a:pt x="353" y="7413"/>
                  </a:lnTo>
                  <a:lnTo>
                    <a:pt x="589" y="7766"/>
                  </a:lnTo>
                  <a:lnTo>
                    <a:pt x="942" y="8119"/>
                  </a:lnTo>
                  <a:lnTo>
                    <a:pt x="1295" y="8355"/>
                  </a:lnTo>
                  <a:lnTo>
                    <a:pt x="1648" y="8590"/>
                  </a:lnTo>
                  <a:lnTo>
                    <a:pt x="2118" y="8708"/>
                  </a:lnTo>
                  <a:lnTo>
                    <a:pt x="2589" y="8708"/>
                  </a:lnTo>
                  <a:lnTo>
                    <a:pt x="36710" y="5178"/>
                  </a:lnTo>
                  <a:lnTo>
                    <a:pt x="37181" y="5060"/>
                  </a:lnTo>
                  <a:lnTo>
                    <a:pt x="37534" y="4943"/>
                  </a:lnTo>
                  <a:lnTo>
                    <a:pt x="37887" y="4707"/>
                  </a:lnTo>
                  <a:lnTo>
                    <a:pt x="38239" y="4354"/>
                  </a:lnTo>
                  <a:lnTo>
                    <a:pt x="38475" y="4001"/>
                  </a:lnTo>
                  <a:lnTo>
                    <a:pt x="38710" y="3531"/>
                  </a:lnTo>
                  <a:lnTo>
                    <a:pt x="38828" y="3060"/>
                  </a:lnTo>
                  <a:lnTo>
                    <a:pt x="38828" y="2589"/>
                  </a:lnTo>
                  <a:lnTo>
                    <a:pt x="38710" y="2119"/>
                  </a:lnTo>
                  <a:lnTo>
                    <a:pt x="38592" y="1648"/>
                  </a:lnTo>
                  <a:lnTo>
                    <a:pt x="38475" y="1178"/>
                  </a:lnTo>
                  <a:lnTo>
                    <a:pt x="38239" y="825"/>
                  </a:lnTo>
                  <a:lnTo>
                    <a:pt x="37887" y="589"/>
                  </a:lnTo>
                  <a:lnTo>
                    <a:pt x="37534" y="236"/>
                  </a:lnTo>
                  <a:lnTo>
                    <a:pt x="37063" y="119"/>
                  </a:lnTo>
                  <a:lnTo>
                    <a:pt x="36592" y="1"/>
                  </a:lnTo>
                  <a:close/>
                </a:path>
              </a:pathLst>
            </a:custGeom>
            <a:solidFill>
              <a:srgbClr val="E3E3E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74" name="Google Shape;1374;p16"/>
            <p:cNvSpPr/>
            <p:nvPr/>
          </p:nvSpPr>
          <p:spPr>
            <a:xfrm>
              <a:off x="3345225" y="4585600"/>
              <a:ext cx="970700" cy="214750"/>
            </a:xfrm>
            <a:custGeom>
              <a:avLst/>
              <a:gdLst/>
              <a:ahLst/>
              <a:cxnLst/>
              <a:rect l="l" t="t" r="r" b="b"/>
              <a:pathLst>
                <a:path w="38828" h="8590" extrusionOk="0">
                  <a:moveTo>
                    <a:pt x="36239" y="0"/>
                  </a:moveTo>
                  <a:lnTo>
                    <a:pt x="2118" y="3413"/>
                  </a:lnTo>
                  <a:lnTo>
                    <a:pt x="1648" y="3530"/>
                  </a:lnTo>
                  <a:lnTo>
                    <a:pt x="1295" y="3648"/>
                  </a:lnTo>
                  <a:lnTo>
                    <a:pt x="942" y="4001"/>
                  </a:lnTo>
                  <a:lnTo>
                    <a:pt x="589" y="4236"/>
                  </a:lnTo>
                  <a:lnTo>
                    <a:pt x="353" y="4589"/>
                  </a:lnTo>
                  <a:lnTo>
                    <a:pt x="118" y="5060"/>
                  </a:lnTo>
                  <a:lnTo>
                    <a:pt x="0" y="5530"/>
                  </a:lnTo>
                  <a:lnTo>
                    <a:pt x="0" y="6001"/>
                  </a:lnTo>
                  <a:lnTo>
                    <a:pt x="118" y="6472"/>
                  </a:lnTo>
                  <a:lnTo>
                    <a:pt x="236" y="6942"/>
                  </a:lnTo>
                  <a:lnTo>
                    <a:pt x="353" y="7413"/>
                  </a:lnTo>
                  <a:lnTo>
                    <a:pt x="589" y="7766"/>
                  </a:lnTo>
                  <a:lnTo>
                    <a:pt x="942" y="8119"/>
                  </a:lnTo>
                  <a:lnTo>
                    <a:pt x="1295" y="8354"/>
                  </a:lnTo>
                  <a:lnTo>
                    <a:pt x="1765" y="8472"/>
                  </a:lnTo>
                  <a:lnTo>
                    <a:pt x="2236" y="8590"/>
                  </a:lnTo>
                  <a:lnTo>
                    <a:pt x="2707" y="8590"/>
                  </a:lnTo>
                  <a:lnTo>
                    <a:pt x="36710" y="5177"/>
                  </a:lnTo>
                  <a:lnTo>
                    <a:pt x="37181" y="5060"/>
                  </a:lnTo>
                  <a:lnTo>
                    <a:pt x="37651" y="4824"/>
                  </a:lnTo>
                  <a:lnTo>
                    <a:pt x="38004" y="4589"/>
                  </a:lnTo>
                  <a:lnTo>
                    <a:pt x="38357" y="4236"/>
                  </a:lnTo>
                  <a:lnTo>
                    <a:pt x="38592" y="3883"/>
                  </a:lnTo>
                  <a:lnTo>
                    <a:pt x="38710" y="3530"/>
                  </a:lnTo>
                  <a:lnTo>
                    <a:pt x="38828" y="3060"/>
                  </a:lnTo>
                  <a:lnTo>
                    <a:pt x="38828" y="2589"/>
                  </a:lnTo>
                  <a:lnTo>
                    <a:pt x="38828" y="2118"/>
                  </a:lnTo>
                  <a:lnTo>
                    <a:pt x="38710" y="1648"/>
                  </a:lnTo>
                  <a:lnTo>
                    <a:pt x="38475" y="1177"/>
                  </a:lnTo>
                  <a:lnTo>
                    <a:pt x="38239" y="824"/>
                  </a:lnTo>
                  <a:lnTo>
                    <a:pt x="37886" y="471"/>
                  </a:lnTo>
                  <a:lnTo>
                    <a:pt x="37534" y="236"/>
                  </a:lnTo>
                  <a:lnTo>
                    <a:pt x="37181" y="0"/>
                  </a:lnTo>
                  <a:close/>
                </a:path>
              </a:pathLst>
            </a:custGeom>
            <a:solidFill>
              <a:srgbClr val="E3E3E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75" name="Google Shape;1375;p16"/>
            <p:cNvSpPr/>
            <p:nvPr/>
          </p:nvSpPr>
          <p:spPr>
            <a:xfrm>
              <a:off x="3889400" y="2267725"/>
              <a:ext cx="308875" cy="344175"/>
            </a:xfrm>
            <a:custGeom>
              <a:avLst/>
              <a:gdLst/>
              <a:ahLst/>
              <a:cxnLst/>
              <a:rect l="l" t="t" r="r" b="b"/>
              <a:pathLst>
                <a:path w="12355" h="13767" extrusionOk="0">
                  <a:moveTo>
                    <a:pt x="12354" y="0"/>
                  </a:moveTo>
                  <a:lnTo>
                    <a:pt x="9178" y="1177"/>
                  </a:lnTo>
                  <a:lnTo>
                    <a:pt x="7648" y="1765"/>
                  </a:lnTo>
                  <a:lnTo>
                    <a:pt x="6119" y="2589"/>
                  </a:lnTo>
                  <a:lnTo>
                    <a:pt x="4707" y="3648"/>
                  </a:lnTo>
                  <a:lnTo>
                    <a:pt x="3530" y="4942"/>
                  </a:lnTo>
                  <a:lnTo>
                    <a:pt x="2942" y="5766"/>
                  </a:lnTo>
                  <a:lnTo>
                    <a:pt x="2353" y="6472"/>
                  </a:lnTo>
                  <a:lnTo>
                    <a:pt x="1883" y="7413"/>
                  </a:lnTo>
                  <a:lnTo>
                    <a:pt x="1412" y="8354"/>
                  </a:lnTo>
                  <a:lnTo>
                    <a:pt x="942" y="9413"/>
                  </a:lnTo>
                  <a:lnTo>
                    <a:pt x="589" y="10472"/>
                  </a:lnTo>
                  <a:lnTo>
                    <a:pt x="353" y="11649"/>
                  </a:lnTo>
                  <a:lnTo>
                    <a:pt x="0" y="12943"/>
                  </a:lnTo>
                  <a:lnTo>
                    <a:pt x="236" y="13767"/>
                  </a:lnTo>
                  <a:lnTo>
                    <a:pt x="2236" y="12943"/>
                  </a:lnTo>
                  <a:lnTo>
                    <a:pt x="4001" y="12002"/>
                  </a:lnTo>
                  <a:lnTo>
                    <a:pt x="5530" y="11060"/>
                  </a:lnTo>
                  <a:lnTo>
                    <a:pt x="6942" y="10119"/>
                  </a:lnTo>
                  <a:lnTo>
                    <a:pt x="8001" y="9295"/>
                  </a:lnTo>
                  <a:lnTo>
                    <a:pt x="9060" y="8354"/>
                  </a:lnTo>
                  <a:lnTo>
                    <a:pt x="9766" y="7413"/>
                  </a:lnTo>
                  <a:lnTo>
                    <a:pt x="10472" y="6472"/>
                  </a:lnTo>
                  <a:lnTo>
                    <a:pt x="10943" y="5530"/>
                  </a:lnTo>
                  <a:lnTo>
                    <a:pt x="11413" y="4707"/>
                  </a:lnTo>
                  <a:lnTo>
                    <a:pt x="11766" y="3883"/>
                  </a:lnTo>
                  <a:lnTo>
                    <a:pt x="11884" y="3060"/>
                  </a:lnTo>
                  <a:lnTo>
                    <a:pt x="12237" y="1412"/>
                  </a:lnTo>
                  <a:lnTo>
                    <a:pt x="12354" y="0"/>
                  </a:lnTo>
                  <a:close/>
                </a:path>
              </a:pathLst>
            </a:custGeom>
            <a:solidFill>
              <a:srgbClr val="66A3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76" name="Google Shape;1376;p16"/>
            <p:cNvSpPr/>
            <p:nvPr/>
          </p:nvSpPr>
          <p:spPr>
            <a:xfrm>
              <a:off x="3889400" y="2267725"/>
              <a:ext cx="311825" cy="344175"/>
            </a:xfrm>
            <a:custGeom>
              <a:avLst/>
              <a:gdLst/>
              <a:ahLst/>
              <a:cxnLst/>
              <a:rect l="l" t="t" r="r" b="b"/>
              <a:pathLst>
                <a:path w="12473" h="13767" fill="none" extrusionOk="0">
                  <a:moveTo>
                    <a:pt x="0" y="12943"/>
                  </a:moveTo>
                  <a:lnTo>
                    <a:pt x="0" y="12943"/>
                  </a:lnTo>
                  <a:lnTo>
                    <a:pt x="353" y="11649"/>
                  </a:lnTo>
                  <a:lnTo>
                    <a:pt x="589" y="10472"/>
                  </a:lnTo>
                  <a:lnTo>
                    <a:pt x="942" y="9413"/>
                  </a:lnTo>
                  <a:lnTo>
                    <a:pt x="1412" y="8354"/>
                  </a:lnTo>
                  <a:lnTo>
                    <a:pt x="1883" y="7413"/>
                  </a:lnTo>
                  <a:lnTo>
                    <a:pt x="2353" y="6472"/>
                  </a:lnTo>
                  <a:lnTo>
                    <a:pt x="2942" y="5766"/>
                  </a:lnTo>
                  <a:lnTo>
                    <a:pt x="3530" y="4942"/>
                  </a:lnTo>
                  <a:lnTo>
                    <a:pt x="4707" y="3648"/>
                  </a:lnTo>
                  <a:lnTo>
                    <a:pt x="6119" y="2589"/>
                  </a:lnTo>
                  <a:lnTo>
                    <a:pt x="7648" y="1765"/>
                  </a:lnTo>
                  <a:lnTo>
                    <a:pt x="9178" y="1177"/>
                  </a:lnTo>
                  <a:lnTo>
                    <a:pt x="9178" y="1177"/>
                  </a:lnTo>
                  <a:lnTo>
                    <a:pt x="12354" y="0"/>
                  </a:lnTo>
                  <a:lnTo>
                    <a:pt x="12472" y="0"/>
                  </a:lnTo>
                  <a:lnTo>
                    <a:pt x="12354" y="0"/>
                  </a:lnTo>
                  <a:lnTo>
                    <a:pt x="12354" y="0"/>
                  </a:lnTo>
                  <a:lnTo>
                    <a:pt x="12237" y="1412"/>
                  </a:lnTo>
                  <a:lnTo>
                    <a:pt x="11884" y="3060"/>
                  </a:lnTo>
                  <a:lnTo>
                    <a:pt x="11766" y="3883"/>
                  </a:lnTo>
                  <a:lnTo>
                    <a:pt x="11413" y="4707"/>
                  </a:lnTo>
                  <a:lnTo>
                    <a:pt x="10943" y="5530"/>
                  </a:lnTo>
                  <a:lnTo>
                    <a:pt x="10472" y="6472"/>
                  </a:lnTo>
                  <a:lnTo>
                    <a:pt x="9766" y="7413"/>
                  </a:lnTo>
                  <a:lnTo>
                    <a:pt x="9060" y="8354"/>
                  </a:lnTo>
                  <a:lnTo>
                    <a:pt x="8001" y="9295"/>
                  </a:lnTo>
                  <a:lnTo>
                    <a:pt x="6942" y="10119"/>
                  </a:lnTo>
                  <a:lnTo>
                    <a:pt x="5530" y="11060"/>
                  </a:lnTo>
                  <a:lnTo>
                    <a:pt x="4001" y="12002"/>
                  </a:lnTo>
                  <a:lnTo>
                    <a:pt x="2236" y="12943"/>
                  </a:lnTo>
                  <a:lnTo>
                    <a:pt x="236" y="13767"/>
                  </a:lnTo>
                  <a:lnTo>
                    <a:pt x="0" y="12943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77" name="Google Shape;1377;p16"/>
            <p:cNvSpPr/>
            <p:nvPr/>
          </p:nvSpPr>
          <p:spPr>
            <a:xfrm>
              <a:off x="4045300" y="2267725"/>
              <a:ext cx="155925" cy="264750"/>
            </a:xfrm>
            <a:custGeom>
              <a:avLst/>
              <a:gdLst/>
              <a:ahLst/>
              <a:cxnLst/>
              <a:rect l="l" t="t" r="r" b="b"/>
              <a:pathLst>
                <a:path w="6237" h="10590" extrusionOk="0">
                  <a:moveTo>
                    <a:pt x="0" y="10590"/>
                  </a:moveTo>
                  <a:lnTo>
                    <a:pt x="0" y="10590"/>
                  </a:lnTo>
                  <a:lnTo>
                    <a:pt x="0" y="10590"/>
                  </a:lnTo>
                  <a:close/>
                  <a:moveTo>
                    <a:pt x="0" y="10590"/>
                  </a:moveTo>
                  <a:lnTo>
                    <a:pt x="0" y="10590"/>
                  </a:lnTo>
                  <a:lnTo>
                    <a:pt x="0" y="10590"/>
                  </a:lnTo>
                  <a:lnTo>
                    <a:pt x="0" y="10590"/>
                  </a:lnTo>
                  <a:lnTo>
                    <a:pt x="0" y="10590"/>
                  </a:lnTo>
                  <a:close/>
                  <a:moveTo>
                    <a:pt x="118" y="10590"/>
                  </a:moveTo>
                  <a:lnTo>
                    <a:pt x="118" y="10590"/>
                  </a:lnTo>
                  <a:lnTo>
                    <a:pt x="118" y="10590"/>
                  </a:lnTo>
                  <a:lnTo>
                    <a:pt x="118" y="10590"/>
                  </a:lnTo>
                  <a:lnTo>
                    <a:pt x="118" y="10590"/>
                  </a:lnTo>
                  <a:close/>
                  <a:moveTo>
                    <a:pt x="118" y="10590"/>
                  </a:moveTo>
                  <a:lnTo>
                    <a:pt x="118" y="10590"/>
                  </a:lnTo>
                  <a:lnTo>
                    <a:pt x="118" y="10590"/>
                  </a:lnTo>
                  <a:lnTo>
                    <a:pt x="118" y="10590"/>
                  </a:lnTo>
                  <a:lnTo>
                    <a:pt x="118" y="10590"/>
                  </a:lnTo>
                  <a:close/>
                  <a:moveTo>
                    <a:pt x="118" y="10590"/>
                  </a:moveTo>
                  <a:lnTo>
                    <a:pt x="118" y="10590"/>
                  </a:lnTo>
                  <a:lnTo>
                    <a:pt x="118" y="10590"/>
                  </a:lnTo>
                  <a:lnTo>
                    <a:pt x="118" y="10590"/>
                  </a:lnTo>
                  <a:lnTo>
                    <a:pt x="118" y="10590"/>
                  </a:lnTo>
                  <a:close/>
                  <a:moveTo>
                    <a:pt x="4118" y="6589"/>
                  </a:moveTo>
                  <a:lnTo>
                    <a:pt x="4118" y="6589"/>
                  </a:lnTo>
                  <a:lnTo>
                    <a:pt x="3412" y="7648"/>
                  </a:lnTo>
                  <a:lnTo>
                    <a:pt x="2471" y="8590"/>
                  </a:lnTo>
                  <a:lnTo>
                    <a:pt x="1412" y="9531"/>
                  </a:lnTo>
                  <a:lnTo>
                    <a:pt x="118" y="10590"/>
                  </a:lnTo>
                  <a:lnTo>
                    <a:pt x="118" y="10590"/>
                  </a:lnTo>
                  <a:lnTo>
                    <a:pt x="1412" y="9531"/>
                  </a:lnTo>
                  <a:lnTo>
                    <a:pt x="2471" y="8590"/>
                  </a:lnTo>
                  <a:lnTo>
                    <a:pt x="3412" y="7648"/>
                  </a:lnTo>
                  <a:lnTo>
                    <a:pt x="4118" y="6589"/>
                  </a:lnTo>
                  <a:close/>
                  <a:moveTo>
                    <a:pt x="4118" y="6589"/>
                  </a:moveTo>
                  <a:lnTo>
                    <a:pt x="4118" y="6589"/>
                  </a:lnTo>
                  <a:lnTo>
                    <a:pt x="4118" y="6589"/>
                  </a:lnTo>
                  <a:lnTo>
                    <a:pt x="4118" y="6589"/>
                  </a:lnTo>
                  <a:lnTo>
                    <a:pt x="4118" y="6589"/>
                  </a:lnTo>
                  <a:close/>
                  <a:moveTo>
                    <a:pt x="4118" y="6589"/>
                  </a:moveTo>
                  <a:lnTo>
                    <a:pt x="4118" y="6589"/>
                  </a:lnTo>
                  <a:lnTo>
                    <a:pt x="4118" y="6589"/>
                  </a:lnTo>
                  <a:lnTo>
                    <a:pt x="4118" y="6589"/>
                  </a:lnTo>
                  <a:lnTo>
                    <a:pt x="4118" y="6589"/>
                  </a:lnTo>
                  <a:close/>
                  <a:moveTo>
                    <a:pt x="4118" y="6589"/>
                  </a:moveTo>
                  <a:lnTo>
                    <a:pt x="4118" y="6589"/>
                  </a:lnTo>
                  <a:lnTo>
                    <a:pt x="4118" y="6589"/>
                  </a:lnTo>
                  <a:lnTo>
                    <a:pt x="4118" y="6589"/>
                  </a:lnTo>
                  <a:lnTo>
                    <a:pt x="4118" y="6589"/>
                  </a:lnTo>
                  <a:close/>
                  <a:moveTo>
                    <a:pt x="4236" y="6589"/>
                  </a:moveTo>
                  <a:lnTo>
                    <a:pt x="4236" y="6589"/>
                  </a:lnTo>
                  <a:lnTo>
                    <a:pt x="4236" y="6589"/>
                  </a:lnTo>
                  <a:lnTo>
                    <a:pt x="4236" y="6589"/>
                  </a:lnTo>
                  <a:close/>
                  <a:moveTo>
                    <a:pt x="4236" y="6589"/>
                  </a:moveTo>
                  <a:lnTo>
                    <a:pt x="4236" y="6589"/>
                  </a:lnTo>
                  <a:lnTo>
                    <a:pt x="4236" y="6589"/>
                  </a:lnTo>
                  <a:close/>
                  <a:moveTo>
                    <a:pt x="6236" y="0"/>
                  </a:moveTo>
                  <a:lnTo>
                    <a:pt x="6236" y="0"/>
                  </a:lnTo>
                  <a:lnTo>
                    <a:pt x="6001" y="118"/>
                  </a:lnTo>
                  <a:lnTo>
                    <a:pt x="6001" y="118"/>
                  </a:lnTo>
                  <a:lnTo>
                    <a:pt x="6001" y="118"/>
                  </a:lnTo>
                  <a:lnTo>
                    <a:pt x="6001" y="118"/>
                  </a:lnTo>
                  <a:lnTo>
                    <a:pt x="6236" y="0"/>
                  </a:lnTo>
                  <a:close/>
                </a:path>
              </a:pathLst>
            </a:custGeom>
            <a:solidFill>
              <a:srgbClr val="CDC9D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78" name="Google Shape;1378;p16"/>
            <p:cNvSpPr/>
            <p:nvPr/>
          </p:nvSpPr>
          <p:spPr>
            <a:xfrm>
              <a:off x="4045300" y="25324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79" name="Google Shape;1379;p16"/>
            <p:cNvSpPr/>
            <p:nvPr/>
          </p:nvSpPr>
          <p:spPr>
            <a:xfrm>
              <a:off x="4045300" y="25324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80" name="Google Shape;1380;p16"/>
            <p:cNvSpPr/>
            <p:nvPr/>
          </p:nvSpPr>
          <p:spPr>
            <a:xfrm>
              <a:off x="4048225" y="25324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81" name="Google Shape;1381;p16"/>
            <p:cNvSpPr/>
            <p:nvPr/>
          </p:nvSpPr>
          <p:spPr>
            <a:xfrm>
              <a:off x="4048225" y="25324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82" name="Google Shape;1382;p16"/>
            <p:cNvSpPr/>
            <p:nvPr/>
          </p:nvSpPr>
          <p:spPr>
            <a:xfrm>
              <a:off x="4048225" y="25324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83" name="Google Shape;1383;p16"/>
            <p:cNvSpPr/>
            <p:nvPr/>
          </p:nvSpPr>
          <p:spPr>
            <a:xfrm>
              <a:off x="4048225" y="2432450"/>
              <a:ext cx="100050" cy="100025"/>
            </a:xfrm>
            <a:custGeom>
              <a:avLst/>
              <a:gdLst/>
              <a:ahLst/>
              <a:cxnLst/>
              <a:rect l="l" t="t" r="r" b="b"/>
              <a:pathLst>
                <a:path w="4002" h="4001" fill="none" extrusionOk="0">
                  <a:moveTo>
                    <a:pt x="4001" y="0"/>
                  </a:moveTo>
                  <a:lnTo>
                    <a:pt x="4001" y="0"/>
                  </a:lnTo>
                  <a:lnTo>
                    <a:pt x="3295" y="1059"/>
                  </a:lnTo>
                  <a:lnTo>
                    <a:pt x="2354" y="2001"/>
                  </a:lnTo>
                  <a:lnTo>
                    <a:pt x="1295" y="2942"/>
                  </a:lnTo>
                  <a:lnTo>
                    <a:pt x="1" y="4001"/>
                  </a:lnTo>
                  <a:lnTo>
                    <a:pt x="1" y="4001"/>
                  </a:lnTo>
                  <a:lnTo>
                    <a:pt x="1295" y="2942"/>
                  </a:lnTo>
                  <a:lnTo>
                    <a:pt x="2354" y="2001"/>
                  </a:lnTo>
                  <a:lnTo>
                    <a:pt x="3295" y="1059"/>
                  </a:lnTo>
                  <a:lnTo>
                    <a:pt x="400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84" name="Google Shape;1384;p16"/>
            <p:cNvSpPr/>
            <p:nvPr/>
          </p:nvSpPr>
          <p:spPr>
            <a:xfrm>
              <a:off x="4148250" y="24324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85" name="Google Shape;1385;p16"/>
            <p:cNvSpPr/>
            <p:nvPr/>
          </p:nvSpPr>
          <p:spPr>
            <a:xfrm>
              <a:off x="4148250" y="24324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86" name="Google Shape;1386;p16"/>
            <p:cNvSpPr/>
            <p:nvPr/>
          </p:nvSpPr>
          <p:spPr>
            <a:xfrm>
              <a:off x="4148250" y="24324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87" name="Google Shape;1387;p16"/>
            <p:cNvSpPr/>
            <p:nvPr/>
          </p:nvSpPr>
          <p:spPr>
            <a:xfrm>
              <a:off x="4151175" y="24324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88" name="Google Shape;1388;p16"/>
            <p:cNvSpPr/>
            <p:nvPr/>
          </p:nvSpPr>
          <p:spPr>
            <a:xfrm>
              <a:off x="4151175" y="24324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89" name="Google Shape;1389;p16"/>
            <p:cNvSpPr/>
            <p:nvPr/>
          </p:nvSpPr>
          <p:spPr>
            <a:xfrm>
              <a:off x="4195300" y="2267725"/>
              <a:ext cx="5925" cy="2975"/>
            </a:xfrm>
            <a:custGeom>
              <a:avLst/>
              <a:gdLst/>
              <a:ahLst/>
              <a:cxnLst/>
              <a:rect l="l" t="t" r="r" b="b"/>
              <a:pathLst>
                <a:path w="237" h="119" fill="none" extrusionOk="0">
                  <a:moveTo>
                    <a:pt x="236" y="0"/>
                  </a:moveTo>
                  <a:lnTo>
                    <a:pt x="236" y="0"/>
                  </a:lnTo>
                  <a:lnTo>
                    <a:pt x="1" y="118"/>
                  </a:lnTo>
                  <a:lnTo>
                    <a:pt x="1" y="118"/>
                  </a:lnTo>
                  <a:lnTo>
                    <a:pt x="1" y="118"/>
                  </a:lnTo>
                  <a:lnTo>
                    <a:pt x="1" y="118"/>
                  </a:lnTo>
                  <a:lnTo>
                    <a:pt x="23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90" name="Google Shape;1390;p16"/>
            <p:cNvSpPr/>
            <p:nvPr/>
          </p:nvSpPr>
          <p:spPr>
            <a:xfrm>
              <a:off x="3948225" y="2267725"/>
              <a:ext cx="253000" cy="320650"/>
            </a:xfrm>
            <a:custGeom>
              <a:avLst/>
              <a:gdLst/>
              <a:ahLst/>
              <a:cxnLst/>
              <a:rect l="l" t="t" r="r" b="b"/>
              <a:pathLst>
                <a:path w="10120" h="12826" extrusionOk="0">
                  <a:moveTo>
                    <a:pt x="10001" y="0"/>
                  </a:moveTo>
                  <a:lnTo>
                    <a:pt x="9996" y="62"/>
                  </a:lnTo>
                  <a:lnTo>
                    <a:pt x="9996" y="62"/>
                  </a:lnTo>
                  <a:lnTo>
                    <a:pt x="10119" y="0"/>
                  </a:lnTo>
                  <a:close/>
                  <a:moveTo>
                    <a:pt x="9996" y="62"/>
                  </a:moveTo>
                  <a:lnTo>
                    <a:pt x="9884" y="118"/>
                  </a:lnTo>
                  <a:lnTo>
                    <a:pt x="8942" y="589"/>
                  </a:lnTo>
                  <a:lnTo>
                    <a:pt x="8119" y="1295"/>
                  </a:lnTo>
                  <a:lnTo>
                    <a:pt x="7295" y="2001"/>
                  </a:lnTo>
                  <a:lnTo>
                    <a:pt x="6472" y="2707"/>
                  </a:lnTo>
                  <a:lnTo>
                    <a:pt x="4942" y="4354"/>
                  </a:lnTo>
                  <a:lnTo>
                    <a:pt x="3648" y="6119"/>
                  </a:lnTo>
                  <a:lnTo>
                    <a:pt x="2471" y="8001"/>
                  </a:lnTo>
                  <a:lnTo>
                    <a:pt x="1412" y="9766"/>
                  </a:lnTo>
                  <a:lnTo>
                    <a:pt x="589" y="11413"/>
                  </a:lnTo>
                  <a:lnTo>
                    <a:pt x="0" y="12825"/>
                  </a:lnTo>
                  <a:lnTo>
                    <a:pt x="2118" y="11766"/>
                  </a:lnTo>
                  <a:lnTo>
                    <a:pt x="3883" y="10590"/>
                  </a:lnTo>
                  <a:lnTo>
                    <a:pt x="4001" y="10590"/>
                  </a:lnTo>
                  <a:lnTo>
                    <a:pt x="5295" y="9531"/>
                  </a:lnTo>
                  <a:lnTo>
                    <a:pt x="6354" y="8590"/>
                  </a:lnTo>
                  <a:lnTo>
                    <a:pt x="7295" y="7648"/>
                  </a:lnTo>
                  <a:lnTo>
                    <a:pt x="8001" y="6589"/>
                  </a:lnTo>
                  <a:lnTo>
                    <a:pt x="8119" y="6589"/>
                  </a:lnTo>
                  <a:lnTo>
                    <a:pt x="8590" y="5648"/>
                  </a:lnTo>
                  <a:lnTo>
                    <a:pt x="9060" y="4707"/>
                  </a:lnTo>
                  <a:lnTo>
                    <a:pt x="9295" y="3883"/>
                  </a:lnTo>
                  <a:lnTo>
                    <a:pt x="9531" y="3060"/>
                  </a:lnTo>
                  <a:lnTo>
                    <a:pt x="9884" y="1412"/>
                  </a:lnTo>
                  <a:lnTo>
                    <a:pt x="9996" y="62"/>
                  </a:lnTo>
                  <a:close/>
                </a:path>
              </a:pathLst>
            </a:custGeom>
            <a:solidFill>
              <a:srgbClr val="54884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91" name="Google Shape;1391;p16"/>
            <p:cNvSpPr/>
            <p:nvPr/>
          </p:nvSpPr>
          <p:spPr>
            <a:xfrm>
              <a:off x="3948225" y="2267725"/>
              <a:ext cx="253000" cy="320650"/>
            </a:xfrm>
            <a:custGeom>
              <a:avLst/>
              <a:gdLst/>
              <a:ahLst/>
              <a:cxnLst/>
              <a:rect l="l" t="t" r="r" b="b"/>
              <a:pathLst>
                <a:path w="10120" h="12826" fill="none" extrusionOk="0">
                  <a:moveTo>
                    <a:pt x="10119" y="0"/>
                  </a:moveTo>
                  <a:lnTo>
                    <a:pt x="10119" y="0"/>
                  </a:lnTo>
                  <a:lnTo>
                    <a:pt x="10119" y="0"/>
                  </a:lnTo>
                  <a:lnTo>
                    <a:pt x="10119" y="0"/>
                  </a:lnTo>
                  <a:lnTo>
                    <a:pt x="9884" y="118"/>
                  </a:lnTo>
                  <a:lnTo>
                    <a:pt x="9884" y="118"/>
                  </a:lnTo>
                  <a:lnTo>
                    <a:pt x="8942" y="589"/>
                  </a:lnTo>
                  <a:lnTo>
                    <a:pt x="8119" y="1295"/>
                  </a:lnTo>
                  <a:lnTo>
                    <a:pt x="7295" y="2001"/>
                  </a:lnTo>
                  <a:lnTo>
                    <a:pt x="6472" y="2707"/>
                  </a:lnTo>
                  <a:lnTo>
                    <a:pt x="4942" y="4354"/>
                  </a:lnTo>
                  <a:lnTo>
                    <a:pt x="3648" y="6119"/>
                  </a:lnTo>
                  <a:lnTo>
                    <a:pt x="2471" y="8001"/>
                  </a:lnTo>
                  <a:lnTo>
                    <a:pt x="1412" y="9766"/>
                  </a:lnTo>
                  <a:lnTo>
                    <a:pt x="589" y="11413"/>
                  </a:lnTo>
                  <a:lnTo>
                    <a:pt x="0" y="12825"/>
                  </a:lnTo>
                  <a:lnTo>
                    <a:pt x="0" y="12825"/>
                  </a:lnTo>
                  <a:lnTo>
                    <a:pt x="2118" y="11766"/>
                  </a:lnTo>
                  <a:lnTo>
                    <a:pt x="3883" y="10590"/>
                  </a:lnTo>
                  <a:lnTo>
                    <a:pt x="3883" y="10590"/>
                  </a:lnTo>
                  <a:lnTo>
                    <a:pt x="3883" y="10590"/>
                  </a:lnTo>
                  <a:lnTo>
                    <a:pt x="3883" y="10590"/>
                  </a:lnTo>
                  <a:lnTo>
                    <a:pt x="3883" y="10590"/>
                  </a:lnTo>
                  <a:lnTo>
                    <a:pt x="3883" y="10590"/>
                  </a:lnTo>
                  <a:lnTo>
                    <a:pt x="3883" y="10590"/>
                  </a:lnTo>
                  <a:lnTo>
                    <a:pt x="4001" y="10590"/>
                  </a:lnTo>
                  <a:lnTo>
                    <a:pt x="4001" y="10590"/>
                  </a:lnTo>
                  <a:lnTo>
                    <a:pt x="4001" y="10590"/>
                  </a:lnTo>
                  <a:lnTo>
                    <a:pt x="4001" y="10590"/>
                  </a:lnTo>
                  <a:lnTo>
                    <a:pt x="4001" y="10590"/>
                  </a:lnTo>
                  <a:lnTo>
                    <a:pt x="4001" y="10590"/>
                  </a:lnTo>
                  <a:lnTo>
                    <a:pt x="4001" y="10590"/>
                  </a:lnTo>
                  <a:lnTo>
                    <a:pt x="4001" y="10590"/>
                  </a:lnTo>
                  <a:lnTo>
                    <a:pt x="4001" y="10590"/>
                  </a:lnTo>
                  <a:lnTo>
                    <a:pt x="4001" y="10590"/>
                  </a:lnTo>
                  <a:lnTo>
                    <a:pt x="4001" y="10590"/>
                  </a:lnTo>
                  <a:lnTo>
                    <a:pt x="4001" y="10590"/>
                  </a:lnTo>
                  <a:lnTo>
                    <a:pt x="4001" y="10590"/>
                  </a:lnTo>
                  <a:lnTo>
                    <a:pt x="4001" y="10590"/>
                  </a:lnTo>
                  <a:lnTo>
                    <a:pt x="5295" y="9531"/>
                  </a:lnTo>
                  <a:lnTo>
                    <a:pt x="6354" y="8590"/>
                  </a:lnTo>
                  <a:lnTo>
                    <a:pt x="7295" y="7648"/>
                  </a:lnTo>
                  <a:lnTo>
                    <a:pt x="8001" y="6589"/>
                  </a:lnTo>
                  <a:lnTo>
                    <a:pt x="8001" y="6589"/>
                  </a:lnTo>
                  <a:lnTo>
                    <a:pt x="8001" y="6589"/>
                  </a:lnTo>
                  <a:lnTo>
                    <a:pt x="8001" y="6589"/>
                  </a:lnTo>
                  <a:lnTo>
                    <a:pt x="8001" y="6589"/>
                  </a:lnTo>
                  <a:lnTo>
                    <a:pt x="8001" y="6589"/>
                  </a:lnTo>
                  <a:lnTo>
                    <a:pt x="8001" y="6589"/>
                  </a:lnTo>
                  <a:lnTo>
                    <a:pt x="8001" y="6589"/>
                  </a:lnTo>
                  <a:lnTo>
                    <a:pt x="8001" y="6589"/>
                  </a:lnTo>
                  <a:lnTo>
                    <a:pt x="8001" y="6589"/>
                  </a:lnTo>
                  <a:lnTo>
                    <a:pt x="8001" y="6589"/>
                  </a:lnTo>
                  <a:lnTo>
                    <a:pt x="8001" y="6589"/>
                  </a:lnTo>
                  <a:lnTo>
                    <a:pt x="8001" y="6589"/>
                  </a:lnTo>
                  <a:lnTo>
                    <a:pt x="8001" y="6589"/>
                  </a:lnTo>
                  <a:lnTo>
                    <a:pt x="8119" y="6589"/>
                  </a:lnTo>
                  <a:lnTo>
                    <a:pt x="8119" y="6589"/>
                  </a:lnTo>
                  <a:lnTo>
                    <a:pt x="8119" y="6589"/>
                  </a:lnTo>
                  <a:lnTo>
                    <a:pt x="8119" y="6589"/>
                  </a:lnTo>
                  <a:lnTo>
                    <a:pt x="8119" y="6589"/>
                  </a:lnTo>
                  <a:lnTo>
                    <a:pt x="8119" y="6589"/>
                  </a:lnTo>
                  <a:lnTo>
                    <a:pt x="8590" y="5648"/>
                  </a:lnTo>
                  <a:lnTo>
                    <a:pt x="9060" y="4707"/>
                  </a:lnTo>
                  <a:lnTo>
                    <a:pt x="9295" y="3883"/>
                  </a:lnTo>
                  <a:lnTo>
                    <a:pt x="9531" y="3060"/>
                  </a:lnTo>
                  <a:lnTo>
                    <a:pt x="9884" y="1412"/>
                  </a:lnTo>
                  <a:lnTo>
                    <a:pt x="10001" y="0"/>
                  </a:lnTo>
                  <a:lnTo>
                    <a:pt x="10119" y="0"/>
                  </a:lnTo>
                  <a:lnTo>
                    <a:pt x="10119" y="0"/>
                  </a:lnTo>
                  <a:lnTo>
                    <a:pt x="10119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92" name="Google Shape;1392;p16"/>
            <p:cNvSpPr/>
            <p:nvPr/>
          </p:nvSpPr>
          <p:spPr>
            <a:xfrm>
              <a:off x="1395050" y="5376850"/>
              <a:ext cx="4829875" cy="100025"/>
            </a:xfrm>
            <a:custGeom>
              <a:avLst/>
              <a:gdLst/>
              <a:ahLst/>
              <a:cxnLst/>
              <a:rect l="l" t="t" r="r" b="b"/>
              <a:pathLst>
                <a:path w="193195" h="4001" extrusionOk="0">
                  <a:moveTo>
                    <a:pt x="76007" y="1"/>
                  </a:moveTo>
                  <a:lnTo>
                    <a:pt x="58123" y="118"/>
                  </a:lnTo>
                  <a:lnTo>
                    <a:pt x="42004" y="354"/>
                  </a:lnTo>
                  <a:lnTo>
                    <a:pt x="27885" y="589"/>
                  </a:lnTo>
                  <a:lnTo>
                    <a:pt x="16237" y="824"/>
                  </a:lnTo>
                  <a:lnTo>
                    <a:pt x="7530" y="1177"/>
                  </a:lnTo>
                  <a:lnTo>
                    <a:pt x="2000" y="1530"/>
                  </a:lnTo>
                  <a:lnTo>
                    <a:pt x="471" y="1765"/>
                  </a:lnTo>
                  <a:lnTo>
                    <a:pt x="118" y="1883"/>
                  </a:lnTo>
                  <a:lnTo>
                    <a:pt x="0" y="2001"/>
                  </a:lnTo>
                  <a:lnTo>
                    <a:pt x="118" y="2118"/>
                  </a:lnTo>
                  <a:lnTo>
                    <a:pt x="471" y="2118"/>
                  </a:lnTo>
                  <a:lnTo>
                    <a:pt x="2000" y="2354"/>
                  </a:lnTo>
                  <a:lnTo>
                    <a:pt x="7530" y="2707"/>
                  </a:lnTo>
                  <a:lnTo>
                    <a:pt x="16237" y="3060"/>
                  </a:lnTo>
                  <a:lnTo>
                    <a:pt x="27885" y="3413"/>
                  </a:lnTo>
                  <a:lnTo>
                    <a:pt x="42004" y="3648"/>
                  </a:lnTo>
                  <a:lnTo>
                    <a:pt x="58123" y="3766"/>
                  </a:lnTo>
                  <a:lnTo>
                    <a:pt x="76007" y="3883"/>
                  </a:lnTo>
                  <a:lnTo>
                    <a:pt x="95068" y="4001"/>
                  </a:lnTo>
                  <a:lnTo>
                    <a:pt x="114364" y="3883"/>
                  </a:lnTo>
                  <a:lnTo>
                    <a:pt x="132601" y="3766"/>
                  </a:lnTo>
                  <a:lnTo>
                    <a:pt x="149191" y="3530"/>
                  </a:lnTo>
                  <a:lnTo>
                    <a:pt x="163898" y="3177"/>
                  </a:lnTo>
                  <a:lnTo>
                    <a:pt x="176017" y="2824"/>
                  </a:lnTo>
                  <a:lnTo>
                    <a:pt x="185312" y="2354"/>
                  </a:lnTo>
                  <a:lnTo>
                    <a:pt x="191195" y="2001"/>
                  </a:lnTo>
                  <a:lnTo>
                    <a:pt x="192724" y="1765"/>
                  </a:lnTo>
                  <a:lnTo>
                    <a:pt x="193077" y="1648"/>
                  </a:lnTo>
                  <a:lnTo>
                    <a:pt x="193195" y="1530"/>
                  </a:lnTo>
                  <a:lnTo>
                    <a:pt x="193077" y="1530"/>
                  </a:lnTo>
                  <a:lnTo>
                    <a:pt x="192724" y="1413"/>
                  </a:lnTo>
                  <a:lnTo>
                    <a:pt x="191195" y="1177"/>
                  </a:lnTo>
                  <a:lnTo>
                    <a:pt x="185312" y="824"/>
                  </a:lnTo>
                  <a:lnTo>
                    <a:pt x="176017" y="589"/>
                  </a:lnTo>
                  <a:lnTo>
                    <a:pt x="163898" y="354"/>
                  </a:lnTo>
                  <a:lnTo>
                    <a:pt x="149191" y="236"/>
                  </a:lnTo>
                  <a:lnTo>
                    <a:pt x="132601" y="118"/>
                  </a:lnTo>
                  <a:lnTo>
                    <a:pt x="95068" y="1"/>
                  </a:lnTo>
                  <a:close/>
                </a:path>
              </a:pathLst>
            </a:custGeom>
            <a:solidFill>
              <a:srgbClr val="333340">
                <a:alpha val="9410"/>
              </a:srgb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93" name="Google Shape;1393;p16"/>
            <p:cNvSpPr/>
            <p:nvPr/>
          </p:nvSpPr>
          <p:spPr>
            <a:xfrm>
              <a:off x="5477775" y="4273800"/>
              <a:ext cx="282400" cy="1067775"/>
            </a:xfrm>
            <a:custGeom>
              <a:avLst/>
              <a:gdLst/>
              <a:ahLst/>
              <a:cxnLst/>
              <a:rect l="l" t="t" r="r" b="b"/>
              <a:pathLst>
                <a:path w="11296" h="42711" extrusionOk="0">
                  <a:moveTo>
                    <a:pt x="942" y="1"/>
                  </a:moveTo>
                  <a:lnTo>
                    <a:pt x="354" y="3295"/>
                  </a:lnTo>
                  <a:lnTo>
                    <a:pt x="118" y="4942"/>
                  </a:lnTo>
                  <a:lnTo>
                    <a:pt x="1" y="6472"/>
                  </a:lnTo>
                  <a:lnTo>
                    <a:pt x="1" y="8001"/>
                  </a:lnTo>
                  <a:lnTo>
                    <a:pt x="1" y="9413"/>
                  </a:lnTo>
                  <a:lnTo>
                    <a:pt x="236" y="10825"/>
                  </a:lnTo>
                  <a:lnTo>
                    <a:pt x="471" y="12237"/>
                  </a:lnTo>
                  <a:lnTo>
                    <a:pt x="3884" y="26474"/>
                  </a:lnTo>
                  <a:lnTo>
                    <a:pt x="5648" y="34710"/>
                  </a:lnTo>
                  <a:lnTo>
                    <a:pt x="6237" y="37416"/>
                  </a:lnTo>
                  <a:lnTo>
                    <a:pt x="6354" y="38240"/>
                  </a:lnTo>
                  <a:lnTo>
                    <a:pt x="6354" y="38593"/>
                  </a:lnTo>
                  <a:lnTo>
                    <a:pt x="5178" y="40593"/>
                  </a:lnTo>
                  <a:lnTo>
                    <a:pt x="4119" y="42593"/>
                  </a:lnTo>
                  <a:lnTo>
                    <a:pt x="4119" y="42711"/>
                  </a:lnTo>
                  <a:lnTo>
                    <a:pt x="4354" y="42711"/>
                  </a:lnTo>
                  <a:lnTo>
                    <a:pt x="5178" y="42593"/>
                  </a:lnTo>
                  <a:lnTo>
                    <a:pt x="6237" y="42122"/>
                  </a:lnTo>
                  <a:lnTo>
                    <a:pt x="7649" y="41652"/>
                  </a:lnTo>
                  <a:lnTo>
                    <a:pt x="8943" y="41063"/>
                  </a:lnTo>
                  <a:lnTo>
                    <a:pt x="10237" y="40358"/>
                  </a:lnTo>
                  <a:lnTo>
                    <a:pt x="11061" y="39652"/>
                  </a:lnTo>
                  <a:lnTo>
                    <a:pt x="11296" y="39416"/>
                  </a:lnTo>
                  <a:lnTo>
                    <a:pt x="11296" y="39181"/>
                  </a:lnTo>
                  <a:lnTo>
                    <a:pt x="11296" y="38357"/>
                  </a:lnTo>
                  <a:lnTo>
                    <a:pt x="10943" y="38004"/>
                  </a:lnTo>
                  <a:lnTo>
                    <a:pt x="10590" y="37534"/>
                  </a:lnTo>
                  <a:lnTo>
                    <a:pt x="10002" y="36357"/>
                  </a:lnTo>
                  <a:lnTo>
                    <a:pt x="9766" y="35416"/>
                  </a:lnTo>
                  <a:lnTo>
                    <a:pt x="9413" y="34004"/>
                  </a:lnTo>
                  <a:lnTo>
                    <a:pt x="8825" y="30710"/>
                  </a:lnTo>
                  <a:lnTo>
                    <a:pt x="8355" y="27415"/>
                  </a:lnTo>
                  <a:lnTo>
                    <a:pt x="8119" y="25415"/>
                  </a:lnTo>
                  <a:lnTo>
                    <a:pt x="8002" y="22003"/>
                  </a:lnTo>
                  <a:lnTo>
                    <a:pt x="8002" y="16120"/>
                  </a:lnTo>
                  <a:lnTo>
                    <a:pt x="8002" y="10119"/>
                  </a:lnTo>
                  <a:lnTo>
                    <a:pt x="7884" y="8001"/>
                  </a:lnTo>
                  <a:lnTo>
                    <a:pt x="7649" y="6707"/>
                  </a:lnTo>
                  <a:lnTo>
                    <a:pt x="7531" y="6354"/>
                  </a:lnTo>
                  <a:lnTo>
                    <a:pt x="7296" y="6001"/>
                  </a:lnTo>
                  <a:lnTo>
                    <a:pt x="6472" y="4942"/>
                  </a:lnTo>
                  <a:lnTo>
                    <a:pt x="5295" y="3883"/>
                  </a:lnTo>
                  <a:lnTo>
                    <a:pt x="4119" y="2707"/>
                  </a:lnTo>
                  <a:lnTo>
                    <a:pt x="1883" y="824"/>
                  </a:lnTo>
                  <a:lnTo>
                    <a:pt x="942" y="1"/>
                  </a:lnTo>
                  <a:close/>
                </a:path>
              </a:pathLst>
            </a:custGeom>
            <a:solidFill>
              <a:srgbClr val="F6B2B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94" name="Google Shape;1394;p16"/>
            <p:cNvSpPr/>
            <p:nvPr/>
          </p:nvSpPr>
          <p:spPr>
            <a:xfrm>
              <a:off x="5477775" y="4273800"/>
              <a:ext cx="282400" cy="1067775"/>
            </a:xfrm>
            <a:custGeom>
              <a:avLst/>
              <a:gdLst/>
              <a:ahLst/>
              <a:cxnLst/>
              <a:rect l="l" t="t" r="r" b="b"/>
              <a:pathLst>
                <a:path w="11296" h="42711" fill="none" extrusionOk="0">
                  <a:moveTo>
                    <a:pt x="942" y="1"/>
                  </a:moveTo>
                  <a:lnTo>
                    <a:pt x="942" y="1"/>
                  </a:lnTo>
                  <a:lnTo>
                    <a:pt x="354" y="3295"/>
                  </a:lnTo>
                  <a:lnTo>
                    <a:pt x="118" y="4942"/>
                  </a:lnTo>
                  <a:lnTo>
                    <a:pt x="1" y="6472"/>
                  </a:lnTo>
                  <a:lnTo>
                    <a:pt x="1" y="8001"/>
                  </a:lnTo>
                  <a:lnTo>
                    <a:pt x="1" y="9413"/>
                  </a:lnTo>
                  <a:lnTo>
                    <a:pt x="236" y="10825"/>
                  </a:lnTo>
                  <a:lnTo>
                    <a:pt x="471" y="12237"/>
                  </a:lnTo>
                  <a:lnTo>
                    <a:pt x="471" y="12237"/>
                  </a:lnTo>
                  <a:lnTo>
                    <a:pt x="3884" y="26474"/>
                  </a:lnTo>
                  <a:lnTo>
                    <a:pt x="5648" y="34710"/>
                  </a:lnTo>
                  <a:lnTo>
                    <a:pt x="6237" y="37416"/>
                  </a:lnTo>
                  <a:lnTo>
                    <a:pt x="6354" y="38240"/>
                  </a:lnTo>
                  <a:lnTo>
                    <a:pt x="6354" y="38593"/>
                  </a:lnTo>
                  <a:lnTo>
                    <a:pt x="6354" y="38593"/>
                  </a:lnTo>
                  <a:lnTo>
                    <a:pt x="5178" y="40593"/>
                  </a:lnTo>
                  <a:lnTo>
                    <a:pt x="4119" y="42593"/>
                  </a:lnTo>
                  <a:lnTo>
                    <a:pt x="4119" y="42593"/>
                  </a:lnTo>
                  <a:lnTo>
                    <a:pt x="4119" y="42711"/>
                  </a:lnTo>
                  <a:lnTo>
                    <a:pt x="4354" y="42711"/>
                  </a:lnTo>
                  <a:lnTo>
                    <a:pt x="5178" y="42593"/>
                  </a:lnTo>
                  <a:lnTo>
                    <a:pt x="6237" y="42122"/>
                  </a:lnTo>
                  <a:lnTo>
                    <a:pt x="7649" y="41652"/>
                  </a:lnTo>
                  <a:lnTo>
                    <a:pt x="8943" y="41063"/>
                  </a:lnTo>
                  <a:lnTo>
                    <a:pt x="10237" y="40358"/>
                  </a:lnTo>
                  <a:lnTo>
                    <a:pt x="11061" y="39652"/>
                  </a:lnTo>
                  <a:lnTo>
                    <a:pt x="11296" y="39416"/>
                  </a:lnTo>
                  <a:lnTo>
                    <a:pt x="11296" y="39181"/>
                  </a:lnTo>
                  <a:lnTo>
                    <a:pt x="11296" y="39181"/>
                  </a:lnTo>
                  <a:lnTo>
                    <a:pt x="11296" y="38357"/>
                  </a:lnTo>
                  <a:lnTo>
                    <a:pt x="10943" y="38004"/>
                  </a:lnTo>
                  <a:lnTo>
                    <a:pt x="10590" y="37534"/>
                  </a:lnTo>
                  <a:lnTo>
                    <a:pt x="10002" y="36357"/>
                  </a:lnTo>
                  <a:lnTo>
                    <a:pt x="10002" y="36357"/>
                  </a:lnTo>
                  <a:lnTo>
                    <a:pt x="9766" y="35416"/>
                  </a:lnTo>
                  <a:lnTo>
                    <a:pt x="9413" y="34004"/>
                  </a:lnTo>
                  <a:lnTo>
                    <a:pt x="8825" y="30710"/>
                  </a:lnTo>
                  <a:lnTo>
                    <a:pt x="8355" y="27415"/>
                  </a:lnTo>
                  <a:lnTo>
                    <a:pt x="8119" y="25415"/>
                  </a:lnTo>
                  <a:lnTo>
                    <a:pt x="8119" y="25415"/>
                  </a:lnTo>
                  <a:lnTo>
                    <a:pt x="8002" y="22003"/>
                  </a:lnTo>
                  <a:lnTo>
                    <a:pt x="8002" y="16120"/>
                  </a:lnTo>
                  <a:lnTo>
                    <a:pt x="8002" y="10119"/>
                  </a:lnTo>
                  <a:lnTo>
                    <a:pt x="7884" y="8001"/>
                  </a:lnTo>
                  <a:lnTo>
                    <a:pt x="7649" y="6707"/>
                  </a:lnTo>
                  <a:lnTo>
                    <a:pt x="7649" y="6707"/>
                  </a:lnTo>
                  <a:lnTo>
                    <a:pt x="7531" y="6354"/>
                  </a:lnTo>
                  <a:lnTo>
                    <a:pt x="7296" y="6001"/>
                  </a:lnTo>
                  <a:lnTo>
                    <a:pt x="6472" y="4942"/>
                  </a:lnTo>
                  <a:lnTo>
                    <a:pt x="5295" y="3883"/>
                  </a:lnTo>
                  <a:lnTo>
                    <a:pt x="4119" y="2707"/>
                  </a:lnTo>
                  <a:lnTo>
                    <a:pt x="1883" y="824"/>
                  </a:lnTo>
                  <a:lnTo>
                    <a:pt x="94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95" name="Google Shape;1395;p16"/>
            <p:cNvSpPr/>
            <p:nvPr/>
          </p:nvSpPr>
          <p:spPr>
            <a:xfrm>
              <a:off x="5098325" y="2614825"/>
              <a:ext cx="88275" cy="161800"/>
            </a:xfrm>
            <a:custGeom>
              <a:avLst/>
              <a:gdLst/>
              <a:ahLst/>
              <a:cxnLst/>
              <a:rect l="l" t="t" r="r" b="b"/>
              <a:pathLst>
                <a:path w="3531" h="6472" extrusionOk="0">
                  <a:moveTo>
                    <a:pt x="824" y="0"/>
                  </a:moveTo>
                  <a:lnTo>
                    <a:pt x="589" y="235"/>
                  </a:lnTo>
                  <a:lnTo>
                    <a:pt x="471" y="471"/>
                  </a:lnTo>
                  <a:lnTo>
                    <a:pt x="589" y="941"/>
                  </a:lnTo>
                  <a:lnTo>
                    <a:pt x="707" y="1412"/>
                  </a:lnTo>
                  <a:lnTo>
                    <a:pt x="707" y="2000"/>
                  </a:lnTo>
                  <a:lnTo>
                    <a:pt x="354" y="3177"/>
                  </a:lnTo>
                  <a:lnTo>
                    <a:pt x="1" y="4236"/>
                  </a:lnTo>
                  <a:lnTo>
                    <a:pt x="1" y="4824"/>
                  </a:lnTo>
                  <a:lnTo>
                    <a:pt x="1" y="5295"/>
                  </a:lnTo>
                  <a:lnTo>
                    <a:pt x="354" y="5883"/>
                  </a:lnTo>
                  <a:lnTo>
                    <a:pt x="707" y="6236"/>
                  </a:lnTo>
                  <a:lnTo>
                    <a:pt x="1177" y="6354"/>
                  </a:lnTo>
                  <a:lnTo>
                    <a:pt x="1530" y="6471"/>
                  </a:lnTo>
                  <a:lnTo>
                    <a:pt x="2236" y="6471"/>
                  </a:lnTo>
                  <a:lnTo>
                    <a:pt x="2589" y="6354"/>
                  </a:lnTo>
                  <a:lnTo>
                    <a:pt x="3060" y="5765"/>
                  </a:lnTo>
                  <a:lnTo>
                    <a:pt x="3295" y="5059"/>
                  </a:lnTo>
                  <a:lnTo>
                    <a:pt x="3531" y="4354"/>
                  </a:lnTo>
                  <a:lnTo>
                    <a:pt x="3531" y="3648"/>
                  </a:lnTo>
                  <a:lnTo>
                    <a:pt x="3531" y="2942"/>
                  </a:lnTo>
                  <a:lnTo>
                    <a:pt x="3413" y="2236"/>
                  </a:lnTo>
                  <a:lnTo>
                    <a:pt x="3178" y="1647"/>
                  </a:lnTo>
                  <a:lnTo>
                    <a:pt x="2942" y="1177"/>
                  </a:lnTo>
                  <a:lnTo>
                    <a:pt x="2589" y="706"/>
                  </a:lnTo>
                  <a:lnTo>
                    <a:pt x="2119" y="353"/>
                  </a:lnTo>
                  <a:lnTo>
                    <a:pt x="1648" y="118"/>
                  </a:lnTo>
                  <a:lnTo>
                    <a:pt x="1177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96" name="Google Shape;1396;p16"/>
            <p:cNvSpPr/>
            <p:nvPr/>
          </p:nvSpPr>
          <p:spPr>
            <a:xfrm>
              <a:off x="5521900" y="5179775"/>
              <a:ext cx="285350" cy="241225"/>
            </a:xfrm>
            <a:custGeom>
              <a:avLst/>
              <a:gdLst/>
              <a:ahLst/>
              <a:cxnLst/>
              <a:rect l="l" t="t" r="r" b="b"/>
              <a:pathLst>
                <a:path w="11414" h="9649" extrusionOk="0">
                  <a:moveTo>
                    <a:pt x="8590" y="0"/>
                  </a:moveTo>
                  <a:lnTo>
                    <a:pt x="8237" y="118"/>
                  </a:lnTo>
                  <a:lnTo>
                    <a:pt x="7766" y="706"/>
                  </a:lnTo>
                  <a:lnTo>
                    <a:pt x="7413" y="1177"/>
                  </a:lnTo>
                  <a:lnTo>
                    <a:pt x="7060" y="1883"/>
                  </a:lnTo>
                  <a:lnTo>
                    <a:pt x="7060" y="2471"/>
                  </a:lnTo>
                  <a:lnTo>
                    <a:pt x="6825" y="3060"/>
                  </a:lnTo>
                  <a:lnTo>
                    <a:pt x="6354" y="3766"/>
                  </a:lnTo>
                  <a:lnTo>
                    <a:pt x="6001" y="4119"/>
                  </a:lnTo>
                  <a:lnTo>
                    <a:pt x="5648" y="4589"/>
                  </a:lnTo>
                  <a:lnTo>
                    <a:pt x="5060" y="4942"/>
                  </a:lnTo>
                  <a:lnTo>
                    <a:pt x="4589" y="5177"/>
                  </a:lnTo>
                  <a:lnTo>
                    <a:pt x="3530" y="5530"/>
                  </a:lnTo>
                  <a:lnTo>
                    <a:pt x="2824" y="5766"/>
                  </a:lnTo>
                  <a:lnTo>
                    <a:pt x="2471" y="5883"/>
                  </a:lnTo>
                  <a:lnTo>
                    <a:pt x="2236" y="6119"/>
                  </a:lnTo>
                  <a:lnTo>
                    <a:pt x="1648" y="6707"/>
                  </a:lnTo>
                  <a:lnTo>
                    <a:pt x="707" y="7648"/>
                  </a:lnTo>
                  <a:lnTo>
                    <a:pt x="354" y="8119"/>
                  </a:lnTo>
                  <a:lnTo>
                    <a:pt x="1" y="8590"/>
                  </a:lnTo>
                  <a:lnTo>
                    <a:pt x="1" y="8943"/>
                  </a:lnTo>
                  <a:lnTo>
                    <a:pt x="1" y="9178"/>
                  </a:lnTo>
                  <a:lnTo>
                    <a:pt x="118" y="9413"/>
                  </a:lnTo>
                  <a:lnTo>
                    <a:pt x="589" y="9531"/>
                  </a:lnTo>
                  <a:lnTo>
                    <a:pt x="1177" y="9648"/>
                  </a:lnTo>
                  <a:lnTo>
                    <a:pt x="1883" y="9531"/>
                  </a:lnTo>
                  <a:lnTo>
                    <a:pt x="2707" y="9413"/>
                  </a:lnTo>
                  <a:lnTo>
                    <a:pt x="3413" y="9178"/>
                  </a:lnTo>
                  <a:lnTo>
                    <a:pt x="4119" y="8943"/>
                  </a:lnTo>
                  <a:lnTo>
                    <a:pt x="4825" y="8590"/>
                  </a:lnTo>
                  <a:lnTo>
                    <a:pt x="5295" y="8237"/>
                  </a:lnTo>
                  <a:lnTo>
                    <a:pt x="7413" y="6119"/>
                  </a:lnTo>
                  <a:lnTo>
                    <a:pt x="8472" y="5177"/>
                  </a:lnTo>
                  <a:lnTo>
                    <a:pt x="8943" y="4824"/>
                  </a:lnTo>
                  <a:lnTo>
                    <a:pt x="9178" y="5060"/>
                  </a:lnTo>
                  <a:lnTo>
                    <a:pt x="9413" y="5060"/>
                  </a:lnTo>
                  <a:lnTo>
                    <a:pt x="10708" y="3883"/>
                  </a:lnTo>
                  <a:lnTo>
                    <a:pt x="11178" y="3413"/>
                  </a:lnTo>
                  <a:lnTo>
                    <a:pt x="11414" y="3060"/>
                  </a:lnTo>
                  <a:lnTo>
                    <a:pt x="11414" y="2707"/>
                  </a:lnTo>
                  <a:lnTo>
                    <a:pt x="11178" y="2236"/>
                  </a:lnTo>
                  <a:lnTo>
                    <a:pt x="10825" y="1648"/>
                  </a:lnTo>
                  <a:lnTo>
                    <a:pt x="10472" y="1177"/>
                  </a:lnTo>
                  <a:lnTo>
                    <a:pt x="8825" y="118"/>
                  </a:lnTo>
                  <a:lnTo>
                    <a:pt x="8590" y="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97" name="Google Shape;1397;p16"/>
            <p:cNvSpPr/>
            <p:nvPr/>
          </p:nvSpPr>
          <p:spPr>
            <a:xfrm>
              <a:off x="5054200" y="4303225"/>
              <a:ext cx="391250" cy="1050125"/>
            </a:xfrm>
            <a:custGeom>
              <a:avLst/>
              <a:gdLst/>
              <a:ahLst/>
              <a:cxnLst/>
              <a:rect l="l" t="t" r="r" b="b"/>
              <a:pathLst>
                <a:path w="15650" h="42005" extrusionOk="0">
                  <a:moveTo>
                    <a:pt x="10355" y="0"/>
                  </a:moveTo>
                  <a:lnTo>
                    <a:pt x="9649" y="118"/>
                  </a:lnTo>
                  <a:lnTo>
                    <a:pt x="9061" y="353"/>
                  </a:lnTo>
                  <a:lnTo>
                    <a:pt x="8825" y="589"/>
                  </a:lnTo>
                  <a:lnTo>
                    <a:pt x="8590" y="824"/>
                  </a:lnTo>
                  <a:lnTo>
                    <a:pt x="8237" y="1647"/>
                  </a:lnTo>
                  <a:lnTo>
                    <a:pt x="8002" y="2824"/>
                  </a:lnTo>
                  <a:lnTo>
                    <a:pt x="7531" y="9178"/>
                  </a:lnTo>
                  <a:lnTo>
                    <a:pt x="7178" y="13296"/>
                  </a:lnTo>
                  <a:lnTo>
                    <a:pt x="5884" y="30121"/>
                  </a:lnTo>
                  <a:lnTo>
                    <a:pt x="5413" y="36474"/>
                  </a:lnTo>
                  <a:lnTo>
                    <a:pt x="5178" y="38357"/>
                  </a:lnTo>
                  <a:lnTo>
                    <a:pt x="4943" y="39181"/>
                  </a:lnTo>
                  <a:lnTo>
                    <a:pt x="4590" y="39298"/>
                  </a:lnTo>
                  <a:lnTo>
                    <a:pt x="4001" y="39534"/>
                  </a:lnTo>
                  <a:lnTo>
                    <a:pt x="2472" y="40004"/>
                  </a:lnTo>
                  <a:lnTo>
                    <a:pt x="942" y="40475"/>
                  </a:lnTo>
                  <a:lnTo>
                    <a:pt x="354" y="40592"/>
                  </a:lnTo>
                  <a:lnTo>
                    <a:pt x="1" y="40828"/>
                  </a:lnTo>
                  <a:lnTo>
                    <a:pt x="1" y="40945"/>
                  </a:lnTo>
                  <a:lnTo>
                    <a:pt x="236" y="41063"/>
                  </a:lnTo>
                  <a:lnTo>
                    <a:pt x="1295" y="41416"/>
                  </a:lnTo>
                  <a:lnTo>
                    <a:pt x="2707" y="41651"/>
                  </a:lnTo>
                  <a:lnTo>
                    <a:pt x="4472" y="41887"/>
                  </a:lnTo>
                  <a:lnTo>
                    <a:pt x="6237" y="42004"/>
                  </a:lnTo>
                  <a:lnTo>
                    <a:pt x="7884" y="42004"/>
                  </a:lnTo>
                  <a:lnTo>
                    <a:pt x="9178" y="41887"/>
                  </a:lnTo>
                  <a:lnTo>
                    <a:pt x="9531" y="41651"/>
                  </a:lnTo>
                  <a:lnTo>
                    <a:pt x="9649" y="41534"/>
                  </a:lnTo>
                  <a:lnTo>
                    <a:pt x="9884" y="40710"/>
                  </a:lnTo>
                  <a:lnTo>
                    <a:pt x="9767" y="40239"/>
                  </a:lnTo>
                  <a:lnTo>
                    <a:pt x="9531" y="39651"/>
                  </a:lnTo>
                  <a:lnTo>
                    <a:pt x="9414" y="38357"/>
                  </a:lnTo>
                  <a:lnTo>
                    <a:pt x="9414" y="37298"/>
                  </a:lnTo>
                  <a:lnTo>
                    <a:pt x="9649" y="35886"/>
                  </a:lnTo>
                  <a:lnTo>
                    <a:pt x="10237" y="32474"/>
                  </a:lnTo>
                  <a:lnTo>
                    <a:pt x="10826" y="29180"/>
                  </a:lnTo>
                  <a:lnTo>
                    <a:pt x="11414" y="27062"/>
                  </a:lnTo>
                  <a:lnTo>
                    <a:pt x="12237" y="22473"/>
                  </a:lnTo>
                  <a:lnTo>
                    <a:pt x="13767" y="13649"/>
                  </a:lnTo>
                  <a:lnTo>
                    <a:pt x="14355" y="9648"/>
                  </a:lnTo>
                  <a:lnTo>
                    <a:pt x="15297" y="4118"/>
                  </a:lnTo>
                  <a:lnTo>
                    <a:pt x="15650" y="1177"/>
                  </a:lnTo>
                  <a:lnTo>
                    <a:pt x="15532" y="589"/>
                  </a:lnTo>
                  <a:lnTo>
                    <a:pt x="15297" y="236"/>
                  </a:lnTo>
                  <a:lnTo>
                    <a:pt x="14944" y="0"/>
                  </a:lnTo>
                  <a:lnTo>
                    <a:pt x="13649" y="0"/>
                  </a:lnTo>
                  <a:lnTo>
                    <a:pt x="13296" y="118"/>
                  </a:lnTo>
                  <a:lnTo>
                    <a:pt x="11179" y="0"/>
                  </a:lnTo>
                  <a:close/>
                </a:path>
              </a:pathLst>
            </a:custGeom>
            <a:solidFill>
              <a:srgbClr val="F6B2B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98" name="Google Shape;1398;p16"/>
            <p:cNvSpPr/>
            <p:nvPr/>
          </p:nvSpPr>
          <p:spPr>
            <a:xfrm>
              <a:off x="5054200" y="4303225"/>
              <a:ext cx="391250" cy="1050125"/>
            </a:xfrm>
            <a:custGeom>
              <a:avLst/>
              <a:gdLst/>
              <a:ahLst/>
              <a:cxnLst/>
              <a:rect l="l" t="t" r="r" b="b"/>
              <a:pathLst>
                <a:path w="15650" h="42005" fill="none" extrusionOk="0">
                  <a:moveTo>
                    <a:pt x="15650" y="1177"/>
                  </a:moveTo>
                  <a:lnTo>
                    <a:pt x="15650" y="1177"/>
                  </a:lnTo>
                  <a:lnTo>
                    <a:pt x="15297" y="4118"/>
                  </a:lnTo>
                  <a:lnTo>
                    <a:pt x="14355" y="9648"/>
                  </a:lnTo>
                  <a:lnTo>
                    <a:pt x="14355" y="9648"/>
                  </a:lnTo>
                  <a:lnTo>
                    <a:pt x="13767" y="13649"/>
                  </a:lnTo>
                  <a:lnTo>
                    <a:pt x="13767" y="13649"/>
                  </a:lnTo>
                  <a:lnTo>
                    <a:pt x="12237" y="22473"/>
                  </a:lnTo>
                  <a:lnTo>
                    <a:pt x="11414" y="27062"/>
                  </a:lnTo>
                  <a:lnTo>
                    <a:pt x="11414" y="27062"/>
                  </a:lnTo>
                  <a:lnTo>
                    <a:pt x="10826" y="29180"/>
                  </a:lnTo>
                  <a:lnTo>
                    <a:pt x="10237" y="32474"/>
                  </a:lnTo>
                  <a:lnTo>
                    <a:pt x="9649" y="35886"/>
                  </a:lnTo>
                  <a:lnTo>
                    <a:pt x="9414" y="37298"/>
                  </a:lnTo>
                  <a:lnTo>
                    <a:pt x="9414" y="38357"/>
                  </a:lnTo>
                  <a:lnTo>
                    <a:pt x="9414" y="38357"/>
                  </a:lnTo>
                  <a:lnTo>
                    <a:pt x="9531" y="39651"/>
                  </a:lnTo>
                  <a:lnTo>
                    <a:pt x="9767" y="40239"/>
                  </a:lnTo>
                  <a:lnTo>
                    <a:pt x="9884" y="40710"/>
                  </a:lnTo>
                  <a:lnTo>
                    <a:pt x="9649" y="41534"/>
                  </a:lnTo>
                  <a:lnTo>
                    <a:pt x="9649" y="41534"/>
                  </a:lnTo>
                  <a:lnTo>
                    <a:pt x="9531" y="41651"/>
                  </a:lnTo>
                  <a:lnTo>
                    <a:pt x="9178" y="41887"/>
                  </a:lnTo>
                  <a:lnTo>
                    <a:pt x="7884" y="42004"/>
                  </a:lnTo>
                  <a:lnTo>
                    <a:pt x="6237" y="42004"/>
                  </a:lnTo>
                  <a:lnTo>
                    <a:pt x="4472" y="41887"/>
                  </a:lnTo>
                  <a:lnTo>
                    <a:pt x="2707" y="41651"/>
                  </a:lnTo>
                  <a:lnTo>
                    <a:pt x="1295" y="41416"/>
                  </a:lnTo>
                  <a:lnTo>
                    <a:pt x="236" y="41063"/>
                  </a:lnTo>
                  <a:lnTo>
                    <a:pt x="1" y="40945"/>
                  </a:lnTo>
                  <a:lnTo>
                    <a:pt x="1" y="40828"/>
                  </a:lnTo>
                  <a:lnTo>
                    <a:pt x="1" y="40828"/>
                  </a:lnTo>
                  <a:lnTo>
                    <a:pt x="354" y="40592"/>
                  </a:lnTo>
                  <a:lnTo>
                    <a:pt x="942" y="40475"/>
                  </a:lnTo>
                  <a:lnTo>
                    <a:pt x="2472" y="40004"/>
                  </a:lnTo>
                  <a:lnTo>
                    <a:pt x="4001" y="39534"/>
                  </a:lnTo>
                  <a:lnTo>
                    <a:pt x="4590" y="39298"/>
                  </a:lnTo>
                  <a:lnTo>
                    <a:pt x="4943" y="39181"/>
                  </a:lnTo>
                  <a:lnTo>
                    <a:pt x="4943" y="39181"/>
                  </a:lnTo>
                  <a:lnTo>
                    <a:pt x="5178" y="38357"/>
                  </a:lnTo>
                  <a:lnTo>
                    <a:pt x="5413" y="36474"/>
                  </a:lnTo>
                  <a:lnTo>
                    <a:pt x="5884" y="30121"/>
                  </a:lnTo>
                  <a:lnTo>
                    <a:pt x="7178" y="13296"/>
                  </a:lnTo>
                  <a:lnTo>
                    <a:pt x="7178" y="13296"/>
                  </a:lnTo>
                  <a:lnTo>
                    <a:pt x="7531" y="9178"/>
                  </a:lnTo>
                  <a:lnTo>
                    <a:pt x="7531" y="9178"/>
                  </a:lnTo>
                  <a:lnTo>
                    <a:pt x="8002" y="2824"/>
                  </a:lnTo>
                  <a:lnTo>
                    <a:pt x="8002" y="2824"/>
                  </a:lnTo>
                  <a:lnTo>
                    <a:pt x="8237" y="1647"/>
                  </a:lnTo>
                  <a:lnTo>
                    <a:pt x="8590" y="824"/>
                  </a:lnTo>
                  <a:lnTo>
                    <a:pt x="8825" y="589"/>
                  </a:lnTo>
                  <a:lnTo>
                    <a:pt x="9061" y="353"/>
                  </a:lnTo>
                  <a:lnTo>
                    <a:pt x="9649" y="118"/>
                  </a:lnTo>
                  <a:lnTo>
                    <a:pt x="10355" y="0"/>
                  </a:lnTo>
                  <a:lnTo>
                    <a:pt x="11179" y="0"/>
                  </a:lnTo>
                  <a:lnTo>
                    <a:pt x="13296" y="118"/>
                  </a:lnTo>
                  <a:lnTo>
                    <a:pt x="13296" y="118"/>
                  </a:lnTo>
                  <a:lnTo>
                    <a:pt x="13649" y="0"/>
                  </a:lnTo>
                  <a:lnTo>
                    <a:pt x="14473" y="0"/>
                  </a:lnTo>
                  <a:lnTo>
                    <a:pt x="14944" y="0"/>
                  </a:lnTo>
                  <a:lnTo>
                    <a:pt x="15297" y="236"/>
                  </a:lnTo>
                  <a:lnTo>
                    <a:pt x="15532" y="589"/>
                  </a:lnTo>
                  <a:lnTo>
                    <a:pt x="15650" y="117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99" name="Google Shape;1399;p16"/>
            <p:cNvSpPr/>
            <p:nvPr/>
          </p:nvSpPr>
          <p:spPr>
            <a:xfrm>
              <a:off x="4983625" y="5294500"/>
              <a:ext cx="335350" cy="114725"/>
            </a:xfrm>
            <a:custGeom>
              <a:avLst/>
              <a:gdLst/>
              <a:ahLst/>
              <a:cxnLst/>
              <a:rect l="l" t="t" r="r" b="b"/>
              <a:pathLst>
                <a:path w="13414" h="4589" extrusionOk="0">
                  <a:moveTo>
                    <a:pt x="11648" y="0"/>
                  </a:moveTo>
                  <a:lnTo>
                    <a:pt x="11060" y="235"/>
                  </a:lnTo>
                  <a:lnTo>
                    <a:pt x="10354" y="588"/>
                  </a:lnTo>
                  <a:lnTo>
                    <a:pt x="9883" y="824"/>
                  </a:lnTo>
                  <a:lnTo>
                    <a:pt x="9295" y="1177"/>
                  </a:lnTo>
                  <a:lnTo>
                    <a:pt x="8472" y="1530"/>
                  </a:lnTo>
                  <a:lnTo>
                    <a:pt x="7295" y="1530"/>
                  </a:lnTo>
                  <a:lnTo>
                    <a:pt x="6001" y="1412"/>
                  </a:lnTo>
                  <a:lnTo>
                    <a:pt x="5059" y="1059"/>
                  </a:lnTo>
                  <a:lnTo>
                    <a:pt x="4236" y="824"/>
                  </a:lnTo>
                  <a:lnTo>
                    <a:pt x="3530" y="824"/>
                  </a:lnTo>
                  <a:lnTo>
                    <a:pt x="2706" y="941"/>
                  </a:lnTo>
                  <a:lnTo>
                    <a:pt x="1412" y="1294"/>
                  </a:lnTo>
                  <a:lnTo>
                    <a:pt x="824" y="1530"/>
                  </a:lnTo>
                  <a:lnTo>
                    <a:pt x="353" y="1883"/>
                  </a:lnTo>
                  <a:lnTo>
                    <a:pt x="0" y="2236"/>
                  </a:lnTo>
                  <a:lnTo>
                    <a:pt x="0" y="2706"/>
                  </a:lnTo>
                  <a:lnTo>
                    <a:pt x="118" y="3177"/>
                  </a:lnTo>
                  <a:lnTo>
                    <a:pt x="588" y="3530"/>
                  </a:lnTo>
                  <a:lnTo>
                    <a:pt x="1059" y="3883"/>
                  </a:lnTo>
                  <a:lnTo>
                    <a:pt x="1765" y="4118"/>
                  </a:lnTo>
                  <a:lnTo>
                    <a:pt x="3177" y="4471"/>
                  </a:lnTo>
                  <a:lnTo>
                    <a:pt x="4471" y="4589"/>
                  </a:lnTo>
                  <a:lnTo>
                    <a:pt x="5883" y="4471"/>
                  </a:lnTo>
                  <a:lnTo>
                    <a:pt x="7648" y="4236"/>
                  </a:lnTo>
                  <a:lnTo>
                    <a:pt x="9178" y="4001"/>
                  </a:lnTo>
                  <a:lnTo>
                    <a:pt x="9766" y="4001"/>
                  </a:lnTo>
                  <a:lnTo>
                    <a:pt x="9766" y="4354"/>
                  </a:lnTo>
                  <a:lnTo>
                    <a:pt x="9883" y="4471"/>
                  </a:lnTo>
                  <a:lnTo>
                    <a:pt x="10001" y="4589"/>
                  </a:lnTo>
                  <a:lnTo>
                    <a:pt x="11766" y="4589"/>
                  </a:lnTo>
                  <a:lnTo>
                    <a:pt x="12472" y="4471"/>
                  </a:lnTo>
                  <a:lnTo>
                    <a:pt x="12943" y="4354"/>
                  </a:lnTo>
                  <a:lnTo>
                    <a:pt x="13178" y="4118"/>
                  </a:lnTo>
                  <a:lnTo>
                    <a:pt x="13296" y="3530"/>
                  </a:lnTo>
                  <a:lnTo>
                    <a:pt x="13413" y="2942"/>
                  </a:lnTo>
                  <a:lnTo>
                    <a:pt x="13413" y="2236"/>
                  </a:lnTo>
                  <a:lnTo>
                    <a:pt x="12943" y="353"/>
                  </a:lnTo>
                  <a:lnTo>
                    <a:pt x="12707" y="118"/>
                  </a:lnTo>
                  <a:lnTo>
                    <a:pt x="12472" y="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00" name="Google Shape;1400;p16"/>
            <p:cNvSpPr/>
            <p:nvPr/>
          </p:nvSpPr>
          <p:spPr>
            <a:xfrm>
              <a:off x="5498375" y="4617950"/>
              <a:ext cx="5900" cy="23550"/>
            </a:xfrm>
            <a:custGeom>
              <a:avLst/>
              <a:gdLst/>
              <a:ahLst/>
              <a:cxnLst/>
              <a:rect l="l" t="t" r="r" b="b"/>
              <a:pathLst>
                <a:path w="236" h="942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236" y="942"/>
                  </a:lnTo>
                  <a:lnTo>
                    <a:pt x="236" y="942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01" name="Google Shape;1401;p16"/>
            <p:cNvSpPr/>
            <p:nvPr/>
          </p:nvSpPr>
          <p:spPr>
            <a:xfrm>
              <a:off x="5498375" y="4617950"/>
              <a:ext cx="5900" cy="23550"/>
            </a:xfrm>
            <a:custGeom>
              <a:avLst/>
              <a:gdLst/>
              <a:ahLst/>
              <a:cxnLst/>
              <a:rect l="l" t="t" r="r" b="b"/>
              <a:pathLst>
                <a:path w="236" h="942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236" y="942"/>
                  </a:lnTo>
                  <a:lnTo>
                    <a:pt x="236" y="942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02" name="Google Shape;1402;p16"/>
            <p:cNvSpPr/>
            <p:nvPr/>
          </p:nvSpPr>
          <p:spPr>
            <a:xfrm>
              <a:off x="5498375" y="4591475"/>
              <a:ext cx="179450" cy="55925"/>
            </a:xfrm>
            <a:custGeom>
              <a:avLst/>
              <a:gdLst/>
              <a:ahLst/>
              <a:cxnLst/>
              <a:rect l="l" t="t" r="r" b="b"/>
              <a:pathLst>
                <a:path w="7178" h="2237" extrusionOk="0">
                  <a:moveTo>
                    <a:pt x="7178" y="1"/>
                  </a:moveTo>
                  <a:lnTo>
                    <a:pt x="5530" y="471"/>
                  </a:lnTo>
                  <a:lnTo>
                    <a:pt x="3648" y="707"/>
                  </a:lnTo>
                  <a:lnTo>
                    <a:pt x="1765" y="942"/>
                  </a:lnTo>
                  <a:lnTo>
                    <a:pt x="0" y="1060"/>
                  </a:lnTo>
                  <a:lnTo>
                    <a:pt x="236" y="2001"/>
                  </a:lnTo>
                  <a:lnTo>
                    <a:pt x="236" y="2236"/>
                  </a:lnTo>
                  <a:lnTo>
                    <a:pt x="1648" y="2119"/>
                  </a:lnTo>
                  <a:lnTo>
                    <a:pt x="3530" y="2001"/>
                  </a:lnTo>
                  <a:lnTo>
                    <a:pt x="5413" y="1766"/>
                  </a:lnTo>
                  <a:lnTo>
                    <a:pt x="6354" y="1530"/>
                  </a:lnTo>
                  <a:lnTo>
                    <a:pt x="7178" y="1177"/>
                  </a:lnTo>
                  <a:lnTo>
                    <a:pt x="7178" y="1"/>
                  </a:lnTo>
                  <a:close/>
                </a:path>
              </a:pathLst>
            </a:custGeom>
            <a:solidFill>
              <a:srgbClr val="F6B2B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03" name="Google Shape;1403;p16"/>
            <p:cNvSpPr/>
            <p:nvPr/>
          </p:nvSpPr>
          <p:spPr>
            <a:xfrm>
              <a:off x="5498375" y="4591475"/>
              <a:ext cx="179450" cy="55925"/>
            </a:xfrm>
            <a:custGeom>
              <a:avLst/>
              <a:gdLst/>
              <a:ahLst/>
              <a:cxnLst/>
              <a:rect l="l" t="t" r="r" b="b"/>
              <a:pathLst>
                <a:path w="7178" h="2237" fill="none" extrusionOk="0">
                  <a:moveTo>
                    <a:pt x="7178" y="1"/>
                  </a:moveTo>
                  <a:lnTo>
                    <a:pt x="7178" y="1"/>
                  </a:lnTo>
                  <a:lnTo>
                    <a:pt x="5530" y="471"/>
                  </a:lnTo>
                  <a:lnTo>
                    <a:pt x="3648" y="707"/>
                  </a:lnTo>
                  <a:lnTo>
                    <a:pt x="1765" y="942"/>
                  </a:lnTo>
                  <a:lnTo>
                    <a:pt x="0" y="1060"/>
                  </a:lnTo>
                  <a:lnTo>
                    <a:pt x="0" y="1060"/>
                  </a:lnTo>
                  <a:lnTo>
                    <a:pt x="236" y="2001"/>
                  </a:lnTo>
                  <a:lnTo>
                    <a:pt x="236" y="2001"/>
                  </a:lnTo>
                  <a:lnTo>
                    <a:pt x="236" y="2236"/>
                  </a:lnTo>
                  <a:lnTo>
                    <a:pt x="236" y="2236"/>
                  </a:lnTo>
                  <a:lnTo>
                    <a:pt x="1648" y="2119"/>
                  </a:lnTo>
                  <a:lnTo>
                    <a:pt x="3530" y="2001"/>
                  </a:lnTo>
                  <a:lnTo>
                    <a:pt x="5413" y="1766"/>
                  </a:lnTo>
                  <a:lnTo>
                    <a:pt x="6354" y="1530"/>
                  </a:lnTo>
                  <a:lnTo>
                    <a:pt x="7178" y="1177"/>
                  </a:lnTo>
                  <a:lnTo>
                    <a:pt x="7178" y="1177"/>
                  </a:lnTo>
                  <a:lnTo>
                    <a:pt x="7178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04" name="Google Shape;1404;p16"/>
            <p:cNvSpPr/>
            <p:nvPr/>
          </p:nvSpPr>
          <p:spPr>
            <a:xfrm>
              <a:off x="5398375" y="4597375"/>
              <a:ext cx="5900" cy="41200"/>
            </a:xfrm>
            <a:custGeom>
              <a:avLst/>
              <a:gdLst/>
              <a:ahLst/>
              <a:cxnLst/>
              <a:rect l="l" t="t" r="r" b="b"/>
              <a:pathLst>
                <a:path w="236" h="1648" extrusionOk="0">
                  <a:moveTo>
                    <a:pt x="235" y="0"/>
                  </a:moveTo>
                  <a:lnTo>
                    <a:pt x="235" y="0"/>
                  </a:lnTo>
                  <a:lnTo>
                    <a:pt x="0" y="1647"/>
                  </a:lnTo>
                  <a:lnTo>
                    <a:pt x="0" y="1647"/>
                  </a:lnTo>
                  <a:lnTo>
                    <a:pt x="235" y="0"/>
                  </a:lnTo>
                  <a:lnTo>
                    <a:pt x="23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05" name="Google Shape;1405;p16"/>
            <p:cNvSpPr/>
            <p:nvPr/>
          </p:nvSpPr>
          <p:spPr>
            <a:xfrm>
              <a:off x="5398375" y="4597375"/>
              <a:ext cx="5900" cy="41200"/>
            </a:xfrm>
            <a:custGeom>
              <a:avLst/>
              <a:gdLst/>
              <a:ahLst/>
              <a:cxnLst/>
              <a:rect l="l" t="t" r="r" b="b"/>
              <a:pathLst>
                <a:path w="236" h="1648" fill="none" extrusionOk="0">
                  <a:moveTo>
                    <a:pt x="235" y="0"/>
                  </a:moveTo>
                  <a:lnTo>
                    <a:pt x="235" y="0"/>
                  </a:lnTo>
                  <a:lnTo>
                    <a:pt x="0" y="1647"/>
                  </a:lnTo>
                  <a:lnTo>
                    <a:pt x="0" y="1647"/>
                  </a:lnTo>
                  <a:lnTo>
                    <a:pt x="235" y="0"/>
                  </a:lnTo>
                  <a:lnTo>
                    <a:pt x="2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06" name="Google Shape;1406;p16"/>
            <p:cNvSpPr/>
            <p:nvPr/>
          </p:nvSpPr>
          <p:spPr>
            <a:xfrm>
              <a:off x="5233650" y="4573825"/>
              <a:ext cx="170625" cy="64750"/>
            </a:xfrm>
            <a:custGeom>
              <a:avLst/>
              <a:gdLst/>
              <a:ahLst/>
              <a:cxnLst/>
              <a:rect l="l" t="t" r="r" b="b"/>
              <a:pathLst>
                <a:path w="6825" h="2590" extrusionOk="0">
                  <a:moveTo>
                    <a:pt x="2942" y="1"/>
                  </a:moveTo>
                  <a:lnTo>
                    <a:pt x="1647" y="118"/>
                  </a:lnTo>
                  <a:lnTo>
                    <a:pt x="118" y="471"/>
                  </a:lnTo>
                  <a:lnTo>
                    <a:pt x="0" y="2472"/>
                  </a:lnTo>
                  <a:lnTo>
                    <a:pt x="1765" y="2236"/>
                  </a:lnTo>
                  <a:lnTo>
                    <a:pt x="3648" y="2119"/>
                  </a:lnTo>
                  <a:lnTo>
                    <a:pt x="5177" y="2236"/>
                  </a:lnTo>
                  <a:lnTo>
                    <a:pt x="5883" y="2354"/>
                  </a:lnTo>
                  <a:lnTo>
                    <a:pt x="6589" y="2589"/>
                  </a:lnTo>
                  <a:lnTo>
                    <a:pt x="6824" y="942"/>
                  </a:lnTo>
                  <a:lnTo>
                    <a:pt x="6001" y="589"/>
                  </a:lnTo>
                  <a:lnTo>
                    <a:pt x="5059" y="236"/>
                  </a:lnTo>
                  <a:lnTo>
                    <a:pt x="4001" y="118"/>
                  </a:lnTo>
                  <a:lnTo>
                    <a:pt x="2942" y="1"/>
                  </a:lnTo>
                  <a:close/>
                </a:path>
              </a:pathLst>
            </a:custGeom>
            <a:solidFill>
              <a:srgbClr val="F6B2B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07" name="Google Shape;1407;p16"/>
            <p:cNvSpPr/>
            <p:nvPr/>
          </p:nvSpPr>
          <p:spPr>
            <a:xfrm>
              <a:off x="5233650" y="4573825"/>
              <a:ext cx="170625" cy="64750"/>
            </a:xfrm>
            <a:custGeom>
              <a:avLst/>
              <a:gdLst/>
              <a:ahLst/>
              <a:cxnLst/>
              <a:rect l="l" t="t" r="r" b="b"/>
              <a:pathLst>
                <a:path w="6825" h="2590" fill="none" extrusionOk="0">
                  <a:moveTo>
                    <a:pt x="2942" y="1"/>
                  </a:moveTo>
                  <a:lnTo>
                    <a:pt x="2942" y="1"/>
                  </a:lnTo>
                  <a:lnTo>
                    <a:pt x="1647" y="118"/>
                  </a:lnTo>
                  <a:lnTo>
                    <a:pt x="118" y="471"/>
                  </a:lnTo>
                  <a:lnTo>
                    <a:pt x="118" y="471"/>
                  </a:lnTo>
                  <a:lnTo>
                    <a:pt x="0" y="2472"/>
                  </a:lnTo>
                  <a:lnTo>
                    <a:pt x="0" y="2472"/>
                  </a:lnTo>
                  <a:lnTo>
                    <a:pt x="1765" y="2236"/>
                  </a:lnTo>
                  <a:lnTo>
                    <a:pt x="3648" y="2119"/>
                  </a:lnTo>
                  <a:lnTo>
                    <a:pt x="3648" y="2119"/>
                  </a:lnTo>
                  <a:lnTo>
                    <a:pt x="5177" y="2236"/>
                  </a:lnTo>
                  <a:lnTo>
                    <a:pt x="5883" y="2354"/>
                  </a:lnTo>
                  <a:lnTo>
                    <a:pt x="6589" y="2589"/>
                  </a:lnTo>
                  <a:lnTo>
                    <a:pt x="6589" y="2589"/>
                  </a:lnTo>
                  <a:lnTo>
                    <a:pt x="6589" y="2589"/>
                  </a:lnTo>
                  <a:lnTo>
                    <a:pt x="6589" y="2589"/>
                  </a:lnTo>
                  <a:lnTo>
                    <a:pt x="6824" y="942"/>
                  </a:lnTo>
                  <a:lnTo>
                    <a:pt x="6824" y="942"/>
                  </a:lnTo>
                  <a:lnTo>
                    <a:pt x="6001" y="589"/>
                  </a:lnTo>
                  <a:lnTo>
                    <a:pt x="5059" y="236"/>
                  </a:lnTo>
                  <a:lnTo>
                    <a:pt x="4001" y="118"/>
                  </a:lnTo>
                  <a:lnTo>
                    <a:pt x="294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08" name="Google Shape;1408;p16"/>
            <p:cNvSpPr/>
            <p:nvPr/>
          </p:nvSpPr>
          <p:spPr>
            <a:xfrm>
              <a:off x="5157175" y="3609025"/>
              <a:ext cx="847150" cy="1008950"/>
            </a:xfrm>
            <a:custGeom>
              <a:avLst/>
              <a:gdLst/>
              <a:ahLst/>
              <a:cxnLst/>
              <a:rect l="l" t="t" r="r" b="b"/>
              <a:pathLst>
                <a:path w="33886" h="40358" extrusionOk="0">
                  <a:moveTo>
                    <a:pt x="13178" y="1"/>
                  </a:moveTo>
                  <a:lnTo>
                    <a:pt x="12119" y="118"/>
                  </a:lnTo>
                  <a:lnTo>
                    <a:pt x="10119" y="471"/>
                  </a:lnTo>
                  <a:lnTo>
                    <a:pt x="8471" y="942"/>
                  </a:lnTo>
                  <a:lnTo>
                    <a:pt x="7060" y="1530"/>
                  </a:lnTo>
                  <a:lnTo>
                    <a:pt x="5883" y="2119"/>
                  </a:lnTo>
                  <a:lnTo>
                    <a:pt x="5530" y="3060"/>
                  </a:lnTo>
                  <a:lnTo>
                    <a:pt x="4942" y="4472"/>
                  </a:lnTo>
                  <a:lnTo>
                    <a:pt x="4353" y="6237"/>
                  </a:lnTo>
                  <a:lnTo>
                    <a:pt x="3294" y="10825"/>
                  </a:lnTo>
                  <a:lnTo>
                    <a:pt x="2236" y="16238"/>
                  </a:lnTo>
                  <a:lnTo>
                    <a:pt x="1294" y="22003"/>
                  </a:lnTo>
                  <a:lnTo>
                    <a:pt x="588" y="27651"/>
                  </a:lnTo>
                  <a:lnTo>
                    <a:pt x="118" y="32945"/>
                  </a:lnTo>
                  <a:lnTo>
                    <a:pt x="0" y="35298"/>
                  </a:lnTo>
                  <a:lnTo>
                    <a:pt x="0" y="37299"/>
                  </a:lnTo>
                  <a:lnTo>
                    <a:pt x="118" y="38946"/>
                  </a:lnTo>
                  <a:lnTo>
                    <a:pt x="353" y="40240"/>
                  </a:lnTo>
                  <a:lnTo>
                    <a:pt x="1412" y="39652"/>
                  </a:lnTo>
                  <a:lnTo>
                    <a:pt x="2471" y="39299"/>
                  </a:lnTo>
                  <a:lnTo>
                    <a:pt x="3530" y="38946"/>
                  </a:lnTo>
                  <a:lnTo>
                    <a:pt x="4353" y="38710"/>
                  </a:lnTo>
                  <a:lnTo>
                    <a:pt x="5177" y="38593"/>
                  </a:lnTo>
                  <a:lnTo>
                    <a:pt x="6001" y="38593"/>
                  </a:lnTo>
                  <a:lnTo>
                    <a:pt x="7413" y="38710"/>
                  </a:lnTo>
                  <a:lnTo>
                    <a:pt x="8589" y="39063"/>
                  </a:lnTo>
                  <a:lnTo>
                    <a:pt x="9648" y="39416"/>
                  </a:lnTo>
                  <a:lnTo>
                    <a:pt x="10707" y="39887"/>
                  </a:lnTo>
                  <a:lnTo>
                    <a:pt x="11648" y="40122"/>
                  </a:lnTo>
                  <a:lnTo>
                    <a:pt x="12589" y="40358"/>
                  </a:lnTo>
                  <a:lnTo>
                    <a:pt x="14943" y="40358"/>
                  </a:lnTo>
                  <a:lnTo>
                    <a:pt x="16237" y="40122"/>
                  </a:lnTo>
                  <a:lnTo>
                    <a:pt x="18943" y="39769"/>
                  </a:lnTo>
                  <a:lnTo>
                    <a:pt x="21414" y="39181"/>
                  </a:lnTo>
                  <a:lnTo>
                    <a:pt x="22473" y="38828"/>
                  </a:lnTo>
                  <a:lnTo>
                    <a:pt x="23296" y="38593"/>
                  </a:lnTo>
                  <a:lnTo>
                    <a:pt x="24120" y="38240"/>
                  </a:lnTo>
                  <a:lnTo>
                    <a:pt x="25179" y="38122"/>
                  </a:lnTo>
                  <a:lnTo>
                    <a:pt x="27650" y="38005"/>
                  </a:lnTo>
                  <a:lnTo>
                    <a:pt x="29532" y="38005"/>
                  </a:lnTo>
                  <a:lnTo>
                    <a:pt x="31297" y="37887"/>
                  </a:lnTo>
                  <a:lnTo>
                    <a:pt x="32003" y="37769"/>
                  </a:lnTo>
                  <a:lnTo>
                    <a:pt x="32827" y="37534"/>
                  </a:lnTo>
                  <a:lnTo>
                    <a:pt x="33415" y="37181"/>
                  </a:lnTo>
                  <a:lnTo>
                    <a:pt x="33886" y="36710"/>
                  </a:lnTo>
                  <a:lnTo>
                    <a:pt x="32003" y="34239"/>
                  </a:lnTo>
                  <a:lnTo>
                    <a:pt x="30474" y="31886"/>
                  </a:lnTo>
                  <a:lnTo>
                    <a:pt x="29297" y="29533"/>
                  </a:lnTo>
                  <a:lnTo>
                    <a:pt x="28238" y="27298"/>
                  </a:lnTo>
                  <a:lnTo>
                    <a:pt x="27532" y="25180"/>
                  </a:lnTo>
                  <a:lnTo>
                    <a:pt x="26944" y="22944"/>
                  </a:lnTo>
                  <a:lnTo>
                    <a:pt x="26473" y="20944"/>
                  </a:lnTo>
                  <a:lnTo>
                    <a:pt x="26120" y="18826"/>
                  </a:lnTo>
                  <a:lnTo>
                    <a:pt x="25414" y="14826"/>
                  </a:lnTo>
                  <a:lnTo>
                    <a:pt x="25179" y="12826"/>
                  </a:lnTo>
                  <a:lnTo>
                    <a:pt x="24708" y="10943"/>
                  </a:lnTo>
                  <a:lnTo>
                    <a:pt x="24238" y="9060"/>
                  </a:lnTo>
                  <a:lnTo>
                    <a:pt x="23649" y="7178"/>
                  </a:lnTo>
                  <a:lnTo>
                    <a:pt x="22826" y="5295"/>
                  </a:lnTo>
                  <a:lnTo>
                    <a:pt x="21767" y="3413"/>
                  </a:lnTo>
                  <a:lnTo>
                    <a:pt x="21767" y="3295"/>
                  </a:lnTo>
                  <a:lnTo>
                    <a:pt x="21061" y="2707"/>
                  </a:lnTo>
                  <a:lnTo>
                    <a:pt x="20355" y="2119"/>
                  </a:lnTo>
                  <a:lnTo>
                    <a:pt x="19531" y="1530"/>
                  </a:lnTo>
                  <a:lnTo>
                    <a:pt x="18825" y="1177"/>
                  </a:lnTo>
                  <a:lnTo>
                    <a:pt x="17649" y="589"/>
                  </a:lnTo>
                  <a:lnTo>
                    <a:pt x="16590" y="236"/>
                  </a:lnTo>
                  <a:lnTo>
                    <a:pt x="15413" y="118"/>
                  </a:lnTo>
                  <a:lnTo>
                    <a:pt x="14237" y="1"/>
                  </a:lnTo>
                  <a:close/>
                </a:path>
              </a:pathLst>
            </a:custGeom>
            <a:solidFill>
              <a:srgbClr val="E83C3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09" name="Google Shape;1409;p16"/>
            <p:cNvSpPr/>
            <p:nvPr/>
          </p:nvSpPr>
          <p:spPr>
            <a:xfrm>
              <a:off x="5157175" y="3609025"/>
              <a:ext cx="847150" cy="1008950"/>
            </a:xfrm>
            <a:custGeom>
              <a:avLst/>
              <a:gdLst/>
              <a:ahLst/>
              <a:cxnLst/>
              <a:rect l="l" t="t" r="r" b="b"/>
              <a:pathLst>
                <a:path w="33886" h="40358" fill="none" extrusionOk="0">
                  <a:moveTo>
                    <a:pt x="33886" y="36710"/>
                  </a:moveTo>
                  <a:lnTo>
                    <a:pt x="33886" y="36710"/>
                  </a:lnTo>
                  <a:lnTo>
                    <a:pt x="33415" y="37181"/>
                  </a:lnTo>
                  <a:lnTo>
                    <a:pt x="32827" y="37534"/>
                  </a:lnTo>
                  <a:lnTo>
                    <a:pt x="32003" y="37769"/>
                  </a:lnTo>
                  <a:lnTo>
                    <a:pt x="31297" y="37887"/>
                  </a:lnTo>
                  <a:lnTo>
                    <a:pt x="29532" y="38005"/>
                  </a:lnTo>
                  <a:lnTo>
                    <a:pt x="27650" y="38005"/>
                  </a:lnTo>
                  <a:lnTo>
                    <a:pt x="27650" y="38005"/>
                  </a:lnTo>
                  <a:lnTo>
                    <a:pt x="25179" y="38122"/>
                  </a:lnTo>
                  <a:lnTo>
                    <a:pt x="24120" y="38240"/>
                  </a:lnTo>
                  <a:lnTo>
                    <a:pt x="23296" y="38593"/>
                  </a:lnTo>
                  <a:lnTo>
                    <a:pt x="23296" y="38593"/>
                  </a:lnTo>
                  <a:lnTo>
                    <a:pt x="22473" y="38828"/>
                  </a:lnTo>
                  <a:lnTo>
                    <a:pt x="21414" y="39181"/>
                  </a:lnTo>
                  <a:lnTo>
                    <a:pt x="21414" y="39181"/>
                  </a:lnTo>
                  <a:lnTo>
                    <a:pt x="18943" y="39769"/>
                  </a:lnTo>
                  <a:lnTo>
                    <a:pt x="16237" y="40122"/>
                  </a:lnTo>
                  <a:lnTo>
                    <a:pt x="14943" y="40358"/>
                  </a:lnTo>
                  <a:lnTo>
                    <a:pt x="13648" y="40358"/>
                  </a:lnTo>
                  <a:lnTo>
                    <a:pt x="12589" y="40358"/>
                  </a:lnTo>
                  <a:lnTo>
                    <a:pt x="11648" y="40122"/>
                  </a:lnTo>
                  <a:lnTo>
                    <a:pt x="11648" y="40122"/>
                  </a:lnTo>
                  <a:lnTo>
                    <a:pt x="10707" y="39887"/>
                  </a:lnTo>
                  <a:lnTo>
                    <a:pt x="9648" y="39416"/>
                  </a:lnTo>
                  <a:lnTo>
                    <a:pt x="8589" y="39063"/>
                  </a:lnTo>
                  <a:lnTo>
                    <a:pt x="7413" y="38710"/>
                  </a:lnTo>
                  <a:lnTo>
                    <a:pt x="6001" y="38593"/>
                  </a:lnTo>
                  <a:lnTo>
                    <a:pt x="5177" y="38593"/>
                  </a:lnTo>
                  <a:lnTo>
                    <a:pt x="4353" y="38710"/>
                  </a:lnTo>
                  <a:lnTo>
                    <a:pt x="3530" y="38946"/>
                  </a:lnTo>
                  <a:lnTo>
                    <a:pt x="2471" y="39299"/>
                  </a:lnTo>
                  <a:lnTo>
                    <a:pt x="1412" y="39652"/>
                  </a:lnTo>
                  <a:lnTo>
                    <a:pt x="353" y="40240"/>
                  </a:lnTo>
                  <a:lnTo>
                    <a:pt x="353" y="40240"/>
                  </a:lnTo>
                  <a:lnTo>
                    <a:pt x="118" y="38946"/>
                  </a:lnTo>
                  <a:lnTo>
                    <a:pt x="0" y="37299"/>
                  </a:lnTo>
                  <a:lnTo>
                    <a:pt x="0" y="35298"/>
                  </a:lnTo>
                  <a:lnTo>
                    <a:pt x="118" y="32945"/>
                  </a:lnTo>
                  <a:lnTo>
                    <a:pt x="588" y="27651"/>
                  </a:lnTo>
                  <a:lnTo>
                    <a:pt x="1294" y="22003"/>
                  </a:lnTo>
                  <a:lnTo>
                    <a:pt x="2236" y="16238"/>
                  </a:lnTo>
                  <a:lnTo>
                    <a:pt x="3294" y="10825"/>
                  </a:lnTo>
                  <a:lnTo>
                    <a:pt x="4353" y="6237"/>
                  </a:lnTo>
                  <a:lnTo>
                    <a:pt x="4942" y="4472"/>
                  </a:lnTo>
                  <a:lnTo>
                    <a:pt x="5530" y="3060"/>
                  </a:lnTo>
                  <a:lnTo>
                    <a:pt x="5530" y="3060"/>
                  </a:lnTo>
                  <a:lnTo>
                    <a:pt x="5530" y="3060"/>
                  </a:lnTo>
                  <a:lnTo>
                    <a:pt x="5883" y="2119"/>
                  </a:lnTo>
                  <a:lnTo>
                    <a:pt x="5883" y="2119"/>
                  </a:lnTo>
                  <a:lnTo>
                    <a:pt x="7060" y="1530"/>
                  </a:lnTo>
                  <a:lnTo>
                    <a:pt x="8471" y="942"/>
                  </a:lnTo>
                  <a:lnTo>
                    <a:pt x="10119" y="471"/>
                  </a:lnTo>
                  <a:lnTo>
                    <a:pt x="12119" y="118"/>
                  </a:lnTo>
                  <a:lnTo>
                    <a:pt x="13178" y="1"/>
                  </a:lnTo>
                  <a:lnTo>
                    <a:pt x="14237" y="1"/>
                  </a:lnTo>
                  <a:lnTo>
                    <a:pt x="15413" y="118"/>
                  </a:lnTo>
                  <a:lnTo>
                    <a:pt x="16590" y="236"/>
                  </a:lnTo>
                  <a:lnTo>
                    <a:pt x="17649" y="589"/>
                  </a:lnTo>
                  <a:lnTo>
                    <a:pt x="18825" y="1177"/>
                  </a:lnTo>
                  <a:lnTo>
                    <a:pt x="18825" y="1177"/>
                  </a:lnTo>
                  <a:lnTo>
                    <a:pt x="19531" y="1530"/>
                  </a:lnTo>
                  <a:lnTo>
                    <a:pt x="20355" y="2119"/>
                  </a:lnTo>
                  <a:lnTo>
                    <a:pt x="21061" y="2707"/>
                  </a:lnTo>
                  <a:lnTo>
                    <a:pt x="21767" y="3295"/>
                  </a:lnTo>
                  <a:lnTo>
                    <a:pt x="21767" y="3413"/>
                  </a:lnTo>
                  <a:lnTo>
                    <a:pt x="21767" y="3413"/>
                  </a:lnTo>
                  <a:lnTo>
                    <a:pt x="22826" y="5295"/>
                  </a:lnTo>
                  <a:lnTo>
                    <a:pt x="23649" y="7178"/>
                  </a:lnTo>
                  <a:lnTo>
                    <a:pt x="24238" y="9060"/>
                  </a:lnTo>
                  <a:lnTo>
                    <a:pt x="24708" y="10943"/>
                  </a:lnTo>
                  <a:lnTo>
                    <a:pt x="25179" y="12826"/>
                  </a:lnTo>
                  <a:lnTo>
                    <a:pt x="25414" y="14826"/>
                  </a:lnTo>
                  <a:lnTo>
                    <a:pt x="26120" y="18826"/>
                  </a:lnTo>
                  <a:lnTo>
                    <a:pt x="26473" y="20944"/>
                  </a:lnTo>
                  <a:lnTo>
                    <a:pt x="26944" y="22944"/>
                  </a:lnTo>
                  <a:lnTo>
                    <a:pt x="27532" y="25180"/>
                  </a:lnTo>
                  <a:lnTo>
                    <a:pt x="28238" y="27298"/>
                  </a:lnTo>
                  <a:lnTo>
                    <a:pt x="29297" y="29533"/>
                  </a:lnTo>
                  <a:lnTo>
                    <a:pt x="30474" y="31886"/>
                  </a:lnTo>
                  <a:lnTo>
                    <a:pt x="32003" y="34239"/>
                  </a:lnTo>
                  <a:lnTo>
                    <a:pt x="33886" y="3671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10" name="Google Shape;1410;p16"/>
            <p:cNvSpPr/>
            <p:nvPr/>
          </p:nvSpPr>
          <p:spPr>
            <a:xfrm>
              <a:off x="5065975" y="2741300"/>
              <a:ext cx="658925" cy="979525"/>
            </a:xfrm>
            <a:custGeom>
              <a:avLst/>
              <a:gdLst/>
              <a:ahLst/>
              <a:cxnLst/>
              <a:rect l="l" t="t" r="r" b="b"/>
              <a:pathLst>
                <a:path w="26357" h="39181" extrusionOk="0">
                  <a:moveTo>
                    <a:pt x="942" y="0"/>
                  </a:moveTo>
                  <a:lnTo>
                    <a:pt x="589" y="2471"/>
                  </a:lnTo>
                  <a:lnTo>
                    <a:pt x="236" y="8001"/>
                  </a:lnTo>
                  <a:lnTo>
                    <a:pt x="1" y="10943"/>
                  </a:lnTo>
                  <a:lnTo>
                    <a:pt x="1" y="13649"/>
                  </a:lnTo>
                  <a:lnTo>
                    <a:pt x="1" y="14825"/>
                  </a:lnTo>
                  <a:lnTo>
                    <a:pt x="118" y="15767"/>
                  </a:lnTo>
                  <a:lnTo>
                    <a:pt x="354" y="16473"/>
                  </a:lnTo>
                  <a:lnTo>
                    <a:pt x="589" y="16826"/>
                  </a:lnTo>
                  <a:lnTo>
                    <a:pt x="1295" y="17414"/>
                  </a:lnTo>
                  <a:lnTo>
                    <a:pt x="2471" y="18002"/>
                  </a:lnTo>
                  <a:lnTo>
                    <a:pt x="4001" y="18708"/>
                  </a:lnTo>
                  <a:lnTo>
                    <a:pt x="5531" y="19297"/>
                  </a:lnTo>
                  <a:lnTo>
                    <a:pt x="7178" y="19767"/>
                  </a:lnTo>
                  <a:lnTo>
                    <a:pt x="8707" y="20120"/>
                  </a:lnTo>
                  <a:lnTo>
                    <a:pt x="9884" y="20238"/>
                  </a:lnTo>
                  <a:lnTo>
                    <a:pt x="10472" y="20120"/>
                  </a:lnTo>
                  <a:lnTo>
                    <a:pt x="10825" y="20002"/>
                  </a:lnTo>
                  <a:lnTo>
                    <a:pt x="10943" y="20002"/>
                  </a:lnTo>
                  <a:lnTo>
                    <a:pt x="10825" y="20238"/>
                  </a:lnTo>
                  <a:lnTo>
                    <a:pt x="10119" y="21061"/>
                  </a:lnTo>
                  <a:lnTo>
                    <a:pt x="9413" y="22238"/>
                  </a:lnTo>
                  <a:lnTo>
                    <a:pt x="9178" y="22826"/>
                  </a:lnTo>
                  <a:lnTo>
                    <a:pt x="9178" y="23297"/>
                  </a:lnTo>
                  <a:lnTo>
                    <a:pt x="9296" y="23650"/>
                  </a:lnTo>
                  <a:lnTo>
                    <a:pt x="9766" y="24003"/>
                  </a:lnTo>
                  <a:lnTo>
                    <a:pt x="10708" y="24709"/>
                  </a:lnTo>
                  <a:lnTo>
                    <a:pt x="11178" y="25179"/>
                  </a:lnTo>
                  <a:lnTo>
                    <a:pt x="11649" y="25532"/>
                  </a:lnTo>
                  <a:lnTo>
                    <a:pt x="12002" y="26003"/>
                  </a:lnTo>
                  <a:lnTo>
                    <a:pt x="12119" y="26474"/>
                  </a:lnTo>
                  <a:lnTo>
                    <a:pt x="12002" y="27297"/>
                  </a:lnTo>
                  <a:lnTo>
                    <a:pt x="11755" y="28203"/>
                  </a:lnTo>
                  <a:lnTo>
                    <a:pt x="11755" y="28203"/>
                  </a:lnTo>
                  <a:lnTo>
                    <a:pt x="11296" y="28356"/>
                  </a:lnTo>
                  <a:lnTo>
                    <a:pt x="6707" y="29768"/>
                  </a:lnTo>
                  <a:lnTo>
                    <a:pt x="3648" y="30474"/>
                  </a:lnTo>
                  <a:lnTo>
                    <a:pt x="1765" y="31062"/>
                  </a:lnTo>
                  <a:lnTo>
                    <a:pt x="1060" y="31298"/>
                  </a:lnTo>
                  <a:lnTo>
                    <a:pt x="824" y="31415"/>
                  </a:lnTo>
                  <a:lnTo>
                    <a:pt x="707" y="31768"/>
                  </a:lnTo>
                  <a:lnTo>
                    <a:pt x="707" y="32239"/>
                  </a:lnTo>
                  <a:lnTo>
                    <a:pt x="942" y="33769"/>
                  </a:lnTo>
                  <a:lnTo>
                    <a:pt x="1295" y="35063"/>
                  </a:lnTo>
                  <a:lnTo>
                    <a:pt x="1413" y="35533"/>
                  </a:lnTo>
                  <a:lnTo>
                    <a:pt x="1530" y="35651"/>
                  </a:lnTo>
                  <a:lnTo>
                    <a:pt x="2707" y="35180"/>
                  </a:lnTo>
                  <a:lnTo>
                    <a:pt x="5295" y="34357"/>
                  </a:lnTo>
                  <a:lnTo>
                    <a:pt x="10328" y="32731"/>
                  </a:lnTo>
                  <a:lnTo>
                    <a:pt x="10328" y="32731"/>
                  </a:lnTo>
                  <a:lnTo>
                    <a:pt x="9531" y="35298"/>
                  </a:lnTo>
                  <a:lnTo>
                    <a:pt x="9178" y="36710"/>
                  </a:lnTo>
                  <a:lnTo>
                    <a:pt x="9060" y="37298"/>
                  </a:lnTo>
                  <a:lnTo>
                    <a:pt x="9178" y="37769"/>
                  </a:lnTo>
                  <a:lnTo>
                    <a:pt x="9296" y="38122"/>
                  </a:lnTo>
                  <a:lnTo>
                    <a:pt x="9766" y="38357"/>
                  </a:lnTo>
                  <a:lnTo>
                    <a:pt x="10590" y="38593"/>
                  </a:lnTo>
                  <a:lnTo>
                    <a:pt x="13296" y="38945"/>
                  </a:lnTo>
                  <a:lnTo>
                    <a:pt x="16826" y="39181"/>
                  </a:lnTo>
                  <a:lnTo>
                    <a:pt x="22473" y="39181"/>
                  </a:lnTo>
                  <a:lnTo>
                    <a:pt x="24238" y="38945"/>
                  </a:lnTo>
                  <a:lnTo>
                    <a:pt x="24827" y="38828"/>
                  </a:lnTo>
                  <a:lnTo>
                    <a:pt x="25180" y="38593"/>
                  </a:lnTo>
                  <a:lnTo>
                    <a:pt x="25415" y="38357"/>
                  </a:lnTo>
                  <a:lnTo>
                    <a:pt x="25415" y="38122"/>
                  </a:lnTo>
                  <a:lnTo>
                    <a:pt x="25415" y="38004"/>
                  </a:lnTo>
                  <a:lnTo>
                    <a:pt x="24591" y="36710"/>
                  </a:lnTo>
                  <a:lnTo>
                    <a:pt x="23885" y="35063"/>
                  </a:lnTo>
                  <a:lnTo>
                    <a:pt x="23415" y="33298"/>
                  </a:lnTo>
                  <a:lnTo>
                    <a:pt x="23179" y="31415"/>
                  </a:lnTo>
                  <a:lnTo>
                    <a:pt x="22944" y="29297"/>
                  </a:lnTo>
                  <a:lnTo>
                    <a:pt x="22944" y="28003"/>
                  </a:lnTo>
                  <a:lnTo>
                    <a:pt x="22944" y="27944"/>
                  </a:lnTo>
                  <a:lnTo>
                    <a:pt x="23297" y="27768"/>
                  </a:lnTo>
                  <a:lnTo>
                    <a:pt x="24121" y="27180"/>
                  </a:lnTo>
                  <a:lnTo>
                    <a:pt x="24356" y="26944"/>
                  </a:lnTo>
                  <a:lnTo>
                    <a:pt x="24474" y="26709"/>
                  </a:lnTo>
                  <a:lnTo>
                    <a:pt x="25415" y="23297"/>
                  </a:lnTo>
                  <a:lnTo>
                    <a:pt x="25885" y="21650"/>
                  </a:lnTo>
                  <a:lnTo>
                    <a:pt x="26121" y="20002"/>
                  </a:lnTo>
                  <a:lnTo>
                    <a:pt x="26356" y="18591"/>
                  </a:lnTo>
                  <a:lnTo>
                    <a:pt x="26356" y="17296"/>
                  </a:lnTo>
                  <a:lnTo>
                    <a:pt x="26238" y="16355"/>
                  </a:lnTo>
                  <a:lnTo>
                    <a:pt x="26121" y="15884"/>
                  </a:lnTo>
                  <a:lnTo>
                    <a:pt x="26003" y="15649"/>
                  </a:lnTo>
                  <a:lnTo>
                    <a:pt x="25532" y="15061"/>
                  </a:lnTo>
                  <a:lnTo>
                    <a:pt x="24827" y="14472"/>
                  </a:lnTo>
                  <a:lnTo>
                    <a:pt x="23179" y="13178"/>
                  </a:lnTo>
                  <a:lnTo>
                    <a:pt x="21414" y="12119"/>
                  </a:lnTo>
                  <a:lnTo>
                    <a:pt x="20708" y="11766"/>
                  </a:lnTo>
                  <a:lnTo>
                    <a:pt x="20120" y="11531"/>
                  </a:lnTo>
                  <a:lnTo>
                    <a:pt x="18826" y="11531"/>
                  </a:lnTo>
                  <a:lnTo>
                    <a:pt x="17532" y="11649"/>
                  </a:lnTo>
                  <a:lnTo>
                    <a:pt x="15884" y="11884"/>
                  </a:lnTo>
                  <a:lnTo>
                    <a:pt x="14590" y="12472"/>
                  </a:lnTo>
                  <a:lnTo>
                    <a:pt x="13061" y="13061"/>
                  </a:lnTo>
                  <a:lnTo>
                    <a:pt x="11296" y="13649"/>
                  </a:lnTo>
                  <a:lnTo>
                    <a:pt x="9531" y="14120"/>
                  </a:lnTo>
                  <a:lnTo>
                    <a:pt x="7884" y="14472"/>
                  </a:lnTo>
                  <a:lnTo>
                    <a:pt x="6354" y="14590"/>
                  </a:lnTo>
                  <a:lnTo>
                    <a:pt x="5766" y="14590"/>
                  </a:lnTo>
                  <a:lnTo>
                    <a:pt x="5295" y="14472"/>
                  </a:lnTo>
                  <a:lnTo>
                    <a:pt x="4825" y="14355"/>
                  </a:lnTo>
                  <a:lnTo>
                    <a:pt x="4589" y="14120"/>
                  </a:lnTo>
                  <a:lnTo>
                    <a:pt x="4472" y="13767"/>
                  </a:lnTo>
                  <a:lnTo>
                    <a:pt x="4354" y="13178"/>
                  </a:lnTo>
                  <a:lnTo>
                    <a:pt x="4236" y="11531"/>
                  </a:lnTo>
                  <a:lnTo>
                    <a:pt x="4354" y="9531"/>
                  </a:lnTo>
                  <a:lnTo>
                    <a:pt x="4472" y="7295"/>
                  </a:lnTo>
                  <a:lnTo>
                    <a:pt x="4825" y="3060"/>
                  </a:lnTo>
                  <a:lnTo>
                    <a:pt x="5060" y="824"/>
                  </a:lnTo>
                  <a:lnTo>
                    <a:pt x="4942" y="706"/>
                  </a:lnTo>
                  <a:lnTo>
                    <a:pt x="4825" y="589"/>
                  </a:lnTo>
                  <a:lnTo>
                    <a:pt x="4354" y="353"/>
                  </a:lnTo>
                  <a:lnTo>
                    <a:pt x="3648" y="236"/>
                  </a:lnTo>
                  <a:lnTo>
                    <a:pt x="2942" y="118"/>
                  </a:lnTo>
                  <a:lnTo>
                    <a:pt x="1530" y="0"/>
                  </a:lnTo>
                  <a:close/>
                </a:path>
              </a:pathLst>
            </a:custGeom>
            <a:solidFill>
              <a:srgbClr val="E3E3E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11" name="Google Shape;1411;p16"/>
            <p:cNvSpPr/>
            <p:nvPr/>
          </p:nvSpPr>
          <p:spPr>
            <a:xfrm>
              <a:off x="5065975" y="2741300"/>
              <a:ext cx="658925" cy="979525"/>
            </a:xfrm>
            <a:custGeom>
              <a:avLst/>
              <a:gdLst/>
              <a:ahLst/>
              <a:cxnLst/>
              <a:rect l="l" t="t" r="r" b="b"/>
              <a:pathLst>
                <a:path w="26357" h="39181" fill="none" extrusionOk="0">
                  <a:moveTo>
                    <a:pt x="1530" y="35651"/>
                  </a:moveTo>
                  <a:lnTo>
                    <a:pt x="1530" y="35651"/>
                  </a:lnTo>
                  <a:lnTo>
                    <a:pt x="1413" y="35533"/>
                  </a:lnTo>
                  <a:lnTo>
                    <a:pt x="1295" y="35063"/>
                  </a:lnTo>
                  <a:lnTo>
                    <a:pt x="942" y="33769"/>
                  </a:lnTo>
                  <a:lnTo>
                    <a:pt x="707" y="32239"/>
                  </a:lnTo>
                  <a:lnTo>
                    <a:pt x="707" y="31768"/>
                  </a:lnTo>
                  <a:lnTo>
                    <a:pt x="824" y="31415"/>
                  </a:lnTo>
                  <a:lnTo>
                    <a:pt x="824" y="31415"/>
                  </a:lnTo>
                  <a:lnTo>
                    <a:pt x="1060" y="31298"/>
                  </a:lnTo>
                  <a:lnTo>
                    <a:pt x="1765" y="31062"/>
                  </a:lnTo>
                  <a:lnTo>
                    <a:pt x="3648" y="30474"/>
                  </a:lnTo>
                  <a:lnTo>
                    <a:pt x="6707" y="29768"/>
                  </a:lnTo>
                  <a:lnTo>
                    <a:pt x="6707" y="29768"/>
                  </a:lnTo>
                  <a:lnTo>
                    <a:pt x="11296" y="28356"/>
                  </a:lnTo>
                  <a:lnTo>
                    <a:pt x="14120" y="27415"/>
                  </a:lnTo>
                  <a:lnTo>
                    <a:pt x="15414" y="26944"/>
                  </a:lnTo>
                  <a:lnTo>
                    <a:pt x="16473" y="26356"/>
                  </a:lnTo>
                  <a:lnTo>
                    <a:pt x="16473" y="26356"/>
                  </a:lnTo>
                  <a:lnTo>
                    <a:pt x="17767" y="25650"/>
                  </a:lnTo>
                  <a:lnTo>
                    <a:pt x="19414" y="24826"/>
                  </a:lnTo>
                  <a:lnTo>
                    <a:pt x="21650" y="23650"/>
                  </a:lnTo>
                  <a:lnTo>
                    <a:pt x="24944" y="21650"/>
                  </a:lnTo>
                  <a:lnTo>
                    <a:pt x="24944" y="21650"/>
                  </a:lnTo>
                  <a:lnTo>
                    <a:pt x="24474" y="22238"/>
                  </a:lnTo>
                  <a:lnTo>
                    <a:pt x="24121" y="22826"/>
                  </a:lnTo>
                  <a:lnTo>
                    <a:pt x="23532" y="24003"/>
                  </a:lnTo>
                  <a:lnTo>
                    <a:pt x="23179" y="25297"/>
                  </a:lnTo>
                  <a:lnTo>
                    <a:pt x="22944" y="26709"/>
                  </a:lnTo>
                  <a:lnTo>
                    <a:pt x="22944" y="28003"/>
                  </a:lnTo>
                  <a:lnTo>
                    <a:pt x="22944" y="29297"/>
                  </a:lnTo>
                  <a:lnTo>
                    <a:pt x="23179" y="31415"/>
                  </a:lnTo>
                  <a:lnTo>
                    <a:pt x="23179" y="31415"/>
                  </a:lnTo>
                  <a:lnTo>
                    <a:pt x="23415" y="33298"/>
                  </a:lnTo>
                  <a:lnTo>
                    <a:pt x="23885" y="35063"/>
                  </a:lnTo>
                  <a:lnTo>
                    <a:pt x="24591" y="36710"/>
                  </a:lnTo>
                  <a:lnTo>
                    <a:pt x="25415" y="38004"/>
                  </a:lnTo>
                  <a:lnTo>
                    <a:pt x="25415" y="38122"/>
                  </a:lnTo>
                  <a:lnTo>
                    <a:pt x="25415" y="38122"/>
                  </a:lnTo>
                  <a:lnTo>
                    <a:pt x="25415" y="38357"/>
                  </a:lnTo>
                  <a:lnTo>
                    <a:pt x="25180" y="38593"/>
                  </a:lnTo>
                  <a:lnTo>
                    <a:pt x="24827" y="38828"/>
                  </a:lnTo>
                  <a:lnTo>
                    <a:pt x="24238" y="38945"/>
                  </a:lnTo>
                  <a:lnTo>
                    <a:pt x="22473" y="39181"/>
                  </a:lnTo>
                  <a:lnTo>
                    <a:pt x="20356" y="39181"/>
                  </a:lnTo>
                  <a:lnTo>
                    <a:pt x="20356" y="39181"/>
                  </a:lnTo>
                  <a:lnTo>
                    <a:pt x="16826" y="39181"/>
                  </a:lnTo>
                  <a:lnTo>
                    <a:pt x="13296" y="38945"/>
                  </a:lnTo>
                  <a:lnTo>
                    <a:pt x="10590" y="38593"/>
                  </a:lnTo>
                  <a:lnTo>
                    <a:pt x="9766" y="38357"/>
                  </a:lnTo>
                  <a:lnTo>
                    <a:pt x="9296" y="38122"/>
                  </a:lnTo>
                  <a:lnTo>
                    <a:pt x="9296" y="38122"/>
                  </a:lnTo>
                  <a:lnTo>
                    <a:pt x="9178" y="37769"/>
                  </a:lnTo>
                  <a:lnTo>
                    <a:pt x="9178" y="37769"/>
                  </a:lnTo>
                  <a:lnTo>
                    <a:pt x="9060" y="37298"/>
                  </a:lnTo>
                  <a:lnTo>
                    <a:pt x="9178" y="36710"/>
                  </a:lnTo>
                  <a:lnTo>
                    <a:pt x="9531" y="35298"/>
                  </a:lnTo>
                  <a:lnTo>
                    <a:pt x="10590" y="31886"/>
                  </a:lnTo>
                  <a:lnTo>
                    <a:pt x="11649" y="28592"/>
                  </a:lnTo>
                  <a:lnTo>
                    <a:pt x="12002" y="27297"/>
                  </a:lnTo>
                  <a:lnTo>
                    <a:pt x="12119" y="26474"/>
                  </a:lnTo>
                  <a:lnTo>
                    <a:pt x="12119" y="26474"/>
                  </a:lnTo>
                  <a:lnTo>
                    <a:pt x="12002" y="26003"/>
                  </a:lnTo>
                  <a:lnTo>
                    <a:pt x="11649" y="25532"/>
                  </a:lnTo>
                  <a:lnTo>
                    <a:pt x="11178" y="25179"/>
                  </a:lnTo>
                  <a:lnTo>
                    <a:pt x="10708" y="24709"/>
                  </a:lnTo>
                  <a:lnTo>
                    <a:pt x="9766" y="24003"/>
                  </a:lnTo>
                  <a:lnTo>
                    <a:pt x="9296" y="23650"/>
                  </a:lnTo>
                  <a:lnTo>
                    <a:pt x="9178" y="23297"/>
                  </a:lnTo>
                  <a:lnTo>
                    <a:pt x="9178" y="23297"/>
                  </a:lnTo>
                  <a:lnTo>
                    <a:pt x="9178" y="22826"/>
                  </a:lnTo>
                  <a:lnTo>
                    <a:pt x="9413" y="22238"/>
                  </a:lnTo>
                  <a:lnTo>
                    <a:pt x="10119" y="21061"/>
                  </a:lnTo>
                  <a:lnTo>
                    <a:pt x="10825" y="20238"/>
                  </a:lnTo>
                  <a:lnTo>
                    <a:pt x="10943" y="20002"/>
                  </a:lnTo>
                  <a:lnTo>
                    <a:pt x="10825" y="20002"/>
                  </a:lnTo>
                  <a:lnTo>
                    <a:pt x="10825" y="20002"/>
                  </a:lnTo>
                  <a:lnTo>
                    <a:pt x="10472" y="20120"/>
                  </a:lnTo>
                  <a:lnTo>
                    <a:pt x="9884" y="20238"/>
                  </a:lnTo>
                  <a:lnTo>
                    <a:pt x="8707" y="20120"/>
                  </a:lnTo>
                  <a:lnTo>
                    <a:pt x="7178" y="19767"/>
                  </a:lnTo>
                  <a:lnTo>
                    <a:pt x="5531" y="19297"/>
                  </a:lnTo>
                  <a:lnTo>
                    <a:pt x="4001" y="18708"/>
                  </a:lnTo>
                  <a:lnTo>
                    <a:pt x="2471" y="18002"/>
                  </a:lnTo>
                  <a:lnTo>
                    <a:pt x="1295" y="17414"/>
                  </a:lnTo>
                  <a:lnTo>
                    <a:pt x="589" y="16826"/>
                  </a:lnTo>
                  <a:lnTo>
                    <a:pt x="589" y="16826"/>
                  </a:lnTo>
                  <a:lnTo>
                    <a:pt x="354" y="16473"/>
                  </a:lnTo>
                  <a:lnTo>
                    <a:pt x="118" y="15767"/>
                  </a:lnTo>
                  <a:lnTo>
                    <a:pt x="1" y="14825"/>
                  </a:lnTo>
                  <a:lnTo>
                    <a:pt x="1" y="13649"/>
                  </a:lnTo>
                  <a:lnTo>
                    <a:pt x="1" y="10943"/>
                  </a:lnTo>
                  <a:lnTo>
                    <a:pt x="236" y="8001"/>
                  </a:lnTo>
                  <a:lnTo>
                    <a:pt x="589" y="2471"/>
                  </a:lnTo>
                  <a:lnTo>
                    <a:pt x="942" y="0"/>
                  </a:lnTo>
                  <a:lnTo>
                    <a:pt x="942" y="0"/>
                  </a:lnTo>
                  <a:lnTo>
                    <a:pt x="1530" y="0"/>
                  </a:lnTo>
                  <a:lnTo>
                    <a:pt x="2942" y="118"/>
                  </a:lnTo>
                  <a:lnTo>
                    <a:pt x="3648" y="236"/>
                  </a:lnTo>
                  <a:lnTo>
                    <a:pt x="4354" y="353"/>
                  </a:lnTo>
                  <a:lnTo>
                    <a:pt x="4825" y="589"/>
                  </a:lnTo>
                  <a:lnTo>
                    <a:pt x="4942" y="706"/>
                  </a:lnTo>
                  <a:lnTo>
                    <a:pt x="5060" y="824"/>
                  </a:lnTo>
                  <a:lnTo>
                    <a:pt x="5060" y="824"/>
                  </a:lnTo>
                  <a:lnTo>
                    <a:pt x="4825" y="3060"/>
                  </a:lnTo>
                  <a:lnTo>
                    <a:pt x="4472" y="7295"/>
                  </a:lnTo>
                  <a:lnTo>
                    <a:pt x="4354" y="9531"/>
                  </a:lnTo>
                  <a:lnTo>
                    <a:pt x="4236" y="11531"/>
                  </a:lnTo>
                  <a:lnTo>
                    <a:pt x="4354" y="13178"/>
                  </a:lnTo>
                  <a:lnTo>
                    <a:pt x="4472" y="13767"/>
                  </a:lnTo>
                  <a:lnTo>
                    <a:pt x="4589" y="14120"/>
                  </a:lnTo>
                  <a:lnTo>
                    <a:pt x="4589" y="14120"/>
                  </a:lnTo>
                  <a:lnTo>
                    <a:pt x="4825" y="14355"/>
                  </a:lnTo>
                  <a:lnTo>
                    <a:pt x="5295" y="14472"/>
                  </a:lnTo>
                  <a:lnTo>
                    <a:pt x="5766" y="14590"/>
                  </a:lnTo>
                  <a:lnTo>
                    <a:pt x="6354" y="14590"/>
                  </a:lnTo>
                  <a:lnTo>
                    <a:pt x="7884" y="14472"/>
                  </a:lnTo>
                  <a:lnTo>
                    <a:pt x="9531" y="14120"/>
                  </a:lnTo>
                  <a:lnTo>
                    <a:pt x="11296" y="13649"/>
                  </a:lnTo>
                  <a:lnTo>
                    <a:pt x="13061" y="13061"/>
                  </a:lnTo>
                  <a:lnTo>
                    <a:pt x="14590" y="12472"/>
                  </a:lnTo>
                  <a:lnTo>
                    <a:pt x="15884" y="11884"/>
                  </a:lnTo>
                  <a:lnTo>
                    <a:pt x="15884" y="11884"/>
                  </a:lnTo>
                  <a:lnTo>
                    <a:pt x="17532" y="11649"/>
                  </a:lnTo>
                  <a:lnTo>
                    <a:pt x="18826" y="11531"/>
                  </a:lnTo>
                  <a:lnTo>
                    <a:pt x="20120" y="11531"/>
                  </a:lnTo>
                  <a:lnTo>
                    <a:pt x="20120" y="11531"/>
                  </a:lnTo>
                  <a:lnTo>
                    <a:pt x="20708" y="11766"/>
                  </a:lnTo>
                  <a:lnTo>
                    <a:pt x="21414" y="12119"/>
                  </a:lnTo>
                  <a:lnTo>
                    <a:pt x="23179" y="13178"/>
                  </a:lnTo>
                  <a:lnTo>
                    <a:pt x="24827" y="14472"/>
                  </a:lnTo>
                  <a:lnTo>
                    <a:pt x="25532" y="15061"/>
                  </a:lnTo>
                  <a:lnTo>
                    <a:pt x="26003" y="15649"/>
                  </a:lnTo>
                  <a:lnTo>
                    <a:pt x="26003" y="15649"/>
                  </a:lnTo>
                  <a:lnTo>
                    <a:pt x="26121" y="15884"/>
                  </a:lnTo>
                  <a:lnTo>
                    <a:pt x="26238" y="16355"/>
                  </a:lnTo>
                  <a:lnTo>
                    <a:pt x="26356" y="17296"/>
                  </a:lnTo>
                  <a:lnTo>
                    <a:pt x="26356" y="18591"/>
                  </a:lnTo>
                  <a:lnTo>
                    <a:pt x="26121" y="20002"/>
                  </a:lnTo>
                  <a:lnTo>
                    <a:pt x="25885" y="21650"/>
                  </a:lnTo>
                  <a:lnTo>
                    <a:pt x="25415" y="23297"/>
                  </a:lnTo>
                  <a:lnTo>
                    <a:pt x="24474" y="26709"/>
                  </a:lnTo>
                  <a:lnTo>
                    <a:pt x="24474" y="26709"/>
                  </a:lnTo>
                  <a:lnTo>
                    <a:pt x="24356" y="26944"/>
                  </a:lnTo>
                  <a:lnTo>
                    <a:pt x="24121" y="27180"/>
                  </a:lnTo>
                  <a:lnTo>
                    <a:pt x="23297" y="27768"/>
                  </a:lnTo>
                  <a:lnTo>
                    <a:pt x="22120" y="28356"/>
                  </a:lnTo>
                  <a:lnTo>
                    <a:pt x="20708" y="29062"/>
                  </a:lnTo>
                  <a:lnTo>
                    <a:pt x="17061" y="30474"/>
                  </a:lnTo>
                  <a:lnTo>
                    <a:pt x="12943" y="31886"/>
                  </a:lnTo>
                  <a:lnTo>
                    <a:pt x="5295" y="34357"/>
                  </a:lnTo>
                  <a:lnTo>
                    <a:pt x="2707" y="35180"/>
                  </a:lnTo>
                  <a:lnTo>
                    <a:pt x="1530" y="3565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12" name="Google Shape;1412;p16"/>
            <p:cNvSpPr/>
            <p:nvPr/>
          </p:nvSpPr>
          <p:spPr>
            <a:xfrm>
              <a:off x="5477775" y="2888375"/>
              <a:ext cx="126525" cy="235350"/>
            </a:xfrm>
            <a:custGeom>
              <a:avLst/>
              <a:gdLst/>
              <a:ahLst/>
              <a:cxnLst/>
              <a:rect l="l" t="t" r="r" b="b"/>
              <a:pathLst>
                <a:path w="5061" h="9414" extrusionOk="0">
                  <a:moveTo>
                    <a:pt x="1413" y="0"/>
                  </a:moveTo>
                  <a:lnTo>
                    <a:pt x="1177" y="353"/>
                  </a:lnTo>
                  <a:lnTo>
                    <a:pt x="942" y="942"/>
                  </a:lnTo>
                  <a:lnTo>
                    <a:pt x="589" y="2236"/>
                  </a:lnTo>
                  <a:lnTo>
                    <a:pt x="471" y="2942"/>
                  </a:lnTo>
                  <a:lnTo>
                    <a:pt x="707" y="4589"/>
                  </a:lnTo>
                  <a:lnTo>
                    <a:pt x="824" y="5766"/>
                  </a:lnTo>
                  <a:lnTo>
                    <a:pt x="707" y="6589"/>
                  </a:lnTo>
                  <a:lnTo>
                    <a:pt x="471" y="7178"/>
                  </a:lnTo>
                  <a:lnTo>
                    <a:pt x="236" y="7884"/>
                  </a:lnTo>
                  <a:lnTo>
                    <a:pt x="1" y="8589"/>
                  </a:lnTo>
                  <a:lnTo>
                    <a:pt x="1" y="8942"/>
                  </a:lnTo>
                  <a:lnTo>
                    <a:pt x="118" y="9178"/>
                  </a:lnTo>
                  <a:lnTo>
                    <a:pt x="236" y="9413"/>
                  </a:lnTo>
                  <a:lnTo>
                    <a:pt x="471" y="9413"/>
                  </a:lnTo>
                  <a:lnTo>
                    <a:pt x="1060" y="9295"/>
                  </a:lnTo>
                  <a:lnTo>
                    <a:pt x="2001" y="8825"/>
                  </a:lnTo>
                  <a:lnTo>
                    <a:pt x="2942" y="8354"/>
                  </a:lnTo>
                  <a:lnTo>
                    <a:pt x="3766" y="7884"/>
                  </a:lnTo>
                  <a:lnTo>
                    <a:pt x="4354" y="7413"/>
                  </a:lnTo>
                  <a:lnTo>
                    <a:pt x="4707" y="6825"/>
                  </a:lnTo>
                  <a:lnTo>
                    <a:pt x="5060" y="6119"/>
                  </a:lnTo>
                  <a:lnTo>
                    <a:pt x="4119" y="4354"/>
                  </a:lnTo>
                  <a:lnTo>
                    <a:pt x="2236" y="706"/>
                  </a:lnTo>
                  <a:lnTo>
                    <a:pt x="2001" y="353"/>
                  </a:lnTo>
                  <a:lnTo>
                    <a:pt x="1766" y="118"/>
                  </a:lnTo>
                  <a:lnTo>
                    <a:pt x="1648" y="0"/>
                  </a:lnTo>
                  <a:close/>
                </a:path>
              </a:pathLst>
            </a:custGeom>
            <a:solidFill>
              <a:srgbClr val="F6B2B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13" name="Google Shape;1413;p16"/>
            <p:cNvSpPr/>
            <p:nvPr/>
          </p:nvSpPr>
          <p:spPr>
            <a:xfrm>
              <a:off x="5477775" y="2888375"/>
              <a:ext cx="126525" cy="235350"/>
            </a:xfrm>
            <a:custGeom>
              <a:avLst/>
              <a:gdLst/>
              <a:ahLst/>
              <a:cxnLst/>
              <a:rect l="l" t="t" r="r" b="b"/>
              <a:pathLst>
                <a:path w="5061" h="9414" fill="none" extrusionOk="0">
                  <a:moveTo>
                    <a:pt x="471" y="2942"/>
                  </a:moveTo>
                  <a:lnTo>
                    <a:pt x="471" y="2942"/>
                  </a:lnTo>
                  <a:lnTo>
                    <a:pt x="707" y="4589"/>
                  </a:lnTo>
                  <a:lnTo>
                    <a:pt x="824" y="5766"/>
                  </a:lnTo>
                  <a:lnTo>
                    <a:pt x="707" y="6589"/>
                  </a:lnTo>
                  <a:lnTo>
                    <a:pt x="471" y="7178"/>
                  </a:lnTo>
                  <a:lnTo>
                    <a:pt x="471" y="7178"/>
                  </a:lnTo>
                  <a:lnTo>
                    <a:pt x="236" y="7884"/>
                  </a:lnTo>
                  <a:lnTo>
                    <a:pt x="1" y="8589"/>
                  </a:lnTo>
                  <a:lnTo>
                    <a:pt x="1" y="8942"/>
                  </a:lnTo>
                  <a:lnTo>
                    <a:pt x="118" y="9178"/>
                  </a:lnTo>
                  <a:lnTo>
                    <a:pt x="236" y="9413"/>
                  </a:lnTo>
                  <a:lnTo>
                    <a:pt x="471" y="9413"/>
                  </a:lnTo>
                  <a:lnTo>
                    <a:pt x="471" y="9413"/>
                  </a:lnTo>
                  <a:lnTo>
                    <a:pt x="1060" y="9295"/>
                  </a:lnTo>
                  <a:lnTo>
                    <a:pt x="2001" y="8825"/>
                  </a:lnTo>
                  <a:lnTo>
                    <a:pt x="2942" y="8354"/>
                  </a:lnTo>
                  <a:lnTo>
                    <a:pt x="3766" y="7884"/>
                  </a:lnTo>
                  <a:lnTo>
                    <a:pt x="3766" y="7884"/>
                  </a:lnTo>
                  <a:lnTo>
                    <a:pt x="4354" y="7413"/>
                  </a:lnTo>
                  <a:lnTo>
                    <a:pt x="4707" y="6825"/>
                  </a:lnTo>
                  <a:lnTo>
                    <a:pt x="5060" y="6119"/>
                  </a:lnTo>
                  <a:lnTo>
                    <a:pt x="5060" y="6119"/>
                  </a:lnTo>
                  <a:lnTo>
                    <a:pt x="4119" y="4354"/>
                  </a:lnTo>
                  <a:lnTo>
                    <a:pt x="2236" y="706"/>
                  </a:lnTo>
                  <a:lnTo>
                    <a:pt x="2236" y="706"/>
                  </a:lnTo>
                  <a:lnTo>
                    <a:pt x="2001" y="353"/>
                  </a:lnTo>
                  <a:lnTo>
                    <a:pt x="1766" y="118"/>
                  </a:lnTo>
                  <a:lnTo>
                    <a:pt x="1648" y="0"/>
                  </a:lnTo>
                  <a:lnTo>
                    <a:pt x="1413" y="0"/>
                  </a:lnTo>
                  <a:lnTo>
                    <a:pt x="1177" y="353"/>
                  </a:lnTo>
                  <a:lnTo>
                    <a:pt x="942" y="942"/>
                  </a:lnTo>
                  <a:lnTo>
                    <a:pt x="589" y="2236"/>
                  </a:lnTo>
                  <a:lnTo>
                    <a:pt x="471" y="2942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14" name="Google Shape;1414;p16"/>
            <p:cNvSpPr/>
            <p:nvPr/>
          </p:nvSpPr>
          <p:spPr>
            <a:xfrm>
              <a:off x="5489550" y="2961900"/>
              <a:ext cx="8850" cy="55925"/>
            </a:xfrm>
            <a:custGeom>
              <a:avLst/>
              <a:gdLst/>
              <a:ahLst/>
              <a:cxnLst/>
              <a:rect l="l" t="t" r="r" b="b"/>
              <a:pathLst>
                <a:path w="354" h="2237" extrusionOk="0">
                  <a:moveTo>
                    <a:pt x="0" y="1"/>
                  </a:moveTo>
                  <a:lnTo>
                    <a:pt x="236" y="1295"/>
                  </a:lnTo>
                  <a:lnTo>
                    <a:pt x="353" y="2236"/>
                  </a:lnTo>
                  <a:lnTo>
                    <a:pt x="236" y="1177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AFAAB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15" name="Google Shape;1415;p16"/>
            <p:cNvSpPr/>
            <p:nvPr/>
          </p:nvSpPr>
          <p:spPr>
            <a:xfrm>
              <a:off x="5489550" y="2961900"/>
              <a:ext cx="8850" cy="55925"/>
            </a:xfrm>
            <a:custGeom>
              <a:avLst/>
              <a:gdLst/>
              <a:ahLst/>
              <a:cxnLst/>
              <a:rect l="l" t="t" r="r" b="b"/>
              <a:pathLst>
                <a:path w="354" h="2237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236" y="1177"/>
                  </a:lnTo>
                  <a:lnTo>
                    <a:pt x="236" y="1177"/>
                  </a:lnTo>
                  <a:lnTo>
                    <a:pt x="353" y="2236"/>
                  </a:lnTo>
                  <a:lnTo>
                    <a:pt x="353" y="2236"/>
                  </a:lnTo>
                  <a:lnTo>
                    <a:pt x="353" y="2236"/>
                  </a:lnTo>
                  <a:lnTo>
                    <a:pt x="353" y="2236"/>
                  </a:lnTo>
                  <a:lnTo>
                    <a:pt x="236" y="1295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16" name="Google Shape;1416;p16"/>
            <p:cNvSpPr/>
            <p:nvPr/>
          </p:nvSpPr>
          <p:spPr>
            <a:xfrm>
              <a:off x="5489550" y="2947200"/>
              <a:ext cx="47075" cy="70625"/>
            </a:xfrm>
            <a:custGeom>
              <a:avLst/>
              <a:gdLst/>
              <a:ahLst/>
              <a:cxnLst/>
              <a:rect l="l" t="t" r="r" b="b"/>
              <a:pathLst>
                <a:path w="1883" h="2825" extrusionOk="0">
                  <a:moveTo>
                    <a:pt x="1412" y="1"/>
                  </a:moveTo>
                  <a:lnTo>
                    <a:pt x="1295" y="118"/>
                  </a:lnTo>
                  <a:lnTo>
                    <a:pt x="1059" y="236"/>
                  </a:lnTo>
                  <a:lnTo>
                    <a:pt x="824" y="236"/>
                  </a:lnTo>
                  <a:lnTo>
                    <a:pt x="471" y="354"/>
                  </a:lnTo>
                  <a:lnTo>
                    <a:pt x="236" y="471"/>
                  </a:lnTo>
                  <a:lnTo>
                    <a:pt x="0" y="589"/>
                  </a:lnTo>
                  <a:lnTo>
                    <a:pt x="236" y="1883"/>
                  </a:lnTo>
                  <a:lnTo>
                    <a:pt x="353" y="2824"/>
                  </a:lnTo>
                  <a:lnTo>
                    <a:pt x="824" y="2471"/>
                  </a:lnTo>
                  <a:lnTo>
                    <a:pt x="1295" y="2001"/>
                  </a:lnTo>
                  <a:lnTo>
                    <a:pt x="1883" y="1412"/>
                  </a:lnTo>
                  <a:lnTo>
                    <a:pt x="1883" y="942"/>
                  </a:lnTo>
                  <a:lnTo>
                    <a:pt x="1765" y="471"/>
                  </a:lnTo>
                  <a:lnTo>
                    <a:pt x="1648" y="118"/>
                  </a:lnTo>
                  <a:lnTo>
                    <a:pt x="1412" y="1"/>
                  </a:lnTo>
                  <a:close/>
                </a:path>
              </a:pathLst>
            </a:custGeom>
            <a:solidFill>
              <a:srgbClr val="AD7A8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17" name="Google Shape;1417;p16"/>
            <p:cNvSpPr/>
            <p:nvPr/>
          </p:nvSpPr>
          <p:spPr>
            <a:xfrm>
              <a:off x="5489550" y="2947200"/>
              <a:ext cx="47075" cy="70625"/>
            </a:xfrm>
            <a:custGeom>
              <a:avLst/>
              <a:gdLst/>
              <a:ahLst/>
              <a:cxnLst/>
              <a:rect l="l" t="t" r="r" b="b"/>
              <a:pathLst>
                <a:path w="1883" h="2825" fill="none" extrusionOk="0">
                  <a:moveTo>
                    <a:pt x="1412" y="1"/>
                  </a:moveTo>
                  <a:lnTo>
                    <a:pt x="1412" y="1"/>
                  </a:lnTo>
                  <a:lnTo>
                    <a:pt x="1295" y="118"/>
                  </a:lnTo>
                  <a:lnTo>
                    <a:pt x="1295" y="118"/>
                  </a:lnTo>
                  <a:lnTo>
                    <a:pt x="1059" y="236"/>
                  </a:lnTo>
                  <a:lnTo>
                    <a:pt x="824" y="236"/>
                  </a:lnTo>
                  <a:lnTo>
                    <a:pt x="471" y="354"/>
                  </a:lnTo>
                  <a:lnTo>
                    <a:pt x="471" y="354"/>
                  </a:lnTo>
                  <a:lnTo>
                    <a:pt x="236" y="471"/>
                  </a:lnTo>
                  <a:lnTo>
                    <a:pt x="0" y="589"/>
                  </a:lnTo>
                  <a:lnTo>
                    <a:pt x="0" y="589"/>
                  </a:lnTo>
                  <a:lnTo>
                    <a:pt x="0" y="589"/>
                  </a:lnTo>
                  <a:lnTo>
                    <a:pt x="0" y="589"/>
                  </a:lnTo>
                  <a:lnTo>
                    <a:pt x="236" y="1883"/>
                  </a:lnTo>
                  <a:lnTo>
                    <a:pt x="353" y="2824"/>
                  </a:lnTo>
                  <a:lnTo>
                    <a:pt x="353" y="2824"/>
                  </a:lnTo>
                  <a:lnTo>
                    <a:pt x="824" y="2471"/>
                  </a:lnTo>
                  <a:lnTo>
                    <a:pt x="1295" y="2001"/>
                  </a:lnTo>
                  <a:lnTo>
                    <a:pt x="1883" y="1412"/>
                  </a:lnTo>
                  <a:lnTo>
                    <a:pt x="1883" y="1412"/>
                  </a:lnTo>
                  <a:lnTo>
                    <a:pt x="1883" y="942"/>
                  </a:lnTo>
                  <a:lnTo>
                    <a:pt x="1765" y="471"/>
                  </a:lnTo>
                  <a:lnTo>
                    <a:pt x="1648" y="118"/>
                  </a:lnTo>
                  <a:lnTo>
                    <a:pt x="141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18" name="Google Shape;1418;p16"/>
            <p:cNvSpPr/>
            <p:nvPr/>
          </p:nvSpPr>
          <p:spPr>
            <a:xfrm>
              <a:off x="4980675" y="3535500"/>
              <a:ext cx="158875" cy="88275"/>
            </a:xfrm>
            <a:custGeom>
              <a:avLst/>
              <a:gdLst/>
              <a:ahLst/>
              <a:cxnLst/>
              <a:rect l="l" t="t" r="r" b="b"/>
              <a:pathLst>
                <a:path w="6355" h="3531" extrusionOk="0">
                  <a:moveTo>
                    <a:pt x="2471" y="0"/>
                  </a:moveTo>
                  <a:lnTo>
                    <a:pt x="2354" y="118"/>
                  </a:lnTo>
                  <a:lnTo>
                    <a:pt x="2354" y="236"/>
                  </a:lnTo>
                  <a:lnTo>
                    <a:pt x="2236" y="706"/>
                  </a:lnTo>
                  <a:lnTo>
                    <a:pt x="2118" y="824"/>
                  </a:lnTo>
                  <a:lnTo>
                    <a:pt x="1883" y="942"/>
                  </a:lnTo>
                  <a:lnTo>
                    <a:pt x="1530" y="824"/>
                  </a:lnTo>
                  <a:lnTo>
                    <a:pt x="824" y="589"/>
                  </a:lnTo>
                  <a:lnTo>
                    <a:pt x="354" y="471"/>
                  </a:lnTo>
                  <a:lnTo>
                    <a:pt x="118" y="589"/>
                  </a:lnTo>
                  <a:lnTo>
                    <a:pt x="1" y="942"/>
                  </a:lnTo>
                  <a:lnTo>
                    <a:pt x="1" y="1295"/>
                  </a:lnTo>
                  <a:lnTo>
                    <a:pt x="118" y="1765"/>
                  </a:lnTo>
                  <a:lnTo>
                    <a:pt x="354" y="2236"/>
                  </a:lnTo>
                  <a:lnTo>
                    <a:pt x="706" y="2589"/>
                  </a:lnTo>
                  <a:lnTo>
                    <a:pt x="1177" y="3059"/>
                  </a:lnTo>
                  <a:lnTo>
                    <a:pt x="1648" y="3295"/>
                  </a:lnTo>
                  <a:lnTo>
                    <a:pt x="2236" y="3412"/>
                  </a:lnTo>
                  <a:lnTo>
                    <a:pt x="2942" y="3530"/>
                  </a:lnTo>
                  <a:lnTo>
                    <a:pt x="3648" y="3530"/>
                  </a:lnTo>
                  <a:lnTo>
                    <a:pt x="4354" y="3412"/>
                  </a:lnTo>
                  <a:lnTo>
                    <a:pt x="5060" y="3177"/>
                  </a:lnTo>
                  <a:lnTo>
                    <a:pt x="5766" y="2824"/>
                  </a:lnTo>
                  <a:lnTo>
                    <a:pt x="6354" y="2471"/>
                  </a:lnTo>
                  <a:lnTo>
                    <a:pt x="5883" y="1648"/>
                  </a:lnTo>
                  <a:lnTo>
                    <a:pt x="5530" y="1059"/>
                  </a:lnTo>
                  <a:lnTo>
                    <a:pt x="5413" y="942"/>
                  </a:lnTo>
                  <a:lnTo>
                    <a:pt x="5060" y="942"/>
                  </a:lnTo>
                  <a:lnTo>
                    <a:pt x="4707" y="824"/>
                  </a:lnTo>
                  <a:lnTo>
                    <a:pt x="4001" y="471"/>
                  </a:lnTo>
                  <a:lnTo>
                    <a:pt x="3177" y="118"/>
                  </a:lnTo>
                  <a:lnTo>
                    <a:pt x="2824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19" name="Google Shape;1419;p16"/>
            <p:cNvSpPr/>
            <p:nvPr/>
          </p:nvSpPr>
          <p:spPr>
            <a:xfrm>
              <a:off x="5083625" y="3029575"/>
              <a:ext cx="635375" cy="691250"/>
            </a:xfrm>
            <a:custGeom>
              <a:avLst/>
              <a:gdLst/>
              <a:ahLst/>
              <a:cxnLst/>
              <a:rect l="l" t="t" r="r" b="b"/>
              <a:pathLst>
                <a:path w="25415" h="27650" extrusionOk="0">
                  <a:moveTo>
                    <a:pt x="18120" y="0"/>
                  </a:moveTo>
                  <a:lnTo>
                    <a:pt x="16826" y="118"/>
                  </a:lnTo>
                  <a:lnTo>
                    <a:pt x="15178" y="353"/>
                  </a:lnTo>
                  <a:lnTo>
                    <a:pt x="14708" y="706"/>
                  </a:lnTo>
                  <a:lnTo>
                    <a:pt x="14120" y="1177"/>
                  </a:lnTo>
                  <a:lnTo>
                    <a:pt x="12943" y="2353"/>
                  </a:lnTo>
                  <a:lnTo>
                    <a:pt x="11884" y="3883"/>
                  </a:lnTo>
                  <a:lnTo>
                    <a:pt x="10943" y="5295"/>
                  </a:lnTo>
                  <a:lnTo>
                    <a:pt x="10119" y="6707"/>
                  </a:lnTo>
                  <a:lnTo>
                    <a:pt x="9766" y="7883"/>
                  </a:lnTo>
                  <a:lnTo>
                    <a:pt x="9649" y="8236"/>
                  </a:lnTo>
                  <a:lnTo>
                    <a:pt x="9766" y="8471"/>
                  </a:lnTo>
                  <a:lnTo>
                    <a:pt x="9884" y="8589"/>
                  </a:lnTo>
                  <a:lnTo>
                    <a:pt x="10119" y="8471"/>
                  </a:lnTo>
                  <a:lnTo>
                    <a:pt x="10237" y="8471"/>
                  </a:lnTo>
                  <a:lnTo>
                    <a:pt x="10119" y="8707"/>
                  </a:lnTo>
                  <a:lnTo>
                    <a:pt x="9413" y="9530"/>
                  </a:lnTo>
                  <a:lnTo>
                    <a:pt x="8707" y="10707"/>
                  </a:lnTo>
                  <a:lnTo>
                    <a:pt x="8472" y="11295"/>
                  </a:lnTo>
                  <a:lnTo>
                    <a:pt x="8472" y="11766"/>
                  </a:lnTo>
                  <a:lnTo>
                    <a:pt x="8590" y="12119"/>
                  </a:lnTo>
                  <a:lnTo>
                    <a:pt x="9060" y="12472"/>
                  </a:lnTo>
                  <a:lnTo>
                    <a:pt x="10002" y="13178"/>
                  </a:lnTo>
                  <a:lnTo>
                    <a:pt x="10472" y="13648"/>
                  </a:lnTo>
                  <a:lnTo>
                    <a:pt x="10943" y="14001"/>
                  </a:lnTo>
                  <a:lnTo>
                    <a:pt x="11296" y="14472"/>
                  </a:lnTo>
                  <a:lnTo>
                    <a:pt x="11413" y="14943"/>
                  </a:lnTo>
                  <a:lnTo>
                    <a:pt x="11296" y="15649"/>
                  </a:lnTo>
                  <a:lnTo>
                    <a:pt x="11060" y="16708"/>
                  </a:lnTo>
                  <a:lnTo>
                    <a:pt x="6001" y="18237"/>
                  </a:lnTo>
                  <a:lnTo>
                    <a:pt x="2942" y="18943"/>
                  </a:lnTo>
                  <a:lnTo>
                    <a:pt x="1059" y="19531"/>
                  </a:lnTo>
                  <a:lnTo>
                    <a:pt x="354" y="19767"/>
                  </a:lnTo>
                  <a:lnTo>
                    <a:pt x="118" y="19884"/>
                  </a:lnTo>
                  <a:lnTo>
                    <a:pt x="1" y="20237"/>
                  </a:lnTo>
                  <a:lnTo>
                    <a:pt x="1" y="20708"/>
                  </a:lnTo>
                  <a:lnTo>
                    <a:pt x="236" y="22238"/>
                  </a:lnTo>
                  <a:lnTo>
                    <a:pt x="589" y="23532"/>
                  </a:lnTo>
                  <a:lnTo>
                    <a:pt x="707" y="24002"/>
                  </a:lnTo>
                  <a:lnTo>
                    <a:pt x="824" y="24120"/>
                  </a:lnTo>
                  <a:lnTo>
                    <a:pt x="1765" y="23767"/>
                  </a:lnTo>
                  <a:lnTo>
                    <a:pt x="3766" y="22943"/>
                  </a:lnTo>
                  <a:lnTo>
                    <a:pt x="9649" y="20943"/>
                  </a:lnTo>
                  <a:lnTo>
                    <a:pt x="9649" y="20943"/>
                  </a:lnTo>
                  <a:lnTo>
                    <a:pt x="8707" y="24002"/>
                  </a:lnTo>
                  <a:lnTo>
                    <a:pt x="8472" y="25297"/>
                  </a:lnTo>
                  <a:lnTo>
                    <a:pt x="8472" y="26238"/>
                  </a:lnTo>
                  <a:lnTo>
                    <a:pt x="8590" y="26591"/>
                  </a:lnTo>
                  <a:lnTo>
                    <a:pt x="9060" y="26826"/>
                  </a:lnTo>
                  <a:lnTo>
                    <a:pt x="9884" y="27062"/>
                  </a:lnTo>
                  <a:lnTo>
                    <a:pt x="12590" y="27414"/>
                  </a:lnTo>
                  <a:lnTo>
                    <a:pt x="16120" y="27650"/>
                  </a:lnTo>
                  <a:lnTo>
                    <a:pt x="21414" y="27650"/>
                  </a:lnTo>
                  <a:lnTo>
                    <a:pt x="22826" y="27532"/>
                  </a:lnTo>
                  <a:lnTo>
                    <a:pt x="24003" y="27297"/>
                  </a:lnTo>
                  <a:lnTo>
                    <a:pt x="24356" y="27179"/>
                  </a:lnTo>
                  <a:lnTo>
                    <a:pt x="24591" y="26944"/>
                  </a:lnTo>
                  <a:lnTo>
                    <a:pt x="24709" y="26826"/>
                  </a:lnTo>
                  <a:lnTo>
                    <a:pt x="24709" y="26591"/>
                  </a:lnTo>
                  <a:lnTo>
                    <a:pt x="24709" y="26473"/>
                  </a:lnTo>
                  <a:lnTo>
                    <a:pt x="23885" y="25179"/>
                  </a:lnTo>
                  <a:lnTo>
                    <a:pt x="23179" y="23532"/>
                  </a:lnTo>
                  <a:lnTo>
                    <a:pt x="22709" y="21767"/>
                  </a:lnTo>
                  <a:lnTo>
                    <a:pt x="22473" y="19884"/>
                  </a:lnTo>
                  <a:lnTo>
                    <a:pt x="22356" y="18590"/>
                  </a:lnTo>
                  <a:lnTo>
                    <a:pt x="22238" y="16943"/>
                  </a:lnTo>
                  <a:lnTo>
                    <a:pt x="22238" y="15296"/>
                  </a:lnTo>
                  <a:lnTo>
                    <a:pt x="22356" y="14354"/>
                  </a:lnTo>
                  <a:lnTo>
                    <a:pt x="22591" y="13413"/>
                  </a:lnTo>
                  <a:lnTo>
                    <a:pt x="23297" y="11884"/>
                  </a:lnTo>
                  <a:lnTo>
                    <a:pt x="24003" y="10354"/>
                  </a:lnTo>
                  <a:lnTo>
                    <a:pt x="24238" y="10119"/>
                  </a:lnTo>
                  <a:lnTo>
                    <a:pt x="24003" y="10236"/>
                  </a:lnTo>
                  <a:lnTo>
                    <a:pt x="24826" y="8118"/>
                  </a:lnTo>
                  <a:lnTo>
                    <a:pt x="25297" y="6236"/>
                  </a:lnTo>
                  <a:lnTo>
                    <a:pt x="25415" y="4824"/>
                  </a:lnTo>
                  <a:lnTo>
                    <a:pt x="25415" y="4353"/>
                  </a:lnTo>
                  <a:lnTo>
                    <a:pt x="25297" y="4118"/>
                  </a:lnTo>
                  <a:lnTo>
                    <a:pt x="24121" y="2941"/>
                  </a:lnTo>
                  <a:lnTo>
                    <a:pt x="22473" y="1647"/>
                  </a:lnTo>
                  <a:lnTo>
                    <a:pt x="20708" y="588"/>
                  </a:lnTo>
                  <a:lnTo>
                    <a:pt x="20002" y="235"/>
                  </a:lnTo>
                  <a:lnTo>
                    <a:pt x="19414" y="0"/>
                  </a:lnTo>
                  <a:close/>
                </a:path>
              </a:pathLst>
            </a:custGeom>
            <a:solidFill>
              <a:srgbClr val="E3E3E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20" name="Google Shape;1420;p16"/>
            <p:cNvSpPr/>
            <p:nvPr/>
          </p:nvSpPr>
          <p:spPr>
            <a:xfrm>
              <a:off x="5083625" y="3029575"/>
              <a:ext cx="635375" cy="691250"/>
            </a:xfrm>
            <a:custGeom>
              <a:avLst/>
              <a:gdLst/>
              <a:ahLst/>
              <a:cxnLst/>
              <a:rect l="l" t="t" r="r" b="b"/>
              <a:pathLst>
                <a:path w="25415" h="27650" fill="none" extrusionOk="0">
                  <a:moveTo>
                    <a:pt x="24709" y="26591"/>
                  </a:moveTo>
                  <a:lnTo>
                    <a:pt x="24709" y="26591"/>
                  </a:lnTo>
                  <a:lnTo>
                    <a:pt x="24709" y="26826"/>
                  </a:lnTo>
                  <a:lnTo>
                    <a:pt x="24591" y="26944"/>
                  </a:lnTo>
                  <a:lnTo>
                    <a:pt x="24356" y="27179"/>
                  </a:lnTo>
                  <a:lnTo>
                    <a:pt x="24003" y="27297"/>
                  </a:lnTo>
                  <a:lnTo>
                    <a:pt x="22826" y="27532"/>
                  </a:lnTo>
                  <a:lnTo>
                    <a:pt x="21414" y="27650"/>
                  </a:lnTo>
                  <a:lnTo>
                    <a:pt x="21414" y="27650"/>
                  </a:lnTo>
                  <a:lnTo>
                    <a:pt x="19650" y="27650"/>
                  </a:lnTo>
                  <a:lnTo>
                    <a:pt x="19650" y="27650"/>
                  </a:lnTo>
                  <a:lnTo>
                    <a:pt x="16120" y="27650"/>
                  </a:lnTo>
                  <a:lnTo>
                    <a:pt x="12590" y="27414"/>
                  </a:lnTo>
                  <a:lnTo>
                    <a:pt x="9884" y="27062"/>
                  </a:lnTo>
                  <a:lnTo>
                    <a:pt x="9060" y="26826"/>
                  </a:lnTo>
                  <a:lnTo>
                    <a:pt x="8590" y="26591"/>
                  </a:lnTo>
                  <a:lnTo>
                    <a:pt x="8590" y="26591"/>
                  </a:lnTo>
                  <a:lnTo>
                    <a:pt x="8472" y="26238"/>
                  </a:lnTo>
                  <a:lnTo>
                    <a:pt x="8472" y="26238"/>
                  </a:lnTo>
                  <a:lnTo>
                    <a:pt x="8472" y="26238"/>
                  </a:lnTo>
                  <a:lnTo>
                    <a:pt x="8472" y="25297"/>
                  </a:lnTo>
                  <a:lnTo>
                    <a:pt x="8707" y="24002"/>
                  </a:lnTo>
                  <a:lnTo>
                    <a:pt x="9649" y="20943"/>
                  </a:lnTo>
                  <a:lnTo>
                    <a:pt x="9649" y="20943"/>
                  </a:lnTo>
                  <a:lnTo>
                    <a:pt x="3766" y="22943"/>
                  </a:lnTo>
                  <a:lnTo>
                    <a:pt x="1765" y="23767"/>
                  </a:lnTo>
                  <a:lnTo>
                    <a:pt x="824" y="24120"/>
                  </a:lnTo>
                  <a:lnTo>
                    <a:pt x="824" y="24120"/>
                  </a:lnTo>
                  <a:lnTo>
                    <a:pt x="707" y="24002"/>
                  </a:lnTo>
                  <a:lnTo>
                    <a:pt x="589" y="23532"/>
                  </a:lnTo>
                  <a:lnTo>
                    <a:pt x="236" y="22238"/>
                  </a:lnTo>
                  <a:lnTo>
                    <a:pt x="1" y="20708"/>
                  </a:lnTo>
                  <a:lnTo>
                    <a:pt x="1" y="20237"/>
                  </a:lnTo>
                  <a:lnTo>
                    <a:pt x="118" y="19884"/>
                  </a:lnTo>
                  <a:lnTo>
                    <a:pt x="118" y="19884"/>
                  </a:lnTo>
                  <a:lnTo>
                    <a:pt x="354" y="19767"/>
                  </a:lnTo>
                  <a:lnTo>
                    <a:pt x="1059" y="19531"/>
                  </a:lnTo>
                  <a:lnTo>
                    <a:pt x="2942" y="18943"/>
                  </a:lnTo>
                  <a:lnTo>
                    <a:pt x="6001" y="18237"/>
                  </a:lnTo>
                  <a:lnTo>
                    <a:pt x="6001" y="18237"/>
                  </a:lnTo>
                  <a:lnTo>
                    <a:pt x="11060" y="16708"/>
                  </a:lnTo>
                  <a:lnTo>
                    <a:pt x="11060" y="16708"/>
                  </a:lnTo>
                  <a:lnTo>
                    <a:pt x="11296" y="15649"/>
                  </a:lnTo>
                  <a:lnTo>
                    <a:pt x="11413" y="14943"/>
                  </a:lnTo>
                  <a:lnTo>
                    <a:pt x="11413" y="14943"/>
                  </a:lnTo>
                  <a:lnTo>
                    <a:pt x="11296" y="14472"/>
                  </a:lnTo>
                  <a:lnTo>
                    <a:pt x="10943" y="14001"/>
                  </a:lnTo>
                  <a:lnTo>
                    <a:pt x="10472" y="13648"/>
                  </a:lnTo>
                  <a:lnTo>
                    <a:pt x="10002" y="13178"/>
                  </a:lnTo>
                  <a:lnTo>
                    <a:pt x="9060" y="12472"/>
                  </a:lnTo>
                  <a:lnTo>
                    <a:pt x="8590" y="12119"/>
                  </a:lnTo>
                  <a:lnTo>
                    <a:pt x="8472" y="11766"/>
                  </a:lnTo>
                  <a:lnTo>
                    <a:pt x="8472" y="11766"/>
                  </a:lnTo>
                  <a:lnTo>
                    <a:pt x="8472" y="11295"/>
                  </a:lnTo>
                  <a:lnTo>
                    <a:pt x="8707" y="10707"/>
                  </a:lnTo>
                  <a:lnTo>
                    <a:pt x="9413" y="9530"/>
                  </a:lnTo>
                  <a:lnTo>
                    <a:pt x="10119" y="8707"/>
                  </a:lnTo>
                  <a:lnTo>
                    <a:pt x="10237" y="8471"/>
                  </a:lnTo>
                  <a:lnTo>
                    <a:pt x="10119" y="8471"/>
                  </a:lnTo>
                  <a:lnTo>
                    <a:pt x="10119" y="8471"/>
                  </a:lnTo>
                  <a:lnTo>
                    <a:pt x="9884" y="8589"/>
                  </a:lnTo>
                  <a:lnTo>
                    <a:pt x="9766" y="8471"/>
                  </a:lnTo>
                  <a:lnTo>
                    <a:pt x="9649" y="8236"/>
                  </a:lnTo>
                  <a:lnTo>
                    <a:pt x="9766" y="7883"/>
                  </a:lnTo>
                  <a:lnTo>
                    <a:pt x="10119" y="6707"/>
                  </a:lnTo>
                  <a:lnTo>
                    <a:pt x="10943" y="5295"/>
                  </a:lnTo>
                  <a:lnTo>
                    <a:pt x="11884" y="3883"/>
                  </a:lnTo>
                  <a:lnTo>
                    <a:pt x="12943" y="2353"/>
                  </a:lnTo>
                  <a:lnTo>
                    <a:pt x="14120" y="1177"/>
                  </a:lnTo>
                  <a:lnTo>
                    <a:pt x="14708" y="706"/>
                  </a:lnTo>
                  <a:lnTo>
                    <a:pt x="15178" y="353"/>
                  </a:lnTo>
                  <a:lnTo>
                    <a:pt x="15178" y="353"/>
                  </a:lnTo>
                  <a:lnTo>
                    <a:pt x="16826" y="118"/>
                  </a:lnTo>
                  <a:lnTo>
                    <a:pt x="18120" y="0"/>
                  </a:lnTo>
                  <a:lnTo>
                    <a:pt x="19414" y="0"/>
                  </a:lnTo>
                  <a:lnTo>
                    <a:pt x="19414" y="0"/>
                  </a:lnTo>
                  <a:lnTo>
                    <a:pt x="20002" y="235"/>
                  </a:lnTo>
                  <a:lnTo>
                    <a:pt x="20708" y="588"/>
                  </a:lnTo>
                  <a:lnTo>
                    <a:pt x="22473" y="1647"/>
                  </a:lnTo>
                  <a:lnTo>
                    <a:pt x="24121" y="2941"/>
                  </a:lnTo>
                  <a:lnTo>
                    <a:pt x="25297" y="4118"/>
                  </a:lnTo>
                  <a:lnTo>
                    <a:pt x="25297" y="4118"/>
                  </a:lnTo>
                  <a:lnTo>
                    <a:pt x="25415" y="4353"/>
                  </a:lnTo>
                  <a:lnTo>
                    <a:pt x="25415" y="4824"/>
                  </a:lnTo>
                  <a:lnTo>
                    <a:pt x="25297" y="6236"/>
                  </a:lnTo>
                  <a:lnTo>
                    <a:pt x="24826" y="8118"/>
                  </a:lnTo>
                  <a:lnTo>
                    <a:pt x="24003" y="10236"/>
                  </a:lnTo>
                  <a:lnTo>
                    <a:pt x="24003" y="10236"/>
                  </a:lnTo>
                  <a:lnTo>
                    <a:pt x="24238" y="10119"/>
                  </a:lnTo>
                  <a:lnTo>
                    <a:pt x="24238" y="10119"/>
                  </a:lnTo>
                  <a:lnTo>
                    <a:pt x="24003" y="10354"/>
                  </a:lnTo>
                  <a:lnTo>
                    <a:pt x="24003" y="10354"/>
                  </a:lnTo>
                  <a:lnTo>
                    <a:pt x="23297" y="11884"/>
                  </a:lnTo>
                  <a:lnTo>
                    <a:pt x="22591" y="13413"/>
                  </a:lnTo>
                  <a:lnTo>
                    <a:pt x="22591" y="13413"/>
                  </a:lnTo>
                  <a:lnTo>
                    <a:pt x="22356" y="14354"/>
                  </a:lnTo>
                  <a:lnTo>
                    <a:pt x="22238" y="15296"/>
                  </a:lnTo>
                  <a:lnTo>
                    <a:pt x="22238" y="16943"/>
                  </a:lnTo>
                  <a:lnTo>
                    <a:pt x="22356" y="18590"/>
                  </a:lnTo>
                  <a:lnTo>
                    <a:pt x="22473" y="19884"/>
                  </a:lnTo>
                  <a:lnTo>
                    <a:pt x="22473" y="19884"/>
                  </a:lnTo>
                  <a:lnTo>
                    <a:pt x="22709" y="21767"/>
                  </a:lnTo>
                  <a:lnTo>
                    <a:pt x="23179" y="23532"/>
                  </a:lnTo>
                  <a:lnTo>
                    <a:pt x="23885" y="25179"/>
                  </a:lnTo>
                  <a:lnTo>
                    <a:pt x="24709" y="26473"/>
                  </a:lnTo>
                  <a:lnTo>
                    <a:pt x="24709" y="2659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21" name="Google Shape;1421;p16"/>
            <p:cNvSpPr/>
            <p:nvPr/>
          </p:nvSpPr>
          <p:spPr>
            <a:xfrm>
              <a:off x="5413075" y="3253125"/>
              <a:ext cx="161800" cy="176500"/>
            </a:xfrm>
            <a:custGeom>
              <a:avLst/>
              <a:gdLst/>
              <a:ahLst/>
              <a:cxnLst/>
              <a:rect l="l" t="t" r="r" b="b"/>
              <a:pathLst>
                <a:path w="6472" h="7060" extrusionOk="0">
                  <a:moveTo>
                    <a:pt x="6119" y="0"/>
                  </a:moveTo>
                  <a:lnTo>
                    <a:pt x="6001" y="1059"/>
                  </a:lnTo>
                  <a:lnTo>
                    <a:pt x="5766" y="2000"/>
                  </a:lnTo>
                  <a:lnTo>
                    <a:pt x="5530" y="2824"/>
                  </a:lnTo>
                  <a:lnTo>
                    <a:pt x="4942" y="3530"/>
                  </a:lnTo>
                  <a:lnTo>
                    <a:pt x="4118" y="4236"/>
                  </a:lnTo>
                  <a:lnTo>
                    <a:pt x="3059" y="5059"/>
                  </a:lnTo>
                  <a:lnTo>
                    <a:pt x="0" y="7060"/>
                  </a:lnTo>
                  <a:lnTo>
                    <a:pt x="3648" y="5295"/>
                  </a:lnTo>
                  <a:lnTo>
                    <a:pt x="5177" y="4471"/>
                  </a:lnTo>
                  <a:lnTo>
                    <a:pt x="5766" y="4118"/>
                  </a:lnTo>
                  <a:lnTo>
                    <a:pt x="6001" y="3883"/>
                  </a:lnTo>
                  <a:lnTo>
                    <a:pt x="6236" y="3412"/>
                  </a:lnTo>
                  <a:lnTo>
                    <a:pt x="6354" y="2706"/>
                  </a:lnTo>
                  <a:lnTo>
                    <a:pt x="6472" y="1647"/>
                  </a:lnTo>
                  <a:lnTo>
                    <a:pt x="6119" y="0"/>
                  </a:lnTo>
                  <a:close/>
                </a:path>
              </a:pathLst>
            </a:custGeom>
            <a:solidFill>
              <a:srgbClr val="9D99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22" name="Google Shape;1422;p16"/>
            <p:cNvSpPr/>
            <p:nvPr/>
          </p:nvSpPr>
          <p:spPr>
            <a:xfrm>
              <a:off x="5413075" y="3253125"/>
              <a:ext cx="161800" cy="176500"/>
            </a:xfrm>
            <a:custGeom>
              <a:avLst/>
              <a:gdLst/>
              <a:ahLst/>
              <a:cxnLst/>
              <a:rect l="l" t="t" r="r" b="b"/>
              <a:pathLst>
                <a:path w="6472" h="7060" fill="none" extrusionOk="0">
                  <a:moveTo>
                    <a:pt x="6119" y="0"/>
                  </a:moveTo>
                  <a:lnTo>
                    <a:pt x="6119" y="0"/>
                  </a:lnTo>
                  <a:lnTo>
                    <a:pt x="6001" y="1059"/>
                  </a:lnTo>
                  <a:lnTo>
                    <a:pt x="5766" y="2000"/>
                  </a:lnTo>
                  <a:lnTo>
                    <a:pt x="5530" y="2824"/>
                  </a:lnTo>
                  <a:lnTo>
                    <a:pt x="4942" y="3530"/>
                  </a:lnTo>
                  <a:lnTo>
                    <a:pt x="4118" y="4236"/>
                  </a:lnTo>
                  <a:lnTo>
                    <a:pt x="3059" y="5059"/>
                  </a:lnTo>
                  <a:lnTo>
                    <a:pt x="0" y="7060"/>
                  </a:lnTo>
                  <a:lnTo>
                    <a:pt x="0" y="7060"/>
                  </a:lnTo>
                  <a:lnTo>
                    <a:pt x="3648" y="5295"/>
                  </a:lnTo>
                  <a:lnTo>
                    <a:pt x="5177" y="4471"/>
                  </a:lnTo>
                  <a:lnTo>
                    <a:pt x="5766" y="4118"/>
                  </a:lnTo>
                  <a:lnTo>
                    <a:pt x="6001" y="3883"/>
                  </a:lnTo>
                  <a:lnTo>
                    <a:pt x="6001" y="3883"/>
                  </a:lnTo>
                  <a:lnTo>
                    <a:pt x="6236" y="3412"/>
                  </a:lnTo>
                  <a:lnTo>
                    <a:pt x="6354" y="2706"/>
                  </a:lnTo>
                  <a:lnTo>
                    <a:pt x="6472" y="1647"/>
                  </a:lnTo>
                  <a:lnTo>
                    <a:pt x="6119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23" name="Google Shape;1423;p16"/>
            <p:cNvSpPr/>
            <p:nvPr/>
          </p:nvSpPr>
          <p:spPr>
            <a:xfrm>
              <a:off x="5639550" y="3441375"/>
              <a:ext cx="25" cy="20600"/>
            </a:xfrm>
            <a:custGeom>
              <a:avLst/>
              <a:gdLst/>
              <a:ahLst/>
              <a:cxnLst/>
              <a:rect l="l" t="t" r="r" b="b"/>
              <a:pathLst>
                <a:path w="1" h="824" extrusionOk="0">
                  <a:moveTo>
                    <a:pt x="1" y="0"/>
                  </a:moveTo>
                  <a:lnTo>
                    <a:pt x="1" y="0"/>
                  </a:lnTo>
                  <a:lnTo>
                    <a:pt x="1" y="824"/>
                  </a:lnTo>
                  <a:lnTo>
                    <a:pt x="1" y="824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AFAAB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24" name="Google Shape;1424;p16"/>
            <p:cNvSpPr/>
            <p:nvPr/>
          </p:nvSpPr>
          <p:spPr>
            <a:xfrm>
              <a:off x="5639550" y="3441375"/>
              <a:ext cx="25" cy="20600"/>
            </a:xfrm>
            <a:custGeom>
              <a:avLst/>
              <a:gdLst/>
              <a:ahLst/>
              <a:cxnLst/>
              <a:rect l="l" t="t" r="r" b="b"/>
              <a:pathLst>
                <a:path w="1" h="824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824"/>
                  </a:lnTo>
                  <a:lnTo>
                    <a:pt x="1" y="824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25" name="Google Shape;1425;p16"/>
            <p:cNvSpPr/>
            <p:nvPr/>
          </p:nvSpPr>
          <p:spPr>
            <a:xfrm>
              <a:off x="5348350" y="3441375"/>
              <a:ext cx="291225" cy="114725"/>
            </a:xfrm>
            <a:custGeom>
              <a:avLst/>
              <a:gdLst/>
              <a:ahLst/>
              <a:cxnLst/>
              <a:rect l="l" t="t" r="r" b="b"/>
              <a:pathLst>
                <a:path w="11649" h="4589" extrusionOk="0">
                  <a:moveTo>
                    <a:pt x="11649" y="0"/>
                  </a:moveTo>
                  <a:lnTo>
                    <a:pt x="11178" y="236"/>
                  </a:lnTo>
                  <a:lnTo>
                    <a:pt x="9766" y="824"/>
                  </a:lnTo>
                  <a:lnTo>
                    <a:pt x="5766" y="2353"/>
                  </a:lnTo>
                  <a:lnTo>
                    <a:pt x="1" y="4589"/>
                  </a:lnTo>
                  <a:lnTo>
                    <a:pt x="1" y="4589"/>
                  </a:lnTo>
                  <a:lnTo>
                    <a:pt x="2001" y="4001"/>
                  </a:lnTo>
                  <a:lnTo>
                    <a:pt x="5766" y="2942"/>
                  </a:lnTo>
                  <a:lnTo>
                    <a:pt x="9649" y="1765"/>
                  </a:lnTo>
                  <a:lnTo>
                    <a:pt x="11649" y="1177"/>
                  </a:lnTo>
                  <a:lnTo>
                    <a:pt x="11649" y="824"/>
                  </a:lnTo>
                  <a:lnTo>
                    <a:pt x="11649" y="0"/>
                  </a:lnTo>
                  <a:close/>
                </a:path>
              </a:pathLst>
            </a:custGeom>
            <a:solidFill>
              <a:srgbClr val="9D99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26" name="Google Shape;1426;p16"/>
            <p:cNvSpPr/>
            <p:nvPr/>
          </p:nvSpPr>
          <p:spPr>
            <a:xfrm>
              <a:off x="5348350" y="3441375"/>
              <a:ext cx="291225" cy="114725"/>
            </a:xfrm>
            <a:custGeom>
              <a:avLst/>
              <a:gdLst/>
              <a:ahLst/>
              <a:cxnLst/>
              <a:rect l="l" t="t" r="r" b="b"/>
              <a:pathLst>
                <a:path w="11649" h="4589" fill="none" extrusionOk="0">
                  <a:moveTo>
                    <a:pt x="11649" y="0"/>
                  </a:moveTo>
                  <a:lnTo>
                    <a:pt x="11649" y="0"/>
                  </a:lnTo>
                  <a:lnTo>
                    <a:pt x="11178" y="236"/>
                  </a:lnTo>
                  <a:lnTo>
                    <a:pt x="9766" y="824"/>
                  </a:lnTo>
                  <a:lnTo>
                    <a:pt x="5766" y="2353"/>
                  </a:lnTo>
                  <a:lnTo>
                    <a:pt x="1" y="4589"/>
                  </a:lnTo>
                  <a:lnTo>
                    <a:pt x="1" y="4589"/>
                  </a:lnTo>
                  <a:lnTo>
                    <a:pt x="1" y="4589"/>
                  </a:lnTo>
                  <a:lnTo>
                    <a:pt x="1" y="4589"/>
                  </a:lnTo>
                  <a:lnTo>
                    <a:pt x="2001" y="4001"/>
                  </a:lnTo>
                  <a:lnTo>
                    <a:pt x="5766" y="2942"/>
                  </a:lnTo>
                  <a:lnTo>
                    <a:pt x="5766" y="2942"/>
                  </a:lnTo>
                  <a:lnTo>
                    <a:pt x="9649" y="1765"/>
                  </a:lnTo>
                  <a:lnTo>
                    <a:pt x="11649" y="1177"/>
                  </a:lnTo>
                  <a:lnTo>
                    <a:pt x="11649" y="1177"/>
                  </a:lnTo>
                  <a:lnTo>
                    <a:pt x="11649" y="1177"/>
                  </a:lnTo>
                  <a:lnTo>
                    <a:pt x="11649" y="1177"/>
                  </a:lnTo>
                  <a:lnTo>
                    <a:pt x="11649" y="824"/>
                  </a:lnTo>
                  <a:lnTo>
                    <a:pt x="11649" y="824"/>
                  </a:lnTo>
                  <a:lnTo>
                    <a:pt x="11649" y="0"/>
                  </a:lnTo>
                  <a:lnTo>
                    <a:pt x="11649" y="0"/>
                  </a:lnTo>
                  <a:lnTo>
                    <a:pt x="11649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27" name="Google Shape;1427;p16"/>
            <p:cNvSpPr/>
            <p:nvPr/>
          </p:nvSpPr>
          <p:spPr>
            <a:xfrm>
              <a:off x="5339525" y="32413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AFAAB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28" name="Google Shape;1428;p16"/>
            <p:cNvSpPr/>
            <p:nvPr/>
          </p:nvSpPr>
          <p:spPr>
            <a:xfrm>
              <a:off x="5339525" y="32413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29" name="Google Shape;1429;p16"/>
            <p:cNvSpPr/>
            <p:nvPr/>
          </p:nvSpPr>
          <p:spPr>
            <a:xfrm>
              <a:off x="5339525" y="3147225"/>
              <a:ext cx="76500" cy="94150"/>
            </a:xfrm>
            <a:custGeom>
              <a:avLst/>
              <a:gdLst/>
              <a:ahLst/>
              <a:cxnLst/>
              <a:rect l="l" t="t" r="r" b="b"/>
              <a:pathLst>
                <a:path w="3060" h="3766" extrusionOk="0">
                  <a:moveTo>
                    <a:pt x="3060" y="0"/>
                  </a:moveTo>
                  <a:lnTo>
                    <a:pt x="2589" y="118"/>
                  </a:lnTo>
                  <a:lnTo>
                    <a:pt x="2001" y="471"/>
                  </a:lnTo>
                  <a:lnTo>
                    <a:pt x="1177" y="942"/>
                  </a:lnTo>
                  <a:lnTo>
                    <a:pt x="1" y="3765"/>
                  </a:lnTo>
                  <a:lnTo>
                    <a:pt x="589" y="2824"/>
                  </a:lnTo>
                  <a:lnTo>
                    <a:pt x="1060" y="2001"/>
                  </a:lnTo>
                  <a:lnTo>
                    <a:pt x="1766" y="1295"/>
                  </a:lnTo>
                  <a:lnTo>
                    <a:pt x="3060" y="0"/>
                  </a:lnTo>
                  <a:close/>
                </a:path>
              </a:pathLst>
            </a:custGeom>
            <a:solidFill>
              <a:srgbClr val="9D99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30" name="Google Shape;1430;p16"/>
            <p:cNvSpPr/>
            <p:nvPr/>
          </p:nvSpPr>
          <p:spPr>
            <a:xfrm>
              <a:off x="5339525" y="3147225"/>
              <a:ext cx="76500" cy="94150"/>
            </a:xfrm>
            <a:custGeom>
              <a:avLst/>
              <a:gdLst/>
              <a:ahLst/>
              <a:cxnLst/>
              <a:rect l="l" t="t" r="r" b="b"/>
              <a:pathLst>
                <a:path w="3060" h="3766" fill="none" extrusionOk="0">
                  <a:moveTo>
                    <a:pt x="3060" y="0"/>
                  </a:moveTo>
                  <a:lnTo>
                    <a:pt x="3060" y="0"/>
                  </a:lnTo>
                  <a:lnTo>
                    <a:pt x="2589" y="118"/>
                  </a:lnTo>
                  <a:lnTo>
                    <a:pt x="2001" y="471"/>
                  </a:lnTo>
                  <a:lnTo>
                    <a:pt x="1177" y="942"/>
                  </a:lnTo>
                  <a:lnTo>
                    <a:pt x="1177" y="942"/>
                  </a:lnTo>
                  <a:lnTo>
                    <a:pt x="1" y="3765"/>
                  </a:lnTo>
                  <a:lnTo>
                    <a:pt x="1" y="3765"/>
                  </a:lnTo>
                  <a:lnTo>
                    <a:pt x="1" y="3765"/>
                  </a:lnTo>
                  <a:lnTo>
                    <a:pt x="1" y="3765"/>
                  </a:lnTo>
                  <a:lnTo>
                    <a:pt x="589" y="2824"/>
                  </a:lnTo>
                  <a:lnTo>
                    <a:pt x="1060" y="2001"/>
                  </a:lnTo>
                  <a:lnTo>
                    <a:pt x="1766" y="1295"/>
                  </a:lnTo>
                  <a:lnTo>
                    <a:pt x="306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31" name="Google Shape;1431;p16"/>
            <p:cNvSpPr/>
            <p:nvPr/>
          </p:nvSpPr>
          <p:spPr>
            <a:xfrm>
              <a:off x="5601325" y="3694325"/>
              <a:ext cx="403000" cy="894250"/>
            </a:xfrm>
            <a:custGeom>
              <a:avLst/>
              <a:gdLst/>
              <a:ahLst/>
              <a:cxnLst/>
              <a:rect l="l" t="t" r="r" b="b"/>
              <a:pathLst>
                <a:path w="16120" h="35770" extrusionOk="0">
                  <a:moveTo>
                    <a:pt x="4001" y="1"/>
                  </a:moveTo>
                  <a:lnTo>
                    <a:pt x="4001" y="119"/>
                  </a:lnTo>
                  <a:lnTo>
                    <a:pt x="4001" y="354"/>
                  </a:lnTo>
                  <a:lnTo>
                    <a:pt x="3766" y="472"/>
                  </a:lnTo>
                  <a:lnTo>
                    <a:pt x="3060" y="707"/>
                  </a:lnTo>
                  <a:lnTo>
                    <a:pt x="2001" y="942"/>
                  </a:lnTo>
                  <a:lnTo>
                    <a:pt x="706" y="1060"/>
                  </a:lnTo>
                  <a:lnTo>
                    <a:pt x="353" y="5178"/>
                  </a:lnTo>
                  <a:lnTo>
                    <a:pt x="118" y="9531"/>
                  </a:lnTo>
                  <a:lnTo>
                    <a:pt x="0" y="14120"/>
                  </a:lnTo>
                  <a:lnTo>
                    <a:pt x="118" y="18826"/>
                  </a:lnTo>
                  <a:lnTo>
                    <a:pt x="353" y="21062"/>
                  </a:lnTo>
                  <a:lnTo>
                    <a:pt x="589" y="23297"/>
                  </a:lnTo>
                  <a:lnTo>
                    <a:pt x="824" y="25650"/>
                  </a:lnTo>
                  <a:lnTo>
                    <a:pt x="1295" y="27768"/>
                  </a:lnTo>
                  <a:lnTo>
                    <a:pt x="1765" y="29886"/>
                  </a:lnTo>
                  <a:lnTo>
                    <a:pt x="2236" y="32004"/>
                  </a:lnTo>
                  <a:lnTo>
                    <a:pt x="2942" y="33887"/>
                  </a:lnTo>
                  <a:lnTo>
                    <a:pt x="3648" y="35769"/>
                  </a:lnTo>
                  <a:lnTo>
                    <a:pt x="4707" y="35416"/>
                  </a:lnTo>
                  <a:lnTo>
                    <a:pt x="5530" y="35181"/>
                  </a:lnTo>
                  <a:lnTo>
                    <a:pt x="6236" y="34828"/>
                  </a:lnTo>
                  <a:lnTo>
                    <a:pt x="7060" y="34710"/>
                  </a:lnTo>
                  <a:lnTo>
                    <a:pt x="9060" y="34593"/>
                  </a:lnTo>
                  <a:lnTo>
                    <a:pt x="12472" y="34593"/>
                  </a:lnTo>
                  <a:lnTo>
                    <a:pt x="13884" y="34357"/>
                  </a:lnTo>
                  <a:lnTo>
                    <a:pt x="14590" y="34240"/>
                  </a:lnTo>
                  <a:lnTo>
                    <a:pt x="15178" y="34004"/>
                  </a:lnTo>
                  <a:lnTo>
                    <a:pt x="15649" y="33651"/>
                  </a:lnTo>
                  <a:lnTo>
                    <a:pt x="16120" y="33298"/>
                  </a:lnTo>
                  <a:lnTo>
                    <a:pt x="14237" y="30827"/>
                  </a:lnTo>
                  <a:lnTo>
                    <a:pt x="12708" y="28474"/>
                  </a:lnTo>
                  <a:lnTo>
                    <a:pt x="11531" y="26121"/>
                  </a:lnTo>
                  <a:lnTo>
                    <a:pt x="10472" y="23886"/>
                  </a:lnTo>
                  <a:lnTo>
                    <a:pt x="9766" y="21768"/>
                  </a:lnTo>
                  <a:lnTo>
                    <a:pt x="9178" y="19532"/>
                  </a:lnTo>
                  <a:lnTo>
                    <a:pt x="8707" y="17532"/>
                  </a:lnTo>
                  <a:lnTo>
                    <a:pt x="8354" y="15414"/>
                  </a:lnTo>
                  <a:lnTo>
                    <a:pt x="7648" y="11414"/>
                  </a:lnTo>
                  <a:lnTo>
                    <a:pt x="7413" y="9414"/>
                  </a:lnTo>
                  <a:lnTo>
                    <a:pt x="6942" y="7531"/>
                  </a:lnTo>
                  <a:lnTo>
                    <a:pt x="6472" y="5648"/>
                  </a:lnTo>
                  <a:lnTo>
                    <a:pt x="5883" y="3766"/>
                  </a:lnTo>
                  <a:lnTo>
                    <a:pt x="5060" y="1883"/>
                  </a:lnTo>
                  <a:lnTo>
                    <a:pt x="4001" y="1"/>
                  </a:lnTo>
                  <a:close/>
                </a:path>
              </a:pathLst>
            </a:custGeom>
            <a:solidFill>
              <a:srgbClr val="C23A3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32" name="Google Shape;1432;p16"/>
            <p:cNvSpPr/>
            <p:nvPr/>
          </p:nvSpPr>
          <p:spPr>
            <a:xfrm>
              <a:off x="5601325" y="3694325"/>
              <a:ext cx="403000" cy="894250"/>
            </a:xfrm>
            <a:custGeom>
              <a:avLst/>
              <a:gdLst/>
              <a:ahLst/>
              <a:cxnLst/>
              <a:rect l="l" t="t" r="r" b="b"/>
              <a:pathLst>
                <a:path w="16120" h="35770" fill="none" extrusionOk="0">
                  <a:moveTo>
                    <a:pt x="4001" y="1"/>
                  </a:moveTo>
                  <a:lnTo>
                    <a:pt x="4001" y="1"/>
                  </a:lnTo>
                  <a:lnTo>
                    <a:pt x="4001" y="119"/>
                  </a:lnTo>
                  <a:lnTo>
                    <a:pt x="4001" y="119"/>
                  </a:lnTo>
                  <a:lnTo>
                    <a:pt x="4001" y="354"/>
                  </a:lnTo>
                  <a:lnTo>
                    <a:pt x="3766" y="472"/>
                  </a:lnTo>
                  <a:lnTo>
                    <a:pt x="3060" y="707"/>
                  </a:lnTo>
                  <a:lnTo>
                    <a:pt x="2001" y="942"/>
                  </a:lnTo>
                  <a:lnTo>
                    <a:pt x="706" y="1060"/>
                  </a:lnTo>
                  <a:lnTo>
                    <a:pt x="706" y="1060"/>
                  </a:lnTo>
                  <a:lnTo>
                    <a:pt x="706" y="1060"/>
                  </a:lnTo>
                  <a:lnTo>
                    <a:pt x="353" y="5178"/>
                  </a:lnTo>
                  <a:lnTo>
                    <a:pt x="118" y="9531"/>
                  </a:lnTo>
                  <a:lnTo>
                    <a:pt x="0" y="14120"/>
                  </a:lnTo>
                  <a:lnTo>
                    <a:pt x="118" y="18826"/>
                  </a:lnTo>
                  <a:lnTo>
                    <a:pt x="353" y="21062"/>
                  </a:lnTo>
                  <a:lnTo>
                    <a:pt x="589" y="23297"/>
                  </a:lnTo>
                  <a:lnTo>
                    <a:pt x="824" y="25650"/>
                  </a:lnTo>
                  <a:lnTo>
                    <a:pt x="1295" y="27768"/>
                  </a:lnTo>
                  <a:lnTo>
                    <a:pt x="1765" y="29886"/>
                  </a:lnTo>
                  <a:lnTo>
                    <a:pt x="2236" y="32004"/>
                  </a:lnTo>
                  <a:lnTo>
                    <a:pt x="2942" y="33887"/>
                  </a:lnTo>
                  <a:lnTo>
                    <a:pt x="3648" y="35769"/>
                  </a:lnTo>
                  <a:lnTo>
                    <a:pt x="3648" y="35769"/>
                  </a:lnTo>
                  <a:lnTo>
                    <a:pt x="4707" y="35416"/>
                  </a:lnTo>
                  <a:lnTo>
                    <a:pt x="5530" y="35181"/>
                  </a:lnTo>
                  <a:lnTo>
                    <a:pt x="5530" y="35181"/>
                  </a:lnTo>
                  <a:lnTo>
                    <a:pt x="6236" y="34828"/>
                  </a:lnTo>
                  <a:lnTo>
                    <a:pt x="7060" y="34710"/>
                  </a:lnTo>
                  <a:lnTo>
                    <a:pt x="9060" y="34593"/>
                  </a:lnTo>
                  <a:lnTo>
                    <a:pt x="9060" y="34593"/>
                  </a:lnTo>
                  <a:lnTo>
                    <a:pt x="9884" y="34593"/>
                  </a:lnTo>
                  <a:lnTo>
                    <a:pt x="9884" y="34593"/>
                  </a:lnTo>
                  <a:lnTo>
                    <a:pt x="10825" y="34593"/>
                  </a:lnTo>
                  <a:lnTo>
                    <a:pt x="10825" y="34593"/>
                  </a:lnTo>
                  <a:lnTo>
                    <a:pt x="12472" y="34593"/>
                  </a:lnTo>
                  <a:lnTo>
                    <a:pt x="13884" y="34357"/>
                  </a:lnTo>
                  <a:lnTo>
                    <a:pt x="14590" y="34240"/>
                  </a:lnTo>
                  <a:lnTo>
                    <a:pt x="15178" y="34004"/>
                  </a:lnTo>
                  <a:lnTo>
                    <a:pt x="15649" y="33651"/>
                  </a:lnTo>
                  <a:lnTo>
                    <a:pt x="16120" y="33298"/>
                  </a:lnTo>
                  <a:lnTo>
                    <a:pt x="16120" y="33298"/>
                  </a:lnTo>
                  <a:lnTo>
                    <a:pt x="14237" y="30827"/>
                  </a:lnTo>
                  <a:lnTo>
                    <a:pt x="12708" y="28474"/>
                  </a:lnTo>
                  <a:lnTo>
                    <a:pt x="11531" y="26121"/>
                  </a:lnTo>
                  <a:lnTo>
                    <a:pt x="10472" y="23886"/>
                  </a:lnTo>
                  <a:lnTo>
                    <a:pt x="9766" y="21768"/>
                  </a:lnTo>
                  <a:lnTo>
                    <a:pt x="9178" y="19532"/>
                  </a:lnTo>
                  <a:lnTo>
                    <a:pt x="8707" y="17532"/>
                  </a:lnTo>
                  <a:lnTo>
                    <a:pt x="8354" y="15414"/>
                  </a:lnTo>
                  <a:lnTo>
                    <a:pt x="7648" y="11414"/>
                  </a:lnTo>
                  <a:lnTo>
                    <a:pt x="7413" y="9414"/>
                  </a:lnTo>
                  <a:lnTo>
                    <a:pt x="6942" y="7531"/>
                  </a:lnTo>
                  <a:lnTo>
                    <a:pt x="6472" y="5648"/>
                  </a:lnTo>
                  <a:lnTo>
                    <a:pt x="5883" y="3766"/>
                  </a:lnTo>
                  <a:lnTo>
                    <a:pt x="5060" y="1883"/>
                  </a:lnTo>
                  <a:lnTo>
                    <a:pt x="400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33" name="Google Shape;1433;p16"/>
            <p:cNvSpPr/>
            <p:nvPr/>
          </p:nvSpPr>
          <p:spPr>
            <a:xfrm>
              <a:off x="5657200" y="3600200"/>
              <a:ext cx="44150" cy="97100"/>
            </a:xfrm>
            <a:custGeom>
              <a:avLst/>
              <a:gdLst/>
              <a:ahLst/>
              <a:cxnLst/>
              <a:rect l="l" t="t" r="r" b="b"/>
              <a:pathLst>
                <a:path w="1766" h="3884" extrusionOk="0">
                  <a:moveTo>
                    <a:pt x="1" y="1"/>
                  </a:moveTo>
                  <a:lnTo>
                    <a:pt x="1" y="1"/>
                  </a:lnTo>
                  <a:lnTo>
                    <a:pt x="354" y="1060"/>
                  </a:lnTo>
                  <a:lnTo>
                    <a:pt x="707" y="2001"/>
                  </a:lnTo>
                  <a:lnTo>
                    <a:pt x="1178" y="2825"/>
                  </a:lnTo>
                  <a:lnTo>
                    <a:pt x="1766" y="3648"/>
                  </a:lnTo>
                  <a:lnTo>
                    <a:pt x="1766" y="3766"/>
                  </a:lnTo>
                  <a:lnTo>
                    <a:pt x="1766" y="3766"/>
                  </a:lnTo>
                  <a:lnTo>
                    <a:pt x="1766" y="3884"/>
                  </a:lnTo>
                  <a:lnTo>
                    <a:pt x="1766" y="3884"/>
                  </a:lnTo>
                  <a:lnTo>
                    <a:pt x="1766" y="3766"/>
                  </a:lnTo>
                  <a:lnTo>
                    <a:pt x="1766" y="3766"/>
                  </a:lnTo>
                  <a:lnTo>
                    <a:pt x="1766" y="3766"/>
                  </a:lnTo>
                  <a:lnTo>
                    <a:pt x="1766" y="3766"/>
                  </a:lnTo>
                  <a:lnTo>
                    <a:pt x="1766" y="3648"/>
                  </a:lnTo>
                  <a:lnTo>
                    <a:pt x="1766" y="3648"/>
                  </a:lnTo>
                  <a:lnTo>
                    <a:pt x="1178" y="2825"/>
                  </a:lnTo>
                  <a:lnTo>
                    <a:pt x="707" y="2001"/>
                  </a:lnTo>
                  <a:lnTo>
                    <a:pt x="354" y="106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B9B6B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34" name="Google Shape;1434;p16"/>
            <p:cNvSpPr/>
            <p:nvPr/>
          </p:nvSpPr>
          <p:spPr>
            <a:xfrm>
              <a:off x="5657200" y="3600200"/>
              <a:ext cx="44150" cy="97100"/>
            </a:xfrm>
            <a:custGeom>
              <a:avLst/>
              <a:gdLst/>
              <a:ahLst/>
              <a:cxnLst/>
              <a:rect l="l" t="t" r="r" b="b"/>
              <a:pathLst>
                <a:path w="1766" h="3884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354" y="1060"/>
                  </a:lnTo>
                  <a:lnTo>
                    <a:pt x="707" y="2001"/>
                  </a:lnTo>
                  <a:lnTo>
                    <a:pt x="1178" y="2825"/>
                  </a:lnTo>
                  <a:lnTo>
                    <a:pt x="1766" y="3648"/>
                  </a:lnTo>
                  <a:lnTo>
                    <a:pt x="1766" y="3766"/>
                  </a:lnTo>
                  <a:lnTo>
                    <a:pt x="1766" y="3766"/>
                  </a:lnTo>
                  <a:lnTo>
                    <a:pt x="1766" y="3884"/>
                  </a:lnTo>
                  <a:lnTo>
                    <a:pt x="1766" y="3884"/>
                  </a:lnTo>
                  <a:lnTo>
                    <a:pt x="1766" y="3766"/>
                  </a:lnTo>
                  <a:lnTo>
                    <a:pt x="1766" y="3766"/>
                  </a:lnTo>
                  <a:lnTo>
                    <a:pt x="1766" y="3766"/>
                  </a:lnTo>
                  <a:lnTo>
                    <a:pt x="1766" y="3766"/>
                  </a:lnTo>
                  <a:lnTo>
                    <a:pt x="1766" y="3648"/>
                  </a:lnTo>
                  <a:lnTo>
                    <a:pt x="1766" y="3648"/>
                  </a:lnTo>
                  <a:lnTo>
                    <a:pt x="1178" y="2825"/>
                  </a:lnTo>
                  <a:lnTo>
                    <a:pt x="707" y="2001"/>
                  </a:lnTo>
                  <a:lnTo>
                    <a:pt x="354" y="1060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35" name="Google Shape;1435;p16"/>
            <p:cNvSpPr/>
            <p:nvPr/>
          </p:nvSpPr>
          <p:spPr>
            <a:xfrm>
              <a:off x="5618975" y="3526675"/>
              <a:ext cx="82375" cy="194150"/>
            </a:xfrm>
            <a:custGeom>
              <a:avLst/>
              <a:gdLst/>
              <a:ahLst/>
              <a:cxnLst/>
              <a:rect l="l" t="t" r="r" b="b"/>
              <a:pathLst>
                <a:path w="3295" h="7766" extrusionOk="0">
                  <a:moveTo>
                    <a:pt x="1059" y="0"/>
                  </a:moveTo>
                  <a:lnTo>
                    <a:pt x="353" y="4471"/>
                  </a:lnTo>
                  <a:lnTo>
                    <a:pt x="0" y="7766"/>
                  </a:lnTo>
                  <a:lnTo>
                    <a:pt x="1295" y="7648"/>
                  </a:lnTo>
                  <a:lnTo>
                    <a:pt x="2354" y="7413"/>
                  </a:lnTo>
                  <a:lnTo>
                    <a:pt x="3060" y="7178"/>
                  </a:lnTo>
                  <a:lnTo>
                    <a:pt x="3295" y="7060"/>
                  </a:lnTo>
                  <a:lnTo>
                    <a:pt x="3295" y="6825"/>
                  </a:lnTo>
                  <a:lnTo>
                    <a:pt x="3295" y="6707"/>
                  </a:lnTo>
                  <a:lnTo>
                    <a:pt x="3295" y="6589"/>
                  </a:lnTo>
                  <a:lnTo>
                    <a:pt x="2707" y="5766"/>
                  </a:lnTo>
                  <a:lnTo>
                    <a:pt x="2236" y="4942"/>
                  </a:lnTo>
                  <a:lnTo>
                    <a:pt x="1883" y="4001"/>
                  </a:lnTo>
                  <a:lnTo>
                    <a:pt x="1530" y="2942"/>
                  </a:lnTo>
                  <a:lnTo>
                    <a:pt x="1177" y="1530"/>
                  </a:lnTo>
                  <a:lnTo>
                    <a:pt x="1059" y="0"/>
                  </a:lnTo>
                  <a:close/>
                </a:path>
              </a:pathLst>
            </a:custGeom>
            <a:solidFill>
              <a:srgbClr val="B9B6B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36" name="Google Shape;1436;p16"/>
            <p:cNvSpPr/>
            <p:nvPr/>
          </p:nvSpPr>
          <p:spPr>
            <a:xfrm>
              <a:off x="5618975" y="3526675"/>
              <a:ext cx="82375" cy="194150"/>
            </a:xfrm>
            <a:custGeom>
              <a:avLst/>
              <a:gdLst/>
              <a:ahLst/>
              <a:cxnLst/>
              <a:rect l="l" t="t" r="r" b="b"/>
              <a:pathLst>
                <a:path w="3295" h="7766" fill="none" extrusionOk="0">
                  <a:moveTo>
                    <a:pt x="1059" y="0"/>
                  </a:moveTo>
                  <a:lnTo>
                    <a:pt x="1059" y="0"/>
                  </a:lnTo>
                  <a:lnTo>
                    <a:pt x="353" y="4471"/>
                  </a:lnTo>
                  <a:lnTo>
                    <a:pt x="353" y="4471"/>
                  </a:lnTo>
                  <a:lnTo>
                    <a:pt x="0" y="7766"/>
                  </a:lnTo>
                  <a:lnTo>
                    <a:pt x="0" y="7766"/>
                  </a:lnTo>
                  <a:lnTo>
                    <a:pt x="0" y="7766"/>
                  </a:lnTo>
                  <a:lnTo>
                    <a:pt x="0" y="7766"/>
                  </a:lnTo>
                  <a:lnTo>
                    <a:pt x="1295" y="7648"/>
                  </a:lnTo>
                  <a:lnTo>
                    <a:pt x="2354" y="7413"/>
                  </a:lnTo>
                  <a:lnTo>
                    <a:pt x="3060" y="7178"/>
                  </a:lnTo>
                  <a:lnTo>
                    <a:pt x="3295" y="7060"/>
                  </a:lnTo>
                  <a:lnTo>
                    <a:pt x="3295" y="6825"/>
                  </a:lnTo>
                  <a:lnTo>
                    <a:pt x="3295" y="6825"/>
                  </a:lnTo>
                  <a:lnTo>
                    <a:pt x="3295" y="6707"/>
                  </a:lnTo>
                  <a:lnTo>
                    <a:pt x="3295" y="6589"/>
                  </a:lnTo>
                  <a:lnTo>
                    <a:pt x="3295" y="6589"/>
                  </a:lnTo>
                  <a:lnTo>
                    <a:pt x="2707" y="5766"/>
                  </a:lnTo>
                  <a:lnTo>
                    <a:pt x="2236" y="4942"/>
                  </a:lnTo>
                  <a:lnTo>
                    <a:pt x="1883" y="4001"/>
                  </a:lnTo>
                  <a:lnTo>
                    <a:pt x="1530" y="2942"/>
                  </a:lnTo>
                  <a:lnTo>
                    <a:pt x="1530" y="2942"/>
                  </a:lnTo>
                  <a:lnTo>
                    <a:pt x="1177" y="1530"/>
                  </a:lnTo>
                  <a:lnTo>
                    <a:pt x="1059" y="0"/>
                  </a:lnTo>
                  <a:lnTo>
                    <a:pt x="1059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37" name="Google Shape;1437;p16"/>
            <p:cNvSpPr/>
            <p:nvPr/>
          </p:nvSpPr>
          <p:spPr>
            <a:xfrm>
              <a:off x="5424825" y="2808950"/>
              <a:ext cx="182400" cy="164750"/>
            </a:xfrm>
            <a:custGeom>
              <a:avLst/>
              <a:gdLst/>
              <a:ahLst/>
              <a:cxnLst/>
              <a:rect l="l" t="t" r="r" b="b"/>
              <a:pathLst>
                <a:path w="7296" h="6590" extrusionOk="0">
                  <a:moveTo>
                    <a:pt x="2825" y="1"/>
                  </a:moveTo>
                  <a:lnTo>
                    <a:pt x="1883" y="1060"/>
                  </a:lnTo>
                  <a:lnTo>
                    <a:pt x="1178" y="1648"/>
                  </a:lnTo>
                  <a:lnTo>
                    <a:pt x="707" y="2118"/>
                  </a:lnTo>
                  <a:lnTo>
                    <a:pt x="707" y="2354"/>
                  </a:lnTo>
                  <a:lnTo>
                    <a:pt x="825" y="2471"/>
                  </a:lnTo>
                  <a:lnTo>
                    <a:pt x="942" y="2589"/>
                  </a:lnTo>
                  <a:lnTo>
                    <a:pt x="942" y="2824"/>
                  </a:lnTo>
                  <a:lnTo>
                    <a:pt x="707" y="3295"/>
                  </a:lnTo>
                  <a:lnTo>
                    <a:pt x="236" y="4589"/>
                  </a:lnTo>
                  <a:lnTo>
                    <a:pt x="1" y="5295"/>
                  </a:lnTo>
                  <a:lnTo>
                    <a:pt x="1" y="5884"/>
                  </a:lnTo>
                  <a:lnTo>
                    <a:pt x="1" y="6119"/>
                  </a:lnTo>
                  <a:lnTo>
                    <a:pt x="236" y="6354"/>
                  </a:lnTo>
                  <a:lnTo>
                    <a:pt x="472" y="6472"/>
                  </a:lnTo>
                  <a:lnTo>
                    <a:pt x="825" y="6472"/>
                  </a:lnTo>
                  <a:lnTo>
                    <a:pt x="1530" y="6590"/>
                  </a:lnTo>
                  <a:lnTo>
                    <a:pt x="2354" y="6590"/>
                  </a:lnTo>
                  <a:lnTo>
                    <a:pt x="3060" y="6472"/>
                  </a:lnTo>
                  <a:lnTo>
                    <a:pt x="3766" y="6354"/>
                  </a:lnTo>
                  <a:lnTo>
                    <a:pt x="4354" y="6001"/>
                  </a:lnTo>
                  <a:lnTo>
                    <a:pt x="4943" y="5648"/>
                  </a:lnTo>
                  <a:lnTo>
                    <a:pt x="5413" y="5060"/>
                  </a:lnTo>
                  <a:lnTo>
                    <a:pt x="5766" y="4354"/>
                  </a:lnTo>
                  <a:lnTo>
                    <a:pt x="7296" y="1177"/>
                  </a:lnTo>
                  <a:lnTo>
                    <a:pt x="2825" y="1"/>
                  </a:lnTo>
                  <a:close/>
                </a:path>
              </a:pathLst>
            </a:custGeom>
            <a:solidFill>
              <a:srgbClr val="F6B2B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38" name="Google Shape;1438;p16"/>
            <p:cNvSpPr/>
            <p:nvPr/>
          </p:nvSpPr>
          <p:spPr>
            <a:xfrm>
              <a:off x="5486600" y="2756000"/>
              <a:ext cx="520675" cy="429475"/>
            </a:xfrm>
            <a:custGeom>
              <a:avLst/>
              <a:gdLst/>
              <a:ahLst/>
              <a:cxnLst/>
              <a:rect l="l" t="t" r="r" b="b"/>
              <a:pathLst>
                <a:path w="20827" h="17179" extrusionOk="0">
                  <a:moveTo>
                    <a:pt x="2825" y="1"/>
                  </a:moveTo>
                  <a:lnTo>
                    <a:pt x="2119" y="118"/>
                  </a:lnTo>
                  <a:lnTo>
                    <a:pt x="1648" y="354"/>
                  </a:lnTo>
                  <a:lnTo>
                    <a:pt x="1177" y="589"/>
                  </a:lnTo>
                  <a:lnTo>
                    <a:pt x="589" y="1060"/>
                  </a:lnTo>
                  <a:lnTo>
                    <a:pt x="118" y="1648"/>
                  </a:lnTo>
                  <a:lnTo>
                    <a:pt x="1" y="2001"/>
                  </a:lnTo>
                  <a:lnTo>
                    <a:pt x="1" y="2354"/>
                  </a:lnTo>
                  <a:lnTo>
                    <a:pt x="236" y="3178"/>
                  </a:lnTo>
                  <a:lnTo>
                    <a:pt x="707" y="3766"/>
                  </a:lnTo>
                  <a:lnTo>
                    <a:pt x="1295" y="4825"/>
                  </a:lnTo>
                  <a:lnTo>
                    <a:pt x="1530" y="4942"/>
                  </a:lnTo>
                  <a:lnTo>
                    <a:pt x="1766" y="5060"/>
                  </a:lnTo>
                  <a:lnTo>
                    <a:pt x="2119" y="5060"/>
                  </a:lnTo>
                  <a:lnTo>
                    <a:pt x="2236" y="4942"/>
                  </a:lnTo>
                  <a:lnTo>
                    <a:pt x="2472" y="4825"/>
                  </a:lnTo>
                  <a:lnTo>
                    <a:pt x="2825" y="4825"/>
                  </a:lnTo>
                  <a:lnTo>
                    <a:pt x="3060" y="4942"/>
                  </a:lnTo>
                  <a:lnTo>
                    <a:pt x="3413" y="5178"/>
                  </a:lnTo>
                  <a:lnTo>
                    <a:pt x="3531" y="5295"/>
                  </a:lnTo>
                  <a:lnTo>
                    <a:pt x="3531" y="5531"/>
                  </a:lnTo>
                  <a:lnTo>
                    <a:pt x="3413" y="5884"/>
                  </a:lnTo>
                  <a:lnTo>
                    <a:pt x="2707" y="6472"/>
                  </a:lnTo>
                  <a:lnTo>
                    <a:pt x="2589" y="6707"/>
                  </a:lnTo>
                  <a:lnTo>
                    <a:pt x="2472" y="7060"/>
                  </a:lnTo>
                  <a:lnTo>
                    <a:pt x="2472" y="7296"/>
                  </a:lnTo>
                  <a:lnTo>
                    <a:pt x="2472" y="7649"/>
                  </a:lnTo>
                  <a:lnTo>
                    <a:pt x="2589" y="8237"/>
                  </a:lnTo>
                  <a:lnTo>
                    <a:pt x="2472" y="8943"/>
                  </a:lnTo>
                  <a:lnTo>
                    <a:pt x="2472" y="9766"/>
                  </a:lnTo>
                  <a:lnTo>
                    <a:pt x="2589" y="10590"/>
                  </a:lnTo>
                  <a:lnTo>
                    <a:pt x="2707" y="11061"/>
                  </a:lnTo>
                  <a:lnTo>
                    <a:pt x="2942" y="11649"/>
                  </a:lnTo>
                  <a:lnTo>
                    <a:pt x="3413" y="12120"/>
                  </a:lnTo>
                  <a:lnTo>
                    <a:pt x="3883" y="12708"/>
                  </a:lnTo>
                  <a:lnTo>
                    <a:pt x="4589" y="13296"/>
                  </a:lnTo>
                  <a:lnTo>
                    <a:pt x="5413" y="13884"/>
                  </a:lnTo>
                  <a:lnTo>
                    <a:pt x="6472" y="14590"/>
                  </a:lnTo>
                  <a:lnTo>
                    <a:pt x="7649" y="15179"/>
                  </a:lnTo>
                  <a:lnTo>
                    <a:pt x="9060" y="15767"/>
                  </a:lnTo>
                  <a:lnTo>
                    <a:pt x="10472" y="16355"/>
                  </a:lnTo>
                  <a:lnTo>
                    <a:pt x="11884" y="16708"/>
                  </a:lnTo>
                  <a:lnTo>
                    <a:pt x="13296" y="16944"/>
                  </a:lnTo>
                  <a:lnTo>
                    <a:pt x="14708" y="17179"/>
                  </a:lnTo>
                  <a:lnTo>
                    <a:pt x="18238" y="17179"/>
                  </a:lnTo>
                  <a:lnTo>
                    <a:pt x="19179" y="16944"/>
                  </a:lnTo>
                  <a:lnTo>
                    <a:pt x="19885" y="16708"/>
                  </a:lnTo>
                  <a:lnTo>
                    <a:pt x="20473" y="16473"/>
                  </a:lnTo>
                  <a:lnTo>
                    <a:pt x="20709" y="16120"/>
                  </a:lnTo>
                  <a:lnTo>
                    <a:pt x="20826" y="15767"/>
                  </a:lnTo>
                  <a:lnTo>
                    <a:pt x="20709" y="15414"/>
                  </a:lnTo>
                  <a:lnTo>
                    <a:pt x="20238" y="14473"/>
                  </a:lnTo>
                  <a:lnTo>
                    <a:pt x="19414" y="13649"/>
                  </a:lnTo>
                  <a:lnTo>
                    <a:pt x="18591" y="12943"/>
                  </a:lnTo>
                  <a:lnTo>
                    <a:pt x="18238" y="12708"/>
                  </a:lnTo>
                  <a:lnTo>
                    <a:pt x="17885" y="12590"/>
                  </a:lnTo>
                  <a:lnTo>
                    <a:pt x="16708" y="12590"/>
                  </a:lnTo>
                  <a:lnTo>
                    <a:pt x="16355" y="12473"/>
                  </a:lnTo>
                  <a:lnTo>
                    <a:pt x="16002" y="12355"/>
                  </a:lnTo>
                  <a:lnTo>
                    <a:pt x="15767" y="12002"/>
                  </a:lnTo>
                  <a:lnTo>
                    <a:pt x="15767" y="11649"/>
                  </a:lnTo>
                  <a:lnTo>
                    <a:pt x="15885" y="10590"/>
                  </a:lnTo>
                  <a:lnTo>
                    <a:pt x="15767" y="10002"/>
                  </a:lnTo>
                  <a:lnTo>
                    <a:pt x="15532" y="9531"/>
                  </a:lnTo>
                  <a:lnTo>
                    <a:pt x="15296" y="9178"/>
                  </a:lnTo>
                  <a:lnTo>
                    <a:pt x="15061" y="8943"/>
                  </a:lnTo>
                  <a:lnTo>
                    <a:pt x="14120" y="8590"/>
                  </a:lnTo>
                  <a:lnTo>
                    <a:pt x="12237" y="8119"/>
                  </a:lnTo>
                  <a:lnTo>
                    <a:pt x="11061" y="7884"/>
                  </a:lnTo>
                  <a:lnTo>
                    <a:pt x="10355" y="7766"/>
                  </a:lnTo>
                  <a:lnTo>
                    <a:pt x="10119" y="7649"/>
                  </a:lnTo>
                  <a:lnTo>
                    <a:pt x="9766" y="7531"/>
                  </a:lnTo>
                  <a:lnTo>
                    <a:pt x="9531" y="6943"/>
                  </a:lnTo>
                  <a:lnTo>
                    <a:pt x="9296" y="6119"/>
                  </a:lnTo>
                  <a:lnTo>
                    <a:pt x="8943" y="5060"/>
                  </a:lnTo>
                  <a:lnTo>
                    <a:pt x="8590" y="3884"/>
                  </a:lnTo>
                  <a:lnTo>
                    <a:pt x="8119" y="2589"/>
                  </a:lnTo>
                  <a:lnTo>
                    <a:pt x="7766" y="2001"/>
                  </a:lnTo>
                  <a:lnTo>
                    <a:pt x="7413" y="1530"/>
                  </a:lnTo>
                  <a:lnTo>
                    <a:pt x="6943" y="1060"/>
                  </a:lnTo>
                  <a:lnTo>
                    <a:pt x="6472" y="589"/>
                  </a:lnTo>
                  <a:lnTo>
                    <a:pt x="5884" y="354"/>
                  </a:lnTo>
                  <a:lnTo>
                    <a:pt x="5178" y="118"/>
                  </a:lnTo>
                  <a:lnTo>
                    <a:pt x="4354" y="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439" name="Google Shape;1439;p16"/>
          <p:cNvSpPr/>
          <p:nvPr/>
        </p:nvSpPr>
        <p:spPr>
          <a:xfrm rot="5400000">
            <a:off x="4305451" y="3881167"/>
            <a:ext cx="3456800" cy="387200"/>
          </a:xfrm>
          <a:prstGeom prst="triangle">
            <a:avLst>
              <a:gd name="adj" fmla="val 49876"/>
            </a:avLst>
          </a:prstGeom>
          <a:solidFill>
            <a:srgbClr val="D04A0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1867">
              <a:solidFill>
                <a:srgbClr val="D04A0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40" name="Google Shape;1440;p16"/>
          <p:cNvSpPr/>
          <p:nvPr/>
        </p:nvSpPr>
        <p:spPr>
          <a:xfrm>
            <a:off x="6358952" y="2301334"/>
            <a:ext cx="2668729" cy="1669415"/>
          </a:xfrm>
          <a:custGeom>
            <a:avLst/>
            <a:gdLst/>
            <a:ahLst/>
            <a:cxnLst/>
            <a:rect l="l" t="t" r="r" b="b"/>
            <a:pathLst>
              <a:path w="90537" h="102649" extrusionOk="0">
                <a:moveTo>
                  <a:pt x="0" y="0"/>
                </a:moveTo>
                <a:lnTo>
                  <a:pt x="0" y="102649"/>
                </a:lnTo>
                <a:lnTo>
                  <a:pt x="90537" y="102649"/>
                </a:lnTo>
                <a:lnTo>
                  <a:pt x="90537" y="0"/>
                </a:lnTo>
                <a:close/>
              </a:path>
            </a:pathLst>
          </a:custGeom>
          <a:solidFill>
            <a:srgbClr val="1C3348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0800" tIns="144000" rIns="24000" bIns="48000" anchor="t" anchorCtr="0">
            <a:noAutofit/>
          </a:bodyPr>
          <a:lstStyle/>
          <a:p>
            <a:pPr>
              <a:buClr>
                <a:srgbClr val="000000"/>
              </a:buClr>
              <a:buSzPts val="1100"/>
            </a:pPr>
            <a:r>
              <a:rPr lang="en" sz="1467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edvirkning og samskaping</a:t>
            </a:r>
            <a:endParaRPr sz="1467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chemeClr val="dk1"/>
              </a:buClr>
              <a:buSzPts val="1100"/>
            </a:pPr>
            <a:endParaRPr sz="1333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spcBef>
                <a:spcPts val="667"/>
              </a:spcBef>
              <a:spcAft>
                <a:spcPts val="667"/>
              </a:spcAft>
              <a:buClr>
                <a:schemeClr val="dk1"/>
              </a:buClr>
              <a:buSzPts val="1100"/>
            </a:pPr>
            <a:r>
              <a:rPr lang="en" sz="1333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etoder og verktøy for medvirkning og samskaping; flere med i tidlig fase og arenaer for prosesser og partnerskap</a:t>
            </a:r>
            <a:endParaRPr sz="1467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41" name="Google Shape;1441;p16"/>
          <p:cNvSpPr/>
          <p:nvPr/>
        </p:nvSpPr>
        <p:spPr>
          <a:xfrm>
            <a:off x="9179718" y="2301301"/>
            <a:ext cx="2637041" cy="1669415"/>
          </a:xfrm>
          <a:custGeom>
            <a:avLst/>
            <a:gdLst/>
            <a:ahLst/>
            <a:cxnLst/>
            <a:rect l="l" t="t" r="r" b="b"/>
            <a:pathLst>
              <a:path w="90537" h="102649" extrusionOk="0">
                <a:moveTo>
                  <a:pt x="0" y="0"/>
                </a:moveTo>
                <a:lnTo>
                  <a:pt x="0" y="102649"/>
                </a:lnTo>
                <a:lnTo>
                  <a:pt x="90537" y="102649"/>
                </a:lnTo>
                <a:lnTo>
                  <a:pt x="90537" y="0"/>
                </a:lnTo>
                <a:close/>
              </a:path>
            </a:pathLst>
          </a:custGeom>
          <a:solidFill>
            <a:srgbClr val="1C3348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0800" tIns="144000" rIns="24000" bIns="48000" anchor="t" anchorCtr="0">
            <a:noAutofit/>
          </a:bodyPr>
          <a:lstStyle/>
          <a:p>
            <a:pPr>
              <a:buClr>
                <a:srgbClr val="000000"/>
              </a:buClr>
              <a:buSzPts val="1100"/>
            </a:pPr>
            <a:r>
              <a:rPr lang="en" sz="1467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elles visjon og mål</a:t>
            </a:r>
            <a:endParaRPr sz="1467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chemeClr val="dk1"/>
              </a:buClr>
              <a:buSzPts val="1100"/>
            </a:pPr>
            <a:endParaRPr sz="1333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spcBef>
                <a:spcPts val="667"/>
              </a:spcBef>
              <a:buClr>
                <a:schemeClr val="dk1"/>
              </a:buClr>
              <a:buSzPts val="1100"/>
            </a:pPr>
            <a:r>
              <a:rPr lang="en" sz="1333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verrpolitisk felles retning, felles mål, visjon og strategi, inkl klimamål</a:t>
            </a:r>
            <a:endParaRPr sz="1333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spcBef>
                <a:spcPts val="667"/>
              </a:spcBef>
              <a:buClr>
                <a:srgbClr val="000000"/>
              </a:buClr>
              <a:buSzPts val="1100"/>
            </a:pPr>
            <a:endParaRPr sz="1467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rgbClr val="000000"/>
              </a:buClr>
              <a:buSzPts val="1100"/>
            </a:pPr>
            <a:endParaRPr sz="14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rgbClr val="000000"/>
              </a:buClr>
              <a:buSzPts val="1100"/>
            </a:pPr>
            <a:endParaRPr sz="14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rgbClr val="000000"/>
              </a:buClr>
              <a:buSzPts val="1100"/>
            </a:pPr>
            <a:endParaRPr sz="1333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42" name="Google Shape;1442;p16"/>
          <p:cNvSpPr/>
          <p:nvPr/>
        </p:nvSpPr>
        <p:spPr>
          <a:xfrm>
            <a:off x="6348885" y="4105134"/>
            <a:ext cx="2668729" cy="1698156"/>
          </a:xfrm>
          <a:custGeom>
            <a:avLst/>
            <a:gdLst/>
            <a:ahLst/>
            <a:cxnLst/>
            <a:rect l="l" t="t" r="r" b="b"/>
            <a:pathLst>
              <a:path w="90537" h="102649" extrusionOk="0">
                <a:moveTo>
                  <a:pt x="0" y="0"/>
                </a:moveTo>
                <a:lnTo>
                  <a:pt x="0" y="102649"/>
                </a:lnTo>
                <a:lnTo>
                  <a:pt x="90537" y="102649"/>
                </a:lnTo>
                <a:lnTo>
                  <a:pt x="90537" y="0"/>
                </a:lnTo>
                <a:close/>
              </a:path>
            </a:pathLst>
          </a:custGeom>
          <a:solidFill>
            <a:srgbClr val="1C3348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0800" tIns="144000" rIns="24000" bIns="48000" anchor="t" anchorCtr="0">
            <a:noAutofit/>
          </a:bodyPr>
          <a:lstStyle/>
          <a:p>
            <a:pPr>
              <a:buClr>
                <a:srgbClr val="000000"/>
              </a:buClr>
              <a:buSzPts val="1100"/>
            </a:pPr>
            <a:r>
              <a:rPr lang="en" sz="1467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lanprosesser</a:t>
            </a:r>
            <a:endParaRPr sz="1467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rgbClr val="000000"/>
              </a:buClr>
              <a:buSzPts val="1100"/>
            </a:pPr>
            <a:endParaRPr sz="1467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rgbClr val="000000"/>
              </a:buClr>
              <a:buSzPts val="1100"/>
            </a:pPr>
            <a:r>
              <a:rPr lang="en" sz="14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kluderende og tilgjengelige planprosesser, og raskere prosesser og dynamisk planlegging</a:t>
            </a:r>
            <a:endParaRPr sz="14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43" name="Google Shape;1443;p16"/>
          <p:cNvSpPr/>
          <p:nvPr/>
        </p:nvSpPr>
        <p:spPr>
          <a:xfrm>
            <a:off x="9179718" y="4107900"/>
            <a:ext cx="2637041" cy="1683101"/>
          </a:xfrm>
          <a:custGeom>
            <a:avLst/>
            <a:gdLst/>
            <a:ahLst/>
            <a:cxnLst/>
            <a:rect l="l" t="t" r="r" b="b"/>
            <a:pathLst>
              <a:path w="90537" h="102649" extrusionOk="0">
                <a:moveTo>
                  <a:pt x="0" y="0"/>
                </a:moveTo>
                <a:lnTo>
                  <a:pt x="0" y="102649"/>
                </a:lnTo>
                <a:lnTo>
                  <a:pt x="90537" y="102649"/>
                </a:lnTo>
                <a:lnTo>
                  <a:pt x="90537" y="0"/>
                </a:lnTo>
                <a:close/>
              </a:path>
            </a:pathLst>
          </a:custGeom>
          <a:solidFill>
            <a:srgbClr val="1C3348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0800" tIns="144000" rIns="24000" bIns="48000" anchor="t" anchorCtr="0">
            <a:noAutofit/>
          </a:bodyPr>
          <a:lstStyle/>
          <a:p>
            <a:pPr>
              <a:buClr>
                <a:srgbClr val="000000"/>
              </a:buClr>
              <a:buSzPts val="1100"/>
            </a:pPr>
            <a:r>
              <a:rPr lang="en" sz="1467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Kunnskapsbasert utvikling</a:t>
            </a:r>
            <a:endParaRPr sz="1467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rgbClr val="000000"/>
              </a:buClr>
              <a:buSzPts val="1100"/>
            </a:pPr>
            <a:endParaRPr sz="1467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chemeClr val="dk1"/>
              </a:buClr>
              <a:buSzPts val="1100"/>
            </a:pPr>
            <a:r>
              <a:rPr lang="en" sz="14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Lokal kompetanse med lokal stolthet og forståelse</a:t>
            </a:r>
            <a:endParaRPr sz="14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rgbClr val="000000"/>
              </a:buClr>
              <a:buSzPts val="1100"/>
            </a:pPr>
            <a:endParaRPr sz="1467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444" name="Google Shape;1444;p16"/>
          <p:cNvGrpSpPr/>
          <p:nvPr/>
        </p:nvGrpSpPr>
        <p:grpSpPr>
          <a:xfrm>
            <a:off x="7870702" y="5408967"/>
            <a:ext cx="1309021" cy="1166495"/>
            <a:chOff x="546150" y="238125"/>
            <a:chExt cx="6527700" cy="5238750"/>
          </a:xfrm>
        </p:grpSpPr>
        <p:sp>
          <p:nvSpPr>
            <p:cNvPr id="1445" name="Google Shape;1445;p16"/>
            <p:cNvSpPr/>
            <p:nvPr/>
          </p:nvSpPr>
          <p:spPr>
            <a:xfrm>
              <a:off x="1029075" y="4567175"/>
              <a:ext cx="4062125" cy="145150"/>
            </a:xfrm>
            <a:custGeom>
              <a:avLst/>
              <a:gdLst/>
              <a:ahLst/>
              <a:cxnLst/>
              <a:rect l="l" t="t" r="r" b="b"/>
              <a:pathLst>
                <a:path w="162485" h="5806" extrusionOk="0">
                  <a:moveTo>
                    <a:pt x="3870" y="1451"/>
                  </a:moveTo>
                  <a:lnTo>
                    <a:pt x="2212" y="1693"/>
                  </a:lnTo>
                  <a:lnTo>
                    <a:pt x="1520" y="1832"/>
                  </a:lnTo>
                  <a:lnTo>
                    <a:pt x="968" y="1970"/>
                  </a:lnTo>
                  <a:lnTo>
                    <a:pt x="553" y="2074"/>
                  </a:lnTo>
                  <a:lnTo>
                    <a:pt x="242" y="2212"/>
                  </a:lnTo>
                  <a:lnTo>
                    <a:pt x="35" y="2350"/>
                  </a:lnTo>
                  <a:lnTo>
                    <a:pt x="0" y="2419"/>
                  </a:lnTo>
                  <a:lnTo>
                    <a:pt x="0" y="2488"/>
                  </a:lnTo>
                  <a:lnTo>
                    <a:pt x="0" y="2557"/>
                  </a:lnTo>
                  <a:lnTo>
                    <a:pt x="35" y="2592"/>
                  </a:lnTo>
                  <a:lnTo>
                    <a:pt x="207" y="2730"/>
                  </a:lnTo>
                  <a:lnTo>
                    <a:pt x="518" y="2868"/>
                  </a:lnTo>
                  <a:lnTo>
                    <a:pt x="898" y="2972"/>
                  </a:lnTo>
                  <a:lnTo>
                    <a:pt x="1417" y="3110"/>
                  </a:lnTo>
                  <a:lnTo>
                    <a:pt x="2039" y="3214"/>
                  </a:lnTo>
                  <a:lnTo>
                    <a:pt x="3594" y="3456"/>
                  </a:lnTo>
                  <a:lnTo>
                    <a:pt x="3870" y="1451"/>
                  </a:lnTo>
                  <a:close/>
                  <a:moveTo>
                    <a:pt x="147107" y="0"/>
                  </a:moveTo>
                  <a:lnTo>
                    <a:pt x="146934" y="346"/>
                  </a:lnTo>
                  <a:lnTo>
                    <a:pt x="146830" y="518"/>
                  </a:lnTo>
                  <a:lnTo>
                    <a:pt x="146623" y="657"/>
                  </a:lnTo>
                  <a:lnTo>
                    <a:pt x="146346" y="829"/>
                  </a:lnTo>
                  <a:lnTo>
                    <a:pt x="146001" y="968"/>
                  </a:lnTo>
                  <a:lnTo>
                    <a:pt x="145828" y="2903"/>
                  </a:lnTo>
                  <a:lnTo>
                    <a:pt x="145828" y="3663"/>
                  </a:lnTo>
                  <a:lnTo>
                    <a:pt x="145828" y="4251"/>
                  </a:lnTo>
                  <a:lnTo>
                    <a:pt x="150977" y="3940"/>
                  </a:lnTo>
                  <a:lnTo>
                    <a:pt x="155469" y="3594"/>
                  </a:lnTo>
                  <a:lnTo>
                    <a:pt x="159270" y="3248"/>
                  </a:lnTo>
                  <a:lnTo>
                    <a:pt x="160860" y="3076"/>
                  </a:lnTo>
                  <a:lnTo>
                    <a:pt x="162277" y="2903"/>
                  </a:lnTo>
                  <a:lnTo>
                    <a:pt x="162484" y="899"/>
                  </a:lnTo>
                  <a:lnTo>
                    <a:pt x="161171" y="795"/>
                  </a:lnTo>
                  <a:lnTo>
                    <a:pt x="159650" y="657"/>
                  </a:lnTo>
                  <a:lnTo>
                    <a:pt x="156126" y="415"/>
                  </a:lnTo>
                  <a:lnTo>
                    <a:pt x="151910" y="207"/>
                  </a:lnTo>
                  <a:lnTo>
                    <a:pt x="147107" y="0"/>
                  </a:lnTo>
                  <a:close/>
                  <a:moveTo>
                    <a:pt x="18073" y="380"/>
                  </a:moveTo>
                  <a:lnTo>
                    <a:pt x="12959" y="657"/>
                  </a:lnTo>
                  <a:lnTo>
                    <a:pt x="8605" y="968"/>
                  </a:lnTo>
                  <a:lnTo>
                    <a:pt x="7913" y="3905"/>
                  </a:lnTo>
                  <a:lnTo>
                    <a:pt x="10298" y="4112"/>
                  </a:lnTo>
                  <a:lnTo>
                    <a:pt x="12924" y="4285"/>
                  </a:lnTo>
                  <a:lnTo>
                    <a:pt x="15827" y="4458"/>
                  </a:lnTo>
                  <a:lnTo>
                    <a:pt x="18971" y="4631"/>
                  </a:lnTo>
                  <a:lnTo>
                    <a:pt x="18591" y="2972"/>
                  </a:lnTo>
                  <a:lnTo>
                    <a:pt x="18384" y="2074"/>
                  </a:lnTo>
                  <a:lnTo>
                    <a:pt x="18073" y="380"/>
                  </a:lnTo>
                  <a:close/>
                  <a:moveTo>
                    <a:pt x="137085" y="2454"/>
                  </a:moveTo>
                  <a:lnTo>
                    <a:pt x="133768" y="2730"/>
                  </a:lnTo>
                  <a:lnTo>
                    <a:pt x="130070" y="2972"/>
                  </a:lnTo>
                  <a:lnTo>
                    <a:pt x="129759" y="3663"/>
                  </a:lnTo>
                  <a:lnTo>
                    <a:pt x="129483" y="4285"/>
                  </a:lnTo>
                  <a:lnTo>
                    <a:pt x="129241" y="5011"/>
                  </a:lnTo>
                  <a:lnTo>
                    <a:pt x="137154" y="4700"/>
                  </a:lnTo>
                  <a:lnTo>
                    <a:pt x="137085" y="3663"/>
                  </a:lnTo>
                  <a:lnTo>
                    <a:pt x="137085" y="2454"/>
                  </a:lnTo>
                  <a:close/>
                  <a:moveTo>
                    <a:pt x="25295" y="69"/>
                  </a:moveTo>
                  <a:lnTo>
                    <a:pt x="23913" y="104"/>
                  </a:lnTo>
                  <a:lnTo>
                    <a:pt x="24259" y="4838"/>
                  </a:lnTo>
                  <a:lnTo>
                    <a:pt x="30064" y="5045"/>
                  </a:lnTo>
                  <a:lnTo>
                    <a:pt x="36353" y="5253"/>
                  </a:lnTo>
                  <a:lnTo>
                    <a:pt x="43057" y="5425"/>
                  </a:lnTo>
                  <a:lnTo>
                    <a:pt x="50176" y="5564"/>
                  </a:lnTo>
                  <a:lnTo>
                    <a:pt x="57640" y="5667"/>
                  </a:lnTo>
                  <a:lnTo>
                    <a:pt x="65450" y="5736"/>
                  </a:lnTo>
                  <a:lnTo>
                    <a:pt x="73501" y="5806"/>
                  </a:lnTo>
                  <a:lnTo>
                    <a:pt x="81830" y="5806"/>
                  </a:lnTo>
                  <a:lnTo>
                    <a:pt x="92231" y="5771"/>
                  </a:lnTo>
                  <a:lnTo>
                    <a:pt x="102321" y="5667"/>
                  </a:lnTo>
                  <a:lnTo>
                    <a:pt x="112032" y="5495"/>
                  </a:lnTo>
                  <a:lnTo>
                    <a:pt x="121224" y="5253"/>
                  </a:lnTo>
                  <a:lnTo>
                    <a:pt x="121535" y="3318"/>
                  </a:lnTo>
                  <a:lnTo>
                    <a:pt x="115142" y="3525"/>
                  </a:lnTo>
                  <a:lnTo>
                    <a:pt x="108300" y="3629"/>
                  </a:lnTo>
                  <a:lnTo>
                    <a:pt x="101216" y="3698"/>
                  </a:lnTo>
                  <a:lnTo>
                    <a:pt x="93890" y="3732"/>
                  </a:lnTo>
                  <a:lnTo>
                    <a:pt x="88153" y="3732"/>
                  </a:lnTo>
                  <a:lnTo>
                    <a:pt x="82417" y="3698"/>
                  </a:lnTo>
                  <a:lnTo>
                    <a:pt x="76715" y="3629"/>
                  </a:lnTo>
                  <a:lnTo>
                    <a:pt x="71082" y="3525"/>
                  </a:lnTo>
                  <a:lnTo>
                    <a:pt x="65588" y="3421"/>
                  </a:lnTo>
                  <a:lnTo>
                    <a:pt x="60266" y="3283"/>
                  </a:lnTo>
                  <a:lnTo>
                    <a:pt x="55152" y="3110"/>
                  </a:lnTo>
                  <a:lnTo>
                    <a:pt x="50314" y="2937"/>
                  </a:lnTo>
                  <a:lnTo>
                    <a:pt x="45753" y="2730"/>
                  </a:lnTo>
                  <a:lnTo>
                    <a:pt x="41571" y="2523"/>
                  </a:lnTo>
                  <a:lnTo>
                    <a:pt x="37805" y="2281"/>
                  </a:lnTo>
                  <a:lnTo>
                    <a:pt x="34487" y="2039"/>
                  </a:lnTo>
                  <a:lnTo>
                    <a:pt x="31619" y="1797"/>
                  </a:lnTo>
                  <a:lnTo>
                    <a:pt x="29338" y="1521"/>
                  </a:lnTo>
                  <a:lnTo>
                    <a:pt x="28405" y="1382"/>
                  </a:lnTo>
                  <a:lnTo>
                    <a:pt x="27645" y="1210"/>
                  </a:lnTo>
                  <a:lnTo>
                    <a:pt x="27023" y="1071"/>
                  </a:lnTo>
                  <a:lnTo>
                    <a:pt x="26574" y="933"/>
                  </a:lnTo>
                  <a:lnTo>
                    <a:pt x="26228" y="760"/>
                  </a:lnTo>
                  <a:lnTo>
                    <a:pt x="25883" y="588"/>
                  </a:lnTo>
                  <a:lnTo>
                    <a:pt x="25572" y="346"/>
                  </a:lnTo>
                  <a:lnTo>
                    <a:pt x="25295" y="69"/>
                  </a:lnTo>
                  <a:close/>
                </a:path>
              </a:pathLst>
            </a:custGeom>
            <a:solidFill>
              <a:srgbClr val="E6E6E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46" name="Google Shape;1446;p16"/>
            <p:cNvSpPr/>
            <p:nvPr/>
          </p:nvSpPr>
          <p:spPr>
            <a:xfrm>
              <a:off x="4260075" y="4628500"/>
              <a:ext cx="197875" cy="63950"/>
            </a:xfrm>
            <a:custGeom>
              <a:avLst/>
              <a:gdLst/>
              <a:ahLst/>
              <a:cxnLst/>
              <a:rect l="l" t="t" r="r" b="b"/>
              <a:pathLst>
                <a:path w="7915" h="2558" fill="none" extrusionOk="0">
                  <a:moveTo>
                    <a:pt x="7845" y="1"/>
                  </a:moveTo>
                  <a:lnTo>
                    <a:pt x="7845" y="1"/>
                  </a:lnTo>
                  <a:lnTo>
                    <a:pt x="4528" y="277"/>
                  </a:lnTo>
                  <a:lnTo>
                    <a:pt x="830" y="519"/>
                  </a:lnTo>
                  <a:lnTo>
                    <a:pt x="830" y="519"/>
                  </a:lnTo>
                  <a:lnTo>
                    <a:pt x="519" y="1210"/>
                  </a:lnTo>
                  <a:lnTo>
                    <a:pt x="519" y="1210"/>
                  </a:lnTo>
                  <a:lnTo>
                    <a:pt x="243" y="1832"/>
                  </a:lnTo>
                  <a:lnTo>
                    <a:pt x="1" y="2558"/>
                  </a:lnTo>
                  <a:lnTo>
                    <a:pt x="1" y="2558"/>
                  </a:lnTo>
                  <a:lnTo>
                    <a:pt x="7914" y="2247"/>
                  </a:lnTo>
                  <a:lnTo>
                    <a:pt x="7914" y="2247"/>
                  </a:lnTo>
                  <a:lnTo>
                    <a:pt x="7845" y="1210"/>
                  </a:lnTo>
                  <a:lnTo>
                    <a:pt x="784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47" name="Google Shape;1447;p16"/>
            <p:cNvSpPr/>
            <p:nvPr/>
          </p:nvSpPr>
          <p:spPr>
            <a:xfrm>
              <a:off x="1029075" y="4603450"/>
              <a:ext cx="96775" cy="50125"/>
            </a:xfrm>
            <a:custGeom>
              <a:avLst/>
              <a:gdLst/>
              <a:ahLst/>
              <a:cxnLst/>
              <a:rect l="l" t="t" r="r" b="b"/>
              <a:pathLst>
                <a:path w="3871" h="2005" fill="none" extrusionOk="0">
                  <a:moveTo>
                    <a:pt x="3870" y="0"/>
                  </a:moveTo>
                  <a:lnTo>
                    <a:pt x="3870" y="0"/>
                  </a:lnTo>
                  <a:lnTo>
                    <a:pt x="2212" y="242"/>
                  </a:lnTo>
                  <a:lnTo>
                    <a:pt x="1520" y="381"/>
                  </a:lnTo>
                  <a:lnTo>
                    <a:pt x="968" y="519"/>
                  </a:lnTo>
                  <a:lnTo>
                    <a:pt x="553" y="623"/>
                  </a:lnTo>
                  <a:lnTo>
                    <a:pt x="242" y="761"/>
                  </a:lnTo>
                  <a:lnTo>
                    <a:pt x="35" y="899"/>
                  </a:lnTo>
                  <a:lnTo>
                    <a:pt x="0" y="968"/>
                  </a:lnTo>
                  <a:lnTo>
                    <a:pt x="0" y="1037"/>
                  </a:lnTo>
                  <a:lnTo>
                    <a:pt x="0" y="1037"/>
                  </a:lnTo>
                  <a:lnTo>
                    <a:pt x="0" y="1106"/>
                  </a:lnTo>
                  <a:lnTo>
                    <a:pt x="35" y="1141"/>
                  </a:lnTo>
                  <a:lnTo>
                    <a:pt x="207" y="1279"/>
                  </a:lnTo>
                  <a:lnTo>
                    <a:pt x="518" y="1417"/>
                  </a:lnTo>
                  <a:lnTo>
                    <a:pt x="898" y="1521"/>
                  </a:lnTo>
                  <a:lnTo>
                    <a:pt x="1417" y="1659"/>
                  </a:lnTo>
                  <a:lnTo>
                    <a:pt x="2039" y="1763"/>
                  </a:lnTo>
                  <a:lnTo>
                    <a:pt x="3594" y="2005"/>
                  </a:lnTo>
                  <a:lnTo>
                    <a:pt x="3594" y="2005"/>
                  </a:lnTo>
                  <a:lnTo>
                    <a:pt x="387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48" name="Google Shape;1448;p16"/>
            <p:cNvSpPr/>
            <p:nvPr/>
          </p:nvSpPr>
          <p:spPr>
            <a:xfrm>
              <a:off x="1226900" y="4576675"/>
              <a:ext cx="276475" cy="106275"/>
            </a:xfrm>
            <a:custGeom>
              <a:avLst/>
              <a:gdLst/>
              <a:ahLst/>
              <a:cxnLst/>
              <a:rect l="l" t="t" r="r" b="b"/>
              <a:pathLst>
                <a:path w="11059" h="4251" fill="none" extrusionOk="0">
                  <a:moveTo>
                    <a:pt x="10160" y="0"/>
                  </a:moveTo>
                  <a:lnTo>
                    <a:pt x="10160" y="0"/>
                  </a:lnTo>
                  <a:lnTo>
                    <a:pt x="5046" y="277"/>
                  </a:lnTo>
                  <a:lnTo>
                    <a:pt x="692" y="588"/>
                  </a:lnTo>
                  <a:lnTo>
                    <a:pt x="692" y="588"/>
                  </a:lnTo>
                  <a:lnTo>
                    <a:pt x="0" y="3525"/>
                  </a:lnTo>
                  <a:lnTo>
                    <a:pt x="0" y="3525"/>
                  </a:lnTo>
                  <a:lnTo>
                    <a:pt x="2385" y="3732"/>
                  </a:lnTo>
                  <a:lnTo>
                    <a:pt x="5011" y="3905"/>
                  </a:lnTo>
                  <a:lnTo>
                    <a:pt x="7914" y="4078"/>
                  </a:lnTo>
                  <a:lnTo>
                    <a:pt x="11058" y="4251"/>
                  </a:lnTo>
                  <a:lnTo>
                    <a:pt x="11058" y="4251"/>
                  </a:lnTo>
                  <a:lnTo>
                    <a:pt x="10678" y="2592"/>
                  </a:lnTo>
                  <a:lnTo>
                    <a:pt x="10678" y="2592"/>
                  </a:lnTo>
                  <a:lnTo>
                    <a:pt x="10471" y="1694"/>
                  </a:lnTo>
                  <a:lnTo>
                    <a:pt x="1016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49" name="Google Shape;1449;p16"/>
            <p:cNvSpPr/>
            <p:nvPr/>
          </p:nvSpPr>
          <p:spPr>
            <a:xfrm>
              <a:off x="1626900" y="4568900"/>
              <a:ext cx="2440550" cy="143425"/>
            </a:xfrm>
            <a:custGeom>
              <a:avLst/>
              <a:gdLst/>
              <a:ahLst/>
              <a:cxnLst/>
              <a:rect l="l" t="t" r="r" b="b"/>
              <a:pathLst>
                <a:path w="97622" h="5737" fill="none" extrusionOk="0">
                  <a:moveTo>
                    <a:pt x="1382" y="0"/>
                  </a:moveTo>
                  <a:lnTo>
                    <a:pt x="1382" y="0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346" y="4769"/>
                  </a:lnTo>
                  <a:lnTo>
                    <a:pt x="346" y="4769"/>
                  </a:lnTo>
                  <a:lnTo>
                    <a:pt x="6151" y="4976"/>
                  </a:lnTo>
                  <a:lnTo>
                    <a:pt x="12440" y="5184"/>
                  </a:lnTo>
                  <a:lnTo>
                    <a:pt x="19144" y="5356"/>
                  </a:lnTo>
                  <a:lnTo>
                    <a:pt x="26263" y="5495"/>
                  </a:lnTo>
                  <a:lnTo>
                    <a:pt x="33727" y="5598"/>
                  </a:lnTo>
                  <a:lnTo>
                    <a:pt x="41537" y="5667"/>
                  </a:lnTo>
                  <a:lnTo>
                    <a:pt x="49588" y="5737"/>
                  </a:lnTo>
                  <a:lnTo>
                    <a:pt x="57917" y="5737"/>
                  </a:lnTo>
                  <a:lnTo>
                    <a:pt x="57917" y="5737"/>
                  </a:lnTo>
                  <a:lnTo>
                    <a:pt x="68318" y="5702"/>
                  </a:lnTo>
                  <a:lnTo>
                    <a:pt x="78408" y="5598"/>
                  </a:lnTo>
                  <a:lnTo>
                    <a:pt x="88119" y="5426"/>
                  </a:lnTo>
                  <a:lnTo>
                    <a:pt x="97311" y="5184"/>
                  </a:lnTo>
                  <a:lnTo>
                    <a:pt x="97311" y="5184"/>
                  </a:lnTo>
                  <a:lnTo>
                    <a:pt x="97622" y="3249"/>
                  </a:lnTo>
                  <a:lnTo>
                    <a:pt x="97622" y="3249"/>
                  </a:lnTo>
                  <a:lnTo>
                    <a:pt x="91229" y="3456"/>
                  </a:lnTo>
                  <a:lnTo>
                    <a:pt x="84387" y="3560"/>
                  </a:lnTo>
                  <a:lnTo>
                    <a:pt x="77303" y="3629"/>
                  </a:lnTo>
                  <a:lnTo>
                    <a:pt x="69977" y="3663"/>
                  </a:lnTo>
                  <a:lnTo>
                    <a:pt x="69977" y="3663"/>
                  </a:lnTo>
                  <a:lnTo>
                    <a:pt x="64240" y="3663"/>
                  </a:lnTo>
                  <a:lnTo>
                    <a:pt x="58504" y="3629"/>
                  </a:lnTo>
                  <a:lnTo>
                    <a:pt x="52802" y="3560"/>
                  </a:lnTo>
                  <a:lnTo>
                    <a:pt x="47169" y="3456"/>
                  </a:lnTo>
                  <a:lnTo>
                    <a:pt x="41675" y="3352"/>
                  </a:lnTo>
                  <a:lnTo>
                    <a:pt x="36353" y="3214"/>
                  </a:lnTo>
                  <a:lnTo>
                    <a:pt x="31239" y="3041"/>
                  </a:lnTo>
                  <a:lnTo>
                    <a:pt x="26401" y="2868"/>
                  </a:lnTo>
                  <a:lnTo>
                    <a:pt x="21840" y="2661"/>
                  </a:lnTo>
                  <a:lnTo>
                    <a:pt x="17658" y="2454"/>
                  </a:lnTo>
                  <a:lnTo>
                    <a:pt x="13892" y="2212"/>
                  </a:lnTo>
                  <a:lnTo>
                    <a:pt x="10574" y="1970"/>
                  </a:lnTo>
                  <a:lnTo>
                    <a:pt x="7706" y="1728"/>
                  </a:lnTo>
                  <a:lnTo>
                    <a:pt x="5425" y="1452"/>
                  </a:lnTo>
                  <a:lnTo>
                    <a:pt x="4492" y="1313"/>
                  </a:lnTo>
                  <a:lnTo>
                    <a:pt x="3732" y="1141"/>
                  </a:lnTo>
                  <a:lnTo>
                    <a:pt x="3110" y="1002"/>
                  </a:lnTo>
                  <a:lnTo>
                    <a:pt x="2661" y="864"/>
                  </a:lnTo>
                  <a:lnTo>
                    <a:pt x="2661" y="864"/>
                  </a:lnTo>
                  <a:lnTo>
                    <a:pt x="2315" y="691"/>
                  </a:lnTo>
                  <a:lnTo>
                    <a:pt x="1970" y="519"/>
                  </a:lnTo>
                  <a:lnTo>
                    <a:pt x="1659" y="277"/>
                  </a:lnTo>
                  <a:lnTo>
                    <a:pt x="138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50" name="Google Shape;1450;p16"/>
            <p:cNvSpPr/>
            <p:nvPr/>
          </p:nvSpPr>
          <p:spPr>
            <a:xfrm>
              <a:off x="4674750" y="4567175"/>
              <a:ext cx="416450" cy="106275"/>
            </a:xfrm>
            <a:custGeom>
              <a:avLst/>
              <a:gdLst/>
              <a:ahLst/>
              <a:cxnLst/>
              <a:rect l="l" t="t" r="r" b="b"/>
              <a:pathLst>
                <a:path w="16658" h="4251" fill="none" extrusionOk="0">
                  <a:moveTo>
                    <a:pt x="1280" y="0"/>
                  </a:moveTo>
                  <a:lnTo>
                    <a:pt x="1280" y="0"/>
                  </a:lnTo>
                  <a:lnTo>
                    <a:pt x="1107" y="346"/>
                  </a:lnTo>
                  <a:lnTo>
                    <a:pt x="1107" y="346"/>
                  </a:lnTo>
                  <a:lnTo>
                    <a:pt x="1003" y="518"/>
                  </a:lnTo>
                  <a:lnTo>
                    <a:pt x="796" y="657"/>
                  </a:lnTo>
                  <a:lnTo>
                    <a:pt x="519" y="829"/>
                  </a:lnTo>
                  <a:lnTo>
                    <a:pt x="174" y="968"/>
                  </a:lnTo>
                  <a:lnTo>
                    <a:pt x="174" y="968"/>
                  </a:lnTo>
                  <a:lnTo>
                    <a:pt x="1" y="2903"/>
                  </a:lnTo>
                  <a:lnTo>
                    <a:pt x="1" y="3663"/>
                  </a:lnTo>
                  <a:lnTo>
                    <a:pt x="1" y="4251"/>
                  </a:lnTo>
                  <a:lnTo>
                    <a:pt x="1" y="4251"/>
                  </a:lnTo>
                  <a:lnTo>
                    <a:pt x="5150" y="3940"/>
                  </a:lnTo>
                  <a:lnTo>
                    <a:pt x="9642" y="3594"/>
                  </a:lnTo>
                  <a:lnTo>
                    <a:pt x="13443" y="3248"/>
                  </a:lnTo>
                  <a:lnTo>
                    <a:pt x="15033" y="3076"/>
                  </a:lnTo>
                  <a:lnTo>
                    <a:pt x="16450" y="2903"/>
                  </a:lnTo>
                  <a:lnTo>
                    <a:pt x="16657" y="899"/>
                  </a:lnTo>
                  <a:lnTo>
                    <a:pt x="16657" y="899"/>
                  </a:lnTo>
                  <a:lnTo>
                    <a:pt x="15344" y="795"/>
                  </a:lnTo>
                  <a:lnTo>
                    <a:pt x="13823" y="657"/>
                  </a:lnTo>
                  <a:lnTo>
                    <a:pt x="10299" y="415"/>
                  </a:lnTo>
                  <a:lnTo>
                    <a:pt x="6083" y="207"/>
                  </a:lnTo>
                  <a:lnTo>
                    <a:pt x="128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51" name="Google Shape;1451;p16"/>
            <p:cNvSpPr/>
            <p:nvPr/>
          </p:nvSpPr>
          <p:spPr>
            <a:xfrm>
              <a:off x="1544825" y="238125"/>
              <a:ext cx="3225000" cy="4422375"/>
            </a:xfrm>
            <a:custGeom>
              <a:avLst/>
              <a:gdLst/>
              <a:ahLst/>
              <a:cxnLst/>
              <a:rect l="l" t="t" r="r" b="b"/>
              <a:pathLst>
                <a:path w="129000" h="176895" extrusionOk="0">
                  <a:moveTo>
                    <a:pt x="61545" y="0"/>
                  </a:moveTo>
                  <a:lnTo>
                    <a:pt x="56051" y="69"/>
                  </a:lnTo>
                  <a:lnTo>
                    <a:pt x="50591" y="173"/>
                  </a:lnTo>
                  <a:lnTo>
                    <a:pt x="45200" y="311"/>
                  </a:lnTo>
                  <a:lnTo>
                    <a:pt x="39913" y="518"/>
                  </a:lnTo>
                  <a:lnTo>
                    <a:pt x="34764" y="795"/>
                  </a:lnTo>
                  <a:lnTo>
                    <a:pt x="29822" y="1106"/>
                  </a:lnTo>
                  <a:lnTo>
                    <a:pt x="27438" y="1313"/>
                  </a:lnTo>
                  <a:lnTo>
                    <a:pt x="25123" y="1520"/>
                  </a:lnTo>
                  <a:lnTo>
                    <a:pt x="22877" y="1728"/>
                  </a:lnTo>
                  <a:lnTo>
                    <a:pt x="20699" y="1970"/>
                  </a:lnTo>
                  <a:lnTo>
                    <a:pt x="18626" y="2246"/>
                  </a:lnTo>
                  <a:lnTo>
                    <a:pt x="16622" y="2523"/>
                  </a:lnTo>
                  <a:lnTo>
                    <a:pt x="14687" y="2799"/>
                  </a:lnTo>
                  <a:lnTo>
                    <a:pt x="12855" y="3145"/>
                  </a:lnTo>
                  <a:lnTo>
                    <a:pt x="11127" y="3456"/>
                  </a:lnTo>
                  <a:lnTo>
                    <a:pt x="9503" y="3836"/>
                  </a:lnTo>
                  <a:lnTo>
                    <a:pt x="7983" y="4181"/>
                  </a:lnTo>
                  <a:lnTo>
                    <a:pt x="6600" y="4596"/>
                  </a:lnTo>
                  <a:lnTo>
                    <a:pt x="5322" y="5011"/>
                  </a:lnTo>
                  <a:lnTo>
                    <a:pt x="4147" y="5460"/>
                  </a:lnTo>
                  <a:lnTo>
                    <a:pt x="3145" y="5909"/>
                  </a:lnTo>
                  <a:lnTo>
                    <a:pt x="2661" y="6151"/>
                  </a:lnTo>
                  <a:lnTo>
                    <a:pt x="2246" y="6393"/>
                  </a:lnTo>
                  <a:lnTo>
                    <a:pt x="1866" y="6669"/>
                  </a:lnTo>
                  <a:lnTo>
                    <a:pt x="1486" y="6911"/>
                  </a:lnTo>
                  <a:lnTo>
                    <a:pt x="1175" y="7188"/>
                  </a:lnTo>
                  <a:lnTo>
                    <a:pt x="899" y="7464"/>
                  </a:lnTo>
                  <a:lnTo>
                    <a:pt x="657" y="7706"/>
                  </a:lnTo>
                  <a:lnTo>
                    <a:pt x="449" y="8017"/>
                  </a:lnTo>
                  <a:lnTo>
                    <a:pt x="277" y="8294"/>
                  </a:lnTo>
                  <a:lnTo>
                    <a:pt x="138" y="8570"/>
                  </a:lnTo>
                  <a:lnTo>
                    <a:pt x="35" y="8881"/>
                  </a:lnTo>
                  <a:lnTo>
                    <a:pt x="0" y="9192"/>
                  </a:lnTo>
                  <a:lnTo>
                    <a:pt x="0" y="9503"/>
                  </a:lnTo>
                  <a:lnTo>
                    <a:pt x="35" y="9814"/>
                  </a:lnTo>
                  <a:lnTo>
                    <a:pt x="553" y="12924"/>
                  </a:lnTo>
                  <a:lnTo>
                    <a:pt x="1037" y="16103"/>
                  </a:lnTo>
                  <a:lnTo>
                    <a:pt x="1452" y="19282"/>
                  </a:lnTo>
                  <a:lnTo>
                    <a:pt x="1866" y="22496"/>
                  </a:lnTo>
                  <a:lnTo>
                    <a:pt x="2212" y="25745"/>
                  </a:lnTo>
                  <a:lnTo>
                    <a:pt x="2523" y="29027"/>
                  </a:lnTo>
                  <a:lnTo>
                    <a:pt x="2799" y="32310"/>
                  </a:lnTo>
                  <a:lnTo>
                    <a:pt x="3041" y="35628"/>
                  </a:lnTo>
                  <a:lnTo>
                    <a:pt x="3248" y="38945"/>
                  </a:lnTo>
                  <a:lnTo>
                    <a:pt x="3421" y="42297"/>
                  </a:lnTo>
                  <a:lnTo>
                    <a:pt x="3594" y="45684"/>
                  </a:lnTo>
                  <a:lnTo>
                    <a:pt x="3698" y="49036"/>
                  </a:lnTo>
                  <a:lnTo>
                    <a:pt x="3801" y="52422"/>
                  </a:lnTo>
                  <a:lnTo>
                    <a:pt x="3870" y="55809"/>
                  </a:lnTo>
                  <a:lnTo>
                    <a:pt x="3905" y="59195"/>
                  </a:lnTo>
                  <a:lnTo>
                    <a:pt x="3940" y="62582"/>
                  </a:lnTo>
                  <a:lnTo>
                    <a:pt x="3940" y="65968"/>
                  </a:lnTo>
                  <a:lnTo>
                    <a:pt x="3905" y="69355"/>
                  </a:lnTo>
                  <a:lnTo>
                    <a:pt x="3801" y="76093"/>
                  </a:lnTo>
                  <a:lnTo>
                    <a:pt x="3663" y="82797"/>
                  </a:lnTo>
                  <a:lnTo>
                    <a:pt x="3421" y="89397"/>
                  </a:lnTo>
                  <a:lnTo>
                    <a:pt x="3179" y="95929"/>
                  </a:lnTo>
                  <a:lnTo>
                    <a:pt x="2903" y="102321"/>
                  </a:lnTo>
                  <a:lnTo>
                    <a:pt x="2281" y="114693"/>
                  </a:lnTo>
                  <a:lnTo>
                    <a:pt x="1693" y="126373"/>
                  </a:lnTo>
                  <a:lnTo>
                    <a:pt x="1452" y="131902"/>
                  </a:lnTo>
                  <a:lnTo>
                    <a:pt x="1210" y="137154"/>
                  </a:lnTo>
                  <a:lnTo>
                    <a:pt x="1071" y="142165"/>
                  </a:lnTo>
                  <a:lnTo>
                    <a:pt x="968" y="146899"/>
                  </a:lnTo>
                  <a:lnTo>
                    <a:pt x="933" y="151322"/>
                  </a:lnTo>
                  <a:lnTo>
                    <a:pt x="933" y="153430"/>
                  </a:lnTo>
                  <a:lnTo>
                    <a:pt x="968" y="155435"/>
                  </a:lnTo>
                  <a:lnTo>
                    <a:pt x="1037" y="157370"/>
                  </a:lnTo>
                  <a:lnTo>
                    <a:pt x="1141" y="159201"/>
                  </a:lnTo>
                  <a:lnTo>
                    <a:pt x="1244" y="160929"/>
                  </a:lnTo>
                  <a:lnTo>
                    <a:pt x="1417" y="162588"/>
                  </a:lnTo>
                  <a:lnTo>
                    <a:pt x="1590" y="164143"/>
                  </a:lnTo>
                  <a:lnTo>
                    <a:pt x="1797" y="165594"/>
                  </a:lnTo>
                  <a:lnTo>
                    <a:pt x="2039" y="166942"/>
                  </a:lnTo>
                  <a:lnTo>
                    <a:pt x="2315" y="168186"/>
                  </a:lnTo>
                  <a:lnTo>
                    <a:pt x="2626" y="169326"/>
                  </a:lnTo>
                  <a:lnTo>
                    <a:pt x="2972" y="170363"/>
                  </a:lnTo>
                  <a:lnTo>
                    <a:pt x="3352" y="171296"/>
                  </a:lnTo>
                  <a:lnTo>
                    <a:pt x="3559" y="171711"/>
                  </a:lnTo>
                  <a:lnTo>
                    <a:pt x="3767" y="172091"/>
                  </a:lnTo>
                  <a:lnTo>
                    <a:pt x="4009" y="172436"/>
                  </a:lnTo>
                  <a:lnTo>
                    <a:pt x="4251" y="172782"/>
                  </a:lnTo>
                  <a:lnTo>
                    <a:pt x="4493" y="173058"/>
                  </a:lnTo>
                  <a:lnTo>
                    <a:pt x="4769" y="173335"/>
                  </a:lnTo>
                  <a:lnTo>
                    <a:pt x="5045" y="173577"/>
                  </a:lnTo>
                  <a:lnTo>
                    <a:pt x="5322" y="173784"/>
                  </a:lnTo>
                  <a:lnTo>
                    <a:pt x="5633" y="173957"/>
                  </a:lnTo>
                  <a:lnTo>
                    <a:pt x="5944" y="174095"/>
                  </a:lnTo>
                  <a:lnTo>
                    <a:pt x="6359" y="174233"/>
                  </a:lnTo>
                  <a:lnTo>
                    <a:pt x="6911" y="174372"/>
                  </a:lnTo>
                  <a:lnTo>
                    <a:pt x="7637" y="174510"/>
                  </a:lnTo>
                  <a:lnTo>
                    <a:pt x="8466" y="174648"/>
                  </a:lnTo>
                  <a:lnTo>
                    <a:pt x="10574" y="174890"/>
                  </a:lnTo>
                  <a:lnTo>
                    <a:pt x="13132" y="175132"/>
                  </a:lnTo>
                  <a:lnTo>
                    <a:pt x="16138" y="175374"/>
                  </a:lnTo>
                  <a:lnTo>
                    <a:pt x="19559" y="175616"/>
                  </a:lnTo>
                  <a:lnTo>
                    <a:pt x="23360" y="175823"/>
                  </a:lnTo>
                  <a:lnTo>
                    <a:pt x="27507" y="175996"/>
                  </a:lnTo>
                  <a:lnTo>
                    <a:pt x="31930" y="176169"/>
                  </a:lnTo>
                  <a:lnTo>
                    <a:pt x="36595" y="176341"/>
                  </a:lnTo>
                  <a:lnTo>
                    <a:pt x="41502" y="176480"/>
                  </a:lnTo>
                  <a:lnTo>
                    <a:pt x="46548" y="176618"/>
                  </a:lnTo>
                  <a:lnTo>
                    <a:pt x="51766" y="176721"/>
                  </a:lnTo>
                  <a:lnTo>
                    <a:pt x="57087" y="176791"/>
                  </a:lnTo>
                  <a:lnTo>
                    <a:pt x="62478" y="176860"/>
                  </a:lnTo>
                  <a:lnTo>
                    <a:pt x="67869" y="176894"/>
                  </a:lnTo>
                  <a:lnTo>
                    <a:pt x="78616" y="176894"/>
                  </a:lnTo>
                  <a:lnTo>
                    <a:pt x="83834" y="176860"/>
                  </a:lnTo>
                  <a:lnTo>
                    <a:pt x="88983" y="176791"/>
                  </a:lnTo>
                  <a:lnTo>
                    <a:pt x="93924" y="176687"/>
                  </a:lnTo>
                  <a:lnTo>
                    <a:pt x="98659" y="176549"/>
                  </a:lnTo>
                  <a:lnTo>
                    <a:pt x="103151" y="176410"/>
                  </a:lnTo>
                  <a:lnTo>
                    <a:pt x="107367" y="176238"/>
                  </a:lnTo>
                  <a:lnTo>
                    <a:pt x="111272" y="175996"/>
                  </a:lnTo>
                  <a:lnTo>
                    <a:pt x="114831" y="175754"/>
                  </a:lnTo>
                  <a:lnTo>
                    <a:pt x="117941" y="175477"/>
                  </a:lnTo>
                  <a:lnTo>
                    <a:pt x="119358" y="175305"/>
                  </a:lnTo>
                  <a:lnTo>
                    <a:pt x="120637" y="175166"/>
                  </a:lnTo>
                  <a:lnTo>
                    <a:pt x="121811" y="174994"/>
                  </a:lnTo>
                  <a:lnTo>
                    <a:pt x="122883" y="174786"/>
                  </a:lnTo>
                  <a:lnTo>
                    <a:pt x="123816" y="174613"/>
                  </a:lnTo>
                  <a:lnTo>
                    <a:pt x="124576" y="174406"/>
                  </a:lnTo>
                  <a:lnTo>
                    <a:pt x="125232" y="174199"/>
                  </a:lnTo>
                  <a:lnTo>
                    <a:pt x="125751" y="173957"/>
                  </a:lnTo>
                  <a:lnTo>
                    <a:pt x="125958" y="173853"/>
                  </a:lnTo>
                  <a:lnTo>
                    <a:pt x="126096" y="173750"/>
                  </a:lnTo>
                  <a:lnTo>
                    <a:pt x="126235" y="173611"/>
                  </a:lnTo>
                  <a:lnTo>
                    <a:pt x="126304" y="173508"/>
                  </a:lnTo>
                  <a:lnTo>
                    <a:pt x="126442" y="173231"/>
                  </a:lnTo>
                  <a:lnTo>
                    <a:pt x="126546" y="172920"/>
                  </a:lnTo>
                  <a:lnTo>
                    <a:pt x="126788" y="172160"/>
                  </a:lnTo>
                  <a:lnTo>
                    <a:pt x="126995" y="171158"/>
                  </a:lnTo>
                  <a:lnTo>
                    <a:pt x="127202" y="169983"/>
                  </a:lnTo>
                  <a:lnTo>
                    <a:pt x="127410" y="168601"/>
                  </a:lnTo>
                  <a:lnTo>
                    <a:pt x="127582" y="167080"/>
                  </a:lnTo>
                  <a:lnTo>
                    <a:pt x="127755" y="165352"/>
                  </a:lnTo>
                  <a:lnTo>
                    <a:pt x="127928" y="163452"/>
                  </a:lnTo>
                  <a:lnTo>
                    <a:pt x="128066" y="161378"/>
                  </a:lnTo>
                  <a:lnTo>
                    <a:pt x="128204" y="159167"/>
                  </a:lnTo>
                  <a:lnTo>
                    <a:pt x="128446" y="154329"/>
                  </a:lnTo>
                  <a:lnTo>
                    <a:pt x="128654" y="148938"/>
                  </a:lnTo>
                  <a:lnTo>
                    <a:pt x="128826" y="143063"/>
                  </a:lnTo>
                  <a:lnTo>
                    <a:pt x="128930" y="136740"/>
                  </a:lnTo>
                  <a:lnTo>
                    <a:pt x="128999" y="130105"/>
                  </a:lnTo>
                  <a:lnTo>
                    <a:pt x="128999" y="123124"/>
                  </a:lnTo>
                  <a:lnTo>
                    <a:pt x="128999" y="115868"/>
                  </a:lnTo>
                  <a:lnTo>
                    <a:pt x="128930" y="108438"/>
                  </a:lnTo>
                  <a:lnTo>
                    <a:pt x="128826" y="100870"/>
                  </a:lnTo>
                  <a:lnTo>
                    <a:pt x="128688" y="93199"/>
                  </a:lnTo>
                  <a:lnTo>
                    <a:pt x="128515" y="85493"/>
                  </a:lnTo>
                  <a:lnTo>
                    <a:pt x="128273" y="77786"/>
                  </a:lnTo>
                  <a:lnTo>
                    <a:pt x="128032" y="70184"/>
                  </a:lnTo>
                  <a:lnTo>
                    <a:pt x="127721" y="62720"/>
                  </a:lnTo>
                  <a:lnTo>
                    <a:pt x="127375" y="55428"/>
                  </a:lnTo>
                  <a:lnTo>
                    <a:pt x="126995" y="48379"/>
                  </a:lnTo>
                  <a:lnTo>
                    <a:pt x="126580" y="41640"/>
                  </a:lnTo>
                  <a:lnTo>
                    <a:pt x="126131" y="35213"/>
                  </a:lnTo>
                  <a:lnTo>
                    <a:pt x="125613" y="29235"/>
                  </a:lnTo>
                  <a:lnTo>
                    <a:pt x="125371" y="26436"/>
                  </a:lnTo>
                  <a:lnTo>
                    <a:pt x="125094" y="23706"/>
                  </a:lnTo>
                  <a:lnTo>
                    <a:pt x="124818" y="21149"/>
                  </a:lnTo>
                  <a:lnTo>
                    <a:pt x="124507" y="18730"/>
                  </a:lnTo>
                  <a:lnTo>
                    <a:pt x="124196" y="16414"/>
                  </a:lnTo>
                  <a:lnTo>
                    <a:pt x="123885" y="14306"/>
                  </a:lnTo>
                  <a:lnTo>
                    <a:pt x="123574" y="12302"/>
                  </a:lnTo>
                  <a:lnTo>
                    <a:pt x="123263" y="10505"/>
                  </a:lnTo>
                  <a:lnTo>
                    <a:pt x="122917" y="8846"/>
                  </a:lnTo>
                  <a:lnTo>
                    <a:pt x="122572" y="7395"/>
                  </a:lnTo>
                  <a:lnTo>
                    <a:pt x="122226" y="6116"/>
                  </a:lnTo>
                  <a:lnTo>
                    <a:pt x="121846" y="5045"/>
                  </a:lnTo>
                  <a:lnTo>
                    <a:pt x="121673" y="4561"/>
                  </a:lnTo>
                  <a:lnTo>
                    <a:pt x="121500" y="4147"/>
                  </a:lnTo>
                  <a:lnTo>
                    <a:pt x="121293" y="3767"/>
                  </a:lnTo>
                  <a:lnTo>
                    <a:pt x="121120" y="3456"/>
                  </a:lnTo>
                  <a:lnTo>
                    <a:pt x="120913" y="3214"/>
                  </a:lnTo>
                  <a:lnTo>
                    <a:pt x="120706" y="3006"/>
                  </a:lnTo>
                  <a:lnTo>
                    <a:pt x="120533" y="2834"/>
                  </a:lnTo>
                  <a:lnTo>
                    <a:pt x="120325" y="2765"/>
                  </a:lnTo>
                  <a:lnTo>
                    <a:pt x="119842" y="2626"/>
                  </a:lnTo>
                  <a:lnTo>
                    <a:pt x="119220" y="2488"/>
                  </a:lnTo>
                  <a:lnTo>
                    <a:pt x="118425" y="2350"/>
                  </a:lnTo>
                  <a:lnTo>
                    <a:pt x="117526" y="2212"/>
                  </a:lnTo>
                  <a:lnTo>
                    <a:pt x="115315" y="1935"/>
                  </a:lnTo>
                  <a:lnTo>
                    <a:pt x="112585" y="1659"/>
                  </a:lnTo>
                  <a:lnTo>
                    <a:pt x="109406" y="1417"/>
                  </a:lnTo>
                  <a:lnTo>
                    <a:pt x="105812" y="1175"/>
                  </a:lnTo>
                  <a:lnTo>
                    <a:pt x="101872" y="933"/>
                  </a:lnTo>
                  <a:lnTo>
                    <a:pt x="97553" y="726"/>
                  </a:lnTo>
                  <a:lnTo>
                    <a:pt x="92957" y="518"/>
                  </a:lnTo>
                  <a:lnTo>
                    <a:pt x="88119" y="346"/>
                  </a:lnTo>
                  <a:lnTo>
                    <a:pt x="83074" y="207"/>
                  </a:lnTo>
                  <a:lnTo>
                    <a:pt x="77856" y="104"/>
                  </a:lnTo>
                  <a:lnTo>
                    <a:pt x="72499" y="35"/>
                  </a:lnTo>
                  <a:lnTo>
                    <a:pt x="67040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52" name="Google Shape;1452;p16"/>
            <p:cNvSpPr/>
            <p:nvPr/>
          </p:nvSpPr>
          <p:spPr>
            <a:xfrm>
              <a:off x="1544825" y="238125"/>
              <a:ext cx="3225000" cy="4422375"/>
            </a:xfrm>
            <a:custGeom>
              <a:avLst/>
              <a:gdLst/>
              <a:ahLst/>
              <a:cxnLst/>
              <a:rect l="l" t="t" r="r" b="b"/>
              <a:pathLst>
                <a:path w="129000" h="176895" fill="none" extrusionOk="0">
                  <a:moveTo>
                    <a:pt x="35" y="9814"/>
                  </a:moveTo>
                  <a:lnTo>
                    <a:pt x="35" y="9814"/>
                  </a:lnTo>
                  <a:lnTo>
                    <a:pt x="553" y="12924"/>
                  </a:lnTo>
                  <a:lnTo>
                    <a:pt x="1037" y="16103"/>
                  </a:lnTo>
                  <a:lnTo>
                    <a:pt x="1452" y="19282"/>
                  </a:lnTo>
                  <a:lnTo>
                    <a:pt x="1866" y="22496"/>
                  </a:lnTo>
                  <a:lnTo>
                    <a:pt x="2212" y="25745"/>
                  </a:lnTo>
                  <a:lnTo>
                    <a:pt x="2523" y="29027"/>
                  </a:lnTo>
                  <a:lnTo>
                    <a:pt x="2799" y="32310"/>
                  </a:lnTo>
                  <a:lnTo>
                    <a:pt x="3041" y="35628"/>
                  </a:lnTo>
                  <a:lnTo>
                    <a:pt x="3248" y="38945"/>
                  </a:lnTo>
                  <a:lnTo>
                    <a:pt x="3421" y="42297"/>
                  </a:lnTo>
                  <a:lnTo>
                    <a:pt x="3594" y="45684"/>
                  </a:lnTo>
                  <a:lnTo>
                    <a:pt x="3698" y="49036"/>
                  </a:lnTo>
                  <a:lnTo>
                    <a:pt x="3801" y="52422"/>
                  </a:lnTo>
                  <a:lnTo>
                    <a:pt x="3870" y="55809"/>
                  </a:lnTo>
                  <a:lnTo>
                    <a:pt x="3905" y="59195"/>
                  </a:lnTo>
                  <a:lnTo>
                    <a:pt x="3940" y="62582"/>
                  </a:lnTo>
                  <a:lnTo>
                    <a:pt x="3940" y="65968"/>
                  </a:lnTo>
                  <a:lnTo>
                    <a:pt x="3905" y="69355"/>
                  </a:lnTo>
                  <a:lnTo>
                    <a:pt x="3801" y="76093"/>
                  </a:lnTo>
                  <a:lnTo>
                    <a:pt x="3663" y="82797"/>
                  </a:lnTo>
                  <a:lnTo>
                    <a:pt x="3421" y="89397"/>
                  </a:lnTo>
                  <a:lnTo>
                    <a:pt x="3179" y="95929"/>
                  </a:lnTo>
                  <a:lnTo>
                    <a:pt x="2903" y="102321"/>
                  </a:lnTo>
                  <a:lnTo>
                    <a:pt x="2281" y="114693"/>
                  </a:lnTo>
                  <a:lnTo>
                    <a:pt x="1693" y="126373"/>
                  </a:lnTo>
                  <a:lnTo>
                    <a:pt x="1452" y="131902"/>
                  </a:lnTo>
                  <a:lnTo>
                    <a:pt x="1210" y="137154"/>
                  </a:lnTo>
                  <a:lnTo>
                    <a:pt x="1071" y="142165"/>
                  </a:lnTo>
                  <a:lnTo>
                    <a:pt x="968" y="146899"/>
                  </a:lnTo>
                  <a:lnTo>
                    <a:pt x="933" y="151322"/>
                  </a:lnTo>
                  <a:lnTo>
                    <a:pt x="933" y="153430"/>
                  </a:lnTo>
                  <a:lnTo>
                    <a:pt x="968" y="155435"/>
                  </a:lnTo>
                  <a:lnTo>
                    <a:pt x="1037" y="157370"/>
                  </a:lnTo>
                  <a:lnTo>
                    <a:pt x="1141" y="159201"/>
                  </a:lnTo>
                  <a:lnTo>
                    <a:pt x="1244" y="160929"/>
                  </a:lnTo>
                  <a:lnTo>
                    <a:pt x="1417" y="162588"/>
                  </a:lnTo>
                  <a:lnTo>
                    <a:pt x="1590" y="164143"/>
                  </a:lnTo>
                  <a:lnTo>
                    <a:pt x="1797" y="165594"/>
                  </a:lnTo>
                  <a:lnTo>
                    <a:pt x="2039" y="166942"/>
                  </a:lnTo>
                  <a:lnTo>
                    <a:pt x="2315" y="168186"/>
                  </a:lnTo>
                  <a:lnTo>
                    <a:pt x="2626" y="169326"/>
                  </a:lnTo>
                  <a:lnTo>
                    <a:pt x="2972" y="170363"/>
                  </a:lnTo>
                  <a:lnTo>
                    <a:pt x="3352" y="171296"/>
                  </a:lnTo>
                  <a:lnTo>
                    <a:pt x="3559" y="171711"/>
                  </a:lnTo>
                  <a:lnTo>
                    <a:pt x="3767" y="172091"/>
                  </a:lnTo>
                  <a:lnTo>
                    <a:pt x="4009" y="172436"/>
                  </a:lnTo>
                  <a:lnTo>
                    <a:pt x="4251" y="172782"/>
                  </a:lnTo>
                  <a:lnTo>
                    <a:pt x="4493" y="173058"/>
                  </a:lnTo>
                  <a:lnTo>
                    <a:pt x="4769" y="173335"/>
                  </a:lnTo>
                  <a:lnTo>
                    <a:pt x="5045" y="173577"/>
                  </a:lnTo>
                  <a:lnTo>
                    <a:pt x="5322" y="173784"/>
                  </a:lnTo>
                  <a:lnTo>
                    <a:pt x="5633" y="173957"/>
                  </a:lnTo>
                  <a:lnTo>
                    <a:pt x="5944" y="174095"/>
                  </a:lnTo>
                  <a:lnTo>
                    <a:pt x="5944" y="174095"/>
                  </a:lnTo>
                  <a:lnTo>
                    <a:pt x="6359" y="174233"/>
                  </a:lnTo>
                  <a:lnTo>
                    <a:pt x="6911" y="174372"/>
                  </a:lnTo>
                  <a:lnTo>
                    <a:pt x="7637" y="174510"/>
                  </a:lnTo>
                  <a:lnTo>
                    <a:pt x="8466" y="174648"/>
                  </a:lnTo>
                  <a:lnTo>
                    <a:pt x="10574" y="174890"/>
                  </a:lnTo>
                  <a:lnTo>
                    <a:pt x="13132" y="175132"/>
                  </a:lnTo>
                  <a:lnTo>
                    <a:pt x="16138" y="175374"/>
                  </a:lnTo>
                  <a:lnTo>
                    <a:pt x="19559" y="175616"/>
                  </a:lnTo>
                  <a:lnTo>
                    <a:pt x="23360" y="175823"/>
                  </a:lnTo>
                  <a:lnTo>
                    <a:pt x="27507" y="175996"/>
                  </a:lnTo>
                  <a:lnTo>
                    <a:pt x="31930" y="176169"/>
                  </a:lnTo>
                  <a:lnTo>
                    <a:pt x="36595" y="176341"/>
                  </a:lnTo>
                  <a:lnTo>
                    <a:pt x="41502" y="176480"/>
                  </a:lnTo>
                  <a:lnTo>
                    <a:pt x="46548" y="176618"/>
                  </a:lnTo>
                  <a:lnTo>
                    <a:pt x="51766" y="176721"/>
                  </a:lnTo>
                  <a:lnTo>
                    <a:pt x="57087" y="176791"/>
                  </a:lnTo>
                  <a:lnTo>
                    <a:pt x="62478" y="176860"/>
                  </a:lnTo>
                  <a:lnTo>
                    <a:pt x="67869" y="176894"/>
                  </a:lnTo>
                  <a:lnTo>
                    <a:pt x="73260" y="176894"/>
                  </a:lnTo>
                  <a:lnTo>
                    <a:pt x="78616" y="176894"/>
                  </a:lnTo>
                  <a:lnTo>
                    <a:pt x="83834" y="176860"/>
                  </a:lnTo>
                  <a:lnTo>
                    <a:pt x="88983" y="176791"/>
                  </a:lnTo>
                  <a:lnTo>
                    <a:pt x="93924" y="176687"/>
                  </a:lnTo>
                  <a:lnTo>
                    <a:pt x="98659" y="176549"/>
                  </a:lnTo>
                  <a:lnTo>
                    <a:pt x="103151" y="176410"/>
                  </a:lnTo>
                  <a:lnTo>
                    <a:pt x="107367" y="176238"/>
                  </a:lnTo>
                  <a:lnTo>
                    <a:pt x="111272" y="175996"/>
                  </a:lnTo>
                  <a:lnTo>
                    <a:pt x="114831" y="175754"/>
                  </a:lnTo>
                  <a:lnTo>
                    <a:pt x="117941" y="175477"/>
                  </a:lnTo>
                  <a:lnTo>
                    <a:pt x="119358" y="175305"/>
                  </a:lnTo>
                  <a:lnTo>
                    <a:pt x="120637" y="175166"/>
                  </a:lnTo>
                  <a:lnTo>
                    <a:pt x="121811" y="174994"/>
                  </a:lnTo>
                  <a:lnTo>
                    <a:pt x="122883" y="174786"/>
                  </a:lnTo>
                  <a:lnTo>
                    <a:pt x="123816" y="174613"/>
                  </a:lnTo>
                  <a:lnTo>
                    <a:pt x="124576" y="174406"/>
                  </a:lnTo>
                  <a:lnTo>
                    <a:pt x="125232" y="174199"/>
                  </a:lnTo>
                  <a:lnTo>
                    <a:pt x="125751" y="173957"/>
                  </a:lnTo>
                  <a:lnTo>
                    <a:pt x="125958" y="173853"/>
                  </a:lnTo>
                  <a:lnTo>
                    <a:pt x="126096" y="173750"/>
                  </a:lnTo>
                  <a:lnTo>
                    <a:pt x="126235" y="173611"/>
                  </a:lnTo>
                  <a:lnTo>
                    <a:pt x="126304" y="173508"/>
                  </a:lnTo>
                  <a:lnTo>
                    <a:pt x="126304" y="173508"/>
                  </a:lnTo>
                  <a:lnTo>
                    <a:pt x="126442" y="173231"/>
                  </a:lnTo>
                  <a:lnTo>
                    <a:pt x="126546" y="172920"/>
                  </a:lnTo>
                  <a:lnTo>
                    <a:pt x="126788" y="172160"/>
                  </a:lnTo>
                  <a:lnTo>
                    <a:pt x="126995" y="171158"/>
                  </a:lnTo>
                  <a:lnTo>
                    <a:pt x="127202" y="169983"/>
                  </a:lnTo>
                  <a:lnTo>
                    <a:pt x="127410" y="168601"/>
                  </a:lnTo>
                  <a:lnTo>
                    <a:pt x="127582" y="167080"/>
                  </a:lnTo>
                  <a:lnTo>
                    <a:pt x="127755" y="165352"/>
                  </a:lnTo>
                  <a:lnTo>
                    <a:pt x="127928" y="163452"/>
                  </a:lnTo>
                  <a:lnTo>
                    <a:pt x="128066" y="161378"/>
                  </a:lnTo>
                  <a:lnTo>
                    <a:pt x="128204" y="159167"/>
                  </a:lnTo>
                  <a:lnTo>
                    <a:pt x="128446" y="154329"/>
                  </a:lnTo>
                  <a:lnTo>
                    <a:pt x="128654" y="148938"/>
                  </a:lnTo>
                  <a:lnTo>
                    <a:pt x="128826" y="143063"/>
                  </a:lnTo>
                  <a:lnTo>
                    <a:pt x="128930" y="136740"/>
                  </a:lnTo>
                  <a:lnTo>
                    <a:pt x="128999" y="130105"/>
                  </a:lnTo>
                  <a:lnTo>
                    <a:pt x="128999" y="123124"/>
                  </a:lnTo>
                  <a:lnTo>
                    <a:pt x="128999" y="115868"/>
                  </a:lnTo>
                  <a:lnTo>
                    <a:pt x="128930" y="108438"/>
                  </a:lnTo>
                  <a:lnTo>
                    <a:pt x="128826" y="100870"/>
                  </a:lnTo>
                  <a:lnTo>
                    <a:pt x="128688" y="93199"/>
                  </a:lnTo>
                  <a:lnTo>
                    <a:pt x="128515" y="85493"/>
                  </a:lnTo>
                  <a:lnTo>
                    <a:pt x="128273" y="77786"/>
                  </a:lnTo>
                  <a:lnTo>
                    <a:pt x="128032" y="70184"/>
                  </a:lnTo>
                  <a:lnTo>
                    <a:pt x="127721" y="62720"/>
                  </a:lnTo>
                  <a:lnTo>
                    <a:pt x="127375" y="55428"/>
                  </a:lnTo>
                  <a:lnTo>
                    <a:pt x="126995" y="48379"/>
                  </a:lnTo>
                  <a:lnTo>
                    <a:pt x="126580" y="41640"/>
                  </a:lnTo>
                  <a:lnTo>
                    <a:pt x="126131" y="35213"/>
                  </a:lnTo>
                  <a:lnTo>
                    <a:pt x="125613" y="29235"/>
                  </a:lnTo>
                  <a:lnTo>
                    <a:pt x="125371" y="26436"/>
                  </a:lnTo>
                  <a:lnTo>
                    <a:pt x="125094" y="23706"/>
                  </a:lnTo>
                  <a:lnTo>
                    <a:pt x="124818" y="21149"/>
                  </a:lnTo>
                  <a:lnTo>
                    <a:pt x="124507" y="18730"/>
                  </a:lnTo>
                  <a:lnTo>
                    <a:pt x="124196" y="16414"/>
                  </a:lnTo>
                  <a:lnTo>
                    <a:pt x="123885" y="14306"/>
                  </a:lnTo>
                  <a:lnTo>
                    <a:pt x="123574" y="12302"/>
                  </a:lnTo>
                  <a:lnTo>
                    <a:pt x="123263" y="10505"/>
                  </a:lnTo>
                  <a:lnTo>
                    <a:pt x="122917" y="8846"/>
                  </a:lnTo>
                  <a:lnTo>
                    <a:pt x="122572" y="7395"/>
                  </a:lnTo>
                  <a:lnTo>
                    <a:pt x="122226" y="6116"/>
                  </a:lnTo>
                  <a:lnTo>
                    <a:pt x="121846" y="5045"/>
                  </a:lnTo>
                  <a:lnTo>
                    <a:pt x="121673" y="4561"/>
                  </a:lnTo>
                  <a:lnTo>
                    <a:pt x="121500" y="4147"/>
                  </a:lnTo>
                  <a:lnTo>
                    <a:pt x="121293" y="3767"/>
                  </a:lnTo>
                  <a:lnTo>
                    <a:pt x="121120" y="3456"/>
                  </a:lnTo>
                  <a:lnTo>
                    <a:pt x="120913" y="3214"/>
                  </a:lnTo>
                  <a:lnTo>
                    <a:pt x="120706" y="3006"/>
                  </a:lnTo>
                  <a:lnTo>
                    <a:pt x="120533" y="2834"/>
                  </a:lnTo>
                  <a:lnTo>
                    <a:pt x="120325" y="2765"/>
                  </a:lnTo>
                  <a:lnTo>
                    <a:pt x="120325" y="2765"/>
                  </a:lnTo>
                  <a:lnTo>
                    <a:pt x="119842" y="2626"/>
                  </a:lnTo>
                  <a:lnTo>
                    <a:pt x="119220" y="2488"/>
                  </a:lnTo>
                  <a:lnTo>
                    <a:pt x="118425" y="2350"/>
                  </a:lnTo>
                  <a:lnTo>
                    <a:pt x="117526" y="2212"/>
                  </a:lnTo>
                  <a:lnTo>
                    <a:pt x="115315" y="1935"/>
                  </a:lnTo>
                  <a:lnTo>
                    <a:pt x="112585" y="1659"/>
                  </a:lnTo>
                  <a:lnTo>
                    <a:pt x="109406" y="1417"/>
                  </a:lnTo>
                  <a:lnTo>
                    <a:pt x="105812" y="1175"/>
                  </a:lnTo>
                  <a:lnTo>
                    <a:pt x="101872" y="933"/>
                  </a:lnTo>
                  <a:lnTo>
                    <a:pt x="97553" y="726"/>
                  </a:lnTo>
                  <a:lnTo>
                    <a:pt x="92957" y="518"/>
                  </a:lnTo>
                  <a:lnTo>
                    <a:pt x="88119" y="346"/>
                  </a:lnTo>
                  <a:lnTo>
                    <a:pt x="83074" y="207"/>
                  </a:lnTo>
                  <a:lnTo>
                    <a:pt x="77856" y="104"/>
                  </a:lnTo>
                  <a:lnTo>
                    <a:pt x="72499" y="35"/>
                  </a:lnTo>
                  <a:lnTo>
                    <a:pt x="67040" y="0"/>
                  </a:lnTo>
                  <a:lnTo>
                    <a:pt x="61545" y="0"/>
                  </a:lnTo>
                  <a:lnTo>
                    <a:pt x="56051" y="69"/>
                  </a:lnTo>
                  <a:lnTo>
                    <a:pt x="50591" y="173"/>
                  </a:lnTo>
                  <a:lnTo>
                    <a:pt x="45200" y="311"/>
                  </a:lnTo>
                  <a:lnTo>
                    <a:pt x="39913" y="518"/>
                  </a:lnTo>
                  <a:lnTo>
                    <a:pt x="34764" y="795"/>
                  </a:lnTo>
                  <a:lnTo>
                    <a:pt x="29822" y="1106"/>
                  </a:lnTo>
                  <a:lnTo>
                    <a:pt x="27438" y="1313"/>
                  </a:lnTo>
                  <a:lnTo>
                    <a:pt x="25123" y="1520"/>
                  </a:lnTo>
                  <a:lnTo>
                    <a:pt x="22877" y="1728"/>
                  </a:lnTo>
                  <a:lnTo>
                    <a:pt x="20699" y="1970"/>
                  </a:lnTo>
                  <a:lnTo>
                    <a:pt x="18626" y="2246"/>
                  </a:lnTo>
                  <a:lnTo>
                    <a:pt x="16622" y="2523"/>
                  </a:lnTo>
                  <a:lnTo>
                    <a:pt x="14687" y="2799"/>
                  </a:lnTo>
                  <a:lnTo>
                    <a:pt x="12855" y="3145"/>
                  </a:lnTo>
                  <a:lnTo>
                    <a:pt x="11127" y="3456"/>
                  </a:lnTo>
                  <a:lnTo>
                    <a:pt x="9503" y="3836"/>
                  </a:lnTo>
                  <a:lnTo>
                    <a:pt x="7983" y="4181"/>
                  </a:lnTo>
                  <a:lnTo>
                    <a:pt x="6600" y="4596"/>
                  </a:lnTo>
                  <a:lnTo>
                    <a:pt x="5322" y="5011"/>
                  </a:lnTo>
                  <a:lnTo>
                    <a:pt x="4147" y="5460"/>
                  </a:lnTo>
                  <a:lnTo>
                    <a:pt x="3145" y="5909"/>
                  </a:lnTo>
                  <a:lnTo>
                    <a:pt x="2661" y="6151"/>
                  </a:lnTo>
                  <a:lnTo>
                    <a:pt x="2246" y="6393"/>
                  </a:lnTo>
                  <a:lnTo>
                    <a:pt x="1866" y="6669"/>
                  </a:lnTo>
                  <a:lnTo>
                    <a:pt x="1486" y="6911"/>
                  </a:lnTo>
                  <a:lnTo>
                    <a:pt x="1175" y="7188"/>
                  </a:lnTo>
                  <a:lnTo>
                    <a:pt x="899" y="7464"/>
                  </a:lnTo>
                  <a:lnTo>
                    <a:pt x="657" y="7706"/>
                  </a:lnTo>
                  <a:lnTo>
                    <a:pt x="449" y="8017"/>
                  </a:lnTo>
                  <a:lnTo>
                    <a:pt x="277" y="8294"/>
                  </a:lnTo>
                  <a:lnTo>
                    <a:pt x="138" y="8570"/>
                  </a:lnTo>
                  <a:lnTo>
                    <a:pt x="35" y="8881"/>
                  </a:lnTo>
                  <a:lnTo>
                    <a:pt x="0" y="9192"/>
                  </a:lnTo>
                  <a:lnTo>
                    <a:pt x="0" y="9503"/>
                  </a:lnTo>
                  <a:lnTo>
                    <a:pt x="35" y="981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53" name="Google Shape;1453;p16"/>
            <p:cNvSpPr/>
            <p:nvPr/>
          </p:nvSpPr>
          <p:spPr>
            <a:xfrm>
              <a:off x="3648425" y="917150"/>
              <a:ext cx="567625" cy="568475"/>
            </a:xfrm>
            <a:custGeom>
              <a:avLst/>
              <a:gdLst/>
              <a:ahLst/>
              <a:cxnLst/>
              <a:rect l="l" t="t" r="r" b="b"/>
              <a:pathLst>
                <a:path w="22705" h="22739" extrusionOk="0">
                  <a:moveTo>
                    <a:pt x="10748" y="0"/>
                  </a:moveTo>
                  <a:lnTo>
                    <a:pt x="10195" y="35"/>
                  </a:lnTo>
                  <a:lnTo>
                    <a:pt x="9608" y="104"/>
                  </a:lnTo>
                  <a:lnTo>
                    <a:pt x="9055" y="208"/>
                  </a:lnTo>
                  <a:lnTo>
                    <a:pt x="8502" y="346"/>
                  </a:lnTo>
                  <a:lnTo>
                    <a:pt x="7983" y="484"/>
                  </a:lnTo>
                  <a:lnTo>
                    <a:pt x="7431" y="691"/>
                  </a:lnTo>
                  <a:lnTo>
                    <a:pt x="6912" y="899"/>
                  </a:lnTo>
                  <a:lnTo>
                    <a:pt x="6428" y="1106"/>
                  </a:lnTo>
                  <a:lnTo>
                    <a:pt x="5945" y="1348"/>
                  </a:lnTo>
                  <a:lnTo>
                    <a:pt x="5461" y="1624"/>
                  </a:lnTo>
                  <a:lnTo>
                    <a:pt x="5012" y="1935"/>
                  </a:lnTo>
                  <a:lnTo>
                    <a:pt x="4562" y="2246"/>
                  </a:lnTo>
                  <a:lnTo>
                    <a:pt x="4113" y="2592"/>
                  </a:lnTo>
                  <a:lnTo>
                    <a:pt x="3698" y="2938"/>
                  </a:lnTo>
                  <a:lnTo>
                    <a:pt x="3318" y="3318"/>
                  </a:lnTo>
                  <a:lnTo>
                    <a:pt x="2938" y="3732"/>
                  </a:lnTo>
                  <a:lnTo>
                    <a:pt x="2593" y="4147"/>
                  </a:lnTo>
                  <a:lnTo>
                    <a:pt x="2247" y="4562"/>
                  </a:lnTo>
                  <a:lnTo>
                    <a:pt x="1936" y="5011"/>
                  </a:lnTo>
                  <a:lnTo>
                    <a:pt x="1625" y="5460"/>
                  </a:lnTo>
                  <a:lnTo>
                    <a:pt x="1349" y="5944"/>
                  </a:lnTo>
                  <a:lnTo>
                    <a:pt x="1107" y="6428"/>
                  </a:lnTo>
                  <a:lnTo>
                    <a:pt x="899" y="6946"/>
                  </a:lnTo>
                  <a:lnTo>
                    <a:pt x="692" y="7465"/>
                  </a:lnTo>
                  <a:lnTo>
                    <a:pt x="519" y="7983"/>
                  </a:lnTo>
                  <a:lnTo>
                    <a:pt x="347" y="8536"/>
                  </a:lnTo>
                  <a:lnTo>
                    <a:pt x="208" y="9089"/>
                  </a:lnTo>
                  <a:lnTo>
                    <a:pt x="139" y="9642"/>
                  </a:lnTo>
                  <a:lnTo>
                    <a:pt x="36" y="10194"/>
                  </a:lnTo>
                  <a:lnTo>
                    <a:pt x="1" y="10782"/>
                  </a:lnTo>
                  <a:lnTo>
                    <a:pt x="1" y="11369"/>
                  </a:lnTo>
                  <a:lnTo>
                    <a:pt x="1" y="11957"/>
                  </a:lnTo>
                  <a:lnTo>
                    <a:pt x="36" y="12544"/>
                  </a:lnTo>
                  <a:lnTo>
                    <a:pt x="139" y="13097"/>
                  </a:lnTo>
                  <a:lnTo>
                    <a:pt x="208" y="13650"/>
                  </a:lnTo>
                  <a:lnTo>
                    <a:pt x="347" y="14203"/>
                  </a:lnTo>
                  <a:lnTo>
                    <a:pt x="519" y="14756"/>
                  </a:lnTo>
                  <a:lnTo>
                    <a:pt x="692" y="15274"/>
                  </a:lnTo>
                  <a:lnTo>
                    <a:pt x="899" y="15793"/>
                  </a:lnTo>
                  <a:lnTo>
                    <a:pt x="1107" y="16311"/>
                  </a:lnTo>
                  <a:lnTo>
                    <a:pt x="1349" y="16795"/>
                  </a:lnTo>
                  <a:lnTo>
                    <a:pt x="1625" y="17279"/>
                  </a:lnTo>
                  <a:lnTo>
                    <a:pt x="1936" y="17728"/>
                  </a:lnTo>
                  <a:lnTo>
                    <a:pt x="2247" y="18177"/>
                  </a:lnTo>
                  <a:lnTo>
                    <a:pt x="2593" y="18626"/>
                  </a:lnTo>
                  <a:lnTo>
                    <a:pt x="2938" y="19041"/>
                  </a:lnTo>
                  <a:lnTo>
                    <a:pt x="3318" y="19421"/>
                  </a:lnTo>
                  <a:lnTo>
                    <a:pt x="3698" y="19801"/>
                  </a:lnTo>
                  <a:lnTo>
                    <a:pt x="4113" y="20147"/>
                  </a:lnTo>
                  <a:lnTo>
                    <a:pt x="4562" y="20492"/>
                  </a:lnTo>
                  <a:lnTo>
                    <a:pt x="5012" y="20803"/>
                  </a:lnTo>
                  <a:lnTo>
                    <a:pt x="5461" y="21114"/>
                  </a:lnTo>
                  <a:lnTo>
                    <a:pt x="5945" y="21391"/>
                  </a:lnTo>
                  <a:lnTo>
                    <a:pt x="6428" y="21633"/>
                  </a:lnTo>
                  <a:lnTo>
                    <a:pt x="6912" y="21875"/>
                  </a:lnTo>
                  <a:lnTo>
                    <a:pt x="7431" y="22047"/>
                  </a:lnTo>
                  <a:lnTo>
                    <a:pt x="7983" y="22255"/>
                  </a:lnTo>
                  <a:lnTo>
                    <a:pt x="8502" y="22393"/>
                  </a:lnTo>
                  <a:lnTo>
                    <a:pt x="9055" y="22531"/>
                  </a:lnTo>
                  <a:lnTo>
                    <a:pt x="9608" y="22635"/>
                  </a:lnTo>
                  <a:lnTo>
                    <a:pt x="10195" y="22704"/>
                  </a:lnTo>
                  <a:lnTo>
                    <a:pt x="10748" y="22738"/>
                  </a:lnTo>
                  <a:lnTo>
                    <a:pt x="11819" y="22738"/>
                  </a:lnTo>
                  <a:lnTo>
                    <a:pt x="12338" y="22704"/>
                  </a:lnTo>
                  <a:lnTo>
                    <a:pt x="13271" y="22600"/>
                  </a:lnTo>
                  <a:lnTo>
                    <a:pt x="14204" y="22393"/>
                  </a:lnTo>
                  <a:lnTo>
                    <a:pt x="15102" y="22116"/>
                  </a:lnTo>
                  <a:lnTo>
                    <a:pt x="15966" y="21771"/>
                  </a:lnTo>
                  <a:lnTo>
                    <a:pt x="16795" y="21356"/>
                  </a:lnTo>
                  <a:lnTo>
                    <a:pt x="17590" y="20872"/>
                  </a:lnTo>
                  <a:lnTo>
                    <a:pt x="18350" y="20354"/>
                  </a:lnTo>
                  <a:lnTo>
                    <a:pt x="19042" y="19732"/>
                  </a:lnTo>
                  <a:lnTo>
                    <a:pt x="19664" y="19110"/>
                  </a:lnTo>
                  <a:lnTo>
                    <a:pt x="20286" y="18384"/>
                  </a:lnTo>
                  <a:lnTo>
                    <a:pt x="20804" y="17659"/>
                  </a:lnTo>
                  <a:lnTo>
                    <a:pt x="21288" y="16864"/>
                  </a:lnTo>
                  <a:lnTo>
                    <a:pt x="21702" y="16034"/>
                  </a:lnTo>
                  <a:lnTo>
                    <a:pt x="22048" y="15171"/>
                  </a:lnTo>
                  <a:lnTo>
                    <a:pt x="22324" y="14272"/>
                  </a:lnTo>
                  <a:lnTo>
                    <a:pt x="22497" y="13546"/>
                  </a:lnTo>
                  <a:lnTo>
                    <a:pt x="22601" y="12855"/>
                  </a:lnTo>
                  <a:lnTo>
                    <a:pt x="22670" y="12130"/>
                  </a:lnTo>
                  <a:lnTo>
                    <a:pt x="22705" y="11369"/>
                  </a:lnTo>
                  <a:lnTo>
                    <a:pt x="22670" y="10609"/>
                  </a:lnTo>
                  <a:lnTo>
                    <a:pt x="22601" y="9883"/>
                  </a:lnTo>
                  <a:lnTo>
                    <a:pt x="22497" y="9158"/>
                  </a:lnTo>
                  <a:lnTo>
                    <a:pt x="22324" y="8467"/>
                  </a:lnTo>
                  <a:lnTo>
                    <a:pt x="22117" y="7776"/>
                  </a:lnTo>
                  <a:lnTo>
                    <a:pt x="21875" y="7084"/>
                  </a:lnTo>
                  <a:lnTo>
                    <a:pt x="21564" y="6428"/>
                  </a:lnTo>
                  <a:lnTo>
                    <a:pt x="21253" y="5806"/>
                  </a:lnTo>
                  <a:lnTo>
                    <a:pt x="20873" y="5184"/>
                  </a:lnTo>
                  <a:lnTo>
                    <a:pt x="20458" y="4562"/>
                  </a:lnTo>
                  <a:lnTo>
                    <a:pt x="19975" y="3974"/>
                  </a:lnTo>
                  <a:lnTo>
                    <a:pt x="19491" y="3421"/>
                  </a:lnTo>
                  <a:lnTo>
                    <a:pt x="18938" y="2938"/>
                  </a:lnTo>
                  <a:lnTo>
                    <a:pt x="18385" y="2454"/>
                  </a:lnTo>
                  <a:lnTo>
                    <a:pt x="17798" y="2005"/>
                  </a:lnTo>
                  <a:lnTo>
                    <a:pt x="17175" y="1590"/>
                  </a:lnTo>
                  <a:lnTo>
                    <a:pt x="16519" y="1244"/>
                  </a:lnTo>
                  <a:lnTo>
                    <a:pt x="15828" y="899"/>
                  </a:lnTo>
                  <a:lnTo>
                    <a:pt x="15137" y="622"/>
                  </a:lnTo>
                  <a:lnTo>
                    <a:pt x="14411" y="415"/>
                  </a:lnTo>
                  <a:lnTo>
                    <a:pt x="13685" y="242"/>
                  </a:lnTo>
                  <a:lnTo>
                    <a:pt x="12925" y="104"/>
                  </a:lnTo>
                  <a:lnTo>
                    <a:pt x="12130" y="0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54" name="Google Shape;1454;p16"/>
            <p:cNvSpPr/>
            <p:nvPr/>
          </p:nvSpPr>
          <p:spPr>
            <a:xfrm>
              <a:off x="3699400" y="968125"/>
              <a:ext cx="465675" cy="466525"/>
            </a:xfrm>
            <a:custGeom>
              <a:avLst/>
              <a:gdLst/>
              <a:ahLst/>
              <a:cxnLst/>
              <a:rect l="l" t="t" r="r" b="b"/>
              <a:pathLst>
                <a:path w="18627" h="18661" extrusionOk="0">
                  <a:moveTo>
                    <a:pt x="8813" y="0"/>
                  </a:moveTo>
                  <a:lnTo>
                    <a:pt x="8363" y="35"/>
                  </a:lnTo>
                  <a:lnTo>
                    <a:pt x="7880" y="104"/>
                  </a:lnTo>
                  <a:lnTo>
                    <a:pt x="7430" y="173"/>
                  </a:lnTo>
                  <a:lnTo>
                    <a:pt x="6981" y="277"/>
                  </a:lnTo>
                  <a:lnTo>
                    <a:pt x="6532" y="415"/>
                  </a:lnTo>
                  <a:lnTo>
                    <a:pt x="6117" y="553"/>
                  </a:lnTo>
                  <a:lnTo>
                    <a:pt x="5668" y="726"/>
                  </a:lnTo>
                  <a:lnTo>
                    <a:pt x="5253" y="899"/>
                  </a:lnTo>
                  <a:lnTo>
                    <a:pt x="4873" y="1106"/>
                  </a:lnTo>
                  <a:lnTo>
                    <a:pt x="4459" y="1348"/>
                  </a:lnTo>
                  <a:lnTo>
                    <a:pt x="4113" y="1590"/>
                  </a:lnTo>
                  <a:lnTo>
                    <a:pt x="3733" y="1832"/>
                  </a:lnTo>
                  <a:lnTo>
                    <a:pt x="3387" y="2108"/>
                  </a:lnTo>
                  <a:lnTo>
                    <a:pt x="3042" y="2419"/>
                  </a:lnTo>
                  <a:lnTo>
                    <a:pt x="2731" y="2730"/>
                  </a:lnTo>
                  <a:lnTo>
                    <a:pt x="2420" y="3041"/>
                  </a:lnTo>
                  <a:lnTo>
                    <a:pt x="2109" y="3387"/>
                  </a:lnTo>
                  <a:lnTo>
                    <a:pt x="1832" y="3732"/>
                  </a:lnTo>
                  <a:lnTo>
                    <a:pt x="1590" y="4112"/>
                  </a:lnTo>
                  <a:lnTo>
                    <a:pt x="1348" y="4492"/>
                  </a:lnTo>
                  <a:lnTo>
                    <a:pt x="1107" y="4873"/>
                  </a:lnTo>
                  <a:lnTo>
                    <a:pt x="899" y="5287"/>
                  </a:lnTo>
                  <a:lnTo>
                    <a:pt x="726" y="5702"/>
                  </a:lnTo>
                  <a:lnTo>
                    <a:pt x="554" y="6117"/>
                  </a:lnTo>
                  <a:lnTo>
                    <a:pt x="415" y="6566"/>
                  </a:lnTo>
                  <a:lnTo>
                    <a:pt x="277" y="6981"/>
                  </a:lnTo>
                  <a:lnTo>
                    <a:pt x="174" y="7464"/>
                  </a:lnTo>
                  <a:lnTo>
                    <a:pt x="104" y="7914"/>
                  </a:lnTo>
                  <a:lnTo>
                    <a:pt x="35" y="8363"/>
                  </a:lnTo>
                  <a:lnTo>
                    <a:pt x="1" y="8847"/>
                  </a:lnTo>
                  <a:lnTo>
                    <a:pt x="1" y="9330"/>
                  </a:lnTo>
                  <a:lnTo>
                    <a:pt x="1" y="9814"/>
                  </a:lnTo>
                  <a:lnTo>
                    <a:pt x="35" y="10298"/>
                  </a:lnTo>
                  <a:lnTo>
                    <a:pt x="104" y="10747"/>
                  </a:lnTo>
                  <a:lnTo>
                    <a:pt x="174" y="11231"/>
                  </a:lnTo>
                  <a:lnTo>
                    <a:pt x="277" y="11680"/>
                  </a:lnTo>
                  <a:lnTo>
                    <a:pt x="415" y="12095"/>
                  </a:lnTo>
                  <a:lnTo>
                    <a:pt x="554" y="12544"/>
                  </a:lnTo>
                  <a:lnTo>
                    <a:pt x="726" y="12959"/>
                  </a:lnTo>
                  <a:lnTo>
                    <a:pt x="899" y="13373"/>
                  </a:lnTo>
                  <a:lnTo>
                    <a:pt x="1107" y="13788"/>
                  </a:lnTo>
                  <a:lnTo>
                    <a:pt x="1348" y="14168"/>
                  </a:lnTo>
                  <a:lnTo>
                    <a:pt x="1590" y="14548"/>
                  </a:lnTo>
                  <a:lnTo>
                    <a:pt x="1832" y="14929"/>
                  </a:lnTo>
                  <a:lnTo>
                    <a:pt x="2109" y="15274"/>
                  </a:lnTo>
                  <a:lnTo>
                    <a:pt x="2420" y="15620"/>
                  </a:lnTo>
                  <a:lnTo>
                    <a:pt x="2731" y="15931"/>
                  </a:lnTo>
                  <a:lnTo>
                    <a:pt x="3042" y="16242"/>
                  </a:lnTo>
                  <a:lnTo>
                    <a:pt x="3387" y="16553"/>
                  </a:lnTo>
                  <a:lnTo>
                    <a:pt x="3733" y="16829"/>
                  </a:lnTo>
                  <a:lnTo>
                    <a:pt x="4113" y="17071"/>
                  </a:lnTo>
                  <a:lnTo>
                    <a:pt x="4459" y="17313"/>
                  </a:lnTo>
                  <a:lnTo>
                    <a:pt x="4873" y="17555"/>
                  </a:lnTo>
                  <a:lnTo>
                    <a:pt x="5253" y="17762"/>
                  </a:lnTo>
                  <a:lnTo>
                    <a:pt x="5668" y="17935"/>
                  </a:lnTo>
                  <a:lnTo>
                    <a:pt x="6117" y="18108"/>
                  </a:lnTo>
                  <a:lnTo>
                    <a:pt x="6532" y="18246"/>
                  </a:lnTo>
                  <a:lnTo>
                    <a:pt x="6981" y="18384"/>
                  </a:lnTo>
                  <a:lnTo>
                    <a:pt x="7430" y="18488"/>
                  </a:lnTo>
                  <a:lnTo>
                    <a:pt x="7880" y="18557"/>
                  </a:lnTo>
                  <a:lnTo>
                    <a:pt x="8363" y="18626"/>
                  </a:lnTo>
                  <a:lnTo>
                    <a:pt x="8813" y="18661"/>
                  </a:lnTo>
                  <a:lnTo>
                    <a:pt x="9296" y="18661"/>
                  </a:lnTo>
                  <a:lnTo>
                    <a:pt x="10091" y="18626"/>
                  </a:lnTo>
                  <a:lnTo>
                    <a:pt x="10886" y="18522"/>
                  </a:lnTo>
                  <a:lnTo>
                    <a:pt x="11646" y="18384"/>
                  </a:lnTo>
                  <a:lnTo>
                    <a:pt x="12407" y="18142"/>
                  </a:lnTo>
                  <a:lnTo>
                    <a:pt x="13098" y="17866"/>
                  </a:lnTo>
                  <a:lnTo>
                    <a:pt x="13789" y="17520"/>
                  </a:lnTo>
                  <a:lnTo>
                    <a:pt x="14445" y="17140"/>
                  </a:lnTo>
                  <a:lnTo>
                    <a:pt x="15033" y="16691"/>
                  </a:lnTo>
                  <a:lnTo>
                    <a:pt x="15620" y="16207"/>
                  </a:lnTo>
                  <a:lnTo>
                    <a:pt x="16139" y="15689"/>
                  </a:lnTo>
                  <a:lnTo>
                    <a:pt x="16622" y="15101"/>
                  </a:lnTo>
                  <a:lnTo>
                    <a:pt x="17072" y="14479"/>
                  </a:lnTo>
                  <a:lnTo>
                    <a:pt x="17452" y="13823"/>
                  </a:lnTo>
                  <a:lnTo>
                    <a:pt x="17797" y="13166"/>
                  </a:lnTo>
                  <a:lnTo>
                    <a:pt x="18074" y="12440"/>
                  </a:lnTo>
                  <a:lnTo>
                    <a:pt x="18316" y="11715"/>
                  </a:lnTo>
                  <a:lnTo>
                    <a:pt x="18454" y="11127"/>
                  </a:lnTo>
                  <a:lnTo>
                    <a:pt x="18558" y="10540"/>
                  </a:lnTo>
                  <a:lnTo>
                    <a:pt x="18592" y="9952"/>
                  </a:lnTo>
                  <a:lnTo>
                    <a:pt x="18627" y="9330"/>
                  </a:lnTo>
                  <a:lnTo>
                    <a:pt x="18592" y="8708"/>
                  </a:lnTo>
                  <a:lnTo>
                    <a:pt x="18558" y="8121"/>
                  </a:lnTo>
                  <a:lnTo>
                    <a:pt x="18454" y="7499"/>
                  </a:lnTo>
                  <a:lnTo>
                    <a:pt x="18316" y="6946"/>
                  </a:lnTo>
                  <a:lnTo>
                    <a:pt x="18143" y="6359"/>
                  </a:lnTo>
                  <a:lnTo>
                    <a:pt x="17936" y="5806"/>
                  </a:lnTo>
                  <a:lnTo>
                    <a:pt x="17694" y="5287"/>
                  </a:lnTo>
                  <a:lnTo>
                    <a:pt x="17452" y="4769"/>
                  </a:lnTo>
                  <a:lnTo>
                    <a:pt x="17106" y="4251"/>
                  </a:lnTo>
                  <a:lnTo>
                    <a:pt x="16761" y="3732"/>
                  </a:lnTo>
                  <a:lnTo>
                    <a:pt x="16381" y="3283"/>
                  </a:lnTo>
                  <a:lnTo>
                    <a:pt x="16000" y="2834"/>
                  </a:lnTo>
                  <a:lnTo>
                    <a:pt x="15551" y="2385"/>
                  </a:lnTo>
                  <a:lnTo>
                    <a:pt x="15067" y="2004"/>
                  </a:lnTo>
                  <a:lnTo>
                    <a:pt x="14584" y="1624"/>
                  </a:lnTo>
                  <a:lnTo>
                    <a:pt x="14065" y="1313"/>
                  </a:lnTo>
                  <a:lnTo>
                    <a:pt x="13547" y="1002"/>
                  </a:lnTo>
                  <a:lnTo>
                    <a:pt x="12994" y="760"/>
                  </a:lnTo>
                  <a:lnTo>
                    <a:pt x="12407" y="519"/>
                  </a:lnTo>
                  <a:lnTo>
                    <a:pt x="11819" y="346"/>
                  </a:lnTo>
                  <a:lnTo>
                    <a:pt x="11232" y="173"/>
                  </a:lnTo>
                  <a:lnTo>
                    <a:pt x="10575" y="69"/>
                  </a:lnTo>
                  <a:lnTo>
                    <a:pt x="99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55" name="Google Shape;1455;p16"/>
            <p:cNvSpPr/>
            <p:nvPr/>
          </p:nvSpPr>
          <p:spPr>
            <a:xfrm>
              <a:off x="3753825" y="1023400"/>
              <a:ext cx="355975" cy="355975"/>
            </a:xfrm>
            <a:custGeom>
              <a:avLst/>
              <a:gdLst/>
              <a:ahLst/>
              <a:cxnLst/>
              <a:rect l="l" t="t" r="r" b="b"/>
              <a:pathLst>
                <a:path w="14239" h="14239" extrusionOk="0">
                  <a:moveTo>
                    <a:pt x="7119" y="1"/>
                  </a:moveTo>
                  <a:lnTo>
                    <a:pt x="6394" y="35"/>
                  </a:lnTo>
                  <a:lnTo>
                    <a:pt x="5703" y="139"/>
                  </a:lnTo>
                  <a:lnTo>
                    <a:pt x="5012" y="312"/>
                  </a:lnTo>
                  <a:lnTo>
                    <a:pt x="4355" y="554"/>
                  </a:lnTo>
                  <a:lnTo>
                    <a:pt x="3733" y="865"/>
                  </a:lnTo>
                  <a:lnTo>
                    <a:pt x="3145" y="1210"/>
                  </a:lnTo>
                  <a:lnTo>
                    <a:pt x="2593" y="1625"/>
                  </a:lnTo>
                  <a:lnTo>
                    <a:pt x="2109" y="2074"/>
                  </a:lnTo>
                  <a:lnTo>
                    <a:pt x="1625" y="2592"/>
                  </a:lnTo>
                  <a:lnTo>
                    <a:pt x="1245" y="3145"/>
                  </a:lnTo>
                  <a:lnTo>
                    <a:pt x="865" y="3733"/>
                  </a:lnTo>
                  <a:lnTo>
                    <a:pt x="588" y="4355"/>
                  </a:lnTo>
                  <a:lnTo>
                    <a:pt x="346" y="5011"/>
                  </a:lnTo>
                  <a:lnTo>
                    <a:pt x="174" y="5668"/>
                  </a:lnTo>
                  <a:lnTo>
                    <a:pt x="70" y="6394"/>
                  </a:lnTo>
                  <a:lnTo>
                    <a:pt x="1" y="7119"/>
                  </a:lnTo>
                  <a:lnTo>
                    <a:pt x="70" y="7845"/>
                  </a:lnTo>
                  <a:lnTo>
                    <a:pt x="174" y="8571"/>
                  </a:lnTo>
                  <a:lnTo>
                    <a:pt x="346" y="9227"/>
                  </a:lnTo>
                  <a:lnTo>
                    <a:pt x="588" y="9884"/>
                  </a:lnTo>
                  <a:lnTo>
                    <a:pt x="865" y="10506"/>
                  </a:lnTo>
                  <a:lnTo>
                    <a:pt x="1245" y="11093"/>
                  </a:lnTo>
                  <a:lnTo>
                    <a:pt x="1625" y="11646"/>
                  </a:lnTo>
                  <a:lnTo>
                    <a:pt x="2109" y="12165"/>
                  </a:lnTo>
                  <a:lnTo>
                    <a:pt x="2593" y="12614"/>
                  </a:lnTo>
                  <a:lnTo>
                    <a:pt x="3145" y="13029"/>
                  </a:lnTo>
                  <a:lnTo>
                    <a:pt x="3733" y="13374"/>
                  </a:lnTo>
                  <a:lnTo>
                    <a:pt x="4355" y="13685"/>
                  </a:lnTo>
                  <a:lnTo>
                    <a:pt x="5012" y="13927"/>
                  </a:lnTo>
                  <a:lnTo>
                    <a:pt x="5703" y="14100"/>
                  </a:lnTo>
                  <a:lnTo>
                    <a:pt x="6394" y="14203"/>
                  </a:lnTo>
                  <a:lnTo>
                    <a:pt x="7119" y="14238"/>
                  </a:lnTo>
                  <a:lnTo>
                    <a:pt x="7845" y="14203"/>
                  </a:lnTo>
                  <a:lnTo>
                    <a:pt x="8571" y="14100"/>
                  </a:lnTo>
                  <a:lnTo>
                    <a:pt x="9227" y="13927"/>
                  </a:lnTo>
                  <a:lnTo>
                    <a:pt x="9884" y="13685"/>
                  </a:lnTo>
                  <a:lnTo>
                    <a:pt x="10506" y="13374"/>
                  </a:lnTo>
                  <a:lnTo>
                    <a:pt x="11093" y="13029"/>
                  </a:lnTo>
                  <a:lnTo>
                    <a:pt x="11646" y="12614"/>
                  </a:lnTo>
                  <a:lnTo>
                    <a:pt x="12165" y="12165"/>
                  </a:lnTo>
                  <a:lnTo>
                    <a:pt x="12614" y="11646"/>
                  </a:lnTo>
                  <a:lnTo>
                    <a:pt x="13029" y="11093"/>
                  </a:lnTo>
                  <a:lnTo>
                    <a:pt x="13374" y="10506"/>
                  </a:lnTo>
                  <a:lnTo>
                    <a:pt x="13685" y="9884"/>
                  </a:lnTo>
                  <a:lnTo>
                    <a:pt x="13927" y="9227"/>
                  </a:lnTo>
                  <a:lnTo>
                    <a:pt x="14100" y="8571"/>
                  </a:lnTo>
                  <a:lnTo>
                    <a:pt x="14204" y="7845"/>
                  </a:lnTo>
                  <a:lnTo>
                    <a:pt x="14238" y="7119"/>
                  </a:lnTo>
                  <a:lnTo>
                    <a:pt x="14204" y="6394"/>
                  </a:lnTo>
                  <a:lnTo>
                    <a:pt x="14100" y="5668"/>
                  </a:lnTo>
                  <a:lnTo>
                    <a:pt x="13927" y="5011"/>
                  </a:lnTo>
                  <a:lnTo>
                    <a:pt x="13685" y="4355"/>
                  </a:lnTo>
                  <a:lnTo>
                    <a:pt x="13374" y="3733"/>
                  </a:lnTo>
                  <a:lnTo>
                    <a:pt x="13029" y="3145"/>
                  </a:lnTo>
                  <a:lnTo>
                    <a:pt x="12614" y="2592"/>
                  </a:lnTo>
                  <a:lnTo>
                    <a:pt x="12165" y="2074"/>
                  </a:lnTo>
                  <a:lnTo>
                    <a:pt x="11646" y="1625"/>
                  </a:lnTo>
                  <a:lnTo>
                    <a:pt x="11093" y="1210"/>
                  </a:lnTo>
                  <a:lnTo>
                    <a:pt x="10506" y="865"/>
                  </a:lnTo>
                  <a:lnTo>
                    <a:pt x="9884" y="554"/>
                  </a:lnTo>
                  <a:lnTo>
                    <a:pt x="9227" y="312"/>
                  </a:lnTo>
                  <a:lnTo>
                    <a:pt x="8571" y="139"/>
                  </a:lnTo>
                  <a:lnTo>
                    <a:pt x="7845" y="35"/>
                  </a:lnTo>
                  <a:lnTo>
                    <a:pt x="7119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56" name="Google Shape;1456;p16"/>
            <p:cNvSpPr/>
            <p:nvPr/>
          </p:nvSpPr>
          <p:spPr>
            <a:xfrm>
              <a:off x="3809125" y="1077825"/>
              <a:ext cx="246250" cy="247100"/>
            </a:xfrm>
            <a:custGeom>
              <a:avLst/>
              <a:gdLst/>
              <a:ahLst/>
              <a:cxnLst/>
              <a:rect l="l" t="t" r="r" b="b"/>
              <a:pathLst>
                <a:path w="9850" h="9884" extrusionOk="0">
                  <a:moveTo>
                    <a:pt x="4907" y="1"/>
                  </a:moveTo>
                  <a:lnTo>
                    <a:pt x="4424" y="35"/>
                  </a:lnTo>
                  <a:lnTo>
                    <a:pt x="3940" y="104"/>
                  </a:lnTo>
                  <a:lnTo>
                    <a:pt x="3456" y="243"/>
                  </a:lnTo>
                  <a:lnTo>
                    <a:pt x="3007" y="415"/>
                  </a:lnTo>
                  <a:lnTo>
                    <a:pt x="2558" y="623"/>
                  </a:lnTo>
                  <a:lnTo>
                    <a:pt x="2178" y="865"/>
                  </a:lnTo>
                  <a:lnTo>
                    <a:pt x="1797" y="1141"/>
                  </a:lnTo>
                  <a:lnTo>
                    <a:pt x="1452" y="1452"/>
                  </a:lnTo>
                  <a:lnTo>
                    <a:pt x="1106" y="1798"/>
                  </a:lnTo>
                  <a:lnTo>
                    <a:pt x="830" y="2178"/>
                  </a:lnTo>
                  <a:lnTo>
                    <a:pt x="588" y="2593"/>
                  </a:lnTo>
                  <a:lnTo>
                    <a:pt x="381" y="3042"/>
                  </a:lnTo>
                  <a:lnTo>
                    <a:pt x="208" y="3491"/>
                  </a:lnTo>
                  <a:lnTo>
                    <a:pt x="104" y="3940"/>
                  </a:lnTo>
                  <a:lnTo>
                    <a:pt x="35" y="4424"/>
                  </a:lnTo>
                  <a:lnTo>
                    <a:pt x="0" y="4942"/>
                  </a:lnTo>
                  <a:lnTo>
                    <a:pt x="35" y="5461"/>
                  </a:lnTo>
                  <a:lnTo>
                    <a:pt x="104" y="5945"/>
                  </a:lnTo>
                  <a:lnTo>
                    <a:pt x="208" y="6394"/>
                  </a:lnTo>
                  <a:lnTo>
                    <a:pt x="381" y="6878"/>
                  </a:lnTo>
                  <a:lnTo>
                    <a:pt x="588" y="7292"/>
                  </a:lnTo>
                  <a:lnTo>
                    <a:pt x="830" y="7707"/>
                  </a:lnTo>
                  <a:lnTo>
                    <a:pt x="1106" y="8087"/>
                  </a:lnTo>
                  <a:lnTo>
                    <a:pt x="1452" y="8433"/>
                  </a:lnTo>
                  <a:lnTo>
                    <a:pt x="1797" y="8744"/>
                  </a:lnTo>
                  <a:lnTo>
                    <a:pt x="2178" y="9020"/>
                  </a:lnTo>
                  <a:lnTo>
                    <a:pt x="2558" y="9262"/>
                  </a:lnTo>
                  <a:lnTo>
                    <a:pt x="3007" y="9504"/>
                  </a:lnTo>
                  <a:lnTo>
                    <a:pt x="3456" y="9642"/>
                  </a:lnTo>
                  <a:lnTo>
                    <a:pt x="3940" y="9780"/>
                  </a:lnTo>
                  <a:lnTo>
                    <a:pt x="4424" y="9849"/>
                  </a:lnTo>
                  <a:lnTo>
                    <a:pt x="4907" y="9884"/>
                  </a:lnTo>
                  <a:lnTo>
                    <a:pt x="5426" y="9849"/>
                  </a:lnTo>
                  <a:lnTo>
                    <a:pt x="5910" y="9780"/>
                  </a:lnTo>
                  <a:lnTo>
                    <a:pt x="6393" y="9642"/>
                  </a:lnTo>
                  <a:lnTo>
                    <a:pt x="6843" y="9504"/>
                  </a:lnTo>
                  <a:lnTo>
                    <a:pt x="7257" y="9262"/>
                  </a:lnTo>
                  <a:lnTo>
                    <a:pt x="7672" y="9020"/>
                  </a:lnTo>
                  <a:lnTo>
                    <a:pt x="8052" y="8744"/>
                  </a:lnTo>
                  <a:lnTo>
                    <a:pt x="8398" y="8433"/>
                  </a:lnTo>
                  <a:lnTo>
                    <a:pt x="8709" y="8087"/>
                  </a:lnTo>
                  <a:lnTo>
                    <a:pt x="8985" y="7707"/>
                  </a:lnTo>
                  <a:lnTo>
                    <a:pt x="9227" y="7292"/>
                  </a:lnTo>
                  <a:lnTo>
                    <a:pt x="9434" y="6878"/>
                  </a:lnTo>
                  <a:lnTo>
                    <a:pt x="9607" y="6394"/>
                  </a:lnTo>
                  <a:lnTo>
                    <a:pt x="9745" y="5945"/>
                  </a:lnTo>
                  <a:lnTo>
                    <a:pt x="9814" y="5461"/>
                  </a:lnTo>
                  <a:lnTo>
                    <a:pt x="9849" y="4942"/>
                  </a:lnTo>
                  <a:lnTo>
                    <a:pt x="9814" y="4424"/>
                  </a:lnTo>
                  <a:lnTo>
                    <a:pt x="9745" y="3940"/>
                  </a:lnTo>
                  <a:lnTo>
                    <a:pt x="9607" y="3491"/>
                  </a:lnTo>
                  <a:lnTo>
                    <a:pt x="9434" y="3042"/>
                  </a:lnTo>
                  <a:lnTo>
                    <a:pt x="9227" y="2593"/>
                  </a:lnTo>
                  <a:lnTo>
                    <a:pt x="8985" y="2178"/>
                  </a:lnTo>
                  <a:lnTo>
                    <a:pt x="8709" y="1798"/>
                  </a:lnTo>
                  <a:lnTo>
                    <a:pt x="8398" y="1452"/>
                  </a:lnTo>
                  <a:lnTo>
                    <a:pt x="8052" y="1141"/>
                  </a:lnTo>
                  <a:lnTo>
                    <a:pt x="7672" y="865"/>
                  </a:lnTo>
                  <a:lnTo>
                    <a:pt x="7257" y="623"/>
                  </a:lnTo>
                  <a:lnTo>
                    <a:pt x="6843" y="415"/>
                  </a:lnTo>
                  <a:lnTo>
                    <a:pt x="6393" y="243"/>
                  </a:lnTo>
                  <a:lnTo>
                    <a:pt x="5910" y="104"/>
                  </a:lnTo>
                  <a:lnTo>
                    <a:pt x="5426" y="35"/>
                  </a:lnTo>
                  <a:lnTo>
                    <a:pt x="490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57" name="Google Shape;1457;p16"/>
            <p:cNvSpPr/>
            <p:nvPr/>
          </p:nvSpPr>
          <p:spPr>
            <a:xfrm>
              <a:off x="3867875" y="1137450"/>
              <a:ext cx="127875" cy="127875"/>
            </a:xfrm>
            <a:custGeom>
              <a:avLst/>
              <a:gdLst/>
              <a:ahLst/>
              <a:cxnLst/>
              <a:rect l="l" t="t" r="r" b="b"/>
              <a:pathLst>
                <a:path w="5115" h="5115" extrusionOk="0">
                  <a:moveTo>
                    <a:pt x="2316" y="0"/>
                  </a:moveTo>
                  <a:lnTo>
                    <a:pt x="2039" y="35"/>
                  </a:lnTo>
                  <a:lnTo>
                    <a:pt x="1797" y="104"/>
                  </a:lnTo>
                  <a:lnTo>
                    <a:pt x="1555" y="208"/>
                  </a:lnTo>
                  <a:lnTo>
                    <a:pt x="1348" y="311"/>
                  </a:lnTo>
                  <a:lnTo>
                    <a:pt x="1141" y="449"/>
                  </a:lnTo>
                  <a:lnTo>
                    <a:pt x="933" y="588"/>
                  </a:lnTo>
                  <a:lnTo>
                    <a:pt x="761" y="760"/>
                  </a:lnTo>
                  <a:lnTo>
                    <a:pt x="588" y="933"/>
                  </a:lnTo>
                  <a:lnTo>
                    <a:pt x="450" y="1141"/>
                  </a:lnTo>
                  <a:lnTo>
                    <a:pt x="311" y="1348"/>
                  </a:lnTo>
                  <a:lnTo>
                    <a:pt x="208" y="1555"/>
                  </a:lnTo>
                  <a:lnTo>
                    <a:pt x="139" y="1797"/>
                  </a:lnTo>
                  <a:lnTo>
                    <a:pt x="69" y="2039"/>
                  </a:lnTo>
                  <a:lnTo>
                    <a:pt x="35" y="2281"/>
                  </a:lnTo>
                  <a:lnTo>
                    <a:pt x="0" y="2557"/>
                  </a:lnTo>
                  <a:lnTo>
                    <a:pt x="35" y="2834"/>
                  </a:lnTo>
                  <a:lnTo>
                    <a:pt x="69" y="3076"/>
                  </a:lnTo>
                  <a:lnTo>
                    <a:pt x="139" y="3318"/>
                  </a:lnTo>
                  <a:lnTo>
                    <a:pt x="208" y="3560"/>
                  </a:lnTo>
                  <a:lnTo>
                    <a:pt x="311" y="3767"/>
                  </a:lnTo>
                  <a:lnTo>
                    <a:pt x="450" y="4009"/>
                  </a:lnTo>
                  <a:lnTo>
                    <a:pt x="588" y="4182"/>
                  </a:lnTo>
                  <a:lnTo>
                    <a:pt x="761" y="4389"/>
                  </a:lnTo>
                  <a:lnTo>
                    <a:pt x="933" y="4527"/>
                  </a:lnTo>
                  <a:lnTo>
                    <a:pt x="1141" y="4700"/>
                  </a:lnTo>
                  <a:lnTo>
                    <a:pt x="1348" y="4804"/>
                  </a:lnTo>
                  <a:lnTo>
                    <a:pt x="1555" y="4907"/>
                  </a:lnTo>
                  <a:lnTo>
                    <a:pt x="1797" y="5011"/>
                  </a:lnTo>
                  <a:lnTo>
                    <a:pt x="2039" y="5080"/>
                  </a:lnTo>
                  <a:lnTo>
                    <a:pt x="2316" y="5115"/>
                  </a:lnTo>
                  <a:lnTo>
                    <a:pt x="2834" y="5115"/>
                  </a:lnTo>
                  <a:lnTo>
                    <a:pt x="3076" y="5080"/>
                  </a:lnTo>
                  <a:lnTo>
                    <a:pt x="3318" y="5011"/>
                  </a:lnTo>
                  <a:lnTo>
                    <a:pt x="3560" y="4907"/>
                  </a:lnTo>
                  <a:lnTo>
                    <a:pt x="3801" y="4804"/>
                  </a:lnTo>
                  <a:lnTo>
                    <a:pt x="4009" y="4700"/>
                  </a:lnTo>
                  <a:lnTo>
                    <a:pt x="4182" y="4527"/>
                  </a:lnTo>
                  <a:lnTo>
                    <a:pt x="4389" y="4389"/>
                  </a:lnTo>
                  <a:lnTo>
                    <a:pt x="4527" y="4182"/>
                  </a:lnTo>
                  <a:lnTo>
                    <a:pt x="4700" y="4009"/>
                  </a:lnTo>
                  <a:lnTo>
                    <a:pt x="4804" y="3767"/>
                  </a:lnTo>
                  <a:lnTo>
                    <a:pt x="4907" y="3560"/>
                  </a:lnTo>
                  <a:lnTo>
                    <a:pt x="5011" y="3318"/>
                  </a:lnTo>
                  <a:lnTo>
                    <a:pt x="5080" y="3076"/>
                  </a:lnTo>
                  <a:lnTo>
                    <a:pt x="5115" y="2834"/>
                  </a:lnTo>
                  <a:lnTo>
                    <a:pt x="5115" y="2557"/>
                  </a:lnTo>
                  <a:lnTo>
                    <a:pt x="5115" y="2281"/>
                  </a:lnTo>
                  <a:lnTo>
                    <a:pt x="5080" y="2039"/>
                  </a:lnTo>
                  <a:lnTo>
                    <a:pt x="5011" y="1797"/>
                  </a:lnTo>
                  <a:lnTo>
                    <a:pt x="4907" y="1555"/>
                  </a:lnTo>
                  <a:lnTo>
                    <a:pt x="4804" y="1348"/>
                  </a:lnTo>
                  <a:lnTo>
                    <a:pt x="4700" y="1141"/>
                  </a:lnTo>
                  <a:lnTo>
                    <a:pt x="4527" y="933"/>
                  </a:lnTo>
                  <a:lnTo>
                    <a:pt x="4389" y="760"/>
                  </a:lnTo>
                  <a:lnTo>
                    <a:pt x="4182" y="588"/>
                  </a:lnTo>
                  <a:lnTo>
                    <a:pt x="4009" y="449"/>
                  </a:lnTo>
                  <a:lnTo>
                    <a:pt x="3801" y="311"/>
                  </a:lnTo>
                  <a:lnTo>
                    <a:pt x="3560" y="208"/>
                  </a:lnTo>
                  <a:lnTo>
                    <a:pt x="3318" y="104"/>
                  </a:lnTo>
                  <a:lnTo>
                    <a:pt x="3076" y="35"/>
                  </a:lnTo>
                  <a:lnTo>
                    <a:pt x="2834" y="0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58" name="Google Shape;1458;p16"/>
            <p:cNvSpPr/>
            <p:nvPr/>
          </p:nvSpPr>
          <p:spPr>
            <a:xfrm>
              <a:off x="2563375" y="2316675"/>
              <a:ext cx="334350" cy="120125"/>
            </a:xfrm>
            <a:custGeom>
              <a:avLst/>
              <a:gdLst/>
              <a:ahLst/>
              <a:cxnLst/>
              <a:rect l="l" t="t" r="r" b="b"/>
              <a:pathLst>
                <a:path w="13374" h="4805" extrusionOk="0">
                  <a:moveTo>
                    <a:pt x="13132" y="1"/>
                  </a:moveTo>
                  <a:lnTo>
                    <a:pt x="13062" y="35"/>
                  </a:lnTo>
                  <a:lnTo>
                    <a:pt x="12337" y="484"/>
                  </a:lnTo>
                  <a:lnTo>
                    <a:pt x="11266" y="1072"/>
                  </a:lnTo>
                  <a:lnTo>
                    <a:pt x="8570" y="2420"/>
                  </a:lnTo>
                  <a:lnTo>
                    <a:pt x="5978" y="3698"/>
                  </a:lnTo>
                  <a:lnTo>
                    <a:pt x="4596" y="4355"/>
                  </a:lnTo>
                  <a:lnTo>
                    <a:pt x="207" y="4355"/>
                  </a:lnTo>
                  <a:lnTo>
                    <a:pt x="104" y="4389"/>
                  </a:lnTo>
                  <a:lnTo>
                    <a:pt x="35" y="4424"/>
                  </a:lnTo>
                  <a:lnTo>
                    <a:pt x="0" y="4493"/>
                  </a:lnTo>
                  <a:lnTo>
                    <a:pt x="0" y="4597"/>
                  </a:lnTo>
                  <a:lnTo>
                    <a:pt x="0" y="4666"/>
                  </a:lnTo>
                  <a:lnTo>
                    <a:pt x="35" y="4735"/>
                  </a:lnTo>
                  <a:lnTo>
                    <a:pt x="104" y="4769"/>
                  </a:lnTo>
                  <a:lnTo>
                    <a:pt x="207" y="4804"/>
                  </a:lnTo>
                  <a:lnTo>
                    <a:pt x="4631" y="4804"/>
                  </a:lnTo>
                  <a:lnTo>
                    <a:pt x="4734" y="4769"/>
                  </a:lnTo>
                  <a:lnTo>
                    <a:pt x="5978" y="4182"/>
                  </a:lnTo>
                  <a:lnTo>
                    <a:pt x="8605" y="2903"/>
                  </a:lnTo>
                  <a:lnTo>
                    <a:pt x="11404" y="1452"/>
                  </a:lnTo>
                  <a:lnTo>
                    <a:pt x="12544" y="865"/>
                  </a:lnTo>
                  <a:lnTo>
                    <a:pt x="13304" y="381"/>
                  </a:lnTo>
                  <a:lnTo>
                    <a:pt x="13339" y="312"/>
                  </a:lnTo>
                  <a:lnTo>
                    <a:pt x="13373" y="243"/>
                  </a:lnTo>
                  <a:lnTo>
                    <a:pt x="13373" y="173"/>
                  </a:lnTo>
                  <a:lnTo>
                    <a:pt x="13339" y="104"/>
                  </a:lnTo>
                  <a:lnTo>
                    <a:pt x="13270" y="35"/>
                  </a:lnTo>
                  <a:lnTo>
                    <a:pt x="13201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59" name="Google Shape;1459;p16"/>
            <p:cNvSpPr/>
            <p:nvPr/>
          </p:nvSpPr>
          <p:spPr>
            <a:xfrm>
              <a:off x="2347400" y="2406525"/>
              <a:ext cx="179700" cy="49275"/>
            </a:xfrm>
            <a:custGeom>
              <a:avLst/>
              <a:gdLst/>
              <a:ahLst/>
              <a:cxnLst/>
              <a:rect l="l" t="t" r="r" b="b"/>
              <a:pathLst>
                <a:path w="7188" h="1971" extrusionOk="0">
                  <a:moveTo>
                    <a:pt x="415" y="1"/>
                  </a:moveTo>
                  <a:lnTo>
                    <a:pt x="242" y="35"/>
                  </a:lnTo>
                  <a:lnTo>
                    <a:pt x="104" y="104"/>
                  </a:lnTo>
                  <a:lnTo>
                    <a:pt x="35" y="242"/>
                  </a:lnTo>
                  <a:lnTo>
                    <a:pt x="0" y="415"/>
                  </a:lnTo>
                  <a:lnTo>
                    <a:pt x="0" y="1590"/>
                  </a:lnTo>
                  <a:lnTo>
                    <a:pt x="35" y="1728"/>
                  </a:lnTo>
                  <a:lnTo>
                    <a:pt x="104" y="1867"/>
                  </a:lnTo>
                  <a:lnTo>
                    <a:pt x="242" y="1936"/>
                  </a:lnTo>
                  <a:lnTo>
                    <a:pt x="415" y="1970"/>
                  </a:lnTo>
                  <a:lnTo>
                    <a:pt x="6773" y="1970"/>
                  </a:lnTo>
                  <a:lnTo>
                    <a:pt x="6946" y="1936"/>
                  </a:lnTo>
                  <a:lnTo>
                    <a:pt x="7084" y="1867"/>
                  </a:lnTo>
                  <a:lnTo>
                    <a:pt x="7153" y="1728"/>
                  </a:lnTo>
                  <a:lnTo>
                    <a:pt x="7188" y="1590"/>
                  </a:lnTo>
                  <a:lnTo>
                    <a:pt x="7188" y="415"/>
                  </a:lnTo>
                  <a:lnTo>
                    <a:pt x="7153" y="242"/>
                  </a:lnTo>
                  <a:lnTo>
                    <a:pt x="7084" y="104"/>
                  </a:lnTo>
                  <a:lnTo>
                    <a:pt x="6946" y="35"/>
                  </a:lnTo>
                  <a:lnTo>
                    <a:pt x="6773" y="1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60" name="Google Shape;1460;p16"/>
            <p:cNvSpPr/>
            <p:nvPr/>
          </p:nvSpPr>
          <p:spPr>
            <a:xfrm>
              <a:off x="2347400" y="2406525"/>
              <a:ext cx="179700" cy="49275"/>
            </a:xfrm>
            <a:custGeom>
              <a:avLst/>
              <a:gdLst/>
              <a:ahLst/>
              <a:cxnLst/>
              <a:rect l="l" t="t" r="r" b="b"/>
              <a:pathLst>
                <a:path w="7188" h="1971" fill="none" extrusionOk="0">
                  <a:moveTo>
                    <a:pt x="6773" y="1"/>
                  </a:moveTo>
                  <a:lnTo>
                    <a:pt x="415" y="1"/>
                  </a:lnTo>
                  <a:lnTo>
                    <a:pt x="415" y="1"/>
                  </a:lnTo>
                  <a:lnTo>
                    <a:pt x="242" y="35"/>
                  </a:lnTo>
                  <a:lnTo>
                    <a:pt x="104" y="104"/>
                  </a:lnTo>
                  <a:lnTo>
                    <a:pt x="35" y="242"/>
                  </a:lnTo>
                  <a:lnTo>
                    <a:pt x="0" y="415"/>
                  </a:lnTo>
                  <a:lnTo>
                    <a:pt x="0" y="1590"/>
                  </a:lnTo>
                  <a:lnTo>
                    <a:pt x="0" y="1590"/>
                  </a:lnTo>
                  <a:lnTo>
                    <a:pt x="35" y="1728"/>
                  </a:lnTo>
                  <a:lnTo>
                    <a:pt x="104" y="1867"/>
                  </a:lnTo>
                  <a:lnTo>
                    <a:pt x="242" y="1936"/>
                  </a:lnTo>
                  <a:lnTo>
                    <a:pt x="415" y="1970"/>
                  </a:lnTo>
                  <a:lnTo>
                    <a:pt x="6773" y="1970"/>
                  </a:lnTo>
                  <a:lnTo>
                    <a:pt x="6773" y="1970"/>
                  </a:lnTo>
                  <a:lnTo>
                    <a:pt x="6946" y="1936"/>
                  </a:lnTo>
                  <a:lnTo>
                    <a:pt x="7084" y="1867"/>
                  </a:lnTo>
                  <a:lnTo>
                    <a:pt x="7153" y="1728"/>
                  </a:lnTo>
                  <a:lnTo>
                    <a:pt x="7188" y="1590"/>
                  </a:lnTo>
                  <a:lnTo>
                    <a:pt x="7188" y="415"/>
                  </a:lnTo>
                  <a:lnTo>
                    <a:pt x="7188" y="415"/>
                  </a:lnTo>
                  <a:lnTo>
                    <a:pt x="7153" y="242"/>
                  </a:lnTo>
                  <a:lnTo>
                    <a:pt x="7084" y="104"/>
                  </a:lnTo>
                  <a:lnTo>
                    <a:pt x="6946" y="35"/>
                  </a:lnTo>
                  <a:lnTo>
                    <a:pt x="6773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61" name="Google Shape;1461;p16"/>
            <p:cNvSpPr/>
            <p:nvPr/>
          </p:nvSpPr>
          <p:spPr>
            <a:xfrm>
              <a:off x="2078725" y="2406525"/>
              <a:ext cx="109725" cy="49275"/>
            </a:xfrm>
            <a:custGeom>
              <a:avLst/>
              <a:gdLst/>
              <a:ahLst/>
              <a:cxnLst/>
              <a:rect l="l" t="t" r="r" b="b"/>
              <a:pathLst>
                <a:path w="4389" h="1971" extrusionOk="0">
                  <a:moveTo>
                    <a:pt x="242" y="1"/>
                  </a:moveTo>
                  <a:lnTo>
                    <a:pt x="138" y="35"/>
                  </a:lnTo>
                  <a:lnTo>
                    <a:pt x="69" y="104"/>
                  </a:lnTo>
                  <a:lnTo>
                    <a:pt x="35" y="208"/>
                  </a:lnTo>
                  <a:lnTo>
                    <a:pt x="0" y="346"/>
                  </a:lnTo>
                  <a:lnTo>
                    <a:pt x="0" y="1625"/>
                  </a:lnTo>
                  <a:lnTo>
                    <a:pt x="35" y="1763"/>
                  </a:lnTo>
                  <a:lnTo>
                    <a:pt x="69" y="1867"/>
                  </a:lnTo>
                  <a:lnTo>
                    <a:pt x="138" y="1970"/>
                  </a:lnTo>
                  <a:lnTo>
                    <a:pt x="4250" y="1970"/>
                  </a:lnTo>
                  <a:lnTo>
                    <a:pt x="4320" y="1867"/>
                  </a:lnTo>
                  <a:lnTo>
                    <a:pt x="4354" y="1763"/>
                  </a:lnTo>
                  <a:lnTo>
                    <a:pt x="4389" y="1625"/>
                  </a:lnTo>
                  <a:lnTo>
                    <a:pt x="4389" y="346"/>
                  </a:lnTo>
                  <a:lnTo>
                    <a:pt x="4354" y="208"/>
                  </a:lnTo>
                  <a:lnTo>
                    <a:pt x="4320" y="104"/>
                  </a:lnTo>
                  <a:lnTo>
                    <a:pt x="4250" y="35"/>
                  </a:lnTo>
                  <a:lnTo>
                    <a:pt x="4147" y="1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62" name="Google Shape;1462;p16"/>
            <p:cNvSpPr/>
            <p:nvPr/>
          </p:nvSpPr>
          <p:spPr>
            <a:xfrm>
              <a:off x="2078725" y="2406525"/>
              <a:ext cx="109725" cy="49275"/>
            </a:xfrm>
            <a:custGeom>
              <a:avLst/>
              <a:gdLst/>
              <a:ahLst/>
              <a:cxnLst/>
              <a:rect l="l" t="t" r="r" b="b"/>
              <a:pathLst>
                <a:path w="4389" h="1971" fill="none" extrusionOk="0">
                  <a:moveTo>
                    <a:pt x="4147" y="1"/>
                  </a:moveTo>
                  <a:lnTo>
                    <a:pt x="242" y="1"/>
                  </a:lnTo>
                  <a:lnTo>
                    <a:pt x="242" y="1"/>
                  </a:lnTo>
                  <a:lnTo>
                    <a:pt x="138" y="35"/>
                  </a:lnTo>
                  <a:lnTo>
                    <a:pt x="69" y="104"/>
                  </a:lnTo>
                  <a:lnTo>
                    <a:pt x="35" y="208"/>
                  </a:lnTo>
                  <a:lnTo>
                    <a:pt x="0" y="346"/>
                  </a:lnTo>
                  <a:lnTo>
                    <a:pt x="0" y="1625"/>
                  </a:lnTo>
                  <a:lnTo>
                    <a:pt x="0" y="1625"/>
                  </a:lnTo>
                  <a:lnTo>
                    <a:pt x="35" y="1763"/>
                  </a:lnTo>
                  <a:lnTo>
                    <a:pt x="69" y="1867"/>
                  </a:lnTo>
                  <a:lnTo>
                    <a:pt x="138" y="1970"/>
                  </a:lnTo>
                  <a:lnTo>
                    <a:pt x="242" y="1970"/>
                  </a:lnTo>
                  <a:lnTo>
                    <a:pt x="4147" y="1970"/>
                  </a:lnTo>
                  <a:lnTo>
                    <a:pt x="4147" y="1970"/>
                  </a:lnTo>
                  <a:lnTo>
                    <a:pt x="4250" y="1970"/>
                  </a:lnTo>
                  <a:lnTo>
                    <a:pt x="4320" y="1867"/>
                  </a:lnTo>
                  <a:lnTo>
                    <a:pt x="4354" y="1763"/>
                  </a:lnTo>
                  <a:lnTo>
                    <a:pt x="4389" y="1625"/>
                  </a:lnTo>
                  <a:lnTo>
                    <a:pt x="4389" y="346"/>
                  </a:lnTo>
                  <a:lnTo>
                    <a:pt x="4389" y="346"/>
                  </a:lnTo>
                  <a:lnTo>
                    <a:pt x="4354" y="208"/>
                  </a:lnTo>
                  <a:lnTo>
                    <a:pt x="4320" y="104"/>
                  </a:lnTo>
                  <a:lnTo>
                    <a:pt x="4250" y="35"/>
                  </a:lnTo>
                  <a:lnTo>
                    <a:pt x="414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63" name="Google Shape;1463;p16"/>
            <p:cNvSpPr/>
            <p:nvPr/>
          </p:nvSpPr>
          <p:spPr>
            <a:xfrm>
              <a:off x="2210900" y="2406525"/>
              <a:ext cx="102825" cy="49275"/>
            </a:xfrm>
            <a:custGeom>
              <a:avLst/>
              <a:gdLst/>
              <a:ahLst/>
              <a:cxnLst/>
              <a:rect l="l" t="t" r="r" b="b"/>
              <a:pathLst>
                <a:path w="4113" h="1971" extrusionOk="0">
                  <a:moveTo>
                    <a:pt x="380" y="1"/>
                  </a:moveTo>
                  <a:lnTo>
                    <a:pt x="242" y="35"/>
                  </a:lnTo>
                  <a:lnTo>
                    <a:pt x="104" y="104"/>
                  </a:lnTo>
                  <a:lnTo>
                    <a:pt x="35" y="208"/>
                  </a:lnTo>
                  <a:lnTo>
                    <a:pt x="0" y="346"/>
                  </a:lnTo>
                  <a:lnTo>
                    <a:pt x="0" y="1625"/>
                  </a:lnTo>
                  <a:lnTo>
                    <a:pt x="35" y="1763"/>
                  </a:lnTo>
                  <a:lnTo>
                    <a:pt x="104" y="1867"/>
                  </a:lnTo>
                  <a:lnTo>
                    <a:pt x="242" y="1970"/>
                  </a:lnTo>
                  <a:lnTo>
                    <a:pt x="3905" y="1970"/>
                  </a:lnTo>
                  <a:lnTo>
                    <a:pt x="4009" y="1867"/>
                  </a:lnTo>
                  <a:lnTo>
                    <a:pt x="4078" y="1763"/>
                  </a:lnTo>
                  <a:lnTo>
                    <a:pt x="4112" y="1625"/>
                  </a:lnTo>
                  <a:lnTo>
                    <a:pt x="4112" y="346"/>
                  </a:lnTo>
                  <a:lnTo>
                    <a:pt x="4078" y="208"/>
                  </a:lnTo>
                  <a:lnTo>
                    <a:pt x="4009" y="104"/>
                  </a:lnTo>
                  <a:lnTo>
                    <a:pt x="3905" y="35"/>
                  </a:lnTo>
                  <a:lnTo>
                    <a:pt x="3767" y="1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64" name="Google Shape;1464;p16"/>
            <p:cNvSpPr/>
            <p:nvPr/>
          </p:nvSpPr>
          <p:spPr>
            <a:xfrm>
              <a:off x="2210900" y="2406525"/>
              <a:ext cx="102825" cy="49275"/>
            </a:xfrm>
            <a:custGeom>
              <a:avLst/>
              <a:gdLst/>
              <a:ahLst/>
              <a:cxnLst/>
              <a:rect l="l" t="t" r="r" b="b"/>
              <a:pathLst>
                <a:path w="4113" h="1971" fill="none" extrusionOk="0">
                  <a:moveTo>
                    <a:pt x="3767" y="1"/>
                  </a:moveTo>
                  <a:lnTo>
                    <a:pt x="380" y="1"/>
                  </a:lnTo>
                  <a:lnTo>
                    <a:pt x="380" y="1"/>
                  </a:lnTo>
                  <a:lnTo>
                    <a:pt x="242" y="35"/>
                  </a:lnTo>
                  <a:lnTo>
                    <a:pt x="104" y="104"/>
                  </a:lnTo>
                  <a:lnTo>
                    <a:pt x="35" y="208"/>
                  </a:lnTo>
                  <a:lnTo>
                    <a:pt x="0" y="346"/>
                  </a:lnTo>
                  <a:lnTo>
                    <a:pt x="0" y="1625"/>
                  </a:lnTo>
                  <a:lnTo>
                    <a:pt x="0" y="1625"/>
                  </a:lnTo>
                  <a:lnTo>
                    <a:pt x="35" y="1763"/>
                  </a:lnTo>
                  <a:lnTo>
                    <a:pt x="104" y="1867"/>
                  </a:lnTo>
                  <a:lnTo>
                    <a:pt x="242" y="1970"/>
                  </a:lnTo>
                  <a:lnTo>
                    <a:pt x="380" y="1970"/>
                  </a:lnTo>
                  <a:lnTo>
                    <a:pt x="3767" y="1970"/>
                  </a:lnTo>
                  <a:lnTo>
                    <a:pt x="3767" y="1970"/>
                  </a:lnTo>
                  <a:lnTo>
                    <a:pt x="3905" y="1970"/>
                  </a:lnTo>
                  <a:lnTo>
                    <a:pt x="4009" y="1867"/>
                  </a:lnTo>
                  <a:lnTo>
                    <a:pt x="4078" y="1763"/>
                  </a:lnTo>
                  <a:lnTo>
                    <a:pt x="4112" y="1625"/>
                  </a:lnTo>
                  <a:lnTo>
                    <a:pt x="4112" y="346"/>
                  </a:lnTo>
                  <a:lnTo>
                    <a:pt x="4112" y="346"/>
                  </a:lnTo>
                  <a:lnTo>
                    <a:pt x="4078" y="208"/>
                  </a:lnTo>
                  <a:lnTo>
                    <a:pt x="4009" y="104"/>
                  </a:lnTo>
                  <a:lnTo>
                    <a:pt x="3905" y="35"/>
                  </a:lnTo>
                  <a:lnTo>
                    <a:pt x="376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65" name="Google Shape;1465;p16"/>
            <p:cNvSpPr/>
            <p:nvPr/>
          </p:nvSpPr>
          <p:spPr>
            <a:xfrm>
              <a:off x="3308050" y="1624700"/>
              <a:ext cx="127900" cy="193525"/>
            </a:xfrm>
            <a:custGeom>
              <a:avLst/>
              <a:gdLst/>
              <a:ahLst/>
              <a:cxnLst/>
              <a:rect l="l" t="t" r="r" b="b"/>
              <a:pathLst>
                <a:path w="5116" h="7741" extrusionOk="0">
                  <a:moveTo>
                    <a:pt x="243" y="0"/>
                  </a:moveTo>
                  <a:lnTo>
                    <a:pt x="139" y="35"/>
                  </a:lnTo>
                  <a:lnTo>
                    <a:pt x="70" y="69"/>
                  </a:lnTo>
                  <a:lnTo>
                    <a:pt x="35" y="138"/>
                  </a:lnTo>
                  <a:lnTo>
                    <a:pt x="1" y="207"/>
                  </a:lnTo>
                  <a:lnTo>
                    <a:pt x="35" y="276"/>
                  </a:lnTo>
                  <a:lnTo>
                    <a:pt x="70" y="346"/>
                  </a:lnTo>
                  <a:lnTo>
                    <a:pt x="139" y="415"/>
                  </a:lnTo>
                  <a:lnTo>
                    <a:pt x="208" y="415"/>
                  </a:lnTo>
                  <a:lnTo>
                    <a:pt x="2696" y="587"/>
                  </a:lnTo>
                  <a:lnTo>
                    <a:pt x="3249" y="2488"/>
                  </a:lnTo>
                  <a:lnTo>
                    <a:pt x="3906" y="4769"/>
                  </a:lnTo>
                  <a:lnTo>
                    <a:pt x="4700" y="7568"/>
                  </a:lnTo>
                  <a:lnTo>
                    <a:pt x="4735" y="7637"/>
                  </a:lnTo>
                  <a:lnTo>
                    <a:pt x="4770" y="7706"/>
                  </a:lnTo>
                  <a:lnTo>
                    <a:pt x="4839" y="7741"/>
                  </a:lnTo>
                  <a:lnTo>
                    <a:pt x="4942" y="7741"/>
                  </a:lnTo>
                  <a:lnTo>
                    <a:pt x="5046" y="7706"/>
                  </a:lnTo>
                  <a:lnTo>
                    <a:pt x="5081" y="7637"/>
                  </a:lnTo>
                  <a:lnTo>
                    <a:pt x="5115" y="7568"/>
                  </a:lnTo>
                  <a:lnTo>
                    <a:pt x="5115" y="7464"/>
                  </a:lnTo>
                  <a:lnTo>
                    <a:pt x="4286" y="4561"/>
                  </a:lnTo>
                  <a:lnTo>
                    <a:pt x="3595" y="2177"/>
                  </a:lnTo>
                  <a:lnTo>
                    <a:pt x="3042" y="311"/>
                  </a:lnTo>
                  <a:lnTo>
                    <a:pt x="2973" y="207"/>
                  </a:lnTo>
                  <a:lnTo>
                    <a:pt x="2834" y="173"/>
                  </a:lnTo>
                  <a:lnTo>
                    <a:pt x="243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66" name="Google Shape;1466;p16"/>
            <p:cNvSpPr/>
            <p:nvPr/>
          </p:nvSpPr>
          <p:spPr>
            <a:xfrm>
              <a:off x="3462700" y="1795750"/>
              <a:ext cx="85550" cy="41475"/>
            </a:xfrm>
            <a:custGeom>
              <a:avLst/>
              <a:gdLst/>
              <a:ahLst/>
              <a:cxnLst/>
              <a:rect l="l" t="t" r="r" b="b"/>
              <a:pathLst>
                <a:path w="3422" h="1659" extrusionOk="0">
                  <a:moveTo>
                    <a:pt x="208" y="0"/>
                  </a:moveTo>
                  <a:lnTo>
                    <a:pt x="104" y="69"/>
                  </a:lnTo>
                  <a:lnTo>
                    <a:pt x="35" y="173"/>
                  </a:lnTo>
                  <a:lnTo>
                    <a:pt x="0" y="311"/>
                  </a:lnTo>
                  <a:lnTo>
                    <a:pt x="0" y="1348"/>
                  </a:lnTo>
                  <a:lnTo>
                    <a:pt x="35" y="1452"/>
                  </a:lnTo>
                  <a:lnTo>
                    <a:pt x="104" y="1555"/>
                  </a:lnTo>
                  <a:lnTo>
                    <a:pt x="208" y="1624"/>
                  </a:lnTo>
                  <a:lnTo>
                    <a:pt x="311" y="1659"/>
                  </a:lnTo>
                  <a:lnTo>
                    <a:pt x="3145" y="1659"/>
                  </a:lnTo>
                  <a:lnTo>
                    <a:pt x="3249" y="1624"/>
                  </a:lnTo>
                  <a:lnTo>
                    <a:pt x="3352" y="1555"/>
                  </a:lnTo>
                  <a:lnTo>
                    <a:pt x="3421" y="1452"/>
                  </a:lnTo>
                  <a:lnTo>
                    <a:pt x="3421" y="1348"/>
                  </a:lnTo>
                  <a:lnTo>
                    <a:pt x="3421" y="311"/>
                  </a:lnTo>
                  <a:lnTo>
                    <a:pt x="3421" y="173"/>
                  </a:lnTo>
                  <a:lnTo>
                    <a:pt x="3352" y="69"/>
                  </a:lnTo>
                  <a:lnTo>
                    <a:pt x="3249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67" name="Google Shape;1467;p16"/>
            <p:cNvSpPr/>
            <p:nvPr/>
          </p:nvSpPr>
          <p:spPr>
            <a:xfrm>
              <a:off x="3462700" y="1795750"/>
              <a:ext cx="85550" cy="41475"/>
            </a:xfrm>
            <a:custGeom>
              <a:avLst/>
              <a:gdLst/>
              <a:ahLst/>
              <a:cxnLst/>
              <a:rect l="l" t="t" r="r" b="b"/>
              <a:pathLst>
                <a:path w="3422" h="1659" fill="none" extrusionOk="0">
                  <a:moveTo>
                    <a:pt x="3145" y="0"/>
                  </a:moveTo>
                  <a:lnTo>
                    <a:pt x="311" y="0"/>
                  </a:lnTo>
                  <a:lnTo>
                    <a:pt x="311" y="0"/>
                  </a:lnTo>
                  <a:lnTo>
                    <a:pt x="208" y="0"/>
                  </a:lnTo>
                  <a:lnTo>
                    <a:pt x="104" y="69"/>
                  </a:lnTo>
                  <a:lnTo>
                    <a:pt x="35" y="173"/>
                  </a:lnTo>
                  <a:lnTo>
                    <a:pt x="0" y="311"/>
                  </a:lnTo>
                  <a:lnTo>
                    <a:pt x="0" y="1348"/>
                  </a:lnTo>
                  <a:lnTo>
                    <a:pt x="0" y="1348"/>
                  </a:lnTo>
                  <a:lnTo>
                    <a:pt x="35" y="1452"/>
                  </a:lnTo>
                  <a:lnTo>
                    <a:pt x="104" y="1555"/>
                  </a:lnTo>
                  <a:lnTo>
                    <a:pt x="208" y="1624"/>
                  </a:lnTo>
                  <a:lnTo>
                    <a:pt x="311" y="1659"/>
                  </a:lnTo>
                  <a:lnTo>
                    <a:pt x="3145" y="1659"/>
                  </a:lnTo>
                  <a:lnTo>
                    <a:pt x="3145" y="1659"/>
                  </a:lnTo>
                  <a:lnTo>
                    <a:pt x="3249" y="1624"/>
                  </a:lnTo>
                  <a:lnTo>
                    <a:pt x="3352" y="1555"/>
                  </a:lnTo>
                  <a:lnTo>
                    <a:pt x="3421" y="1452"/>
                  </a:lnTo>
                  <a:lnTo>
                    <a:pt x="3421" y="1348"/>
                  </a:lnTo>
                  <a:lnTo>
                    <a:pt x="3421" y="311"/>
                  </a:lnTo>
                  <a:lnTo>
                    <a:pt x="3421" y="311"/>
                  </a:lnTo>
                  <a:lnTo>
                    <a:pt x="3421" y="173"/>
                  </a:lnTo>
                  <a:lnTo>
                    <a:pt x="3352" y="69"/>
                  </a:lnTo>
                  <a:lnTo>
                    <a:pt x="3249" y="0"/>
                  </a:lnTo>
                  <a:lnTo>
                    <a:pt x="314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68" name="Google Shape;1468;p16"/>
            <p:cNvSpPr/>
            <p:nvPr/>
          </p:nvSpPr>
          <p:spPr>
            <a:xfrm>
              <a:off x="3576725" y="1794025"/>
              <a:ext cx="149500" cy="41475"/>
            </a:xfrm>
            <a:custGeom>
              <a:avLst/>
              <a:gdLst/>
              <a:ahLst/>
              <a:cxnLst/>
              <a:rect l="l" t="t" r="r" b="b"/>
              <a:pathLst>
                <a:path w="5980" h="1659" extrusionOk="0">
                  <a:moveTo>
                    <a:pt x="346" y="0"/>
                  </a:moveTo>
                  <a:lnTo>
                    <a:pt x="208" y="35"/>
                  </a:lnTo>
                  <a:lnTo>
                    <a:pt x="104" y="104"/>
                  </a:lnTo>
                  <a:lnTo>
                    <a:pt x="35" y="207"/>
                  </a:lnTo>
                  <a:lnTo>
                    <a:pt x="1" y="346"/>
                  </a:lnTo>
                  <a:lnTo>
                    <a:pt x="1" y="1313"/>
                  </a:lnTo>
                  <a:lnTo>
                    <a:pt x="35" y="1451"/>
                  </a:lnTo>
                  <a:lnTo>
                    <a:pt x="104" y="1555"/>
                  </a:lnTo>
                  <a:lnTo>
                    <a:pt x="208" y="1624"/>
                  </a:lnTo>
                  <a:lnTo>
                    <a:pt x="346" y="1659"/>
                  </a:lnTo>
                  <a:lnTo>
                    <a:pt x="5633" y="1659"/>
                  </a:lnTo>
                  <a:lnTo>
                    <a:pt x="5772" y="1624"/>
                  </a:lnTo>
                  <a:lnTo>
                    <a:pt x="5875" y="1555"/>
                  </a:lnTo>
                  <a:lnTo>
                    <a:pt x="5944" y="1451"/>
                  </a:lnTo>
                  <a:lnTo>
                    <a:pt x="5979" y="1313"/>
                  </a:lnTo>
                  <a:lnTo>
                    <a:pt x="5979" y="346"/>
                  </a:lnTo>
                  <a:lnTo>
                    <a:pt x="5944" y="207"/>
                  </a:lnTo>
                  <a:lnTo>
                    <a:pt x="5875" y="104"/>
                  </a:lnTo>
                  <a:lnTo>
                    <a:pt x="5772" y="35"/>
                  </a:lnTo>
                  <a:lnTo>
                    <a:pt x="5633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69" name="Google Shape;1469;p16"/>
            <p:cNvSpPr/>
            <p:nvPr/>
          </p:nvSpPr>
          <p:spPr>
            <a:xfrm>
              <a:off x="3576725" y="1794025"/>
              <a:ext cx="149500" cy="41475"/>
            </a:xfrm>
            <a:custGeom>
              <a:avLst/>
              <a:gdLst/>
              <a:ahLst/>
              <a:cxnLst/>
              <a:rect l="l" t="t" r="r" b="b"/>
              <a:pathLst>
                <a:path w="5980" h="1659" fill="none" extrusionOk="0">
                  <a:moveTo>
                    <a:pt x="5633" y="0"/>
                  </a:moveTo>
                  <a:lnTo>
                    <a:pt x="346" y="0"/>
                  </a:lnTo>
                  <a:lnTo>
                    <a:pt x="346" y="0"/>
                  </a:lnTo>
                  <a:lnTo>
                    <a:pt x="208" y="35"/>
                  </a:lnTo>
                  <a:lnTo>
                    <a:pt x="104" y="104"/>
                  </a:lnTo>
                  <a:lnTo>
                    <a:pt x="35" y="207"/>
                  </a:lnTo>
                  <a:lnTo>
                    <a:pt x="1" y="346"/>
                  </a:lnTo>
                  <a:lnTo>
                    <a:pt x="1" y="1313"/>
                  </a:lnTo>
                  <a:lnTo>
                    <a:pt x="1" y="1313"/>
                  </a:lnTo>
                  <a:lnTo>
                    <a:pt x="35" y="1451"/>
                  </a:lnTo>
                  <a:lnTo>
                    <a:pt x="104" y="1555"/>
                  </a:lnTo>
                  <a:lnTo>
                    <a:pt x="208" y="1624"/>
                  </a:lnTo>
                  <a:lnTo>
                    <a:pt x="346" y="1659"/>
                  </a:lnTo>
                  <a:lnTo>
                    <a:pt x="5633" y="1659"/>
                  </a:lnTo>
                  <a:lnTo>
                    <a:pt x="5633" y="1659"/>
                  </a:lnTo>
                  <a:lnTo>
                    <a:pt x="5772" y="1624"/>
                  </a:lnTo>
                  <a:lnTo>
                    <a:pt x="5875" y="1555"/>
                  </a:lnTo>
                  <a:lnTo>
                    <a:pt x="5944" y="1451"/>
                  </a:lnTo>
                  <a:lnTo>
                    <a:pt x="5979" y="1313"/>
                  </a:lnTo>
                  <a:lnTo>
                    <a:pt x="5979" y="346"/>
                  </a:lnTo>
                  <a:lnTo>
                    <a:pt x="5979" y="346"/>
                  </a:lnTo>
                  <a:lnTo>
                    <a:pt x="5944" y="207"/>
                  </a:lnTo>
                  <a:lnTo>
                    <a:pt x="5875" y="104"/>
                  </a:lnTo>
                  <a:lnTo>
                    <a:pt x="5772" y="35"/>
                  </a:lnTo>
                  <a:lnTo>
                    <a:pt x="563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70" name="Google Shape;1470;p16"/>
            <p:cNvSpPr/>
            <p:nvPr/>
          </p:nvSpPr>
          <p:spPr>
            <a:xfrm>
              <a:off x="3784075" y="1794025"/>
              <a:ext cx="137375" cy="41475"/>
            </a:xfrm>
            <a:custGeom>
              <a:avLst/>
              <a:gdLst/>
              <a:ahLst/>
              <a:cxnLst/>
              <a:rect l="l" t="t" r="r" b="b"/>
              <a:pathLst>
                <a:path w="5495" h="1659" extrusionOk="0">
                  <a:moveTo>
                    <a:pt x="311" y="0"/>
                  </a:moveTo>
                  <a:lnTo>
                    <a:pt x="173" y="35"/>
                  </a:lnTo>
                  <a:lnTo>
                    <a:pt x="69" y="104"/>
                  </a:lnTo>
                  <a:lnTo>
                    <a:pt x="35" y="207"/>
                  </a:lnTo>
                  <a:lnTo>
                    <a:pt x="0" y="311"/>
                  </a:lnTo>
                  <a:lnTo>
                    <a:pt x="0" y="1348"/>
                  </a:lnTo>
                  <a:lnTo>
                    <a:pt x="35" y="1486"/>
                  </a:lnTo>
                  <a:lnTo>
                    <a:pt x="69" y="1590"/>
                  </a:lnTo>
                  <a:lnTo>
                    <a:pt x="173" y="1624"/>
                  </a:lnTo>
                  <a:lnTo>
                    <a:pt x="311" y="1659"/>
                  </a:lnTo>
                  <a:lnTo>
                    <a:pt x="5218" y="1659"/>
                  </a:lnTo>
                  <a:lnTo>
                    <a:pt x="5322" y="1624"/>
                  </a:lnTo>
                  <a:lnTo>
                    <a:pt x="5426" y="1590"/>
                  </a:lnTo>
                  <a:lnTo>
                    <a:pt x="5495" y="1486"/>
                  </a:lnTo>
                  <a:lnTo>
                    <a:pt x="5495" y="1348"/>
                  </a:lnTo>
                  <a:lnTo>
                    <a:pt x="5495" y="311"/>
                  </a:lnTo>
                  <a:lnTo>
                    <a:pt x="5495" y="207"/>
                  </a:lnTo>
                  <a:lnTo>
                    <a:pt x="5426" y="104"/>
                  </a:lnTo>
                  <a:lnTo>
                    <a:pt x="5322" y="35"/>
                  </a:lnTo>
                  <a:lnTo>
                    <a:pt x="5218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71" name="Google Shape;1471;p16"/>
            <p:cNvSpPr/>
            <p:nvPr/>
          </p:nvSpPr>
          <p:spPr>
            <a:xfrm>
              <a:off x="3784075" y="1794025"/>
              <a:ext cx="137375" cy="41475"/>
            </a:xfrm>
            <a:custGeom>
              <a:avLst/>
              <a:gdLst/>
              <a:ahLst/>
              <a:cxnLst/>
              <a:rect l="l" t="t" r="r" b="b"/>
              <a:pathLst>
                <a:path w="5495" h="1659" fill="none" extrusionOk="0">
                  <a:moveTo>
                    <a:pt x="5218" y="0"/>
                  </a:moveTo>
                  <a:lnTo>
                    <a:pt x="311" y="0"/>
                  </a:lnTo>
                  <a:lnTo>
                    <a:pt x="311" y="0"/>
                  </a:lnTo>
                  <a:lnTo>
                    <a:pt x="173" y="35"/>
                  </a:lnTo>
                  <a:lnTo>
                    <a:pt x="69" y="104"/>
                  </a:lnTo>
                  <a:lnTo>
                    <a:pt x="35" y="207"/>
                  </a:lnTo>
                  <a:lnTo>
                    <a:pt x="0" y="311"/>
                  </a:lnTo>
                  <a:lnTo>
                    <a:pt x="0" y="1348"/>
                  </a:lnTo>
                  <a:lnTo>
                    <a:pt x="0" y="1348"/>
                  </a:lnTo>
                  <a:lnTo>
                    <a:pt x="35" y="1486"/>
                  </a:lnTo>
                  <a:lnTo>
                    <a:pt x="69" y="1590"/>
                  </a:lnTo>
                  <a:lnTo>
                    <a:pt x="173" y="1624"/>
                  </a:lnTo>
                  <a:lnTo>
                    <a:pt x="311" y="1659"/>
                  </a:lnTo>
                  <a:lnTo>
                    <a:pt x="5218" y="1659"/>
                  </a:lnTo>
                  <a:lnTo>
                    <a:pt x="5218" y="1659"/>
                  </a:lnTo>
                  <a:lnTo>
                    <a:pt x="5322" y="1624"/>
                  </a:lnTo>
                  <a:lnTo>
                    <a:pt x="5426" y="1590"/>
                  </a:lnTo>
                  <a:lnTo>
                    <a:pt x="5495" y="1486"/>
                  </a:lnTo>
                  <a:lnTo>
                    <a:pt x="5495" y="1348"/>
                  </a:lnTo>
                  <a:lnTo>
                    <a:pt x="5495" y="311"/>
                  </a:lnTo>
                  <a:lnTo>
                    <a:pt x="5495" y="311"/>
                  </a:lnTo>
                  <a:lnTo>
                    <a:pt x="5495" y="207"/>
                  </a:lnTo>
                  <a:lnTo>
                    <a:pt x="5426" y="104"/>
                  </a:lnTo>
                  <a:lnTo>
                    <a:pt x="5322" y="35"/>
                  </a:lnTo>
                  <a:lnTo>
                    <a:pt x="521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72" name="Google Shape;1472;p16"/>
            <p:cNvSpPr/>
            <p:nvPr/>
          </p:nvSpPr>
          <p:spPr>
            <a:xfrm>
              <a:off x="2479575" y="3152075"/>
              <a:ext cx="228950" cy="151225"/>
            </a:xfrm>
            <a:custGeom>
              <a:avLst/>
              <a:gdLst/>
              <a:ahLst/>
              <a:cxnLst/>
              <a:rect l="l" t="t" r="r" b="b"/>
              <a:pathLst>
                <a:path w="9158" h="6049" extrusionOk="0">
                  <a:moveTo>
                    <a:pt x="208" y="1"/>
                  </a:moveTo>
                  <a:lnTo>
                    <a:pt x="104" y="35"/>
                  </a:lnTo>
                  <a:lnTo>
                    <a:pt x="35" y="70"/>
                  </a:lnTo>
                  <a:lnTo>
                    <a:pt x="0" y="139"/>
                  </a:lnTo>
                  <a:lnTo>
                    <a:pt x="0" y="208"/>
                  </a:lnTo>
                  <a:lnTo>
                    <a:pt x="0" y="312"/>
                  </a:lnTo>
                  <a:lnTo>
                    <a:pt x="35" y="381"/>
                  </a:lnTo>
                  <a:lnTo>
                    <a:pt x="104" y="415"/>
                  </a:lnTo>
                  <a:lnTo>
                    <a:pt x="5045" y="415"/>
                  </a:lnTo>
                  <a:lnTo>
                    <a:pt x="8778" y="5944"/>
                  </a:lnTo>
                  <a:lnTo>
                    <a:pt x="8881" y="6014"/>
                  </a:lnTo>
                  <a:lnTo>
                    <a:pt x="8950" y="6048"/>
                  </a:lnTo>
                  <a:lnTo>
                    <a:pt x="9089" y="6014"/>
                  </a:lnTo>
                  <a:lnTo>
                    <a:pt x="9158" y="5944"/>
                  </a:lnTo>
                  <a:lnTo>
                    <a:pt x="9158" y="5875"/>
                  </a:lnTo>
                  <a:lnTo>
                    <a:pt x="9158" y="5806"/>
                  </a:lnTo>
                  <a:lnTo>
                    <a:pt x="9158" y="5703"/>
                  </a:lnTo>
                  <a:lnTo>
                    <a:pt x="5356" y="104"/>
                  </a:lnTo>
                  <a:lnTo>
                    <a:pt x="5287" y="35"/>
                  </a:lnTo>
                  <a:lnTo>
                    <a:pt x="5184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73" name="Google Shape;1473;p16"/>
            <p:cNvSpPr/>
            <p:nvPr/>
          </p:nvSpPr>
          <p:spPr>
            <a:xfrm>
              <a:off x="2011325" y="3137400"/>
              <a:ext cx="144300" cy="39750"/>
            </a:xfrm>
            <a:custGeom>
              <a:avLst/>
              <a:gdLst/>
              <a:ahLst/>
              <a:cxnLst/>
              <a:rect l="l" t="t" r="r" b="b"/>
              <a:pathLst>
                <a:path w="5772" h="1590" extrusionOk="0">
                  <a:moveTo>
                    <a:pt x="346" y="0"/>
                  </a:moveTo>
                  <a:lnTo>
                    <a:pt x="208" y="35"/>
                  </a:lnTo>
                  <a:lnTo>
                    <a:pt x="104" y="104"/>
                  </a:lnTo>
                  <a:lnTo>
                    <a:pt x="35" y="208"/>
                  </a:lnTo>
                  <a:lnTo>
                    <a:pt x="1" y="346"/>
                  </a:lnTo>
                  <a:lnTo>
                    <a:pt x="1" y="1279"/>
                  </a:lnTo>
                  <a:lnTo>
                    <a:pt x="35" y="1417"/>
                  </a:lnTo>
                  <a:lnTo>
                    <a:pt x="104" y="1521"/>
                  </a:lnTo>
                  <a:lnTo>
                    <a:pt x="208" y="1590"/>
                  </a:lnTo>
                  <a:lnTo>
                    <a:pt x="5564" y="1590"/>
                  </a:lnTo>
                  <a:lnTo>
                    <a:pt x="5668" y="1521"/>
                  </a:lnTo>
                  <a:lnTo>
                    <a:pt x="5737" y="1417"/>
                  </a:lnTo>
                  <a:lnTo>
                    <a:pt x="5772" y="1279"/>
                  </a:lnTo>
                  <a:lnTo>
                    <a:pt x="5772" y="346"/>
                  </a:lnTo>
                  <a:lnTo>
                    <a:pt x="5737" y="208"/>
                  </a:lnTo>
                  <a:lnTo>
                    <a:pt x="5668" y="104"/>
                  </a:lnTo>
                  <a:lnTo>
                    <a:pt x="5564" y="35"/>
                  </a:lnTo>
                  <a:lnTo>
                    <a:pt x="5461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74" name="Google Shape;1474;p16"/>
            <p:cNvSpPr/>
            <p:nvPr/>
          </p:nvSpPr>
          <p:spPr>
            <a:xfrm>
              <a:off x="2011325" y="3137400"/>
              <a:ext cx="144300" cy="39750"/>
            </a:xfrm>
            <a:custGeom>
              <a:avLst/>
              <a:gdLst/>
              <a:ahLst/>
              <a:cxnLst/>
              <a:rect l="l" t="t" r="r" b="b"/>
              <a:pathLst>
                <a:path w="5772" h="1590" fill="none" extrusionOk="0">
                  <a:moveTo>
                    <a:pt x="5461" y="0"/>
                  </a:moveTo>
                  <a:lnTo>
                    <a:pt x="346" y="0"/>
                  </a:lnTo>
                  <a:lnTo>
                    <a:pt x="346" y="0"/>
                  </a:lnTo>
                  <a:lnTo>
                    <a:pt x="208" y="35"/>
                  </a:lnTo>
                  <a:lnTo>
                    <a:pt x="104" y="104"/>
                  </a:lnTo>
                  <a:lnTo>
                    <a:pt x="35" y="208"/>
                  </a:lnTo>
                  <a:lnTo>
                    <a:pt x="1" y="346"/>
                  </a:lnTo>
                  <a:lnTo>
                    <a:pt x="1" y="1279"/>
                  </a:lnTo>
                  <a:lnTo>
                    <a:pt x="1" y="1279"/>
                  </a:lnTo>
                  <a:lnTo>
                    <a:pt x="35" y="1417"/>
                  </a:lnTo>
                  <a:lnTo>
                    <a:pt x="104" y="1521"/>
                  </a:lnTo>
                  <a:lnTo>
                    <a:pt x="208" y="1590"/>
                  </a:lnTo>
                  <a:lnTo>
                    <a:pt x="346" y="1590"/>
                  </a:lnTo>
                  <a:lnTo>
                    <a:pt x="5461" y="1590"/>
                  </a:lnTo>
                  <a:lnTo>
                    <a:pt x="5461" y="1590"/>
                  </a:lnTo>
                  <a:lnTo>
                    <a:pt x="5564" y="1590"/>
                  </a:lnTo>
                  <a:lnTo>
                    <a:pt x="5668" y="1521"/>
                  </a:lnTo>
                  <a:lnTo>
                    <a:pt x="5737" y="1417"/>
                  </a:lnTo>
                  <a:lnTo>
                    <a:pt x="5772" y="1279"/>
                  </a:lnTo>
                  <a:lnTo>
                    <a:pt x="5772" y="346"/>
                  </a:lnTo>
                  <a:lnTo>
                    <a:pt x="5772" y="346"/>
                  </a:lnTo>
                  <a:lnTo>
                    <a:pt x="5737" y="208"/>
                  </a:lnTo>
                  <a:lnTo>
                    <a:pt x="5668" y="104"/>
                  </a:lnTo>
                  <a:lnTo>
                    <a:pt x="5564" y="35"/>
                  </a:lnTo>
                  <a:lnTo>
                    <a:pt x="546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75" name="Google Shape;1475;p16"/>
            <p:cNvSpPr/>
            <p:nvPr/>
          </p:nvSpPr>
          <p:spPr>
            <a:xfrm>
              <a:off x="2207425" y="3137400"/>
              <a:ext cx="132225" cy="39750"/>
            </a:xfrm>
            <a:custGeom>
              <a:avLst/>
              <a:gdLst/>
              <a:ahLst/>
              <a:cxnLst/>
              <a:rect l="l" t="t" r="r" b="b"/>
              <a:pathLst>
                <a:path w="5289" h="1590" extrusionOk="0">
                  <a:moveTo>
                    <a:pt x="277" y="0"/>
                  </a:moveTo>
                  <a:lnTo>
                    <a:pt x="174" y="35"/>
                  </a:lnTo>
                  <a:lnTo>
                    <a:pt x="70" y="104"/>
                  </a:lnTo>
                  <a:lnTo>
                    <a:pt x="1" y="173"/>
                  </a:lnTo>
                  <a:lnTo>
                    <a:pt x="1" y="311"/>
                  </a:lnTo>
                  <a:lnTo>
                    <a:pt x="1" y="1313"/>
                  </a:lnTo>
                  <a:lnTo>
                    <a:pt x="1" y="1417"/>
                  </a:lnTo>
                  <a:lnTo>
                    <a:pt x="70" y="1521"/>
                  </a:lnTo>
                  <a:lnTo>
                    <a:pt x="174" y="1590"/>
                  </a:lnTo>
                  <a:lnTo>
                    <a:pt x="5115" y="1590"/>
                  </a:lnTo>
                  <a:lnTo>
                    <a:pt x="5219" y="1521"/>
                  </a:lnTo>
                  <a:lnTo>
                    <a:pt x="5288" y="1417"/>
                  </a:lnTo>
                  <a:lnTo>
                    <a:pt x="5288" y="1313"/>
                  </a:lnTo>
                  <a:lnTo>
                    <a:pt x="5288" y="311"/>
                  </a:lnTo>
                  <a:lnTo>
                    <a:pt x="5288" y="173"/>
                  </a:lnTo>
                  <a:lnTo>
                    <a:pt x="5219" y="104"/>
                  </a:lnTo>
                  <a:lnTo>
                    <a:pt x="5115" y="35"/>
                  </a:lnTo>
                  <a:lnTo>
                    <a:pt x="5012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76" name="Google Shape;1476;p16"/>
            <p:cNvSpPr/>
            <p:nvPr/>
          </p:nvSpPr>
          <p:spPr>
            <a:xfrm>
              <a:off x="2207425" y="3137400"/>
              <a:ext cx="132225" cy="39750"/>
            </a:xfrm>
            <a:custGeom>
              <a:avLst/>
              <a:gdLst/>
              <a:ahLst/>
              <a:cxnLst/>
              <a:rect l="l" t="t" r="r" b="b"/>
              <a:pathLst>
                <a:path w="5289" h="1590" fill="none" extrusionOk="0">
                  <a:moveTo>
                    <a:pt x="5012" y="0"/>
                  </a:moveTo>
                  <a:lnTo>
                    <a:pt x="277" y="0"/>
                  </a:lnTo>
                  <a:lnTo>
                    <a:pt x="277" y="0"/>
                  </a:lnTo>
                  <a:lnTo>
                    <a:pt x="174" y="35"/>
                  </a:lnTo>
                  <a:lnTo>
                    <a:pt x="70" y="104"/>
                  </a:lnTo>
                  <a:lnTo>
                    <a:pt x="1" y="173"/>
                  </a:lnTo>
                  <a:lnTo>
                    <a:pt x="1" y="311"/>
                  </a:lnTo>
                  <a:lnTo>
                    <a:pt x="1" y="1313"/>
                  </a:lnTo>
                  <a:lnTo>
                    <a:pt x="1" y="1313"/>
                  </a:lnTo>
                  <a:lnTo>
                    <a:pt x="1" y="1417"/>
                  </a:lnTo>
                  <a:lnTo>
                    <a:pt x="70" y="1521"/>
                  </a:lnTo>
                  <a:lnTo>
                    <a:pt x="174" y="1590"/>
                  </a:lnTo>
                  <a:lnTo>
                    <a:pt x="277" y="1590"/>
                  </a:lnTo>
                  <a:lnTo>
                    <a:pt x="5012" y="1590"/>
                  </a:lnTo>
                  <a:lnTo>
                    <a:pt x="5012" y="1590"/>
                  </a:lnTo>
                  <a:lnTo>
                    <a:pt x="5115" y="1590"/>
                  </a:lnTo>
                  <a:lnTo>
                    <a:pt x="5219" y="1521"/>
                  </a:lnTo>
                  <a:lnTo>
                    <a:pt x="5288" y="1417"/>
                  </a:lnTo>
                  <a:lnTo>
                    <a:pt x="5288" y="1313"/>
                  </a:lnTo>
                  <a:lnTo>
                    <a:pt x="5288" y="311"/>
                  </a:lnTo>
                  <a:lnTo>
                    <a:pt x="5288" y="311"/>
                  </a:lnTo>
                  <a:lnTo>
                    <a:pt x="5288" y="173"/>
                  </a:lnTo>
                  <a:lnTo>
                    <a:pt x="5219" y="104"/>
                  </a:lnTo>
                  <a:lnTo>
                    <a:pt x="5115" y="35"/>
                  </a:lnTo>
                  <a:lnTo>
                    <a:pt x="501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77" name="Google Shape;1477;p16"/>
            <p:cNvSpPr/>
            <p:nvPr/>
          </p:nvSpPr>
          <p:spPr>
            <a:xfrm>
              <a:off x="2354300" y="3137400"/>
              <a:ext cx="82950" cy="39750"/>
            </a:xfrm>
            <a:custGeom>
              <a:avLst/>
              <a:gdLst/>
              <a:ahLst/>
              <a:cxnLst/>
              <a:rect l="l" t="t" r="r" b="b"/>
              <a:pathLst>
                <a:path w="3318" h="1590" extrusionOk="0">
                  <a:moveTo>
                    <a:pt x="312" y="0"/>
                  </a:moveTo>
                  <a:lnTo>
                    <a:pt x="173" y="35"/>
                  </a:lnTo>
                  <a:lnTo>
                    <a:pt x="104" y="104"/>
                  </a:lnTo>
                  <a:lnTo>
                    <a:pt x="35" y="173"/>
                  </a:lnTo>
                  <a:lnTo>
                    <a:pt x="1" y="311"/>
                  </a:lnTo>
                  <a:lnTo>
                    <a:pt x="1" y="1313"/>
                  </a:lnTo>
                  <a:lnTo>
                    <a:pt x="35" y="1417"/>
                  </a:lnTo>
                  <a:lnTo>
                    <a:pt x="104" y="1521"/>
                  </a:lnTo>
                  <a:lnTo>
                    <a:pt x="173" y="1590"/>
                  </a:lnTo>
                  <a:lnTo>
                    <a:pt x="3111" y="1590"/>
                  </a:lnTo>
                  <a:lnTo>
                    <a:pt x="3214" y="1521"/>
                  </a:lnTo>
                  <a:lnTo>
                    <a:pt x="3283" y="1417"/>
                  </a:lnTo>
                  <a:lnTo>
                    <a:pt x="3318" y="1313"/>
                  </a:lnTo>
                  <a:lnTo>
                    <a:pt x="3318" y="311"/>
                  </a:lnTo>
                  <a:lnTo>
                    <a:pt x="3283" y="173"/>
                  </a:lnTo>
                  <a:lnTo>
                    <a:pt x="3214" y="104"/>
                  </a:lnTo>
                  <a:lnTo>
                    <a:pt x="3111" y="35"/>
                  </a:lnTo>
                  <a:lnTo>
                    <a:pt x="3007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78" name="Google Shape;1478;p16"/>
            <p:cNvSpPr/>
            <p:nvPr/>
          </p:nvSpPr>
          <p:spPr>
            <a:xfrm>
              <a:off x="2354300" y="3137400"/>
              <a:ext cx="82950" cy="39750"/>
            </a:xfrm>
            <a:custGeom>
              <a:avLst/>
              <a:gdLst/>
              <a:ahLst/>
              <a:cxnLst/>
              <a:rect l="l" t="t" r="r" b="b"/>
              <a:pathLst>
                <a:path w="3318" h="1590" fill="none" extrusionOk="0">
                  <a:moveTo>
                    <a:pt x="3007" y="0"/>
                  </a:moveTo>
                  <a:lnTo>
                    <a:pt x="312" y="0"/>
                  </a:lnTo>
                  <a:lnTo>
                    <a:pt x="312" y="0"/>
                  </a:lnTo>
                  <a:lnTo>
                    <a:pt x="173" y="35"/>
                  </a:lnTo>
                  <a:lnTo>
                    <a:pt x="104" y="104"/>
                  </a:lnTo>
                  <a:lnTo>
                    <a:pt x="35" y="173"/>
                  </a:lnTo>
                  <a:lnTo>
                    <a:pt x="1" y="311"/>
                  </a:lnTo>
                  <a:lnTo>
                    <a:pt x="1" y="1313"/>
                  </a:lnTo>
                  <a:lnTo>
                    <a:pt x="1" y="1313"/>
                  </a:lnTo>
                  <a:lnTo>
                    <a:pt x="35" y="1417"/>
                  </a:lnTo>
                  <a:lnTo>
                    <a:pt x="104" y="1521"/>
                  </a:lnTo>
                  <a:lnTo>
                    <a:pt x="173" y="1590"/>
                  </a:lnTo>
                  <a:lnTo>
                    <a:pt x="312" y="1590"/>
                  </a:lnTo>
                  <a:lnTo>
                    <a:pt x="3007" y="1590"/>
                  </a:lnTo>
                  <a:lnTo>
                    <a:pt x="3007" y="1590"/>
                  </a:lnTo>
                  <a:lnTo>
                    <a:pt x="3111" y="1590"/>
                  </a:lnTo>
                  <a:lnTo>
                    <a:pt x="3214" y="1521"/>
                  </a:lnTo>
                  <a:lnTo>
                    <a:pt x="3283" y="1417"/>
                  </a:lnTo>
                  <a:lnTo>
                    <a:pt x="3318" y="1313"/>
                  </a:lnTo>
                  <a:lnTo>
                    <a:pt x="3318" y="311"/>
                  </a:lnTo>
                  <a:lnTo>
                    <a:pt x="3318" y="311"/>
                  </a:lnTo>
                  <a:lnTo>
                    <a:pt x="3283" y="173"/>
                  </a:lnTo>
                  <a:lnTo>
                    <a:pt x="3214" y="104"/>
                  </a:lnTo>
                  <a:lnTo>
                    <a:pt x="3111" y="35"/>
                  </a:lnTo>
                  <a:lnTo>
                    <a:pt x="300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79" name="Google Shape;1479;p16"/>
            <p:cNvSpPr/>
            <p:nvPr/>
          </p:nvSpPr>
          <p:spPr>
            <a:xfrm>
              <a:off x="3341750" y="3169350"/>
              <a:ext cx="82950" cy="254875"/>
            </a:xfrm>
            <a:custGeom>
              <a:avLst/>
              <a:gdLst/>
              <a:ahLst/>
              <a:cxnLst/>
              <a:rect l="l" t="t" r="r" b="b"/>
              <a:pathLst>
                <a:path w="3318" h="10195" extrusionOk="0">
                  <a:moveTo>
                    <a:pt x="208" y="1"/>
                  </a:moveTo>
                  <a:lnTo>
                    <a:pt x="139" y="35"/>
                  </a:lnTo>
                  <a:lnTo>
                    <a:pt x="70" y="70"/>
                  </a:lnTo>
                  <a:lnTo>
                    <a:pt x="35" y="139"/>
                  </a:lnTo>
                  <a:lnTo>
                    <a:pt x="0" y="243"/>
                  </a:lnTo>
                  <a:lnTo>
                    <a:pt x="70" y="3145"/>
                  </a:lnTo>
                  <a:lnTo>
                    <a:pt x="173" y="6325"/>
                  </a:lnTo>
                  <a:lnTo>
                    <a:pt x="277" y="9988"/>
                  </a:lnTo>
                  <a:lnTo>
                    <a:pt x="311" y="10057"/>
                  </a:lnTo>
                  <a:lnTo>
                    <a:pt x="346" y="10126"/>
                  </a:lnTo>
                  <a:lnTo>
                    <a:pt x="415" y="10160"/>
                  </a:lnTo>
                  <a:lnTo>
                    <a:pt x="519" y="10195"/>
                  </a:lnTo>
                  <a:lnTo>
                    <a:pt x="3111" y="10195"/>
                  </a:lnTo>
                  <a:lnTo>
                    <a:pt x="3180" y="10160"/>
                  </a:lnTo>
                  <a:lnTo>
                    <a:pt x="3249" y="10126"/>
                  </a:lnTo>
                  <a:lnTo>
                    <a:pt x="3318" y="10057"/>
                  </a:lnTo>
                  <a:lnTo>
                    <a:pt x="3318" y="9953"/>
                  </a:lnTo>
                  <a:lnTo>
                    <a:pt x="3318" y="9884"/>
                  </a:lnTo>
                  <a:lnTo>
                    <a:pt x="3249" y="9815"/>
                  </a:lnTo>
                  <a:lnTo>
                    <a:pt x="3180" y="9780"/>
                  </a:lnTo>
                  <a:lnTo>
                    <a:pt x="3111" y="9746"/>
                  </a:lnTo>
                  <a:lnTo>
                    <a:pt x="692" y="9746"/>
                  </a:lnTo>
                  <a:lnTo>
                    <a:pt x="588" y="5703"/>
                  </a:lnTo>
                  <a:lnTo>
                    <a:pt x="450" y="208"/>
                  </a:lnTo>
                  <a:lnTo>
                    <a:pt x="415" y="139"/>
                  </a:lnTo>
                  <a:lnTo>
                    <a:pt x="381" y="70"/>
                  </a:lnTo>
                  <a:lnTo>
                    <a:pt x="311" y="35"/>
                  </a:lnTo>
                  <a:lnTo>
                    <a:pt x="208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80" name="Google Shape;1480;p16"/>
            <p:cNvSpPr/>
            <p:nvPr/>
          </p:nvSpPr>
          <p:spPr>
            <a:xfrm>
              <a:off x="3703725" y="3394850"/>
              <a:ext cx="141700" cy="43200"/>
            </a:xfrm>
            <a:custGeom>
              <a:avLst/>
              <a:gdLst/>
              <a:ahLst/>
              <a:cxnLst/>
              <a:rect l="l" t="t" r="r" b="b"/>
              <a:pathLst>
                <a:path w="5668" h="1728" extrusionOk="0">
                  <a:moveTo>
                    <a:pt x="242" y="0"/>
                  </a:moveTo>
                  <a:lnTo>
                    <a:pt x="104" y="104"/>
                  </a:lnTo>
                  <a:lnTo>
                    <a:pt x="35" y="207"/>
                  </a:lnTo>
                  <a:lnTo>
                    <a:pt x="1" y="346"/>
                  </a:lnTo>
                  <a:lnTo>
                    <a:pt x="1" y="1348"/>
                  </a:lnTo>
                  <a:lnTo>
                    <a:pt x="35" y="1486"/>
                  </a:lnTo>
                  <a:lnTo>
                    <a:pt x="104" y="1624"/>
                  </a:lnTo>
                  <a:lnTo>
                    <a:pt x="242" y="1693"/>
                  </a:lnTo>
                  <a:lnTo>
                    <a:pt x="381" y="1728"/>
                  </a:lnTo>
                  <a:lnTo>
                    <a:pt x="5668" y="1728"/>
                  </a:lnTo>
                  <a:lnTo>
                    <a:pt x="5322" y="1313"/>
                  </a:lnTo>
                  <a:lnTo>
                    <a:pt x="5011" y="899"/>
                  </a:lnTo>
                  <a:lnTo>
                    <a:pt x="4424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81" name="Google Shape;1481;p16"/>
            <p:cNvSpPr/>
            <p:nvPr/>
          </p:nvSpPr>
          <p:spPr>
            <a:xfrm>
              <a:off x="3703725" y="3394850"/>
              <a:ext cx="141700" cy="43200"/>
            </a:xfrm>
            <a:custGeom>
              <a:avLst/>
              <a:gdLst/>
              <a:ahLst/>
              <a:cxnLst/>
              <a:rect l="l" t="t" r="r" b="b"/>
              <a:pathLst>
                <a:path w="5668" h="1728" fill="none" extrusionOk="0">
                  <a:moveTo>
                    <a:pt x="4424" y="0"/>
                  </a:moveTo>
                  <a:lnTo>
                    <a:pt x="381" y="0"/>
                  </a:lnTo>
                  <a:lnTo>
                    <a:pt x="381" y="0"/>
                  </a:lnTo>
                  <a:lnTo>
                    <a:pt x="242" y="0"/>
                  </a:lnTo>
                  <a:lnTo>
                    <a:pt x="104" y="104"/>
                  </a:lnTo>
                  <a:lnTo>
                    <a:pt x="35" y="207"/>
                  </a:lnTo>
                  <a:lnTo>
                    <a:pt x="1" y="346"/>
                  </a:lnTo>
                  <a:lnTo>
                    <a:pt x="1" y="1348"/>
                  </a:lnTo>
                  <a:lnTo>
                    <a:pt x="1" y="1348"/>
                  </a:lnTo>
                  <a:lnTo>
                    <a:pt x="35" y="1486"/>
                  </a:lnTo>
                  <a:lnTo>
                    <a:pt x="104" y="1624"/>
                  </a:lnTo>
                  <a:lnTo>
                    <a:pt x="242" y="1693"/>
                  </a:lnTo>
                  <a:lnTo>
                    <a:pt x="381" y="1728"/>
                  </a:lnTo>
                  <a:lnTo>
                    <a:pt x="5668" y="1728"/>
                  </a:lnTo>
                  <a:lnTo>
                    <a:pt x="5668" y="1728"/>
                  </a:lnTo>
                  <a:lnTo>
                    <a:pt x="5322" y="1313"/>
                  </a:lnTo>
                  <a:lnTo>
                    <a:pt x="5011" y="899"/>
                  </a:lnTo>
                  <a:lnTo>
                    <a:pt x="442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82" name="Google Shape;1482;p16"/>
            <p:cNvSpPr/>
            <p:nvPr/>
          </p:nvSpPr>
          <p:spPr>
            <a:xfrm>
              <a:off x="3470475" y="3394850"/>
              <a:ext cx="95050" cy="43200"/>
            </a:xfrm>
            <a:custGeom>
              <a:avLst/>
              <a:gdLst/>
              <a:ahLst/>
              <a:cxnLst/>
              <a:rect l="l" t="t" r="r" b="b"/>
              <a:pathLst>
                <a:path w="3802" h="1728" extrusionOk="0">
                  <a:moveTo>
                    <a:pt x="104" y="0"/>
                  </a:moveTo>
                  <a:lnTo>
                    <a:pt x="35" y="69"/>
                  </a:lnTo>
                  <a:lnTo>
                    <a:pt x="0" y="173"/>
                  </a:lnTo>
                  <a:lnTo>
                    <a:pt x="0" y="311"/>
                  </a:lnTo>
                  <a:lnTo>
                    <a:pt x="0" y="1417"/>
                  </a:lnTo>
                  <a:lnTo>
                    <a:pt x="0" y="1521"/>
                  </a:lnTo>
                  <a:lnTo>
                    <a:pt x="35" y="1624"/>
                  </a:lnTo>
                  <a:lnTo>
                    <a:pt x="104" y="1693"/>
                  </a:lnTo>
                  <a:lnTo>
                    <a:pt x="208" y="1728"/>
                  </a:lnTo>
                  <a:lnTo>
                    <a:pt x="3594" y="1728"/>
                  </a:lnTo>
                  <a:lnTo>
                    <a:pt x="3663" y="1693"/>
                  </a:lnTo>
                  <a:lnTo>
                    <a:pt x="3732" y="1624"/>
                  </a:lnTo>
                  <a:lnTo>
                    <a:pt x="3802" y="1521"/>
                  </a:lnTo>
                  <a:lnTo>
                    <a:pt x="3802" y="1417"/>
                  </a:lnTo>
                  <a:lnTo>
                    <a:pt x="3802" y="311"/>
                  </a:lnTo>
                  <a:lnTo>
                    <a:pt x="3802" y="173"/>
                  </a:lnTo>
                  <a:lnTo>
                    <a:pt x="3732" y="69"/>
                  </a:lnTo>
                  <a:lnTo>
                    <a:pt x="3663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83" name="Google Shape;1483;p16"/>
            <p:cNvSpPr/>
            <p:nvPr/>
          </p:nvSpPr>
          <p:spPr>
            <a:xfrm>
              <a:off x="3470475" y="3394850"/>
              <a:ext cx="95050" cy="43200"/>
            </a:xfrm>
            <a:custGeom>
              <a:avLst/>
              <a:gdLst/>
              <a:ahLst/>
              <a:cxnLst/>
              <a:rect l="l" t="t" r="r" b="b"/>
              <a:pathLst>
                <a:path w="3802" h="1728" fill="none" extrusionOk="0">
                  <a:moveTo>
                    <a:pt x="3594" y="0"/>
                  </a:moveTo>
                  <a:lnTo>
                    <a:pt x="208" y="0"/>
                  </a:lnTo>
                  <a:lnTo>
                    <a:pt x="208" y="0"/>
                  </a:lnTo>
                  <a:lnTo>
                    <a:pt x="104" y="0"/>
                  </a:lnTo>
                  <a:lnTo>
                    <a:pt x="35" y="69"/>
                  </a:lnTo>
                  <a:lnTo>
                    <a:pt x="0" y="173"/>
                  </a:lnTo>
                  <a:lnTo>
                    <a:pt x="0" y="311"/>
                  </a:lnTo>
                  <a:lnTo>
                    <a:pt x="0" y="1417"/>
                  </a:lnTo>
                  <a:lnTo>
                    <a:pt x="0" y="1417"/>
                  </a:lnTo>
                  <a:lnTo>
                    <a:pt x="0" y="1521"/>
                  </a:lnTo>
                  <a:lnTo>
                    <a:pt x="35" y="1624"/>
                  </a:lnTo>
                  <a:lnTo>
                    <a:pt x="104" y="1693"/>
                  </a:lnTo>
                  <a:lnTo>
                    <a:pt x="208" y="1728"/>
                  </a:lnTo>
                  <a:lnTo>
                    <a:pt x="3594" y="1728"/>
                  </a:lnTo>
                  <a:lnTo>
                    <a:pt x="3594" y="1728"/>
                  </a:lnTo>
                  <a:lnTo>
                    <a:pt x="3663" y="1693"/>
                  </a:lnTo>
                  <a:lnTo>
                    <a:pt x="3732" y="1624"/>
                  </a:lnTo>
                  <a:lnTo>
                    <a:pt x="3802" y="1521"/>
                  </a:lnTo>
                  <a:lnTo>
                    <a:pt x="3802" y="1417"/>
                  </a:lnTo>
                  <a:lnTo>
                    <a:pt x="3802" y="311"/>
                  </a:lnTo>
                  <a:lnTo>
                    <a:pt x="3802" y="311"/>
                  </a:lnTo>
                  <a:lnTo>
                    <a:pt x="3802" y="173"/>
                  </a:lnTo>
                  <a:lnTo>
                    <a:pt x="3732" y="69"/>
                  </a:lnTo>
                  <a:lnTo>
                    <a:pt x="3663" y="0"/>
                  </a:lnTo>
                  <a:lnTo>
                    <a:pt x="359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84" name="Google Shape;1484;p16"/>
            <p:cNvSpPr/>
            <p:nvPr/>
          </p:nvSpPr>
          <p:spPr>
            <a:xfrm>
              <a:off x="3585375" y="3394850"/>
              <a:ext cx="89875" cy="43200"/>
            </a:xfrm>
            <a:custGeom>
              <a:avLst/>
              <a:gdLst/>
              <a:ahLst/>
              <a:cxnLst/>
              <a:rect l="l" t="t" r="r" b="b"/>
              <a:pathLst>
                <a:path w="3595" h="1728" extrusionOk="0">
                  <a:moveTo>
                    <a:pt x="208" y="0"/>
                  </a:moveTo>
                  <a:lnTo>
                    <a:pt x="104" y="69"/>
                  </a:lnTo>
                  <a:lnTo>
                    <a:pt x="35" y="173"/>
                  </a:lnTo>
                  <a:lnTo>
                    <a:pt x="0" y="311"/>
                  </a:lnTo>
                  <a:lnTo>
                    <a:pt x="0" y="1382"/>
                  </a:lnTo>
                  <a:lnTo>
                    <a:pt x="35" y="1521"/>
                  </a:lnTo>
                  <a:lnTo>
                    <a:pt x="104" y="1624"/>
                  </a:lnTo>
                  <a:lnTo>
                    <a:pt x="208" y="1693"/>
                  </a:lnTo>
                  <a:lnTo>
                    <a:pt x="311" y="1728"/>
                  </a:lnTo>
                  <a:lnTo>
                    <a:pt x="3249" y="1728"/>
                  </a:lnTo>
                  <a:lnTo>
                    <a:pt x="3387" y="1693"/>
                  </a:lnTo>
                  <a:lnTo>
                    <a:pt x="3491" y="1624"/>
                  </a:lnTo>
                  <a:lnTo>
                    <a:pt x="3560" y="1521"/>
                  </a:lnTo>
                  <a:lnTo>
                    <a:pt x="3594" y="1382"/>
                  </a:lnTo>
                  <a:lnTo>
                    <a:pt x="3594" y="311"/>
                  </a:lnTo>
                  <a:lnTo>
                    <a:pt x="3560" y="173"/>
                  </a:lnTo>
                  <a:lnTo>
                    <a:pt x="3491" y="69"/>
                  </a:lnTo>
                  <a:lnTo>
                    <a:pt x="3387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85" name="Google Shape;1485;p16"/>
            <p:cNvSpPr/>
            <p:nvPr/>
          </p:nvSpPr>
          <p:spPr>
            <a:xfrm>
              <a:off x="3585375" y="3394850"/>
              <a:ext cx="89875" cy="43200"/>
            </a:xfrm>
            <a:custGeom>
              <a:avLst/>
              <a:gdLst/>
              <a:ahLst/>
              <a:cxnLst/>
              <a:rect l="l" t="t" r="r" b="b"/>
              <a:pathLst>
                <a:path w="3595" h="1728" fill="none" extrusionOk="0">
                  <a:moveTo>
                    <a:pt x="3249" y="0"/>
                  </a:moveTo>
                  <a:lnTo>
                    <a:pt x="311" y="0"/>
                  </a:lnTo>
                  <a:lnTo>
                    <a:pt x="311" y="0"/>
                  </a:lnTo>
                  <a:lnTo>
                    <a:pt x="208" y="0"/>
                  </a:lnTo>
                  <a:lnTo>
                    <a:pt x="104" y="69"/>
                  </a:lnTo>
                  <a:lnTo>
                    <a:pt x="35" y="173"/>
                  </a:lnTo>
                  <a:lnTo>
                    <a:pt x="0" y="311"/>
                  </a:lnTo>
                  <a:lnTo>
                    <a:pt x="0" y="1382"/>
                  </a:lnTo>
                  <a:lnTo>
                    <a:pt x="0" y="1382"/>
                  </a:lnTo>
                  <a:lnTo>
                    <a:pt x="35" y="1521"/>
                  </a:lnTo>
                  <a:lnTo>
                    <a:pt x="104" y="1624"/>
                  </a:lnTo>
                  <a:lnTo>
                    <a:pt x="208" y="1693"/>
                  </a:lnTo>
                  <a:lnTo>
                    <a:pt x="311" y="1728"/>
                  </a:lnTo>
                  <a:lnTo>
                    <a:pt x="3249" y="1728"/>
                  </a:lnTo>
                  <a:lnTo>
                    <a:pt x="3249" y="1728"/>
                  </a:lnTo>
                  <a:lnTo>
                    <a:pt x="3387" y="1693"/>
                  </a:lnTo>
                  <a:lnTo>
                    <a:pt x="3491" y="1624"/>
                  </a:lnTo>
                  <a:lnTo>
                    <a:pt x="3560" y="1521"/>
                  </a:lnTo>
                  <a:lnTo>
                    <a:pt x="3594" y="1382"/>
                  </a:lnTo>
                  <a:lnTo>
                    <a:pt x="3594" y="311"/>
                  </a:lnTo>
                  <a:lnTo>
                    <a:pt x="3594" y="311"/>
                  </a:lnTo>
                  <a:lnTo>
                    <a:pt x="3560" y="173"/>
                  </a:lnTo>
                  <a:lnTo>
                    <a:pt x="3491" y="69"/>
                  </a:lnTo>
                  <a:lnTo>
                    <a:pt x="3387" y="0"/>
                  </a:lnTo>
                  <a:lnTo>
                    <a:pt x="3249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86" name="Google Shape;1486;p16"/>
            <p:cNvSpPr/>
            <p:nvPr/>
          </p:nvSpPr>
          <p:spPr>
            <a:xfrm>
              <a:off x="2139175" y="3630675"/>
              <a:ext cx="415575" cy="415575"/>
            </a:xfrm>
            <a:custGeom>
              <a:avLst/>
              <a:gdLst/>
              <a:ahLst/>
              <a:cxnLst/>
              <a:rect l="l" t="t" r="r" b="b"/>
              <a:pathLst>
                <a:path w="16623" h="16623" extrusionOk="0">
                  <a:moveTo>
                    <a:pt x="8294" y="2489"/>
                  </a:moveTo>
                  <a:lnTo>
                    <a:pt x="8882" y="2524"/>
                  </a:lnTo>
                  <a:lnTo>
                    <a:pt x="9469" y="2627"/>
                  </a:lnTo>
                  <a:lnTo>
                    <a:pt x="10022" y="2765"/>
                  </a:lnTo>
                  <a:lnTo>
                    <a:pt x="10575" y="2973"/>
                  </a:lnTo>
                  <a:lnTo>
                    <a:pt x="11059" y="3215"/>
                  </a:lnTo>
                  <a:lnTo>
                    <a:pt x="11543" y="3491"/>
                  </a:lnTo>
                  <a:lnTo>
                    <a:pt x="11992" y="3837"/>
                  </a:lnTo>
                  <a:lnTo>
                    <a:pt x="12407" y="4217"/>
                  </a:lnTo>
                  <a:lnTo>
                    <a:pt x="12787" y="4632"/>
                  </a:lnTo>
                  <a:lnTo>
                    <a:pt x="13132" y="5081"/>
                  </a:lnTo>
                  <a:lnTo>
                    <a:pt x="13409" y="5565"/>
                  </a:lnTo>
                  <a:lnTo>
                    <a:pt x="13651" y="6048"/>
                  </a:lnTo>
                  <a:lnTo>
                    <a:pt x="13858" y="6601"/>
                  </a:lnTo>
                  <a:lnTo>
                    <a:pt x="13996" y="7154"/>
                  </a:lnTo>
                  <a:lnTo>
                    <a:pt x="14065" y="7707"/>
                  </a:lnTo>
                  <a:lnTo>
                    <a:pt x="14100" y="8329"/>
                  </a:lnTo>
                  <a:lnTo>
                    <a:pt x="14065" y="8917"/>
                  </a:lnTo>
                  <a:lnTo>
                    <a:pt x="13996" y="9469"/>
                  </a:lnTo>
                  <a:lnTo>
                    <a:pt x="13858" y="10057"/>
                  </a:lnTo>
                  <a:lnTo>
                    <a:pt x="13651" y="10575"/>
                  </a:lnTo>
                  <a:lnTo>
                    <a:pt x="13409" y="11094"/>
                  </a:lnTo>
                  <a:lnTo>
                    <a:pt x="13132" y="11577"/>
                  </a:lnTo>
                  <a:lnTo>
                    <a:pt x="12787" y="11992"/>
                  </a:lnTo>
                  <a:lnTo>
                    <a:pt x="12407" y="12407"/>
                  </a:lnTo>
                  <a:lnTo>
                    <a:pt x="11992" y="12787"/>
                  </a:lnTo>
                  <a:lnTo>
                    <a:pt x="11543" y="13132"/>
                  </a:lnTo>
                  <a:lnTo>
                    <a:pt x="11059" y="13409"/>
                  </a:lnTo>
                  <a:lnTo>
                    <a:pt x="10575" y="13651"/>
                  </a:lnTo>
                  <a:lnTo>
                    <a:pt x="10022" y="13858"/>
                  </a:lnTo>
                  <a:lnTo>
                    <a:pt x="9469" y="13996"/>
                  </a:lnTo>
                  <a:lnTo>
                    <a:pt x="8882" y="14100"/>
                  </a:lnTo>
                  <a:lnTo>
                    <a:pt x="8294" y="14135"/>
                  </a:lnTo>
                  <a:lnTo>
                    <a:pt x="7707" y="14100"/>
                  </a:lnTo>
                  <a:lnTo>
                    <a:pt x="7120" y="13996"/>
                  </a:lnTo>
                  <a:lnTo>
                    <a:pt x="6567" y="13858"/>
                  </a:lnTo>
                  <a:lnTo>
                    <a:pt x="6048" y="13651"/>
                  </a:lnTo>
                  <a:lnTo>
                    <a:pt x="5530" y="13409"/>
                  </a:lnTo>
                  <a:lnTo>
                    <a:pt x="5046" y="13132"/>
                  </a:lnTo>
                  <a:lnTo>
                    <a:pt x="4597" y="12787"/>
                  </a:lnTo>
                  <a:lnTo>
                    <a:pt x="4182" y="12407"/>
                  </a:lnTo>
                  <a:lnTo>
                    <a:pt x="3837" y="11992"/>
                  </a:lnTo>
                  <a:lnTo>
                    <a:pt x="3491" y="11577"/>
                  </a:lnTo>
                  <a:lnTo>
                    <a:pt x="3180" y="11094"/>
                  </a:lnTo>
                  <a:lnTo>
                    <a:pt x="2938" y="10575"/>
                  </a:lnTo>
                  <a:lnTo>
                    <a:pt x="2765" y="10057"/>
                  </a:lnTo>
                  <a:lnTo>
                    <a:pt x="2627" y="9469"/>
                  </a:lnTo>
                  <a:lnTo>
                    <a:pt x="2524" y="8917"/>
                  </a:lnTo>
                  <a:lnTo>
                    <a:pt x="2489" y="8329"/>
                  </a:lnTo>
                  <a:lnTo>
                    <a:pt x="2524" y="7707"/>
                  </a:lnTo>
                  <a:lnTo>
                    <a:pt x="2627" y="7154"/>
                  </a:lnTo>
                  <a:lnTo>
                    <a:pt x="2765" y="6601"/>
                  </a:lnTo>
                  <a:lnTo>
                    <a:pt x="2938" y="6048"/>
                  </a:lnTo>
                  <a:lnTo>
                    <a:pt x="3180" y="5565"/>
                  </a:lnTo>
                  <a:lnTo>
                    <a:pt x="3491" y="5081"/>
                  </a:lnTo>
                  <a:lnTo>
                    <a:pt x="3837" y="4632"/>
                  </a:lnTo>
                  <a:lnTo>
                    <a:pt x="4182" y="4217"/>
                  </a:lnTo>
                  <a:lnTo>
                    <a:pt x="4597" y="3837"/>
                  </a:lnTo>
                  <a:lnTo>
                    <a:pt x="5046" y="3491"/>
                  </a:lnTo>
                  <a:lnTo>
                    <a:pt x="5530" y="3215"/>
                  </a:lnTo>
                  <a:lnTo>
                    <a:pt x="6048" y="2973"/>
                  </a:lnTo>
                  <a:lnTo>
                    <a:pt x="6567" y="2765"/>
                  </a:lnTo>
                  <a:lnTo>
                    <a:pt x="7120" y="2627"/>
                  </a:lnTo>
                  <a:lnTo>
                    <a:pt x="7707" y="2524"/>
                  </a:lnTo>
                  <a:lnTo>
                    <a:pt x="8294" y="2489"/>
                  </a:lnTo>
                  <a:close/>
                  <a:moveTo>
                    <a:pt x="7880" y="1"/>
                  </a:moveTo>
                  <a:lnTo>
                    <a:pt x="7465" y="36"/>
                  </a:lnTo>
                  <a:lnTo>
                    <a:pt x="7050" y="105"/>
                  </a:lnTo>
                  <a:lnTo>
                    <a:pt x="6636" y="174"/>
                  </a:lnTo>
                  <a:lnTo>
                    <a:pt x="5841" y="381"/>
                  </a:lnTo>
                  <a:lnTo>
                    <a:pt x="5081" y="658"/>
                  </a:lnTo>
                  <a:lnTo>
                    <a:pt x="4355" y="1003"/>
                  </a:lnTo>
                  <a:lnTo>
                    <a:pt x="3664" y="1418"/>
                  </a:lnTo>
                  <a:lnTo>
                    <a:pt x="3007" y="1902"/>
                  </a:lnTo>
                  <a:lnTo>
                    <a:pt x="2420" y="2454"/>
                  </a:lnTo>
                  <a:lnTo>
                    <a:pt x="1902" y="3042"/>
                  </a:lnTo>
                  <a:lnTo>
                    <a:pt x="1418" y="3664"/>
                  </a:lnTo>
                  <a:lnTo>
                    <a:pt x="1003" y="4355"/>
                  </a:lnTo>
                  <a:lnTo>
                    <a:pt x="658" y="5081"/>
                  </a:lnTo>
                  <a:lnTo>
                    <a:pt x="381" y="5841"/>
                  </a:lnTo>
                  <a:lnTo>
                    <a:pt x="174" y="6636"/>
                  </a:lnTo>
                  <a:lnTo>
                    <a:pt x="105" y="7050"/>
                  </a:lnTo>
                  <a:lnTo>
                    <a:pt x="36" y="7465"/>
                  </a:lnTo>
                  <a:lnTo>
                    <a:pt x="1" y="7880"/>
                  </a:lnTo>
                  <a:lnTo>
                    <a:pt x="1" y="8329"/>
                  </a:lnTo>
                  <a:lnTo>
                    <a:pt x="1" y="8744"/>
                  </a:lnTo>
                  <a:lnTo>
                    <a:pt x="36" y="9158"/>
                  </a:lnTo>
                  <a:lnTo>
                    <a:pt x="105" y="9573"/>
                  </a:lnTo>
                  <a:lnTo>
                    <a:pt x="174" y="9988"/>
                  </a:lnTo>
                  <a:lnTo>
                    <a:pt x="381" y="10783"/>
                  </a:lnTo>
                  <a:lnTo>
                    <a:pt x="658" y="11543"/>
                  </a:lnTo>
                  <a:lnTo>
                    <a:pt x="1003" y="12269"/>
                  </a:lnTo>
                  <a:lnTo>
                    <a:pt x="1418" y="12960"/>
                  </a:lnTo>
                  <a:lnTo>
                    <a:pt x="1902" y="13582"/>
                  </a:lnTo>
                  <a:lnTo>
                    <a:pt x="2420" y="14204"/>
                  </a:lnTo>
                  <a:lnTo>
                    <a:pt x="3007" y="14722"/>
                  </a:lnTo>
                  <a:lnTo>
                    <a:pt x="3664" y="15206"/>
                  </a:lnTo>
                  <a:lnTo>
                    <a:pt x="4355" y="15620"/>
                  </a:lnTo>
                  <a:lnTo>
                    <a:pt x="5081" y="15966"/>
                  </a:lnTo>
                  <a:lnTo>
                    <a:pt x="5841" y="16242"/>
                  </a:lnTo>
                  <a:lnTo>
                    <a:pt x="6636" y="16450"/>
                  </a:lnTo>
                  <a:lnTo>
                    <a:pt x="7050" y="16519"/>
                  </a:lnTo>
                  <a:lnTo>
                    <a:pt x="7465" y="16588"/>
                  </a:lnTo>
                  <a:lnTo>
                    <a:pt x="7880" y="16623"/>
                  </a:lnTo>
                  <a:lnTo>
                    <a:pt x="8744" y="16623"/>
                  </a:lnTo>
                  <a:lnTo>
                    <a:pt x="9158" y="16588"/>
                  </a:lnTo>
                  <a:lnTo>
                    <a:pt x="9573" y="16519"/>
                  </a:lnTo>
                  <a:lnTo>
                    <a:pt x="9988" y="16450"/>
                  </a:lnTo>
                  <a:lnTo>
                    <a:pt x="10783" y="16242"/>
                  </a:lnTo>
                  <a:lnTo>
                    <a:pt x="11543" y="15966"/>
                  </a:lnTo>
                  <a:lnTo>
                    <a:pt x="12268" y="15620"/>
                  </a:lnTo>
                  <a:lnTo>
                    <a:pt x="12960" y="15206"/>
                  </a:lnTo>
                  <a:lnTo>
                    <a:pt x="13582" y="14722"/>
                  </a:lnTo>
                  <a:lnTo>
                    <a:pt x="14169" y="14204"/>
                  </a:lnTo>
                  <a:lnTo>
                    <a:pt x="14722" y="13582"/>
                  </a:lnTo>
                  <a:lnTo>
                    <a:pt x="15206" y="12960"/>
                  </a:lnTo>
                  <a:lnTo>
                    <a:pt x="15620" y="12269"/>
                  </a:lnTo>
                  <a:lnTo>
                    <a:pt x="15966" y="11543"/>
                  </a:lnTo>
                  <a:lnTo>
                    <a:pt x="16242" y="10783"/>
                  </a:lnTo>
                  <a:lnTo>
                    <a:pt x="16450" y="9988"/>
                  </a:lnTo>
                  <a:lnTo>
                    <a:pt x="16519" y="9573"/>
                  </a:lnTo>
                  <a:lnTo>
                    <a:pt x="16553" y="9158"/>
                  </a:lnTo>
                  <a:lnTo>
                    <a:pt x="16588" y="8744"/>
                  </a:lnTo>
                  <a:lnTo>
                    <a:pt x="16623" y="8329"/>
                  </a:lnTo>
                  <a:lnTo>
                    <a:pt x="16588" y="7880"/>
                  </a:lnTo>
                  <a:lnTo>
                    <a:pt x="16553" y="7465"/>
                  </a:lnTo>
                  <a:lnTo>
                    <a:pt x="16519" y="7050"/>
                  </a:lnTo>
                  <a:lnTo>
                    <a:pt x="16450" y="6636"/>
                  </a:lnTo>
                  <a:lnTo>
                    <a:pt x="16242" y="5841"/>
                  </a:lnTo>
                  <a:lnTo>
                    <a:pt x="15966" y="5081"/>
                  </a:lnTo>
                  <a:lnTo>
                    <a:pt x="15620" y="4355"/>
                  </a:lnTo>
                  <a:lnTo>
                    <a:pt x="15206" y="3664"/>
                  </a:lnTo>
                  <a:lnTo>
                    <a:pt x="14722" y="3042"/>
                  </a:lnTo>
                  <a:lnTo>
                    <a:pt x="14169" y="2454"/>
                  </a:lnTo>
                  <a:lnTo>
                    <a:pt x="13582" y="1902"/>
                  </a:lnTo>
                  <a:lnTo>
                    <a:pt x="12960" y="1418"/>
                  </a:lnTo>
                  <a:lnTo>
                    <a:pt x="12268" y="1003"/>
                  </a:lnTo>
                  <a:lnTo>
                    <a:pt x="11543" y="658"/>
                  </a:lnTo>
                  <a:lnTo>
                    <a:pt x="10783" y="381"/>
                  </a:lnTo>
                  <a:lnTo>
                    <a:pt x="9988" y="174"/>
                  </a:lnTo>
                  <a:lnTo>
                    <a:pt x="9573" y="105"/>
                  </a:lnTo>
                  <a:lnTo>
                    <a:pt x="9158" y="36"/>
                  </a:lnTo>
                  <a:lnTo>
                    <a:pt x="8744" y="1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87" name="Google Shape;1487;p16"/>
            <p:cNvSpPr/>
            <p:nvPr/>
          </p:nvSpPr>
          <p:spPr>
            <a:xfrm>
              <a:off x="2614325" y="1158175"/>
              <a:ext cx="958100" cy="2681600"/>
            </a:xfrm>
            <a:custGeom>
              <a:avLst/>
              <a:gdLst/>
              <a:ahLst/>
              <a:cxnLst/>
              <a:rect l="l" t="t" r="r" b="b"/>
              <a:pathLst>
                <a:path w="38324" h="107264" extrusionOk="0">
                  <a:moveTo>
                    <a:pt x="29996" y="1"/>
                  </a:moveTo>
                  <a:lnTo>
                    <a:pt x="28026" y="70"/>
                  </a:lnTo>
                  <a:lnTo>
                    <a:pt x="26195" y="208"/>
                  </a:lnTo>
                  <a:lnTo>
                    <a:pt x="24467" y="381"/>
                  </a:lnTo>
                  <a:lnTo>
                    <a:pt x="22808" y="588"/>
                  </a:lnTo>
                  <a:lnTo>
                    <a:pt x="21288" y="899"/>
                  </a:lnTo>
                  <a:lnTo>
                    <a:pt x="19836" y="1245"/>
                  </a:lnTo>
                  <a:lnTo>
                    <a:pt x="18489" y="1659"/>
                  </a:lnTo>
                  <a:lnTo>
                    <a:pt x="17832" y="1867"/>
                  </a:lnTo>
                  <a:lnTo>
                    <a:pt x="17210" y="2109"/>
                  </a:lnTo>
                  <a:lnTo>
                    <a:pt x="16623" y="2350"/>
                  </a:lnTo>
                  <a:lnTo>
                    <a:pt x="16035" y="2627"/>
                  </a:lnTo>
                  <a:lnTo>
                    <a:pt x="15482" y="2903"/>
                  </a:lnTo>
                  <a:lnTo>
                    <a:pt x="14964" y="3214"/>
                  </a:lnTo>
                  <a:lnTo>
                    <a:pt x="14446" y="3525"/>
                  </a:lnTo>
                  <a:lnTo>
                    <a:pt x="13927" y="3871"/>
                  </a:lnTo>
                  <a:lnTo>
                    <a:pt x="13478" y="4216"/>
                  </a:lnTo>
                  <a:lnTo>
                    <a:pt x="13029" y="4562"/>
                  </a:lnTo>
                  <a:lnTo>
                    <a:pt x="12579" y="4942"/>
                  </a:lnTo>
                  <a:lnTo>
                    <a:pt x="12165" y="5322"/>
                  </a:lnTo>
                  <a:lnTo>
                    <a:pt x="11577" y="5910"/>
                  </a:lnTo>
                  <a:lnTo>
                    <a:pt x="11059" y="6532"/>
                  </a:lnTo>
                  <a:lnTo>
                    <a:pt x="10575" y="7188"/>
                  </a:lnTo>
                  <a:lnTo>
                    <a:pt x="10126" y="7879"/>
                  </a:lnTo>
                  <a:lnTo>
                    <a:pt x="9711" y="8605"/>
                  </a:lnTo>
                  <a:lnTo>
                    <a:pt x="9331" y="9365"/>
                  </a:lnTo>
                  <a:lnTo>
                    <a:pt x="8986" y="10160"/>
                  </a:lnTo>
                  <a:lnTo>
                    <a:pt x="8709" y="10990"/>
                  </a:lnTo>
                  <a:lnTo>
                    <a:pt x="8433" y="11853"/>
                  </a:lnTo>
                  <a:lnTo>
                    <a:pt x="8225" y="12752"/>
                  </a:lnTo>
                  <a:lnTo>
                    <a:pt x="8053" y="13685"/>
                  </a:lnTo>
                  <a:lnTo>
                    <a:pt x="7914" y="14652"/>
                  </a:lnTo>
                  <a:lnTo>
                    <a:pt x="7811" y="15655"/>
                  </a:lnTo>
                  <a:lnTo>
                    <a:pt x="7742" y="16691"/>
                  </a:lnTo>
                  <a:lnTo>
                    <a:pt x="7707" y="17763"/>
                  </a:lnTo>
                  <a:lnTo>
                    <a:pt x="7742" y="18868"/>
                  </a:lnTo>
                  <a:lnTo>
                    <a:pt x="7776" y="19559"/>
                  </a:lnTo>
                  <a:lnTo>
                    <a:pt x="7845" y="20216"/>
                  </a:lnTo>
                  <a:lnTo>
                    <a:pt x="7983" y="20873"/>
                  </a:lnTo>
                  <a:lnTo>
                    <a:pt x="8122" y="21495"/>
                  </a:lnTo>
                  <a:lnTo>
                    <a:pt x="8329" y="22117"/>
                  </a:lnTo>
                  <a:lnTo>
                    <a:pt x="8536" y="22704"/>
                  </a:lnTo>
                  <a:lnTo>
                    <a:pt x="8813" y="23292"/>
                  </a:lnTo>
                  <a:lnTo>
                    <a:pt x="9089" y="23879"/>
                  </a:lnTo>
                  <a:lnTo>
                    <a:pt x="9435" y="24432"/>
                  </a:lnTo>
                  <a:lnTo>
                    <a:pt x="9780" y="24950"/>
                  </a:lnTo>
                  <a:lnTo>
                    <a:pt x="10161" y="25503"/>
                  </a:lnTo>
                  <a:lnTo>
                    <a:pt x="10575" y="25987"/>
                  </a:lnTo>
                  <a:lnTo>
                    <a:pt x="11024" y="26505"/>
                  </a:lnTo>
                  <a:lnTo>
                    <a:pt x="11474" y="26989"/>
                  </a:lnTo>
                  <a:lnTo>
                    <a:pt x="11957" y="27473"/>
                  </a:lnTo>
                  <a:lnTo>
                    <a:pt x="12476" y="27922"/>
                  </a:lnTo>
                  <a:lnTo>
                    <a:pt x="13547" y="28855"/>
                  </a:lnTo>
                  <a:lnTo>
                    <a:pt x="14687" y="29719"/>
                  </a:lnTo>
                  <a:lnTo>
                    <a:pt x="15897" y="30548"/>
                  </a:lnTo>
                  <a:lnTo>
                    <a:pt x="17141" y="31378"/>
                  </a:lnTo>
                  <a:lnTo>
                    <a:pt x="18420" y="32138"/>
                  </a:lnTo>
                  <a:lnTo>
                    <a:pt x="19733" y="32933"/>
                  </a:lnTo>
                  <a:lnTo>
                    <a:pt x="22394" y="34453"/>
                  </a:lnTo>
                  <a:lnTo>
                    <a:pt x="25193" y="36043"/>
                  </a:lnTo>
                  <a:lnTo>
                    <a:pt x="26540" y="36838"/>
                  </a:lnTo>
                  <a:lnTo>
                    <a:pt x="27853" y="37667"/>
                  </a:lnTo>
                  <a:lnTo>
                    <a:pt x="29132" y="38496"/>
                  </a:lnTo>
                  <a:lnTo>
                    <a:pt x="30307" y="39326"/>
                  </a:lnTo>
                  <a:lnTo>
                    <a:pt x="31413" y="40224"/>
                  </a:lnTo>
                  <a:lnTo>
                    <a:pt x="31897" y="40673"/>
                  </a:lnTo>
                  <a:lnTo>
                    <a:pt x="32415" y="41123"/>
                  </a:lnTo>
                  <a:lnTo>
                    <a:pt x="32864" y="41572"/>
                  </a:lnTo>
                  <a:lnTo>
                    <a:pt x="33313" y="42056"/>
                  </a:lnTo>
                  <a:lnTo>
                    <a:pt x="33728" y="42539"/>
                  </a:lnTo>
                  <a:lnTo>
                    <a:pt x="34074" y="43058"/>
                  </a:lnTo>
                  <a:lnTo>
                    <a:pt x="34419" y="43542"/>
                  </a:lnTo>
                  <a:lnTo>
                    <a:pt x="34730" y="44095"/>
                  </a:lnTo>
                  <a:lnTo>
                    <a:pt x="35007" y="44613"/>
                  </a:lnTo>
                  <a:lnTo>
                    <a:pt x="35248" y="45166"/>
                  </a:lnTo>
                  <a:lnTo>
                    <a:pt x="35456" y="45719"/>
                  </a:lnTo>
                  <a:lnTo>
                    <a:pt x="35594" y="46306"/>
                  </a:lnTo>
                  <a:lnTo>
                    <a:pt x="35732" y="46928"/>
                  </a:lnTo>
                  <a:lnTo>
                    <a:pt x="35801" y="47516"/>
                  </a:lnTo>
                  <a:lnTo>
                    <a:pt x="35836" y="48138"/>
                  </a:lnTo>
                  <a:lnTo>
                    <a:pt x="35801" y="48794"/>
                  </a:lnTo>
                  <a:lnTo>
                    <a:pt x="35767" y="49485"/>
                  </a:lnTo>
                  <a:lnTo>
                    <a:pt x="35629" y="50142"/>
                  </a:lnTo>
                  <a:lnTo>
                    <a:pt x="35525" y="50591"/>
                  </a:lnTo>
                  <a:lnTo>
                    <a:pt x="35387" y="50971"/>
                  </a:lnTo>
                  <a:lnTo>
                    <a:pt x="35248" y="51386"/>
                  </a:lnTo>
                  <a:lnTo>
                    <a:pt x="35041" y="51731"/>
                  </a:lnTo>
                  <a:lnTo>
                    <a:pt x="34834" y="52112"/>
                  </a:lnTo>
                  <a:lnTo>
                    <a:pt x="34557" y="52457"/>
                  </a:lnTo>
                  <a:lnTo>
                    <a:pt x="34281" y="52768"/>
                  </a:lnTo>
                  <a:lnTo>
                    <a:pt x="34004" y="53114"/>
                  </a:lnTo>
                  <a:lnTo>
                    <a:pt x="33659" y="53390"/>
                  </a:lnTo>
                  <a:lnTo>
                    <a:pt x="33313" y="53701"/>
                  </a:lnTo>
                  <a:lnTo>
                    <a:pt x="32933" y="53978"/>
                  </a:lnTo>
                  <a:lnTo>
                    <a:pt x="32519" y="54254"/>
                  </a:lnTo>
                  <a:lnTo>
                    <a:pt x="31655" y="54772"/>
                  </a:lnTo>
                  <a:lnTo>
                    <a:pt x="30722" y="55222"/>
                  </a:lnTo>
                  <a:lnTo>
                    <a:pt x="29719" y="55671"/>
                  </a:lnTo>
                  <a:lnTo>
                    <a:pt x="28648" y="56086"/>
                  </a:lnTo>
                  <a:lnTo>
                    <a:pt x="27508" y="56466"/>
                  </a:lnTo>
                  <a:lnTo>
                    <a:pt x="26333" y="56811"/>
                  </a:lnTo>
                  <a:lnTo>
                    <a:pt x="25123" y="57157"/>
                  </a:lnTo>
                  <a:lnTo>
                    <a:pt x="23879" y="57502"/>
                  </a:lnTo>
                  <a:lnTo>
                    <a:pt x="21322" y="58159"/>
                  </a:lnTo>
                  <a:lnTo>
                    <a:pt x="18454" y="58919"/>
                  </a:lnTo>
                  <a:lnTo>
                    <a:pt x="17037" y="59299"/>
                  </a:lnTo>
                  <a:lnTo>
                    <a:pt x="15620" y="59714"/>
                  </a:lnTo>
                  <a:lnTo>
                    <a:pt x="14273" y="60163"/>
                  </a:lnTo>
                  <a:lnTo>
                    <a:pt x="12925" y="60647"/>
                  </a:lnTo>
                  <a:lnTo>
                    <a:pt x="11646" y="61165"/>
                  </a:lnTo>
                  <a:lnTo>
                    <a:pt x="10437" y="61718"/>
                  </a:lnTo>
                  <a:lnTo>
                    <a:pt x="9746" y="62098"/>
                  </a:lnTo>
                  <a:lnTo>
                    <a:pt x="9089" y="62479"/>
                  </a:lnTo>
                  <a:lnTo>
                    <a:pt x="8502" y="62859"/>
                  </a:lnTo>
                  <a:lnTo>
                    <a:pt x="7914" y="63273"/>
                  </a:lnTo>
                  <a:lnTo>
                    <a:pt x="7396" y="63688"/>
                  </a:lnTo>
                  <a:lnTo>
                    <a:pt x="6878" y="64137"/>
                  </a:lnTo>
                  <a:lnTo>
                    <a:pt x="6428" y="64586"/>
                  </a:lnTo>
                  <a:lnTo>
                    <a:pt x="6014" y="65070"/>
                  </a:lnTo>
                  <a:lnTo>
                    <a:pt x="5634" y="65554"/>
                  </a:lnTo>
                  <a:lnTo>
                    <a:pt x="5288" y="66038"/>
                  </a:lnTo>
                  <a:lnTo>
                    <a:pt x="4977" y="66556"/>
                  </a:lnTo>
                  <a:lnTo>
                    <a:pt x="4701" y="67075"/>
                  </a:lnTo>
                  <a:lnTo>
                    <a:pt x="4459" y="67627"/>
                  </a:lnTo>
                  <a:lnTo>
                    <a:pt x="4286" y="68215"/>
                  </a:lnTo>
                  <a:lnTo>
                    <a:pt x="4113" y="68768"/>
                  </a:lnTo>
                  <a:lnTo>
                    <a:pt x="3975" y="69390"/>
                  </a:lnTo>
                  <a:lnTo>
                    <a:pt x="3906" y="69908"/>
                  </a:lnTo>
                  <a:lnTo>
                    <a:pt x="3871" y="70461"/>
                  </a:lnTo>
                  <a:lnTo>
                    <a:pt x="3837" y="70979"/>
                  </a:lnTo>
                  <a:lnTo>
                    <a:pt x="3837" y="71498"/>
                  </a:lnTo>
                  <a:lnTo>
                    <a:pt x="3871" y="72051"/>
                  </a:lnTo>
                  <a:lnTo>
                    <a:pt x="3940" y="72569"/>
                  </a:lnTo>
                  <a:lnTo>
                    <a:pt x="4044" y="73053"/>
                  </a:lnTo>
                  <a:lnTo>
                    <a:pt x="4148" y="73571"/>
                  </a:lnTo>
                  <a:lnTo>
                    <a:pt x="4321" y="74089"/>
                  </a:lnTo>
                  <a:lnTo>
                    <a:pt x="4493" y="74608"/>
                  </a:lnTo>
                  <a:lnTo>
                    <a:pt x="4701" y="75092"/>
                  </a:lnTo>
                  <a:lnTo>
                    <a:pt x="4943" y="75610"/>
                  </a:lnTo>
                  <a:lnTo>
                    <a:pt x="5219" y="76094"/>
                  </a:lnTo>
                  <a:lnTo>
                    <a:pt x="5530" y="76578"/>
                  </a:lnTo>
                  <a:lnTo>
                    <a:pt x="5841" y="77096"/>
                  </a:lnTo>
                  <a:lnTo>
                    <a:pt x="6221" y="77580"/>
                  </a:lnTo>
                  <a:lnTo>
                    <a:pt x="6878" y="78374"/>
                  </a:lnTo>
                  <a:lnTo>
                    <a:pt x="7569" y="79169"/>
                  </a:lnTo>
                  <a:lnTo>
                    <a:pt x="8329" y="79930"/>
                  </a:lnTo>
                  <a:lnTo>
                    <a:pt x="9124" y="80690"/>
                  </a:lnTo>
                  <a:lnTo>
                    <a:pt x="9953" y="81415"/>
                  </a:lnTo>
                  <a:lnTo>
                    <a:pt x="10817" y="82107"/>
                  </a:lnTo>
                  <a:lnTo>
                    <a:pt x="12510" y="83523"/>
                  </a:lnTo>
                  <a:lnTo>
                    <a:pt x="13962" y="84698"/>
                  </a:lnTo>
                  <a:lnTo>
                    <a:pt x="15344" y="85839"/>
                  </a:lnTo>
                  <a:lnTo>
                    <a:pt x="16001" y="86426"/>
                  </a:lnTo>
                  <a:lnTo>
                    <a:pt x="16623" y="87014"/>
                  </a:lnTo>
                  <a:lnTo>
                    <a:pt x="17210" y="87636"/>
                  </a:lnTo>
                  <a:lnTo>
                    <a:pt x="17763" y="88223"/>
                  </a:lnTo>
                  <a:lnTo>
                    <a:pt x="18281" y="88845"/>
                  </a:lnTo>
                  <a:lnTo>
                    <a:pt x="18731" y="89467"/>
                  </a:lnTo>
                  <a:lnTo>
                    <a:pt x="19111" y="90124"/>
                  </a:lnTo>
                  <a:lnTo>
                    <a:pt x="19456" y="90780"/>
                  </a:lnTo>
                  <a:lnTo>
                    <a:pt x="19733" y="91437"/>
                  </a:lnTo>
                  <a:lnTo>
                    <a:pt x="19940" y="92162"/>
                  </a:lnTo>
                  <a:lnTo>
                    <a:pt x="20044" y="92854"/>
                  </a:lnTo>
                  <a:lnTo>
                    <a:pt x="20078" y="93234"/>
                  </a:lnTo>
                  <a:lnTo>
                    <a:pt x="20078" y="93579"/>
                  </a:lnTo>
                  <a:lnTo>
                    <a:pt x="20078" y="94063"/>
                  </a:lnTo>
                  <a:lnTo>
                    <a:pt x="20044" y="94547"/>
                  </a:lnTo>
                  <a:lnTo>
                    <a:pt x="19975" y="94996"/>
                  </a:lnTo>
                  <a:lnTo>
                    <a:pt x="19905" y="95445"/>
                  </a:lnTo>
                  <a:lnTo>
                    <a:pt x="19802" y="95895"/>
                  </a:lnTo>
                  <a:lnTo>
                    <a:pt x="19664" y="96344"/>
                  </a:lnTo>
                  <a:lnTo>
                    <a:pt x="19491" y="96758"/>
                  </a:lnTo>
                  <a:lnTo>
                    <a:pt x="19318" y="97173"/>
                  </a:lnTo>
                  <a:lnTo>
                    <a:pt x="19111" y="97588"/>
                  </a:lnTo>
                  <a:lnTo>
                    <a:pt x="18869" y="97968"/>
                  </a:lnTo>
                  <a:lnTo>
                    <a:pt x="18627" y="98383"/>
                  </a:lnTo>
                  <a:lnTo>
                    <a:pt x="18350" y="98763"/>
                  </a:lnTo>
                  <a:lnTo>
                    <a:pt x="18039" y="99143"/>
                  </a:lnTo>
                  <a:lnTo>
                    <a:pt x="17728" y="99488"/>
                  </a:lnTo>
                  <a:lnTo>
                    <a:pt x="17383" y="99869"/>
                  </a:lnTo>
                  <a:lnTo>
                    <a:pt x="17003" y="100214"/>
                  </a:lnTo>
                  <a:lnTo>
                    <a:pt x="16208" y="100871"/>
                  </a:lnTo>
                  <a:lnTo>
                    <a:pt x="15379" y="101458"/>
                  </a:lnTo>
                  <a:lnTo>
                    <a:pt x="14480" y="102011"/>
                  </a:lnTo>
                  <a:lnTo>
                    <a:pt x="13513" y="102495"/>
                  </a:lnTo>
                  <a:lnTo>
                    <a:pt x="12545" y="102944"/>
                  </a:lnTo>
                  <a:lnTo>
                    <a:pt x="11508" y="103324"/>
                  </a:lnTo>
                  <a:lnTo>
                    <a:pt x="10472" y="103670"/>
                  </a:lnTo>
                  <a:lnTo>
                    <a:pt x="9400" y="103981"/>
                  </a:lnTo>
                  <a:lnTo>
                    <a:pt x="8364" y="104223"/>
                  </a:lnTo>
                  <a:lnTo>
                    <a:pt x="7292" y="104430"/>
                  </a:lnTo>
                  <a:lnTo>
                    <a:pt x="6256" y="104568"/>
                  </a:lnTo>
                  <a:lnTo>
                    <a:pt x="5219" y="104706"/>
                  </a:lnTo>
                  <a:lnTo>
                    <a:pt x="4182" y="104741"/>
                  </a:lnTo>
                  <a:lnTo>
                    <a:pt x="3215" y="104776"/>
                  </a:lnTo>
                  <a:lnTo>
                    <a:pt x="2282" y="104741"/>
                  </a:lnTo>
                  <a:lnTo>
                    <a:pt x="1383" y="104672"/>
                  </a:lnTo>
                  <a:lnTo>
                    <a:pt x="1141" y="104672"/>
                  </a:lnTo>
                  <a:lnTo>
                    <a:pt x="899" y="104706"/>
                  </a:lnTo>
                  <a:lnTo>
                    <a:pt x="692" y="104810"/>
                  </a:lnTo>
                  <a:lnTo>
                    <a:pt x="485" y="104948"/>
                  </a:lnTo>
                  <a:lnTo>
                    <a:pt x="312" y="105121"/>
                  </a:lnTo>
                  <a:lnTo>
                    <a:pt x="174" y="105294"/>
                  </a:lnTo>
                  <a:lnTo>
                    <a:pt x="70" y="105536"/>
                  </a:lnTo>
                  <a:lnTo>
                    <a:pt x="1" y="105778"/>
                  </a:lnTo>
                  <a:lnTo>
                    <a:pt x="1" y="106020"/>
                  </a:lnTo>
                  <a:lnTo>
                    <a:pt x="70" y="106261"/>
                  </a:lnTo>
                  <a:lnTo>
                    <a:pt x="139" y="106503"/>
                  </a:lnTo>
                  <a:lnTo>
                    <a:pt x="277" y="106711"/>
                  </a:lnTo>
                  <a:lnTo>
                    <a:pt x="450" y="106884"/>
                  </a:lnTo>
                  <a:lnTo>
                    <a:pt x="658" y="107022"/>
                  </a:lnTo>
                  <a:lnTo>
                    <a:pt x="865" y="107091"/>
                  </a:lnTo>
                  <a:lnTo>
                    <a:pt x="1107" y="107160"/>
                  </a:lnTo>
                  <a:lnTo>
                    <a:pt x="2213" y="107229"/>
                  </a:lnTo>
                  <a:lnTo>
                    <a:pt x="3353" y="107264"/>
                  </a:lnTo>
                  <a:lnTo>
                    <a:pt x="4321" y="107264"/>
                  </a:lnTo>
                  <a:lnTo>
                    <a:pt x="5288" y="107195"/>
                  </a:lnTo>
                  <a:lnTo>
                    <a:pt x="6290" y="107091"/>
                  </a:lnTo>
                  <a:lnTo>
                    <a:pt x="7327" y="106953"/>
                  </a:lnTo>
                  <a:lnTo>
                    <a:pt x="8329" y="106780"/>
                  </a:lnTo>
                  <a:lnTo>
                    <a:pt x="9366" y="106573"/>
                  </a:lnTo>
                  <a:lnTo>
                    <a:pt x="10402" y="106296"/>
                  </a:lnTo>
                  <a:lnTo>
                    <a:pt x="11405" y="106020"/>
                  </a:lnTo>
                  <a:lnTo>
                    <a:pt x="12407" y="105674"/>
                  </a:lnTo>
                  <a:lnTo>
                    <a:pt x="13409" y="105294"/>
                  </a:lnTo>
                  <a:lnTo>
                    <a:pt x="14376" y="104845"/>
                  </a:lnTo>
                  <a:lnTo>
                    <a:pt x="15309" y="104395"/>
                  </a:lnTo>
                  <a:lnTo>
                    <a:pt x="16208" y="103877"/>
                  </a:lnTo>
                  <a:lnTo>
                    <a:pt x="17072" y="103324"/>
                  </a:lnTo>
                  <a:lnTo>
                    <a:pt x="17901" y="102702"/>
                  </a:lnTo>
                  <a:lnTo>
                    <a:pt x="18661" y="102080"/>
                  </a:lnTo>
                  <a:lnTo>
                    <a:pt x="19145" y="101631"/>
                  </a:lnTo>
                  <a:lnTo>
                    <a:pt x="19594" y="101182"/>
                  </a:lnTo>
                  <a:lnTo>
                    <a:pt x="20009" y="100698"/>
                  </a:lnTo>
                  <a:lnTo>
                    <a:pt x="20389" y="100214"/>
                  </a:lnTo>
                  <a:lnTo>
                    <a:pt x="20735" y="99730"/>
                  </a:lnTo>
                  <a:lnTo>
                    <a:pt x="21046" y="99247"/>
                  </a:lnTo>
                  <a:lnTo>
                    <a:pt x="21357" y="98728"/>
                  </a:lnTo>
                  <a:lnTo>
                    <a:pt x="21599" y="98210"/>
                  </a:lnTo>
                  <a:lnTo>
                    <a:pt x="21841" y="97657"/>
                  </a:lnTo>
                  <a:lnTo>
                    <a:pt x="22048" y="97104"/>
                  </a:lnTo>
                  <a:lnTo>
                    <a:pt x="22221" y="96551"/>
                  </a:lnTo>
                  <a:lnTo>
                    <a:pt x="22359" y="95998"/>
                  </a:lnTo>
                  <a:lnTo>
                    <a:pt x="22463" y="95411"/>
                  </a:lnTo>
                  <a:lnTo>
                    <a:pt x="22532" y="94823"/>
                  </a:lnTo>
                  <a:lnTo>
                    <a:pt x="22566" y="94201"/>
                  </a:lnTo>
                  <a:lnTo>
                    <a:pt x="22601" y="93579"/>
                  </a:lnTo>
                  <a:lnTo>
                    <a:pt x="22566" y="93130"/>
                  </a:lnTo>
                  <a:lnTo>
                    <a:pt x="22532" y="92646"/>
                  </a:lnTo>
                  <a:lnTo>
                    <a:pt x="22463" y="92197"/>
                  </a:lnTo>
                  <a:lnTo>
                    <a:pt x="22394" y="91713"/>
                  </a:lnTo>
                  <a:lnTo>
                    <a:pt x="22290" y="91299"/>
                  </a:lnTo>
                  <a:lnTo>
                    <a:pt x="22152" y="90849"/>
                  </a:lnTo>
                  <a:lnTo>
                    <a:pt x="22013" y="90435"/>
                  </a:lnTo>
                  <a:lnTo>
                    <a:pt x="21841" y="89985"/>
                  </a:lnTo>
                  <a:lnTo>
                    <a:pt x="21460" y="89191"/>
                  </a:lnTo>
                  <a:lnTo>
                    <a:pt x="21011" y="88396"/>
                  </a:lnTo>
                  <a:lnTo>
                    <a:pt x="20493" y="87636"/>
                  </a:lnTo>
                  <a:lnTo>
                    <a:pt x="19905" y="86910"/>
                  </a:lnTo>
                  <a:lnTo>
                    <a:pt x="19283" y="86184"/>
                  </a:lnTo>
                  <a:lnTo>
                    <a:pt x="18627" y="85493"/>
                  </a:lnTo>
                  <a:lnTo>
                    <a:pt x="17901" y="84802"/>
                  </a:lnTo>
                  <a:lnTo>
                    <a:pt x="17175" y="84145"/>
                  </a:lnTo>
                  <a:lnTo>
                    <a:pt x="15655" y="82832"/>
                  </a:lnTo>
                  <a:lnTo>
                    <a:pt x="14100" y="81554"/>
                  </a:lnTo>
                  <a:lnTo>
                    <a:pt x="12476" y="80241"/>
                  </a:lnTo>
                  <a:lnTo>
                    <a:pt x="11681" y="79584"/>
                  </a:lnTo>
                  <a:lnTo>
                    <a:pt x="10921" y="78927"/>
                  </a:lnTo>
                  <a:lnTo>
                    <a:pt x="10195" y="78271"/>
                  </a:lnTo>
                  <a:lnTo>
                    <a:pt x="9539" y="77614"/>
                  </a:lnTo>
                  <a:lnTo>
                    <a:pt x="8882" y="76923"/>
                  </a:lnTo>
                  <a:lnTo>
                    <a:pt x="8329" y="76197"/>
                  </a:lnTo>
                  <a:lnTo>
                    <a:pt x="7811" y="75506"/>
                  </a:lnTo>
                  <a:lnTo>
                    <a:pt x="7327" y="74781"/>
                  </a:lnTo>
                  <a:lnTo>
                    <a:pt x="6981" y="74020"/>
                  </a:lnTo>
                  <a:lnTo>
                    <a:pt x="6809" y="73606"/>
                  </a:lnTo>
                  <a:lnTo>
                    <a:pt x="6670" y="73226"/>
                  </a:lnTo>
                  <a:lnTo>
                    <a:pt x="6567" y="72811"/>
                  </a:lnTo>
                  <a:lnTo>
                    <a:pt x="6463" y="72431"/>
                  </a:lnTo>
                  <a:lnTo>
                    <a:pt x="6394" y="72016"/>
                  </a:lnTo>
                  <a:lnTo>
                    <a:pt x="6359" y="71567"/>
                  </a:lnTo>
                  <a:lnTo>
                    <a:pt x="6325" y="71152"/>
                  </a:lnTo>
                  <a:lnTo>
                    <a:pt x="6359" y="70703"/>
                  </a:lnTo>
                  <a:lnTo>
                    <a:pt x="6394" y="70254"/>
                  </a:lnTo>
                  <a:lnTo>
                    <a:pt x="6463" y="69804"/>
                  </a:lnTo>
                  <a:lnTo>
                    <a:pt x="6532" y="69355"/>
                  </a:lnTo>
                  <a:lnTo>
                    <a:pt x="6670" y="68906"/>
                  </a:lnTo>
                  <a:lnTo>
                    <a:pt x="6809" y="68491"/>
                  </a:lnTo>
                  <a:lnTo>
                    <a:pt x="7016" y="68077"/>
                  </a:lnTo>
                  <a:lnTo>
                    <a:pt x="7223" y="67697"/>
                  </a:lnTo>
                  <a:lnTo>
                    <a:pt x="7465" y="67282"/>
                  </a:lnTo>
                  <a:lnTo>
                    <a:pt x="7707" y="66902"/>
                  </a:lnTo>
                  <a:lnTo>
                    <a:pt x="8018" y="66556"/>
                  </a:lnTo>
                  <a:lnTo>
                    <a:pt x="8364" y="66211"/>
                  </a:lnTo>
                  <a:lnTo>
                    <a:pt x="8709" y="65865"/>
                  </a:lnTo>
                  <a:lnTo>
                    <a:pt x="9124" y="65519"/>
                  </a:lnTo>
                  <a:lnTo>
                    <a:pt x="9539" y="65174"/>
                  </a:lnTo>
                  <a:lnTo>
                    <a:pt x="9988" y="64863"/>
                  </a:lnTo>
                  <a:lnTo>
                    <a:pt x="10472" y="64552"/>
                  </a:lnTo>
                  <a:lnTo>
                    <a:pt x="11024" y="64275"/>
                  </a:lnTo>
                  <a:lnTo>
                    <a:pt x="11577" y="63964"/>
                  </a:lnTo>
                  <a:lnTo>
                    <a:pt x="12683" y="63446"/>
                  </a:lnTo>
                  <a:lnTo>
                    <a:pt x="13893" y="62962"/>
                  </a:lnTo>
                  <a:lnTo>
                    <a:pt x="15137" y="62513"/>
                  </a:lnTo>
                  <a:lnTo>
                    <a:pt x="16450" y="62098"/>
                  </a:lnTo>
                  <a:lnTo>
                    <a:pt x="17798" y="61684"/>
                  </a:lnTo>
                  <a:lnTo>
                    <a:pt x="19180" y="61304"/>
                  </a:lnTo>
                  <a:lnTo>
                    <a:pt x="21944" y="60578"/>
                  </a:lnTo>
                  <a:lnTo>
                    <a:pt x="24709" y="59887"/>
                  </a:lnTo>
                  <a:lnTo>
                    <a:pt x="26056" y="59507"/>
                  </a:lnTo>
                  <a:lnTo>
                    <a:pt x="27404" y="59127"/>
                  </a:lnTo>
                  <a:lnTo>
                    <a:pt x="28683" y="58677"/>
                  </a:lnTo>
                  <a:lnTo>
                    <a:pt x="29961" y="58228"/>
                  </a:lnTo>
                  <a:lnTo>
                    <a:pt x="31171" y="57744"/>
                  </a:lnTo>
                  <a:lnTo>
                    <a:pt x="32311" y="57226"/>
                  </a:lnTo>
                  <a:lnTo>
                    <a:pt x="32864" y="56950"/>
                  </a:lnTo>
                  <a:lnTo>
                    <a:pt x="33382" y="56639"/>
                  </a:lnTo>
                  <a:lnTo>
                    <a:pt x="33901" y="56327"/>
                  </a:lnTo>
                  <a:lnTo>
                    <a:pt x="34385" y="55982"/>
                  </a:lnTo>
                  <a:lnTo>
                    <a:pt x="34834" y="55636"/>
                  </a:lnTo>
                  <a:lnTo>
                    <a:pt x="35283" y="55291"/>
                  </a:lnTo>
                  <a:lnTo>
                    <a:pt x="35698" y="54911"/>
                  </a:lnTo>
                  <a:lnTo>
                    <a:pt x="36078" y="54531"/>
                  </a:lnTo>
                  <a:lnTo>
                    <a:pt x="36458" y="54116"/>
                  </a:lnTo>
                  <a:lnTo>
                    <a:pt x="36769" y="53667"/>
                  </a:lnTo>
                  <a:lnTo>
                    <a:pt x="37080" y="53217"/>
                  </a:lnTo>
                  <a:lnTo>
                    <a:pt x="37356" y="52768"/>
                  </a:lnTo>
                  <a:lnTo>
                    <a:pt x="37598" y="52250"/>
                  </a:lnTo>
                  <a:lnTo>
                    <a:pt x="37806" y="51731"/>
                  </a:lnTo>
                  <a:lnTo>
                    <a:pt x="37944" y="51213"/>
                  </a:lnTo>
                  <a:lnTo>
                    <a:pt x="38082" y="50626"/>
                  </a:lnTo>
                  <a:lnTo>
                    <a:pt x="38220" y="49865"/>
                  </a:lnTo>
                  <a:lnTo>
                    <a:pt x="38289" y="49105"/>
                  </a:lnTo>
                  <a:lnTo>
                    <a:pt x="38324" y="48345"/>
                  </a:lnTo>
                  <a:lnTo>
                    <a:pt x="38324" y="47619"/>
                  </a:lnTo>
                  <a:lnTo>
                    <a:pt x="38255" y="46894"/>
                  </a:lnTo>
                  <a:lnTo>
                    <a:pt x="38151" y="46168"/>
                  </a:lnTo>
                  <a:lnTo>
                    <a:pt x="37978" y="45442"/>
                  </a:lnTo>
                  <a:lnTo>
                    <a:pt x="37771" y="44751"/>
                  </a:lnTo>
                  <a:lnTo>
                    <a:pt x="37529" y="44060"/>
                  </a:lnTo>
                  <a:lnTo>
                    <a:pt x="37218" y="43403"/>
                  </a:lnTo>
                  <a:lnTo>
                    <a:pt x="36873" y="42712"/>
                  </a:lnTo>
                  <a:lnTo>
                    <a:pt x="36458" y="42056"/>
                  </a:lnTo>
                  <a:lnTo>
                    <a:pt x="36009" y="41399"/>
                  </a:lnTo>
                  <a:lnTo>
                    <a:pt x="35490" y="40777"/>
                  </a:lnTo>
                  <a:lnTo>
                    <a:pt x="34937" y="40121"/>
                  </a:lnTo>
                  <a:lnTo>
                    <a:pt x="34350" y="39499"/>
                  </a:lnTo>
                  <a:lnTo>
                    <a:pt x="33797" y="38980"/>
                  </a:lnTo>
                  <a:lnTo>
                    <a:pt x="33210" y="38496"/>
                  </a:lnTo>
                  <a:lnTo>
                    <a:pt x="32622" y="37978"/>
                  </a:lnTo>
                  <a:lnTo>
                    <a:pt x="32035" y="37494"/>
                  </a:lnTo>
                  <a:lnTo>
                    <a:pt x="30722" y="36561"/>
                  </a:lnTo>
                  <a:lnTo>
                    <a:pt x="29374" y="35663"/>
                  </a:lnTo>
                  <a:lnTo>
                    <a:pt x="27992" y="34764"/>
                  </a:lnTo>
                  <a:lnTo>
                    <a:pt x="26540" y="33935"/>
                  </a:lnTo>
                  <a:lnTo>
                    <a:pt x="23638" y="32276"/>
                  </a:lnTo>
                  <a:lnTo>
                    <a:pt x="21115" y="30825"/>
                  </a:lnTo>
                  <a:lnTo>
                    <a:pt x="19871" y="30099"/>
                  </a:lnTo>
                  <a:lnTo>
                    <a:pt x="18696" y="29374"/>
                  </a:lnTo>
                  <a:lnTo>
                    <a:pt x="17521" y="28648"/>
                  </a:lnTo>
                  <a:lnTo>
                    <a:pt x="16450" y="27888"/>
                  </a:lnTo>
                  <a:lnTo>
                    <a:pt x="15413" y="27127"/>
                  </a:lnTo>
                  <a:lnTo>
                    <a:pt x="14446" y="26333"/>
                  </a:lnTo>
                  <a:lnTo>
                    <a:pt x="13547" y="25538"/>
                  </a:lnTo>
                  <a:lnTo>
                    <a:pt x="13132" y="25123"/>
                  </a:lnTo>
                  <a:lnTo>
                    <a:pt x="12752" y="24674"/>
                  </a:lnTo>
                  <a:lnTo>
                    <a:pt x="12372" y="24259"/>
                  </a:lnTo>
                  <a:lnTo>
                    <a:pt x="12027" y="23810"/>
                  </a:lnTo>
                  <a:lnTo>
                    <a:pt x="11716" y="23361"/>
                  </a:lnTo>
                  <a:lnTo>
                    <a:pt x="11439" y="22911"/>
                  </a:lnTo>
                  <a:lnTo>
                    <a:pt x="11163" y="22428"/>
                  </a:lnTo>
                  <a:lnTo>
                    <a:pt x="10955" y="21944"/>
                  </a:lnTo>
                  <a:lnTo>
                    <a:pt x="10748" y="21460"/>
                  </a:lnTo>
                  <a:lnTo>
                    <a:pt x="10575" y="20942"/>
                  </a:lnTo>
                  <a:lnTo>
                    <a:pt x="10437" y="20423"/>
                  </a:lnTo>
                  <a:lnTo>
                    <a:pt x="10333" y="19905"/>
                  </a:lnTo>
                  <a:lnTo>
                    <a:pt x="10264" y="19352"/>
                  </a:lnTo>
                  <a:lnTo>
                    <a:pt x="10230" y="18799"/>
                  </a:lnTo>
                  <a:lnTo>
                    <a:pt x="10230" y="17832"/>
                  </a:lnTo>
                  <a:lnTo>
                    <a:pt x="10230" y="16899"/>
                  </a:lnTo>
                  <a:lnTo>
                    <a:pt x="10299" y="15966"/>
                  </a:lnTo>
                  <a:lnTo>
                    <a:pt x="10368" y="15102"/>
                  </a:lnTo>
                  <a:lnTo>
                    <a:pt x="10472" y="14272"/>
                  </a:lnTo>
                  <a:lnTo>
                    <a:pt x="10644" y="13443"/>
                  </a:lnTo>
                  <a:lnTo>
                    <a:pt x="10817" y="12683"/>
                  </a:lnTo>
                  <a:lnTo>
                    <a:pt x="11024" y="11923"/>
                  </a:lnTo>
                  <a:lnTo>
                    <a:pt x="11266" y="11231"/>
                  </a:lnTo>
                  <a:lnTo>
                    <a:pt x="11543" y="10540"/>
                  </a:lnTo>
                  <a:lnTo>
                    <a:pt x="11854" y="9884"/>
                  </a:lnTo>
                  <a:lnTo>
                    <a:pt x="12199" y="9262"/>
                  </a:lnTo>
                  <a:lnTo>
                    <a:pt x="12579" y="8674"/>
                  </a:lnTo>
                  <a:lnTo>
                    <a:pt x="12994" y="8121"/>
                  </a:lnTo>
                  <a:lnTo>
                    <a:pt x="13443" y="7603"/>
                  </a:lnTo>
                  <a:lnTo>
                    <a:pt x="13893" y="7119"/>
                  </a:lnTo>
                  <a:lnTo>
                    <a:pt x="14273" y="6774"/>
                  </a:lnTo>
                  <a:lnTo>
                    <a:pt x="14653" y="6428"/>
                  </a:lnTo>
                  <a:lnTo>
                    <a:pt x="15068" y="6117"/>
                  </a:lnTo>
                  <a:lnTo>
                    <a:pt x="15482" y="5841"/>
                  </a:lnTo>
                  <a:lnTo>
                    <a:pt x="15931" y="5530"/>
                  </a:lnTo>
                  <a:lnTo>
                    <a:pt x="16381" y="5253"/>
                  </a:lnTo>
                  <a:lnTo>
                    <a:pt x="16864" y="5011"/>
                  </a:lnTo>
                  <a:lnTo>
                    <a:pt x="17383" y="4769"/>
                  </a:lnTo>
                  <a:lnTo>
                    <a:pt x="18454" y="4320"/>
                  </a:lnTo>
                  <a:lnTo>
                    <a:pt x="19594" y="3905"/>
                  </a:lnTo>
                  <a:lnTo>
                    <a:pt x="20838" y="3560"/>
                  </a:lnTo>
                  <a:lnTo>
                    <a:pt x="22152" y="3249"/>
                  </a:lnTo>
                  <a:lnTo>
                    <a:pt x="23603" y="3007"/>
                  </a:lnTo>
                  <a:lnTo>
                    <a:pt x="25089" y="2800"/>
                  </a:lnTo>
                  <a:lnTo>
                    <a:pt x="26713" y="2661"/>
                  </a:lnTo>
                  <a:lnTo>
                    <a:pt x="28441" y="2558"/>
                  </a:lnTo>
                  <a:lnTo>
                    <a:pt x="30238" y="2489"/>
                  </a:lnTo>
                  <a:lnTo>
                    <a:pt x="32173" y="2489"/>
                  </a:lnTo>
                  <a:lnTo>
                    <a:pt x="34212" y="2558"/>
                  </a:lnTo>
                  <a:lnTo>
                    <a:pt x="36354" y="2627"/>
                  </a:lnTo>
                  <a:lnTo>
                    <a:pt x="36596" y="2627"/>
                  </a:lnTo>
                  <a:lnTo>
                    <a:pt x="36838" y="2558"/>
                  </a:lnTo>
                  <a:lnTo>
                    <a:pt x="37045" y="2454"/>
                  </a:lnTo>
                  <a:lnTo>
                    <a:pt x="37253" y="2316"/>
                  </a:lnTo>
                  <a:lnTo>
                    <a:pt x="37426" y="2143"/>
                  </a:lnTo>
                  <a:lnTo>
                    <a:pt x="37529" y="1936"/>
                  </a:lnTo>
                  <a:lnTo>
                    <a:pt x="37633" y="1694"/>
                  </a:lnTo>
                  <a:lnTo>
                    <a:pt x="37667" y="1452"/>
                  </a:lnTo>
                  <a:lnTo>
                    <a:pt x="37667" y="1210"/>
                  </a:lnTo>
                  <a:lnTo>
                    <a:pt x="37598" y="968"/>
                  </a:lnTo>
                  <a:lnTo>
                    <a:pt x="37495" y="726"/>
                  </a:lnTo>
                  <a:lnTo>
                    <a:pt x="37356" y="553"/>
                  </a:lnTo>
                  <a:lnTo>
                    <a:pt x="37184" y="381"/>
                  </a:lnTo>
                  <a:lnTo>
                    <a:pt x="36976" y="277"/>
                  </a:lnTo>
                  <a:lnTo>
                    <a:pt x="36734" y="173"/>
                  </a:lnTo>
                  <a:lnTo>
                    <a:pt x="36493" y="139"/>
                  </a:lnTo>
                  <a:lnTo>
                    <a:pt x="34212" y="35"/>
                  </a:lnTo>
                  <a:lnTo>
                    <a:pt x="32035" y="1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88" name="Google Shape;1488;p16"/>
            <p:cNvSpPr/>
            <p:nvPr/>
          </p:nvSpPr>
          <p:spPr>
            <a:xfrm>
              <a:off x="2582375" y="3288575"/>
              <a:ext cx="286850" cy="267850"/>
            </a:xfrm>
            <a:custGeom>
              <a:avLst/>
              <a:gdLst/>
              <a:ahLst/>
              <a:cxnLst/>
              <a:rect l="l" t="t" r="r" b="b"/>
              <a:pathLst>
                <a:path w="11474" h="10714" extrusionOk="0">
                  <a:moveTo>
                    <a:pt x="1279" y="1"/>
                  </a:moveTo>
                  <a:lnTo>
                    <a:pt x="1037" y="35"/>
                  </a:lnTo>
                  <a:lnTo>
                    <a:pt x="795" y="104"/>
                  </a:lnTo>
                  <a:lnTo>
                    <a:pt x="553" y="208"/>
                  </a:lnTo>
                  <a:lnTo>
                    <a:pt x="346" y="381"/>
                  </a:lnTo>
                  <a:lnTo>
                    <a:pt x="208" y="588"/>
                  </a:lnTo>
                  <a:lnTo>
                    <a:pt x="70" y="795"/>
                  </a:lnTo>
                  <a:lnTo>
                    <a:pt x="0" y="1037"/>
                  </a:lnTo>
                  <a:lnTo>
                    <a:pt x="0" y="1279"/>
                  </a:lnTo>
                  <a:lnTo>
                    <a:pt x="0" y="1521"/>
                  </a:lnTo>
                  <a:lnTo>
                    <a:pt x="70" y="1763"/>
                  </a:lnTo>
                  <a:lnTo>
                    <a:pt x="208" y="2005"/>
                  </a:lnTo>
                  <a:lnTo>
                    <a:pt x="346" y="2178"/>
                  </a:lnTo>
                  <a:lnTo>
                    <a:pt x="1590" y="3422"/>
                  </a:lnTo>
                  <a:lnTo>
                    <a:pt x="4354" y="6083"/>
                  </a:lnTo>
                  <a:lnTo>
                    <a:pt x="5806" y="7465"/>
                  </a:lnTo>
                  <a:lnTo>
                    <a:pt x="6946" y="8502"/>
                  </a:lnTo>
                  <a:lnTo>
                    <a:pt x="7845" y="9296"/>
                  </a:lnTo>
                  <a:lnTo>
                    <a:pt x="8501" y="9849"/>
                  </a:lnTo>
                  <a:lnTo>
                    <a:pt x="8985" y="10195"/>
                  </a:lnTo>
                  <a:lnTo>
                    <a:pt x="9331" y="10437"/>
                  </a:lnTo>
                  <a:lnTo>
                    <a:pt x="9538" y="10540"/>
                  </a:lnTo>
                  <a:lnTo>
                    <a:pt x="9711" y="10609"/>
                  </a:lnTo>
                  <a:lnTo>
                    <a:pt x="9953" y="10679"/>
                  </a:lnTo>
                  <a:lnTo>
                    <a:pt x="10195" y="10713"/>
                  </a:lnTo>
                  <a:lnTo>
                    <a:pt x="10367" y="10679"/>
                  </a:lnTo>
                  <a:lnTo>
                    <a:pt x="10575" y="10644"/>
                  </a:lnTo>
                  <a:lnTo>
                    <a:pt x="10747" y="10575"/>
                  </a:lnTo>
                  <a:lnTo>
                    <a:pt x="10886" y="10506"/>
                  </a:lnTo>
                  <a:lnTo>
                    <a:pt x="11058" y="10368"/>
                  </a:lnTo>
                  <a:lnTo>
                    <a:pt x="11162" y="10229"/>
                  </a:lnTo>
                  <a:lnTo>
                    <a:pt x="11300" y="10091"/>
                  </a:lnTo>
                  <a:lnTo>
                    <a:pt x="11369" y="9884"/>
                  </a:lnTo>
                  <a:lnTo>
                    <a:pt x="11439" y="9642"/>
                  </a:lnTo>
                  <a:lnTo>
                    <a:pt x="11473" y="9400"/>
                  </a:lnTo>
                  <a:lnTo>
                    <a:pt x="11439" y="9158"/>
                  </a:lnTo>
                  <a:lnTo>
                    <a:pt x="11369" y="8916"/>
                  </a:lnTo>
                  <a:lnTo>
                    <a:pt x="11266" y="8709"/>
                  </a:lnTo>
                  <a:lnTo>
                    <a:pt x="11093" y="8536"/>
                  </a:lnTo>
                  <a:lnTo>
                    <a:pt x="10920" y="8363"/>
                  </a:lnTo>
                  <a:lnTo>
                    <a:pt x="10678" y="8260"/>
                  </a:lnTo>
                  <a:lnTo>
                    <a:pt x="10471" y="8121"/>
                  </a:lnTo>
                  <a:lnTo>
                    <a:pt x="10229" y="7914"/>
                  </a:lnTo>
                  <a:lnTo>
                    <a:pt x="9503" y="7327"/>
                  </a:lnTo>
                  <a:lnTo>
                    <a:pt x="8536" y="6497"/>
                  </a:lnTo>
                  <a:lnTo>
                    <a:pt x="7430" y="5495"/>
                  </a:lnTo>
                  <a:lnTo>
                    <a:pt x="4873" y="3042"/>
                  </a:lnTo>
                  <a:lnTo>
                    <a:pt x="2177" y="381"/>
                  </a:lnTo>
                  <a:lnTo>
                    <a:pt x="1970" y="208"/>
                  </a:lnTo>
                  <a:lnTo>
                    <a:pt x="1763" y="104"/>
                  </a:lnTo>
                  <a:lnTo>
                    <a:pt x="1521" y="35"/>
                  </a:lnTo>
                  <a:lnTo>
                    <a:pt x="1279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89" name="Google Shape;1489;p16"/>
            <p:cNvSpPr/>
            <p:nvPr/>
          </p:nvSpPr>
          <p:spPr>
            <a:xfrm>
              <a:off x="2575450" y="3304125"/>
              <a:ext cx="307600" cy="245375"/>
            </a:xfrm>
            <a:custGeom>
              <a:avLst/>
              <a:gdLst/>
              <a:ahLst/>
              <a:cxnLst/>
              <a:rect l="l" t="t" r="r" b="b"/>
              <a:pathLst>
                <a:path w="12304" h="9815" extrusionOk="0">
                  <a:moveTo>
                    <a:pt x="10921" y="1"/>
                  </a:moveTo>
                  <a:lnTo>
                    <a:pt x="10506" y="70"/>
                  </a:lnTo>
                  <a:lnTo>
                    <a:pt x="10091" y="139"/>
                  </a:lnTo>
                  <a:lnTo>
                    <a:pt x="9677" y="243"/>
                  </a:lnTo>
                  <a:lnTo>
                    <a:pt x="9262" y="346"/>
                  </a:lnTo>
                  <a:lnTo>
                    <a:pt x="8467" y="657"/>
                  </a:lnTo>
                  <a:lnTo>
                    <a:pt x="7672" y="1037"/>
                  </a:lnTo>
                  <a:lnTo>
                    <a:pt x="6878" y="1452"/>
                  </a:lnTo>
                  <a:lnTo>
                    <a:pt x="6152" y="1970"/>
                  </a:lnTo>
                  <a:lnTo>
                    <a:pt x="5426" y="2489"/>
                  </a:lnTo>
                  <a:lnTo>
                    <a:pt x="4735" y="3076"/>
                  </a:lnTo>
                  <a:lnTo>
                    <a:pt x="4044" y="3664"/>
                  </a:lnTo>
                  <a:lnTo>
                    <a:pt x="3422" y="4251"/>
                  </a:lnTo>
                  <a:lnTo>
                    <a:pt x="2800" y="4873"/>
                  </a:lnTo>
                  <a:lnTo>
                    <a:pt x="2213" y="5495"/>
                  </a:lnTo>
                  <a:lnTo>
                    <a:pt x="1176" y="6670"/>
                  </a:lnTo>
                  <a:lnTo>
                    <a:pt x="312" y="7707"/>
                  </a:lnTo>
                  <a:lnTo>
                    <a:pt x="139" y="7949"/>
                  </a:lnTo>
                  <a:lnTo>
                    <a:pt x="70" y="8156"/>
                  </a:lnTo>
                  <a:lnTo>
                    <a:pt x="1" y="8398"/>
                  </a:lnTo>
                  <a:lnTo>
                    <a:pt x="1" y="8640"/>
                  </a:lnTo>
                  <a:lnTo>
                    <a:pt x="35" y="8882"/>
                  </a:lnTo>
                  <a:lnTo>
                    <a:pt x="139" y="9124"/>
                  </a:lnTo>
                  <a:lnTo>
                    <a:pt x="277" y="9331"/>
                  </a:lnTo>
                  <a:lnTo>
                    <a:pt x="450" y="9504"/>
                  </a:lnTo>
                  <a:lnTo>
                    <a:pt x="658" y="9642"/>
                  </a:lnTo>
                  <a:lnTo>
                    <a:pt x="865" y="9746"/>
                  </a:lnTo>
                  <a:lnTo>
                    <a:pt x="1072" y="9815"/>
                  </a:lnTo>
                  <a:lnTo>
                    <a:pt x="1280" y="9815"/>
                  </a:lnTo>
                  <a:lnTo>
                    <a:pt x="1556" y="9780"/>
                  </a:lnTo>
                  <a:lnTo>
                    <a:pt x="1798" y="9711"/>
                  </a:lnTo>
                  <a:lnTo>
                    <a:pt x="2040" y="9573"/>
                  </a:lnTo>
                  <a:lnTo>
                    <a:pt x="2247" y="9365"/>
                  </a:lnTo>
                  <a:lnTo>
                    <a:pt x="3042" y="8432"/>
                  </a:lnTo>
                  <a:lnTo>
                    <a:pt x="3975" y="7396"/>
                  </a:lnTo>
                  <a:lnTo>
                    <a:pt x="5012" y="6290"/>
                  </a:lnTo>
                  <a:lnTo>
                    <a:pt x="5565" y="5737"/>
                  </a:lnTo>
                  <a:lnTo>
                    <a:pt x="6117" y="5219"/>
                  </a:lnTo>
                  <a:lnTo>
                    <a:pt x="6705" y="4735"/>
                  </a:lnTo>
                  <a:lnTo>
                    <a:pt x="7327" y="4251"/>
                  </a:lnTo>
                  <a:lnTo>
                    <a:pt x="7949" y="3802"/>
                  </a:lnTo>
                  <a:lnTo>
                    <a:pt x="8571" y="3422"/>
                  </a:lnTo>
                  <a:lnTo>
                    <a:pt x="9227" y="3111"/>
                  </a:lnTo>
                  <a:lnTo>
                    <a:pt x="9850" y="2834"/>
                  </a:lnTo>
                  <a:lnTo>
                    <a:pt x="10506" y="2662"/>
                  </a:lnTo>
                  <a:lnTo>
                    <a:pt x="10852" y="2592"/>
                  </a:lnTo>
                  <a:lnTo>
                    <a:pt x="11163" y="2558"/>
                  </a:lnTo>
                  <a:lnTo>
                    <a:pt x="11405" y="2489"/>
                  </a:lnTo>
                  <a:lnTo>
                    <a:pt x="11646" y="2420"/>
                  </a:lnTo>
                  <a:lnTo>
                    <a:pt x="11854" y="2281"/>
                  </a:lnTo>
                  <a:lnTo>
                    <a:pt x="12027" y="2109"/>
                  </a:lnTo>
                  <a:lnTo>
                    <a:pt x="12165" y="1901"/>
                  </a:lnTo>
                  <a:lnTo>
                    <a:pt x="12268" y="1659"/>
                  </a:lnTo>
                  <a:lnTo>
                    <a:pt x="12303" y="1417"/>
                  </a:lnTo>
                  <a:lnTo>
                    <a:pt x="12303" y="1176"/>
                  </a:lnTo>
                  <a:lnTo>
                    <a:pt x="12268" y="899"/>
                  </a:lnTo>
                  <a:lnTo>
                    <a:pt x="12165" y="692"/>
                  </a:lnTo>
                  <a:lnTo>
                    <a:pt x="12027" y="484"/>
                  </a:lnTo>
                  <a:lnTo>
                    <a:pt x="11854" y="312"/>
                  </a:lnTo>
                  <a:lnTo>
                    <a:pt x="11646" y="173"/>
                  </a:lnTo>
                  <a:lnTo>
                    <a:pt x="11439" y="70"/>
                  </a:lnTo>
                  <a:lnTo>
                    <a:pt x="11197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90" name="Google Shape;1490;p16"/>
            <p:cNvSpPr/>
            <p:nvPr/>
          </p:nvSpPr>
          <p:spPr>
            <a:xfrm>
              <a:off x="2291225" y="1164225"/>
              <a:ext cx="229825" cy="150350"/>
            </a:xfrm>
            <a:custGeom>
              <a:avLst/>
              <a:gdLst/>
              <a:ahLst/>
              <a:cxnLst/>
              <a:rect l="l" t="t" r="r" b="b"/>
              <a:pathLst>
                <a:path w="9193" h="6014" extrusionOk="0">
                  <a:moveTo>
                    <a:pt x="139" y="0"/>
                  </a:moveTo>
                  <a:lnTo>
                    <a:pt x="70" y="35"/>
                  </a:lnTo>
                  <a:lnTo>
                    <a:pt x="1" y="104"/>
                  </a:lnTo>
                  <a:lnTo>
                    <a:pt x="1" y="208"/>
                  </a:lnTo>
                  <a:lnTo>
                    <a:pt x="1" y="277"/>
                  </a:lnTo>
                  <a:lnTo>
                    <a:pt x="70" y="346"/>
                  </a:lnTo>
                  <a:lnTo>
                    <a:pt x="139" y="381"/>
                  </a:lnTo>
                  <a:lnTo>
                    <a:pt x="208" y="415"/>
                  </a:lnTo>
                  <a:lnTo>
                    <a:pt x="5081" y="415"/>
                  </a:lnTo>
                  <a:lnTo>
                    <a:pt x="8813" y="5944"/>
                  </a:lnTo>
                  <a:lnTo>
                    <a:pt x="8882" y="6013"/>
                  </a:lnTo>
                  <a:lnTo>
                    <a:pt x="8986" y="6013"/>
                  </a:lnTo>
                  <a:lnTo>
                    <a:pt x="9089" y="5979"/>
                  </a:lnTo>
                  <a:lnTo>
                    <a:pt x="9158" y="5944"/>
                  </a:lnTo>
                  <a:lnTo>
                    <a:pt x="9193" y="5840"/>
                  </a:lnTo>
                  <a:lnTo>
                    <a:pt x="9193" y="5771"/>
                  </a:lnTo>
                  <a:lnTo>
                    <a:pt x="9158" y="5702"/>
                  </a:lnTo>
                  <a:lnTo>
                    <a:pt x="5357" y="70"/>
                  </a:lnTo>
                  <a:lnTo>
                    <a:pt x="5288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91" name="Google Shape;1491;p16"/>
            <p:cNvSpPr/>
            <p:nvPr/>
          </p:nvSpPr>
          <p:spPr>
            <a:xfrm>
              <a:off x="1823850" y="1149550"/>
              <a:ext cx="143450" cy="39750"/>
            </a:xfrm>
            <a:custGeom>
              <a:avLst/>
              <a:gdLst/>
              <a:ahLst/>
              <a:cxnLst/>
              <a:rect l="l" t="t" r="r" b="b"/>
              <a:pathLst>
                <a:path w="5738" h="1590" extrusionOk="0">
                  <a:moveTo>
                    <a:pt x="174" y="0"/>
                  </a:moveTo>
                  <a:lnTo>
                    <a:pt x="70" y="69"/>
                  </a:lnTo>
                  <a:lnTo>
                    <a:pt x="1" y="173"/>
                  </a:lnTo>
                  <a:lnTo>
                    <a:pt x="1" y="311"/>
                  </a:lnTo>
                  <a:lnTo>
                    <a:pt x="1" y="1244"/>
                  </a:lnTo>
                  <a:lnTo>
                    <a:pt x="1" y="1382"/>
                  </a:lnTo>
                  <a:lnTo>
                    <a:pt x="70" y="1486"/>
                  </a:lnTo>
                  <a:lnTo>
                    <a:pt x="174" y="1555"/>
                  </a:lnTo>
                  <a:lnTo>
                    <a:pt x="312" y="1590"/>
                  </a:lnTo>
                  <a:lnTo>
                    <a:pt x="5426" y="1590"/>
                  </a:lnTo>
                  <a:lnTo>
                    <a:pt x="5564" y="1555"/>
                  </a:lnTo>
                  <a:lnTo>
                    <a:pt x="5668" y="1486"/>
                  </a:lnTo>
                  <a:lnTo>
                    <a:pt x="5737" y="1382"/>
                  </a:lnTo>
                  <a:lnTo>
                    <a:pt x="5737" y="1244"/>
                  </a:lnTo>
                  <a:lnTo>
                    <a:pt x="5737" y="311"/>
                  </a:lnTo>
                  <a:lnTo>
                    <a:pt x="5737" y="173"/>
                  </a:lnTo>
                  <a:lnTo>
                    <a:pt x="5668" y="69"/>
                  </a:lnTo>
                  <a:lnTo>
                    <a:pt x="5564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92" name="Google Shape;1492;p16"/>
            <p:cNvSpPr/>
            <p:nvPr/>
          </p:nvSpPr>
          <p:spPr>
            <a:xfrm>
              <a:off x="1823850" y="1149550"/>
              <a:ext cx="143450" cy="39750"/>
            </a:xfrm>
            <a:custGeom>
              <a:avLst/>
              <a:gdLst/>
              <a:ahLst/>
              <a:cxnLst/>
              <a:rect l="l" t="t" r="r" b="b"/>
              <a:pathLst>
                <a:path w="5738" h="1590" fill="none" extrusionOk="0">
                  <a:moveTo>
                    <a:pt x="5426" y="0"/>
                  </a:moveTo>
                  <a:lnTo>
                    <a:pt x="312" y="0"/>
                  </a:lnTo>
                  <a:lnTo>
                    <a:pt x="312" y="0"/>
                  </a:lnTo>
                  <a:lnTo>
                    <a:pt x="174" y="0"/>
                  </a:lnTo>
                  <a:lnTo>
                    <a:pt x="70" y="69"/>
                  </a:lnTo>
                  <a:lnTo>
                    <a:pt x="1" y="173"/>
                  </a:lnTo>
                  <a:lnTo>
                    <a:pt x="1" y="311"/>
                  </a:lnTo>
                  <a:lnTo>
                    <a:pt x="1" y="1244"/>
                  </a:lnTo>
                  <a:lnTo>
                    <a:pt x="1" y="1244"/>
                  </a:lnTo>
                  <a:lnTo>
                    <a:pt x="1" y="1382"/>
                  </a:lnTo>
                  <a:lnTo>
                    <a:pt x="70" y="1486"/>
                  </a:lnTo>
                  <a:lnTo>
                    <a:pt x="174" y="1555"/>
                  </a:lnTo>
                  <a:lnTo>
                    <a:pt x="312" y="1590"/>
                  </a:lnTo>
                  <a:lnTo>
                    <a:pt x="5426" y="1590"/>
                  </a:lnTo>
                  <a:lnTo>
                    <a:pt x="5426" y="1590"/>
                  </a:lnTo>
                  <a:lnTo>
                    <a:pt x="5564" y="1555"/>
                  </a:lnTo>
                  <a:lnTo>
                    <a:pt x="5668" y="1486"/>
                  </a:lnTo>
                  <a:lnTo>
                    <a:pt x="5737" y="1382"/>
                  </a:lnTo>
                  <a:lnTo>
                    <a:pt x="5737" y="1244"/>
                  </a:lnTo>
                  <a:lnTo>
                    <a:pt x="5737" y="311"/>
                  </a:lnTo>
                  <a:lnTo>
                    <a:pt x="5737" y="311"/>
                  </a:lnTo>
                  <a:lnTo>
                    <a:pt x="5737" y="173"/>
                  </a:lnTo>
                  <a:lnTo>
                    <a:pt x="5668" y="69"/>
                  </a:lnTo>
                  <a:lnTo>
                    <a:pt x="5564" y="0"/>
                  </a:lnTo>
                  <a:lnTo>
                    <a:pt x="542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93" name="Google Shape;1493;p16"/>
            <p:cNvSpPr/>
            <p:nvPr/>
          </p:nvSpPr>
          <p:spPr>
            <a:xfrm>
              <a:off x="2019100" y="1149550"/>
              <a:ext cx="133075" cy="39750"/>
            </a:xfrm>
            <a:custGeom>
              <a:avLst/>
              <a:gdLst/>
              <a:ahLst/>
              <a:cxnLst/>
              <a:rect l="l" t="t" r="r" b="b"/>
              <a:pathLst>
                <a:path w="5323" h="1590" extrusionOk="0">
                  <a:moveTo>
                    <a:pt x="173" y="0"/>
                  </a:moveTo>
                  <a:lnTo>
                    <a:pt x="70" y="69"/>
                  </a:lnTo>
                  <a:lnTo>
                    <a:pt x="1" y="173"/>
                  </a:lnTo>
                  <a:lnTo>
                    <a:pt x="1" y="276"/>
                  </a:lnTo>
                  <a:lnTo>
                    <a:pt x="1" y="1279"/>
                  </a:lnTo>
                  <a:lnTo>
                    <a:pt x="1" y="1417"/>
                  </a:lnTo>
                  <a:lnTo>
                    <a:pt x="70" y="1486"/>
                  </a:lnTo>
                  <a:lnTo>
                    <a:pt x="173" y="1555"/>
                  </a:lnTo>
                  <a:lnTo>
                    <a:pt x="277" y="1590"/>
                  </a:lnTo>
                  <a:lnTo>
                    <a:pt x="5011" y="1590"/>
                  </a:lnTo>
                  <a:lnTo>
                    <a:pt x="5115" y="1555"/>
                  </a:lnTo>
                  <a:lnTo>
                    <a:pt x="5219" y="1486"/>
                  </a:lnTo>
                  <a:lnTo>
                    <a:pt x="5288" y="1417"/>
                  </a:lnTo>
                  <a:lnTo>
                    <a:pt x="5322" y="1279"/>
                  </a:lnTo>
                  <a:lnTo>
                    <a:pt x="5322" y="276"/>
                  </a:lnTo>
                  <a:lnTo>
                    <a:pt x="5288" y="173"/>
                  </a:lnTo>
                  <a:lnTo>
                    <a:pt x="5219" y="69"/>
                  </a:lnTo>
                  <a:lnTo>
                    <a:pt x="5115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94" name="Google Shape;1494;p16"/>
            <p:cNvSpPr/>
            <p:nvPr/>
          </p:nvSpPr>
          <p:spPr>
            <a:xfrm>
              <a:off x="2019100" y="1149550"/>
              <a:ext cx="133075" cy="39750"/>
            </a:xfrm>
            <a:custGeom>
              <a:avLst/>
              <a:gdLst/>
              <a:ahLst/>
              <a:cxnLst/>
              <a:rect l="l" t="t" r="r" b="b"/>
              <a:pathLst>
                <a:path w="5323" h="1590" fill="none" extrusionOk="0">
                  <a:moveTo>
                    <a:pt x="5011" y="0"/>
                  </a:moveTo>
                  <a:lnTo>
                    <a:pt x="277" y="0"/>
                  </a:lnTo>
                  <a:lnTo>
                    <a:pt x="277" y="0"/>
                  </a:lnTo>
                  <a:lnTo>
                    <a:pt x="173" y="0"/>
                  </a:lnTo>
                  <a:lnTo>
                    <a:pt x="70" y="69"/>
                  </a:lnTo>
                  <a:lnTo>
                    <a:pt x="1" y="173"/>
                  </a:lnTo>
                  <a:lnTo>
                    <a:pt x="1" y="276"/>
                  </a:lnTo>
                  <a:lnTo>
                    <a:pt x="1" y="1279"/>
                  </a:lnTo>
                  <a:lnTo>
                    <a:pt x="1" y="1279"/>
                  </a:lnTo>
                  <a:lnTo>
                    <a:pt x="1" y="1417"/>
                  </a:lnTo>
                  <a:lnTo>
                    <a:pt x="70" y="1486"/>
                  </a:lnTo>
                  <a:lnTo>
                    <a:pt x="173" y="1555"/>
                  </a:lnTo>
                  <a:lnTo>
                    <a:pt x="277" y="1590"/>
                  </a:lnTo>
                  <a:lnTo>
                    <a:pt x="5011" y="1590"/>
                  </a:lnTo>
                  <a:lnTo>
                    <a:pt x="5011" y="1590"/>
                  </a:lnTo>
                  <a:lnTo>
                    <a:pt x="5115" y="1555"/>
                  </a:lnTo>
                  <a:lnTo>
                    <a:pt x="5219" y="1486"/>
                  </a:lnTo>
                  <a:lnTo>
                    <a:pt x="5288" y="1417"/>
                  </a:lnTo>
                  <a:lnTo>
                    <a:pt x="5322" y="1279"/>
                  </a:lnTo>
                  <a:lnTo>
                    <a:pt x="5322" y="276"/>
                  </a:lnTo>
                  <a:lnTo>
                    <a:pt x="5322" y="276"/>
                  </a:lnTo>
                  <a:lnTo>
                    <a:pt x="5288" y="173"/>
                  </a:lnTo>
                  <a:lnTo>
                    <a:pt x="5219" y="69"/>
                  </a:lnTo>
                  <a:lnTo>
                    <a:pt x="5115" y="0"/>
                  </a:lnTo>
                  <a:lnTo>
                    <a:pt x="501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95" name="Google Shape;1495;p16"/>
            <p:cNvSpPr/>
            <p:nvPr/>
          </p:nvSpPr>
          <p:spPr>
            <a:xfrm>
              <a:off x="2165975" y="1149550"/>
              <a:ext cx="82950" cy="39750"/>
            </a:xfrm>
            <a:custGeom>
              <a:avLst/>
              <a:gdLst/>
              <a:ahLst/>
              <a:cxnLst/>
              <a:rect l="l" t="t" r="r" b="b"/>
              <a:pathLst>
                <a:path w="3318" h="1590" extrusionOk="0">
                  <a:moveTo>
                    <a:pt x="208" y="0"/>
                  </a:moveTo>
                  <a:lnTo>
                    <a:pt x="104" y="69"/>
                  </a:lnTo>
                  <a:lnTo>
                    <a:pt x="35" y="173"/>
                  </a:lnTo>
                  <a:lnTo>
                    <a:pt x="0" y="276"/>
                  </a:lnTo>
                  <a:lnTo>
                    <a:pt x="0" y="1279"/>
                  </a:lnTo>
                  <a:lnTo>
                    <a:pt x="35" y="1417"/>
                  </a:lnTo>
                  <a:lnTo>
                    <a:pt x="104" y="1486"/>
                  </a:lnTo>
                  <a:lnTo>
                    <a:pt x="208" y="1555"/>
                  </a:lnTo>
                  <a:lnTo>
                    <a:pt x="311" y="1590"/>
                  </a:lnTo>
                  <a:lnTo>
                    <a:pt x="3007" y="1590"/>
                  </a:lnTo>
                  <a:lnTo>
                    <a:pt x="3145" y="1555"/>
                  </a:lnTo>
                  <a:lnTo>
                    <a:pt x="3214" y="1486"/>
                  </a:lnTo>
                  <a:lnTo>
                    <a:pt x="3283" y="1417"/>
                  </a:lnTo>
                  <a:lnTo>
                    <a:pt x="3318" y="1279"/>
                  </a:lnTo>
                  <a:lnTo>
                    <a:pt x="3318" y="276"/>
                  </a:lnTo>
                  <a:lnTo>
                    <a:pt x="3283" y="173"/>
                  </a:lnTo>
                  <a:lnTo>
                    <a:pt x="3214" y="69"/>
                  </a:lnTo>
                  <a:lnTo>
                    <a:pt x="3145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96" name="Google Shape;1496;p16"/>
            <p:cNvSpPr/>
            <p:nvPr/>
          </p:nvSpPr>
          <p:spPr>
            <a:xfrm>
              <a:off x="2165975" y="1149550"/>
              <a:ext cx="82950" cy="39750"/>
            </a:xfrm>
            <a:custGeom>
              <a:avLst/>
              <a:gdLst/>
              <a:ahLst/>
              <a:cxnLst/>
              <a:rect l="l" t="t" r="r" b="b"/>
              <a:pathLst>
                <a:path w="3318" h="1590" fill="none" extrusionOk="0">
                  <a:moveTo>
                    <a:pt x="3007" y="0"/>
                  </a:moveTo>
                  <a:lnTo>
                    <a:pt x="311" y="0"/>
                  </a:lnTo>
                  <a:lnTo>
                    <a:pt x="311" y="0"/>
                  </a:lnTo>
                  <a:lnTo>
                    <a:pt x="208" y="0"/>
                  </a:lnTo>
                  <a:lnTo>
                    <a:pt x="104" y="69"/>
                  </a:lnTo>
                  <a:lnTo>
                    <a:pt x="35" y="173"/>
                  </a:lnTo>
                  <a:lnTo>
                    <a:pt x="0" y="276"/>
                  </a:lnTo>
                  <a:lnTo>
                    <a:pt x="0" y="1279"/>
                  </a:lnTo>
                  <a:lnTo>
                    <a:pt x="0" y="1279"/>
                  </a:lnTo>
                  <a:lnTo>
                    <a:pt x="35" y="1417"/>
                  </a:lnTo>
                  <a:lnTo>
                    <a:pt x="104" y="1486"/>
                  </a:lnTo>
                  <a:lnTo>
                    <a:pt x="208" y="1555"/>
                  </a:lnTo>
                  <a:lnTo>
                    <a:pt x="311" y="1590"/>
                  </a:lnTo>
                  <a:lnTo>
                    <a:pt x="3007" y="1590"/>
                  </a:lnTo>
                  <a:lnTo>
                    <a:pt x="3007" y="1590"/>
                  </a:lnTo>
                  <a:lnTo>
                    <a:pt x="3145" y="1555"/>
                  </a:lnTo>
                  <a:lnTo>
                    <a:pt x="3214" y="1486"/>
                  </a:lnTo>
                  <a:lnTo>
                    <a:pt x="3283" y="1417"/>
                  </a:lnTo>
                  <a:lnTo>
                    <a:pt x="3318" y="1279"/>
                  </a:lnTo>
                  <a:lnTo>
                    <a:pt x="3318" y="276"/>
                  </a:lnTo>
                  <a:lnTo>
                    <a:pt x="3318" y="276"/>
                  </a:lnTo>
                  <a:lnTo>
                    <a:pt x="3283" y="173"/>
                  </a:lnTo>
                  <a:lnTo>
                    <a:pt x="3214" y="69"/>
                  </a:lnTo>
                  <a:lnTo>
                    <a:pt x="3145" y="0"/>
                  </a:lnTo>
                  <a:lnTo>
                    <a:pt x="300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97" name="Google Shape;1497;p16"/>
            <p:cNvSpPr/>
            <p:nvPr/>
          </p:nvSpPr>
          <p:spPr>
            <a:xfrm>
              <a:off x="2394050" y="1300725"/>
              <a:ext cx="286825" cy="266975"/>
            </a:xfrm>
            <a:custGeom>
              <a:avLst/>
              <a:gdLst/>
              <a:ahLst/>
              <a:cxnLst/>
              <a:rect l="l" t="t" r="r" b="b"/>
              <a:pathLst>
                <a:path w="11473" h="10679" extrusionOk="0">
                  <a:moveTo>
                    <a:pt x="1037" y="0"/>
                  </a:moveTo>
                  <a:lnTo>
                    <a:pt x="795" y="69"/>
                  </a:lnTo>
                  <a:lnTo>
                    <a:pt x="588" y="208"/>
                  </a:lnTo>
                  <a:lnTo>
                    <a:pt x="380" y="380"/>
                  </a:lnTo>
                  <a:lnTo>
                    <a:pt x="207" y="553"/>
                  </a:lnTo>
                  <a:lnTo>
                    <a:pt x="104" y="795"/>
                  </a:lnTo>
                  <a:lnTo>
                    <a:pt x="35" y="1037"/>
                  </a:lnTo>
                  <a:lnTo>
                    <a:pt x="0" y="1279"/>
                  </a:lnTo>
                  <a:lnTo>
                    <a:pt x="35" y="1521"/>
                  </a:lnTo>
                  <a:lnTo>
                    <a:pt x="104" y="1763"/>
                  </a:lnTo>
                  <a:lnTo>
                    <a:pt x="207" y="1970"/>
                  </a:lnTo>
                  <a:lnTo>
                    <a:pt x="380" y="2177"/>
                  </a:lnTo>
                  <a:lnTo>
                    <a:pt x="1590" y="3387"/>
                  </a:lnTo>
                  <a:lnTo>
                    <a:pt x="4354" y="6048"/>
                  </a:lnTo>
                  <a:lnTo>
                    <a:pt x="5806" y="7430"/>
                  </a:lnTo>
                  <a:lnTo>
                    <a:pt x="6980" y="8467"/>
                  </a:lnTo>
                  <a:lnTo>
                    <a:pt x="7844" y="9261"/>
                  </a:lnTo>
                  <a:lnTo>
                    <a:pt x="8536" y="9814"/>
                  </a:lnTo>
                  <a:lnTo>
                    <a:pt x="8985" y="10160"/>
                  </a:lnTo>
                  <a:lnTo>
                    <a:pt x="9330" y="10402"/>
                  </a:lnTo>
                  <a:lnTo>
                    <a:pt x="9572" y="10506"/>
                  </a:lnTo>
                  <a:lnTo>
                    <a:pt x="9710" y="10575"/>
                  </a:lnTo>
                  <a:lnTo>
                    <a:pt x="9952" y="10644"/>
                  </a:lnTo>
                  <a:lnTo>
                    <a:pt x="10194" y="10678"/>
                  </a:lnTo>
                  <a:lnTo>
                    <a:pt x="10402" y="10678"/>
                  </a:lnTo>
                  <a:lnTo>
                    <a:pt x="10574" y="10644"/>
                  </a:lnTo>
                  <a:lnTo>
                    <a:pt x="10747" y="10575"/>
                  </a:lnTo>
                  <a:lnTo>
                    <a:pt x="10920" y="10471"/>
                  </a:lnTo>
                  <a:lnTo>
                    <a:pt x="11058" y="10367"/>
                  </a:lnTo>
                  <a:lnTo>
                    <a:pt x="11196" y="10229"/>
                  </a:lnTo>
                  <a:lnTo>
                    <a:pt x="11300" y="10056"/>
                  </a:lnTo>
                  <a:lnTo>
                    <a:pt x="11369" y="9884"/>
                  </a:lnTo>
                  <a:lnTo>
                    <a:pt x="11473" y="9642"/>
                  </a:lnTo>
                  <a:lnTo>
                    <a:pt x="11473" y="9400"/>
                  </a:lnTo>
                  <a:lnTo>
                    <a:pt x="11438" y="9123"/>
                  </a:lnTo>
                  <a:lnTo>
                    <a:pt x="11369" y="8916"/>
                  </a:lnTo>
                  <a:lnTo>
                    <a:pt x="11265" y="8709"/>
                  </a:lnTo>
                  <a:lnTo>
                    <a:pt x="11093" y="8501"/>
                  </a:lnTo>
                  <a:lnTo>
                    <a:pt x="10920" y="8328"/>
                  </a:lnTo>
                  <a:lnTo>
                    <a:pt x="10678" y="8225"/>
                  </a:lnTo>
                  <a:lnTo>
                    <a:pt x="10505" y="8087"/>
                  </a:lnTo>
                  <a:lnTo>
                    <a:pt x="10229" y="7914"/>
                  </a:lnTo>
                  <a:lnTo>
                    <a:pt x="9503" y="7326"/>
                  </a:lnTo>
                  <a:lnTo>
                    <a:pt x="8570" y="6462"/>
                  </a:lnTo>
                  <a:lnTo>
                    <a:pt x="7430" y="5460"/>
                  </a:lnTo>
                  <a:lnTo>
                    <a:pt x="4873" y="3007"/>
                  </a:lnTo>
                  <a:lnTo>
                    <a:pt x="2177" y="380"/>
                  </a:lnTo>
                  <a:lnTo>
                    <a:pt x="1970" y="208"/>
                  </a:lnTo>
                  <a:lnTo>
                    <a:pt x="1762" y="69"/>
                  </a:lnTo>
                  <a:lnTo>
                    <a:pt x="1521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98" name="Google Shape;1498;p16"/>
            <p:cNvSpPr/>
            <p:nvPr/>
          </p:nvSpPr>
          <p:spPr>
            <a:xfrm>
              <a:off x="2387125" y="1316275"/>
              <a:ext cx="308450" cy="245375"/>
            </a:xfrm>
            <a:custGeom>
              <a:avLst/>
              <a:gdLst/>
              <a:ahLst/>
              <a:cxnLst/>
              <a:rect l="l" t="t" r="r" b="b"/>
              <a:pathLst>
                <a:path w="12338" h="9815" extrusionOk="0">
                  <a:moveTo>
                    <a:pt x="10920" y="0"/>
                  </a:moveTo>
                  <a:lnTo>
                    <a:pt x="10506" y="35"/>
                  </a:lnTo>
                  <a:lnTo>
                    <a:pt x="10091" y="104"/>
                  </a:lnTo>
                  <a:lnTo>
                    <a:pt x="9676" y="208"/>
                  </a:lnTo>
                  <a:lnTo>
                    <a:pt x="9262" y="346"/>
                  </a:lnTo>
                  <a:lnTo>
                    <a:pt x="8467" y="622"/>
                  </a:lnTo>
                  <a:lnTo>
                    <a:pt x="7672" y="1003"/>
                  </a:lnTo>
                  <a:lnTo>
                    <a:pt x="6912" y="1452"/>
                  </a:lnTo>
                  <a:lnTo>
                    <a:pt x="6152" y="1936"/>
                  </a:lnTo>
                  <a:lnTo>
                    <a:pt x="5426" y="2454"/>
                  </a:lnTo>
                  <a:lnTo>
                    <a:pt x="4735" y="3041"/>
                  </a:lnTo>
                  <a:lnTo>
                    <a:pt x="4044" y="3629"/>
                  </a:lnTo>
                  <a:lnTo>
                    <a:pt x="3422" y="4251"/>
                  </a:lnTo>
                  <a:lnTo>
                    <a:pt x="2800" y="4873"/>
                  </a:lnTo>
                  <a:lnTo>
                    <a:pt x="2247" y="5460"/>
                  </a:lnTo>
                  <a:lnTo>
                    <a:pt x="1210" y="6635"/>
                  </a:lnTo>
                  <a:lnTo>
                    <a:pt x="312" y="7706"/>
                  </a:lnTo>
                  <a:lnTo>
                    <a:pt x="173" y="7914"/>
                  </a:lnTo>
                  <a:lnTo>
                    <a:pt x="70" y="8156"/>
                  </a:lnTo>
                  <a:lnTo>
                    <a:pt x="1" y="8398"/>
                  </a:lnTo>
                  <a:lnTo>
                    <a:pt x="1" y="8639"/>
                  </a:lnTo>
                  <a:lnTo>
                    <a:pt x="70" y="8881"/>
                  </a:lnTo>
                  <a:lnTo>
                    <a:pt x="139" y="9089"/>
                  </a:lnTo>
                  <a:lnTo>
                    <a:pt x="277" y="9331"/>
                  </a:lnTo>
                  <a:lnTo>
                    <a:pt x="484" y="9503"/>
                  </a:lnTo>
                  <a:lnTo>
                    <a:pt x="657" y="9642"/>
                  </a:lnTo>
                  <a:lnTo>
                    <a:pt x="865" y="9711"/>
                  </a:lnTo>
                  <a:lnTo>
                    <a:pt x="1072" y="9780"/>
                  </a:lnTo>
                  <a:lnTo>
                    <a:pt x="1279" y="9814"/>
                  </a:lnTo>
                  <a:lnTo>
                    <a:pt x="1556" y="9780"/>
                  </a:lnTo>
                  <a:lnTo>
                    <a:pt x="1832" y="9676"/>
                  </a:lnTo>
                  <a:lnTo>
                    <a:pt x="2074" y="9538"/>
                  </a:lnTo>
                  <a:lnTo>
                    <a:pt x="2281" y="9331"/>
                  </a:lnTo>
                  <a:lnTo>
                    <a:pt x="3042" y="8398"/>
                  </a:lnTo>
                  <a:lnTo>
                    <a:pt x="3975" y="7361"/>
                  </a:lnTo>
                  <a:lnTo>
                    <a:pt x="5011" y="6290"/>
                  </a:lnTo>
                  <a:lnTo>
                    <a:pt x="5564" y="5737"/>
                  </a:lnTo>
                  <a:lnTo>
                    <a:pt x="6117" y="5218"/>
                  </a:lnTo>
                  <a:lnTo>
                    <a:pt x="6739" y="4700"/>
                  </a:lnTo>
                  <a:lnTo>
                    <a:pt x="7327" y="4216"/>
                  </a:lnTo>
                  <a:lnTo>
                    <a:pt x="7949" y="3802"/>
                  </a:lnTo>
                  <a:lnTo>
                    <a:pt x="8571" y="3421"/>
                  </a:lnTo>
                  <a:lnTo>
                    <a:pt x="9227" y="3076"/>
                  </a:lnTo>
                  <a:lnTo>
                    <a:pt x="9884" y="2834"/>
                  </a:lnTo>
                  <a:lnTo>
                    <a:pt x="10506" y="2627"/>
                  </a:lnTo>
                  <a:lnTo>
                    <a:pt x="10851" y="2558"/>
                  </a:lnTo>
                  <a:lnTo>
                    <a:pt x="11162" y="2523"/>
                  </a:lnTo>
                  <a:lnTo>
                    <a:pt x="11439" y="2488"/>
                  </a:lnTo>
                  <a:lnTo>
                    <a:pt x="11646" y="2385"/>
                  </a:lnTo>
                  <a:lnTo>
                    <a:pt x="11853" y="2247"/>
                  </a:lnTo>
                  <a:lnTo>
                    <a:pt x="12026" y="2074"/>
                  </a:lnTo>
                  <a:lnTo>
                    <a:pt x="12164" y="1866"/>
                  </a:lnTo>
                  <a:lnTo>
                    <a:pt x="12268" y="1659"/>
                  </a:lnTo>
                  <a:lnTo>
                    <a:pt x="12337" y="1417"/>
                  </a:lnTo>
                  <a:lnTo>
                    <a:pt x="12337" y="1141"/>
                  </a:lnTo>
                  <a:lnTo>
                    <a:pt x="12268" y="899"/>
                  </a:lnTo>
                  <a:lnTo>
                    <a:pt x="12164" y="657"/>
                  </a:lnTo>
                  <a:lnTo>
                    <a:pt x="12061" y="450"/>
                  </a:lnTo>
                  <a:lnTo>
                    <a:pt x="11888" y="277"/>
                  </a:lnTo>
                  <a:lnTo>
                    <a:pt x="11681" y="139"/>
                  </a:lnTo>
                  <a:lnTo>
                    <a:pt x="11439" y="35"/>
                  </a:lnTo>
                  <a:lnTo>
                    <a:pt x="11197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99" name="Google Shape;1499;p16"/>
            <p:cNvSpPr/>
            <p:nvPr/>
          </p:nvSpPr>
          <p:spPr>
            <a:xfrm>
              <a:off x="3095525" y="2814300"/>
              <a:ext cx="353375" cy="327450"/>
            </a:xfrm>
            <a:custGeom>
              <a:avLst/>
              <a:gdLst/>
              <a:ahLst/>
              <a:cxnLst/>
              <a:rect l="l" t="t" r="r" b="b"/>
              <a:pathLst>
                <a:path w="14135" h="13098" extrusionOk="0">
                  <a:moveTo>
                    <a:pt x="1279" y="0"/>
                  </a:moveTo>
                  <a:lnTo>
                    <a:pt x="1038" y="35"/>
                  </a:lnTo>
                  <a:lnTo>
                    <a:pt x="830" y="104"/>
                  </a:lnTo>
                  <a:lnTo>
                    <a:pt x="588" y="208"/>
                  </a:lnTo>
                  <a:lnTo>
                    <a:pt x="381" y="380"/>
                  </a:lnTo>
                  <a:lnTo>
                    <a:pt x="243" y="588"/>
                  </a:lnTo>
                  <a:lnTo>
                    <a:pt x="105" y="795"/>
                  </a:lnTo>
                  <a:lnTo>
                    <a:pt x="35" y="1037"/>
                  </a:lnTo>
                  <a:lnTo>
                    <a:pt x="1" y="1279"/>
                  </a:lnTo>
                  <a:lnTo>
                    <a:pt x="35" y="1521"/>
                  </a:lnTo>
                  <a:lnTo>
                    <a:pt x="105" y="1763"/>
                  </a:lnTo>
                  <a:lnTo>
                    <a:pt x="243" y="1970"/>
                  </a:lnTo>
                  <a:lnTo>
                    <a:pt x="381" y="2177"/>
                  </a:lnTo>
                  <a:lnTo>
                    <a:pt x="1971" y="3767"/>
                  </a:lnTo>
                  <a:lnTo>
                    <a:pt x="3629" y="5356"/>
                  </a:lnTo>
                  <a:lnTo>
                    <a:pt x="5564" y="7222"/>
                  </a:lnTo>
                  <a:lnTo>
                    <a:pt x="7396" y="8950"/>
                  </a:lnTo>
                  <a:lnTo>
                    <a:pt x="8882" y="10298"/>
                  </a:lnTo>
                  <a:lnTo>
                    <a:pt x="10022" y="11300"/>
                  </a:lnTo>
                  <a:lnTo>
                    <a:pt x="10886" y="12026"/>
                  </a:lnTo>
                  <a:lnTo>
                    <a:pt x="11474" y="12475"/>
                  </a:lnTo>
                  <a:lnTo>
                    <a:pt x="11888" y="12751"/>
                  </a:lnTo>
                  <a:lnTo>
                    <a:pt x="12165" y="12924"/>
                  </a:lnTo>
                  <a:lnTo>
                    <a:pt x="12372" y="12993"/>
                  </a:lnTo>
                  <a:lnTo>
                    <a:pt x="12614" y="13063"/>
                  </a:lnTo>
                  <a:lnTo>
                    <a:pt x="12856" y="13097"/>
                  </a:lnTo>
                  <a:lnTo>
                    <a:pt x="13029" y="13063"/>
                  </a:lnTo>
                  <a:lnTo>
                    <a:pt x="13201" y="13028"/>
                  </a:lnTo>
                  <a:lnTo>
                    <a:pt x="13374" y="12959"/>
                  </a:lnTo>
                  <a:lnTo>
                    <a:pt x="13547" y="12855"/>
                  </a:lnTo>
                  <a:lnTo>
                    <a:pt x="13685" y="12751"/>
                  </a:lnTo>
                  <a:lnTo>
                    <a:pt x="13823" y="12613"/>
                  </a:lnTo>
                  <a:lnTo>
                    <a:pt x="13962" y="12475"/>
                  </a:lnTo>
                  <a:lnTo>
                    <a:pt x="14031" y="12268"/>
                  </a:lnTo>
                  <a:lnTo>
                    <a:pt x="14100" y="12026"/>
                  </a:lnTo>
                  <a:lnTo>
                    <a:pt x="14134" y="11784"/>
                  </a:lnTo>
                  <a:lnTo>
                    <a:pt x="14100" y="11542"/>
                  </a:lnTo>
                  <a:lnTo>
                    <a:pt x="14031" y="11300"/>
                  </a:lnTo>
                  <a:lnTo>
                    <a:pt x="13893" y="11093"/>
                  </a:lnTo>
                  <a:lnTo>
                    <a:pt x="13754" y="10885"/>
                  </a:lnTo>
                  <a:lnTo>
                    <a:pt x="13547" y="10747"/>
                  </a:lnTo>
                  <a:lnTo>
                    <a:pt x="13340" y="10609"/>
                  </a:lnTo>
                  <a:lnTo>
                    <a:pt x="13098" y="10471"/>
                  </a:lnTo>
                  <a:lnTo>
                    <a:pt x="12752" y="10229"/>
                  </a:lnTo>
                  <a:lnTo>
                    <a:pt x="11819" y="9469"/>
                  </a:lnTo>
                  <a:lnTo>
                    <a:pt x="10575" y="8397"/>
                  </a:lnTo>
                  <a:lnTo>
                    <a:pt x="9124" y="7084"/>
                  </a:lnTo>
                  <a:lnTo>
                    <a:pt x="7500" y="5529"/>
                  </a:lnTo>
                  <a:lnTo>
                    <a:pt x="5772" y="3871"/>
                  </a:lnTo>
                  <a:lnTo>
                    <a:pt x="3975" y="2143"/>
                  </a:lnTo>
                  <a:lnTo>
                    <a:pt x="2212" y="380"/>
                  </a:lnTo>
                  <a:lnTo>
                    <a:pt x="2005" y="208"/>
                  </a:lnTo>
                  <a:lnTo>
                    <a:pt x="1763" y="104"/>
                  </a:lnTo>
                  <a:lnTo>
                    <a:pt x="1556" y="35"/>
                  </a:lnTo>
                  <a:lnTo>
                    <a:pt x="1279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00" name="Google Shape;1500;p16"/>
            <p:cNvSpPr/>
            <p:nvPr/>
          </p:nvSpPr>
          <p:spPr>
            <a:xfrm>
              <a:off x="3087750" y="2834150"/>
              <a:ext cx="379300" cy="298950"/>
            </a:xfrm>
            <a:custGeom>
              <a:avLst/>
              <a:gdLst/>
              <a:ahLst/>
              <a:cxnLst/>
              <a:rect l="l" t="t" r="r" b="b"/>
              <a:pathLst>
                <a:path w="15172" h="11958" extrusionOk="0">
                  <a:moveTo>
                    <a:pt x="13789" y="1"/>
                  </a:moveTo>
                  <a:lnTo>
                    <a:pt x="13236" y="70"/>
                  </a:lnTo>
                  <a:lnTo>
                    <a:pt x="12718" y="174"/>
                  </a:lnTo>
                  <a:lnTo>
                    <a:pt x="12199" y="277"/>
                  </a:lnTo>
                  <a:lnTo>
                    <a:pt x="11681" y="450"/>
                  </a:lnTo>
                  <a:lnTo>
                    <a:pt x="11163" y="623"/>
                  </a:lnTo>
                  <a:lnTo>
                    <a:pt x="10644" y="830"/>
                  </a:lnTo>
                  <a:lnTo>
                    <a:pt x="10160" y="1038"/>
                  </a:lnTo>
                  <a:lnTo>
                    <a:pt x="9642" y="1314"/>
                  </a:lnTo>
                  <a:lnTo>
                    <a:pt x="8675" y="1867"/>
                  </a:lnTo>
                  <a:lnTo>
                    <a:pt x="7742" y="2489"/>
                  </a:lnTo>
                  <a:lnTo>
                    <a:pt x="6808" y="3180"/>
                  </a:lnTo>
                  <a:lnTo>
                    <a:pt x="5910" y="3906"/>
                  </a:lnTo>
                  <a:lnTo>
                    <a:pt x="5081" y="4666"/>
                  </a:lnTo>
                  <a:lnTo>
                    <a:pt x="4251" y="5426"/>
                  </a:lnTo>
                  <a:lnTo>
                    <a:pt x="3491" y="6221"/>
                  </a:lnTo>
                  <a:lnTo>
                    <a:pt x="2731" y="7016"/>
                  </a:lnTo>
                  <a:lnTo>
                    <a:pt x="1418" y="8502"/>
                  </a:lnTo>
                  <a:lnTo>
                    <a:pt x="277" y="9850"/>
                  </a:lnTo>
                  <a:lnTo>
                    <a:pt x="139" y="10057"/>
                  </a:lnTo>
                  <a:lnTo>
                    <a:pt x="35" y="10299"/>
                  </a:lnTo>
                  <a:lnTo>
                    <a:pt x="1" y="10541"/>
                  </a:lnTo>
                  <a:lnTo>
                    <a:pt x="1" y="10783"/>
                  </a:lnTo>
                  <a:lnTo>
                    <a:pt x="35" y="11024"/>
                  </a:lnTo>
                  <a:lnTo>
                    <a:pt x="139" y="11266"/>
                  </a:lnTo>
                  <a:lnTo>
                    <a:pt x="277" y="11474"/>
                  </a:lnTo>
                  <a:lnTo>
                    <a:pt x="450" y="11646"/>
                  </a:lnTo>
                  <a:lnTo>
                    <a:pt x="623" y="11785"/>
                  </a:lnTo>
                  <a:lnTo>
                    <a:pt x="830" y="11888"/>
                  </a:lnTo>
                  <a:lnTo>
                    <a:pt x="1038" y="11923"/>
                  </a:lnTo>
                  <a:lnTo>
                    <a:pt x="1279" y="11957"/>
                  </a:lnTo>
                  <a:lnTo>
                    <a:pt x="1556" y="11923"/>
                  </a:lnTo>
                  <a:lnTo>
                    <a:pt x="1798" y="11819"/>
                  </a:lnTo>
                  <a:lnTo>
                    <a:pt x="2040" y="11681"/>
                  </a:lnTo>
                  <a:lnTo>
                    <a:pt x="2247" y="11474"/>
                  </a:lnTo>
                  <a:lnTo>
                    <a:pt x="3284" y="10264"/>
                  </a:lnTo>
                  <a:lnTo>
                    <a:pt x="4493" y="8882"/>
                  </a:lnTo>
                  <a:lnTo>
                    <a:pt x="5150" y="8191"/>
                  </a:lnTo>
                  <a:lnTo>
                    <a:pt x="5841" y="7465"/>
                  </a:lnTo>
                  <a:lnTo>
                    <a:pt x="6567" y="6739"/>
                  </a:lnTo>
                  <a:lnTo>
                    <a:pt x="7327" y="6048"/>
                  </a:lnTo>
                  <a:lnTo>
                    <a:pt x="8122" y="5392"/>
                  </a:lnTo>
                  <a:lnTo>
                    <a:pt x="8916" y="4770"/>
                  </a:lnTo>
                  <a:lnTo>
                    <a:pt x="9746" y="4217"/>
                  </a:lnTo>
                  <a:lnTo>
                    <a:pt x="10575" y="3699"/>
                  </a:lnTo>
                  <a:lnTo>
                    <a:pt x="11439" y="3284"/>
                  </a:lnTo>
                  <a:lnTo>
                    <a:pt x="11854" y="3111"/>
                  </a:lnTo>
                  <a:lnTo>
                    <a:pt x="12268" y="2938"/>
                  </a:lnTo>
                  <a:lnTo>
                    <a:pt x="12718" y="2800"/>
                  </a:lnTo>
                  <a:lnTo>
                    <a:pt x="13132" y="2696"/>
                  </a:lnTo>
                  <a:lnTo>
                    <a:pt x="13582" y="2593"/>
                  </a:lnTo>
                  <a:lnTo>
                    <a:pt x="14031" y="2558"/>
                  </a:lnTo>
                  <a:lnTo>
                    <a:pt x="14273" y="2489"/>
                  </a:lnTo>
                  <a:lnTo>
                    <a:pt x="14515" y="2420"/>
                  </a:lnTo>
                  <a:lnTo>
                    <a:pt x="14722" y="2282"/>
                  </a:lnTo>
                  <a:lnTo>
                    <a:pt x="14895" y="2109"/>
                  </a:lnTo>
                  <a:lnTo>
                    <a:pt x="15033" y="1902"/>
                  </a:lnTo>
                  <a:lnTo>
                    <a:pt x="15137" y="1660"/>
                  </a:lnTo>
                  <a:lnTo>
                    <a:pt x="15171" y="1418"/>
                  </a:lnTo>
                  <a:lnTo>
                    <a:pt x="15171" y="1176"/>
                  </a:lnTo>
                  <a:lnTo>
                    <a:pt x="15137" y="899"/>
                  </a:lnTo>
                  <a:lnTo>
                    <a:pt x="15033" y="658"/>
                  </a:lnTo>
                  <a:lnTo>
                    <a:pt x="14895" y="485"/>
                  </a:lnTo>
                  <a:lnTo>
                    <a:pt x="14722" y="277"/>
                  </a:lnTo>
                  <a:lnTo>
                    <a:pt x="14515" y="139"/>
                  </a:lnTo>
                  <a:lnTo>
                    <a:pt x="14273" y="70"/>
                  </a:lnTo>
                  <a:lnTo>
                    <a:pt x="14031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01" name="Google Shape;1501;p16"/>
            <p:cNvSpPr/>
            <p:nvPr/>
          </p:nvSpPr>
          <p:spPr>
            <a:xfrm>
              <a:off x="2876975" y="2150800"/>
              <a:ext cx="352500" cy="326600"/>
            </a:xfrm>
            <a:custGeom>
              <a:avLst/>
              <a:gdLst/>
              <a:ahLst/>
              <a:cxnLst/>
              <a:rect l="l" t="t" r="r" b="b"/>
              <a:pathLst>
                <a:path w="14100" h="13064" extrusionOk="0">
                  <a:moveTo>
                    <a:pt x="1037" y="1"/>
                  </a:moveTo>
                  <a:lnTo>
                    <a:pt x="795" y="70"/>
                  </a:lnTo>
                  <a:lnTo>
                    <a:pt x="553" y="208"/>
                  </a:lnTo>
                  <a:lnTo>
                    <a:pt x="380" y="381"/>
                  </a:lnTo>
                  <a:lnTo>
                    <a:pt x="207" y="554"/>
                  </a:lnTo>
                  <a:lnTo>
                    <a:pt x="69" y="796"/>
                  </a:lnTo>
                  <a:lnTo>
                    <a:pt x="0" y="1038"/>
                  </a:lnTo>
                  <a:lnTo>
                    <a:pt x="0" y="1279"/>
                  </a:lnTo>
                  <a:lnTo>
                    <a:pt x="0" y="1521"/>
                  </a:lnTo>
                  <a:lnTo>
                    <a:pt x="69" y="1763"/>
                  </a:lnTo>
                  <a:lnTo>
                    <a:pt x="207" y="1971"/>
                  </a:lnTo>
                  <a:lnTo>
                    <a:pt x="380" y="2178"/>
                  </a:lnTo>
                  <a:lnTo>
                    <a:pt x="1970" y="3768"/>
                  </a:lnTo>
                  <a:lnTo>
                    <a:pt x="3594" y="5357"/>
                  </a:lnTo>
                  <a:lnTo>
                    <a:pt x="5529" y="7189"/>
                  </a:lnTo>
                  <a:lnTo>
                    <a:pt x="7395" y="8951"/>
                  </a:lnTo>
                  <a:lnTo>
                    <a:pt x="8847" y="10299"/>
                  </a:lnTo>
                  <a:lnTo>
                    <a:pt x="9987" y="11301"/>
                  </a:lnTo>
                  <a:lnTo>
                    <a:pt x="10851" y="11992"/>
                  </a:lnTo>
                  <a:lnTo>
                    <a:pt x="11438" y="12476"/>
                  </a:lnTo>
                  <a:lnTo>
                    <a:pt x="11888" y="12752"/>
                  </a:lnTo>
                  <a:lnTo>
                    <a:pt x="12164" y="12890"/>
                  </a:lnTo>
                  <a:lnTo>
                    <a:pt x="12337" y="12994"/>
                  </a:lnTo>
                  <a:lnTo>
                    <a:pt x="12579" y="13063"/>
                  </a:lnTo>
                  <a:lnTo>
                    <a:pt x="12993" y="13063"/>
                  </a:lnTo>
                  <a:lnTo>
                    <a:pt x="13201" y="13029"/>
                  </a:lnTo>
                  <a:lnTo>
                    <a:pt x="13373" y="12960"/>
                  </a:lnTo>
                  <a:lnTo>
                    <a:pt x="13512" y="12856"/>
                  </a:lnTo>
                  <a:lnTo>
                    <a:pt x="13684" y="12752"/>
                  </a:lnTo>
                  <a:lnTo>
                    <a:pt x="13823" y="12614"/>
                  </a:lnTo>
                  <a:lnTo>
                    <a:pt x="13926" y="12441"/>
                  </a:lnTo>
                  <a:lnTo>
                    <a:pt x="13995" y="12268"/>
                  </a:lnTo>
                  <a:lnTo>
                    <a:pt x="14065" y="12026"/>
                  </a:lnTo>
                  <a:lnTo>
                    <a:pt x="14099" y="11785"/>
                  </a:lnTo>
                  <a:lnTo>
                    <a:pt x="14065" y="11543"/>
                  </a:lnTo>
                  <a:lnTo>
                    <a:pt x="13995" y="11301"/>
                  </a:lnTo>
                  <a:lnTo>
                    <a:pt x="13892" y="11093"/>
                  </a:lnTo>
                  <a:lnTo>
                    <a:pt x="13719" y="10886"/>
                  </a:lnTo>
                  <a:lnTo>
                    <a:pt x="13512" y="10748"/>
                  </a:lnTo>
                  <a:lnTo>
                    <a:pt x="13304" y="10610"/>
                  </a:lnTo>
                  <a:lnTo>
                    <a:pt x="13062" y="10471"/>
                  </a:lnTo>
                  <a:lnTo>
                    <a:pt x="12717" y="10230"/>
                  </a:lnTo>
                  <a:lnTo>
                    <a:pt x="11784" y="9469"/>
                  </a:lnTo>
                  <a:lnTo>
                    <a:pt x="10574" y="8398"/>
                  </a:lnTo>
                  <a:lnTo>
                    <a:pt x="9123" y="7050"/>
                  </a:lnTo>
                  <a:lnTo>
                    <a:pt x="7464" y="5530"/>
                  </a:lnTo>
                  <a:lnTo>
                    <a:pt x="5736" y="3871"/>
                  </a:lnTo>
                  <a:lnTo>
                    <a:pt x="3940" y="2143"/>
                  </a:lnTo>
                  <a:lnTo>
                    <a:pt x="2177" y="381"/>
                  </a:lnTo>
                  <a:lnTo>
                    <a:pt x="1970" y="208"/>
                  </a:lnTo>
                  <a:lnTo>
                    <a:pt x="1762" y="70"/>
                  </a:lnTo>
                  <a:lnTo>
                    <a:pt x="1521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02" name="Google Shape;1502;p16"/>
            <p:cNvSpPr/>
            <p:nvPr/>
          </p:nvSpPr>
          <p:spPr>
            <a:xfrm>
              <a:off x="2868325" y="2170675"/>
              <a:ext cx="379275" cy="298950"/>
            </a:xfrm>
            <a:custGeom>
              <a:avLst/>
              <a:gdLst/>
              <a:ahLst/>
              <a:cxnLst/>
              <a:rect l="l" t="t" r="r" b="b"/>
              <a:pathLst>
                <a:path w="15171" h="11958" extrusionOk="0">
                  <a:moveTo>
                    <a:pt x="13789" y="1"/>
                  </a:moveTo>
                  <a:lnTo>
                    <a:pt x="13270" y="70"/>
                  </a:lnTo>
                  <a:lnTo>
                    <a:pt x="12717" y="139"/>
                  </a:lnTo>
                  <a:lnTo>
                    <a:pt x="12199" y="277"/>
                  </a:lnTo>
                  <a:lnTo>
                    <a:pt x="11681" y="450"/>
                  </a:lnTo>
                  <a:lnTo>
                    <a:pt x="11162" y="623"/>
                  </a:lnTo>
                  <a:lnTo>
                    <a:pt x="10678" y="830"/>
                  </a:lnTo>
                  <a:lnTo>
                    <a:pt x="10160" y="1037"/>
                  </a:lnTo>
                  <a:lnTo>
                    <a:pt x="9676" y="1279"/>
                  </a:lnTo>
                  <a:lnTo>
                    <a:pt x="8674" y="1867"/>
                  </a:lnTo>
                  <a:lnTo>
                    <a:pt x="7741" y="2489"/>
                  </a:lnTo>
                  <a:lnTo>
                    <a:pt x="6808" y="3180"/>
                  </a:lnTo>
                  <a:lnTo>
                    <a:pt x="5944" y="3906"/>
                  </a:lnTo>
                  <a:lnTo>
                    <a:pt x="5080" y="4666"/>
                  </a:lnTo>
                  <a:lnTo>
                    <a:pt x="4251" y="5426"/>
                  </a:lnTo>
                  <a:lnTo>
                    <a:pt x="3491" y="6221"/>
                  </a:lnTo>
                  <a:lnTo>
                    <a:pt x="2765" y="7016"/>
                  </a:lnTo>
                  <a:lnTo>
                    <a:pt x="1417" y="8502"/>
                  </a:lnTo>
                  <a:lnTo>
                    <a:pt x="277" y="9849"/>
                  </a:lnTo>
                  <a:lnTo>
                    <a:pt x="139" y="10057"/>
                  </a:lnTo>
                  <a:lnTo>
                    <a:pt x="35" y="10298"/>
                  </a:lnTo>
                  <a:lnTo>
                    <a:pt x="1" y="10540"/>
                  </a:lnTo>
                  <a:lnTo>
                    <a:pt x="1" y="10782"/>
                  </a:lnTo>
                  <a:lnTo>
                    <a:pt x="35" y="11024"/>
                  </a:lnTo>
                  <a:lnTo>
                    <a:pt x="139" y="11231"/>
                  </a:lnTo>
                  <a:lnTo>
                    <a:pt x="277" y="11473"/>
                  </a:lnTo>
                  <a:lnTo>
                    <a:pt x="450" y="11646"/>
                  </a:lnTo>
                  <a:lnTo>
                    <a:pt x="657" y="11784"/>
                  </a:lnTo>
                  <a:lnTo>
                    <a:pt x="830" y="11854"/>
                  </a:lnTo>
                  <a:lnTo>
                    <a:pt x="1072" y="11923"/>
                  </a:lnTo>
                  <a:lnTo>
                    <a:pt x="1279" y="11957"/>
                  </a:lnTo>
                  <a:lnTo>
                    <a:pt x="1556" y="11923"/>
                  </a:lnTo>
                  <a:lnTo>
                    <a:pt x="1797" y="11819"/>
                  </a:lnTo>
                  <a:lnTo>
                    <a:pt x="2039" y="11681"/>
                  </a:lnTo>
                  <a:lnTo>
                    <a:pt x="2247" y="11473"/>
                  </a:lnTo>
                  <a:lnTo>
                    <a:pt x="3283" y="10264"/>
                  </a:lnTo>
                  <a:lnTo>
                    <a:pt x="4493" y="8882"/>
                  </a:lnTo>
                  <a:lnTo>
                    <a:pt x="5149" y="8191"/>
                  </a:lnTo>
                  <a:lnTo>
                    <a:pt x="5841" y="7465"/>
                  </a:lnTo>
                  <a:lnTo>
                    <a:pt x="6566" y="6739"/>
                  </a:lnTo>
                  <a:lnTo>
                    <a:pt x="7327" y="6048"/>
                  </a:lnTo>
                  <a:lnTo>
                    <a:pt x="8121" y="5391"/>
                  </a:lnTo>
                  <a:lnTo>
                    <a:pt x="8916" y="4769"/>
                  </a:lnTo>
                  <a:lnTo>
                    <a:pt x="9745" y="4217"/>
                  </a:lnTo>
                  <a:lnTo>
                    <a:pt x="10575" y="3698"/>
                  </a:lnTo>
                  <a:lnTo>
                    <a:pt x="11439" y="3284"/>
                  </a:lnTo>
                  <a:lnTo>
                    <a:pt x="11853" y="3076"/>
                  </a:lnTo>
                  <a:lnTo>
                    <a:pt x="12303" y="2938"/>
                  </a:lnTo>
                  <a:lnTo>
                    <a:pt x="12717" y="2800"/>
                  </a:lnTo>
                  <a:lnTo>
                    <a:pt x="13167" y="2696"/>
                  </a:lnTo>
                  <a:lnTo>
                    <a:pt x="13581" y="2592"/>
                  </a:lnTo>
                  <a:lnTo>
                    <a:pt x="14030" y="2558"/>
                  </a:lnTo>
                  <a:lnTo>
                    <a:pt x="14272" y="2489"/>
                  </a:lnTo>
                  <a:lnTo>
                    <a:pt x="14514" y="2385"/>
                  </a:lnTo>
                  <a:lnTo>
                    <a:pt x="14722" y="2247"/>
                  </a:lnTo>
                  <a:lnTo>
                    <a:pt x="14894" y="2074"/>
                  </a:lnTo>
                  <a:lnTo>
                    <a:pt x="15033" y="1901"/>
                  </a:lnTo>
                  <a:lnTo>
                    <a:pt x="15136" y="1659"/>
                  </a:lnTo>
                  <a:lnTo>
                    <a:pt x="15171" y="1417"/>
                  </a:lnTo>
                  <a:lnTo>
                    <a:pt x="15171" y="1141"/>
                  </a:lnTo>
                  <a:lnTo>
                    <a:pt x="15136" y="899"/>
                  </a:lnTo>
                  <a:lnTo>
                    <a:pt x="15033" y="657"/>
                  </a:lnTo>
                  <a:lnTo>
                    <a:pt x="14894" y="450"/>
                  </a:lnTo>
                  <a:lnTo>
                    <a:pt x="14722" y="277"/>
                  </a:lnTo>
                  <a:lnTo>
                    <a:pt x="14514" y="139"/>
                  </a:lnTo>
                  <a:lnTo>
                    <a:pt x="14307" y="35"/>
                  </a:lnTo>
                  <a:lnTo>
                    <a:pt x="14065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03" name="Google Shape;1503;p16"/>
            <p:cNvSpPr/>
            <p:nvPr/>
          </p:nvSpPr>
          <p:spPr>
            <a:xfrm>
              <a:off x="3008275" y="1469175"/>
              <a:ext cx="309300" cy="287725"/>
            </a:xfrm>
            <a:custGeom>
              <a:avLst/>
              <a:gdLst/>
              <a:ahLst/>
              <a:cxnLst/>
              <a:rect l="l" t="t" r="r" b="b"/>
              <a:pathLst>
                <a:path w="12372" h="11509" extrusionOk="0">
                  <a:moveTo>
                    <a:pt x="1210" y="1"/>
                  </a:moveTo>
                  <a:lnTo>
                    <a:pt x="968" y="35"/>
                  </a:lnTo>
                  <a:lnTo>
                    <a:pt x="761" y="105"/>
                  </a:lnTo>
                  <a:lnTo>
                    <a:pt x="554" y="208"/>
                  </a:lnTo>
                  <a:lnTo>
                    <a:pt x="381" y="346"/>
                  </a:lnTo>
                  <a:lnTo>
                    <a:pt x="208" y="554"/>
                  </a:lnTo>
                  <a:lnTo>
                    <a:pt x="104" y="761"/>
                  </a:lnTo>
                  <a:lnTo>
                    <a:pt x="35" y="968"/>
                  </a:lnTo>
                  <a:lnTo>
                    <a:pt x="1" y="1210"/>
                  </a:lnTo>
                  <a:lnTo>
                    <a:pt x="35" y="1452"/>
                  </a:lnTo>
                  <a:lnTo>
                    <a:pt x="104" y="1660"/>
                  </a:lnTo>
                  <a:lnTo>
                    <a:pt x="208" y="1867"/>
                  </a:lnTo>
                  <a:lnTo>
                    <a:pt x="381" y="2040"/>
                  </a:lnTo>
                  <a:lnTo>
                    <a:pt x="2869" y="4528"/>
                  </a:lnTo>
                  <a:lnTo>
                    <a:pt x="4389" y="6014"/>
                  </a:lnTo>
                  <a:lnTo>
                    <a:pt x="5944" y="7465"/>
                  </a:lnTo>
                  <a:lnTo>
                    <a:pt x="7465" y="8882"/>
                  </a:lnTo>
                  <a:lnTo>
                    <a:pt x="8847" y="10057"/>
                  </a:lnTo>
                  <a:lnTo>
                    <a:pt x="9435" y="10541"/>
                  </a:lnTo>
                  <a:lnTo>
                    <a:pt x="9953" y="10921"/>
                  </a:lnTo>
                  <a:lnTo>
                    <a:pt x="10402" y="11232"/>
                  </a:lnTo>
                  <a:lnTo>
                    <a:pt x="10748" y="11404"/>
                  </a:lnTo>
                  <a:lnTo>
                    <a:pt x="10955" y="11474"/>
                  </a:lnTo>
                  <a:lnTo>
                    <a:pt x="11197" y="11508"/>
                  </a:lnTo>
                  <a:lnTo>
                    <a:pt x="11370" y="11474"/>
                  </a:lnTo>
                  <a:lnTo>
                    <a:pt x="11543" y="11439"/>
                  </a:lnTo>
                  <a:lnTo>
                    <a:pt x="11681" y="11370"/>
                  </a:lnTo>
                  <a:lnTo>
                    <a:pt x="11854" y="11301"/>
                  </a:lnTo>
                  <a:lnTo>
                    <a:pt x="11992" y="11197"/>
                  </a:lnTo>
                  <a:lnTo>
                    <a:pt x="12095" y="11059"/>
                  </a:lnTo>
                  <a:lnTo>
                    <a:pt x="12199" y="10921"/>
                  </a:lnTo>
                  <a:lnTo>
                    <a:pt x="12303" y="10748"/>
                  </a:lnTo>
                  <a:lnTo>
                    <a:pt x="12372" y="10506"/>
                  </a:lnTo>
                  <a:lnTo>
                    <a:pt x="12372" y="10264"/>
                  </a:lnTo>
                  <a:lnTo>
                    <a:pt x="12372" y="10057"/>
                  </a:lnTo>
                  <a:lnTo>
                    <a:pt x="12303" y="9815"/>
                  </a:lnTo>
                  <a:lnTo>
                    <a:pt x="12165" y="9642"/>
                  </a:lnTo>
                  <a:lnTo>
                    <a:pt x="12026" y="9469"/>
                  </a:lnTo>
                  <a:lnTo>
                    <a:pt x="11854" y="9297"/>
                  </a:lnTo>
                  <a:lnTo>
                    <a:pt x="11646" y="9193"/>
                  </a:lnTo>
                  <a:lnTo>
                    <a:pt x="11439" y="9055"/>
                  </a:lnTo>
                  <a:lnTo>
                    <a:pt x="11128" y="8847"/>
                  </a:lnTo>
                  <a:lnTo>
                    <a:pt x="10333" y="8191"/>
                  </a:lnTo>
                  <a:lnTo>
                    <a:pt x="9262" y="7258"/>
                  </a:lnTo>
                  <a:lnTo>
                    <a:pt x="8018" y="6117"/>
                  </a:lnTo>
                  <a:lnTo>
                    <a:pt x="5115" y="3387"/>
                  </a:lnTo>
                  <a:lnTo>
                    <a:pt x="2040" y="346"/>
                  </a:lnTo>
                  <a:lnTo>
                    <a:pt x="1867" y="208"/>
                  </a:lnTo>
                  <a:lnTo>
                    <a:pt x="1659" y="105"/>
                  </a:lnTo>
                  <a:lnTo>
                    <a:pt x="1452" y="35"/>
                  </a:lnTo>
                  <a:lnTo>
                    <a:pt x="1210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04" name="Google Shape;1504;p16"/>
            <p:cNvSpPr/>
            <p:nvPr/>
          </p:nvSpPr>
          <p:spPr>
            <a:xfrm>
              <a:off x="3001375" y="1486450"/>
              <a:ext cx="332625" cy="262675"/>
            </a:xfrm>
            <a:custGeom>
              <a:avLst/>
              <a:gdLst/>
              <a:ahLst/>
              <a:cxnLst/>
              <a:rect l="l" t="t" r="r" b="b"/>
              <a:pathLst>
                <a:path w="13305" h="10507" extrusionOk="0">
                  <a:moveTo>
                    <a:pt x="11991" y="1"/>
                  </a:moveTo>
                  <a:lnTo>
                    <a:pt x="11542" y="70"/>
                  </a:lnTo>
                  <a:lnTo>
                    <a:pt x="11058" y="139"/>
                  </a:lnTo>
                  <a:lnTo>
                    <a:pt x="10609" y="277"/>
                  </a:lnTo>
                  <a:lnTo>
                    <a:pt x="10160" y="381"/>
                  </a:lnTo>
                  <a:lnTo>
                    <a:pt x="9711" y="554"/>
                  </a:lnTo>
                  <a:lnTo>
                    <a:pt x="9261" y="727"/>
                  </a:lnTo>
                  <a:lnTo>
                    <a:pt x="8397" y="1141"/>
                  </a:lnTo>
                  <a:lnTo>
                    <a:pt x="7568" y="1625"/>
                  </a:lnTo>
                  <a:lnTo>
                    <a:pt x="6739" y="2178"/>
                  </a:lnTo>
                  <a:lnTo>
                    <a:pt x="5944" y="2766"/>
                  </a:lnTo>
                  <a:lnTo>
                    <a:pt x="5149" y="3388"/>
                  </a:lnTo>
                  <a:lnTo>
                    <a:pt x="4423" y="4044"/>
                  </a:lnTo>
                  <a:lnTo>
                    <a:pt x="3732" y="4735"/>
                  </a:lnTo>
                  <a:lnTo>
                    <a:pt x="3041" y="5392"/>
                  </a:lnTo>
                  <a:lnTo>
                    <a:pt x="2419" y="6083"/>
                  </a:lnTo>
                  <a:lnTo>
                    <a:pt x="1244" y="7396"/>
                  </a:lnTo>
                  <a:lnTo>
                    <a:pt x="277" y="8536"/>
                  </a:lnTo>
                  <a:lnTo>
                    <a:pt x="138" y="8744"/>
                  </a:lnTo>
                  <a:lnTo>
                    <a:pt x="35" y="8951"/>
                  </a:lnTo>
                  <a:lnTo>
                    <a:pt x="0" y="9193"/>
                  </a:lnTo>
                  <a:lnTo>
                    <a:pt x="0" y="9435"/>
                  </a:lnTo>
                  <a:lnTo>
                    <a:pt x="35" y="9642"/>
                  </a:lnTo>
                  <a:lnTo>
                    <a:pt x="138" y="9850"/>
                  </a:lnTo>
                  <a:lnTo>
                    <a:pt x="242" y="10057"/>
                  </a:lnTo>
                  <a:lnTo>
                    <a:pt x="415" y="10230"/>
                  </a:lnTo>
                  <a:lnTo>
                    <a:pt x="588" y="10368"/>
                  </a:lnTo>
                  <a:lnTo>
                    <a:pt x="795" y="10437"/>
                  </a:lnTo>
                  <a:lnTo>
                    <a:pt x="1002" y="10506"/>
                  </a:lnTo>
                  <a:lnTo>
                    <a:pt x="1175" y="10506"/>
                  </a:lnTo>
                  <a:lnTo>
                    <a:pt x="1452" y="10472"/>
                  </a:lnTo>
                  <a:lnTo>
                    <a:pt x="1693" y="10402"/>
                  </a:lnTo>
                  <a:lnTo>
                    <a:pt x="1901" y="10264"/>
                  </a:lnTo>
                  <a:lnTo>
                    <a:pt x="2108" y="10091"/>
                  </a:lnTo>
                  <a:lnTo>
                    <a:pt x="3007" y="9020"/>
                  </a:lnTo>
                  <a:lnTo>
                    <a:pt x="4043" y="7845"/>
                  </a:lnTo>
                  <a:lnTo>
                    <a:pt x="4596" y="7223"/>
                  </a:lnTo>
                  <a:lnTo>
                    <a:pt x="5184" y="6636"/>
                  </a:lnTo>
                  <a:lnTo>
                    <a:pt x="5840" y="6014"/>
                  </a:lnTo>
                  <a:lnTo>
                    <a:pt x="6462" y="5426"/>
                  </a:lnTo>
                  <a:lnTo>
                    <a:pt x="7153" y="4839"/>
                  </a:lnTo>
                  <a:lnTo>
                    <a:pt x="7845" y="4321"/>
                  </a:lnTo>
                  <a:lnTo>
                    <a:pt x="8536" y="3837"/>
                  </a:lnTo>
                  <a:lnTo>
                    <a:pt x="9261" y="3388"/>
                  </a:lnTo>
                  <a:lnTo>
                    <a:pt x="9987" y="3007"/>
                  </a:lnTo>
                  <a:lnTo>
                    <a:pt x="10713" y="2731"/>
                  </a:lnTo>
                  <a:lnTo>
                    <a:pt x="11093" y="2593"/>
                  </a:lnTo>
                  <a:lnTo>
                    <a:pt x="11473" y="2524"/>
                  </a:lnTo>
                  <a:lnTo>
                    <a:pt x="11853" y="2455"/>
                  </a:lnTo>
                  <a:lnTo>
                    <a:pt x="12199" y="2385"/>
                  </a:lnTo>
                  <a:lnTo>
                    <a:pt x="12441" y="2351"/>
                  </a:lnTo>
                  <a:lnTo>
                    <a:pt x="12682" y="2247"/>
                  </a:lnTo>
                  <a:lnTo>
                    <a:pt x="12855" y="2143"/>
                  </a:lnTo>
                  <a:lnTo>
                    <a:pt x="13028" y="1971"/>
                  </a:lnTo>
                  <a:lnTo>
                    <a:pt x="13166" y="1763"/>
                  </a:lnTo>
                  <a:lnTo>
                    <a:pt x="13235" y="1556"/>
                  </a:lnTo>
                  <a:lnTo>
                    <a:pt x="13304" y="1349"/>
                  </a:lnTo>
                  <a:lnTo>
                    <a:pt x="13304" y="1107"/>
                  </a:lnTo>
                  <a:lnTo>
                    <a:pt x="13235" y="865"/>
                  </a:lnTo>
                  <a:lnTo>
                    <a:pt x="13166" y="623"/>
                  </a:lnTo>
                  <a:lnTo>
                    <a:pt x="13028" y="450"/>
                  </a:lnTo>
                  <a:lnTo>
                    <a:pt x="12855" y="277"/>
                  </a:lnTo>
                  <a:lnTo>
                    <a:pt x="12682" y="139"/>
                  </a:lnTo>
                  <a:lnTo>
                    <a:pt x="12475" y="70"/>
                  </a:lnTo>
                  <a:lnTo>
                    <a:pt x="12233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05" name="Google Shape;1505;p16"/>
            <p:cNvSpPr/>
            <p:nvPr/>
          </p:nvSpPr>
          <p:spPr>
            <a:xfrm>
              <a:off x="3994875" y="2391850"/>
              <a:ext cx="120100" cy="181425"/>
            </a:xfrm>
            <a:custGeom>
              <a:avLst/>
              <a:gdLst/>
              <a:ahLst/>
              <a:cxnLst/>
              <a:rect l="l" t="t" r="r" b="b"/>
              <a:pathLst>
                <a:path w="4804" h="7257" extrusionOk="0">
                  <a:moveTo>
                    <a:pt x="207" y="0"/>
                  </a:moveTo>
                  <a:lnTo>
                    <a:pt x="138" y="35"/>
                  </a:lnTo>
                  <a:lnTo>
                    <a:pt x="69" y="69"/>
                  </a:lnTo>
                  <a:lnTo>
                    <a:pt x="35" y="104"/>
                  </a:lnTo>
                  <a:lnTo>
                    <a:pt x="0" y="207"/>
                  </a:lnTo>
                  <a:lnTo>
                    <a:pt x="35" y="277"/>
                  </a:lnTo>
                  <a:lnTo>
                    <a:pt x="69" y="346"/>
                  </a:lnTo>
                  <a:lnTo>
                    <a:pt x="104" y="380"/>
                  </a:lnTo>
                  <a:lnTo>
                    <a:pt x="207" y="415"/>
                  </a:lnTo>
                  <a:lnTo>
                    <a:pt x="2523" y="553"/>
                  </a:lnTo>
                  <a:lnTo>
                    <a:pt x="3041" y="2315"/>
                  </a:lnTo>
                  <a:lnTo>
                    <a:pt x="3663" y="4492"/>
                  </a:lnTo>
                  <a:lnTo>
                    <a:pt x="4389" y="7119"/>
                  </a:lnTo>
                  <a:lnTo>
                    <a:pt x="4423" y="7188"/>
                  </a:lnTo>
                  <a:lnTo>
                    <a:pt x="4492" y="7222"/>
                  </a:lnTo>
                  <a:lnTo>
                    <a:pt x="4527" y="7257"/>
                  </a:lnTo>
                  <a:lnTo>
                    <a:pt x="4665" y="7257"/>
                  </a:lnTo>
                  <a:lnTo>
                    <a:pt x="4734" y="7222"/>
                  </a:lnTo>
                  <a:lnTo>
                    <a:pt x="4769" y="7153"/>
                  </a:lnTo>
                  <a:lnTo>
                    <a:pt x="4803" y="7084"/>
                  </a:lnTo>
                  <a:lnTo>
                    <a:pt x="4803" y="7015"/>
                  </a:lnTo>
                  <a:lnTo>
                    <a:pt x="4009" y="4251"/>
                  </a:lnTo>
                  <a:lnTo>
                    <a:pt x="3387" y="2039"/>
                  </a:lnTo>
                  <a:lnTo>
                    <a:pt x="2868" y="311"/>
                  </a:lnTo>
                  <a:lnTo>
                    <a:pt x="2799" y="207"/>
                  </a:lnTo>
                  <a:lnTo>
                    <a:pt x="2661" y="173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06" name="Google Shape;1506;p16"/>
            <p:cNvSpPr/>
            <p:nvPr/>
          </p:nvSpPr>
          <p:spPr>
            <a:xfrm>
              <a:off x="4140000" y="2552525"/>
              <a:ext cx="80375" cy="38900"/>
            </a:xfrm>
            <a:custGeom>
              <a:avLst/>
              <a:gdLst/>
              <a:ahLst/>
              <a:cxnLst/>
              <a:rect l="l" t="t" r="r" b="b"/>
              <a:pathLst>
                <a:path w="3215" h="1556" extrusionOk="0">
                  <a:moveTo>
                    <a:pt x="173" y="1"/>
                  </a:moveTo>
                  <a:lnTo>
                    <a:pt x="104" y="70"/>
                  </a:lnTo>
                  <a:lnTo>
                    <a:pt x="35" y="173"/>
                  </a:lnTo>
                  <a:lnTo>
                    <a:pt x="1" y="277"/>
                  </a:lnTo>
                  <a:lnTo>
                    <a:pt x="1" y="1245"/>
                  </a:lnTo>
                  <a:lnTo>
                    <a:pt x="35" y="1348"/>
                  </a:lnTo>
                  <a:lnTo>
                    <a:pt x="104" y="1452"/>
                  </a:lnTo>
                  <a:lnTo>
                    <a:pt x="173" y="1521"/>
                  </a:lnTo>
                  <a:lnTo>
                    <a:pt x="277" y="1556"/>
                  </a:lnTo>
                  <a:lnTo>
                    <a:pt x="2938" y="1556"/>
                  </a:lnTo>
                  <a:lnTo>
                    <a:pt x="3042" y="1521"/>
                  </a:lnTo>
                  <a:lnTo>
                    <a:pt x="3145" y="1452"/>
                  </a:lnTo>
                  <a:lnTo>
                    <a:pt x="3180" y="1348"/>
                  </a:lnTo>
                  <a:lnTo>
                    <a:pt x="3214" y="1245"/>
                  </a:lnTo>
                  <a:lnTo>
                    <a:pt x="3214" y="277"/>
                  </a:lnTo>
                  <a:lnTo>
                    <a:pt x="3180" y="173"/>
                  </a:lnTo>
                  <a:lnTo>
                    <a:pt x="3145" y="70"/>
                  </a:lnTo>
                  <a:lnTo>
                    <a:pt x="3042" y="1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07" name="Google Shape;1507;p16"/>
            <p:cNvSpPr/>
            <p:nvPr/>
          </p:nvSpPr>
          <p:spPr>
            <a:xfrm>
              <a:off x="4140000" y="2552525"/>
              <a:ext cx="80375" cy="38900"/>
            </a:xfrm>
            <a:custGeom>
              <a:avLst/>
              <a:gdLst/>
              <a:ahLst/>
              <a:cxnLst/>
              <a:rect l="l" t="t" r="r" b="b"/>
              <a:pathLst>
                <a:path w="3215" h="1556" fill="none" extrusionOk="0">
                  <a:moveTo>
                    <a:pt x="2938" y="1"/>
                  </a:moveTo>
                  <a:lnTo>
                    <a:pt x="277" y="1"/>
                  </a:lnTo>
                  <a:lnTo>
                    <a:pt x="277" y="1"/>
                  </a:lnTo>
                  <a:lnTo>
                    <a:pt x="173" y="1"/>
                  </a:lnTo>
                  <a:lnTo>
                    <a:pt x="104" y="70"/>
                  </a:lnTo>
                  <a:lnTo>
                    <a:pt x="35" y="173"/>
                  </a:lnTo>
                  <a:lnTo>
                    <a:pt x="1" y="277"/>
                  </a:lnTo>
                  <a:lnTo>
                    <a:pt x="1" y="1245"/>
                  </a:lnTo>
                  <a:lnTo>
                    <a:pt x="1" y="1245"/>
                  </a:lnTo>
                  <a:lnTo>
                    <a:pt x="35" y="1348"/>
                  </a:lnTo>
                  <a:lnTo>
                    <a:pt x="104" y="1452"/>
                  </a:lnTo>
                  <a:lnTo>
                    <a:pt x="173" y="1521"/>
                  </a:lnTo>
                  <a:lnTo>
                    <a:pt x="277" y="1556"/>
                  </a:lnTo>
                  <a:lnTo>
                    <a:pt x="2938" y="1556"/>
                  </a:lnTo>
                  <a:lnTo>
                    <a:pt x="2938" y="1556"/>
                  </a:lnTo>
                  <a:lnTo>
                    <a:pt x="3042" y="1521"/>
                  </a:lnTo>
                  <a:lnTo>
                    <a:pt x="3145" y="1452"/>
                  </a:lnTo>
                  <a:lnTo>
                    <a:pt x="3180" y="1348"/>
                  </a:lnTo>
                  <a:lnTo>
                    <a:pt x="3214" y="1245"/>
                  </a:lnTo>
                  <a:lnTo>
                    <a:pt x="3214" y="277"/>
                  </a:lnTo>
                  <a:lnTo>
                    <a:pt x="3214" y="277"/>
                  </a:lnTo>
                  <a:lnTo>
                    <a:pt x="3180" y="173"/>
                  </a:lnTo>
                  <a:lnTo>
                    <a:pt x="3145" y="70"/>
                  </a:lnTo>
                  <a:lnTo>
                    <a:pt x="3042" y="1"/>
                  </a:lnTo>
                  <a:lnTo>
                    <a:pt x="2938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08" name="Google Shape;1508;p16"/>
            <p:cNvSpPr/>
            <p:nvPr/>
          </p:nvSpPr>
          <p:spPr>
            <a:xfrm>
              <a:off x="4247125" y="2550800"/>
              <a:ext cx="139975" cy="38900"/>
            </a:xfrm>
            <a:custGeom>
              <a:avLst/>
              <a:gdLst/>
              <a:ahLst/>
              <a:cxnLst/>
              <a:rect l="l" t="t" r="r" b="b"/>
              <a:pathLst>
                <a:path w="5599" h="1556" extrusionOk="0">
                  <a:moveTo>
                    <a:pt x="312" y="0"/>
                  </a:moveTo>
                  <a:lnTo>
                    <a:pt x="173" y="35"/>
                  </a:lnTo>
                  <a:lnTo>
                    <a:pt x="70" y="104"/>
                  </a:lnTo>
                  <a:lnTo>
                    <a:pt x="35" y="208"/>
                  </a:lnTo>
                  <a:lnTo>
                    <a:pt x="1" y="311"/>
                  </a:lnTo>
                  <a:lnTo>
                    <a:pt x="1" y="1245"/>
                  </a:lnTo>
                  <a:lnTo>
                    <a:pt x="35" y="1348"/>
                  </a:lnTo>
                  <a:lnTo>
                    <a:pt x="70" y="1452"/>
                  </a:lnTo>
                  <a:lnTo>
                    <a:pt x="173" y="1521"/>
                  </a:lnTo>
                  <a:lnTo>
                    <a:pt x="312" y="1556"/>
                  </a:lnTo>
                  <a:lnTo>
                    <a:pt x="5288" y="1556"/>
                  </a:lnTo>
                  <a:lnTo>
                    <a:pt x="5426" y="1521"/>
                  </a:lnTo>
                  <a:lnTo>
                    <a:pt x="5530" y="1452"/>
                  </a:lnTo>
                  <a:lnTo>
                    <a:pt x="5599" y="1348"/>
                  </a:lnTo>
                  <a:lnTo>
                    <a:pt x="5599" y="1245"/>
                  </a:lnTo>
                  <a:lnTo>
                    <a:pt x="5599" y="311"/>
                  </a:lnTo>
                  <a:lnTo>
                    <a:pt x="5599" y="208"/>
                  </a:lnTo>
                  <a:lnTo>
                    <a:pt x="5530" y="104"/>
                  </a:lnTo>
                  <a:lnTo>
                    <a:pt x="5426" y="35"/>
                  </a:lnTo>
                  <a:lnTo>
                    <a:pt x="5288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09" name="Google Shape;1509;p16"/>
            <p:cNvSpPr/>
            <p:nvPr/>
          </p:nvSpPr>
          <p:spPr>
            <a:xfrm>
              <a:off x="4247125" y="2550800"/>
              <a:ext cx="139975" cy="38900"/>
            </a:xfrm>
            <a:custGeom>
              <a:avLst/>
              <a:gdLst/>
              <a:ahLst/>
              <a:cxnLst/>
              <a:rect l="l" t="t" r="r" b="b"/>
              <a:pathLst>
                <a:path w="5599" h="1556" fill="none" extrusionOk="0">
                  <a:moveTo>
                    <a:pt x="5288" y="0"/>
                  </a:moveTo>
                  <a:lnTo>
                    <a:pt x="312" y="0"/>
                  </a:lnTo>
                  <a:lnTo>
                    <a:pt x="312" y="0"/>
                  </a:lnTo>
                  <a:lnTo>
                    <a:pt x="173" y="35"/>
                  </a:lnTo>
                  <a:lnTo>
                    <a:pt x="70" y="104"/>
                  </a:lnTo>
                  <a:lnTo>
                    <a:pt x="35" y="208"/>
                  </a:lnTo>
                  <a:lnTo>
                    <a:pt x="1" y="311"/>
                  </a:lnTo>
                  <a:lnTo>
                    <a:pt x="1" y="1245"/>
                  </a:lnTo>
                  <a:lnTo>
                    <a:pt x="1" y="1245"/>
                  </a:lnTo>
                  <a:lnTo>
                    <a:pt x="35" y="1348"/>
                  </a:lnTo>
                  <a:lnTo>
                    <a:pt x="70" y="1452"/>
                  </a:lnTo>
                  <a:lnTo>
                    <a:pt x="173" y="1521"/>
                  </a:lnTo>
                  <a:lnTo>
                    <a:pt x="312" y="1556"/>
                  </a:lnTo>
                  <a:lnTo>
                    <a:pt x="5288" y="1556"/>
                  </a:lnTo>
                  <a:lnTo>
                    <a:pt x="5288" y="1556"/>
                  </a:lnTo>
                  <a:lnTo>
                    <a:pt x="5426" y="1521"/>
                  </a:lnTo>
                  <a:lnTo>
                    <a:pt x="5530" y="1452"/>
                  </a:lnTo>
                  <a:lnTo>
                    <a:pt x="5599" y="1348"/>
                  </a:lnTo>
                  <a:lnTo>
                    <a:pt x="5599" y="1245"/>
                  </a:lnTo>
                  <a:lnTo>
                    <a:pt x="5599" y="311"/>
                  </a:lnTo>
                  <a:lnTo>
                    <a:pt x="5599" y="311"/>
                  </a:lnTo>
                  <a:lnTo>
                    <a:pt x="5599" y="208"/>
                  </a:lnTo>
                  <a:lnTo>
                    <a:pt x="5530" y="104"/>
                  </a:lnTo>
                  <a:lnTo>
                    <a:pt x="5426" y="35"/>
                  </a:lnTo>
                  <a:lnTo>
                    <a:pt x="528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10" name="Google Shape;1510;p16"/>
            <p:cNvSpPr/>
            <p:nvPr/>
          </p:nvSpPr>
          <p:spPr>
            <a:xfrm>
              <a:off x="4441500" y="2550800"/>
              <a:ext cx="129625" cy="38900"/>
            </a:xfrm>
            <a:custGeom>
              <a:avLst/>
              <a:gdLst/>
              <a:ahLst/>
              <a:cxnLst/>
              <a:rect l="l" t="t" r="r" b="b"/>
              <a:pathLst>
                <a:path w="5185" h="1556" extrusionOk="0">
                  <a:moveTo>
                    <a:pt x="277" y="0"/>
                  </a:moveTo>
                  <a:lnTo>
                    <a:pt x="174" y="35"/>
                  </a:lnTo>
                  <a:lnTo>
                    <a:pt x="70" y="70"/>
                  </a:lnTo>
                  <a:lnTo>
                    <a:pt x="35" y="173"/>
                  </a:lnTo>
                  <a:lnTo>
                    <a:pt x="1" y="277"/>
                  </a:lnTo>
                  <a:lnTo>
                    <a:pt x="1" y="1279"/>
                  </a:lnTo>
                  <a:lnTo>
                    <a:pt x="35" y="1383"/>
                  </a:lnTo>
                  <a:lnTo>
                    <a:pt x="70" y="1486"/>
                  </a:lnTo>
                  <a:lnTo>
                    <a:pt x="174" y="1521"/>
                  </a:lnTo>
                  <a:lnTo>
                    <a:pt x="277" y="1556"/>
                  </a:lnTo>
                  <a:lnTo>
                    <a:pt x="4873" y="1556"/>
                  </a:lnTo>
                  <a:lnTo>
                    <a:pt x="5011" y="1521"/>
                  </a:lnTo>
                  <a:lnTo>
                    <a:pt x="5081" y="1486"/>
                  </a:lnTo>
                  <a:lnTo>
                    <a:pt x="5150" y="1383"/>
                  </a:lnTo>
                  <a:lnTo>
                    <a:pt x="5184" y="1279"/>
                  </a:lnTo>
                  <a:lnTo>
                    <a:pt x="5184" y="277"/>
                  </a:lnTo>
                  <a:lnTo>
                    <a:pt x="5150" y="173"/>
                  </a:lnTo>
                  <a:lnTo>
                    <a:pt x="5081" y="70"/>
                  </a:lnTo>
                  <a:lnTo>
                    <a:pt x="5011" y="35"/>
                  </a:lnTo>
                  <a:lnTo>
                    <a:pt x="4873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11" name="Google Shape;1511;p16"/>
            <p:cNvSpPr/>
            <p:nvPr/>
          </p:nvSpPr>
          <p:spPr>
            <a:xfrm>
              <a:off x="4441500" y="2550800"/>
              <a:ext cx="129625" cy="38900"/>
            </a:xfrm>
            <a:custGeom>
              <a:avLst/>
              <a:gdLst/>
              <a:ahLst/>
              <a:cxnLst/>
              <a:rect l="l" t="t" r="r" b="b"/>
              <a:pathLst>
                <a:path w="5185" h="1556" fill="none" extrusionOk="0">
                  <a:moveTo>
                    <a:pt x="4873" y="0"/>
                  </a:moveTo>
                  <a:lnTo>
                    <a:pt x="277" y="0"/>
                  </a:lnTo>
                  <a:lnTo>
                    <a:pt x="277" y="0"/>
                  </a:lnTo>
                  <a:lnTo>
                    <a:pt x="174" y="35"/>
                  </a:lnTo>
                  <a:lnTo>
                    <a:pt x="70" y="70"/>
                  </a:lnTo>
                  <a:lnTo>
                    <a:pt x="35" y="173"/>
                  </a:lnTo>
                  <a:lnTo>
                    <a:pt x="1" y="277"/>
                  </a:lnTo>
                  <a:lnTo>
                    <a:pt x="1" y="1279"/>
                  </a:lnTo>
                  <a:lnTo>
                    <a:pt x="1" y="1279"/>
                  </a:lnTo>
                  <a:lnTo>
                    <a:pt x="35" y="1383"/>
                  </a:lnTo>
                  <a:lnTo>
                    <a:pt x="70" y="1486"/>
                  </a:lnTo>
                  <a:lnTo>
                    <a:pt x="174" y="1521"/>
                  </a:lnTo>
                  <a:lnTo>
                    <a:pt x="277" y="1556"/>
                  </a:lnTo>
                  <a:lnTo>
                    <a:pt x="4873" y="1556"/>
                  </a:lnTo>
                  <a:lnTo>
                    <a:pt x="4873" y="1556"/>
                  </a:lnTo>
                  <a:lnTo>
                    <a:pt x="5011" y="1521"/>
                  </a:lnTo>
                  <a:lnTo>
                    <a:pt x="5081" y="1486"/>
                  </a:lnTo>
                  <a:lnTo>
                    <a:pt x="5150" y="1383"/>
                  </a:lnTo>
                  <a:lnTo>
                    <a:pt x="5184" y="1279"/>
                  </a:lnTo>
                  <a:lnTo>
                    <a:pt x="5184" y="277"/>
                  </a:lnTo>
                  <a:lnTo>
                    <a:pt x="5184" y="277"/>
                  </a:lnTo>
                  <a:lnTo>
                    <a:pt x="5150" y="173"/>
                  </a:lnTo>
                  <a:lnTo>
                    <a:pt x="5081" y="70"/>
                  </a:lnTo>
                  <a:lnTo>
                    <a:pt x="5011" y="35"/>
                  </a:lnTo>
                  <a:lnTo>
                    <a:pt x="487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12" name="Google Shape;1512;p16"/>
            <p:cNvSpPr/>
            <p:nvPr/>
          </p:nvSpPr>
          <p:spPr>
            <a:xfrm>
              <a:off x="3714100" y="2246700"/>
              <a:ext cx="290300" cy="268700"/>
            </a:xfrm>
            <a:custGeom>
              <a:avLst/>
              <a:gdLst/>
              <a:ahLst/>
              <a:cxnLst/>
              <a:rect l="l" t="t" r="r" b="b"/>
              <a:pathLst>
                <a:path w="11612" h="10748" extrusionOk="0">
                  <a:moveTo>
                    <a:pt x="899" y="1"/>
                  </a:moveTo>
                  <a:lnTo>
                    <a:pt x="691" y="70"/>
                  </a:lnTo>
                  <a:lnTo>
                    <a:pt x="519" y="173"/>
                  </a:lnTo>
                  <a:lnTo>
                    <a:pt x="311" y="312"/>
                  </a:lnTo>
                  <a:lnTo>
                    <a:pt x="173" y="484"/>
                  </a:lnTo>
                  <a:lnTo>
                    <a:pt x="69" y="692"/>
                  </a:lnTo>
                  <a:lnTo>
                    <a:pt x="35" y="899"/>
                  </a:lnTo>
                  <a:lnTo>
                    <a:pt x="0" y="1106"/>
                  </a:lnTo>
                  <a:lnTo>
                    <a:pt x="35" y="1314"/>
                  </a:lnTo>
                  <a:lnTo>
                    <a:pt x="69" y="1521"/>
                  </a:lnTo>
                  <a:lnTo>
                    <a:pt x="173" y="1728"/>
                  </a:lnTo>
                  <a:lnTo>
                    <a:pt x="311" y="1901"/>
                  </a:lnTo>
                  <a:lnTo>
                    <a:pt x="2661" y="4217"/>
                  </a:lnTo>
                  <a:lnTo>
                    <a:pt x="4112" y="5599"/>
                  </a:lnTo>
                  <a:lnTo>
                    <a:pt x="5564" y="6981"/>
                  </a:lnTo>
                  <a:lnTo>
                    <a:pt x="6981" y="8294"/>
                  </a:lnTo>
                  <a:lnTo>
                    <a:pt x="8259" y="9400"/>
                  </a:lnTo>
                  <a:lnTo>
                    <a:pt x="8847" y="9849"/>
                  </a:lnTo>
                  <a:lnTo>
                    <a:pt x="9330" y="10229"/>
                  </a:lnTo>
                  <a:lnTo>
                    <a:pt x="9745" y="10506"/>
                  </a:lnTo>
                  <a:lnTo>
                    <a:pt x="10056" y="10679"/>
                  </a:lnTo>
                  <a:lnTo>
                    <a:pt x="10263" y="10748"/>
                  </a:lnTo>
                  <a:lnTo>
                    <a:pt x="10644" y="10748"/>
                  </a:lnTo>
                  <a:lnTo>
                    <a:pt x="10816" y="10713"/>
                  </a:lnTo>
                  <a:lnTo>
                    <a:pt x="10955" y="10644"/>
                  </a:lnTo>
                  <a:lnTo>
                    <a:pt x="11093" y="10575"/>
                  </a:lnTo>
                  <a:lnTo>
                    <a:pt x="11231" y="10471"/>
                  </a:lnTo>
                  <a:lnTo>
                    <a:pt x="11335" y="10333"/>
                  </a:lnTo>
                  <a:lnTo>
                    <a:pt x="11438" y="10195"/>
                  </a:lnTo>
                  <a:lnTo>
                    <a:pt x="11508" y="10057"/>
                  </a:lnTo>
                  <a:lnTo>
                    <a:pt x="11577" y="9849"/>
                  </a:lnTo>
                  <a:lnTo>
                    <a:pt x="11611" y="9607"/>
                  </a:lnTo>
                  <a:lnTo>
                    <a:pt x="11577" y="9400"/>
                  </a:lnTo>
                  <a:lnTo>
                    <a:pt x="11508" y="9193"/>
                  </a:lnTo>
                  <a:lnTo>
                    <a:pt x="11404" y="9020"/>
                  </a:lnTo>
                  <a:lnTo>
                    <a:pt x="11266" y="8847"/>
                  </a:lnTo>
                  <a:lnTo>
                    <a:pt x="11093" y="8709"/>
                  </a:lnTo>
                  <a:lnTo>
                    <a:pt x="10886" y="8605"/>
                  </a:lnTo>
                  <a:lnTo>
                    <a:pt x="10713" y="8467"/>
                  </a:lnTo>
                  <a:lnTo>
                    <a:pt x="10436" y="8294"/>
                  </a:lnTo>
                  <a:lnTo>
                    <a:pt x="9676" y="7672"/>
                  </a:lnTo>
                  <a:lnTo>
                    <a:pt x="8674" y="6808"/>
                  </a:lnTo>
                  <a:lnTo>
                    <a:pt x="7499" y="5702"/>
                  </a:lnTo>
                  <a:lnTo>
                    <a:pt x="4804" y="3145"/>
                  </a:lnTo>
                  <a:lnTo>
                    <a:pt x="1901" y="312"/>
                  </a:lnTo>
                  <a:lnTo>
                    <a:pt x="1728" y="173"/>
                  </a:lnTo>
                  <a:lnTo>
                    <a:pt x="1555" y="70"/>
                  </a:lnTo>
                  <a:lnTo>
                    <a:pt x="1348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13" name="Google Shape;1513;p16"/>
            <p:cNvSpPr/>
            <p:nvPr/>
          </p:nvSpPr>
          <p:spPr>
            <a:xfrm>
              <a:off x="3707175" y="2262250"/>
              <a:ext cx="311900" cy="246250"/>
            </a:xfrm>
            <a:custGeom>
              <a:avLst/>
              <a:gdLst/>
              <a:ahLst/>
              <a:cxnLst/>
              <a:rect l="l" t="t" r="r" b="b"/>
              <a:pathLst>
                <a:path w="12476" h="9850" extrusionOk="0">
                  <a:moveTo>
                    <a:pt x="11266" y="1"/>
                  </a:moveTo>
                  <a:lnTo>
                    <a:pt x="10817" y="70"/>
                  </a:lnTo>
                  <a:lnTo>
                    <a:pt x="10402" y="139"/>
                  </a:lnTo>
                  <a:lnTo>
                    <a:pt x="9953" y="243"/>
                  </a:lnTo>
                  <a:lnTo>
                    <a:pt x="9538" y="381"/>
                  </a:lnTo>
                  <a:lnTo>
                    <a:pt x="9124" y="519"/>
                  </a:lnTo>
                  <a:lnTo>
                    <a:pt x="8709" y="692"/>
                  </a:lnTo>
                  <a:lnTo>
                    <a:pt x="7880" y="1072"/>
                  </a:lnTo>
                  <a:lnTo>
                    <a:pt x="7085" y="1521"/>
                  </a:lnTo>
                  <a:lnTo>
                    <a:pt x="6325" y="2039"/>
                  </a:lnTo>
                  <a:lnTo>
                    <a:pt x="5564" y="2592"/>
                  </a:lnTo>
                  <a:lnTo>
                    <a:pt x="4839" y="3180"/>
                  </a:lnTo>
                  <a:lnTo>
                    <a:pt x="4148" y="3802"/>
                  </a:lnTo>
                  <a:lnTo>
                    <a:pt x="3491" y="4424"/>
                  </a:lnTo>
                  <a:lnTo>
                    <a:pt x="2869" y="5080"/>
                  </a:lnTo>
                  <a:lnTo>
                    <a:pt x="2247" y="5702"/>
                  </a:lnTo>
                  <a:lnTo>
                    <a:pt x="1176" y="6912"/>
                  </a:lnTo>
                  <a:lnTo>
                    <a:pt x="277" y="8018"/>
                  </a:lnTo>
                  <a:lnTo>
                    <a:pt x="139" y="8191"/>
                  </a:lnTo>
                  <a:lnTo>
                    <a:pt x="35" y="8398"/>
                  </a:lnTo>
                  <a:lnTo>
                    <a:pt x="1" y="8605"/>
                  </a:lnTo>
                  <a:lnTo>
                    <a:pt x="1" y="8847"/>
                  </a:lnTo>
                  <a:lnTo>
                    <a:pt x="35" y="9054"/>
                  </a:lnTo>
                  <a:lnTo>
                    <a:pt x="139" y="9262"/>
                  </a:lnTo>
                  <a:lnTo>
                    <a:pt x="243" y="9435"/>
                  </a:lnTo>
                  <a:lnTo>
                    <a:pt x="415" y="9607"/>
                  </a:lnTo>
                  <a:lnTo>
                    <a:pt x="554" y="9711"/>
                  </a:lnTo>
                  <a:lnTo>
                    <a:pt x="761" y="9780"/>
                  </a:lnTo>
                  <a:lnTo>
                    <a:pt x="934" y="9849"/>
                  </a:lnTo>
                  <a:lnTo>
                    <a:pt x="1107" y="9849"/>
                  </a:lnTo>
                  <a:lnTo>
                    <a:pt x="1348" y="9815"/>
                  </a:lnTo>
                  <a:lnTo>
                    <a:pt x="1590" y="9746"/>
                  </a:lnTo>
                  <a:lnTo>
                    <a:pt x="1798" y="9642"/>
                  </a:lnTo>
                  <a:lnTo>
                    <a:pt x="1971" y="9469"/>
                  </a:lnTo>
                  <a:lnTo>
                    <a:pt x="2800" y="8467"/>
                  </a:lnTo>
                  <a:lnTo>
                    <a:pt x="3802" y="7361"/>
                  </a:lnTo>
                  <a:lnTo>
                    <a:pt x="4873" y="6221"/>
                  </a:lnTo>
                  <a:lnTo>
                    <a:pt x="5461" y="5633"/>
                  </a:lnTo>
                  <a:lnTo>
                    <a:pt x="6083" y="5080"/>
                  </a:lnTo>
                  <a:lnTo>
                    <a:pt x="6705" y="4528"/>
                  </a:lnTo>
                  <a:lnTo>
                    <a:pt x="7361" y="4044"/>
                  </a:lnTo>
                  <a:lnTo>
                    <a:pt x="8018" y="3595"/>
                  </a:lnTo>
                  <a:lnTo>
                    <a:pt x="8674" y="3180"/>
                  </a:lnTo>
                  <a:lnTo>
                    <a:pt x="9366" y="2834"/>
                  </a:lnTo>
                  <a:lnTo>
                    <a:pt x="10057" y="2558"/>
                  </a:lnTo>
                  <a:lnTo>
                    <a:pt x="10748" y="2350"/>
                  </a:lnTo>
                  <a:lnTo>
                    <a:pt x="11093" y="2281"/>
                  </a:lnTo>
                  <a:lnTo>
                    <a:pt x="11474" y="2247"/>
                  </a:lnTo>
                  <a:lnTo>
                    <a:pt x="11681" y="2212"/>
                  </a:lnTo>
                  <a:lnTo>
                    <a:pt x="11888" y="2109"/>
                  </a:lnTo>
                  <a:lnTo>
                    <a:pt x="12061" y="2005"/>
                  </a:lnTo>
                  <a:lnTo>
                    <a:pt x="12234" y="1832"/>
                  </a:lnTo>
                  <a:lnTo>
                    <a:pt x="12337" y="1659"/>
                  </a:lnTo>
                  <a:lnTo>
                    <a:pt x="12441" y="1452"/>
                  </a:lnTo>
                  <a:lnTo>
                    <a:pt x="12476" y="1245"/>
                  </a:lnTo>
                  <a:lnTo>
                    <a:pt x="12476" y="1037"/>
                  </a:lnTo>
                  <a:lnTo>
                    <a:pt x="12441" y="795"/>
                  </a:lnTo>
                  <a:lnTo>
                    <a:pt x="12337" y="588"/>
                  </a:lnTo>
                  <a:lnTo>
                    <a:pt x="12234" y="415"/>
                  </a:lnTo>
                  <a:lnTo>
                    <a:pt x="12061" y="277"/>
                  </a:lnTo>
                  <a:lnTo>
                    <a:pt x="11888" y="139"/>
                  </a:lnTo>
                  <a:lnTo>
                    <a:pt x="11681" y="70"/>
                  </a:lnTo>
                  <a:lnTo>
                    <a:pt x="11474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14" name="Google Shape;1514;p16"/>
            <p:cNvSpPr/>
            <p:nvPr/>
          </p:nvSpPr>
          <p:spPr>
            <a:xfrm>
              <a:off x="3439375" y="1069200"/>
              <a:ext cx="171075" cy="244500"/>
            </a:xfrm>
            <a:custGeom>
              <a:avLst/>
              <a:gdLst/>
              <a:ahLst/>
              <a:cxnLst/>
              <a:rect l="l" t="t" r="r" b="b"/>
              <a:pathLst>
                <a:path w="6843" h="9780" extrusionOk="0">
                  <a:moveTo>
                    <a:pt x="1072" y="0"/>
                  </a:moveTo>
                  <a:lnTo>
                    <a:pt x="830" y="69"/>
                  </a:lnTo>
                  <a:lnTo>
                    <a:pt x="622" y="173"/>
                  </a:lnTo>
                  <a:lnTo>
                    <a:pt x="415" y="311"/>
                  </a:lnTo>
                  <a:lnTo>
                    <a:pt x="242" y="519"/>
                  </a:lnTo>
                  <a:lnTo>
                    <a:pt x="104" y="726"/>
                  </a:lnTo>
                  <a:lnTo>
                    <a:pt x="35" y="968"/>
                  </a:lnTo>
                  <a:lnTo>
                    <a:pt x="0" y="1210"/>
                  </a:lnTo>
                  <a:lnTo>
                    <a:pt x="35" y="1452"/>
                  </a:lnTo>
                  <a:lnTo>
                    <a:pt x="104" y="1659"/>
                  </a:lnTo>
                  <a:lnTo>
                    <a:pt x="208" y="1901"/>
                  </a:lnTo>
                  <a:lnTo>
                    <a:pt x="346" y="2074"/>
                  </a:lnTo>
                  <a:lnTo>
                    <a:pt x="519" y="2246"/>
                  </a:lnTo>
                  <a:lnTo>
                    <a:pt x="1037" y="2661"/>
                  </a:lnTo>
                  <a:lnTo>
                    <a:pt x="1797" y="3283"/>
                  </a:lnTo>
                  <a:lnTo>
                    <a:pt x="3698" y="4907"/>
                  </a:lnTo>
                  <a:lnTo>
                    <a:pt x="588" y="7603"/>
                  </a:lnTo>
                  <a:lnTo>
                    <a:pt x="415" y="7775"/>
                  </a:lnTo>
                  <a:lnTo>
                    <a:pt x="311" y="7983"/>
                  </a:lnTo>
                  <a:lnTo>
                    <a:pt x="208" y="8225"/>
                  </a:lnTo>
                  <a:lnTo>
                    <a:pt x="173" y="8467"/>
                  </a:lnTo>
                  <a:lnTo>
                    <a:pt x="173" y="8708"/>
                  </a:lnTo>
                  <a:lnTo>
                    <a:pt x="242" y="8950"/>
                  </a:lnTo>
                  <a:lnTo>
                    <a:pt x="346" y="9158"/>
                  </a:lnTo>
                  <a:lnTo>
                    <a:pt x="484" y="9365"/>
                  </a:lnTo>
                  <a:lnTo>
                    <a:pt x="691" y="9538"/>
                  </a:lnTo>
                  <a:lnTo>
                    <a:pt x="899" y="9676"/>
                  </a:lnTo>
                  <a:lnTo>
                    <a:pt x="1175" y="9780"/>
                  </a:lnTo>
                  <a:lnTo>
                    <a:pt x="1624" y="9780"/>
                  </a:lnTo>
                  <a:lnTo>
                    <a:pt x="1866" y="9711"/>
                  </a:lnTo>
                  <a:lnTo>
                    <a:pt x="2039" y="9641"/>
                  </a:lnTo>
                  <a:lnTo>
                    <a:pt x="2246" y="9503"/>
                  </a:lnTo>
                  <a:lnTo>
                    <a:pt x="6428" y="5840"/>
                  </a:lnTo>
                  <a:lnTo>
                    <a:pt x="6601" y="5668"/>
                  </a:lnTo>
                  <a:lnTo>
                    <a:pt x="6739" y="5426"/>
                  </a:lnTo>
                  <a:lnTo>
                    <a:pt x="6842" y="5184"/>
                  </a:lnTo>
                  <a:lnTo>
                    <a:pt x="6842" y="4907"/>
                  </a:lnTo>
                  <a:lnTo>
                    <a:pt x="6842" y="4665"/>
                  </a:lnTo>
                  <a:lnTo>
                    <a:pt x="6739" y="4389"/>
                  </a:lnTo>
                  <a:lnTo>
                    <a:pt x="6601" y="4182"/>
                  </a:lnTo>
                  <a:lnTo>
                    <a:pt x="6428" y="3974"/>
                  </a:lnTo>
                  <a:lnTo>
                    <a:pt x="4389" y="2212"/>
                  </a:lnTo>
                  <a:lnTo>
                    <a:pt x="3007" y="1037"/>
                  </a:lnTo>
                  <a:lnTo>
                    <a:pt x="2005" y="208"/>
                  </a:lnTo>
                  <a:lnTo>
                    <a:pt x="1763" y="104"/>
                  </a:lnTo>
                  <a:lnTo>
                    <a:pt x="1521" y="35"/>
                  </a:lnTo>
                  <a:lnTo>
                    <a:pt x="1279" y="0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15" name="Google Shape;1515;p16"/>
            <p:cNvSpPr/>
            <p:nvPr/>
          </p:nvSpPr>
          <p:spPr>
            <a:xfrm>
              <a:off x="5291600" y="4589625"/>
              <a:ext cx="1321800" cy="71725"/>
            </a:xfrm>
            <a:custGeom>
              <a:avLst/>
              <a:gdLst/>
              <a:ahLst/>
              <a:cxnLst/>
              <a:rect l="l" t="t" r="r" b="b"/>
              <a:pathLst>
                <a:path w="52872" h="2869" extrusionOk="0">
                  <a:moveTo>
                    <a:pt x="26021" y="1"/>
                  </a:moveTo>
                  <a:lnTo>
                    <a:pt x="20769" y="35"/>
                  </a:lnTo>
                  <a:lnTo>
                    <a:pt x="15896" y="104"/>
                  </a:lnTo>
                  <a:lnTo>
                    <a:pt x="11473" y="242"/>
                  </a:lnTo>
                  <a:lnTo>
                    <a:pt x="7603" y="415"/>
                  </a:lnTo>
                  <a:lnTo>
                    <a:pt x="5944" y="519"/>
                  </a:lnTo>
                  <a:lnTo>
                    <a:pt x="4423" y="623"/>
                  </a:lnTo>
                  <a:lnTo>
                    <a:pt x="3145" y="761"/>
                  </a:lnTo>
                  <a:lnTo>
                    <a:pt x="2039" y="864"/>
                  </a:lnTo>
                  <a:lnTo>
                    <a:pt x="1141" y="1003"/>
                  </a:lnTo>
                  <a:lnTo>
                    <a:pt x="519" y="1141"/>
                  </a:lnTo>
                  <a:lnTo>
                    <a:pt x="277" y="1210"/>
                  </a:lnTo>
                  <a:lnTo>
                    <a:pt x="138" y="1279"/>
                  </a:lnTo>
                  <a:lnTo>
                    <a:pt x="35" y="1348"/>
                  </a:lnTo>
                  <a:lnTo>
                    <a:pt x="0" y="1452"/>
                  </a:lnTo>
                  <a:lnTo>
                    <a:pt x="35" y="1521"/>
                  </a:lnTo>
                  <a:lnTo>
                    <a:pt x="138" y="1590"/>
                  </a:lnTo>
                  <a:lnTo>
                    <a:pt x="277" y="1659"/>
                  </a:lnTo>
                  <a:lnTo>
                    <a:pt x="519" y="1728"/>
                  </a:lnTo>
                  <a:lnTo>
                    <a:pt x="1141" y="1867"/>
                  </a:lnTo>
                  <a:lnTo>
                    <a:pt x="2039" y="2005"/>
                  </a:lnTo>
                  <a:lnTo>
                    <a:pt x="3145" y="2109"/>
                  </a:lnTo>
                  <a:lnTo>
                    <a:pt x="4423" y="2247"/>
                  </a:lnTo>
                  <a:lnTo>
                    <a:pt x="5944" y="2350"/>
                  </a:lnTo>
                  <a:lnTo>
                    <a:pt x="7603" y="2454"/>
                  </a:lnTo>
                  <a:lnTo>
                    <a:pt x="11473" y="2627"/>
                  </a:lnTo>
                  <a:lnTo>
                    <a:pt x="15896" y="2765"/>
                  </a:lnTo>
                  <a:lnTo>
                    <a:pt x="20769" y="2869"/>
                  </a:lnTo>
                  <a:lnTo>
                    <a:pt x="28682" y="2869"/>
                  </a:lnTo>
                  <a:lnTo>
                    <a:pt x="31308" y="2834"/>
                  </a:lnTo>
                  <a:lnTo>
                    <a:pt x="36284" y="2731"/>
                  </a:lnTo>
                  <a:lnTo>
                    <a:pt x="40846" y="2558"/>
                  </a:lnTo>
                  <a:lnTo>
                    <a:pt x="44854" y="2316"/>
                  </a:lnTo>
                  <a:lnTo>
                    <a:pt x="46582" y="2178"/>
                  </a:lnTo>
                  <a:lnTo>
                    <a:pt x="48172" y="2039"/>
                  </a:lnTo>
                  <a:lnTo>
                    <a:pt x="49554" y="1901"/>
                  </a:lnTo>
                  <a:lnTo>
                    <a:pt x="50694" y="1763"/>
                  </a:lnTo>
                  <a:lnTo>
                    <a:pt x="51627" y="1625"/>
                  </a:lnTo>
                  <a:lnTo>
                    <a:pt x="52319" y="1452"/>
                  </a:lnTo>
                  <a:lnTo>
                    <a:pt x="52560" y="1383"/>
                  </a:lnTo>
                  <a:lnTo>
                    <a:pt x="52733" y="1314"/>
                  </a:lnTo>
                  <a:lnTo>
                    <a:pt x="52837" y="1245"/>
                  </a:lnTo>
                  <a:lnTo>
                    <a:pt x="52871" y="1141"/>
                  </a:lnTo>
                  <a:lnTo>
                    <a:pt x="52837" y="1072"/>
                  </a:lnTo>
                  <a:lnTo>
                    <a:pt x="52733" y="1003"/>
                  </a:lnTo>
                  <a:lnTo>
                    <a:pt x="52560" y="934"/>
                  </a:lnTo>
                  <a:lnTo>
                    <a:pt x="52319" y="864"/>
                  </a:lnTo>
                  <a:lnTo>
                    <a:pt x="51627" y="761"/>
                  </a:lnTo>
                  <a:lnTo>
                    <a:pt x="50694" y="623"/>
                  </a:lnTo>
                  <a:lnTo>
                    <a:pt x="49554" y="519"/>
                  </a:lnTo>
                  <a:lnTo>
                    <a:pt x="48172" y="450"/>
                  </a:lnTo>
                  <a:lnTo>
                    <a:pt x="44854" y="277"/>
                  </a:lnTo>
                  <a:lnTo>
                    <a:pt x="40846" y="139"/>
                  </a:lnTo>
                  <a:lnTo>
                    <a:pt x="36284" y="70"/>
                  </a:lnTo>
                  <a:lnTo>
                    <a:pt x="31308" y="1"/>
                  </a:lnTo>
                  <a:close/>
                </a:path>
              </a:pathLst>
            </a:custGeom>
            <a:solidFill>
              <a:srgbClr val="E6E6E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16" name="Google Shape;1516;p16"/>
            <p:cNvSpPr/>
            <p:nvPr/>
          </p:nvSpPr>
          <p:spPr>
            <a:xfrm>
              <a:off x="5291600" y="4589625"/>
              <a:ext cx="1321800" cy="71725"/>
            </a:xfrm>
            <a:custGeom>
              <a:avLst/>
              <a:gdLst/>
              <a:ahLst/>
              <a:cxnLst/>
              <a:rect l="l" t="t" r="r" b="b"/>
              <a:pathLst>
                <a:path w="52872" h="2869" fill="none" extrusionOk="0">
                  <a:moveTo>
                    <a:pt x="26021" y="1"/>
                  </a:moveTo>
                  <a:lnTo>
                    <a:pt x="26021" y="1"/>
                  </a:lnTo>
                  <a:lnTo>
                    <a:pt x="20769" y="35"/>
                  </a:lnTo>
                  <a:lnTo>
                    <a:pt x="15896" y="104"/>
                  </a:lnTo>
                  <a:lnTo>
                    <a:pt x="11473" y="242"/>
                  </a:lnTo>
                  <a:lnTo>
                    <a:pt x="7603" y="415"/>
                  </a:lnTo>
                  <a:lnTo>
                    <a:pt x="5944" y="519"/>
                  </a:lnTo>
                  <a:lnTo>
                    <a:pt x="4423" y="623"/>
                  </a:lnTo>
                  <a:lnTo>
                    <a:pt x="3145" y="761"/>
                  </a:lnTo>
                  <a:lnTo>
                    <a:pt x="2039" y="864"/>
                  </a:lnTo>
                  <a:lnTo>
                    <a:pt x="1141" y="1003"/>
                  </a:lnTo>
                  <a:lnTo>
                    <a:pt x="519" y="1141"/>
                  </a:lnTo>
                  <a:lnTo>
                    <a:pt x="277" y="1210"/>
                  </a:lnTo>
                  <a:lnTo>
                    <a:pt x="138" y="1279"/>
                  </a:lnTo>
                  <a:lnTo>
                    <a:pt x="35" y="1348"/>
                  </a:lnTo>
                  <a:lnTo>
                    <a:pt x="0" y="1452"/>
                  </a:lnTo>
                  <a:lnTo>
                    <a:pt x="0" y="1452"/>
                  </a:lnTo>
                  <a:lnTo>
                    <a:pt x="35" y="1521"/>
                  </a:lnTo>
                  <a:lnTo>
                    <a:pt x="138" y="1590"/>
                  </a:lnTo>
                  <a:lnTo>
                    <a:pt x="277" y="1659"/>
                  </a:lnTo>
                  <a:lnTo>
                    <a:pt x="519" y="1728"/>
                  </a:lnTo>
                  <a:lnTo>
                    <a:pt x="1141" y="1867"/>
                  </a:lnTo>
                  <a:lnTo>
                    <a:pt x="2039" y="2005"/>
                  </a:lnTo>
                  <a:lnTo>
                    <a:pt x="3145" y="2109"/>
                  </a:lnTo>
                  <a:lnTo>
                    <a:pt x="4423" y="2247"/>
                  </a:lnTo>
                  <a:lnTo>
                    <a:pt x="5944" y="2350"/>
                  </a:lnTo>
                  <a:lnTo>
                    <a:pt x="7603" y="2454"/>
                  </a:lnTo>
                  <a:lnTo>
                    <a:pt x="11473" y="2627"/>
                  </a:lnTo>
                  <a:lnTo>
                    <a:pt x="15896" y="2765"/>
                  </a:lnTo>
                  <a:lnTo>
                    <a:pt x="20769" y="2869"/>
                  </a:lnTo>
                  <a:lnTo>
                    <a:pt x="26021" y="2869"/>
                  </a:lnTo>
                  <a:lnTo>
                    <a:pt x="26021" y="2869"/>
                  </a:lnTo>
                  <a:lnTo>
                    <a:pt x="28682" y="2869"/>
                  </a:lnTo>
                  <a:lnTo>
                    <a:pt x="31308" y="2834"/>
                  </a:lnTo>
                  <a:lnTo>
                    <a:pt x="36284" y="2731"/>
                  </a:lnTo>
                  <a:lnTo>
                    <a:pt x="40846" y="2558"/>
                  </a:lnTo>
                  <a:lnTo>
                    <a:pt x="44854" y="2316"/>
                  </a:lnTo>
                  <a:lnTo>
                    <a:pt x="46582" y="2178"/>
                  </a:lnTo>
                  <a:lnTo>
                    <a:pt x="48172" y="2039"/>
                  </a:lnTo>
                  <a:lnTo>
                    <a:pt x="49554" y="1901"/>
                  </a:lnTo>
                  <a:lnTo>
                    <a:pt x="50694" y="1763"/>
                  </a:lnTo>
                  <a:lnTo>
                    <a:pt x="51627" y="1625"/>
                  </a:lnTo>
                  <a:lnTo>
                    <a:pt x="52319" y="1452"/>
                  </a:lnTo>
                  <a:lnTo>
                    <a:pt x="52560" y="1383"/>
                  </a:lnTo>
                  <a:lnTo>
                    <a:pt x="52733" y="1314"/>
                  </a:lnTo>
                  <a:lnTo>
                    <a:pt x="52837" y="1245"/>
                  </a:lnTo>
                  <a:lnTo>
                    <a:pt x="52871" y="1141"/>
                  </a:lnTo>
                  <a:lnTo>
                    <a:pt x="52871" y="1141"/>
                  </a:lnTo>
                  <a:lnTo>
                    <a:pt x="52837" y="1072"/>
                  </a:lnTo>
                  <a:lnTo>
                    <a:pt x="52733" y="1003"/>
                  </a:lnTo>
                  <a:lnTo>
                    <a:pt x="52560" y="934"/>
                  </a:lnTo>
                  <a:lnTo>
                    <a:pt x="52319" y="864"/>
                  </a:lnTo>
                  <a:lnTo>
                    <a:pt x="51627" y="761"/>
                  </a:lnTo>
                  <a:lnTo>
                    <a:pt x="50694" y="623"/>
                  </a:lnTo>
                  <a:lnTo>
                    <a:pt x="49554" y="519"/>
                  </a:lnTo>
                  <a:lnTo>
                    <a:pt x="48172" y="450"/>
                  </a:lnTo>
                  <a:lnTo>
                    <a:pt x="44854" y="277"/>
                  </a:lnTo>
                  <a:lnTo>
                    <a:pt x="40846" y="139"/>
                  </a:lnTo>
                  <a:lnTo>
                    <a:pt x="36284" y="70"/>
                  </a:lnTo>
                  <a:lnTo>
                    <a:pt x="31308" y="1"/>
                  </a:lnTo>
                  <a:lnTo>
                    <a:pt x="2602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17" name="Google Shape;1517;p16"/>
            <p:cNvSpPr/>
            <p:nvPr/>
          </p:nvSpPr>
          <p:spPr>
            <a:xfrm>
              <a:off x="5116225" y="1564225"/>
              <a:ext cx="209950" cy="269550"/>
            </a:xfrm>
            <a:custGeom>
              <a:avLst/>
              <a:gdLst/>
              <a:ahLst/>
              <a:cxnLst/>
              <a:rect l="l" t="t" r="r" b="b"/>
              <a:pathLst>
                <a:path w="8398" h="10782" extrusionOk="0">
                  <a:moveTo>
                    <a:pt x="311" y="0"/>
                  </a:moveTo>
                  <a:lnTo>
                    <a:pt x="208" y="35"/>
                  </a:lnTo>
                  <a:lnTo>
                    <a:pt x="138" y="69"/>
                  </a:lnTo>
                  <a:lnTo>
                    <a:pt x="69" y="138"/>
                  </a:lnTo>
                  <a:lnTo>
                    <a:pt x="35" y="207"/>
                  </a:lnTo>
                  <a:lnTo>
                    <a:pt x="0" y="277"/>
                  </a:lnTo>
                  <a:lnTo>
                    <a:pt x="35" y="415"/>
                  </a:lnTo>
                  <a:lnTo>
                    <a:pt x="138" y="622"/>
                  </a:lnTo>
                  <a:lnTo>
                    <a:pt x="311" y="829"/>
                  </a:lnTo>
                  <a:lnTo>
                    <a:pt x="726" y="1348"/>
                  </a:lnTo>
                  <a:lnTo>
                    <a:pt x="1210" y="1901"/>
                  </a:lnTo>
                  <a:lnTo>
                    <a:pt x="1728" y="2488"/>
                  </a:lnTo>
                  <a:lnTo>
                    <a:pt x="1935" y="2799"/>
                  </a:lnTo>
                  <a:lnTo>
                    <a:pt x="2108" y="3076"/>
                  </a:lnTo>
                  <a:lnTo>
                    <a:pt x="2246" y="3352"/>
                  </a:lnTo>
                  <a:lnTo>
                    <a:pt x="2350" y="3628"/>
                  </a:lnTo>
                  <a:lnTo>
                    <a:pt x="2350" y="3870"/>
                  </a:lnTo>
                  <a:lnTo>
                    <a:pt x="2350" y="3974"/>
                  </a:lnTo>
                  <a:lnTo>
                    <a:pt x="2281" y="4078"/>
                  </a:lnTo>
                  <a:lnTo>
                    <a:pt x="2143" y="4285"/>
                  </a:lnTo>
                  <a:lnTo>
                    <a:pt x="1832" y="4596"/>
                  </a:lnTo>
                  <a:lnTo>
                    <a:pt x="1452" y="5011"/>
                  </a:lnTo>
                  <a:lnTo>
                    <a:pt x="1106" y="5495"/>
                  </a:lnTo>
                  <a:lnTo>
                    <a:pt x="933" y="5736"/>
                  </a:lnTo>
                  <a:lnTo>
                    <a:pt x="795" y="5978"/>
                  </a:lnTo>
                  <a:lnTo>
                    <a:pt x="691" y="6220"/>
                  </a:lnTo>
                  <a:lnTo>
                    <a:pt x="657" y="6462"/>
                  </a:lnTo>
                  <a:lnTo>
                    <a:pt x="657" y="6704"/>
                  </a:lnTo>
                  <a:lnTo>
                    <a:pt x="691" y="6946"/>
                  </a:lnTo>
                  <a:lnTo>
                    <a:pt x="830" y="7153"/>
                  </a:lnTo>
                  <a:lnTo>
                    <a:pt x="1037" y="7326"/>
                  </a:lnTo>
                  <a:lnTo>
                    <a:pt x="1210" y="7464"/>
                  </a:lnTo>
                  <a:lnTo>
                    <a:pt x="1383" y="7568"/>
                  </a:lnTo>
                  <a:lnTo>
                    <a:pt x="1728" y="7706"/>
                  </a:lnTo>
                  <a:lnTo>
                    <a:pt x="2074" y="7775"/>
                  </a:lnTo>
                  <a:lnTo>
                    <a:pt x="2385" y="7844"/>
                  </a:lnTo>
                  <a:lnTo>
                    <a:pt x="2696" y="7913"/>
                  </a:lnTo>
                  <a:lnTo>
                    <a:pt x="3041" y="8017"/>
                  </a:lnTo>
                  <a:lnTo>
                    <a:pt x="3179" y="8121"/>
                  </a:lnTo>
                  <a:lnTo>
                    <a:pt x="3352" y="8259"/>
                  </a:lnTo>
                  <a:lnTo>
                    <a:pt x="3525" y="8397"/>
                  </a:lnTo>
                  <a:lnTo>
                    <a:pt x="3663" y="8570"/>
                  </a:lnTo>
                  <a:lnTo>
                    <a:pt x="4320" y="9296"/>
                  </a:lnTo>
                  <a:lnTo>
                    <a:pt x="4873" y="9814"/>
                  </a:lnTo>
                  <a:lnTo>
                    <a:pt x="6013" y="10782"/>
                  </a:lnTo>
                  <a:lnTo>
                    <a:pt x="6428" y="10436"/>
                  </a:lnTo>
                  <a:lnTo>
                    <a:pt x="6842" y="10056"/>
                  </a:lnTo>
                  <a:lnTo>
                    <a:pt x="7292" y="9607"/>
                  </a:lnTo>
                  <a:lnTo>
                    <a:pt x="7741" y="9123"/>
                  </a:lnTo>
                  <a:lnTo>
                    <a:pt x="8121" y="8639"/>
                  </a:lnTo>
                  <a:lnTo>
                    <a:pt x="8259" y="8432"/>
                  </a:lnTo>
                  <a:lnTo>
                    <a:pt x="8328" y="8259"/>
                  </a:lnTo>
                  <a:lnTo>
                    <a:pt x="8397" y="8086"/>
                  </a:lnTo>
                  <a:lnTo>
                    <a:pt x="8363" y="7983"/>
                  </a:lnTo>
                  <a:lnTo>
                    <a:pt x="8086" y="7533"/>
                  </a:lnTo>
                  <a:lnTo>
                    <a:pt x="7672" y="7050"/>
                  </a:lnTo>
                  <a:lnTo>
                    <a:pt x="7153" y="6531"/>
                  </a:lnTo>
                  <a:lnTo>
                    <a:pt x="6428" y="5875"/>
                  </a:lnTo>
                  <a:lnTo>
                    <a:pt x="5806" y="5322"/>
                  </a:lnTo>
                  <a:lnTo>
                    <a:pt x="5218" y="4769"/>
                  </a:lnTo>
                  <a:lnTo>
                    <a:pt x="4665" y="4181"/>
                  </a:lnTo>
                  <a:lnTo>
                    <a:pt x="4043" y="3628"/>
                  </a:lnTo>
                  <a:lnTo>
                    <a:pt x="3698" y="3248"/>
                  </a:lnTo>
                  <a:lnTo>
                    <a:pt x="3179" y="2661"/>
                  </a:lnTo>
                  <a:lnTo>
                    <a:pt x="2627" y="1970"/>
                  </a:lnTo>
                  <a:lnTo>
                    <a:pt x="2039" y="1279"/>
                  </a:lnTo>
                  <a:lnTo>
                    <a:pt x="1452" y="657"/>
                  </a:lnTo>
                  <a:lnTo>
                    <a:pt x="1175" y="415"/>
                  </a:lnTo>
                  <a:lnTo>
                    <a:pt x="899" y="207"/>
                  </a:lnTo>
                  <a:lnTo>
                    <a:pt x="657" y="69"/>
                  </a:lnTo>
                  <a:lnTo>
                    <a:pt x="415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18" name="Google Shape;1518;p16"/>
            <p:cNvSpPr/>
            <p:nvPr/>
          </p:nvSpPr>
          <p:spPr>
            <a:xfrm>
              <a:off x="5966300" y="1826850"/>
              <a:ext cx="175400" cy="295475"/>
            </a:xfrm>
            <a:custGeom>
              <a:avLst/>
              <a:gdLst/>
              <a:ahLst/>
              <a:cxnLst/>
              <a:rect l="l" t="t" r="r" b="b"/>
              <a:pathLst>
                <a:path w="7016" h="11819" extrusionOk="0">
                  <a:moveTo>
                    <a:pt x="2489" y="0"/>
                  </a:moveTo>
                  <a:lnTo>
                    <a:pt x="1176" y="3594"/>
                  </a:lnTo>
                  <a:lnTo>
                    <a:pt x="1279" y="3905"/>
                  </a:lnTo>
                  <a:lnTo>
                    <a:pt x="1314" y="4389"/>
                  </a:lnTo>
                  <a:lnTo>
                    <a:pt x="1348" y="5564"/>
                  </a:lnTo>
                  <a:lnTo>
                    <a:pt x="1348" y="6289"/>
                  </a:lnTo>
                  <a:lnTo>
                    <a:pt x="1279" y="7015"/>
                  </a:lnTo>
                  <a:lnTo>
                    <a:pt x="1210" y="7706"/>
                  </a:lnTo>
                  <a:lnTo>
                    <a:pt x="1107" y="8017"/>
                  </a:lnTo>
                  <a:lnTo>
                    <a:pt x="1037" y="8294"/>
                  </a:lnTo>
                  <a:lnTo>
                    <a:pt x="934" y="8605"/>
                  </a:lnTo>
                  <a:lnTo>
                    <a:pt x="865" y="8950"/>
                  </a:lnTo>
                  <a:lnTo>
                    <a:pt x="761" y="9711"/>
                  </a:lnTo>
                  <a:lnTo>
                    <a:pt x="657" y="10125"/>
                  </a:lnTo>
                  <a:lnTo>
                    <a:pt x="519" y="10540"/>
                  </a:lnTo>
                  <a:lnTo>
                    <a:pt x="346" y="10989"/>
                  </a:lnTo>
                  <a:lnTo>
                    <a:pt x="70" y="11438"/>
                  </a:lnTo>
                  <a:lnTo>
                    <a:pt x="1" y="11577"/>
                  </a:lnTo>
                  <a:lnTo>
                    <a:pt x="1" y="11646"/>
                  </a:lnTo>
                  <a:lnTo>
                    <a:pt x="35" y="11680"/>
                  </a:lnTo>
                  <a:lnTo>
                    <a:pt x="139" y="11749"/>
                  </a:lnTo>
                  <a:lnTo>
                    <a:pt x="312" y="11784"/>
                  </a:lnTo>
                  <a:lnTo>
                    <a:pt x="519" y="11819"/>
                  </a:lnTo>
                  <a:lnTo>
                    <a:pt x="796" y="11819"/>
                  </a:lnTo>
                  <a:lnTo>
                    <a:pt x="1383" y="11715"/>
                  </a:lnTo>
                  <a:lnTo>
                    <a:pt x="2040" y="11611"/>
                  </a:lnTo>
                  <a:lnTo>
                    <a:pt x="2592" y="11473"/>
                  </a:lnTo>
                  <a:lnTo>
                    <a:pt x="3180" y="11335"/>
                  </a:lnTo>
                  <a:lnTo>
                    <a:pt x="7016" y="10263"/>
                  </a:lnTo>
                  <a:lnTo>
                    <a:pt x="6981" y="9918"/>
                  </a:lnTo>
                  <a:lnTo>
                    <a:pt x="6947" y="9538"/>
                  </a:lnTo>
                  <a:lnTo>
                    <a:pt x="6843" y="9123"/>
                  </a:lnTo>
                  <a:lnTo>
                    <a:pt x="6739" y="8674"/>
                  </a:lnTo>
                  <a:lnTo>
                    <a:pt x="6428" y="7706"/>
                  </a:lnTo>
                  <a:lnTo>
                    <a:pt x="6083" y="6704"/>
                  </a:lnTo>
                  <a:lnTo>
                    <a:pt x="5357" y="4804"/>
                  </a:lnTo>
                  <a:lnTo>
                    <a:pt x="5081" y="3974"/>
                  </a:lnTo>
                  <a:lnTo>
                    <a:pt x="4977" y="3594"/>
                  </a:lnTo>
                  <a:lnTo>
                    <a:pt x="4908" y="3283"/>
                  </a:lnTo>
                  <a:lnTo>
                    <a:pt x="4804" y="2972"/>
                  </a:lnTo>
                  <a:lnTo>
                    <a:pt x="4700" y="2661"/>
                  </a:lnTo>
                  <a:lnTo>
                    <a:pt x="4562" y="2350"/>
                  </a:lnTo>
                  <a:lnTo>
                    <a:pt x="4389" y="2039"/>
                  </a:lnTo>
                  <a:lnTo>
                    <a:pt x="4009" y="1486"/>
                  </a:lnTo>
                  <a:lnTo>
                    <a:pt x="3560" y="1002"/>
                  </a:lnTo>
                  <a:lnTo>
                    <a:pt x="3145" y="588"/>
                  </a:lnTo>
                  <a:lnTo>
                    <a:pt x="2800" y="277"/>
                  </a:lnTo>
                  <a:lnTo>
                    <a:pt x="2489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19" name="Google Shape;1519;p16"/>
            <p:cNvSpPr/>
            <p:nvPr/>
          </p:nvSpPr>
          <p:spPr>
            <a:xfrm>
              <a:off x="5966300" y="1826850"/>
              <a:ext cx="175400" cy="295475"/>
            </a:xfrm>
            <a:custGeom>
              <a:avLst/>
              <a:gdLst/>
              <a:ahLst/>
              <a:cxnLst/>
              <a:rect l="l" t="t" r="r" b="b"/>
              <a:pathLst>
                <a:path w="7016" h="11819" fill="none" extrusionOk="0">
                  <a:moveTo>
                    <a:pt x="3180" y="11335"/>
                  </a:moveTo>
                  <a:lnTo>
                    <a:pt x="7016" y="10263"/>
                  </a:lnTo>
                  <a:lnTo>
                    <a:pt x="7016" y="10263"/>
                  </a:lnTo>
                  <a:lnTo>
                    <a:pt x="6981" y="9918"/>
                  </a:lnTo>
                  <a:lnTo>
                    <a:pt x="6947" y="9538"/>
                  </a:lnTo>
                  <a:lnTo>
                    <a:pt x="6843" y="9123"/>
                  </a:lnTo>
                  <a:lnTo>
                    <a:pt x="6739" y="8674"/>
                  </a:lnTo>
                  <a:lnTo>
                    <a:pt x="6428" y="7706"/>
                  </a:lnTo>
                  <a:lnTo>
                    <a:pt x="6083" y="6704"/>
                  </a:lnTo>
                  <a:lnTo>
                    <a:pt x="5357" y="4804"/>
                  </a:lnTo>
                  <a:lnTo>
                    <a:pt x="5081" y="3974"/>
                  </a:lnTo>
                  <a:lnTo>
                    <a:pt x="4977" y="3594"/>
                  </a:lnTo>
                  <a:lnTo>
                    <a:pt x="4908" y="3283"/>
                  </a:lnTo>
                  <a:lnTo>
                    <a:pt x="4908" y="3283"/>
                  </a:lnTo>
                  <a:lnTo>
                    <a:pt x="4804" y="2972"/>
                  </a:lnTo>
                  <a:lnTo>
                    <a:pt x="4700" y="2661"/>
                  </a:lnTo>
                  <a:lnTo>
                    <a:pt x="4562" y="2350"/>
                  </a:lnTo>
                  <a:lnTo>
                    <a:pt x="4389" y="2039"/>
                  </a:lnTo>
                  <a:lnTo>
                    <a:pt x="4009" y="1486"/>
                  </a:lnTo>
                  <a:lnTo>
                    <a:pt x="3560" y="1002"/>
                  </a:lnTo>
                  <a:lnTo>
                    <a:pt x="3145" y="588"/>
                  </a:lnTo>
                  <a:lnTo>
                    <a:pt x="2800" y="277"/>
                  </a:lnTo>
                  <a:lnTo>
                    <a:pt x="2489" y="0"/>
                  </a:lnTo>
                  <a:lnTo>
                    <a:pt x="1176" y="3594"/>
                  </a:lnTo>
                  <a:lnTo>
                    <a:pt x="1279" y="3905"/>
                  </a:lnTo>
                  <a:lnTo>
                    <a:pt x="1279" y="3905"/>
                  </a:lnTo>
                  <a:lnTo>
                    <a:pt x="1314" y="4389"/>
                  </a:lnTo>
                  <a:lnTo>
                    <a:pt x="1348" y="5564"/>
                  </a:lnTo>
                  <a:lnTo>
                    <a:pt x="1348" y="6289"/>
                  </a:lnTo>
                  <a:lnTo>
                    <a:pt x="1279" y="7015"/>
                  </a:lnTo>
                  <a:lnTo>
                    <a:pt x="1210" y="7706"/>
                  </a:lnTo>
                  <a:lnTo>
                    <a:pt x="1107" y="8017"/>
                  </a:lnTo>
                  <a:lnTo>
                    <a:pt x="1037" y="8294"/>
                  </a:lnTo>
                  <a:lnTo>
                    <a:pt x="1037" y="8294"/>
                  </a:lnTo>
                  <a:lnTo>
                    <a:pt x="934" y="8605"/>
                  </a:lnTo>
                  <a:lnTo>
                    <a:pt x="865" y="8950"/>
                  </a:lnTo>
                  <a:lnTo>
                    <a:pt x="761" y="9711"/>
                  </a:lnTo>
                  <a:lnTo>
                    <a:pt x="657" y="10125"/>
                  </a:lnTo>
                  <a:lnTo>
                    <a:pt x="519" y="10540"/>
                  </a:lnTo>
                  <a:lnTo>
                    <a:pt x="346" y="10989"/>
                  </a:lnTo>
                  <a:lnTo>
                    <a:pt x="70" y="11438"/>
                  </a:lnTo>
                  <a:lnTo>
                    <a:pt x="70" y="11438"/>
                  </a:lnTo>
                  <a:lnTo>
                    <a:pt x="1" y="11577"/>
                  </a:lnTo>
                  <a:lnTo>
                    <a:pt x="1" y="11646"/>
                  </a:lnTo>
                  <a:lnTo>
                    <a:pt x="35" y="11680"/>
                  </a:lnTo>
                  <a:lnTo>
                    <a:pt x="139" y="11749"/>
                  </a:lnTo>
                  <a:lnTo>
                    <a:pt x="312" y="11784"/>
                  </a:lnTo>
                  <a:lnTo>
                    <a:pt x="519" y="11819"/>
                  </a:lnTo>
                  <a:lnTo>
                    <a:pt x="796" y="11819"/>
                  </a:lnTo>
                  <a:lnTo>
                    <a:pt x="1383" y="11715"/>
                  </a:lnTo>
                  <a:lnTo>
                    <a:pt x="2040" y="11611"/>
                  </a:lnTo>
                  <a:lnTo>
                    <a:pt x="2592" y="11473"/>
                  </a:lnTo>
                  <a:lnTo>
                    <a:pt x="3180" y="1133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20" name="Google Shape;1520;p16"/>
            <p:cNvSpPr/>
            <p:nvPr/>
          </p:nvSpPr>
          <p:spPr>
            <a:xfrm>
              <a:off x="5999125" y="1940025"/>
              <a:ext cx="900" cy="25925"/>
            </a:xfrm>
            <a:custGeom>
              <a:avLst/>
              <a:gdLst/>
              <a:ahLst/>
              <a:cxnLst/>
              <a:rect l="l" t="t" r="r" b="b"/>
              <a:pathLst>
                <a:path w="36" h="1037" extrusionOk="0">
                  <a:moveTo>
                    <a:pt x="1" y="0"/>
                  </a:moveTo>
                  <a:lnTo>
                    <a:pt x="1" y="35"/>
                  </a:lnTo>
                  <a:lnTo>
                    <a:pt x="1" y="518"/>
                  </a:lnTo>
                  <a:lnTo>
                    <a:pt x="35" y="1037"/>
                  </a:lnTo>
                  <a:lnTo>
                    <a:pt x="35" y="76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FDFE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21" name="Google Shape;1521;p16"/>
            <p:cNvSpPr/>
            <p:nvPr/>
          </p:nvSpPr>
          <p:spPr>
            <a:xfrm>
              <a:off x="5996550" y="20177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22" name="Google Shape;1522;p16"/>
            <p:cNvSpPr/>
            <p:nvPr/>
          </p:nvSpPr>
          <p:spPr>
            <a:xfrm>
              <a:off x="5999125" y="1940025"/>
              <a:ext cx="900" cy="40625"/>
            </a:xfrm>
            <a:custGeom>
              <a:avLst/>
              <a:gdLst/>
              <a:ahLst/>
              <a:cxnLst/>
              <a:rect l="l" t="t" r="r" b="b"/>
              <a:pathLst>
                <a:path w="36" h="1625" fill="none" extrusionOk="0">
                  <a:moveTo>
                    <a:pt x="1" y="0"/>
                  </a:moveTo>
                  <a:lnTo>
                    <a:pt x="1" y="35"/>
                  </a:lnTo>
                  <a:lnTo>
                    <a:pt x="1" y="35"/>
                  </a:lnTo>
                  <a:lnTo>
                    <a:pt x="1" y="518"/>
                  </a:lnTo>
                  <a:lnTo>
                    <a:pt x="35" y="1037"/>
                  </a:lnTo>
                  <a:lnTo>
                    <a:pt x="35" y="1624"/>
                  </a:lnTo>
                  <a:lnTo>
                    <a:pt x="35" y="1624"/>
                  </a:lnTo>
                  <a:lnTo>
                    <a:pt x="35" y="76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23" name="Google Shape;1523;p16"/>
            <p:cNvSpPr/>
            <p:nvPr/>
          </p:nvSpPr>
          <p:spPr>
            <a:xfrm>
              <a:off x="5996550" y="1925325"/>
              <a:ext cx="79500" cy="98525"/>
            </a:xfrm>
            <a:custGeom>
              <a:avLst/>
              <a:gdLst/>
              <a:ahLst/>
              <a:cxnLst/>
              <a:rect l="l" t="t" r="r" b="b"/>
              <a:pathLst>
                <a:path w="3180" h="3941" extrusionOk="0">
                  <a:moveTo>
                    <a:pt x="1313" y="1"/>
                  </a:moveTo>
                  <a:lnTo>
                    <a:pt x="104" y="588"/>
                  </a:lnTo>
                  <a:lnTo>
                    <a:pt x="138" y="1348"/>
                  </a:lnTo>
                  <a:lnTo>
                    <a:pt x="138" y="2212"/>
                  </a:lnTo>
                  <a:lnTo>
                    <a:pt x="104" y="2973"/>
                  </a:lnTo>
                  <a:lnTo>
                    <a:pt x="69" y="3353"/>
                  </a:lnTo>
                  <a:lnTo>
                    <a:pt x="0" y="3698"/>
                  </a:lnTo>
                  <a:lnTo>
                    <a:pt x="277" y="3802"/>
                  </a:lnTo>
                  <a:lnTo>
                    <a:pt x="553" y="3871"/>
                  </a:lnTo>
                  <a:lnTo>
                    <a:pt x="830" y="3940"/>
                  </a:lnTo>
                  <a:lnTo>
                    <a:pt x="1071" y="3940"/>
                  </a:lnTo>
                  <a:lnTo>
                    <a:pt x="1382" y="3906"/>
                  </a:lnTo>
                  <a:lnTo>
                    <a:pt x="1659" y="3871"/>
                  </a:lnTo>
                  <a:lnTo>
                    <a:pt x="1935" y="3767"/>
                  </a:lnTo>
                  <a:lnTo>
                    <a:pt x="2143" y="3629"/>
                  </a:lnTo>
                  <a:lnTo>
                    <a:pt x="2385" y="3456"/>
                  </a:lnTo>
                  <a:lnTo>
                    <a:pt x="2557" y="3284"/>
                  </a:lnTo>
                  <a:lnTo>
                    <a:pt x="2730" y="3076"/>
                  </a:lnTo>
                  <a:lnTo>
                    <a:pt x="2868" y="2869"/>
                  </a:lnTo>
                  <a:lnTo>
                    <a:pt x="2972" y="2661"/>
                  </a:lnTo>
                  <a:lnTo>
                    <a:pt x="3076" y="2454"/>
                  </a:lnTo>
                  <a:lnTo>
                    <a:pt x="3145" y="2247"/>
                  </a:lnTo>
                  <a:lnTo>
                    <a:pt x="3179" y="2039"/>
                  </a:lnTo>
                  <a:lnTo>
                    <a:pt x="3179" y="1832"/>
                  </a:lnTo>
                  <a:lnTo>
                    <a:pt x="3179" y="1659"/>
                  </a:lnTo>
                  <a:lnTo>
                    <a:pt x="3110" y="1521"/>
                  </a:lnTo>
                  <a:lnTo>
                    <a:pt x="3041" y="1383"/>
                  </a:lnTo>
                  <a:lnTo>
                    <a:pt x="2626" y="1003"/>
                  </a:lnTo>
                  <a:lnTo>
                    <a:pt x="2039" y="554"/>
                  </a:lnTo>
                  <a:lnTo>
                    <a:pt x="1313" y="1"/>
                  </a:lnTo>
                  <a:close/>
                </a:path>
              </a:pathLst>
            </a:custGeom>
            <a:solidFill>
              <a:srgbClr val="D29A9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24" name="Google Shape;1524;p16"/>
            <p:cNvSpPr/>
            <p:nvPr/>
          </p:nvSpPr>
          <p:spPr>
            <a:xfrm>
              <a:off x="5996550" y="1925325"/>
              <a:ext cx="79500" cy="98525"/>
            </a:xfrm>
            <a:custGeom>
              <a:avLst/>
              <a:gdLst/>
              <a:ahLst/>
              <a:cxnLst/>
              <a:rect l="l" t="t" r="r" b="b"/>
              <a:pathLst>
                <a:path w="3180" h="3941" fill="none" extrusionOk="0">
                  <a:moveTo>
                    <a:pt x="1313" y="1"/>
                  </a:moveTo>
                  <a:lnTo>
                    <a:pt x="104" y="588"/>
                  </a:lnTo>
                  <a:lnTo>
                    <a:pt x="104" y="588"/>
                  </a:lnTo>
                  <a:lnTo>
                    <a:pt x="138" y="1348"/>
                  </a:lnTo>
                  <a:lnTo>
                    <a:pt x="138" y="2212"/>
                  </a:lnTo>
                  <a:lnTo>
                    <a:pt x="138" y="2212"/>
                  </a:lnTo>
                  <a:lnTo>
                    <a:pt x="104" y="2973"/>
                  </a:lnTo>
                  <a:lnTo>
                    <a:pt x="69" y="3353"/>
                  </a:lnTo>
                  <a:lnTo>
                    <a:pt x="0" y="3698"/>
                  </a:lnTo>
                  <a:lnTo>
                    <a:pt x="0" y="3698"/>
                  </a:lnTo>
                  <a:lnTo>
                    <a:pt x="0" y="3698"/>
                  </a:lnTo>
                  <a:lnTo>
                    <a:pt x="0" y="3698"/>
                  </a:lnTo>
                  <a:lnTo>
                    <a:pt x="277" y="3802"/>
                  </a:lnTo>
                  <a:lnTo>
                    <a:pt x="553" y="3871"/>
                  </a:lnTo>
                  <a:lnTo>
                    <a:pt x="830" y="3940"/>
                  </a:lnTo>
                  <a:lnTo>
                    <a:pt x="1071" y="3940"/>
                  </a:lnTo>
                  <a:lnTo>
                    <a:pt x="1071" y="3940"/>
                  </a:lnTo>
                  <a:lnTo>
                    <a:pt x="1382" y="3906"/>
                  </a:lnTo>
                  <a:lnTo>
                    <a:pt x="1659" y="3871"/>
                  </a:lnTo>
                  <a:lnTo>
                    <a:pt x="1935" y="3767"/>
                  </a:lnTo>
                  <a:lnTo>
                    <a:pt x="2143" y="3629"/>
                  </a:lnTo>
                  <a:lnTo>
                    <a:pt x="2385" y="3456"/>
                  </a:lnTo>
                  <a:lnTo>
                    <a:pt x="2557" y="3284"/>
                  </a:lnTo>
                  <a:lnTo>
                    <a:pt x="2730" y="3076"/>
                  </a:lnTo>
                  <a:lnTo>
                    <a:pt x="2868" y="2869"/>
                  </a:lnTo>
                  <a:lnTo>
                    <a:pt x="2972" y="2661"/>
                  </a:lnTo>
                  <a:lnTo>
                    <a:pt x="3076" y="2454"/>
                  </a:lnTo>
                  <a:lnTo>
                    <a:pt x="3145" y="2247"/>
                  </a:lnTo>
                  <a:lnTo>
                    <a:pt x="3179" y="2039"/>
                  </a:lnTo>
                  <a:lnTo>
                    <a:pt x="3179" y="1832"/>
                  </a:lnTo>
                  <a:lnTo>
                    <a:pt x="3179" y="1659"/>
                  </a:lnTo>
                  <a:lnTo>
                    <a:pt x="3110" y="1521"/>
                  </a:lnTo>
                  <a:lnTo>
                    <a:pt x="3041" y="1383"/>
                  </a:lnTo>
                  <a:lnTo>
                    <a:pt x="3041" y="1383"/>
                  </a:lnTo>
                  <a:lnTo>
                    <a:pt x="2626" y="1003"/>
                  </a:lnTo>
                  <a:lnTo>
                    <a:pt x="2039" y="554"/>
                  </a:lnTo>
                  <a:lnTo>
                    <a:pt x="1313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25" name="Google Shape;1525;p16"/>
            <p:cNvSpPr/>
            <p:nvPr/>
          </p:nvSpPr>
          <p:spPr>
            <a:xfrm>
              <a:off x="5921375" y="1789700"/>
              <a:ext cx="179725" cy="175400"/>
            </a:xfrm>
            <a:custGeom>
              <a:avLst/>
              <a:gdLst/>
              <a:ahLst/>
              <a:cxnLst/>
              <a:rect l="l" t="t" r="r" b="b"/>
              <a:pathLst>
                <a:path w="7189" h="7016" extrusionOk="0">
                  <a:moveTo>
                    <a:pt x="2040" y="0"/>
                  </a:moveTo>
                  <a:lnTo>
                    <a:pt x="1832" y="553"/>
                  </a:lnTo>
                  <a:lnTo>
                    <a:pt x="1590" y="1037"/>
                  </a:lnTo>
                  <a:lnTo>
                    <a:pt x="1348" y="1452"/>
                  </a:lnTo>
                  <a:lnTo>
                    <a:pt x="1141" y="1832"/>
                  </a:lnTo>
                  <a:lnTo>
                    <a:pt x="726" y="2419"/>
                  </a:lnTo>
                  <a:lnTo>
                    <a:pt x="415" y="2868"/>
                  </a:lnTo>
                  <a:lnTo>
                    <a:pt x="208" y="3145"/>
                  </a:lnTo>
                  <a:lnTo>
                    <a:pt x="139" y="3283"/>
                  </a:lnTo>
                  <a:lnTo>
                    <a:pt x="104" y="3387"/>
                  </a:lnTo>
                  <a:lnTo>
                    <a:pt x="139" y="3456"/>
                  </a:lnTo>
                  <a:lnTo>
                    <a:pt x="208" y="3560"/>
                  </a:lnTo>
                  <a:lnTo>
                    <a:pt x="312" y="3629"/>
                  </a:lnTo>
                  <a:lnTo>
                    <a:pt x="485" y="3698"/>
                  </a:lnTo>
                  <a:lnTo>
                    <a:pt x="623" y="3801"/>
                  </a:lnTo>
                  <a:lnTo>
                    <a:pt x="692" y="3905"/>
                  </a:lnTo>
                  <a:lnTo>
                    <a:pt x="692" y="4078"/>
                  </a:lnTo>
                  <a:lnTo>
                    <a:pt x="692" y="4251"/>
                  </a:lnTo>
                  <a:lnTo>
                    <a:pt x="554" y="4700"/>
                  </a:lnTo>
                  <a:lnTo>
                    <a:pt x="346" y="5184"/>
                  </a:lnTo>
                  <a:lnTo>
                    <a:pt x="139" y="5668"/>
                  </a:lnTo>
                  <a:lnTo>
                    <a:pt x="70" y="5909"/>
                  </a:lnTo>
                  <a:lnTo>
                    <a:pt x="1" y="6117"/>
                  </a:lnTo>
                  <a:lnTo>
                    <a:pt x="1" y="6290"/>
                  </a:lnTo>
                  <a:lnTo>
                    <a:pt x="35" y="6462"/>
                  </a:lnTo>
                  <a:lnTo>
                    <a:pt x="104" y="6566"/>
                  </a:lnTo>
                  <a:lnTo>
                    <a:pt x="243" y="6670"/>
                  </a:lnTo>
                  <a:lnTo>
                    <a:pt x="623" y="6773"/>
                  </a:lnTo>
                  <a:lnTo>
                    <a:pt x="1037" y="6877"/>
                  </a:lnTo>
                  <a:lnTo>
                    <a:pt x="1487" y="6946"/>
                  </a:lnTo>
                  <a:lnTo>
                    <a:pt x="1901" y="6981"/>
                  </a:lnTo>
                  <a:lnTo>
                    <a:pt x="2316" y="7015"/>
                  </a:lnTo>
                  <a:lnTo>
                    <a:pt x="2731" y="6981"/>
                  </a:lnTo>
                  <a:lnTo>
                    <a:pt x="3145" y="6946"/>
                  </a:lnTo>
                  <a:lnTo>
                    <a:pt x="3526" y="6877"/>
                  </a:lnTo>
                  <a:lnTo>
                    <a:pt x="3906" y="6808"/>
                  </a:lnTo>
                  <a:lnTo>
                    <a:pt x="4251" y="6704"/>
                  </a:lnTo>
                  <a:lnTo>
                    <a:pt x="4562" y="6566"/>
                  </a:lnTo>
                  <a:lnTo>
                    <a:pt x="4873" y="6428"/>
                  </a:lnTo>
                  <a:lnTo>
                    <a:pt x="5115" y="6290"/>
                  </a:lnTo>
                  <a:lnTo>
                    <a:pt x="5357" y="6117"/>
                  </a:lnTo>
                  <a:lnTo>
                    <a:pt x="5530" y="5944"/>
                  </a:lnTo>
                  <a:lnTo>
                    <a:pt x="5668" y="5771"/>
                  </a:lnTo>
                  <a:lnTo>
                    <a:pt x="5944" y="5322"/>
                  </a:lnTo>
                  <a:lnTo>
                    <a:pt x="6186" y="4700"/>
                  </a:lnTo>
                  <a:lnTo>
                    <a:pt x="6428" y="4043"/>
                  </a:lnTo>
                  <a:lnTo>
                    <a:pt x="6670" y="3352"/>
                  </a:lnTo>
                  <a:lnTo>
                    <a:pt x="7050" y="2177"/>
                  </a:lnTo>
                  <a:lnTo>
                    <a:pt x="7189" y="1694"/>
                  </a:lnTo>
                  <a:lnTo>
                    <a:pt x="2040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26" name="Google Shape;1526;p16"/>
            <p:cNvSpPr/>
            <p:nvPr/>
          </p:nvSpPr>
          <p:spPr>
            <a:xfrm>
              <a:off x="5951625" y="1728350"/>
              <a:ext cx="200450" cy="213425"/>
            </a:xfrm>
            <a:custGeom>
              <a:avLst/>
              <a:gdLst/>
              <a:ahLst/>
              <a:cxnLst/>
              <a:rect l="l" t="t" r="r" b="b"/>
              <a:pathLst>
                <a:path w="8018" h="8537" extrusionOk="0">
                  <a:moveTo>
                    <a:pt x="933" y="1"/>
                  </a:moveTo>
                  <a:lnTo>
                    <a:pt x="761" y="35"/>
                  </a:lnTo>
                  <a:lnTo>
                    <a:pt x="622" y="104"/>
                  </a:lnTo>
                  <a:lnTo>
                    <a:pt x="484" y="208"/>
                  </a:lnTo>
                  <a:lnTo>
                    <a:pt x="346" y="346"/>
                  </a:lnTo>
                  <a:lnTo>
                    <a:pt x="242" y="519"/>
                  </a:lnTo>
                  <a:lnTo>
                    <a:pt x="138" y="726"/>
                  </a:lnTo>
                  <a:lnTo>
                    <a:pt x="35" y="1003"/>
                  </a:lnTo>
                  <a:lnTo>
                    <a:pt x="0" y="1210"/>
                  </a:lnTo>
                  <a:lnTo>
                    <a:pt x="0" y="1383"/>
                  </a:lnTo>
                  <a:lnTo>
                    <a:pt x="35" y="1556"/>
                  </a:lnTo>
                  <a:lnTo>
                    <a:pt x="69" y="1694"/>
                  </a:lnTo>
                  <a:lnTo>
                    <a:pt x="138" y="1832"/>
                  </a:lnTo>
                  <a:lnTo>
                    <a:pt x="208" y="1971"/>
                  </a:lnTo>
                  <a:lnTo>
                    <a:pt x="415" y="2212"/>
                  </a:lnTo>
                  <a:lnTo>
                    <a:pt x="657" y="2420"/>
                  </a:lnTo>
                  <a:lnTo>
                    <a:pt x="968" y="2593"/>
                  </a:lnTo>
                  <a:lnTo>
                    <a:pt x="1590" y="2938"/>
                  </a:lnTo>
                  <a:lnTo>
                    <a:pt x="1728" y="3007"/>
                  </a:lnTo>
                  <a:lnTo>
                    <a:pt x="1832" y="3111"/>
                  </a:lnTo>
                  <a:lnTo>
                    <a:pt x="1866" y="3180"/>
                  </a:lnTo>
                  <a:lnTo>
                    <a:pt x="1901" y="3249"/>
                  </a:lnTo>
                  <a:lnTo>
                    <a:pt x="1935" y="3353"/>
                  </a:lnTo>
                  <a:lnTo>
                    <a:pt x="1901" y="3422"/>
                  </a:lnTo>
                  <a:lnTo>
                    <a:pt x="1832" y="3595"/>
                  </a:lnTo>
                  <a:lnTo>
                    <a:pt x="1763" y="3733"/>
                  </a:lnTo>
                  <a:lnTo>
                    <a:pt x="1694" y="3906"/>
                  </a:lnTo>
                  <a:lnTo>
                    <a:pt x="1694" y="3975"/>
                  </a:lnTo>
                  <a:lnTo>
                    <a:pt x="1694" y="4044"/>
                  </a:lnTo>
                  <a:lnTo>
                    <a:pt x="1728" y="4113"/>
                  </a:lnTo>
                  <a:lnTo>
                    <a:pt x="1763" y="4182"/>
                  </a:lnTo>
                  <a:lnTo>
                    <a:pt x="1901" y="4320"/>
                  </a:lnTo>
                  <a:lnTo>
                    <a:pt x="2039" y="4389"/>
                  </a:lnTo>
                  <a:lnTo>
                    <a:pt x="2143" y="4459"/>
                  </a:lnTo>
                  <a:lnTo>
                    <a:pt x="2246" y="4493"/>
                  </a:lnTo>
                  <a:lnTo>
                    <a:pt x="2523" y="4528"/>
                  </a:lnTo>
                  <a:lnTo>
                    <a:pt x="2972" y="4562"/>
                  </a:lnTo>
                  <a:lnTo>
                    <a:pt x="3179" y="4631"/>
                  </a:lnTo>
                  <a:lnTo>
                    <a:pt x="3387" y="4700"/>
                  </a:lnTo>
                  <a:lnTo>
                    <a:pt x="3525" y="4804"/>
                  </a:lnTo>
                  <a:lnTo>
                    <a:pt x="3629" y="4942"/>
                  </a:lnTo>
                  <a:lnTo>
                    <a:pt x="3629" y="5011"/>
                  </a:lnTo>
                  <a:lnTo>
                    <a:pt x="3629" y="5115"/>
                  </a:lnTo>
                  <a:lnTo>
                    <a:pt x="3560" y="5288"/>
                  </a:lnTo>
                  <a:lnTo>
                    <a:pt x="3387" y="5530"/>
                  </a:lnTo>
                  <a:lnTo>
                    <a:pt x="3076" y="5806"/>
                  </a:lnTo>
                  <a:lnTo>
                    <a:pt x="2938" y="5944"/>
                  </a:lnTo>
                  <a:lnTo>
                    <a:pt x="2799" y="6083"/>
                  </a:lnTo>
                  <a:lnTo>
                    <a:pt x="2730" y="6186"/>
                  </a:lnTo>
                  <a:lnTo>
                    <a:pt x="2696" y="6290"/>
                  </a:lnTo>
                  <a:lnTo>
                    <a:pt x="2696" y="6394"/>
                  </a:lnTo>
                  <a:lnTo>
                    <a:pt x="2696" y="6497"/>
                  </a:lnTo>
                  <a:lnTo>
                    <a:pt x="2765" y="6567"/>
                  </a:lnTo>
                  <a:lnTo>
                    <a:pt x="2834" y="6601"/>
                  </a:lnTo>
                  <a:lnTo>
                    <a:pt x="3007" y="6670"/>
                  </a:lnTo>
                  <a:lnTo>
                    <a:pt x="3283" y="6705"/>
                  </a:lnTo>
                  <a:lnTo>
                    <a:pt x="3525" y="6636"/>
                  </a:lnTo>
                  <a:lnTo>
                    <a:pt x="3801" y="6567"/>
                  </a:lnTo>
                  <a:lnTo>
                    <a:pt x="4043" y="6428"/>
                  </a:lnTo>
                  <a:lnTo>
                    <a:pt x="4216" y="6290"/>
                  </a:lnTo>
                  <a:lnTo>
                    <a:pt x="4389" y="6186"/>
                  </a:lnTo>
                  <a:lnTo>
                    <a:pt x="4562" y="6117"/>
                  </a:lnTo>
                  <a:lnTo>
                    <a:pt x="4700" y="6083"/>
                  </a:lnTo>
                  <a:lnTo>
                    <a:pt x="4838" y="6083"/>
                  </a:lnTo>
                  <a:lnTo>
                    <a:pt x="4976" y="6186"/>
                  </a:lnTo>
                  <a:lnTo>
                    <a:pt x="5149" y="6394"/>
                  </a:lnTo>
                  <a:lnTo>
                    <a:pt x="5184" y="6497"/>
                  </a:lnTo>
                  <a:lnTo>
                    <a:pt x="5184" y="6601"/>
                  </a:lnTo>
                  <a:lnTo>
                    <a:pt x="5149" y="6843"/>
                  </a:lnTo>
                  <a:lnTo>
                    <a:pt x="5046" y="7119"/>
                  </a:lnTo>
                  <a:lnTo>
                    <a:pt x="4907" y="7396"/>
                  </a:lnTo>
                  <a:lnTo>
                    <a:pt x="4804" y="7707"/>
                  </a:lnTo>
                  <a:lnTo>
                    <a:pt x="4700" y="7983"/>
                  </a:lnTo>
                  <a:lnTo>
                    <a:pt x="4631" y="8260"/>
                  </a:lnTo>
                  <a:lnTo>
                    <a:pt x="4665" y="8363"/>
                  </a:lnTo>
                  <a:lnTo>
                    <a:pt x="4700" y="8467"/>
                  </a:lnTo>
                  <a:lnTo>
                    <a:pt x="4700" y="8502"/>
                  </a:lnTo>
                  <a:lnTo>
                    <a:pt x="4769" y="8536"/>
                  </a:lnTo>
                  <a:lnTo>
                    <a:pt x="4907" y="8536"/>
                  </a:lnTo>
                  <a:lnTo>
                    <a:pt x="5115" y="8502"/>
                  </a:lnTo>
                  <a:lnTo>
                    <a:pt x="5391" y="8433"/>
                  </a:lnTo>
                  <a:lnTo>
                    <a:pt x="5668" y="8329"/>
                  </a:lnTo>
                  <a:lnTo>
                    <a:pt x="5979" y="8156"/>
                  </a:lnTo>
                  <a:lnTo>
                    <a:pt x="6324" y="7983"/>
                  </a:lnTo>
                  <a:lnTo>
                    <a:pt x="6635" y="7776"/>
                  </a:lnTo>
                  <a:lnTo>
                    <a:pt x="6981" y="7534"/>
                  </a:lnTo>
                  <a:lnTo>
                    <a:pt x="7257" y="7292"/>
                  </a:lnTo>
                  <a:lnTo>
                    <a:pt x="7499" y="7016"/>
                  </a:lnTo>
                  <a:lnTo>
                    <a:pt x="7706" y="6705"/>
                  </a:lnTo>
                  <a:lnTo>
                    <a:pt x="7879" y="6394"/>
                  </a:lnTo>
                  <a:lnTo>
                    <a:pt x="7948" y="6117"/>
                  </a:lnTo>
                  <a:lnTo>
                    <a:pt x="7948" y="5944"/>
                  </a:lnTo>
                  <a:lnTo>
                    <a:pt x="7948" y="5772"/>
                  </a:lnTo>
                  <a:lnTo>
                    <a:pt x="7914" y="5633"/>
                  </a:lnTo>
                  <a:lnTo>
                    <a:pt x="7845" y="5461"/>
                  </a:lnTo>
                  <a:lnTo>
                    <a:pt x="7741" y="5219"/>
                  </a:lnTo>
                  <a:lnTo>
                    <a:pt x="7672" y="4942"/>
                  </a:lnTo>
                  <a:lnTo>
                    <a:pt x="7637" y="4700"/>
                  </a:lnTo>
                  <a:lnTo>
                    <a:pt x="7672" y="4459"/>
                  </a:lnTo>
                  <a:lnTo>
                    <a:pt x="7741" y="4009"/>
                  </a:lnTo>
                  <a:lnTo>
                    <a:pt x="7845" y="3560"/>
                  </a:lnTo>
                  <a:lnTo>
                    <a:pt x="7983" y="3145"/>
                  </a:lnTo>
                  <a:lnTo>
                    <a:pt x="8017" y="2904"/>
                  </a:lnTo>
                  <a:lnTo>
                    <a:pt x="8017" y="2696"/>
                  </a:lnTo>
                  <a:lnTo>
                    <a:pt x="7983" y="2454"/>
                  </a:lnTo>
                  <a:lnTo>
                    <a:pt x="7948" y="2212"/>
                  </a:lnTo>
                  <a:lnTo>
                    <a:pt x="7845" y="1936"/>
                  </a:lnTo>
                  <a:lnTo>
                    <a:pt x="7706" y="1694"/>
                  </a:lnTo>
                  <a:lnTo>
                    <a:pt x="7603" y="1556"/>
                  </a:lnTo>
                  <a:lnTo>
                    <a:pt x="7499" y="1452"/>
                  </a:lnTo>
                  <a:lnTo>
                    <a:pt x="7361" y="1348"/>
                  </a:lnTo>
                  <a:lnTo>
                    <a:pt x="7223" y="1314"/>
                  </a:lnTo>
                  <a:lnTo>
                    <a:pt x="6946" y="1245"/>
                  </a:lnTo>
                  <a:lnTo>
                    <a:pt x="6635" y="1210"/>
                  </a:lnTo>
                  <a:lnTo>
                    <a:pt x="5840" y="1210"/>
                  </a:lnTo>
                  <a:lnTo>
                    <a:pt x="5668" y="1176"/>
                  </a:lnTo>
                  <a:lnTo>
                    <a:pt x="5460" y="1072"/>
                  </a:lnTo>
                  <a:lnTo>
                    <a:pt x="5287" y="934"/>
                  </a:lnTo>
                  <a:lnTo>
                    <a:pt x="5184" y="796"/>
                  </a:lnTo>
                  <a:lnTo>
                    <a:pt x="5080" y="623"/>
                  </a:lnTo>
                  <a:lnTo>
                    <a:pt x="4976" y="485"/>
                  </a:lnTo>
                  <a:lnTo>
                    <a:pt x="4873" y="346"/>
                  </a:lnTo>
                  <a:lnTo>
                    <a:pt x="4665" y="208"/>
                  </a:lnTo>
                  <a:lnTo>
                    <a:pt x="4423" y="104"/>
                  </a:lnTo>
                  <a:lnTo>
                    <a:pt x="4251" y="35"/>
                  </a:lnTo>
                  <a:lnTo>
                    <a:pt x="4078" y="1"/>
                  </a:lnTo>
                  <a:lnTo>
                    <a:pt x="3905" y="1"/>
                  </a:lnTo>
                  <a:lnTo>
                    <a:pt x="3732" y="35"/>
                  </a:lnTo>
                  <a:lnTo>
                    <a:pt x="3456" y="139"/>
                  </a:lnTo>
                  <a:lnTo>
                    <a:pt x="3214" y="277"/>
                  </a:lnTo>
                  <a:lnTo>
                    <a:pt x="2972" y="415"/>
                  </a:lnTo>
                  <a:lnTo>
                    <a:pt x="2765" y="519"/>
                  </a:lnTo>
                  <a:lnTo>
                    <a:pt x="2592" y="588"/>
                  </a:lnTo>
                  <a:lnTo>
                    <a:pt x="2488" y="588"/>
                  </a:lnTo>
                  <a:lnTo>
                    <a:pt x="2385" y="554"/>
                  </a:lnTo>
                  <a:lnTo>
                    <a:pt x="2108" y="381"/>
                  </a:lnTo>
                  <a:lnTo>
                    <a:pt x="1763" y="208"/>
                  </a:lnTo>
                  <a:lnTo>
                    <a:pt x="1417" y="70"/>
                  </a:lnTo>
                  <a:lnTo>
                    <a:pt x="1072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27" name="Google Shape;1527;p16"/>
            <p:cNvSpPr/>
            <p:nvPr/>
          </p:nvSpPr>
          <p:spPr>
            <a:xfrm>
              <a:off x="5788350" y="4358975"/>
              <a:ext cx="118375" cy="213400"/>
            </a:xfrm>
            <a:custGeom>
              <a:avLst/>
              <a:gdLst/>
              <a:ahLst/>
              <a:cxnLst/>
              <a:rect l="l" t="t" r="r" b="b"/>
              <a:pathLst>
                <a:path w="4735" h="8536" extrusionOk="0">
                  <a:moveTo>
                    <a:pt x="4734" y="0"/>
                  </a:moveTo>
                  <a:lnTo>
                    <a:pt x="35" y="173"/>
                  </a:lnTo>
                  <a:lnTo>
                    <a:pt x="0" y="2523"/>
                  </a:lnTo>
                  <a:lnTo>
                    <a:pt x="0" y="4527"/>
                  </a:lnTo>
                  <a:lnTo>
                    <a:pt x="35" y="5425"/>
                  </a:lnTo>
                  <a:lnTo>
                    <a:pt x="69" y="6186"/>
                  </a:lnTo>
                  <a:lnTo>
                    <a:pt x="1382" y="8535"/>
                  </a:lnTo>
                  <a:lnTo>
                    <a:pt x="4458" y="6462"/>
                  </a:lnTo>
                  <a:lnTo>
                    <a:pt x="473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28" name="Google Shape;1528;p16"/>
            <p:cNvSpPr/>
            <p:nvPr/>
          </p:nvSpPr>
          <p:spPr>
            <a:xfrm>
              <a:off x="5566325" y="4473875"/>
              <a:ext cx="349025" cy="152925"/>
            </a:xfrm>
            <a:custGeom>
              <a:avLst/>
              <a:gdLst/>
              <a:ahLst/>
              <a:cxnLst/>
              <a:rect l="l" t="t" r="r" b="b"/>
              <a:pathLst>
                <a:path w="13961" h="6117" extrusionOk="0">
                  <a:moveTo>
                    <a:pt x="13477" y="0"/>
                  </a:moveTo>
                  <a:lnTo>
                    <a:pt x="13097" y="104"/>
                  </a:lnTo>
                  <a:lnTo>
                    <a:pt x="12579" y="276"/>
                  </a:lnTo>
                  <a:lnTo>
                    <a:pt x="11957" y="449"/>
                  </a:lnTo>
                  <a:lnTo>
                    <a:pt x="11266" y="587"/>
                  </a:lnTo>
                  <a:lnTo>
                    <a:pt x="10920" y="657"/>
                  </a:lnTo>
                  <a:lnTo>
                    <a:pt x="10574" y="691"/>
                  </a:lnTo>
                  <a:lnTo>
                    <a:pt x="10194" y="691"/>
                  </a:lnTo>
                  <a:lnTo>
                    <a:pt x="9849" y="657"/>
                  </a:lnTo>
                  <a:lnTo>
                    <a:pt x="9503" y="622"/>
                  </a:lnTo>
                  <a:lnTo>
                    <a:pt x="9192" y="518"/>
                  </a:lnTo>
                  <a:lnTo>
                    <a:pt x="8881" y="380"/>
                  </a:lnTo>
                  <a:lnTo>
                    <a:pt x="8570" y="173"/>
                  </a:lnTo>
                  <a:lnTo>
                    <a:pt x="8501" y="138"/>
                  </a:lnTo>
                  <a:lnTo>
                    <a:pt x="8294" y="138"/>
                  </a:lnTo>
                  <a:lnTo>
                    <a:pt x="8190" y="173"/>
                  </a:lnTo>
                  <a:lnTo>
                    <a:pt x="7983" y="311"/>
                  </a:lnTo>
                  <a:lnTo>
                    <a:pt x="7775" y="553"/>
                  </a:lnTo>
                  <a:lnTo>
                    <a:pt x="7533" y="795"/>
                  </a:lnTo>
                  <a:lnTo>
                    <a:pt x="7361" y="1071"/>
                  </a:lnTo>
                  <a:lnTo>
                    <a:pt x="7222" y="1382"/>
                  </a:lnTo>
                  <a:lnTo>
                    <a:pt x="7119" y="1659"/>
                  </a:lnTo>
                  <a:lnTo>
                    <a:pt x="7050" y="1797"/>
                  </a:lnTo>
                  <a:lnTo>
                    <a:pt x="6981" y="1935"/>
                  </a:lnTo>
                  <a:lnTo>
                    <a:pt x="6877" y="2073"/>
                  </a:lnTo>
                  <a:lnTo>
                    <a:pt x="6739" y="2212"/>
                  </a:lnTo>
                  <a:lnTo>
                    <a:pt x="6428" y="2419"/>
                  </a:lnTo>
                  <a:lnTo>
                    <a:pt x="6047" y="2626"/>
                  </a:lnTo>
                  <a:lnTo>
                    <a:pt x="5598" y="2799"/>
                  </a:lnTo>
                  <a:lnTo>
                    <a:pt x="5080" y="2972"/>
                  </a:lnTo>
                  <a:lnTo>
                    <a:pt x="4562" y="3110"/>
                  </a:lnTo>
                  <a:lnTo>
                    <a:pt x="4009" y="3214"/>
                  </a:lnTo>
                  <a:lnTo>
                    <a:pt x="2903" y="3387"/>
                  </a:lnTo>
                  <a:lnTo>
                    <a:pt x="1901" y="3490"/>
                  </a:lnTo>
                  <a:lnTo>
                    <a:pt x="518" y="3663"/>
                  </a:lnTo>
                  <a:lnTo>
                    <a:pt x="415" y="3698"/>
                  </a:lnTo>
                  <a:lnTo>
                    <a:pt x="346" y="3767"/>
                  </a:lnTo>
                  <a:lnTo>
                    <a:pt x="242" y="3905"/>
                  </a:lnTo>
                  <a:lnTo>
                    <a:pt x="173" y="4078"/>
                  </a:lnTo>
                  <a:lnTo>
                    <a:pt x="104" y="4250"/>
                  </a:lnTo>
                  <a:lnTo>
                    <a:pt x="35" y="4458"/>
                  </a:lnTo>
                  <a:lnTo>
                    <a:pt x="0" y="4700"/>
                  </a:lnTo>
                  <a:lnTo>
                    <a:pt x="0" y="4907"/>
                  </a:lnTo>
                  <a:lnTo>
                    <a:pt x="35" y="5149"/>
                  </a:lnTo>
                  <a:lnTo>
                    <a:pt x="104" y="5356"/>
                  </a:lnTo>
                  <a:lnTo>
                    <a:pt x="242" y="5564"/>
                  </a:lnTo>
                  <a:lnTo>
                    <a:pt x="415" y="5736"/>
                  </a:lnTo>
                  <a:lnTo>
                    <a:pt x="622" y="5909"/>
                  </a:lnTo>
                  <a:lnTo>
                    <a:pt x="899" y="6013"/>
                  </a:lnTo>
                  <a:lnTo>
                    <a:pt x="1244" y="6082"/>
                  </a:lnTo>
                  <a:lnTo>
                    <a:pt x="1659" y="6117"/>
                  </a:lnTo>
                  <a:lnTo>
                    <a:pt x="7084" y="6117"/>
                  </a:lnTo>
                  <a:lnTo>
                    <a:pt x="12648" y="6082"/>
                  </a:lnTo>
                  <a:lnTo>
                    <a:pt x="12821" y="6047"/>
                  </a:lnTo>
                  <a:lnTo>
                    <a:pt x="12993" y="6013"/>
                  </a:lnTo>
                  <a:lnTo>
                    <a:pt x="13132" y="5944"/>
                  </a:lnTo>
                  <a:lnTo>
                    <a:pt x="13270" y="5875"/>
                  </a:lnTo>
                  <a:lnTo>
                    <a:pt x="13408" y="5771"/>
                  </a:lnTo>
                  <a:lnTo>
                    <a:pt x="13512" y="5633"/>
                  </a:lnTo>
                  <a:lnTo>
                    <a:pt x="13581" y="5494"/>
                  </a:lnTo>
                  <a:lnTo>
                    <a:pt x="13650" y="5322"/>
                  </a:lnTo>
                  <a:lnTo>
                    <a:pt x="13788" y="4631"/>
                  </a:lnTo>
                  <a:lnTo>
                    <a:pt x="13892" y="3836"/>
                  </a:lnTo>
                  <a:lnTo>
                    <a:pt x="13926" y="2937"/>
                  </a:lnTo>
                  <a:lnTo>
                    <a:pt x="13961" y="2073"/>
                  </a:lnTo>
                  <a:lnTo>
                    <a:pt x="13926" y="1279"/>
                  </a:lnTo>
                  <a:lnTo>
                    <a:pt x="13823" y="622"/>
                  </a:lnTo>
                  <a:lnTo>
                    <a:pt x="13754" y="380"/>
                  </a:lnTo>
                  <a:lnTo>
                    <a:pt x="13684" y="173"/>
                  </a:lnTo>
                  <a:lnTo>
                    <a:pt x="13581" y="35"/>
                  </a:lnTo>
                  <a:lnTo>
                    <a:pt x="1347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29" name="Google Shape;1529;p16"/>
            <p:cNvSpPr/>
            <p:nvPr/>
          </p:nvSpPr>
          <p:spPr>
            <a:xfrm>
              <a:off x="6238425" y="4358975"/>
              <a:ext cx="118400" cy="213400"/>
            </a:xfrm>
            <a:custGeom>
              <a:avLst/>
              <a:gdLst/>
              <a:ahLst/>
              <a:cxnLst/>
              <a:rect l="l" t="t" r="r" b="b"/>
              <a:pathLst>
                <a:path w="4736" h="8536" extrusionOk="0">
                  <a:moveTo>
                    <a:pt x="4735" y="0"/>
                  </a:moveTo>
                  <a:lnTo>
                    <a:pt x="36" y="207"/>
                  </a:lnTo>
                  <a:lnTo>
                    <a:pt x="1" y="2557"/>
                  </a:lnTo>
                  <a:lnTo>
                    <a:pt x="36" y="4561"/>
                  </a:lnTo>
                  <a:lnTo>
                    <a:pt x="70" y="5460"/>
                  </a:lnTo>
                  <a:lnTo>
                    <a:pt x="105" y="6220"/>
                  </a:lnTo>
                  <a:lnTo>
                    <a:pt x="1418" y="8535"/>
                  </a:lnTo>
                  <a:lnTo>
                    <a:pt x="4528" y="6462"/>
                  </a:lnTo>
                  <a:lnTo>
                    <a:pt x="473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30" name="Google Shape;1530;p16"/>
            <p:cNvSpPr/>
            <p:nvPr/>
          </p:nvSpPr>
          <p:spPr>
            <a:xfrm>
              <a:off x="6019000" y="4457450"/>
              <a:ext cx="349050" cy="171950"/>
            </a:xfrm>
            <a:custGeom>
              <a:avLst/>
              <a:gdLst/>
              <a:ahLst/>
              <a:cxnLst/>
              <a:rect l="l" t="t" r="r" b="b"/>
              <a:pathLst>
                <a:path w="13962" h="6878" extrusionOk="0">
                  <a:moveTo>
                    <a:pt x="13547" y="0"/>
                  </a:moveTo>
                  <a:lnTo>
                    <a:pt x="13167" y="70"/>
                  </a:lnTo>
                  <a:lnTo>
                    <a:pt x="12717" y="104"/>
                  </a:lnTo>
                  <a:lnTo>
                    <a:pt x="11508" y="173"/>
                  </a:lnTo>
                  <a:lnTo>
                    <a:pt x="10022" y="242"/>
                  </a:lnTo>
                  <a:lnTo>
                    <a:pt x="8398" y="346"/>
                  </a:lnTo>
                  <a:lnTo>
                    <a:pt x="8225" y="381"/>
                  </a:lnTo>
                  <a:lnTo>
                    <a:pt x="8087" y="450"/>
                  </a:lnTo>
                  <a:lnTo>
                    <a:pt x="8018" y="553"/>
                  </a:lnTo>
                  <a:lnTo>
                    <a:pt x="7949" y="692"/>
                  </a:lnTo>
                  <a:lnTo>
                    <a:pt x="7880" y="1072"/>
                  </a:lnTo>
                  <a:lnTo>
                    <a:pt x="7776" y="1555"/>
                  </a:lnTo>
                  <a:lnTo>
                    <a:pt x="7741" y="1694"/>
                  </a:lnTo>
                  <a:lnTo>
                    <a:pt x="7638" y="1867"/>
                  </a:lnTo>
                  <a:lnTo>
                    <a:pt x="7534" y="2005"/>
                  </a:lnTo>
                  <a:lnTo>
                    <a:pt x="7396" y="2143"/>
                  </a:lnTo>
                  <a:lnTo>
                    <a:pt x="7050" y="2419"/>
                  </a:lnTo>
                  <a:lnTo>
                    <a:pt x="6601" y="2661"/>
                  </a:lnTo>
                  <a:lnTo>
                    <a:pt x="6117" y="2903"/>
                  </a:lnTo>
                  <a:lnTo>
                    <a:pt x="5564" y="3145"/>
                  </a:lnTo>
                  <a:lnTo>
                    <a:pt x="4942" y="3352"/>
                  </a:lnTo>
                  <a:lnTo>
                    <a:pt x="4355" y="3525"/>
                  </a:lnTo>
                  <a:lnTo>
                    <a:pt x="3111" y="3871"/>
                  </a:lnTo>
                  <a:lnTo>
                    <a:pt x="1970" y="4113"/>
                  </a:lnTo>
                  <a:lnTo>
                    <a:pt x="1072" y="4320"/>
                  </a:lnTo>
                  <a:lnTo>
                    <a:pt x="484" y="4424"/>
                  </a:lnTo>
                  <a:lnTo>
                    <a:pt x="415" y="4458"/>
                  </a:lnTo>
                  <a:lnTo>
                    <a:pt x="312" y="4527"/>
                  </a:lnTo>
                  <a:lnTo>
                    <a:pt x="208" y="4666"/>
                  </a:lnTo>
                  <a:lnTo>
                    <a:pt x="139" y="4838"/>
                  </a:lnTo>
                  <a:lnTo>
                    <a:pt x="70" y="5011"/>
                  </a:lnTo>
                  <a:lnTo>
                    <a:pt x="1" y="5218"/>
                  </a:lnTo>
                  <a:lnTo>
                    <a:pt x="1" y="5460"/>
                  </a:lnTo>
                  <a:lnTo>
                    <a:pt x="1" y="5668"/>
                  </a:lnTo>
                  <a:lnTo>
                    <a:pt x="35" y="5910"/>
                  </a:lnTo>
                  <a:lnTo>
                    <a:pt x="104" y="6117"/>
                  </a:lnTo>
                  <a:lnTo>
                    <a:pt x="208" y="6324"/>
                  </a:lnTo>
                  <a:lnTo>
                    <a:pt x="381" y="6497"/>
                  </a:lnTo>
                  <a:lnTo>
                    <a:pt x="623" y="6670"/>
                  </a:lnTo>
                  <a:lnTo>
                    <a:pt x="899" y="6774"/>
                  </a:lnTo>
                  <a:lnTo>
                    <a:pt x="1245" y="6843"/>
                  </a:lnTo>
                  <a:lnTo>
                    <a:pt x="1659" y="6877"/>
                  </a:lnTo>
                  <a:lnTo>
                    <a:pt x="7085" y="6808"/>
                  </a:lnTo>
                  <a:lnTo>
                    <a:pt x="12648" y="6739"/>
                  </a:lnTo>
                  <a:lnTo>
                    <a:pt x="12821" y="6704"/>
                  </a:lnTo>
                  <a:lnTo>
                    <a:pt x="12994" y="6670"/>
                  </a:lnTo>
                  <a:lnTo>
                    <a:pt x="13132" y="6601"/>
                  </a:lnTo>
                  <a:lnTo>
                    <a:pt x="13270" y="6532"/>
                  </a:lnTo>
                  <a:lnTo>
                    <a:pt x="13409" y="6393"/>
                  </a:lnTo>
                  <a:lnTo>
                    <a:pt x="13512" y="6290"/>
                  </a:lnTo>
                  <a:lnTo>
                    <a:pt x="13581" y="6117"/>
                  </a:lnTo>
                  <a:lnTo>
                    <a:pt x="13650" y="5979"/>
                  </a:lnTo>
                  <a:lnTo>
                    <a:pt x="13789" y="5253"/>
                  </a:lnTo>
                  <a:lnTo>
                    <a:pt x="13892" y="4389"/>
                  </a:lnTo>
                  <a:lnTo>
                    <a:pt x="13961" y="3387"/>
                  </a:lnTo>
                  <a:lnTo>
                    <a:pt x="13961" y="2419"/>
                  </a:lnTo>
                  <a:lnTo>
                    <a:pt x="13961" y="1486"/>
                  </a:lnTo>
                  <a:lnTo>
                    <a:pt x="13892" y="726"/>
                  </a:lnTo>
                  <a:lnTo>
                    <a:pt x="13823" y="450"/>
                  </a:lnTo>
                  <a:lnTo>
                    <a:pt x="13754" y="208"/>
                  </a:lnTo>
                  <a:lnTo>
                    <a:pt x="13650" y="70"/>
                  </a:lnTo>
                  <a:lnTo>
                    <a:pt x="13616" y="35"/>
                  </a:lnTo>
                  <a:lnTo>
                    <a:pt x="1354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31" name="Google Shape;1531;p16"/>
            <p:cNvSpPr/>
            <p:nvPr/>
          </p:nvSpPr>
          <p:spPr>
            <a:xfrm>
              <a:off x="5740825" y="2709750"/>
              <a:ext cx="672150" cy="1752050"/>
            </a:xfrm>
            <a:custGeom>
              <a:avLst/>
              <a:gdLst/>
              <a:ahLst/>
              <a:cxnLst/>
              <a:rect l="l" t="t" r="r" b="b"/>
              <a:pathLst>
                <a:path w="26886" h="70082" extrusionOk="0">
                  <a:moveTo>
                    <a:pt x="17210" y="1"/>
                  </a:moveTo>
                  <a:lnTo>
                    <a:pt x="16277" y="35"/>
                  </a:lnTo>
                  <a:lnTo>
                    <a:pt x="14445" y="174"/>
                  </a:lnTo>
                  <a:lnTo>
                    <a:pt x="12648" y="346"/>
                  </a:lnTo>
                  <a:lnTo>
                    <a:pt x="10989" y="554"/>
                  </a:lnTo>
                  <a:lnTo>
                    <a:pt x="9504" y="796"/>
                  </a:lnTo>
                  <a:lnTo>
                    <a:pt x="8225" y="1003"/>
                  </a:lnTo>
                  <a:lnTo>
                    <a:pt x="7257" y="1176"/>
                  </a:lnTo>
                  <a:lnTo>
                    <a:pt x="6428" y="1349"/>
                  </a:lnTo>
                  <a:lnTo>
                    <a:pt x="5910" y="4942"/>
                  </a:lnTo>
                  <a:lnTo>
                    <a:pt x="5149" y="9849"/>
                  </a:lnTo>
                  <a:lnTo>
                    <a:pt x="3283" y="21668"/>
                  </a:lnTo>
                  <a:lnTo>
                    <a:pt x="1486" y="32657"/>
                  </a:lnTo>
                  <a:lnTo>
                    <a:pt x="484" y="38600"/>
                  </a:lnTo>
                  <a:lnTo>
                    <a:pt x="415" y="39050"/>
                  </a:lnTo>
                  <a:lnTo>
                    <a:pt x="346" y="39602"/>
                  </a:lnTo>
                  <a:lnTo>
                    <a:pt x="242" y="41054"/>
                  </a:lnTo>
                  <a:lnTo>
                    <a:pt x="139" y="42885"/>
                  </a:lnTo>
                  <a:lnTo>
                    <a:pt x="104" y="45028"/>
                  </a:lnTo>
                  <a:lnTo>
                    <a:pt x="1" y="49935"/>
                  </a:lnTo>
                  <a:lnTo>
                    <a:pt x="1" y="55187"/>
                  </a:lnTo>
                  <a:lnTo>
                    <a:pt x="35" y="60267"/>
                  </a:lnTo>
                  <a:lnTo>
                    <a:pt x="70" y="64587"/>
                  </a:lnTo>
                  <a:lnTo>
                    <a:pt x="104" y="68734"/>
                  </a:lnTo>
                  <a:lnTo>
                    <a:pt x="312" y="69045"/>
                  </a:lnTo>
                  <a:lnTo>
                    <a:pt x="588" y="69321"/>
                  </a:lnTo>
                  <a:lnTo>
                    <a:pt x="934" y="69528"/>
                  </a:lnTo>
                  <a:lnTo>
                    <a:pt x="1279" y="69736"/>
                  </a:lnTo>
                  <a:lnTo>
                    <a:pt x="1694" y="69874"/>
                  </a:lnTo>
                  <a:lnTo>
                    <a:pt x="2143" y="69978"/>
                  </a:lnTo>
                  <a:lnTo>
                    <a:pt x="2592" y="70047"/>
                  </a:lnTo>
                  <a:lnTo>
                    <a:pt x="3111" y="70081"/>
                  </a:lnTo>
                  <a:lnTo>
                    <a:pt x="3594" y="70081"/>
                  </a:lnTo>
                  <a:lnTo>
                    <a:pt x="4113" y="70012"/>
                  </a:lnTo>
                  <a:lnTo>
                    <a:pt x="4631" y="69943"/>
                  </a:lnTo>
                  <a:lnTo>
                    <a:pt x="5115" y="69839"/>
                  </a:lnTo>
                  <a:lnTo>
                    <a:pt x="5633" y="69701"/>
                  </a:lnTo>
                  <a:lnTo>
                    <a:pt x="6082" y="69528"/>
                  </a:lnTo>
                  <a:lnTo>
                    <a:pt x="6566" y="69321"/>
                  </a:lnTo>
                  <a:lnTo>
                    <a:pt x="6981" y="69114"/>
                  </a:lnTo>
                  <a:lnTo>
                    <a:pt x="7050" y="68975"/>
                  </a:lnTo>
                  <a:lnTo>
                    <a:pt x="7085" y="68734"/>
                  </a:lnTo>
                  <a:lnTo>
                    <a:pt x="7188" y="67939"/>
                  </a:lnTo>
                  <a:lnTo>
                    <a:pt x="7257" y="66764"/>
                  </a:lnTo>
                  <a:lnTo>
                    <a:pt x="7292" y="65278"/>
                  </a:lnTo>
                  <a:lnTo>
                    <a:pt x="7326" y="61477"/>
                  </a:lnTo>
                  <a:lnTo>
                    <a:pt x="7396" y="56915"/>
                  </a:lnTo>
                  <a:lnTo>
                    <a:pt x="7465" y="52043"/>
                  </a:lnTo>
                  <a:lnTo>
                    <a:pt x="7568" y="49589"/>
                  </a:lnTo>
                  <a:lnTo>
                    <a:pt x="7672" y="47205"/>
                  </a:lnTo>
                  <a:lnTo>
                    <a:pt x="7810" y="44924"/>
                  </a:lnTo>
                  <a:lnTo>
                    <a:pt x="8018" y="42816"/>
                  </a:lnTo>
                  <a:lnTo>
                    <a:pt x="8121" y="41814"/>
                  </a:lnTo>
                  <a:lnTo>
                    <a:pt x="8259" y="40881"/>
                  </a:lnTo>
                  <a:lnTo>
                    <a:pt x="8398" y="40017"/>
                  </a:lnTo>
                  <a:lnTo>
                    <a:pt x="8536" y="39222"/>
                  </a:lnTo>
                  <a:lnTo>
                    <a:pt x="9020" y="37218"/>
                  </a:lnTo>
                  <a:lnTo>
                    <a:pt x="9573" y="35076"/>
                  </a:lnTo>
                  <a:lnTo>
                    <a:pt x="10195" y="32829"/>
                  </a:lnTo>
                  <a:lnTo>
                    <a:pt x="10886" y="30618"/>
                  </a:lnTo>
                  <a:lnTo>
                    <a:pt x="11542" y="28441"/>
                  </a:lnTo>
                  <a:lnTo>
                    <a:pt x="12233" y="26367"/>
                  </a:lnTo>
                  <a:lnTo>
                    <a:pt x="13408" y="22808"/>
                  </a:lnTo>
                  <a:lnTo>
                    <a:pt x="14203" y="20493"/>
                  </a:lnTo>
                  <a:lnTo>
                    <a:pt x="14549" y="19594"/>
                  </a:lnTo>
                  <a:lnTo>
                    <a:pt x="15620" y="26989"/>
                  </a:lnTo>
                  <a:lnTo>
                    <a:pt x="16000" y="29477"/>
                  </a:lnTo>
                  <a:lnTo>
                    <a:pt x="16277" y="31516"/>
                  </a:lnTo>
                  <a:lnTo>
                    <a:pt x="16518" y="33486"/>
                  </a:lnTo>
                  <a:lnTo>
                    <a:pt x="16691" y="35559"/>
                  </a:lnTo>
                  <a:lnTo>
                    <a:pt x="16864" y="38117"/>
                  </a:lnTo>
                  <a:lnTo>
                    <a:pt x="17037" y="41434"/>
                  </a:lnTo>
                  <a:lnTo>
                    <a:pt x="17486" y="50799"/>
                  </a:lnTo>
                  <a:lnTo>
                    <a:pt x="17866" y="59334"/>
                  </a:lnTo>
                  <a:lnTo>
                    <a:pt x="18246" y="67939"/>
                  </a:lnTo>
                  <a:lnTo>
                    <a:pt x="19352" y="68181"/>
                  </a:lnTo>
                  <a:lnTo>
                    <a:pt x="20320" y="68353"/>
                  </a:lnTo>
                  <a:lnTo>
                    <a:pt x="21184" y="68492"/>
                  </a:lnTo>
                  <a:lnTo>
                    <a:pt x="21978" y="68561"/>
                  </a:lnTo>
                  <a:lnTo>
                    <a:pt x="22739" y="68561"/>
                  </a:lnTo>
                  <a:lnTo>
                    <a:pt x="23084" y="68492"/>
                  </a:lnTo>
                  <a:lnTo>
                    <a:pt x="23464" y="68457"/>
                  </a:lnTo>
                  <a:lnTo>
                    <a:pt x="23844" y="68353"/>
                  </a:lnTo>
                  <a:lnTo>
                    <a:pt x="24225" y="68250"/>
                  </a:lnTo>
                  <a:lnTo>
                    <a:pt x="24605" y="68112"/>
                  </a:lnTo>
                  <a:lnTo>
                    <a:pt x="25019" y="67939"/>
                  </a:lnTo>
                  <a:lnTo>
                    <a:pt x="25054" y="66315"/>
                  </a:lnTo>
                  <a:lnTo>
                    <a:pt x="25123" y="63619"/>
                  </a:lnTo>
                  <a:lnTo>
                    <a:pt x="25296" y="56155"/>
                  </a:lnTo>
                  <a:lnTo>
                    <a:pt x="25399" y="51939"/>
                  </a:lnTo>
                  <a:lnTo>
                    <a:pt x="25469" y="47792"/>
                  </a:lnTo>
                  <a:lnTo>
                    <a:pt x="25503" y="44026"/>
                  </a:lnTo>
                  <a:lnTo>
                    <a:pt x="25469" y="42332"/>
                  </a:lnTo>
                  <a:lnTo>
                    <a:pt x="25469" y="40847"/>
                  </a:lnTo>
                  <a:lnTo>
                    <a:pt x="25434" y="39430"/>
                  </a:lnTo>
                  <a:lnTo>
                    <a:pt x="25434" y="37909"/>
                  </a:lnTo>
                  <a:lnTo>
                    <a:pt x="25469" y="34730"/>
                  </a:lnTo>
                  <a:lnTo>
                    <a:pt x="25572" y="31447"/>
                  </a:lnTo>
                  <a:lnTo>
                    <a:pt x="25745" y="28199"/>
                  </a:lnTo>
                  <a:lnTo>
                    <a:pt x="25952" y="25123"/>
                  </a:lnTo>
                  <a:lnTo>
                    <a:pt x="26125" y="22393"/>
                  </a:lnTo>
                  <a:lnTo>
                    <a:pt x="26332" y="20113"/>
                  </a:lnTo>
                  <a:lnTo>
                    <a:pt x="26505" y="18454"/>
                  </a:lnTo>
                  <a:lnTo>
                    <a:pt x="26643" y="17141"/>
                  </a:lnTo>
                  <a:lnTo>
                    <a:pt x="26747" y="15931"/>
                  </a:lnTo>
                  <a:lnTo>
                    <a:pt x="26816" y="14895"/>
                  </a:lnTo>
                  <a:lnTo>
                    <a:pt x="26851" y="13893"/>
                  </a:lnTo>
                  <a:lnTo>
                    <a:pt x="26885" y="12165"/>
                  </a:lnTo>
                  <a:lnTo>
                    <a:pt x="26851" y="10644"/>
                  </a:lnTo>
                  <a:lnTo>
                    <a:pt x="26782" y="9297"/>
                  </a:lnTo>
                  <a:lnTo>
                    <a:pt x="26713" y="7776"/>
                  </a:lnTo>
                  <a:lnTo>
                    <a:pt x="26713" y="7016"/>
                  </a:lnTo>
                  <a:lnTo>
                    <a:pt x="26713" y="6256"/>
                  </a:lnTo>
                  <a:lnTo>
                    <a:pt x="26678" y="5046"/>
                  </a:lnTo>
                  <a:lnTo>
                    <a:pt x="26609" y="3768"/>
                  </a:lnTo>
                  <a:lnTo>
                    <a:pt x="26574" y="3456"/>
                  </a:lnTo>
                  <a:lnTo>
                    <a:pt x="26505" y="3180"/>
                  </a:lnTo>
                  <a:lnTo>
                    <a:pt x="26402" y="2904"/>
                  </a:lnTo>
                  <a:lnTo>
                    <a:pt x="26263" y="2627"/>
                  </a:lnTo>
                  <a:lnTo>
                    <a:pt x="26125" y="2385"/>
                  </a:lnTo>
                  <a:lnTo>
                    <a:pt x="25952" y="2143"/>
                  </a:lnTo>
                  <a:lnTo>
                    <a:pt x="25780" y="1936"/>
                  </a:lnTo>
                  <a:lnTo>
                    <a:pt x="25572" y="1729"/>
                  </a:lnTo>
                  <a:lnTo>
                    <a:pt x="25330" y="1556"/>
                  </a:lnTo>
                  <a:lnTo>
                    <a:pt x="25088" y="1383"/>
                  </a:lnTo>
                  <a:lnTo>
                    <a:pt x="24501" y="1038"/>
                  </a:lnTo>
                  <a:lnTo>
                    <a:pt x="23879" y="796"/>
                  </a:lnTo>
                  <a:lnTo>
                    <a:pt x="23188" y="554"/>
                  </a:lnTo>
                  <a:lnTo>
                    <a:pt x="22462" y="381"/>
                  </a:lnTo>
                  <a:lnTo>
                    <a:pt x="21667" y="243"/>
                  </a:lnTo>
                  <a:lnTo>
                    <a:pt x="20838" y="139"/>
                  </a:lnTo>
                  <a:lnTo>
                    <a:pt x="19940" y="70"/>
                  </a:lnTo>
                  <a:lnTo>
                    <a:pt x="19076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32" name="Google Shape;1532;p16"/>
            <p:cNvSpPr/>
            <p:nvPr/>
          </p:nvSpPr>
          <p:spPr>
            <a:xfrm>
              <a:off x="5740825" y="2709750"/>
              <a:ext cx="672150" cy="1752050"/>
            </a:xfrm>
            <a:custGeom>
              <a:avLst/>
              <a:gdLst/>
              <a:ahLst/>
              <a:cxnLst/>
              <a:rect l="l" t="t" r="r" b="b"/>
              <a:pathLst>
                <a:path w="26886" h="70082" fill="none" extrusionOk="0">
                  <a:moveTo>
                    <a:pt x="26747" y="15931"/>
                  </a:moveTo>
                  <a:lnTo>
                    <a:pt x="26747" y="15931"/>
                  </a:lnTo>
                  <a:lnTo>
                    <a:pt x="26643" y="17141"/>
                  </a:lnTo>
                  <a:lnTo>
                    <a:pt x="26505" y="18454"/>
                  </a:lnTo>
                  <a:lnTo>
                    <a:pt x="26505" y="18454"/>
                  </a:lnTo>
                  <a:lnTo>
                    <a:pt x="26332" y="20113"/>
                  </a:lnTo>
                  <a:lnTo>
                    <a:pt x="26125" y="22393"/>
                  </a:lnTo>
                  <a:lnTo>
                    <a:pt x="25952" y="25123"/>
                  </a:lnTo>
                  <a:lnTo>
                    <a:pt x="25745" y="28199"/>
                  </a:lnTo>
                  <a:lnTo>
                    <a:pt x="25572" y="31447"/>
                  </a:lnTo>
                  <a:lnTo>
                    <a:pt x="25469" y="34730"/>
                  </a:lnTo>
                  <a:lnTo>
                    <a:pt x="25434" y="37909"/>
                  </a:lnTo>
                  <a:lnTo>
                    <a:pt x="25434" y="39430"/>
                  </a:lnTo>
                  <a:lnTo>
                    <a:pt x="25469" y="40847"/>
                  </a:lnTo>
                  <a:lnTo>
                    <a:pt x="25469" y="40847"/>
                  </a:lnTo>
                  <a:lnTo>
                    <a:pt x="25469" y="42332"/>
                  </a:lnTo>
                  <a:lnTo>
                    <a:pt x="25503" y="44026"/>
                  </a:lnTo>
                  <a:lnTo>
                    <a:pt x="25469" y="47792"/>
                  </a:lnTo>
                  <a:lnTo>
                    <a:pt x="25399" y="51939"/>
                  </a:lnTo>
                  <a:lnTo>
                    <a:pt x="25296" y="56155"/>
                  </a:lnTo>
                  <a:lnTo>
                    <a:pt x="25123" y="63619"/>
                  </a:lnTo>
                  <a:lnTo>
                    <a:pt x="25054" y="66315"/>
                  </a:lnTo>
                  <a:lnTo>
                    <a:pt x="25019" y="67939"/>
                  </a:lnTo>
                  <a:lnTo>
                    <a:pt x="25019" y="67939"/>
                  </a:lnTo>
                  <a:lnTo>
                    <a:pt x="24605" y="68112"/>
                  </a:lnTo>
                  <a:lnTo>
                    <a:pt x="24225" y="68250"/>
                  </a:lnTo>
                  <a:lnTo>
                    <a:pt x="23844" y="68353"/>
                  </a:lnTo>
                  <a:lnTo>
                    <a:pt x="23464" y="68457"/>
                  </a:lnTo>
                  <a:lnTo>
                    <a:pt x="23084" y="68492"/>
                  </a:lnTo>
                  <a:lnTo>
                    <a:pt x="22739" y="68561"/>
                  </a:lnTo>
                  <a:lnTo>
                    <a:pt x="22358" y="68561"/>
                  </a:lnTo>
                  <a:lnTo>
                    <a:pt x="21978" y="68561"/>
                  </a:lnTo>
                  <a:lnTo>
                    <a:pt x="21184" y="68492"/>
                  </a:lnTo>
                  <a:lnTo>
                    <a:pt x="20320" y="68353"/>
                  </a:lnTo>
                  <a:lnTo>
                    <a:pt x="19352" y="68181"/>
                  </a:lnTo>
                  <a:lnTo>
                    <a:pt x="18246" y="67939"/>
                  </a:lnTo>
                  <a:lnTo>
                    <a:pt x="18246" y="67939"/>
                  </a:lnTo>
                  <a:lnTo>
                    <a:pt x="17866" y="59334"/>
                  </a:lnTo>
                  <a:lnTo>
                    <a:pt x="17486" y="50799"/>
                  </a:lnTo>
                  <a:lnTo>
                    <a:pt x="17037" y="41434"/>
                  </a:lnTo>
                  <a:lnTo>
                    <a:pt x="17037" y="41434"/>
                  </a:lnTo>
                  <a:lnTo>
                    <a:pt x="16864" y="38117"/>
                  </a:lnTo>
                  <a:lnTo>
                    <a:pt x="16691" y="35559"/>
                  </a:lnTo>
                  <a:lnTo>
                    <a:pt x="16518" y="33486"/>
                  </a:lnTo>
                  <a:lnTo>
                    <a:pt x="16277" y="31516"/>
                  </a:lnTo>
                  <a:lnTo>
                    <a:pt x="16000" y="29477"/>
                  </a:lnTo>
                  <a:lnTo>
                    <a:pt x="15620" y="26989"/>
                  </a:lnTo>
                  <a:lnTo>
                    <a:pt x="14549" y="19594"/>
                  </a:lnTo>
                  <a:lnTo>
                    <a:pt x="14549" y="19594"/>
                  </a:lnTo>
                  <a:lnTo>
                    <a:pt x="14549" y="19594"/>
                  </a:lnTo>
                  <a:lnTo>
                    <a:pt x="14203" y="20493"/>
                  </a:lnTo>
                  <a:lnTo>
                    <a:pt x="13408" y="22808"/>
                  </a:lnTo>
                  <a:lnTo>
                    <a:pt x="13408" y="22808"/>
                  </a:lnTo>
                  <a:lnTo>
                    <a:pt x="12233" y="26367"/>
                  </a:lnTo>
                  <a:lnTo>
                    <a:pt x="11542" y="28441"/>
                  </a:lnTo>
                  <a:lnTo>
                    <a:pt x="10886" y="30618"/>
                  </a:lnTo>
                  <a:lnTo>
                    <a:pt x="10195" y="32829"/>
                  </a:lnTo>
                  <a:lnTo>
                    <a:pt x="9573" y="35076"/>
                  </a:lnTo>
                  <a:lnTo>
                    <a:pt x="9020" y="37218"/>
                  </a:lnTo>
                  <a:lnTo>
                    <a:pt x="8536" y="39222"/>
                  </a:lnTo>
                  <a:lnTo>
                    <a:pt x="8536" y="39222"/>
                  </a:lnTo>
                  <a:lnTo>
                    <a:pt x="8398" y="40017"/>
                  </a:lnTo>
                  <a:lnTo>
                    <a:pt x="8259" y="40881"/>
                  </a:lnTo>
                  <a:lnTo>
                    <a:pt x="8121" y="41814"/>
                  </a:lnTo>
                  <a:lnTo>
                    <a:pt x="8018" y="42816"/>
                  </a:lnTo>
                  <a:lnTo>
                    <a:pt x="7810" y="44924"/>
                  </a:lnTo>
                  <a:lnTo>
                    <a:pt x="7672" y="47205"/>
                  </a:lnTo>
                  <a:lnTo>
                    <a:pt x="7568" y="49589"/>
                  </a:lnTo>
                  <a:lnTo>
                    <a:pt x="7465" y="52043"/>
                  </a:lnTo>
                  <a:lnTo>
                    <a:pt x="7396" y="56915"/>
                  </a:lnTo>
                  <a:lnTo>
                    <a:pt x="7326" y="61477"/>
                  </a:lnTo>
                  <a:lnTo>
                    <a:pt x="7292" y="65278"/>
                  </a:lnTo>
                  <a:lnTo>
                    <a:pt x="7257" y="66764"/>
                  </a:lnTo>
                  <a:lnTo>
                    <a:pt x="7188" y="67939"/>
                  </a:lnTo>
                  <a:lnTo>
                    <a:pt x="7085" y="68734"/>
                  </a:lnTo>
                  <a:lnTo>
                    <a:pt x="7050" y="68975"/>
                  </a:lnTo>
                  <a:lnTo>
                    <a:pt x="6981" y="69114"/>
                  </a:lnTo>
                  <a:lnTo>
                    <a:pt x="6981" y="69114"/>
                  </a:lnTo>
                  <a:lnTo>
                    <a:pt x="6566" y="69321"/>
                  </a:lnTo>
                  <a:lnTo>
                    <a:pt x="6082" y="69528"/>
                  </a:lnTo>
                  <a:lnTo>
                    <a:pt x="5633" y="69701"/>
                  </a:lnTo>
                  <a:lnTo>
                    <a:pt x="5115" y="69839"/>
                  </a:lnTo>
                  <a:lnTo>
                    <a:pt x="4631" y="69943"/>
                  </a:lnTo>
                  <a:lnTo>
                    <a:pt x="4113" y="70012"/>
                  </a:lnTo>
                  <a:lnTo>
                    <a:pt x="3594" y="70081"/>
                  </a:lnTo>
                  <a:lnTo>
                    <a:pt x="3111" y="70081"/>
                  </a:lnTo>
                  <a:lnTo>
                    <a:pt x="2592" y="70047"/>
                  </a:lnTo>
                  <a:lnTo>
                    <a:pt x="2143" y="69978"/>
                  </a:lnTo>
                  <a:lnTo>
                    <a:pt x="1694" y="69874"/>
                  </a:lnTo>
                  <a:lnTo>
                    <a:pt x="1279" y="69736"/>
                  </a:lnTo>
                  <a:lnTo>
                    <a:pt x="934" y="69528"/>
                  </a:lnTo>
                  <a:lnTo>
                    <a:pt x="588" y="69321"/>
                  </a:lnTo>
                  <a:lnTo>
                    <a:pt x="312" y="69045"/>
                  </a:lnTo>
                  <a:lnTo>
                    <a:pt x="104" y="68734"/>
                  </a:lnTo>
                  <a:lnTo>
                    <a:pt x="104" y="68734"/>
                  </a:lnTo>
                  <a:lnTo>
                    <a:pt x="70" y="64587"/>
                  </a:lnTo>
                  <a:lnTo>
                    <a:pt x="35" y="60267"/>
                  </a:lnTo>
                  <a:lnTo>
                    <a:pt x="1" y="55187"/>
                  </a:lnTo>
                  <a:lnTo>
                    <a:pt x="1" y="49935"/>
                  </a:lnTo>
                  <a:lnTo>
                    <a:pt x="104" y="45028"/>
                  </a:lnTo>
                  <a:lnTo>
                    <a:pt x="139" y="42885"/>
                  </a:lnTo>
                  <a:lnTo>
                    <a:pt x="242" y="41054"/>
                  </a:lnTo>
                  <a:lnTo>
                    <a:pt x="346" y="39602"/>
                  </a:lnTo>
                  <a:lnTo>
                    <a:pt x="415" y="39050"/>
                  </a:lnTo>
                  <a:lnTo>
                    <a:pt x="484" y="38600"/>
                  </a:lnTo>
                  <a:lnTo>
                    <a:pt x="484" y="38600"/>
                  </a:lnTo>
                  <a:lnTo>
                    <a:pt x="1486" y="32657"/>
                  </a:lnTo>
                  <a:lnTo>
                    <a:pt x="3283" y="21668"/>
                  </a:lnTo>
                  <a:lnTo>
                    <a:pt x="5149" y="9849"/>
                  </a:lnTo>
                  <a:lnTo>
                    <a:pt x="5910" y="4942"/>
                  </a:lnTo>
                  <a:lnTo>
                    <a:pt x="6428" y="1349"/>
                  </a:lnTo>
                  <a:lnTo>
                    <a:pt x="6428" y="1349"/>
                  </a:lnTo>
                  <a:lnTo>
                    <a:pt x="7257" y="1176"/>
                  </a:lnTo>
                  <a:lnTo>
                    <a:pt x="8225" y="1003"/>
                  </a:lnTo>
                  <a:lnTo>
                    <a:pt x="9504" y="796"/>
                  </a:lnTo>
                  <a:lnTo>
                    <a:pt x="10989" y="554"/>
                  </a:lnTo>
                  <a:lnTo>
                    <a:pt x="12648" y="346"/>
                  </a:lnTo>
                  <a:lnTo>
                    <a:pt x="14445" y="174"/>
                  </a:lnTo>
                  <a:lnTo>
                    <a:pt x="16277" y="35"/>
                  </a:lnTo>
                  <a:lnTo>
                    <a:pt x="17210" y="1"/>
                  </a:lnTo>
                  <a:lnTo>
                    <a:pt x="18143" y="1"/>
                  </a:lnTo>
                  <a:lnTo>
                    <a:pt x="19076" y="1"/>
                  </a:lnTo>
                  <a:lnTo>
                    <a:pt x="19940" y="70"/>
                  </a:lnTo>
                  <a:lnTo>
                    <a:pt x="20838" y="139"/>
                  </a:lnTo>
                  <a:lnTo>
                    <a:pt x="21667" y="243"/>
                  </a:lnTo>
                  <a:lnTo>
                    <a:pt x="22462" y="381"/>
                  </a:lnTo>
                  <a:lnTo>
                    <a:pt x="23188" y="554"/>
                  </a:lnTo>
                  <a:lnTo>
                    <a:pt x="23879" y="796"/>
                  </a:lnTo>
                  <a:lnTo>
                    <a:pt x="24501" y="1038"/>
                  </a:lnTo>
                  <a:lnTo>
                    <a:pt x="25088" y="1383"/>
                  </a:lnTo>
                  <a:lnTo>
                    <a:pt x="25330" y="1556"/>
                  </a:lnTo>
                  <a:lnTo>
                    <a:pt x="25572" y="1729"/>
                  </a:lnTo>
                  <a:lnTo>
                    <a:pt x="25780" y="1936"/>
                  </a:lnTo>
                  <a:lnTo>
                    <a:pt x="25952" y="2143"/>
                  </a:lnTo>
                  <a:lnTo>
                    <a:pt x="26125" y="2385"/>
                  </a:lnTo>
                  <a:lnTo>
                    <a:pt x="26263" y="2627"/>
                  </a:lnTo>
                  <a:lnTo>
                    <a:pt x="26402" y="2904"/>
                  </a:lnTo>
                  <a:lnTo>
                    <a:pt x="26505" y="3180"/>
                  </a:lnTo>
                  <a:lnTo>
                    <a:pt x="26574" y="3456"/>
                  </a:lnTo>
                  <a:lnTo>
                    <a:pt x="26609" y="3768"/>
                  </a:lnTo>
                  <a:lnTo>
                    <a:pt x="26609" y="3768"/>
                  </a:lnTo>
                  <a:lnTo>
                    <a:pt x="26678" y="5046"/>
                  </a:lnTo>
                  <a:lnTo>
                    <a:pt x="26713" y="6256"/>
                  </a:lnTo>
                  <a:lnTo>
                    <a:pt x="26713" y="6256"/>
                  </a:lnTo>
                  <a:lnTo>
                    <a:pt x="26713" y="7016"/>
                  </a:lnTo>
                  <a:lnTo>
                    <a:pt x="26713" y="7776"/>
                  </a:lnTo>
                  <a:lnTo>
                    <a:pt x="26782" y="9297"/>
                  </a:lnTo>
                  <a:lnTo>
                    <a:pt x="26782" y="9297"/>
                  </a:lnTo>
                  <a:lnTo>
                    <a:pt x="26851" y="10644"/>
                  </a:lnTo>
                  <a:lnTo>
                    <a:pt x="26885" y="12165"/>
                  </a:lnTo>
                  <a:lnTo>
                    <a:pt x="26851" y="13893"/>
                  </a:lnTo>
                  <a:lnTo>
                    <a:pt x="26816" y="14895"/>
                  </a:lnTo>
                  <a:lnTo>
                    <a:pt x="26747" y="1593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33" name="Google Shape;1533;p16"/>
            <p:cNvSpPr/>
            <p:nvPr/>
          </p:nvSpPr>
          <p:spPr>
            <a:xfrm>
              <a:off x="6146000" y="3107150"/>
              <a:ext cx="1750" cy="900"/>
            </a:xfrm>
            <a:custGeom>
              <a:avLst/>
              <a:gdLst/>
              <a:ahLst/>
              <a:cxnLst/>
              <a:rect l="l" t="t" r="r" b="b"/>
              <a:pathLst>
                <a:path w="70" h="36" extrusionOk="0">
                  <a:moveTo>
                    <a:pt x="0" y="1"/>
                  </a:moveTo>
                  <a:lnTo>
                    <a:pt x="35" y="35"/>
                  </a:lnTo>
                  <a:lnTo>
                    <a:pt x="70" y="1"/>
                  </a:lnTo>
                  <a:close/>
                </a:path>
              </a:pathLst>
            </a:custGeom>
            <a:solidFill>
              <a:srgbClr val="34344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34" name="Google Shape;1534;p16"/>
            <p:cNvSpPr/>
            <p:nvPr/>
          </p:nvSpPr>
          <p:spPr>
            <a:xfrm>
              <a:off x="6146000" y="3107150"/>
              <a:ext cx="1750" cy="900"/>
            </a:xfrm>
            <a:custGeom>
              <a:avLst/>
              <a:gdLst/>
              <a:ahLst/>
              <a:cxnLst/>
              <a:rect l="l" t="t" r="r" b="b"/>
              <a:pathLst>
                <a:path w="70" h="36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35" y="35"/>
                  </a:lnTo>
                  <a:lnTo>
                    <a:pt x="7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35" name="Google Shape;1535;p16"/>
            <p:cNvSpPr/>
            <p:nvPr/>
          </p:nvSpPr>
          <p:spPr>
            <a:xfrm>
              <a:off x="6084650" y="31158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31314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36" name="Google Shape;1536;p16"/>
            <p:cNvSpPr/>
            <p:nvPr/>
          </p:nvSpPr>
          <p:spPr>
            <a:xfrm>
              <a:off x="6084650" y="31158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37" name="Google Shape;1537;p16"/>
            <p:cNvSpPr/>
            <p:nvPr/>
          </p:nvSpPr>
          <p:spPr>
            <a:xfrm>
              <a:off x="6087250" y="3199600"/>
              <a:ext cx="17300" cy="47525"/>
            </a:xfrm>
            <a:custGeom>
              <a:avLst/>
              <a:gdLst/>
              <a:ahLst/>
              <a:cxnLst/>
              <a:rect l="l" t="t" r="r" b="b"/>
              <a:pathLst>
                <a:path w="692" h="1901" extrusionOk="0">
                  <a:moveTo>
                    <a:pt x="692" y="0"/>
                  </a:moveTo>
                  <a:lnTo>
                    <a:pt x="692" y="0"/>
                  </a:lnTo>
                  <a:lnTo>
                    <a:pt x="1" y="1901"/>
                  </a:lnTo>
                  <a:lnTo>
                    <a:pt x="1" y="1901"/>
                  </a:lnTo>
                  <a:lnTo>
                    <a:pt x="692" y="0"/>
                  </a:lnTo>
                  <a:close/>
                </a:path>
              </a:pathLst>
            </a:custGeom>
            <a:solidFill>
              <a:srgbClr val="8686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38" name="Google Shape;1538;p16"/>
            <p:cNvSpPr/>
            <p:nvPr/>
          </p:nvSpPr>
          <p:spPr>
            <a:xfrm>
              <a:off x="6087250" y="3199600"/>
              <a:ext cx="17300" cy="47525"/>
            </a:xfrm>
            <a:custGeom>
              <a:avLst/>
              <a:gdLst/>
              <a:ahLst/>
              <a:cxnLst/>
              <a:rect l="l" t="t" r="r" b="b"/>
              <a:pathLst>
                <a:path w="692" h="1901" fill="none" extrusionOk="0">
                  <a:moveTo>
                    <a:pt x="692" y="0"/>
                  </a:moveTo>
                  <a:lnTo>
                    <a:pt x="692" y="0"/>
                  </a:lnTo>
                  <a:lnTo>
                    <a:pt x="1" y="1901"/>
                  </a:lnTo>
                  <a:lnTo>
                    <a:pt x="1" y="1901"/>
                  </a:lnTo>
                  <a:lnTo>
                    <a:pt x="69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39" name="Google Shape;1539;p16"/>
            <p:cNvSpPr/>
            <p:nvPr/>
          </p:nvSpPr>
          <p:spPr>
            <a:xfrm>
              <a:off x="6065650" y="3115800"/>
              <a:ext cx="38900" cy="193525"/>
            </a:xfrm>
            <a:custGeom>
              <a:avLst/>
              <a:gdLst/>
              <a:ahLst/>
              <a:cxnLst/>
              <a:rect l="l" t="t" r="r" b="b"/>
              <a:pathLst>
                <a:path w="1556" h="7741" extrusionOk="0">
                  <a:moveTo>
                    <a:pt x="761" y="0"/>
                  </a:moveTo>
                  <a:lnTo>
                    <a:pt x="1" y="7741"/>
                  </a:lnTo>
                  <a:lnTo>
                    <a:pt x="865" y="5253"/>
                  </a:lnTo>
                  <a:lnTo>
                    <a:pt x="1556" y="3352"/>
                  </a:lnTo>
                  <a:lnTo>
                    <a:pt x="1107" y="1625"/>
                  </a:lnTo>
                  <a:lnTo>
                    <a:pt x="865" y="588"/>
                  </a:lnTo>
                  <a:lnTo>
                    <a:pt x="796" y="139"/>
                  </a:lnTo>
                  <a:lnTo>
                    <a:pt x="761" y="0"/>
                  </a:lnTo>
                  <a:close/>
                </a:path>
              </a:pathLst>
            </a:custGeom>
            <a:solidFill>
              <a:srgbClr val="31314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40" name="Google Shape;1540;p16"/>
            <p:cNvSpPr/>
            <p:nvPr/>
          </p:nvSpPr>
          <p:spPr>
            <a:xfrm>
              <a:off x="6065650" y="3115800"/>
              <a:ext cx="38900" cy="193525"/>
            </a:xfrm>
            <a:custGeom>
              <a:avLst/>
              <a:gdLst/>
              <a:ahLst/>
              <a:cxnLst/>
              <a:rect l="l" t="t" r="r" b="b"/>
              <a:pathLst>
                <a:path w="1556" h="7741" fill="none" extrusionOk="0">
                  <a:moveTo>
                    <a:pt x="761" y="0"/>
                  </a:moveTo>
                  <a:lnTo>
                    <a:pt x="1" y="7741"/>
                  </a:lnTo>
                  <a:lnTo>
                    <a:pt x="1" y="7741"/>
                  </a:lnTo>
                  <a:lnTo>
                    <a:pt x="865" y="5253"/>
                  </a:lnTo>
                  <a:lnTo>
                    <a:pt x="865" y="5253"/>
                  </a:lnTo>
                  <a:lnTo>
                    <a:pt x="1556" y="3352"/>
                  </a:lnTo>
                  <a:lnTo>
                    <a:pt x="1556" y="3352"/>
                  </a:lnTo>
                  <a:lnTo>
                    <a:pt x="1556" y="3352"/>
                  </a:lnTo>
                  <a:lnTo>
                    <a:pt x="1556" y="3352"/>
                  </a:lnTo>
                  <a:lnTo>
                    <a:pt x="1107" y="1625"/>
                  </a:lnTo>
                  <a:lnTo>
                    <a:pt x="865" y="588"/>
                  </a:lnTo>
                  <a:lnTo>
                    <a:pt x="796" y="139"/>
                  </a:lnTo>
                  <a:lnTo>
                    <a:pt x="76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41" name="Google Shape;1541;p16"/>
            <p:cNvSpPr/>
            <p:nvPr/>
          </p:nvSpPr>
          <p:spPr>
            <a:xfrm>
              <a:off x="6194375" y="2923150"/>
              <a:ext cx="105425" cy="96775"/>
            </a:xfrm>
            <a:custGeom>
              <a:avLst/>
              <a:gdLst/>
              <a:ahLst/>
              <a:cxnLst/>
              <a:rect l="l" t="t" r="r" b="b"/>
              <a:pathLst>
                <a:path w="4217" h="3871" extrusionOk="0">
                  <a:moveTo>
                    <a:pt x="1" y="0"/>
                  </a:moveTo>
                  <a:lnTo>
                    <a:pt x="104" y="311"/>
                  </a:lnTo>
                  <a:lnTo>
                    <a:pt x="243" y="622"/>
                  </a:lnTo>
                  <a:lnTo>
                    <a:pt x="415" y="899"/>
                  </a:lnTo>
                  <a:lnTo>
                    <a:pt x="588" y="1210"/>
                  </a:lnTo>
                  <a:lnTo>
                    <a:pt x="795" y="1486"/>
                  </a:lnTo>
                  <a:lnTo>
                    <a:pt x="1037" y="1763"/>
                  </a:lnTo>
                  <a:lnTo>
                    <a:pt x="1556" y="2246"/>
                  </a:lnTo>
                  <a:lnTo>
                    <a:pt x="2178" y="2730"/>
                  </a:lnTo>
                  <a:lnTo>
                    <a:pt x="2834" y="3145"/>
                  </a:lnTo>
                  <a:lnTo>
                    <a:pt x="3491" y="3525"/>
                  </a:lnTo>
                  <a:lnTo>
                    <a:pt x="4216" y="3871"/>
                  </a:lnTo>
                  <a:lnTo>
                    <a:pt x="3664" y="3594"/>
                  </a:lnTo>
                  <a:lnTo>
                    <a:pt x="3975" y="2938"/>
                  </a:lnTo>
                  <a:lnTo>
                    <a:pt x="3525" y="2834"/>
                  </a:lnTo>
                  <a:lnTo>
                    <a:pt x="3111" y="2696"/>
                  </a:lnTo>
                  <a:lnTo>
                    <a:pt x="2661" y="2523"/>
                  </a:lnTo>
                  <a:lnTo>
                    <a:pt x="2247" y="2316"/>
                  </a:lnTo>
                  <a:lnTo>
                    <a:pt x="1832" y="2074"/>
                  </a:lnTo>
                  <a:lnTo>
                    <a:pt x="1452" y="1797"/>
                  </a:lnTo>
                  <a:lnTo>
                    <a:pt x="1072" y="1452"/>
                  </a:lnTo>
                  <a:lnTo>
                    <a:pt x="692" y="1106"/>
                  </a:lnTo>
                  <a:lnTo>
                    <a:pt x="450" y="830"/>
                  </a:lnTo>
                  <a:lnTo>
                    <a:pt x="277" y="553"/>
                  </a:lnTo>
                  <a:lnTo>
                    <a:pt x="104" y="27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3838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42" name="Google Shape;1542;p16"/>
            <p:cNvSpPr/>
            <p:nvPr/>
          </p:nvSpPr>
          <p:spPr>
            <a:xfrm>
              <a:off x="6194375" y="2923150"/>
              <a:ext cx="105425" cy="96775"/>
            </a:xfrm>
            <a:custGeom>
              <a:avLst/>
              <a:gdLst/>
              <a:ahLst/>
              <a:cxnLst/>
              <a:rect l="l" t="t" r="r" b="b"/>
              <a:pathLst>
                <a:path w="4217" h="387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04" y="311"/>
                  </a:lnTo>
                  <a:lnTo>
                    <a:pt x="243" y="622"/>
                  </a:lnTo>
                  <a:lnTo>
                    <a:pt x="415" y="899"/>
                  </a:lnTo>
                  <a:lnTo>
                    <a:pt x="588" y="1210"/>
                  </a:lnTo>
                  <a:lnTo>
                    <a:pt x="795" y="1486"/>
                  </a:lnTo>
                  <a:lnTo>
                    <a:pt x="1037" y="1763"/>
                  </a:lnTo>
                  <a:lnTo>
                    <a:pt x="1556" y="2246"/>
                  </a:lnTo>
                  <a:lnTo>
                    <a:pt x="2178" y="2730"/>
                  </a:lnTo>
                  <a:lnTo>
                    <a:pt x="2834" y="3145"/>
                  </a:lnTo>
                  <a:lnTo>
                    <a:pt x="3491" y="3525"/>
                  </a:lnTo>
                  <a:lnTo>
                    <a:pt x="4216" y="3871"/>
                  </a:lnTo>
                  <a:lnTo>
                    <a:pt x="4216" y="3871"/>
                  </a:lnTo>
                  <a:lnTo>
                    <a:pt x="3664" y="3594"/>
                  </a:lnTo>
                  <a:lnTo>
                    <a:pt x="3664" y="3594"/>
                  </a:lnTo>
                  <a:lnTo>
                    <a:pt x="3975" y="2938"/>
                  </a:lnTo>
                  <a:lnTo>
                    <a:pt x="3975" y="2938"/>
                  </a:lnTo>
                  <a:lnTo>
                    <a:pt x="3525" y="2834"/>
                  </a:lnTo>
                  <a:lnTo>
                    <a:pt x="3111" y="2696"/>
                  </a:lnTo>
                  <a:lnTo>
                    <a:pt x="2661" y="2523"/>
                  </a:lnTo>
                  <a:lnTo>
                    <a:pt x="2247" y="2316"/>
                  </a:lnTo>
                  <a:lnTo>
                    <a:pt x="1832" y="2074"/>
                  </a:lnTo>
                  <a:lnTo>
                    <a:pt x="1452" y="1797"/>
                  </a:lnTo>
                  <a:lnTo>
                    <a:pt x="1072" y="1452"/>
                  </a:lnTo>
                  <a:lnTo>
                    <a:pt x="692" y="1106"/>
                  </a:lnTo>
                  <a:lnTo>
                    <a:pt x="692" y="1106"/>
                  </a:lnTo>
                  <a:lnTo>
                    <a:pt x="450" y="830"/>
                  </a:lnTo>
                  <a:lnTo>
                    <a:pt x="277" y="553"/>
                  </a:lnTo>
                  <a:lnTo>
                    <a:pt x="104" y="277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43" name="Google Shape;1543;p16"/>
            <p:cNvSpPr/>
            <p:nvPr/>
          </p:nvSpPr>
          <p:spPr>
            <a:xfrm>
              <a:off x="6412075" y="3016450"/>
              <a:ext cx="900" cy="41500"/>
            </a:xfrm>
            <a:custGeom>
              <a:avLst/>
              <a:gdLst/>
              <a:ahLst/>
              <a:cxnLst/>
              <a:rect l="l" t="t" r="r" b="b"/>
              <a:pathLst>
                <a:path w="36" h="1660" extrusionOk="0">
                  <a:moveTo>
                    <a:pt x="35" y="0"/>
                  </a:moveTo>
                  <a:lnTo>
                    <a:pt x="1" y="1659"/>
                  </a:lnTo>
                  <a:lnTo>
                    <a:pt x="35" y="933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B1B1B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44" name="Google Shape;1544;p16"/>
            <p:cNvSpPr/>
            <p:nvPr/>
          </p:nvSpPr>
          <p:spPr>
            <a:xfrm>
              <a:off x="6412075" y="3016450"/>
              <a:ext cx="900" cy="41500"/>
            </a:xfrm>
            <a:custGeom>
              <a:avLst/>
              <a:gdLst/>
              <a:ahLst/>
              <a:cxnLst/>
              <a:rect l="l" t="t" r="r" b="b"/>
              <a:pathLst>
                <a:path w="36" h="1660" fill="none" extrusionOk="0">
                  <a:moveTo>
                    <a:pt x="35" y="0"/>
                  </a:move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1" y="1659"/>
                  </a:lnTo>
                  <a:lnTo>
                    <a:pt x="1" y="1659"/>
                  </a:lnTo>
                  <a:lnTo>
                    <a:pt x="35" y="933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45" name="Google Shape;1545;p16"/>
            <p:cNvSpPr/>
            <p:nvPr/>
          </p:nvSpPr>
          <p:spPr>
            <a:xfrm>
              <a:off x="6391350" y="3016450"/>
              <a:ext cx="21625" cy="41500"/>
            </a:xfrm>
            <a:custGeom>
              <a:avLst/>
              <a:gdLst/>
              <a:ahLst/>
              <a:cxnLst/>
              <a:rect l="l" t="t" r="r" b="b"/>
              <a:pathLst>
                <a:path w="865" h="1660" extrusionOk="0">
                  <a:moveTo>
                    <a:pt x="864" y="0"/>
                  </a:moveTo>
                  <a:lnTo>
                    <a:pt x="104" y="1383"/>
                  </a:lnTo>
                  <a:lnTo>
                    <a:pt x="70" y="1417"/>
                  </a:lnTo>
                  <a:lnTo>
                    <a:pt x="0" y="1452"/>
                  </a:lnTo>
                  <a:lnTo>
                    <a:pt x="830" y="1659"/>
                  </a:lnTo>
                  <a:lnTo>
                    <a:pt x="864" y="0"/>
                  </a:lnTo>
                  <a:close/>
                </a:path>
              </a:pathLst>
            </a:custGeom>
            <a:solidFill>
              <a:srgbClr val="3838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46" name="Google Shape;1546;p16"/>
            <p:cNvSpPr/>
            <p:nvPr/>
          </p:nvSpPr>
          <p:spPr>
            <a:xfrm>
              <a:off x="6391350" y="3016450"/>
              <a:ext cx="21625" cy="41500"/>
            </a:xfrm>
            <a:custGeom>
              <a:avLst/>
              <a:gdLst/>
              <a:ahLst/>
              <a:cxnLst/>
              <a:rect l="l" t="t" r="r" b="b"/>
              <a:pathLst>
                <a:path w="865" h="1660" fill="none" extrusionOk="0">
                  <a:moveTo>
                    <a:pt x="864" y="0"/>
                  </a:moveTo>
                  <a:lnTo>
                    <a:pt x="864" y="0"/>
                  </a:lnTo>
                  <a:lnTo>
                    <a:pt x="104" y="1383"/>
                  </a:lnTo>
                  <a:lnTo>
                    <a:pt x="104" y="1383"/>
                  </a:lnTo>
                  <a:lnTo>
                    <a:pt x="70" y="1417"/>
                  </a:lnTo>
                  <a:lnTo>
                    <a:pt x="0" y="1452"/>
                  </a:lnTo>
                  <a:lnTo>
                    <a:pt x="0" y="1452"/>
                  </a:lnTo>
                  <a:lnTo>
                    <a:pt x="830" y="1659"/>
                  </a:lnTo>
                  <a:lnTo>
                    <a:pt x="830" y="1659"/>
                  </a:lnTo>
                  <a:lnTo>
                    <a:pt x="830" y="1659"/>
                  </a:lnTo>
                  <a:lnTo>
                    <a:pt x="830" y="1659"/>
                  </a:lnTo>
                  <a:lnTo>
                    <a:pt x="86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47" name="Google Shape;1547;p16"/>
            <p:cNvSpPr/>
            <p:nvPr/>
          </p:nvSpPr>
          <p:spPr>
            <a:xfrm>
              <a:off x="5885950" y="1997025"/>
              <a:ext cx="484700" cy="919225"/>
            </a:xfrm>
            <a:custGeom>
              <a:avLst/>
              <a:gdLst/>
              <a:ahLst/>
              <a:cxnLst/>
              <a:rect l="l" t="t" r="r" b="b"/>
              <a:pathLst>
                <a:path w="19388" h="36769" extrusionOk="0">
                  <a:moveTo>
                    <a:pt x="8744" y="1"/>
                  </a:moveTo>
                  <a:lnTo>
                    <a:pt x="8502" y="70"/>
                  </a:lnTo>
                  <a:lnTo>
                    <a:pt x="8260" y="208"/>
                  </a:lnTo>
                  <a:lnTo>
                    <a:pt x="8087" y="381"/>
                  </a:lnTo>
                  <a:lnTo>
                    <a:pt x="7880" y="588"/>
                  </a:lnTo>
                  <a:lnTo>
                    <a:pt x="7534" y="1038"/>
                  </a:lnTo>
                  <a:lnTo>
                    <a:pt x="7154" y="1556"/>
                  </a:lnTo>
                  <a:lnTo>
                    <a:pt x="6981" y="1798"/>
                  </a:lnTo>
                  <a:lnTo>
                    <a:pt x="6774" y="2005"/>
                  </a:lnTo>
                  <a:lnTo>
                    <a:pt x="6567" y="2212"/>
                  </a:lnTo>
                  <a:lnTo>
                    <a:pt x="6325" y="2351"/>
                  </a:lnTo>
                  <a:lnTo>
                    <a:pt x="6048" y="2454"/>
                  </a:lnTo>
                  <a:lnTo>
                    <a:pt x="5737" y="2523"/>
                  </a:lnTo>
                  <a:lnTo>
                    <a:pt x="5461" y="2523"/>
                  </a:lnTo>
                  <a:lnTo>
                    <a:pt x="5254" y="2489"/>
                  </a:lnTo>
                  <a:lnTo>
                    <a:pt x="5081" y="2420"/>
                  </a:lnTo>
                  <a:lnTo>
                    <a:pt x="4977" y="2316"/>
                  </a:lnTo>
                  <a:lnTo>
                    <a:pt x="4839" y="2074"/>
                  </a:lnTo>
                  <a:lnTo>
                    <a:pt x="4735" y="1936"/>
                  </a:lnTo>
                  <a:lnTo>
                    <a:pt x="4597" y="1763"/>
                  </a:lnTo>
                  <a:lnTo>
                    <a:pt x="4424" y="1590"/>
                  </a:lnTo>
                  <a:lnTo>
                    <a:pt x="4321" y="1521"/>
                  </a:lnTo>
                  <a:lnTo>
                    <a:pt x="4217" y="1452"/>
                  </a:lnTo>
                  <a:lnTo>
                    <a:pt x="3975" y="1452"/>
                  </a:lnTo>
                  <a:lnTo>
                    <a:pt x="3837" y="1521"/>
                  </a:lnTo>
                  <a:lnTo>
                    <a:pt x="3699" y="1660"/>
                  </a:lnTo>
                  <a:lnTo>
                    <a:pt x="3318" y="2074"/>
                  </a:lnTo>
                  <a:lnTo>
                    <a:pt x="2938" y="2523"/>
                  </a:lnTo>
                  <a:lnTo>
                    <a:pt x="2593" y="2973"/>
                  </a:lnTo>
                  <a:lnTo>
                    <a:pt x="2282" y="3422"/>
                  </a:lnTo>
                  <a:lnTo>
                    <a:pt x="2005" y="3906"/>
                  </a:lnTo>
                  <a:lnTo>
                    <a:pt x="1729" y="4424"/>
                  </a:lnTo>
                  <a:lnTo>
                    <a:pt x="1487" y="4942"/>
                  </a:lnTo>
                  <a:lnTo>
                    <a:pt x="1280" y="5461"/>
                  </a:lnTo>
                  <a:lnTo>
                    <a:pt x="1072" y="6014"/>
                  </a:lnTo>
                  <a:lnTo>
                    <a:pt x="899" y="6567"/>
                  </a:lnTo>
                  <a:lnTo>
                    <a:pt x="727" y="7119"/>
                  </a:lnTo>
                  <a:lnTo>
                    <a:pt x="588" y="7707"/>
                  </a:lnTo>
                  <a:lnTo>
                    <a:pt x="347" y="8882"/>
                  </a:lnTo>
                  <a:lnTo>
                    <a:pt x="174" y="10091"/>
                  </a:lnTo>
                  <a:lnTo>
                    <a:pt x="36" y="11335"/>
                  </a:lnTo>
                  <a:lnTo>
                    <a:pt x="1" y="12614"/>
                  </a:lnTo>
                  <a:lnTo>
                    <a:pt x="1" y="13893"/>
                  </a:lnTo>
                  <a:lnTo>
                    <a:pt x="36" y="15171"/>
                  </a:lnTo>
                  <a:lnTo>
                    <a:pt x="105" y="16484"/>
                  </a:lnTo>
                  <a:lnTo>
                    <a:pt x="243" y="17763"/>
                  </a:lnTo>
                  <a:lnTo>
                    <a:pt x="381" y="19076"/>
                  </a:lnTo>
                  <a:lnTo>
                    <a:pt x="554" y="20320"/>
                  </a:lnTo>
                  <a:lnTo>
                    <a:pt x="761" y="21599"/>
                  </a:lnTo>
                  <a:lnTo>
                    <a:pt x="969" y="22808"/>
                  </a:lnTo>
                  <a:lnTo>
                    <a:pt x="1452" y="25158"/>
                  </a:lnTo>
                  <a:lnTo>
                    <a:pt x="1902" y="27300"/>
                  </a:lnTo>
                  <a:lnTo>
                    <a:pt x="2351" y="29236"/>
                  </a:lnTo>
                  <a:lnTo>
                    <a:pt x="2696" y="30894"/>
                  </a:lnTo>
                  <a:lnTo>
                    <a:pt x="2938" y="32207"/>
                  </a:lnTo>
                  <a:lnTo>
                    <a:pt x="3007" y="32726"/>
                  </a:lnTo>
                  <a:lnTo>
                    <a:pt x="3042" y="33140"/>
                  </a:lnTo>
                  <a:lnTo>
                    <a:pt x="3042" y="33451"/>
                  </a:lnTo>
                  <a:lnTo>
                    <a:pt x="3007" y="33555"/>
                  </a:lnTo>
                  <a:lnTo>
                    <a:pt x="2973" y="33659"/>
                  </a:lnTo>
                  <a:lnTo>
                    <a:pt x="2904" y="33762"/>
                  </a:lnTo>
                  <a:lnTo>
                    <a:pt x="2904" y="33901"/>
                  </a:lnTo>
                  <a:lnTo>
                    <a:pt x="2904" y="34039"/>
                  </a:lnTo>
                  <a:lnTo>
                    <a:pt x="2973" y="34177"/>
                  </a:lnTo>
                  <a:lnTo>
                    <a:pt x="3111" y="34315"/>
                  </a:lnTo>
                  <a:lnTo>
                    <a:pt x="3249" y="34488"/>
                  </a:lnTo>
                  <a:lnTo>
                    <a:pt x="3629" y="34799"/>
                  </a:lnTo>
                  <a:lnTo>
                    <a:pt x="4148" y="35110"/>
                  </a:lnTo>
                  <a:lnTo>
                    <a:pt x="4804" y="35387"/>
                  </a:lnTo>
                  <a:lnTo>
                    <a:pt x="5530" y="35698"/>
                  </a:lnTo>
                  <a:lnTo>
                    <a:pt x="6325" y="35974"/>
                  </a:lnTo>
                  <a:lnTo>
                    <a:pt x="7189" y="36216"/>
                  </a:lnTo>
                  <a:lnTo>
                    <a:pt x="8087" y="36423"/>
                  </a:lnTo>
                  <a:lnTo>
                    <a:pt x="9055" y="36596"/>
                  </a:lnTo>
                  <a:lnTo>
                    <a:pt x="10022" y="36700"/>
                  </a:lnTo>
                  <a:lnTo>
                    <a:pt x="10955" y="36769"/>
                  </a:lnTo>
                  <a:lnTo>
                    <a:pt x="11923" y="36769"/>
                  </a:lnTo>
                  <a:lnTo>
                    <a:pt x="12821" y="36700"/>
                  </a:lnTo>
                  <a:lnTo>
                    <a:pt x="13271" y="36631"/>
                  </a:lnTo>
                  <a:lnTo>
                    <a:pt x="13720" y="36527"/>
                  </a:lnTo>
                  <a:lnTo>
                    <a:pt x="14273" y="36389"/>
                  </a:lnTo>
                  <a:lnTo>
                    <a:pt x="14791" y="36181"/>
                  </a:lnTo>
                  <a:lnTo>
                    <a:pt x="15275" y="35974"/>
                  </a:lnTo>
                  <a:lnTo>
                    <a:pt x="15724" y="35732"/>
                  </a:lnTo>
                  <a:lnTo>
                    <a:pt x="16139" y="35490"/>
                  </a:lnTo>
                  <a:lnTo>
                    <a:pt x="16519" y="35214"/>
                  </a:lnTo>
                  <a:lnTo>
                    <a:pt x="16864" y="34903"/>
                  </a:lnTo>
                  <a:lnTo>
                    <a:pt x="17210" y="34592"/>
                  </a:lnTo>
                  <a:lnTo>
                    <a:pt x="17487" y="34281"/>
                  </a:lnTo>
                  <a:lnTo>
                    <a:pt x="17763" y="33935"/>
                  </a:lnTo>
                  <a:lnTo>
                    <a:pt x="18005" y="33590"/>
                  </a:lnTo>
                  <a:lnTo>
                    <a:pt x="18212" y="33210"/>
                  </a:lnTo>
                  <a:lnTo>
                    <a:pt x="18420" y="32829"/>
                  </a:lnTo>
                  <a:lnTo>
                    <a:pt x="18592" y="32484"/>
                  </a:lnTo>
                  <a:lnTo>
                    <a:pt x="18869" y="31724"/>
                  </a:lnTo>
                  <a:lnTo>
                    <a:pt x="19076" y="30963"/>
                  </a:lnTo>
                  <a:lnTo>
                    <a:pt x="19214" y="30238"/>
                  </a:lnTo>
                  <a:lnTo>
                    <a:pt x="19318" y="29547"/>
                  </a:lnTo>
                  <a:lnTo>
                    <a:pt x="19353" y="28890"/>
                  </a:lnTo>
                  <a:lnTo>
                    <a:pt x="19387" y="28303"/>
                  </a:lnTo>
                  <a:lnTo>
                    <a:pt x="19353" y="27784"/>
                  </a:lnTo>
                  <a:lnTo>
                    <a:pt x="19283" y="27093"/>
                  </a:lnTo>
                  <a:lnTo>
                    <a:pt x="18592" y="22946"/>
                  </a:lnTo>
                  <a:lnTo>
                    <a:pt x="17176" y="15137"/>
                  </a:lnTo>
                  <a:lnTo>
                    <a:pt x="15171" y="4113"/>
                  </a:lnTo>
                  <a:lnTo>
                    <a:pt x="14618" y="3837"/>
                  </a:lnTo>
                  <a:lnTo>
                    <a:pt x="14031" y="3491"/>
                  </a:lnTo>
                  <a:lnTo>
                    <a:pt x="13271" y="3007"/>
                  </a:lnTo>
                  <a:lnTo>
                    <a:pt x="12372" y="2420"/>
                  </a:lnTo>
                  <a:lnTo>
                    <a:pt x="11370" y="1694"/>
                  </a:lnTo>
                  <a:lnTo>
                    <a:pt x="10333" y="899"/>
                  </a:lnTo>
                  <a:lnTo>
                    <a:pt x="9297" y="35"/>
                  </a:lnTo>
                  <a:lnTo>
                    <a:pt x="9020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48" name="Google Shape;1548;p16"/>
            <p:cNvSpPr/>
            <p:nvPr/>
          </p:nvSpPr>
          <p:spPr>
            <a:xfrm>
              <a:off x="5885950" y="1997025"/>
              <a:ext cx="484700" cy="919225"/>
            </a:xfrm>
            <a:custGeom>
              <a:avLst/>
              <a:gdLst/>
              <a:ahLst/>
              <a:cxnLst/>
              <a:rect l="l" t="t" r="r" b="b"/>
              <a:pathLst>
                <a:path w="19388" h="36769" fill="none" extrusionOk="0">
                  <a:moveTo>
                    <a:pt x="9297" y="35"/>
                  </a:moveTo>
                  <a:lnTo>
                    <a:pt x="9297" y="35"/>
                  </a:lnTo>
                  <a:lnTo>
                    <a:pt x="9020" y="1"/>
                  </a:lnTo>
                  <a:lnTo>
                    <a:pt x="8744" y="1"/>
                  </a:lnTo>
                  <a:lnTo>
                    <a:pt x="8502" y="70"/>
                  </a:lnTo>
                  <a:lnTo>
                    <a:pt x="8260" y="208"/>
                  </a:lnTo>
                  <a:lnTo>
                    <a:pt x="8087" y="381"/>
                  </a:lnTo>
                  <a:lnTo>
                    <a:pt x="7880" y="588"/>
                  </a:lnTo>
                  <a:lnTo>
                    <a:pt x="7534" y="1038"/>
                  </a:lnTo>
                  <a:lnTo>
                    <a:pt x="7154" y="1556"/>
                  </a:lnTo>
                  <a:lnTo>
                    <a:pt x="6981" y="1798"/>
                  </a:lnTo>
                  <a:lnTo>
                    <a:pt x="6774" y="2005"/>
                  </a:lnTo>
                  <a:lnTo>
                    <a:pt x="6567" y="2212"/>
                  </a:lnTo>
                  <a:lnTo>
                    <a:pt x="6325" y="2351"/>
                  </a:lnTo>
                  <a:lnTo>
                    <a:pt x="6048" y="2454"/>
                  </a:lnTo>
                  <a:lnTo>
                    <a:pt x="5737" y="2523"/>
                  </a:lnTo>
                  <a:lnTo>
                    <a:pt x="5737" y="2523"/>
                  </a:lnTo>
                  <a:lnTo>
                    <a:pt x="5461" y="2523"/>
                  </a:lnTo>
                  <a:lnTo>
                    <a:pt x="5254" y="2489"/>
                  </a:lnTo>
                  <a:lnTo>
                    <a:pt x="5081" y="2420"/>
                  </a:lnTo>
                  <a:lnTo>
                    <a:pt x="4977" y="2316"/>
                  </a:lnTo>
                  <a:lnTo>
                    <a:pt x="4839" y="2074"/>
                  </a:lnTo>
                  <a:lnTo>
                    <a:pt x="4735" y="1936"/>
                  </a:lnTo>
                  <a:lnTo>
                    <a:pt x="4597" y="1763"/>
                  </a:lnTo>
                  <a:lnTo>
                    <a:pt x="4597" y="1763"/>
                  </a:lnTo>
                  <a:lnTo>
                    <a:pt x="4424" y="1590"/>
                  </a:lnTo>
                  <a:lnTo>
                    <a:pt x="4321" y="1521"/>
                  </a:lnTo>
                  <a:lnTo>
                    <a:pt x="4217" y="1452"/>
                  </a:lnTo>
                  <a:lnTo>
                    <a:pt x="4079" y="1452"/>
                  </a:lnTo>
                  <a:lnTo>
                    <a:pt x="3975" y="1452"/>
                  </a:lnTo>
                  <a:lnTo>
                    <a:pt x="3837" y="1521"/>
                  </a:lnTo>
                  <a:lnTo>
                    <a:pt x="3699" y="1660"/>
                  </a:lnTo>
                  <a:lnTo>
                    <a:pt x="3699" y="1660"/>
                  </a:lnTo>
                  <a:lnTo>
                    <a:pt x="3318" y="2074"/>
                  </a:lnTo>
                  <a:lnTo>
                    <a:pt x="2938" y="2523"/>
                  </a:lnTo>
                  <a:lnTo>
                    <a:pt x="2593" y="2973"/>
                  </a:lnTo>
                  <a:lnTo>
                    <a:pt x="2282" y="3422"/>
                  </a:lnTo>
                  <a:lnTo>
                    <a:pt x="2005" y="3906"/>
                  </a:lnTo>
                  <a:lnTo>
                    <a:pt x="1729" y="4424"/>
                  </a:lnTo>
                  <a:lnTo>
                    <a:pt x="1487" y="4942"/>
                  </a:lnTo>
                  <a:lnTo>
                    <a:pt x="1280" y="5461"/>
                  </a:lnTo>
                  <a:lnTo>
                    <a:pt x="1072" y="6014"/>
                  </a:lnTo>
                  <a:lnTo>
                    <a:pt x="899" y="6567"/>
                  </a:lnTo>
                  <a:lnTo>
                    <a:pt x="727" y="7119"/>
                  </a:lnTo>
                  <a:lnTo>
                    <a:pt x="588" y="7707"/>
                  </a:lnTo>
                  <a:lnTo>
                    <a:pt x="347" y="8882"/>
                  </a:lnTo>
                  <a:lnTo>
                    <a:pt x="174" y="10091"/>
                  </a:lnTo>
                  <a:lnTo>
                    <a:pt x="36" y="11335"/>
                  </a:lnTo>
                  <a:lnTo>
                    <a:pt x="1" y="12614"/>
                  </a:lnTo>
                  <a:lnTo>
                    <a:pt x="1" y="13893"/>
                  </a:lnTo>
                  <a:lnTo>
                    <a:pt x="36" y="15171"/>
                  </a:lnTo>
                  <a:lnTo>
                    <a:pt x="105" y="16484"/>
                  </a:lnTo>
                  <a:lnTo>
                    <a:pt x="243" y="17763"/>
                  </a:lnTo>
                  <a:lnTo>
                    <a:pt x="381" y="19076"/>
                  </a:lnTo>
                  <a:lnTo>
                    <a:pt x="554" y="20320"/>
                  </a:lnTo>
                  <a:lnTo>
                    <a:pt x="761" y="21599"/>
                  </a:lnTo>
                  <a:lnTo>
                    <a:pt x="969" y="22808"/>
                  </a:lnTo>
                  <a:lnTo>
                    <a:pt x="1452" y="25158"/>
                  </a:lnTo>
                  <a:lnTo>
                    <a:pt x="1902" y="27300"/>
                  </a:lnTo>
                  <a:lnTo>
                    <a:pt x="2351" y="29236"/>
                  </a:lnTo>
                  <a:lnTo>
                    <a:pt x="2696" y="30894"/>
                  </a:lnTo>
                  <a:lnTo>
                    <a:pt x="2938" y="32207"/>
                  </a:lnTo>
                  <a:lnTo>
                    <a:pt x="3007" y="32726"/>
                  </a:lnTo>
                  <a:lnTo>
                    <a:pt x="3042" y="33140"/>
                  </a:lnTo>
                  <a:lnTo>
                    <a:pt x="3042" y="33451"/>
                  </a:lnTo>
                  <a:lnTo>
                    <a:pt x="3007" y="33555"/>
                  </a:lnTo>
                  <a:lnTo>
                    <a:pt x="2973" y="33659"/>
                  </a:lnTo>
                  <a:lnTo>
                    <a:pt x="2973" y="33659"/>
                  </a:lnTo>
                  <a:lnTo>
                    <a:pt x="2904" y="33762"/>
                  </a:lnTo>
                  <a:lnTo>
                    <a:pt x="2904" y="33901"/>
                  </a:lnTo>
                  <a:lnTo>
                    <a:pt x="2904" y="34039"/>
                  </a:lnTo>
                  <a:lnTo>
                    <a:pt x="2973" y="34177"/>
                  </a:lnTo>
                  <a:lnTo>
                    <a:pt x="3111" y="34315"/>
                  </a:lnTo>
                  <a:lnTo>
                    <a:pt x="3249" y="34488"/>
                  </a:lnTo>
                  <a:lnTo>
                    <a:pt x="3629" y="34799"/>
                  </a:lnTo>
                  <a:lnTo>
                    <a:pt x="4148" y="35110"/>
                  </a:lnTo>
                  <a:lnTo>
                    <a:pt x="4804" y="35387"/>
                  </a:lnTo>
                  <a:lnTo>
                    <a:pt x="5530" y="35698"/>
                  </a:lnTo>
                  <a:lnTo>
                    <a:pt x="6325" y="35974"/>
                  </a:lnTo>
                  <a:lnTo>
                    <a:pt x="7189" y="36216"/>
                  </a:lnTo>
                  <a:lnTo>
                    <a:pt x="8087" y="36423"/>
                  </a:lnTo>
                  <a:lnTo>
                    <a:pt x="9055" y="36596"/>
                  </a:lnTo>
                  <a:lnTo>
                    <a:pt x="10022" y="36700"/>
                  </a:lnTo>
                  <a:lnTo>
                    <a:pt x="10955" y="36769"/>
                  </a:lnTo>
                  <a:lnTo>
                    <a:pt x="11923" y="36769"/>
                  </a:lnTo>
                  <a:lnTo>
                    <a:pt x="12821" y="36700"/>
                  </a:lnTo>
                  <a:lnTo>
                    <a:pt x="13271" y="36631"/>
                  </a:lnTo>
                  <a:lnTo>
                    <a:pt x="13720" y="36527"/>
                  </a:lnTo>
                  <a:lnTo>
                    <a:pt x="13720" y="36527"/>
                  </a:lnTo>
                  <a:lnTo>
                    <a:pt x="14273" y="36389"/>
                  </a:lnTo>
                  <a:lnTo>
                    <a:pt x="14791" y="36181"/>
                  </a:lnTo>
                  <a:lnTo>
                    <a:pt x="15275" y="35974"/>
                  </a:lnTo>
                  <a:lnTo>
                    <a:pt x="15724" y="35732"/>
                  </a:lnTo>
                  <a:lnTo>
                    <a:pt x="16139" y="35490"/>
                  </a:lnTo>
                  <a:lnTo>
                    <a:pt x="16519" y="35214"/>
                  </a:lnTo>
                  <a:lnTo>
                    <a:pt x="16864" y="34903"/>
                  </a:lnTo>
                  <a:lnTo>
                    <a:pt x="17210" y="34592"/>
                  </a:lnTo>
                  <a:lnTo>
                    <a:pt x="17487" y="34281"/>
                  </a:lnTo>
                  <a:lnTo>
                    <a:pt x="17763" y="33935"/>
                  </a:lnTo>
                  <a:lnTo>
                    <a:pt x="18005" y="33590"/>
                  </a:lnTo>
                  <a:lnTo>
                    <a:pt x="18212" y="33210"/>
                  </a:lnTo>
                  <a:lnTo>
                    <a:pt x="18420" y="32829"/>
                  </a:lnTo>
                  <a:lnTo>
                    <a:pt x="18592" y="32484"/>
                  </a:lnTo>
                  <a:lnTo>
                    <a:pt x="18869" y="31724"/>
                  </a:lnTo>
                  <a:lnTo>
                    <a:pt x="19076" y="30963"/>
                  </a:lnTo>
                  <a:lnTo>
                    <a:pt x="19214" y="30238"/>
                  </a:lnTo>
                  <a:lnTo>
                    <a:pt x="19318" y="29547"/>
                  </a:lnTo>
                  <a:lnTo>
                    <a:pt x="19353" y="28890"/>
                  </a:lnTo>
                  <a:lnTo>
                    <a:pt x="19387" y="28303"/>
                  </a:lnTo>
                  <a:lnTo>
                    <a:pt x="19353" y="27784"/>
                  </a:lnTo>
                  <a:lnTo>
                    <a:pt x="19283" y="27093"/>
                  </a:lnTo>
                  <a:lnTo>
                    <a:pt x="19283" y="27093"/>
                  </a:lnTo>
                  <a:lnTo>
                    <a:pt x="18592" y="22946"/>
                  </a:lnTo>
                  <a:lnTo>
                    <a:pt x="17176" y="15137"/>
                  </a:lnTo>
                  <a:lnTo>
                    <a:pt x="15171" y="4113"/>
                  </a:lnTo>
                  <a:lnTo>
                    <a:pt x="15171" y="4113"/>
                  </a:lnTo>
                  <a:lnTo>
                    <a:pt x="14618" y="3837"/>
                  </a:lnTo>
                  <a:lnTo>
                    <a:pt x="14031" y="3491"/>
                  </a:lnTo>
                  <a:lnTo>
                    <a:pt x="13271" y="3007"/>
                  </a:lnTo>
                  <a:lnTo>
                    <a:pt x="12372" y="2420"/>
                  </a:lnTo>
                  <a:lnTo>
                    <a:pt x="11370" y="1694"/>
                  </a:lnTo>
                  <a:lnTo>
                    <a:pt x="10333" y="899"/>
                  </a:lnTo>
                  <a:lnTo>
                    <a:pt x="9297" y="3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49" name="Google Shape;1549;p16"/>
            <p:cNvSpPr/>
            <p:nvPr/>
          </p:nvSpPr>
          <p:spPr>
            <a:xfrm>
              <a:off x="5226800" y="1711950"/>
              <a:ext cx="787900" cy="1279475"/>
            </a:xfrm>
            <a:custGeom>
              <a:avLst/>
              <a:gdLst/>
              <a:ahLst/>
              <a:cxnLst/>
              <a:rect l="l" t="t" r="r" b="b"/>
              <a:pathLst>
                <a:path w="31516" h="51179" extrusionOk="0">
                  <a:moveTo>
                    <a:pt x="2489" y="0"/>
                  </a:moveTo>
                  <a:lnTo>
                    <a:pt x="2385" y="69"/>
                  </a:lnTo>
                  <a:lnTo>
                    <a:pt x="2143" y="208"/>
                  </a:lnTo>
                  <a:lnTo>
                    <a:pt x="1867" y="449"/>
                  </a:lnTo>
                  <a:lnTo>
                    <a:pt x="1625" y="760"/>
                  </a:lnTo>
                  <a:lnTo>
                    <a:pt x="1348" y="1141"/>
                  </a:lnTo>
                  <a:lnTo>
                    <a:pt x="1106" y="1590"/>
                  </a:lnTo>
                  <a:lnTo>
                    <a:pt x="864" y="2039"/>
                  </a:lnTo>
                  <a:lnTo>
                    <a:pt x="657" y="2523"/>
                  </a:lnTo>
                  <a:lnTo>
                    <a:pt x="450" y="3007"/>
                  </a:lnTo>
                  <a:lnTo>
                    <a:pt x="277" y="3456"/>
                  </a:lnTo>
                  <a:lnTo>
                    <a:pt x="139" y="3905"/>
                  </a:lnTo>
                  <a:lnTo>
                    <a:pt x="35" y="4320"/>
                  </a:lnTo>
                  <a:lnTo>
                    <a:pt x="0" y="4665"/>
                  </a:lnTo>
                  <a:lnTo>
                    <a:pt x="0" y="4942"/>
                  </a:lnTo>
                  <a:lnTo>
                    <a:pt x="35" y="5080"/>
                  </a:lnTo>
                  <a:lnTo>
                    <a:pt x="70" y="5149"/>
                  </a:lnTo>
                  <a:lnTo>
                    <a:pt x="242" y="5322"/>
                  </a:lnTo>
                  <a:lnTo>
                    <a:pt x="588" y="5667"/>
                  </a:lnTo>
                  <a:lnTo>
                    <a:pt x="1694" y="6670"/>
                  </a:lnTo>
                  <a:lnTo>
                    <a:pt x="3283" y="8052"/>
                  </a:lnTo>
                  <a:lnTo>
                    <a:pt x="5149" y="9641"/>
                  </a:lnTo>
                  <a:lnTo>
                    <a:pt x="7085" y="11266"/>
                  </a:lnTo>
                  <a:lnTo>
                    <a:pt x="8951" y="12786"/>
                  </a:lnTo>
                  <a:lnTo>
                    <a:pt x="10575" y="14030"/>
                  </a:lnTo>
                  <a:lnTo>
                    <a:pt x="11231" y="14479"/>
                  </a:lnTo>
                  <a:lnTo>
                    <a:pt x="11784" y="14825"/>
                  </a:lnTo>
                  <a:lnTo>
                    <a:pt x="12406" y="15240"/>
                  </a:lnTo>
                  <a:lnTo>
                    <a:pt x="13166" y="15758"/>
                  </a:lnTo>
                  <a:lnTo>
                    <a:pt x="14860" y="16967"/>
                  </a:lnTo>
                  <a:lnTo>
                    <a:pt x="16691" y="18350"/>
                  </a:lnTo>
                  <a:lnTo>
                    <a:pt x="18557" y="19801"/>
                  </a:lnTo>
                  <a:lnTo>
                    <a:pt x="21840" y="22393"/>
                  </a:lnTo>
                  <a:lnTo>
                    <a:pt x="23602" y="23810"/>
                  </a:lnTo>
                  <a:lnTo>
                    <a:pt x="23741" y="23982"/>
                  </a:lnTo>
                  <a:lnTo>
                    <a:pt x="23948" y="24224"/>
                  </a:lnTo>
                  <a:lnTo>
                    <a:pt x="24121" y="24535"/>
                  </a:lnTo>
                  <a:lnTo>
                    <a:pt x="24328" y="24915"/>
                  </a:lnTo>
                  <a:lnTo>
                    <a:pt x="24743" y="25848"/>
                  </a:lnTo>
                  <a:lnTo>
                    <a:pt x="25123" y="26885"/>
                  </a:lnTo>
                  <a:lnTo>
                    <a:pt x="25469" y="27991"/>
                  </a:lnTo>
                  <a:lnTo>
                    <a:pt x="25745" y="29028"/>
                  </a:lnTo>
                  <a:lnTo>
                    <a:pt x="25814" y="29511"/>
                  </a:lnTo>
                  <a:lnTo>
                    <a:pt x="25883" y="29961"/>
                  </a:lnTo>
                  <a:lnTo>
                    <a:pt x="25883" y="30375"/>
                  </a:lnTo>
                  <a:lnTo>
                    <a:pt x="25883" y="30721"/>
                  </a:lnTo>
                  <a:lnTo>
                    <a:pt x="25572" y="32587"/>
                  </a:lnTo>
                  <a:lnTo>
                    <a:pt x="25434" y="33451"/>
                  </a:lnTo>
                  <a:lnTo>
                    <a:pt x="25330" y="34176"/>
                  </a:lnTo>
                  <a:lnTo>
                    <a:pt x="25158" y="35421"/>
                  </a:lnTo>
                  <a:lnTo>
                    <a:pt x="24916" y="37183"/>
                  </a:lnTo>
                  <a:lnTo>
                    <a:pt x="24674" y="39325"/>
                  </a:lnTo>
                  <a:lnTo>
                    <a:pt x="24570" y="40500"/>
                  </a:lnTo>
                  <a:lnTo>
                    <a:pt x="24501" y="41675"/>
                  </a:lnTo>
                  <a:lnTo>
                    <a:pt x="24466" y="42885"/>
                  </a:lnTo>
                  <a:lnTo>
                    <a:pt x="24466" y="44060"/>
                  </a:lnTo>
                  <a:lnTo>
                    <a:pt x="24535" y="45235"/>
                  </a:lnTo>
                  <a:lnTo>
                    <a:pt x="24674" y="46306"/>
                  </a:lnTo>
                  <a:lnTo>
                    <a:pt x="24777" y="46824"/>
                  </a:lnTo>
                  <a:lnTo>
                    <a:pt x="24881" y="47342"/>
                  </a:lnTo>
                  <a:lnTo>
                    <a:pt x="25019" y="47792"/>
                  </a:lnTo>
                  <a:lnTo>
                    <a:pt x="25192" y="48241"/>
                  </a:lnTo>
                  <a:lnTo>
                    <a:pt x="25365" y="48656"/>
                  </a:lnTo>
                  <a:lnTo>
                    <a:pt x="25572" y="49036"/>
                  </a:lnTo>
                  <a:lnTo>
                    <a:pt x="25814" y="49381"/>
                  </a:lnTo>
                  <a:lnTo>
                    <a:pt x="26091" y="49692"/>
                  </a:lnTo>
                  <a:lnTo>
                    <a:pt x="26436" y="50038"/>
                  </a:lnTo>
                  <a:lnTo>
                    <a:pt x="26782" y="50349"/>
                  </a:lnTo>
                  <a:lnTo>
                    <a:pt x="27093" y="50591"/>
                  </a:lnTo>
                  <a:lnTo>
                    <a:pt x="27438" y="50764"/>
                  </a:lnTo>
                  <a:lnTo>
                    <a:pt x="27749" y="50936"/>
                  </a:lnTo>
                  <a:lnTo>
                    <a:pt x="28060" y="51040"/>
                  </a:lnTo>
                  <a:lnTo>
                    <a:pt x="28337" y="51144"/>
                  </a:lnTo>
                  <a:lnTo>
                    <a:pt x="28648" y="51178"/>
                  </a:lnTo>
                  <a:lnTo>
                    <a:pt x="28924" y="51178"/>
                  </a:lnTo>
                  <a:lnTo>
                    <a:pt x="29201" y="51144"/>
                  </a:lnTo>
                  <a:lnTo>
                    <a:pt x="29443" y="51109"/>
                  </a:lnTo>
                  <a:lnTo>
                    <a:pt x="29719" y="51005"/>
                  </a:lnTo>
                  <a:lnTo>
                    <a:pt x="29961" y="50902"/>
                  </a:lnTo>
                  <a:lnTo>
                    <a:pt x="30203" y="50764"/>
                  </a:lnTo>
                  <a:lnTo>
                    <a:pt x="30410" y="50591"/>
                  </a:lnTo>
                  <a:lnTo>
                    <a:pt x="30617" y="50418"/>
                  </a:lnTo>
                  <a:lnTo>
                    <a:pt x="30790" y="50245"/>
                  </a:lnTo>
                  <a:lnTo>
                    <a:pt x="30963" y="50038"/>
                  </a:lnTo>
                  <a:lnTo>
                    <a:pt x="31067" y="49761"/>
                  </a:lnTo>
                  <a:lnTo>
                    <a:pt x="31170" y="49485"/>
                  </a:lnTo>
                  <a:lnTo>
                    <a:pt x="31274" y="49174"/>
                  </a:lnTo>
                  <a:lnTo>
                    <a:pt x="31343" y="48828"/>
                  </a:lnTo>
                  <a:lnTo>
                    <a:pt x="31447" y="48034"/>
                  </a:lnTo>
                  <a:lnTo>
                    <a:pt x="31516" y="47135"/>
                  </a:lnTo>
                  <a:lnTo>
                    <a:pt x="31516" y="46168"/>
                  </a:lnTo>
                  <a:lnTo>
                    <a:pt x="31481" y="45062"/>
                  </a:lnTo>
                  <a:lnTo>
                    <a:pt x="31447" y="43921"/>
                  </a:lnTo>
                  <a:lnTo>
                    <a:pt x="31309" y="41399"/>
                  </a:lnTo>
                  <a:lnTo>
                    <a:pt x="31205" y="38669"/>
                  </a:lnTo>
                  <a:lnTo>
                    <a:pt x="31205" y="37252"/>
                  </a:lnTo>
                  <a:lnTo>
                    <a:pt x="31205" y="35801"/>
                  </a:lnTo>
                  <a:lnTo>
                    <a:pt x="31274" y="34349"/>
                  </a:lnTo>
                  <a:lnTo>
                    <a:pt x="31378" y="32863"/>
                  </a:lnTo>
                  <a:lnTo>
                    <a:pt x="31447" y="31758"/>
                  </a:lnTo>
                  <a:lnTo>
                    <a:pt x="31447" y="30721"/>
                  </a:lnTo>
                  <a:lnTo>
                    <a:pt x="31378" y="29719"/>
                  </a:lnTo>
                  <a:lnTo>
                    <a:pt x="31274" y="28751"/>
                  </a:lnTo>
                  <a:lnTo>
                    <a:pt x="31136" y="27818"/>
                  </a:lnTo>
                  <a:lnTo>
                    <a:pt x="30928" y="26920"/>
                  </a:lnTo>
                  <a:lnTo>
                    <a:pt x="30548" y="25192"/>
                  </a:lnTo>
                  <a:lnTo>
                    <a:pt x="30134" y="23499"/>
                  </a:lnTo>
                  <a:lnTo>
                    <a:pt x="29961" y="22669"/>
                  </a:lnTo>
                  <a:lnTo>
                    <a:pt x="29823" y="21840"/>
                  </a:lnTo>
                  <a:lnTo>
                    <a:pt x="29719" y="20976"/>
                  </a:lnTo>
                  <a:lnTo>
                    <a:pt x="29684" y="20112"/>
                  </a:lnTo>
                  <a:lnTo>
                    <a:pt x="29684" y="19214"/>
                  </a:lnTo>
                  <a:lnTo>
                    <a:pt x="29788" y="18281"/>
                  </a:lnTo>
                  <a:lnTo>
                    <a:pt x="29926" y="16967"/>
                  </a:lnTo>
                  <a:lnTo>
                    <a:pt x="30030" y="15862"/>
                  </a:lnTo>
                  <a:lnTo>
                    <a:pt x="30065" y="14963"/>
                  </a:lnTo>
                  <a:lnTo>
                    <a:pt x="30099" y="14272"/>
                  </a:lnTo>
                  <a:lnTo>
                    <a:pt x="30065" y="13339"/>
                  </a:lnTo>
                  <a:lnTo>
                    <a:pt x="30065" y="13063"/>
                  </a:lnTo>
                  <a:lnTo>
                    <a:pt x="29408" y="13235"/>
                  </a:lnTo>
                  <a:lnTo>
                    <a:pt x="28786" y="13374"/>
                  </a:lnTo>
                  <a:lnTo>
                    <a:pt x="28164" y="13477"/>
                  </a:lnTo>
                  <a:lnTo>
                    <a:pt x="27542" y="13581"/>
                  </a:lnTo>
                  <a:lnTo>
                    <a:pt x="26954" y="13615"/>
                  </a:lnTo>
                  <a:lnTo>
                    <a:pt x="26367" y="13650"/>
                  </a:lnTo>
                  <a:lnTo>
                    <a:pt x="25192" y="13650"/>
                  </a:lnTo>
                  <a:lnTo>
                    <a:pt x="24639" y="13581"/>
                  </a:lnTo>
                  <a:lnTo>
                    <a:pt x="24052" y="13512"/>
                  </a:lnTo>
                  <a:lnTo>
                    <a:pt x="22980" y="13339"/>
                  </a:lnTo>
                  <a:lnTo>
                    <a:pt x="21909" y="13097"/>
                  </a:lnTo>
                  <a:lnTo>
                    <a:pt x="20873" y="12752"/>
                  </a:lnTo>
                  <a:lnTo>
                    <a:pt x="19905" y="12406"/>
                  </a:lnTo>
                  <a:lnTo>
                    <a:pt x="18937" y="11991"/>
                  </a:lnTo>
                  <a:lnTo>
                    <a:pt x="18004" y="11577"/>
                  </a:lnTo>
                  <a:lnTo>
                    <a:pt x="17140" y="11127"/>
                  </a:lnTo>
                  <a:lnTo>
                    <a:pt x="15482" y="10194"/>
                  </a:lnTo>
                  <a:lnTo>
                    <a:pt x="13996" y="9365"/>
                  </a:lnTo>
                  <a:lnTo>
                    <a:pt x="13616" y="9089"/>
                  </a:lnTo>
                  <a:lnTo>
                    <a:pt x="13097" y="8708"/>
                  </a:lnTo>
                  <a:lnTo>
                    <a:pt x="11681" y="7603"/>
                  </a:lnTo>
                  <a:lnTo>
                    <a:pt x="9987" y="6186"/>
                  </a:lnTo>
                  <a:lnTo>
                    <a:pt x="8156" y="4596"/>
                  </a:lnTo>
                  <a:lnTo>
                    <a:pt x="4735" y="1659"/>
                  </a:lnTo>
                  <a:lnTo>
                    <a:pt x="3491" y="622"/>
                  </a:lnTo>
                  <a:lnTo>
                    <a:pt x="2800" y="69"/>
                  </a:lnTo>
                  <a:lnTo>
                    <a:pt x="2696" y="35"/>
                  </a:lnTo>
                  <a:lnTo>
                    <a:pt x="2592" y="0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50" name="Google Shape;1550;p16"/>
            <p:cNvSpPr/>
            <p:nvPr/>
          </p:nvSpPr>
          <p:spPr>
            <a:xfrm>
              <a:off x="6280775" y="3011275"/>
              <a:ext cx="110600" cy="54450"/>
            </a:xfrm>
            <a:custGeom>
              <a:avLst/>
              <a:gdLst/>
              <a:ahLst/>
              <a:cxnLst/>
              <a:rect l="l" t="t" r="r" b="b"/>
              <a:pathLst>
                <a:path w="4424" h="2178" extrusionOk="0">
                  <a:moveTo>
                    <a:pt x="484" y="0"/>
                  </a:moveTo>
                  <a:lnTo>
                    <a:pt x="380" y="104"/>
                  </a:lnTo>
                  <a:lnTo>
                    <a:pt x="311" y="173"/>
                  </a:lnTo>
                  <a:lnTo>
                    <a:pt x="104" y="276"/>
                  </a:lnTo>
                  <a:lnTo>
                    <a:pt x="35" y="346"/>
                  </a:lnTo>
                  <a:lnTo>
                    <a:pt x="0" y="380"/>
                  </a:lnTo>
                  <a:lnTo>
                    <a:pt x="0" y="415"/>
                  </a:lnTo>
                  <a:lnTo>
                    <a:pt x="69" y="484"/>
                  </a:lnTo>
                  <a:lnTo>
                    <a:pt x="277" y="622"/>
                  </a:lnTo>
                  <a:lnTo>
                    <a:pt x="691" y="829"/>
                  </a:lnTo>
                  <a:lnTo>
                    <a:pt x="1832" y="1348"/>
                  </a:lnTo>
                  <a:lnTo>
                    <a:pt x="3387" y="2073"/>
                  </a:lnTo>
                  <a:lnTo>
                    <a:pt x="3456" y="2108"/>
                  </a:lnTo>
                  <a:lnTo>
                    <a:pt x="3490" y="2143"/>
                  </a:lnTo>
                  <a:lnTo>
                    <a:pt x="3594" y="2177"/>
                  </a:lnTo>
                  <a:lnTo>
                    <a:pt x="3698" y="2143"/>
                  </a:lnTo>
                  <a:lnTo>
                    <a:pt x="3801" y="2108"/>
                  </a:lnTo>
                  <a:lnTo>
                    <a:pt x="3905" y="2004"/>
                  </a:lnTo>
                  <a:lnTo>
                    <a:pt x="4043" y="1866"/>
                  </a:lnTo>
                  <a:lnTo>
                    <a:pt x="4182" y="1659"/>
                  </a:lnTo>
                  <a:lnTo>
                    <a:pt x="4251" y="1451"/>
                  </a:lnTo>
                  <a:lnTo>
                    <a:pt x="4354" y="1140"/>
                  </a:lnTo>
                  <a:lnTo>
                    <a:pt x="4389" y="899"/>
                  </a:lnTo>
                  <a:lnTo>
                    <a:pt x="4423" y="795"/>
                  </a:lnTo>
                  <a:lnTo>
                    <a:pt x="484" y="0"/>
                  </a:lnTo>
                  <a:close/>
                </a:path>
              </a:pathLst>
            </a:custGeom>
            <a:solidFill>
              <a:srgbClr val="E79E9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51" name="Google Shape;1551;p16"/>
            <p:cNvSpPr/>
            <p:nvPr/>
          </p:nvSpPr>
          <p:spPr>
            <a:xfrm>
              <a:off x="6110575" y="1997900"/>
              <a:ext cx="331775" cy="1002150"/>
            </a:xfrm>
            <a:custGeom>
              <a:avLst/>
              <a:gdLst/>
              <a:ahLst/>
              <a:cxnLst/>
              <a:rect l="l" t="t" r="r" b="b"/>
              <a:pathLst>
                <a:path w="13271" h="40086" extrusionOk="0">
                  <a:moveTo>
                    <a:pt x="312" y="0"/>
                  </a:moveTo>
                  <a:lnTo>
                    <a:pt x="243" y="1037"/>
                  </a:lnTo>
                  <a:lnTo>
                    <a:pt x="173" y="2627"/>
                  </a:lnTo>
                  <a:lnTo>
                    <a:pt x="104" y="4631"/>
                  </a:lnTo>
                  <a:lnTo>
                    <a:pt x="35" y="6981"/>
                  </a:lnTo>
                  <a:lnTo>
                    <a:pt x="1" y="9573"/>
                  </a:lnTo>
                  <a:lnTo>
                    <a:pt x="35" y="12268"/>
                  </a:lnTo>
                  <a:lnTo>
                    <a:pt x="139" y="15067"/>
                  </a:lnTo>
                  <a:lnTo>
                    <a:pt x="208" y="16415"/>
                  </a:lnTo>
                  <a:lnTo>
                    <a:pt x="312" y="17762"/>
                  </a:lnTo>
                  <a:lnTo>
                    <a:pt x="450" y="19076"/>
                  </a:lnTo>
                  <a:lnTo>
                    <a:pt x="657" y="20492"/>
                  </a:lnTo>
                  <a:lnTo>
                    <a:pt x="934" y="21944"/>
                  </a:lnTo>
                  <a:lnTo>
                    <a:pt x="1245" y="23395"/>
                  </a:lnTo>
                  <a:lnTo>
                    <a:pt x="1590" y="24846"/>
                  </a:lnTo>
                  <a:lnTo>
                    <a:pt x="1970" y="26229"/>
                  </a:lnTo>
                  <a:lnTo>
                    <a:pt x="2627" y="28544"/>
                  </a:lnTo>
                  <a:lnTo>
                    <a:pt x="2869" y="29442"/>
                  </a:lnTo>
                  <a:lnTo>
                    <a:pt x="3007" y="30272"/>
                  </a:lnTo>
                  <a:lnTo>
                    <a:pt x="3111" y="31067"/>
                  </a:lnTo>
                  <a:lnTo>
                    <a:pt x="3180" y="31792"/>
                  </a:lnTo>
                  <a:lnTo>
                    <a:pt x="3214" y="32483"/>
                  </a:lnTo>
                  <a:lnTo>
                    <a:pt x="3180" y="33175"/>
                  </a:lnTo>
                  <a:lnTo>
                    <a:pt x="3145" y="34384"/>
                  </a:lnTo>
                  <a:lnTo>
                    <a:pt x="3111" y="35455"/>
                  </a:lnTo>
                  <a:lnTo>
                    <a:pt x="3145" y="35974"/>
                  </a:lnTo>
                  <a:lnTo>
                    <a:pt x="3214" y="36423"/>
                  </a:lnTo>
                  <a:lnTo>
                    <a:pt x="3318" y="36872"/>
                  </a:lnTo>
                  <a:lnTo>
                    <a:pt x="3491" y="37321"/>
                  </a:lnTo>
                  <a:lnTo>
                    <a:pt x="3733" y="37736"/>
                  </a:lnTo>
                  <a:lnTo>
                    <a:pt x="4044" y="38116"/>
                  </a:lnTo>
                  <a:lnTo>
                    <a:pt x="4493" y="38565"/>
                  </a:lnTo>
                  <a:lnTo>
                    <a:pt x="4977" y="38945"/>
                  </a:lnTo>
                  <a:lnTo>
                    <a:pt x="5495" y="39256"/>
                  </a:lnTo>
                  <a:lnTo>
                    <a:pt x="6013" y="39533"/>
                  </a:lnTo>
                  <a:lnTo>
                    <a:pt x="6566" y="39740"/>
                  </a:lnTo>
                  <a:lnTo>
                    <a:pt x="7119" y="39913"/>
                  </a:lnTo>
                  <a:lnTo>
                    <a:pt x="7672" y="40017"/>
                  </a:lnTo>
                  <a:lnTo>
                    <a:pt x="8225" y="40051"/>
                  </a:lnTo>
                  <a:lnTo>
                    <a:pt x="8813" y="40086"/>
                  </a:lnTo>
                  <a:lnTo>
                    <a:pt x="9400" y="40051"/>
                  </a:lnTo>
                  <a:lnTo>
                    <a:pt x="9953" y="39948"/>
                  </a:lnTo>
                  <a:lnTo>
                    <a:pt x="10540" y="39809"/>
                  </a:lnTo>
                  <a:lnTo>
                    <a:pt x="11093" y="39637"/>
                  </a:lnTo>
                  <a:lnTo>
                    <a:pt x="11646" y="39429"/>
                  </a:lnTo>
                  <a:lnTo>
                    <a:pt x="12164" y="39187"/>
                  </a:lnTo>
                  <a:lnTo>
                    <a:pt x="12683" y="38876"/>
                  </a:lnTo>
                  <a:lnTo>
                    <a:pt x="12787" y="38773"/>
                  </a:lnTo>
                  <a:lnTo>
                    <a:pt x="12925" y="38669"/>
                  </a:lnTo>
                  <a:lnTo>
                    <a:pt x="12994" y="38496"/>
                  </a:lnTo>
                  <a:lnTo>
                    <a:pt x="13098" y="38323"/>
                  </a:lnTo>
                  <a:lnTo>
                    <a:pt x="13201" y="37909"/>
                  </a:lnTo>
                  <a:lnTo>
                    <a:pt x="13236" y="37390"/>
                  </a:lnTo>
                  <a:lnTo>
                    <a:pt x="13270" y="36803"/>
                  </a:lnTo>
                  <a:lnTo>
                    <a:pt x="13201" y="36146"/>
                  </a:lnTo>
                  <a:lnTo>
                    <a:pt x="13132" y="35421"/>
                  </a:lnTo>
                  <a:lnTo>
                    <a:pt x="13028" y="34626"/>
                  </a:lnTo>
                  <a:lnTo>
                    <a:pt x="12717" y="32933"/>
                  </a:lnTo>
                  <a:lnTo>
                    <a:pt x="12303" y="31136"/>
                  </a:lnTo>
                  <a:lnTo>
                    <a:pt x="11473" y="27507"/>
                  </a:lnTo>
                  <a:lnTo>
                    <a:pt x="11128" y="25918"/>
                  </a:lnTo>
                  <a:lnTo>
                    <a:pt x="10817" y="24466"/>
                  </a:lnTo>
                  <a:lnTo>
                    <a:pt x="10713" y="23810"/>
                  </a:lnTo>
                  <a:lnTo>
                    <a:pt x="10644" y="23222"/>
                  </a:lnTo>
                  <a:lnTo>
                    <a:pt x="10609" y="22669"/>
                  </a:lnTo>
                  <a:lnTo>
                    <a:pt x="10575" y="22186"/>
                  </a:lnTo>
                  <a:lnTo>
                    <a:pt x="10644" y="20320"/>
                  </a:lnTo>
                  <a:lnTo>
                    <a:pt x="10713" y="19041"/>
                  </a:lnTo>
                  <a:lnTo>
                    <a:pt x="10748" y="17520"/>
                  </a:lnTo>
                  <a:lnTo>
                    <a:pt x="10782" y="16657"/>
                  </a:lnTo>
                  <a:lnTo>
                    <a:pt x="10748" y="15620"/>
                  </a:lnTo>
                  <a:lnTo>
                    <a:pt x="10644" y="12994"/>
                  </a:lnTo>
                  <a:lnTo>
                    <a:pt x="10575" y="11715"/>
                  </a:lnTo>
                  <a:lnTo>
                    <a:pt x="10402" y="10402"/>
                  </a:lnTo>
                  <a:lnTo>
                    <a:pt x="10160" y="9054"/>
                  </a:lnTo>
                  <a:lnTo>
                    <a:pt x="9884" y="7741"/>
                  </a:lnTo>
                  <a:lnTo>
                    <a:pt x="9711" y="7119"/>
                  </a:lnTo>
                  <a:lnTo>
                    <a:pt x="9504" y="6497"/>
                  </a:lnTo>
                  <a:lnTo>
                    <a:pt x="9331" y="5944"/>
                  </a:lnTo>
                  <a:lnTo>
                    <a:pt x="9089" y="5391"/>
                  </a:lnTo>
                  <a:lnTo>
                    <a:pt x="8882" y="4907"/>
                  </a:lnTo>
                  <a:lnTo>
                    <a:pt x="8640" y="4458"/>
                  </a:lnTo>
                  <a:lnTo>
                    <a:pt x="8363" y="4078"/>
                  </a:lnTo>
                  <a:lnTo>
                    <a:pt x="8087" y="3767"/>
                  </a:lnTo>
                  <a:lnTo>
                    <a:pt x="7430" y="3110"/>
                  </a:lnTo>
                  <a:lnTo>
                    <a:pt x="6774" y="2558"/>
                  </a:lnTo>
                  <a:lnTo>
                    <a:pt x="6083" y="2074"/>
                  </a:lnTo>
                  <a:lnTo>
                    <a:pt x="5391" y="1625"/>
                  </a:lnTo>
                  <a:lnTo>
                    <a:pt x="4735" y="1279"/>
                  </a:lnTo>
                  <a:lnTo>
                    <a:pt x="4113" y="968"/>
                  </a:lnTo>
                  <a:lnTo>
                    <a:pt x="3491" y="726"/>
                  </a:lnTo>
                  <a:lnTo>
                    <a:pt x="2903" y="519"/>
                  </a:lnTo>
                  <a:lnTo>
                    <a:pt x="2350" y="346"/>
                  </a:lnTo>
                  <a:lnTo>
                    <a:pt x="1867" y="242"/>
                  </a:lnTo>
                  <a:lnTo>
                    <a:pt x="1037" y="7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52" name="Google Shape;1552;p16"/>
            <p:cNvSpPr/>
            <p:nvPr/>
          </p:nvSpPr>
          <p:spPr>
            <a:xfrm>
              <a:off x="6110575" y="1997900"/>
              <a:ext cx="331775" cy="1002150"/>
            </a:xfrm>
            <a:custGeom>
              <a:avLst/>
              <a:gdLst/>
              <a:ahLst/>
              <a:cxnLst/>
              <a:rect l="l" t="t" r="r" b="b"/>
              <a:pathLst>
                <a:path w="13271" h="40086" fill="none" extrusionOk="0">
                  <a:moveTo>
                    <a:pt x="12683" y="38876"/>
                  </a:moveTo>
                  <a:lnTo>
                    <a:pt x="12683" y="38876"/>
                  </a:lnTo>
                  <a:lnTo>
                    <a:pt x="12164" y="39187"/>
                  </a:lnTo>
                  <a:lnTo>
                    <a:pt x="11646" y="39429"/>
                  </a:lnTo>
                  <a:lnTo>
                    <a:pt x="11093" y="39637"/>
                  </a:lnTo>
                  <a:lnTo>
                    <a:pt x="10540" y="39809"/>
                  </a:lnTo>
                  <a:lnTo>
                    <a:pt x="9953" y="39948"/>
                  </a:lnTo>
                  <a:lnTo>
                    <a:pt x="9400" y="40051"/>
                  </a:lnTo>
                  <a:lnTo>
                    <a:pt x="8813" y="40086"/>
                  </a:lnTo>
                  <a:lnTo>
                    <a:pt x="8225" y="40051"/>
                  </a:lnTo>
                  <a:lnTo>
                    <a:pt x="7672" y="40017"/>
                  </a:lnTo>
                  <a:lnTo>
                    <a:pt x="7119" y="39913"/>
                  </a:lnTo>
                  <a:lnTo>
                    <a:pt x="6566" y="39740"/>
                  </a:lnTo>
                  <a:lnTo>
                    <a:pt x="6013" y="39533"/>
                  </a:lnTo>
                  <a:lnTo>
                    <a:pt x="5495" y="39256"/>
                  </a:lnTo>
                  <a:lnTo>
                    <a:pt x="4977" y="38945"/>
                  </a:lnTo>
                  <a:lnTo>
                    <a:pt x="4493" y="38565"/>
                  </a:lnTo>
                  <a:lnTo>
                    <a:pt x="4044" y="38116"/>
                  </a:lnTo>
                  <a:lnTo>
                    <a:pt x="4044" y="38116"/>
                  </a:lnTo>
                  <a:lnTo>
                    <a:pt x="3733" y="37736"/>
                  </a:lnTo>
                  <a:lnTo>
                    <a:pt x="3491" y="37321"/>
                  </a:lnTo>
                  <a:lnTo>
                    <a:pt x="3318" y="36872"/>
                  </a:lnTo>
                  <a:lnTo>
                    <a:pt x="3214" y="36423"/>
                  </a:lnTo>
                  <a:lnTo>
                    <a:pt x="3145" y="35974"/>
                  </a:lnTo>
                  <a:lnTo>
                    <a:pt x="3111" y="35455"/>
                  </a:lnTo>
                  <a:lnTo>
                    <a:pt x="3145" y="34384"/>
                  </a:lnTo>
                  <a:lnTo>
                    <a:pt x="3180" y="33175"/>
                  </a:lnTo>
                  <a:lnTo>
                    <a:pt x="3214" y="32483"/>
                  </a:lnTo>
                  <a:lnTo>
                    <a:pt x="3180" y="31792"/>
                  </a:lnTo>
                  <a:lnTo>
                    <a:pt x="3111" y="31067"/>
                  </a:lnTo>
                  <a:lnTo>
                    <a:pt x="3007" y="30272"/>
                  </a:lnTo>
                  <a:lnTo>
                    <a:pt x="2869" y="29442"/>
                  </a:lnTo>
                  <a:lnTo>
                    <a:pt x="2627" y="28544"/>
                  </a:lnTo>
                  <a:lnTo>
                    <a:pt x="2627" y="28544"/>
                  </a:lnTo>
                  <a:lnTo>
                    <a:pt x="1970" y="26229"/>
                  </a:lnTo>
                  <a:lnTo>
                    <a:pt x="1590" y="24846"/>
                  </a:lnTo>
                  <a:lnTo>
                    <a:pt x="1245" y="23395"/>
                  </a:lnTo>
                  <a:lnTo>
                    <a:pt x="934" y="21944"/>
                  </a:lnTo>
                  <a:lnTo>
                    <a:pt x="657" y="20492"/>
                  </a:lnTo>
                  <a:lnTo>
                    <a:pt x="450" y="19076"/>
                  </a:lnTo>
                  <a:lnTo>
                    <a:pt x="312" y="17762"/>
                  </a:lnTo>
                  <a:lnTo>
                    <a:pt x="312" y="17762"/>
                  </a:lnTo>
                  <a:lnTo>
                    <a:pt x="208" y="16415"/>
                  </a:lnTo>
                  <a:lnTo>
                    <a:pt x="139" y="15067"/>
                  </a:lnTo>
                  <a:lnTo>
                    <a:pt x="35" y="12268"/>
                  </a:lnTo>
                  <a:lnTo>
                    <a:pt x="1" y="9573"/>
                  </a:lnTo>
                  <a:lnTo>
                    <a:pt x="35" y="6981"/>
                  </a:lnTo>
                  <a:lnTo>
                    <a:pt x="104" y="4631"/>
                  </a:lnTo>
                  <a:lnTo>
                    <a:pt x="173" y="2627"/>
                  </a:lnTo>
                  <a:lnTo>
                    <a:pt x="243" y="1037"/>
                  </a:lnTo>
                  <a:lnTo>
                    <a:pt x="312" y="0"/>
                  </a:lnTo>
                  <a:lnTo>
                    <a:pt x="312" y="0"/>
                  </a:lnTo>
                  <a:lnTo>
                    <a:pt x="519" y="0"/>
                  </a:lnTo>
                  <a:lnTo>
                    <a:pt x="1037" y="70"/>
                  </a:lnTo>
                  <a:lnTo>
                    <a:pt x="1867" y="242"/>
                  </a:lnTo>
                  <a:lnTo>
                    <a:pt x="2350" y="346"/>
                  </a:lnTo>
                  <a:lnTo>
                    <a:pt x="2903" y="519"/>
                  </a:lnTo>
                  <a:lnTo>
                    <a:pt x="3491" y="726"/>
                  </a:lnTo>
                  <a:lnTo>
                    <a:pt x="4113" y="968"/>
                  </a:lnTo>
                  <a:lnTo>
                    <a:pt x="4735" y="1279"/>
                  </a:lnTo>
                  <a:lnTo>
                    <a:pt x="5391" y="1625"/>
                  </a:lnTo>
                  <a:lnTo>
                    <a:pt x="6083" y="2074"/>
                  </a:lnTo>
                  <a:lnTo>
                    <a:pt x="6774" y="2558"/>
                  </a:lnTo>
                  <a:lnTo>
                    <a:pt x="7430" y="3110"/>
                  </a:lnTo>
                  <a:lnTo>
                    <a:pt x="8087" y="3767"/>
                  </a:lnTo>
                  <a:lnTo>
                    <a:pt x="8087" y="3767"/>
                  </a:lnTo>
                  <a:lnTo>
                    <a:pt x="8363" y="4078"/>
                  </a:lnTo>
                  <a:lnTo>
                    <a:pt x="8640" y="4458"/>
                  </a:lnTo>
                  <a:lnTo>
                    <a:pt x="8882" y="4907"/>
                  </a:lnTo>
                  <a:lnTo>
                    <a:pt x="9089" y="5391"/>
                  </a:lnTo>
                  <a:lnTo>
                    <a:pt x="9331" y="5944"/>
                  </a:lnTo>
                  <a:lnTo>
                    <a:pt x="9504" y="6497"/>
                  </a:lnTo>
                  <a:lnTo>
                    <a:pt x="9711" y="7119"/>
                  </a:lnTo>
                  <a:lnTo>
                    <a:pt x="9884" y="7741"/>
                  </a:lnTo>
                  <a:lnTo>
                    <a:pt x="10160" y="9054"/>
                  </a:lnTo>
                  <a:lnTo>
                    <a:pt x="10402" y="10402"/>
                  </a:lnTo>
                  <a:lnTo>
                    <a:pt x="10575" y="11715"/>
                  </a:lnTo>
                  <a:lnTo>
                    <a:pt x="10644" y="12994"/>
                  </a:lnTo>
                  <a:lnTo>
                    <a:pt x="10644" y="12994"/>
                  </a:lnTo>
                  <a:lnTo>
                    <a:pt x="10748" y="15620"/>
                  </a:lnTo>
                  <a:lnTo>
                    <a:pt x="10748" y="15620"/>
                  </a:lnTo>
                  <a:lnTo>
                    <a:pt x="10782" y="16657"/>
                  </a:lnTo>
                  <a:lnTo>
                    <a:pt x="10748" y="17520"/>
                  </a:lnTo>
                  <a:lnTo>
                    <a:pt x="10713" y="19041"/>
                  </a:lnTo>
                  <a:lnTo>
                    <a:pt x="10713" y="19041"/>
                  </a:lnTo>
                  <a:lnTo>
                    <a:pt x="10644" y="20320"/>
                  </a:lnTo>
                  <a:lnTo>
                    <a:pt x="10644" y="20320"/>
                  </a:lnTo>
                  <a:lnTo>
                    <a:pt x="10644" y="20320"/>
                  </a:lnTo>
                  <a:lnTo>
                    <a:pt x="10575" y="22186"/>
                  </a:lnTo>
                  <a:lnTo>
                    <a:pt x="10575" y="22186"/>
                  </a:lnTo>
                  <a:lnTo>
                    <a:pt x="10609" y="22669"/>
                  </a:lnTo>
                  <a:lnTo>
                    <a:pt x="10644" y="23222"/>
                  </a:lnTo>
                  <a:lnTo>
                    <a:pt x="10713" y="23810"/>
                  </a:lnTo>
                  <a:lnTo>
                    <a:pt x="10817" y="24466"/>
                  </a:lnTo>
                  <a:lnTo>
                    <a:pt x="11128" y="25918"/>
                  </a:lnTo>
                  <a:lnTo>
                    <a:pt x="11473" y="27507"/>
                  </a:lnTo>
                  <a:lnTo>
                    <a:pt x="11473" y="27507"/>
                  </a:lnTo>
                  <a:lnTo>
                    <a:pt x="11473" y="27507"/>
                  </a:lnTo>
                  <a:lnTo>
                    <a:pt x="12303" y="31136"/>
                  </a:lnTo>
                  <a:lnTo>
                    <a:pt x="12717" y="32933"/>
                  </a:lnTo>
                  <a:lnTo>
                    <a:pt x="13028" y="34626"/>
                  </a:lnTo>
                  <a:lnTo>
                    <a:pt x="13132" y="35421"/>
                  </a:lnTo>
                  <a:lnTo>
                    <a:pt x="13201" y="36146"/>
                  </a:lnTo>
                  <a:lnTo>
                    <a:pt x="13270" y="36803"/>
                  </a:lnTo>
                  <a:lnTo>
                    <a:pt x="13236" y="37390"/>
                  </a:lnTo>
                  <a:lnTo>
                    <a:pt x="13201" y="37909"/>
                  </a:lnTo>
                  <a:lnTo>
                    <a:pt x="13098" y="38323"/>
                  </a:lnTo>
                  <a:lnTo>
                    <a:pt x="12994" y="38496"/>
                  </a:lnTo>
                  <a:lnTo>
                    <a:pt x="12925" y="38669"/>
                  </a:lnTo>
                  <a:lnTo>
                    <a:pt x="12787" y="38773"/>
                  </a:lnTo>
                  <a:lnTo>
                    <a:pt x="12683" y="38876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53" name="Google Shape;1553;p16"/>
            <p:cNvSpPr/>
            <p:nvPr/>
          </p:nvSpPr>
          <p:spPr>
            <a:xfrm>
              <a:off x="6154650" y="2061825"/>
              <a:ext cx="450100" cy="991800"/>
            </a:xfrm>
            <a:custGeom>
              <a:avLst/>
              <a:gdLst/>
              <a:ahLst/>
              <a:cxnLst/>
              <a:rect l="l" t="t" r="r" b="b"/>
              <a:pathLst>
                <a:path w="18004" h="39672" extrusionOk="0">
                  <a:moveTo>
                    <a:pt x="2695" y="1"/>
                  </a:moveTo>
                  <a:lnTo>
                    <a:pt x="2177" y="35"/>
                  </a:lnTo>
                  <a:lnTo>
                    <a:pt x="1659" y="104"/>
                  </a:lnTo>
                  <a:lnTo>
                    <a:pt x="1209" y="208"/>
                  </a:lnTo>
                  <a:lnTo>
                    <a:pt x="795" y="381"/>
                  </a:lnTo>
                  <a:lnTo>
                    <a:pt x="622" y="484"/>
                  </a:lnTo>
                  <a:lnTo>
                    <a:pt x="484" y="623"/>
                  </a:lnTo>
                  <a:lnTo>
                    <a:pt x="346" y="761"/>
                  </a:lnTo>
                  <a:lnTo>
                    <a:pt x="207" y="899"/>
                  </a:lnTo>
                  <a:lnTo>
                    <a:pt x="138" y="1072"/>
                  </a:lnTo>
                  <a:lnTo>
                    <a:pt x="69" y="1279"/>
                  </a:lnTo>
                  <a:lnTo>
                    <a:pt x="35" y="1486"/>
                  </a:lnTo>
                  <a:lnTo>
                    <a:pt x="0" y="1694"/>
                  </a:lnTo>
                  <a:lnTo>
                    <a:pt x="35" y="2143"/>
                  </a:lnTo>
                  <a:lnTo>
                    <a:pt x="69" y="2592"/>
                  </a:lnTo>
                  <a:lnTo>
                    <a:pt x="138" y="3007"/>
                  </a:lnTo>
                  <a:lnTo>
                    <a:pt x="242" y="3387"/>
                  </a:lnTo>
                  <a:lnTo>
                    <a:pt x="449" y="4113"/>
                  </a:lnTo>
                  <a:lnTo>
                    <a:pt x="691" y="4735"/>
                  </a:lnTo>
                  <a:lnTo>
                    <a:pt x="933" y="5219"/>
                  </a:lnTo>
                  <a:lnTo>
                    <a:pt x="1106" y="5599"/>
                  </a:lnTo>
                  <a:lnTo>
                    <a:pt x="1313" y="5910"/>
                  </a:lnTo>
                  <a:lnTo>
                    <a:pt x="2972" y="8605"/>
                  </a:lnTo>
                  <a:lnTo>
                    <a:pt x="4458" y="10920"/>
                  </a:lnTo>
                  <a:lnTo>
                    <a:pt x="5736" y="12890"/>
                  </a:lnTo>
                  <a:lnTo>
                    <a:pt x="6842" y="14549"/>
                  </a:lnTo>
                  <a:lnTo>
                    <a:pt x="7810" y="15931"/>
                  </a:lnTo>
                  <a:lnTo>
                    <a:pt x="8605" y="17071"/>
                  </a:lnTo>
                  <a:lnTo>
                    <a:pt x="9849" y="18730"/>
                  </a:lnTo>
                  <a:lnTo>
                    <a:pt x="10643" y="19767"/>
                  </a:lnTo>
                  <a:lnTo>
                    <a:pt x="10920" y="20147"/>
                  </a:lnTo>
                  <a:lnTo>
                    <a:pt x="11127" y="20458"/>
                  </a:lnTo>
                  <a:lnTo>
                    <a:pt x="11265" y="20734"/>
                  </a:lnTo>
                  <a:lnTo>
                    <a:pt x="11369" y="21045"/>
                  </a:lnTo>
                  <a:lnTo>
                    <a:pt x="11438" y="21426"/>
                  </a:lnTo>
                  <a:lnTo>
                    <a:pt x="11507" y="21840"/>
                  </a:lnTo>
                  <a:lnTo>
                    <a:pt x="11507" y="22117"/>
                  </a:lnTo>
                  <a:lnTo>
                    <a:pt x="11473" y="22428"/>
                  </a:lnTo>
                  <a:lnTo>
                    <a:pt x="11404" y="22808"/>
                  </a:lnTo>
                  <a:lnTo>
                    <a:pt x="11300" y="23257"/>
                  </a:lnTo>
                  <a:lnTo>
                    <a:pt x="11024" y="24259"/>
                  </a:lnTo>
                  <a:lnTo>
                    <a:pt x="10609" y="25434"/>
                  </a:lnTo>
                  <a:lnTo>
                    <a:pt x="10160" y="26713"/>
                  </a:lnTo>
                  <a:lnTo>
                    <a:pt x="9641" y="28060"/>
                  </a:lnTo>
                  <a:lnTo>
                    <a:pt x="8466" y="30894"/>
                  </a:lnTo>
                  <a:lnTo>
                    <a:pt x="7291" y="33589"/>
                  </a:lnTo>
                  <a:lnTo>
                    <a:pt x="6255" y="35870"/>
                  </a:lnTo>
                  <a:lnTo>
                    <a:pt x="5253" y="38047"/>
                  </a:lnTo>
                  <a:lnTo>
                    <a:pt x="5875" y="38393"/>
                  </a:lnTo>
                  <a:lnTo>
                    <a:pt x="6497" y="38704"/>
                  </a:lnTo>
                  <a:lnTo>
                    <a:pt x="7257" y="39049"/>
                  </a:lnTo>
                  <a:lnTo>
                    <a:pt x="8017" y="39360"/>
                  </a:lnTo>
                  <a:lnTo>
                    <a:pt x="8397" y="39499"/>
                  </a:lnTo>
                  <a:lnTo>
                    <a:pt x="8708" y="39602"/>
                  </a:lnTo>
                  <a:lnTo>
                    <a:pt x="9019" y="39671"/>
                  </a:lnTo>
                  <a:lnTo>
                    <a:pt x="9261" y="39671"/>
                  </a:lnTo>
                  <a:lnTo>
                    <a:pt x="9468" y="39637"/>
                  </a:lnTo>
                  <a:lnTo>
                    <a:pt x="9538" y="39602"/>
                  </a:lnTo>
                  <a:lnTo>
                    <a:pt x="9572" y="39568"/>
                  </a:lnTo>
                  <a:lnTo>
                    <a:pt x="10090" y="38669"/>
                  </a:lnTo>
                  <a:lnTo>
                    <a:pt x="11127" y="36734"/>
                  </a:lnTo>
                  <a:lnTo>
                    <a:pt x="12509" y="34039"/>
                  </a:lnTo>
                  <a:lnTo>
                    <a:pt x="14064" y="30894"/>
                  </a:lnTo>
                  <a:lnTo>
                    <a:pt x="14859" y="29270"/>
                  </a:lnTo>
                  <a:lnTo>
                    <a:pt x="15585" y="27646"/>
                  </a:lnTo>
                  <a:lnTo>
                    <a:pt x="16276" y="26091"/>
                  </a:lnTo>
                  <a:lnTo>
                    <a:pt x="16864" y="24605"/>
                  </a:lnTo>
                  <a:lnTo>
                    <a:pt x="17382" y="23222"/>
                  </a:lnTo>
                  <a:lnTo>
                    <a:pt x="17589" y="22600"/>
                  </a:lnTo>
                  <a:lnTo>
                    <a:pt x="17727" y="22048"/>
                  </a:lnTo>
                  <a:lnTo>
                    <a:pt x="17866" y="21495"/>
                  </a:lnTo>
                  <a:lnTo>
                    <a:pt x="17969" y="21045"/>
                  </a:lnTo>
                  <a:lnTo>
                    <a:pt x="18004" y="20631"/>
                  </a:lnTo>
                  <a:lnTo>
                    <a:pt x="18004" y="20285"/>
                  </a:lnTo>
                  <a:lnTo>
                    <a:pt x="17935" y="19905"/>
                  </a:lnTo>
                  <a:lnTo>
                    <a:pt x="17831" y="19490"/>
                  </a:lnTo>
                  <a:lnTo>
                    <a:pt x="17658" y="19007"/>
                  </a:lnTo>
                  <a:lnTo>
                    <a:pt x="17451" y="18488"/>
                  </a:lnTo>
                  <a:lnTo>
                    <a:pt x="16898" y="17313"/>
                  </a:lnTo>
                  <a:lnTo>
                    <a:pt x="16172" y="15966"/>
                  </a:lnTo>
                  <a:lnTo>
                    <a:pt x="15378" y="14549"/>
                  </a:lnTo>
                  <a:lnTo>
                    <a:pt x="14445" y="13028"/>
                  </a:lnTo>
                  <a:lnTo>
                    <a:pt x="13477" y="11473"/>
                  </a:lnTo>
                  <a:lnTo>
                    <a:pt x="12475" y="9918"/>
                  </a:lnTo>
                  <a:lnTo>
                    <a:pt x="10436" y="6877"/>
                  </a:lnTo>
                  <a:lnTo>
                    <a:pt x="8570" y="4251"/>
                  </a:lnTo>
                  <a:lnTo>
                    <a:pt x="7119" y="2281"/>
                  </a:lnTo>
                  <a:lnTo>
                    <a:pt x="6289" y="1210"/>
                  </a:lnTo>
                  <a:lnTo>
                    <a:pt x="6047" y="968"/>
                  </a:lnTo>
                  <a:lnTo>
                    <a:pt x="5702" y="726"/>
                  </a:lnTo>
                  <a:lnTo>
                    <a:pt x="5287" y="519"/>
                  </a:lnTo>
                  <a:lnTo>
                    <a:pt x="4803" y="346"/>
                  </a:lnTo>
                  <a:lnTo>
                    <a:pt x="4320" y="208"/>
                  </a:lnTo>
                  <a:lnTo>
                    <a:pt x="3767" y="104"/>
                  </a:lnTo>
                  <a:lnTo>
                    <a:pt x="3214" y="35"/>
                  </a:lnTo>
                  <a:lnTo>
                    <a:pt x="2695" y="1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54" name="Google Shape;1554;p16"/>
            <p:cNvSpPr/>
            <p:nvPr/>
          </p:nvSpPr>
          <p:spPr>
            <a:xfrm>
              <a:off x="6154650" y="2061825"/>
              <a:ext cx="450100" cy="991800"/>
            </a:xfrm>
            <a:custGeom>
              <a:avLst/>
              <a:gdLst/>
              <a:ahLst/>
              <a:cxnLst/>
              <a:rect l="l" t="t" r="r" b="b"/>
              <a:pathLst>
                <a:path w="18004" h="39672" fill="none" extrusionOk="0">
                  <a:moveTo>
                    <a:pt x="1313" y="5910"/>
                  </a:moveTo>
                  <a:lnTo>
                    <a:pt x="1313" y="5910"/>
                  </a:lnTo>
                  <a:lnTo>
                    <a:pt x="2972" y="8605"/>
                  </a:lnTo>
                  <a:lnTo>
                    <a:pt x="4458" y="10920"/>
                  </a:lnTo>
                  <a:lnTo>
                    <a:pt x="5736" y="12890"/>
                  </a:lnTo>
                  <a:lnTo>
                    <a:pt x="6842" y="14549"/>
                  </a:lnTo>
                  <a:lnTo>
                    <a:pt x="7810" y="15931"/>
                  </a:lnTo>
                  <a:lnTo>
                    <a:pt x="8605" y="17071"/>
                  </a:lnTo>
                  <a:lnTo>
                    <a:pt x="9849" y="18730"/>
                  </a:lnTo>
                  <a:lnTo>
                    <a:pt x="10643" y="19767"/>
                  </a:lnTo>
                  <a:lnTo>
                    <a:pt x="10920" y="20147"/>
                  </a:lnTo>
                  <a:lnTo>
                    <a:pt x="11127" y="20458"/>
                  </a:lnTo>
                  <a:lnTo>
                    <a:pt x="11265" y="20734"/>
                  </a:lnTo>
                  <a:lnTo>
                    <a:pt x="11369" y="21045"/>
                  </a:lnTo>
                  <a:lnTo>
                    <a:pt x="11438" y="21426"/>
                  </a:lnTo>
                  <a:lnTo>
                    <a:pt x="11507" y="21840"/>
                  </a:lnTo>
                  <a:lnTo>
                    <a:pt x="11507" y="21840"/>
                  </a:lnTo>
                  <a:lnTo>
                    <a:pt x="11507" y="22117"/>
                  </a:lnTo>
                  <a:lnTo>
                    <a:pt x="11473" y="22428"/>
                  </a:lnTo>
                  <a:lnTo>
                    <a:pt x="11404" y="22808"/>
                  </a:lnTo>
                  <a:lnTo>
                    <a:pt x="11300" y="23257"/>
                  </a:lnTo>
                  <a:lnTo>
                    <a:pt x="11024" y="24259"/>
                  </a:lnTo>
                  <a:lnTo>
                    <a:pt x="10609" y="25434"/>
                  </a:lnTo>
                  <a:lnTo>
                    <a:pt x="10160" y="26713"/>
                  </a:lnTo>
                  <a:lnTo>
                    <a:pt x="9641" y="28060"/>
                  </a:lnTo>
                  <a:lnTo>
                    <a:pt x="8466" y="30894"/>
                  </a:lnTo>
                  <a:lnTo>
                    <a:pt x="7291" y="33589"/>
                  </a:lnTo>
                  <a:lnTo>
                    <a:pt x="6255" y="35870"/>
                  </a:lnTo>
                  <a:lnTo>
                    <a:pt x="5253" y="38047"/>
                  </a:lnTo>
                  <a:lnTo>
                    <a:pt x="5253" y="38047"/>
                  </a:lnTo>
                  <a:lnTo>
                    <a:pt x="5875" y="38393"/>
                  </a:lnTo>
                  <a:lnTo>
                    <a:pt x="6497" y="38704"/>
                  </a:lnTo>
                  <a:lnTo>
                    <a:pt x="7257" y="39049"/>
                  </a:lnTo>
                  <a:lnTo>
                    <a:pt x="8017" y="39360"/>
                  </a:lnTo>
                  <a:lnTo>
                    <a:pt x="8397" y="39499"/>
                  </a:lnTo>
                  <a:lnTo>
                    <a:pt x="8708" y="39602"/>
                  </a:lnTo>
                  <a:lnTo>
                    <a:pt x="9019" y="39671"/>
                  </a:lnTo>
                  <a:lnTo>
                    <a:pt x="9261" y="39671"/>
                  </a:lnTo>
                  <a:lnTo>
                    <a:pt x="9468" y="39637"/>
                  </a:lnTo>
                  <a:lnTo>
                    <a:pt x="9538" y="39602"/>
                  </a:lnTo>
                  <a:lnTo>
                    <a:pt x="9572" y="39568"/>
                  </a:lnTo>
                  <a:lnTo>
                    <a:pt x="9572" y="39568"/>
                  </a:lnTo>
                  <a:lnTo>
                    <a:pt x="10090" y="38669"/>
                  </a:lnTo>
                  <a:lnTo>
                    <a:pt x="11127" y="36734"/>
                  </a:lnTo>
                  <a:lnTo>
                    <a:pt x="12509" y="34039"/>
                  </a:lnTo>
                  <a:lnTo>
                    <a:pt x="14064" y="30894"/>
                  </a:lnTo>
                  <a:lnTo>
                    <a:pt x="14859" y="29270"/>
                  </a:lnTo>
                  <a:lnTo>
                    <a:pt x="15585" y="27646"/>
                  </a:lnTo>
                  <a:lnTo>
                    <a:pt x="16276" y="26091"/>
                  </a:lnTo>
                  <a:lnTo>
                    <a:pt x="16864" y="24605"/>
                  </a:lnTo>
                  <a:lnTo>
                    <a:pt x="17382" y="23222"/>
                  </a:lnTo>
                  <a:lnTo>
                    <a:pt x="17589" y="22600"/>
                  </a:lnTo>
                  <a:lnTo>
                    <a:pt x="17727" y="22048"/>
                  </a:lnTo>
                  <a:lnTo>
                    <a:pt x="17866" y="21495"/>
                  </a:lnTo>
                  <a:lnTo>
                    <a:pt x="17969" y="21045"/>
                  </a:lnTo>
                  <a:lnTo>
                    <a:pt x="18004" y="20631"/>
                  </a:lnTo>
                  <a:lnTo>
                    <a:pt x="18004" y="20285"/>
                  </a:lnTo>
                  <a:lnTo>
                    <a:pt x="18004" y="20285"/>
                  </a:lnTo>
                  <a:lnTo>
                    <a:pt x="17935" y="19905"/>
                  </a:lnTo>
                  <a:lnTo>
                    <a:pt x="17831" y="19490"/>
                  </a:lnTo>
                  <a:lnTo>
                    <a:pt x="17658" y="19007"/>
                  </a:lnTo>
                  <a:lnTo>
                    <a:pt x="17451" y="18488"/>
                  </a:lnTo>
                  <a:lnTo>
                    <a:pt x="16898" y="17313"/>
                  </a:lnTo>
                  <a:lnTo>
                    <a:pt x="16172" y="15966"/>
                  </a:lnTo>
                  <a:lnTo>
                    <a:pt x="15378" y="14549"/>
                  </a:lnTo>
                  <a:lnTo>
                    <a:pt x="14445" y="13028"/>
                  </a:lnTo>
                  <a:lnTo>
                    <a:pt x="13477" y="11473"/>
                  </a:lnTo>
                  <a:lnTo>
                    <a:pt x="12475" y="9918"/>
                  </a:lnTo>
                  <a:lnTo>
                    <a:pt x="10436" y="6877"/>
                  </a:lnTo>
                  <a:lnTo>
                    <a:pt x="8570" y="4251"/>
                  </a:lnTo>
                  <a:lnTo>
                    <a:pt x="7119" y="2281"/>
                  </a:lnTo>
                  <a:lnTo>
                    <a:pt x="6289" y="1210"/>
                  </a:lnTo>
                  <a:lnTo>
                    <a:pt x="6289" y="1210"/>
                  </a:lnTo>
                  <a:lnTo>
                    <a:pt x="6047" y="968"/>
                  </a:lnTo>
                  <a:lnTo>
                    <a:pt x="5702" y="726"/>
                  </a:lnTo>
                  <a:lnTo>
                    <a:pt x="5287" y="519"/>
                  </a:lnTo>
                  <a:lnTo>
                    <a:pt x="4803" y="346"/>
                  </a:lnTo>
                  <a:lnTo>
                    <a:pt x="4320" y="208"/>
                  </a:lnTo>
                  <a:lnTo>
                    <a:pt x="3767" y="104"/>
                  </a:lnTo>
                  <a:lnTo>
                    <a:pt x="3214" y="35"/>
                  </a:lnTo>
                  <a:lnTo>
                    <a:pt x="2695" y="1"/>
                  </a:lnTo>
                  <a:lnTo>
                    <a:pt x="2177" y="35"/>
                  </a:lnTo>
                  <a:lnTo>
                    <a:pt x="1659" y="104"/>
                  </a:lnTo>
                  <a:lnTo>
                    <a:pt x="1209" y="208"/>
                  </a:lnTo>
                  <a:lnTo>
                    <a:pt x="795" y="381"/>
                  </a:lnTo>
                  <a:lnTo>
                    <a:pt x="622" y="484"/>
                  </a:lnTo>
                  <a:lnTo>
                    <a:pt x="484" y="623"/>
                  </a:lnTo>
                  <a:lnTo>
                    <a:pt x="346" y="761"/>
                  </a:lnTo>
                  <a:lnTo>
                    <a:pt x="207" y="899"/>
                  </a:lnTo>
                  <a:lnTo>
                    <a:pt x="138" y="1072"/>
                  </a:lnTo>
                  <a:lnTo>
                    <a:pt x="69" y="1279"/>
                  </a:lnTo>
                  <a:lnTo>
                    <a:pt x="35" y="1486"/>
                  </a:lnTo>
                  <a:lnTo>
                    <a:pt x="0" y="1694"/>
                  </a:lnTo>
                  <a:lnTo>
                    <a:pt x="0" y="1694"/>
                  </a:lnTo>
                  <a:lnTo>
                    <a:pt x="35" y="2143"/>
                  </a:lnTo>
                  <a:lnTo>
                    <a:pt x="69" y="2592"/>
                  </a:lnTo>
                  <a:lnTo>
                    <a:pt x="138" y="3007"/>
                  </a:lnTo>
                  <a:lnTo>
                    <a:pt x="242" y="3387"/>
                  </a:lnTo>
                  <a:lnTo>
                    <a:pt x="449" y="4113"/>
                  </a:lnTo>
                  <a:lnTo>
                    <a:pt x="691" y="4735"/>
                  </a:lnTo>
                  <a:lnTo>
                    <a:pt x="933" y="5219"/>
                  </a:lnTo>
                  <a:lnTo>
                    <a:pt x="1106" y="5599"/>
                  </a:lnTo>
                  <a:lnTo>
                    <a:pt x="1313" y="591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55" name="Google Shape;1555;p16"/>
            <p:cNvSpPr/>
            <p:nvPr/>
          </p:nvSpPr>
          <p:spPr>
            <a:xfrm>
              <a:off x="6302375" y="2405675"/>
              <a:ext cx="95050" cy="279925"/>
            </a:xfrm>
            <a:custGeom>
              <a:avLst/>
              <a:gdLst/>
              <a:ahLst/>
              <a:cxnLst/>
              <a:rect l="l" t="t" r="r" b="b"/>
              <a:pathLst>
                <a:path w="3802" h="11197" extrusionOk="0">
                  <a:moveTo>
                    <a:pt x="0" y="0"/>
                  </a:moveTo>
                  <a:lnTo>
                    <a:pt x="35" y="380"/>
                  </a:lnTo>
                  <a:lnTo>
                    <a:pt x="104" y="1313"/>
                  </a:lnTo>
                  <a:lnTo>
                    <a:pt x="277" y="2730"/>
                  </a:lnTo>
                  <a:lnTo>
                    <a:pt x="415" y="3525"/>
                  </a:lnTo>
                  <a:lnTo>
                    <a:pt x="588" y="4423"/>
                  </a:lnTo>
                  <a:lnTo>
                    <a:pt x="795" y="5322"/>
                  </a:lnTo>
                  <a:lnTo>
                    <a:pt x="1037" y="6255"/>
                  </a:lnTo>
                  <a:lnTo>
                    <a:pt x="1348" y="7188"/>
                  </a:lnTo>
                  <a:lnTo>
                    <a:pt x="1693" y="8121"/>
                  </a:lnTo>
                  <a:lnTo>
                    <a:pt x="2143" y="8985"/>
                  </a:lnTo>
                  <a:lnTo>
                    <a:pt x="2350" y="9399"/>
                  </a:lnTo>
                  <a:lnTo>
                    <a:pt x="2626" y="9814"/>
                  </a:lnTo>
                  <a:lnTo>
                    <a:pt x="2868" y="10194"/>
                  </a:lnTo>
                  <a:lnTo>
                    <a:pt x="3179" y="10540"/>
                  </a:lnTo>
                  <a:lnTo>
                    <a:pt x="3456" y="10885"/>
                  </a:lnTo>
                  <a:lnTo>
                    <a:pt x="3801" y="11196"/>
                  </a:lnTo>
                  <a:lnTo>
                    <a:pt x="3801" y="11196"/>
                  </a:lnTo>
                  <a:lnTo>
                    <a:pt x="3456" y="9641"/>
                  </a:lnTo>
                  <a:lnTo>
                    <a:pt x="3179" y="8259"/>
                  </a:lnTo>
                  <a:lnTo>
                    <a:pt x="2972" y="7015"/>
                  </a:lnTo>
                  <a:lnTo>
                    <a:pt x="2937" y="6462"/>
                  </a:lnTo>
                  <a:lnTo>
                    <a:pt x="2903" y="5978"/>
                  </a:lnTo>
                  <a:lnTo>
                    <a:pt x="2903" y="5875"/>
                  </a:lnTo>
                  <a:lnTo>
                    <a:pt x="2972" y="40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C46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56" name="Google Shape;1556;p16"/>
            <p:cNvSpPr/>
            <p:nvPr/>
          </p:nvSpPr>
          <p:spPr>
            <a:xfrm>
              <a:off x="6302375" y="2405675"/>
              <a:ext cx="95050" cy="279925"/>
            </a:xfrm>
            <a:custGeom>
              <a:avLst/>
              <a:gdLst/>
              <a:ahLst/>
              <a:cxnLst/>
              <a:rect l="l" t="t" r="r" b="b"/>
              <a:pathLst>
                <a:path w="3802" h="11197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35" y="380"/>
                  </a:lnTo>
                  <a:lnTo>
                    <a:pt x="104" y="1313"/>
                  </a:lnTo>
                  <a:lnTo>
                    <a:pt x="277" y="2730"/>
                  </a:lnTo>
                  <a:lnTo>
                    <a:pt x="415" y="3525"/>
                  </a:lnTo>
                  <a:lnTo>
                    <a:pt x="588" y="4423"/>
                  </a:lnTo>
                  <a:lnTo>
                    <a:pt x="795" y="5322"/>
                  </a:lnTo>
                  <a:lnTo>
                    <a:pt x="1037" y="6255"/>
                  </a:lnTo>
                  <a:lnTo>
                    <a:pt x="1348" y="7188"/>
                  </a:lnTo>
                  <a:lnTo>
                    <a:pt x="1693" y="8121"/>
                  </a:lnTo>
                  <a:lnTo>
                    <a:pt x="2143" y="8985"/>
                  </a:lnTo>
                  <a:lnTo>
                    <a:pt x="2350" y="9399"/>
                  </a:lnTo>
                  <a:lnTo>
                    <a:pt x="2626" y="9814"/>
                  </a:lnTo>
                  <a:lnTo>
                    <a:pt x="2868" y="10194"/>
                  </a:lnTo>
                  <a:lnTo>
                    <a:pt x="3179" y="10540"/>
                  </a:lnTo>
                  <a:lnTo>
                    <a:pt x="3456" y="10885"/>
                  </a:lnTo>
                  <a:lnTo>
                    <a:pt x="3801" y="11196"/>
                  </a:lnTo>
                  <a:lnTo>
                    <a:pt x="3801" y="11196"/>
                  </a:lnTo>
                  <a:lnTo>
                    <a:pt x="3456" y="9641"/>
                  </a:lnTo>
                  <a:lnTo>
                    <a:pt x="3179" y="8259"/>
                  </a:lnTo>
                  <a:lnTo>
                    <a:pt x="2972" y="7015"/>
                  </a:lnTo>
                  <a:lnTo>
                    <a:pt x="2937" y="6462"/>
                  </a:lnTo>
                  <a:lnTo>
                    <a:pt x="2903" y="5978"/>
                  </a:lnTo>
                  <a:lnTo>
                    <a:pt x="2903" y="5978"/>
                  </a:lnTo>
                  <a:lnTo>
                    <a:pt x="2903" y="5875"/>
                  </a:lnTo>
                  <a:lnTo>
                    <a:pt x="2903" y="5875"/>
                  </a:lnTo>
                  <a:lnTo>
                    <a:pt x="2972" y="4009"/>
                  </a:lnTo>
                  <a:lnTo>
                    <a:pt x="2972" y="4009"/>
                  </a:lnTo>
                  <a:lnTo>
                    <a:pt x="2972" y="400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57" name="Google Shape;1557;p16"/>
            <p:cNvSpPr/>
            <p:nvPr/>
          </p:nvSpPr>
          <p:spPr>
            <a:xfrm>
              <a:off x="6402575" y="27071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C7C7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58" name="Google Shape;1558;p16"/>
            <p:cNvSpPr/>
            <p:nvPr/>
          </p:nvSpPr>
          <p:spPr>
            <a:xfrm>
              <a:off x="6402575" y="27071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59" name="Google Shape;1559;p16"/>
            <p:cNvSpPr/>
            <p:nvPr/>
          </p:nvSpPr>
          <p:spPr>
            <a:xfrm>
              <a:off x="6298900" y="2707175"/>
              <a:ext cx="108900" cy="279050"/>
            </a:xfrm>
            <a:custGeom>
              <a:avLst/>
              <a:gdLst/>
              <a:ahLst/>
              <a:cxnLst/>
              <a:rect l="l" t="t" r="r" b="b"/>
              <a:pathLst>
                <a:path w="4356" h="11162" extrusionOk="0">
                  <a:moveTo>
                    <a:pt x="4148" y="0"/>
                  </a:moveTo>
                  <a:lnTo>
                    <a:pt x="1" y="11162"/>
                  </a:lnTo>
                  <a:lnTo>
                    <a:pt x="865" y="9227"/>
                  </a:lnTo>
                  <a:lnTo>
                    <a:pt x="2005" y="6670"/>
                  </a:lnTo>
                  <a:lnTo>
                    <a:pt x="3215" y="3801"/>
                  </a:lnTo>
                  <a:lnTo>
                    <a:pt x="3802" y="2350"/>
                  </a:lnTo>
                  <a:lnTo>
                    <a:pt x="4355" y="968"/>
                  </a:lnTo>
                  <a:lnTo>
                    <a:pt x="4148" y="0"/>
                  </a:lnTo>
                  <a:close/>
                </a:path>
              </a:pathLst>
            </a:custGeom>
            <a:solidFill>
              <a:srgbClr val="AC46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60" name="Google Shape;1560;p16"/>
            <p:cNvSpPr/>
            <p:nvPr/>
          </p:nvSpPr>
          <p:spPr>
            <a:xfrm>
              <a:off x="6298900" y="2707175"/>
              <a:ext cx="108900" cy="279050"/>
            </a:xfrm>
            <a:custGeom>
              <a:avLst/>
              <a:gdLst/>
              <a:ahLst/>
              <a:cxnLst/>
              <a:rect l="l" t="t" r="r" b="b"/>
              <a:pathLst>
                <a:path w="4356" h="11162" fill="none" extrusionOk="0">
                  <a:moveTo>
                    <a:pt x="4148" y="0"/>
                  </a:moveTo>
                  <a:lnTo>
                    <a:pt x="1" y="11162"/>
                  </a:lnTo>
                  <a:lnTo>
                    <a:pt x="1" y="11162"/>
                  </a:lnTo>
                  <a:lnTo>
                    <a:pt x="865" y="9227"/>
                  </a:lnTo>
                  <a:lnTo>
                    <a:pt x="2005" y="6670"/>
                  </a:lnTo>
                  <a:lnTo>
                    <a:pt x="3215" y="3801"/>
                  </a:lnTo>
                  <a:lnTo>
                    <a:pt x="3802" y="2350"/>
                  </a:lnTo>
                  <a:lnTo>
                    <a:pt x="4355" y="968"/>
                  </a:lnTo>
                  <a:lnTo>
                    <a:pt x="4148" y="0"/>
                  </a:lnTo>
                  <a:lnTo>
                    <a:pt x="4148" y="0"/>
                  </a:lnTo>
                  <a:lnTo>
                    <a:pt x="414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61" name="Google Shape;1561;p16"/>
            <p:cNvSpPr/>
            <p:nvPr/>
          </p:nvSpPr>
          <p:spPr>
            <a:xfrm>
              <a:off x="6295450" y="2731350"/>
              <a:ext cx="115800" cy="263525"/>
            </a:xfrm>
            <a:custGeom>
              <a:avLst/>
              <a:gdLst/>
              <a:ahLst/>
              <a:cxnLst/>
              <a:rect l="l" t="t" r="r" b="b"/>
              <a:pathLst>
                <a:path w="4632" h="10541" extrusionOk="0">
                  <a:moveTo>
                    <a:pt x="4493" y="1"/>
                  </a:moveTo>
                  <a:lnTo>
                    <a:pt x="3940" y="1383"/>
                  </a:lnTo>
                  <a:lnTo>
                    <a:pt x="3353" y="2834"/>
                  </a:lnTo>
                  <a:lnTo>
                    <a:pt x="2143" y="5703"/>
                  </a:lnTo>
                  <a:lnTo>
                    <a:pt x="1003" y="8260"/>
                  </a:lnTo>
                  <a:lnTo>
                    <a:pt x="139" y="10195"/>
                  </a:lnTo>
                  <a:lnTo>
                    <a:pt x="1" y="10540"/>
                  </a:lnTo>
                  <a:lnTo>
                    <a:pt x="692" y="9124"/>
                  </a:lnTo>
                  <a:lnTo>
                    <a:pt x="2247" y="5979"/>
                  </a:lnTo>
                  <a:lnTo>
                    <a:pt x="3076" y="4217"/>
                  </a:lnTo>
                  <a:lnTo>
                    <a:pt x="3802" y="2627"/>
                  </a:lnTo>
                  <a:lnTo>
                    <a:pt x="4355" y="1348"/>
                  </a:lnTo>
                  <a:lnTo>
                    <a:pt x="4562" y="899"/>
                  </a:lnTo>
                  <a:lnTo>
                    <a:pt x="4631" y="588"/>
                  </a:lnTo>
                  <a:lnTo>
                    <a:pt x="4493" y="1"/>
                  </a:lnTo>
                  <a:close/>
                </a:path>
              </a:pathLst>
            </a:custGeom>
            <a:solidFill>
              <a:srgbClr val="AC46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62" name="Google Shape;1562;p16"/>
            <p:cNvSpPr/>
            <p:nvPr/>
          </p:nvSpPr>
          <p:spPr>
            <a:xfrm>
              <a:off x="6295450" y="2731350"/>
              <a:ext cx="115800" cy="263525"/>
            </a:xfrm>
            <a:custGeom>
              <a:avLst/>
              <a:gdLst/>
              <a:ahLst/>
              <a:cxnLst/>
              <a:rect l="l" t="t" r="r" b="b"/>
              <a:pathLst>
                <a:path w="4632" h="10541" fill="none" extrusionOk="0">
                  <a:moveTo>
                    <a:pt x="4493" y="1"/>
                  </a:moveTo>
                  <a:lnTo>
                    <a:pt x="4493" y="1"/>
                  </a:lnTo>
                  <a:lnTo>
                    <a:pt x="3940" y="1383"/>
                  </a:lnTo>
                  <a:lnTo>
                    <a:pt x="3353" y="2834"/>
                  </a:lnTo>
                  <a:lnTo>
                    <a:pt x="2143" y="5703"/>
                  </a:lnTo>
                  <a:lnTo>
                    <a:pt x="1003" y="8260"/>
                  </a:lnTo>
                  <a:lnTo>
                    <a:pt x="139" y="10195"/>
                  </a:lnTo>
                  <a:lnTo>
                    <a:pt x="1" y="10540"/>
                  </a:lnTo>
                  <a:lnTo>
                    <a:pt x="1" y="10540"/>
                  </a:lnTo>
                  <a:lnTo>
                    <a:pt x="692" y="9124"/>
                  </a:lnTo>
                  <a:lnTo>
                    <a:pt x="2247" y="5979"/>
                  </a:lnTo>
                  <a:lnTo>
                    <a:pt x="3076" y="4217"/>
                  </a:lnTo>
                  <a:lnTo>
                    <a:pt x="3802" y="2627"/>
                  </a:lnTo>
                  <a:lnTo>
                    <a:pt x="4355" y="1348"/>
                  </a:lnTo>
                  <a:lnTo>
                    <a:pt x="4562" y="899"/>
                  </a:lnTo>
                  <a:lnTo>
                    <a:pt x="4631" y="588"/>
                  </a:lnTo>
                  <a:lnTo>
                    <a:pt x="4493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63" name="Google Shape;1563;p16"/>
            <p:cNvSpPr/>
            <p:nvPr/>
          </p:nvSpPr>
          <p:spPr>
            <a:xfrm>
              <a:off x="6409500" y="2225100"/>
              <a:ext cx="15575" cy="23350"/>
            </a:xfrm>
            <a:custGeom>
              <a:avLst/>
              <a:gdLst/>
              <a:ahLst/>
              <a:cxnLst/>
              <a:rect l="l" t="t" r="r" b="b"/>
              <a:pathLst>
                <a:path w="623" h="934" extrusionOk="0">
                  <a:moveTo>
                    <a:pt x="0" y="1"/>
                  </a:moveTo>
                  <a:lnTo>
                    <a:pt x="622" y="934"/>
                  </a:lnTo>
                  <a:lnTo>
                    <a:pt x="311" y="41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7D7D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64" name="Google Shape;1564;p16"/>
            <p:cNvSpPr/>
            <p:nvPr/>
          </p:nvSpPr>
          <p:spPr>
            <a:xfrm>
              <a:off x="6409500" y="2225100"/>
              <a:ext cx="15575" cy="23350"/>
            </a:xfrm>
            <a:custGeom>
              <a:avLst/>
              <a:gdLst/>
              <a:ahLst/>
              <a:cxnLst/>
              <a:rect l="l" t="t" r="r" b="b"/>
              <a:pathLst>
                <a:path w="623" h="934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622" y="934"/>
                  </a:lnTo>
                  <a:lnTo>
                    <a:pt x="622" y="934"/>
                  </a:lnTo>
                  <a:lnTo>
                    <a:pt x="311" y="415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65" name="Google Shape;1565;p16"/>
            <p:cNvSpPr/>
            <p:nvPr/>
          </p:nvSpPr>
          <p:spPr>
            <a:xfrm>
              <a:off x="6037150" y="2058375"/>
              <a:ext cx="875" cy="25"/>
            </a:xfrm>
            <a:custGeom>
              <a:avLst/>
              <a:gdLst/>
              <a:ahLst/>
              <a:cxnLst/>
              <a:rect l="l" t="t" r="r" b="b"/>
              <a:pathLst>
                <a:path w="35" h="1" extrusionOk="0">
                  <a:moveTo>
                    <a:pt x="35" y="0"/>
                  </a:moveTo>
                  <a:lnTo>
                    <a:pt x="3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C9949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66" name="Google Shape;1566;p16"/>
            <p:cNvSpPr/>
            <p:nvPr/>
          </p:nvSpPr>
          <p:spPr>
            <a:xfrm>
              <a:off x="6037150" y="2058375"/>
              <a:ext cx="875" cy="25"/>
            </a:xfrm>
            <a:custGeom>
              <a:avLst/>
              <a:gdLst/>
              <a:ahLst/>
              <a:cxnLst/>
              <a:rect l="l" t="t" r="r" b="b"/>
              <a:pathLst>
                <a:path w="35" h="1" fill="none" extrusionOk="0">
                  <a:moveTo>
                    <a:pt x="35" y="0"/>
                  </a:moveTo>
                  <a:lnTo>
                    <a:pt x="3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67" name="Google Shape;1567;p16"/>
            <p:cNvSpPr/>
            <p:nvPr/>
          </p:nvSpPr>
          <p:spPr>
            <a:xfrm>
              <a:off x="6033700" y="2057500"/>
              <a:ext cx="78625" cy="137400"/>
            </a:xfrm>
            <a:custGeom>
              <a:avLst/>
              <a:gdLst/>
              <a:ahLst/>
              <a:cxnLst/>
              <a:rect l="l" t="t" r="r" b="b"/>
              <a:pathLst>
                <a:path w="3145" h="5496" extrusionOk="0">
                  <a:moveTo>
                    <a:pt x="242" y="1"/>
                  </a:moveTo>
                  <a:lnTo>
                    <a:pt x="173" y="35"/>
                  </a:lnTo>
                  <a:lnTo>
                    <a:pt x="138" y="35"/>
                  </a:lnTo>
                  <a:lnTo>
                    <a:pt x="35" y="104"/>
                  </a:lnTo>
                  <a:lnTo>
                    <a:pt x="0" y="243"/>
                  </a:lnTo>
                  <a:lnTo>
                    <a:pt x="0" y="381"/>
                  </a:lnTo>
                  <a:lnTo>
                    <a:pt x="0" y="554"/>
                  </a:lnTo>
                  <a:lnTo>
                    <a:pt x="69" y="726"/>
                  </a:lnTo>
                  <a:lnTo>
                    <a:pt x="173" y="899"/>
                  </a:lnTo>
                  <a:lnTo>
                    <a:pt x="242" y="1037"/>
                  </a:lnTo>
                  <a:lnTo>
                    <a:pt x="346" y="1072"/>
                  </a:lnTo>
                  <a:lnTo>
                    <a:pt x="380" y="1072"/>
                  </a:lnTo>
                  <a:lnTo>
                    <a:pt x="415" y="1107"/>
                  </a:lnTo>
                  <a:lnTo>
                    <a:pt x="484" y="1176"/>
                  </a:lnTo>
                  <a:lnTo>
                    <a:pt x="657" y="1521"/>
                  </a:lnTo>
                  <a:lnTo>
                    <a:pt x="1210" y="2627"/>
                  </a:lnTo>
                  <a:lnTo>
                    <a:pt x="1590" y="3353"/>
                  </a:lnTo>
                  <a:lnTo>
                    <a:pt x="2004" y="4078"/>
                  </a:lnTo>
                  <a:lnTo>
                    <a:pt x="2523" y="4804"/>
                  </a:lnTo>
                  <a:lnTo>
                    <a:pt x="2799" y="5150"/>
                  </a:lnTo>
                  <a:lnTo>
                    <a:pt x="3110" y="5495"/>
                  </a:lnTo>
                  <a:lnTo>
                    <a:pt x="3145" y="3145"/>
                  </a:lnTo>
                  <a:lnTo>
                    <a:pt x="2592" y="2662"/>
                  </a:lnTo>
                  <a:lnTo>
                    <a:pt x="2108" y="2178"/>
                  </a:lnTo>
                  <a:lnTo>
                    <a:pt x="1659" y="1659"/>
                  </a:lnTo>
                  <a:lnTo>
                    <a:pt x="1244" y="1210"/>
                  </a:lnTo>
                  <a:lnTo>
                    <a:pt x="1106" y="1037"/>
                  </a:lnTo>
                  <a:lnTo>
                    <a:pt x="1002" y="830"/>
                  </a:lnTo>
                  <a:lnTo>
                    <a:pt x="864" y="485"/>
                  </a:lnTo>
                  <a:lnTo>
                    <a:pt x="760" y="312"/>
                  </a:lnTo>
                  <a:lnTo>
                    <a:pt x="657" y="208"/>
                  </a:lnTo>
                  <a:lnTo>
                    <a:pt x="518" y="104"/>
                  </a:lnTo>
                  <a:lnTo>
                    <a:pt x="346" y="35"/>
                  </a:lnTo>
                  <a:lnTo>
                    <a:pt x="242" y="1"/>
                  </a:lnTo>
                  <a:close/>
                </a:path>
              </a:pathLst>
            </a:custGeom>
            <a:solidFill>
              <a:srgbClr val="D7D7D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68" name="Google Shape;1568;p16"/>
            <p:cNvSpPr/>
            <p:nvPr/>
          </p:nvSpPr>
          <p:spPr>
            <a:xfrm>
              <a:off x="6033700" y="2057500"/>
              <a:ext cx="78625" cy="137400"/>
            </a:xfrm>
            <a:custGeom>
              <a:avLst/>
              <a:gdLst/>
              <a:ahLst/>
              <a:cxnLst/>
              <a:rect l="l" t="t" r="r" b="b"/>
              <a:pathLst>
                <a:path w="3145" h="5496" fill="none" extrusionOk="0">
                  <a:moveTo>
                    <a:pt x="242" y="1"/>
                  </a:moveTo>
                  <a:lnTo>
                    <a:pt x="242" y="1"/>
                  </a:lnTo>
                  <a:lnTo>
                    <a:pt x="173" y="35"/>
                  </a:lnTo>
                  <a:lnTo>
                    <a:pt x="173" y="35"/>
                  </a:lnTo>
                  <a:lnTo>
                    <a:pt x="138" y="35"/>
                  </a:lnTo>
                  <a:lnTo>
                    <a:pt x="138" y="35"/>
                  </a:lnTo>
                  <a:lnTo>
                    <a:pt x="35" y="104"/>
                  </a:lnTo>
                  <a:lnTo>
                    <a:pt x="0" y="243"/>
                  </a:lnTo>
                  <a:lnTo>
                    <a:pt x="0" y="381"/>
                  </a:lnTo>
                  <a:lnTo>
                    <a:pt x="0" y="554"/>
                  </a:lnTo>
                  <a:lnTo>
                    <a:pt x="0" y="554"/>
                  </a:lnTo>
                  <a:lnTo>
                    <a:pt x="69" y="726"/>
                  </a:lnTo>
                  <a:lnTo>
                    <a:pt x="173" y="899"/>
                  </a:lnTo>
                  <a:lnTo>
                    <a:pt x="242" y="1037"/>
                  </a:lnTo>
                  <a:lnTo>
                    <a:pt x="346" y="1072"/>
                  </a:lnTo>
                  <a:lnTo>
                    <a:pt x="346" y="1072"/>
                  </a:lnTo>
                  <a:lnTo>
                    <a:pt x="380" y="1072"/>
                  </a:lnTo>
                  <a:lnTo>
                    <a:pt x="380" y="1072"/>
                  </a:lnTo>
                  <a:lnTo>
                    <a:pt x="380" y="1072"/>
                  </a:lnTo>
                  <a:lnTo>
                    <a:pt x="380" y="1072"/>
                  </a:lnTo>
                  <a:lnTo>
                    <a:pt x="415" y="1107"/>
                  </a:lnTo>
                  <a:lnTo>
                    <a:pt x="484" y="1176"/>
                  </a:lnTo>
                  <a:lnTo>
                    <a:pt x="657" y="1521"/>
                  </a:lnTo>
                  <a:lnTo>
                    <a:pt x="1210" y="2627"/>
                  </a:lnTo>
                  <a:lnTo>
                    <a:pt x="1590" y="3353"/>
                  </a:lnTo>
                  <a:lnTo>
                    <a:pt x="2004" y="4078"/>
                  </a:lnTo>
                  <a:lnTo>
                    <a:pt x="2523" y="4804"/>
                  </a:lnTo>
                  <a:lnTo>
                    <a:pt x="2799" y="5150"/>
                  </a:lnTo>
                  <a:lnTo>
                    <a:pt x="3110" y="5495"/>
                  </a:lnTo>
                  <a:lnTo>
                    <a:pt x="3110" y="5495"/>
                  </a:lnTo>
                  <a:lnTo>
                    <a:pt x="3145" y="3145"/>
                  </a:lnTo>
                  <a:lnTo>
                    <a:pt x="3145" y="3145"/>
                  </a:lnTo>
                  <a:lnTo>
                    <a:pt x="2592" y="2662"/>
                  </a:lnTo>
                  <a:lnTo>
                    <a:pt x="2108" y="2178"/>
                  </a:lnTo>
                  <a:lnTo>
                    <a:pt x="1659" y="1659"/>
                  </a:lnTo>
                  <a:lnTo>
                    <a:pt x="1244" y="1210"/>
                  </a:lnTo>
                  <a:lnTo>
                    <a:pt x="1244" y="1210"/>
                  </a:lnTo>
                  <a:lnTo>
                    <a:pt x="1106" y="1037"/>
                  </a:lnTo>
                  <a:lnTo>
                    <a:pt x="1002" y="830"/>
                  </a:lnTo>
                  <a:lnTo>
                    <a:pt x="864" y="485"/>
                  </a:lnTo>
                  <a:lnTo>
                    <a:pt x="760" y="312"/>
                  </a:lnTo>
                  <a:lnTo>
                    <a:pt x="657" y="208"/>
                  </a:lnTo>
                  <a:lnTo>
                    <a:pt x="518" y="104"/>
                  </a:lnTo>
                  <a:lnTo>
                    <a:pt x="346" y="35"/>
                  </a:lnTo>
                  <a:lnTo>
                    <a:pt x="346" y="35"/>
                  </a:lnTo>
                  <a:lnTo>
                    <a:pt x="24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69" name="Google Shape;1569;p16"/>
            <p:cNvSpPr/>
            <p:nvPr/>
          </p:nvSpPr>
          <p:spPr>
            <a:xfrm>
              <a:off x="6111450" y="2136125"/>
              <a:ext cx="94175" cy="102825"/>
            </a:xfrm>
            <a:custGeom>
              <a:avLst/>
              <a:gdLst/>
              <a:ahLst/>
              <a:cxnLst/>
              <a:rect l="l" t="t" r="r" b="b"/>
              <a:pathLst>
                <a:path w="3767" h="4113" extrusionOk="0">
                  <a:moveTo>
                    <a:pt x="35" y="0"/>
                  </a:moveTo>
                  <a:lnTo>
                    <a:pt x="0" y="2350"/>
                  </a:lnTo>
                  <a:lnTo>
                    <a:pt x="380" y="2730"/>
                  </a:lnTo>
                  <a:lnTo>
                    <a:pt x="795" y="3041"/>
                  </a:lnTo>
                  <a:lnTo>
                    <a:pt x="1279" y="3352"/>
                  </a:lnTo>
                  <a:lnTo>
                    <a:pt x="1763" y="3594"/>
                  </a:lnTo>
                  <a:lnTo>
                    <a:pt x="2246" y="3802"/>
                  </a:lnTo>
                  <a:lnTo>
                    <a:pt x="2765" y="3940"/>
                  </a:lnTo>
                  <a:lnTo>
                    <a:pt x="3249" y="4044"/>
                  </a:lnTo>
                  <a:lnTo>
                    <a:pt x="3767" y="4113"/>
                  </a:lnTo>
                  <a:lnTo>
                    <a:pt x="3041" y="2938"/>
                  </a:lnTo>
                  <a:lnTo>
                    <a:pt x="2799" y="2523"/>
                  </a:lnTo>
                  <a:lnTo>
                    <a:pt x="2557" y="2074"/>
                  </a:lnTo>
                  <a:lnTo>
                    <a:pt x="2281" y="1452"/>
                  </a:lnTo>
                  <a:lnTo>
                    <a:pt x="1693" y="1175"/>
                  </a:lnTo>
                  <a:lnTo>
                    <a:pt x="1141" y="830"/>
                  </a:lnTo>
                  <a:lnTo>
                    <a:pt x="588" y="415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B94A6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70" name="Google Shape;1570;p16"/>
            <p:cNvSpPr/>
            <p:nvPr/>
          </p:nvSpPr>
          <p:spPr>
            <a:xfrm>
              <a:off x="6111450" y="2136125"/>
              <a:ext cx="94175" cy="102825"/>
            </a:xfrm>
            <a:custGeom>
              <a:avLst/>
              <a:gdLst/>
              <a:ahLst/>
              <a:cxnLst/>
              <a:rect l="l" t="t" r="r" b="b"/>
              <a:pathLst>
                <a:path w="3767" h="4113" fill="none" extrusionOk="0">
                  <a:moveTo>
                    <a:pt x="35" y="0"/>
                  </a:moveTo>
                  <a:lnTo>
                    <a:pt x="35" y="0"/>
                  </a:lnTo>
                  <a:lnTo>
                    <a:pt x="0" y="2350"/>
                  </a:lnTo>
                  <a:lnTo>
                    <a:pt x="0" y="2350"/>
                  </a:lnTo>
                  <a:lnTo>
                    <a:pt x="380" y="2730"/>
                  </a:lnTo>
                  <a:lnTo>
                    <a:pt x="795" y="3041"/>
                  </a:lnTo>
                  <a:lnTo>
                    <a:pt x="795" y="3041"/>
                  </a:lnTo>
                  <a:lnTo>
                    <a:pt x="1279" y="3352"/>
                  </a:lnTo>
                  <a:lnTo>
                    <a:pt x="1763" y="3594"/>
                  </a:lnTo>
                  <a:lnTo>
                    <a:pt x="2246" y="3802"/>
                  </a:lnTo>
                  <a:lnTo>
                    <a:pt x="2765" y="3940"/>
                  </a:lnTo>
                  <a:lnTo>
                    <a:pt x="2765" y="3940"/>
                  </a:lnTo>
                  <a:lnTo>
                    <a:pt x="3249" y="4044"/>
                  </a:lnTo>
                  <a:lnTo>
                    <a:pt x="3767" y="4113"/>
                  </a:lnTo>
                  <a:lnTo>
                    <a:pt x="3767" y="4113"/>
                  </a:lnTo>
                  <a:lnTo>
                    <a:pt x="3041" y="2938"/>
                  </a:lnTo>
                  <a:lnTo>
                    <a:pt x="3041" y="2938"/>
                  </a:lnTo>
                  <a:lnTo>
                    <a:pt x="2799" y="2523"/>
                  </a:lnTo>
                  <a:lnTo>
                    <a:pt x="2557" y="2074"/>
                  </a:lnTo>
                  <a:lnTo>
                    <a:pt x="2281" y="1452"/>
                  </a:lnTo>
                  <a:lnTo>
                    <a:pt x="2281" y="1452"/>
                  </a:lnTo>
                  <a:lnTo>
                    <a:pt x="1693" y="1175"/>
                  </a:lnTo>
                  <a:lnTo>
                    <a:pt x="1141" y="830"/>
                  </a:lnTo>
                  <a:lnTo>
                    <a:pt x="1141" y="830"/>
                  </a:lnTo>
                  <a:lnTo>
                    <a:pt x="588" y="415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71" name="Google Shape;1571;p16"/>
            <p:cNvSpPr/>
            <p:nvPr/>
          </p:nvSpPr>
          <p:spPr>
            <a:xfrm>
              <a:off x="6168450" y="2172400"/>
              <a:ext cx="256625" cy="76050"/>
            </a:xfrm>
            <a:custGeom>
              <a:avLst/>
              <a:gdLst/>
              <a:ahLst/>
              <a:cxnLst/>
              <a:rect l="l" t="t" r="r" b="b"/>
              <a:pathLst>
                <a:path w="10265" h="3042" extrusionOk="0">
                  <a:moveTo>
                    <a:pt x="1" y="1"/>
                  </a:moveTo>
                  <a:lnTo>
                    <a:pt x="277" y="623"/>
                  </a:lnTo>
                  <a:lnTo>
                    <a:pt x="519" y="1072"/>
                  </a:lnTo>
                  <a:lnTo>
                    <a:pt x="761" y="1487"/>
                  </a:lnTo>
                  <a:lnTo>
                    <a:pt x="1487" y="2662"/>
                  </a:lnTo>
                  <a:lnTo>
                    <a:pt x="2454" y="2765"/>
                  </a:lnTo>
                  <a:lnTo>
                    <a:pt x="3560" y="2834"/>
                  </a:lnTo>
                  <a:lnTo>
                    <a:pt x="5910" y="2938"/>
                  </a:lnTo>
                  <a:lnTo>
                    <a:pt x="8225" y="2973"/>
                  </a:lnTo>
                  <a:lnTo>
                    <a:pt x="10264" y="3042"/>
                  </a:lnTo>
                  <a:lnTo>
                    <a:pt x="9642" y="2109"/>
                  </a:lnTo>
                  <a:lnTo>
                    <a:pt x="8986" y="1348"/>
                  </a:lnTo>
                  <a:lnTo>
                    <a:pt x="8605" y="865"/>
                  </a:lnTo>
                  <a:lnTo>
                    <a:pt x="8156" y="174"/>
                  </a:lnTo>
                  <a:lnTo>
                    <a:pt x="6981" y="312"/>
                  </a:lnTo>
                  <a:lnTo>
                    <a:pt x="5668" y="450"/>
                  </a:lnTo>
                  <a:lnTo>
                    <a:pt x="4286" y="519"/>
                  </a:lnTo>
                  <a:lnTo>
                    <a:pt x="2973" y="554"/>
                  </a:lnTo>
                  <a:lnTo>
                    <a:pt x="1867" y="519"/>
                  </a:lnTo>
                  <a:lnTo>
                    <a:pt x="1418" y="450"/>
                  </a:lnTo>
                  <a:lnTo>
                    <a:pt x="1072" y="381"/>
                  </a:lnTo>
                  <a:lnTo>
                    <a:pt x="554" y="208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B94A6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72" name="Google Shape;1572;p16"/>
            <p:cNvSpPr/>
            <p:nvPr/>
          </p:nvSpPr>
          <p:spPr>
            <a:xfrm>
              <a:off x="6168450" y="2172400"/>
              <a:ext cx="256625" cy="76050"/>
            </a:xfrm>
            <a:custGeom>
              <a:avLst/>
              <a:gdLst/>
              <a:ahLst/>
              <a:cxnLst/>
              <a:rect l="l" t="t" r="r" b="b"/>
              <a:pathLst>
                <a:path w="10265" h="3042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277" y="623"/>
                  </a:lnTo>
                  <a:lnTo>
                    <a:pt x="519" y="1072"/>
                  </a:lnTo>
                  <a:lnTo>
                    <a:pt x="761" y="1487"/>
                  </a:lnTo>
                  <a:lnTo>
                    <a:pt x="761" y="1487"/>
                  </a:lnTo>
                  <a:lnTo>
                    <a:pt x="1487" y="2662"/>
                  </a:lnTo>
                  <a:lnTo>
                    <a:pt x="1487" y="2662"/>
                  </a:lnTo>
                  <a:lnTo>
                    <a:pt x="2454" y="2765"/>
                  </a:lnTo>
                  <a:lnTo>
                    <a:pt x="3560" y="2834"/>
                  </a:lnTo>
                  <a:lnTo>
                    <a:pt x="5910" y="2938"/>
                  </a:lnTo>
                  <a:lnTo>
                    <a:pt x="8225" y="2973"/>
                  </a:lnTo>
                  <a:lnTo>
                    <a:pt x="10264" y="3042"/>
                  </a:lnTo>
                  <a:lnTo>
                    <a:pt x="10264" y="3042"/>
                  </a:lnTo>
                  <a:lnTo>
                    <a:pt x="10264" y="3042"/>
                  </a:lnTo>
                  <a:lnTo>
                    <a:pt x="10264" y="3042"/>
                  </a:lnTo>
                  <a:lnTo>
                    <a:pt x="9642" y="2109"/>
                  </a:lnTo>
                  <a:lnTo>
                    <a:pt x="9642" y="2109"/>
                  </a:lnTo>
                  <a:lnTo>
                    <a:pt x="8986" y="1348"/>
                  </a:lnTo>
                  <a:lnTo>
                    <a:pt x="8605" y="865"/>
                  </a:lnTo>
                  <a:lnTo>
                    <a:pt x="8156" y="174"/>
                  </a:lnTo>
                  <a:lnTo>
                    <a:pt x="8156" y="174"/>
                  </a:lnTo>
                  <a:lnTo>
                    <a:pt x="6981" y="312"/>
                  </a:lnTo>
                  <a:lnTo>
                    <a:pt x="5668" y="450"/>
                  </a:lnTo>
                  <a:lnTo>
                    <a:pt x="4286" y="519"/>
                  </a:lnTo>
                  <a:lnTo>
                    <a:pt x="2973" y="554"/>
                  </a:lnTo>
                  <a:lnTo>
                    <a:pt x="2973" y="554"/>
                  </a:lnTo>
                  <a:lnTo>
                    <a:pt x="1867" y="519"/>
                  </a:lnTo>
                  <a:lnTo>
                    <a:pt x="1418" y="450"/>
                  </a:lnTo>
                  <a:lnTo>
                    <a:pt x="1072" y="381"/>
                  </a:lnTo>
                  <a:lnTo>
                    <a:pt x="1072" y="381"/>
                  </a:lnTo>
                  <a:lnTo>
                    <a:pt x="554" y="208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73" name="Google Shape;1573;p16"/>
            <p:cNvSpPr/>
            <p:nvPr/>
          </p:nvSpPr>
          <p:spPr>
            <a:xfrm>
              <a:off x="6019000" y="2038500"/>
              <a:ext cx="1054850" cy="372375"/>
            </a:xfrm>
            <a:custGeom>
              <a:avLst/>
              <a:gdLst/>
              <a:ahLst/>
              <a:cxnLst/>
              <a:rect l="l" t="t" r="r" b="b"/>
              <a:pathLst>
                <a:path w="42194" h="14895" extrusionOk="0">
                  <a:moveTo>
                    <a:pt x="934" y="1"/>
                  </a:moveTo>
                  <a:lnTo>
                    <a:pt x="692" y="35"/>
                  </a:lnTo>
                  <a:lnTo>
                    <a:pt x="519" y="104"/>
                  </a:lnTo>
                  <a:lnTo>
                    <a:pt x="381" y="208"/>
                  </a:lnTo>
                  <a:lnTo>
                    <a:pt x="243" y="312"/>
                  </a:lnTo>
                  <a:lnTo>
                    <a:pt x="173" y="450"/>
                  </a:lnTo>
                  <a:lnTo>
                    <a:pt x="104" y="588"/>
                  </a:lnTo>
                  <a:lnTo>
                    <a:pt x="70" y="726"/>
                  </a:lnTo>
                  <a:lnTo>
                    <a:pt x="1" y="1003"/>
                  </a:lnTo>
                  <a:lnTo>
                    <a:pt x="1" y="1314"/>
                  </a:lnTo>
                  <a:lnTo>
                    <a:pt x="1" y="1486"/>
                  </a:lnTo>
                  <a:lnTo>
                    <a:pt x="35" y="1590"/>
                  </a:lnTo>
                  <a:lnTo>
                    <a:pt x="104" y="1694"/>
                  </a:lnTo>
                  <a:lnTo>
                    <a:pt x="208" y="1763"/>
                  </a:lnTo>
                  <a:lnTo>
                    <a:pt x="484" y="1867"/>
                  </a:lnTo>
                  <a:lnTo>
                    <a:pt x="692" y="1867"/>
                  </a:lnTo>
                  <a:lnTo>
                    <a:pt x="899" y="1797"/>
                  </a:lnTo>
                  <a:lnTo>
                    <a:pt x="1072" y="1728"/>
                  </a:lnTo>
                  <a:lnTo>
                    <a:pt x="1141" y="1763"/>
                  </a:lnTo>
                  <a:lnTo>
                    <a:pt x="1245" y="1867"/>
                  </a:lnTo>
                  <a:lnTo>
                    <a:pt x="1590" y="2350"/>
                  </a:lnTo>
                  <a:lnTo>
                    <a:pt x="2109" y="3076"/>
                  </a:lnTo>
                  <a:lnTo>
                    <a:pt x="2765" y="3905"/>
                  </a:lnTo>
                  <a:lnTo>
                    <a:pt x="3145" y="4355"/>
                  </a:lnTo>
                  <a:lnTo>
                    <a:pt x="3560" y="4804"/>
                  </a:lnTo>
                  <a:lnTo>
                    <a:pt x="4009" y="5219"/>
                  </a:lnTo>
                  <a:lnTo>
                    <a:pt x="4493" y="5599"/>
                  </a:lnTo>
                  <a:lnTo>
                    <a:pt x="5011" y="5979"/>
                  </a:lnTo>
                  <a:lnTo>
                    <a:pt x="5564" y="6290"/>
                  </a:lnTo>
                  <a:lnTo>
                    <a:pt x="6117" y="6532"/>
                  </a:lnTo>
                  <a:lnTo>
                    <a:pt x="6428" y="6635"/>
                  </a:lnTo>
                  <a:lnTo>
                    <a:pt x="6739" y="6704"/>
                  </a:lnTo>
                  <a:lnTo>
                    <a:pt x="7327" y="6843"/>
                  </a:lnTo>
                  <a:lnTo>
                    <a:pt x="7983" y="6912"/>
                  </a:lnTo>
                  <a:lnTo>
                    <a:pt x="8640" y="6981"/>
                  </a:lnTo>
                  <a:lnTo>
                    <a:pt x="9365" y="7015"/>
                  </a:lnTo>
                  <a:lnTo>
                    <a:pt x="10920" y="7085"/>
                  </a:lnTo>
                  <a:lnTo>
                    <a:pt x="12476" y="7085"/>
                  </a:lnTo>
                  <a:lnTo>
                    <a:pt x="14031" y="7119"/>
                  </a:lnTo>
                  <a:lnTo>
                    <a:pt x="15516" y="7154"/>
                  </a:lnTo>
                  <a:lnTo>
                    <a:pt x="16173" y="7223"/>
                  </a:lnTo>
                  <a:lnTo>
                    <a:pt x="16795" y="7257"/>
                  </a:lnTo>
                  <a:lnTo>
                    <a:pt x="17383" y="7361"/>
                  </a:lnTo>
                  <a:lnTo>
                    <a:pt x="17901" y="7465"/>
                  </a:lnTo>
                  <a:lnTo>
                    <a:pt x="18385" y="7638"/>
                  </a:lnTo>
                  <a:lnTo>
                    <a:pt x="18868" y="7845"/>
                  </a:lnTo>
                  <a:lnTo>
                    <a:pt x="19352" y="8156"/>
                  </a:lnTo>
                  <a:lnTo>
                    <a:pt x="19871" y="8501"/>
                  </a:lnTo>
                  <a:lnTo>
                    <a:pt x="20389" y="8916"/>
                  </a:lnTo>
                  <a:lnTo>
                    <a:pt x="20907" y="9331"/>
                  </a:lnTo>
                  <a:lnTo>
                    <a:pt x="22013" y="10264"/>
                  </a:lnTo>
                  <a:lnTo>
                    <a:pt x="23188" y="11197"/>
                  </a:lnTo>
                  <a:lnTo>
                    <a:pt x="23775" y="11681"/>
                  </a:lnTo>
                  <a:lnTo>
                    <a:pt x="24432" y="12130"/>
                  </a:lnTo>
                  <a:lnTo>
                    <a:pt x="25054" y="12510"/>
                  </a:lnTo>
                  <a:lnTo>
                    <a:pt x="25745" y="12890"/>
                  </a:lnTo>
                  <a:lnTo>
                    <a:pt x="26436" y="13201"/>
                  </a:lnTo>
                  <a:lnTo>
                    <a:pt x="27162" y="13478"/>
                  </a:lnTo>
                  <a:lnTo>
                    <a:pt x="27680" y="13616"/>
                  </a:lnTo>
                  <a:lnTo>
                    <a:pt x="28337" y="13754"/>
                  </a:lnTo>
                  <a:lnTo>
                    <a:pt x="29996" y="14030"/>
                  </a:lnTo>
                  <a:lnTo>
                    <a:pt x="31965" y="14307"/>
                  </a:lnTo>
                  <a:lnTo>
                    <a:pt x="34039" y="14514"/>
                  </a:lnTo>
                  <a:lnTo>
                    <a:pt x="36078" y="14722"/>
                  </a:lnTo>
                  <a:lnTo>
                    <a:pt x="37874" y="14825"/>
                  </a:lnTo>
                  <a:lnTo>
                    <a:pt x="39222" y="14894"/>
                  </a:lnTo>
                  <a:lnTo>
                    <a:pt x="39706" y="14894"/>
                  </a:lnTo>
                  <a:lnTo>
                    <a:pt x="40017" y="14860"/>
                  </a:lnTo>
                  <a:lnTo>
                    <a:pt x="40397" y="14722"/>
                  </a:lnTo>
                  <a:lnTo>
                    <a:pt x="40777" y="14583"/>
                  </a:lnTo>
                  <a:lnTo>
                    <a:pt x="41157" y="14376"/>
                  </a:lnTo>
                  <a:lnTo>
                    <a:pt x="41468" y="14134"/>
                  </a:lnTo>
                  <a:lnTo>
                    <a:pt x="41710" y="13892"/>
                  </a:lnTo>
                  <a:lnTo>
                    <a:pt x="41918" y="13650"/>
                  </a:lnTo>
                  <a:lnTo>
                    <a:pt x="42090" y="13408"/>
                  </a:lnTo>
                  <a:lnTo>
                    <a:pt x="42159" y="13167"/>
                  </a:lnTo>
                  <a:lnTo>
                    <a:pt x="42194" y="13063"/>
                  </a:lnTo>
                  <a:lnTo>
                    <a:pt x="42159" y="12959"/>
                  </a:lnTo>
                  <a:lnTo>
                    <a:pt x="42125" y="12856"/>
                  </a:lnTo>
                  <a:lnTo>
                    <a:pt x="42090" y="12752"/>
                  </a:lnTo>
                  <a:lnTo>
                    <a:pt x="41918" y="12545"/>
                  </a:lnTo>
                  <a:lnTo>
                    <a:pt x="41676" y="12337"/>
                  </a:lnTo>
                  <a:lnTo>
                    <a:pt x="41365" y="12164"/>
                  </a:lnTo>
                  <a:lnTo>
                    <a:pt x="40950" y="11957"/>
                  </a:lnTo>
                  <a:lnTo>
                    <a:pt x="40501" y="11784"/>
                  </a:lnTo>
                  <a:lnTo>
                    <a:pt x="39982" y="11611"/>
                  </a:lnTo>
                  <a:lnTo>
                    <a:pt x="39671" y="11508"/>
                  </a:lnTo>
                  <a:lnTo>
                    <a:pt x="39257" y="11473"/>
                  </a:lnTo>
                  <a:lnTo>
                    <a:pt x="38185" y="11473"/>
                  </a:lnTo>
                  <a:lnTo>
                    <a:pt x="36803" y="11508"/>
                  </a:lnTo>
                  <a:lnTo>
                    <a:pt x="35214" y="11577"/>
                  </a:lnTo>
                  <a:lnTo>
                    <a:pt x="33451" y="11577"/>
                  </a:lnTo>
                  <a:lnTo>
                    <a:pt x="32518" y="11542"/>
                  </a:lnTo>
                  <a:lnTo>
                    <a:pt x="31585" y="11473"/>
                  </a:lnTo>
                  <a:lnTo>
                    <a:pt x="30652" y="11335"/>
                  </a:lnTo>
                  <a:lnTo>
                    <a:pt x="29685" y="11197"/>
                  </a:lnTo>
                  <a:lnTo>
                    <a:pt x="28752" y="10955"/>
                  </a:lnTo>
                  <a:lnTo>
                    <a:pt x="27819" y="10678"/>
                  </a:lnTo>
                  <a:lnTo>
                    <a:pt x="26955" y="10367"/>
                  </a:lnTo>
                  <a:lnTo>
                    <a:pt x="26160" y="9987"/>
                  </a:lnTo>
                  <a:lnTo>
                    <a:pt x="25469" y="9607"/>
                  </a:lnTo>
                  <a:lnTo>
                    <a:pt x="24812" y="9193"/>
                  </a:lnTo>
                  <a:lnTo>
                    <a:pt x="24259" y="8778"/>
                  </a:lnTo>
                  <a:lnTo>
                    <a:pt x="23741" y="8329"/>
                  </a:lnTo>
                  <a:lnTo>
                    <a:pt x="23257" y="7879"/>
                  </a:lnTo>
                  <a:lnTo>
                    <a:pt x="22808" y="7430"/>
                  </a:lnTo>
                  <a:lnTo>
                    <a:pt x="21944" y="6532"/>
                  </a:lnTo>
                  <a:lnTo>
                    <a:pt x="21529" y="6117"/>
                  </a:lnTo>
                  <a:lnTo>
                    <a:pt x="21080" y="5702"/>
                  </a:lnTo>
                  <a:lnTo>
                    <a:pt x="20596" y="5322"/>
                  </a:lnTo>
                  <a:lnTo>
                    <a:pt x="20112" y="4977"/>
                  </a:lnTo>
                  <a:lnTo>
                    <a:pt x="19560" y="4666"/>
                  </a:lnTo>
                  <a:lnTo>
                    <a:pt x="18972" y="4389"/>
                  </a:lnTo>
                  <a:lnTo>
                    <a:pt x="18627" y="4286"/>
                  </a:lnTo>
                  <a:lnTo>
                    <a:pt x="18281" y="4182"/>
                  </a:lnTo>
                  <a:lnTo>
                    <a:pt x="17590" y="4044"/>
                  </a:lnTo>
                  <a:lnTo>
                    <a:pt x="16830" y="3975"/>
                  </a:lnTo>
                  <a:lnTo>
                    <a:pt x="16035" y="3940"/>
                  </a:lnTo>
                  <a:lnTo>
                    <a:pt x="15240" y="3975"/>
                  </a:lnTo>
                  <a:lnTo>
                    <a:pt x="14411" y="4044"/>
                  </a:lnTo>
                  <a:lnTo>
                    <a:pt x="12752" y="4251"/>
                  </a:lnTo>
                  <a:lnTo>
                    <a:pt x="11128" y="4458"/>
                  </a:lnTo>
                  <a:lnTo>
                    <a:pt x="9642" y="4666"/>
                  </a:lnTo>
                  <a:lnTo>
                    <a:pt x="8985" y="4735"/>
                  </a:lnTo>
                  <a:lnTo>
                    <a:pt x="8363" y="4735"/>
                  </a:lnTo>
                  <a:lnTo>
                    <a:pt x="7810" y="4700"/>
                  </a:lnTo>
                  <a:lnTo>
                    <a:pt x="7327" y="4631"/>
                  </a:lnTo>
                  <a:lnTo>
                    <a:pt x="6877" y="4493"/>
                  </a:lnTo>
                  <a:lnTo>
                    <a:pt x="6463" y="4320"/>
                  </a:lnTo>
                  <a:lnTo>
                    <a:pt x="6083" y="4147"/>
                  </a:lnTo>
                  <a:lnTo>
                    <a:pt x="5668" y="3940"/>
                  </a:lnTo>
                  <a:lnTo>
                    <a:pt x="4942" y="3491"/>
                  </a:lnTo>
                  <a:lnTo>
                    <a:pt x="4251" y="3007"/>
                  </a:lnTo>
                  <a:lnTo>
                    <a:pt x="3629" y="2454"/>
                  </a:lnTo>
                  <a:lnTo>
                    <a:pt x="3076" y="1901"/>
                  </a:lnTo>
                  <a:lnTo>
                    <a:pt x="2558" y="1348"/>
                  </a:lnTo>
                  <a:lnTo>
                    <a:pt x="2074" y="830"/>
                  </a:lnTo>
                  <a:lnTo>
                    <a:pt x="1867" y="519"/>
                  </a:lnTo>
                  <a:lnTo>
                    <a:pt x="1694" y="277"/>
                  </a:lnTo>
                  <a:lnTo>
                    <a:pt x="1590" y="208"/>
                  </a:lnTo>
                  <a:lnTo>
                    <a:pt x="1487" y="139"/>
                  </a:lnTo>
                  <a:lnTo>
                    <a:pt x="1348" y="70"/>
                  </a:lnTo>
                  <a:lnTo>
                    <a:pt x="1176" y="35"/>
                  </a:lnTo>
                  <a:lnTo>
                    <a:pt x="934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74" name="Google Shape;1574;p16"/>
            <p:cNvSpPr/>
            <p:nvPr/>
          </p:nvSpPr>
          <p:spPr>
            <a:xfrm>
              <a:off x="546150" y="5054400"/>
              <a:ext cx="1569725" cy="83825"/>
            </a:xfrm>
            <a:custGeom>
              <a:avLst/>
              <a:gdLst/>
              <a:ahLst/>
              <a:cxnLst/>
              <a:rect l="l" t="t" r="r" b="b"/>
              <a:pathLst>
                <a:path w="62789" h="3353" extrusionOk="0">
                  <a:moveTo>
                    <a:pt x="31896" y="1"/>
                  </a:moveTo>
                  <a:lnTo>
                    <a:pt x="25606" y="35"/>
                  </a:lnTo>
                  <a:lnTo>
                    <a:pt x="19697" y="105"/>
                  </a:lnTo>
                  <a:lnTo>
                    <a:pt x="14272" y="208"/>
                  </a:lnTo>
                  <a:lnTo>
                    <a:pt x="9538" y="346"/>
                  </a:lnTo>
                  <a:lnTo>
                    <a:pt x="7430" y="416"/>
                  </a:lnTo>
                  <a:lnTo>
                    <a:pt x="5564" y="519"/>
                  </a:lnTo>
                  <a:lnTo>
                    <a:pt x="3939" y="623"/>
                  </a:lnTo>
                  <a:lnTo>
                    <a:pt x="2557" y="761"/>
                  </a:lnTo>
                  <a:lnTo>
                    <a:pt x="1451" y="899"/>
                  </a:lnTo>
                  <a:lnTo>
                    <a:pt x="657" y="1038"/>
                  </a:lnTo>
                  <a:lnTo>
                    <a:pt x="380" y="1107"/>
                  </a:lnTo>
                  <a:lnTo>
                    <a:pt x="173" y="1210"/>
                  </a:lnTo>
                  <a:lnTo>
                    <a:pt x="35" y="1280"/>
                  </a:lnTo>
                  <a:lnTo>
                    <a:pt x="0" y="1349"/>
                  </a:lnTo>
                  <a:lnTo>
                    <a:pt x="35" y="1452"/>
                  </a:lnTo>
                  <a:lnTo>
                    <a:pt x="173" y="1521"/>
                  </a:lnTo>
                  <a:lnTo>
                    <a:pt x="380" y="1625"/>
                  </a:lnTo>
                  <a:lnTo>
                    <a:pt x="657" y="1729"/>
                  </a:lnTo>
                  <a:lnTo>
                    <a:pt x="1451" y="1902"/>
                  </a:lnTo>
                  <a:lnTo>
                    <a:pt x="2557" y="2074"/>
                  </a:lnTo>
                  <a:lnTo>
                    <a:pt x="3939" y="2247"/>
                  </a:lnTo>
                  <a:lnTo>
                    <a:pt x="5564" y="2385"/>
                  </a:lnTo>
                  <a:lnTo>
                    <a:pt x="7430" y="2558"/>
                  </a:lnTo>
                  <a:lnTo>
                    <a:pt x="9538" y="2696"/>
                  </a:lnTo>
                  <a:lnTo>
                    <a:pt x="11818" y="2835"/>
                  </a:lnTo>
                  <a:lnTo>
                    <a:pt x="14272" y="2973"/>
                  </a:lnTo>
                  <a:lnTo>
                    <a:pt x="16933" y="3076"/>
                  </a:lnTo>
                  <a:lnTo>
                    <a:pt x="19697" y="3180"/>
                  </a:lnTo>
                  <a:lnTo>
                    <a:pt x="22600" y="3249"/>
                  </a:lnTo>
                  <a:lnTo>
                    <a:pt x="25606" y="3318"/>
                  </a:lnTo>
                  <a:lnTo>
                    <a:pt x="28716" y="3353"/>
                  </a:lnTo>
                  <a:lnTo>
                    <a:pt x="31896" y="3353"/>
                  </a:lnTo>
                  <a:lnTo>
                    <a:pt x="38116" y="3318"/>
                  </a:lnTo>
                  <a:lnTo>
                    <a:pt x="43921" y="3215"/>
                  </a:lnTo>
                  <a:lnTo>
                    <a:pt x="49174" y="3076"/>
                  </a:lnTo>
                  <a:lnTo>
                    <a:pt x="53735" y="2869"/>
                  </a:lnTo>
                  <a:lnTo>
                    <a:pt x="55739" y="2765"/>
                  </a:lnTo>
                  <a:lnTo>
                    <a:pt x="57536" y="2627"/>
                  </a:lnTo>
                  <a:lnTo>
                    <a:pt x="59057" y="2489"/>
                  </a:lnTo>
                  <a:lnTo>
                    <a:pt x="60370" y="2351"/>
                  </a:lnTo>
                  <a:lnTo>
                    <a:pt x="61407" y="2178"/>
                  </a:lnTo>
                  <a:lnTo>
                    <a:pt x="62167" y="2040"/>
                  </a:lnTo>
                  <a:lnTo>
                    <a:pt x="62443" y="1936"/>
                  </a:lnTo>
                  <a:lnTo>
                    <a:pt x="62651" y="1867"/>
                  </a:lnTo>
                  <a:lnTo>
                    <a:pt x="62754" y="1763"/>
                  </a:lnTo>
                  <a:lnTo>
                    <a:pt x="62789" y="1694"/>
                  </a:lnTo>
                  <a:lnTo>
                    <a:pt x="62754" y="1591"/>
                  </a:lnTo>
                  <a:lnTo>
                    <a:pt x="62651" y="1521"/>
                  </a:lnTo>
                  <a:lnTo>
                    <a:pt x="62443" y="1418"/>
                  </a:lnTo>
                  <a:lnTo>
                    <a:pt x="62167" y="1349"/>
                  </a:lnTo>
                  <a:lnTo>
                    <a:pt x="61407" y="1176"/>
                  </a:lnTo>
                  <a:lnTo>
                    <a:pt x="60370" y="1038"/>
                  </a:lnTo>
                  <a:lnTo>
                    <a:pt x="59057" y="899"/>
                  </a:lnTo>
                  <a:lnTo>
                    <a:pt x="57536" y="761"/>
                  </a:lnTo>
                  <a:lnTo>
                    <a:pt x="55739" y="623"/>
                  </a:lnTo>
                  <a:lnTo>
                    <a:pt x="53735" y="485"/>
                  </a:lnTo>
                  <a:lnTo>
                    <a:pt x="49174" y="312"/>
                  </a:lnTo>
                  <a:lnTo>
                    <a:pt x="43921" y="139"/>
                  </a:lnTo>
                  <a:lnTo>
                    <a:pt x="38116" y="35"/>
                  </a:lnTo>
                  <a:lnTo>
                    <a:pt x="31896" y="1"/>
                  </a:lnTo>
                  <a:close/>
                </a:path>
              </a:pathLst>
            </a:custGeom>
            <a:solidFill>
              <a:srgbClr val="E6E6E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75" name="Google Shape;1575;p16"/>
            <p:cNvSpPr/>
            <p:nvPr/>
          </p:nvSpPr>
          <p:spPr>
            <a:xfrm>
              <a:off x="546150" y="5054400"/>
              <a:ext cx="1569725" cy="83825"/>
            </a:xfrm>
            <a:custGeom>
              <a:avLst/>
              <a:gdLst/>
              <a:ahLst/>
              <a:cxnLst/>
              <a:rect l="l" t="t" r="r" b="b"/>
              <a:pathLst>
                <a:path w="62789" h="3353" fill="none" extrusionOk="0">
                  <a:moveTo>
                    <a:pt x="31896" y="1"/>
                  </a:moveTo>
                  <a:lnTo>
                    <a:pt x="31896" y="1"/>
                  </a:lnTo>
                  <a:lnTo>
                    <a:pt x="25606" y="35"/>
                  </a:lnTo>
                  <a:lnTo>
                    <a:pt x="19697" y="105"/>
                  </a:lnTo>
                  <a:lnTo>
                    <a:pt x="14272" y="208"/>
                  </a:lnTo>
                  <a:lnTo>
                    <a:pt x="9538" y="346"/>
                  </a:lnTo>
                  <a:lnTo>
                    <a:pt x="7430" y="416"/>
                  </a:lnTo>
                  <a:lnTo>
                    <a:pt x="5564" y="519"/>
                  </a:lnTo>
                  <a:lnTo>
                    <a:pt x="3939" y="623"/>
                  </a:lnTo>
                  <a:lnTo>
                    <a:pt x="2557" y="761"/>
                  </a:lnTo>
                  <a:lnTo>
                    <a:pt x="1451" y="899"/>
                  </a:lnTo>
                  <a:lnTo>
                    <a:pt x="657" y="1038"/>
                  </a:lnTo>
                  <a:lnTo>
                    <a:pt x="380" y="1107"/>
                  </a:lnTo>
                  <a:lnTo>
                    <a:pt x="173" y="1210"/>
                  </a:lnTo>
                  <a:lnTo>
                    <a:pt x="35" y="1280"/>
                  </a:lnTo>
                  <a:lnTo>
                    <a:pt x="0" y="1349"/>
                  </a:lnTo>
                  <a:lnTo>
                    <a:pt x="0" y="1349"/>
                  </a:lnTo>
                  <a:lnTo>
                    <a:pt x="35" y="1452"/>
                  </a:lnTo>
                  <a:lnTo>
                    <a:pt x="173" y="1521"/>
                  </a:lnTo>
                  <a:lnTo>
                    <a:pt x="380" y="1625"/>
                  </a:lnTo>
                  <a:lnTo>
                    <a:pt x="657" y="1729"/>
                  </a:lnTo>
                  <a:lnTo>
                    <a:pt x="1451" y="1902"/>
                  </a:lnTo>
                  <a:lnTo>
                    <a:pt x="2557" y="2074"/>
                  </a:lnTo>
                  <a:lnTo>
                    <a:pt x="3939" y="2247"/>
                  </a:lnTo>
                  <a:lnTo>
                    <a:pt x="5564" y="2385"/>
                  </a:lnTo>
                  <a:lnTo>
                    <a:pt x="7430" y="2558"/>
                  </a:lnTo>
                  <a:lnTo>
                    <a:pt x="9538" y="2696"/>
                  </a:lnTo>
                  <a:lnTo>
                    <a:pt x="11818" y="2835"/>
                  </a:lnTo>
                  <a:lnTo>
                    <a:pt x="14272" y="2973"/>
                  </a:lnTo>
                  <a:lnTo>
                    <a:pt x="16933" y="3076"/>
                  </a:lnTo>
                  <a:lnTo>
                    <a:pt x="19697" y="3180"/>
                  </a:lnTo>
                  <a:lnTo>
                    <a:pt x="22600" y="3249"/>
                  </a:lnTo>
                  <a:lnTo>
                    <a:pt x="25606" y="3318"/>
                  </a:lnTo>
                  <a:lnTo>
                    <a:pt x="28716" y="3353"/>
                  </a:lnTo>
                  <a:lnTo>
                    <a:pt x="31896" y="3353"/>
                  </a:lnTo>
                  <a:lnTo>
                    <a:pt x="31896" y="3353"/>
                  </a:lnTo>
                  <a:lnTo>
                    <a:pt x="38116" y="3318"/>
                  </a:lnTo>
                  <a:lnTo>
                    <a:pt x="43921" y="3215"/>
                  </a:lnTo>
                  <a:lnTo>
                    <a:pt x="49174" y="3076"/>
                  </a:lnTo>
                  <a:lnTo>
                    <a:pt x="53735" y="2869"/>
                  </a:lnTo>
                  <a:lnTo>
                    <a:pt x="55739" y="2765"/>
                  </a:lnTo>
                  <a:lnTo>
                    <a:pt x="57536" y="2627"/>
                  </a:lnTo>
                  <a:lnTo>
                    <a:pt x="59057" y="2489"/>
                  </a:lnTo>
                  <a:lnTo>
                    <a:pt x="60370" y="2351"/>
                  </a:lnTo>
                  <a:lnTo>
                    <a:pt x="61407" y="2178"/>
                  </a:lnTo>
                  <a:lnTo>
                    <a:pt x="62167" y="2040"/>
                  </a:lnTo>
                  <a:lnTo>
                    <a:pt x="62443" y="1936"/>
                  </a:lnTo>
                  <a:lnTo>
                    <a:pt x="62651" y="1867"/>
                  </a:lnTo>
                  <a:lnTo>
                    <a:pt x="62754" y="1763"/>
                  </a:lnTo>
                  <a:lnTo>
                    <a:pt x="62789" y="1694"/>
                  </a:lnTo>
                  <a:lnTo>
                    <a:pt x="62789" y="1694"/>
                  </a:lnTo>
                  <a:lnTo>
                    <a:pt x="62754" y="1591"/>
                  </a:lnTo>
                  <a:lnTo>
                    <a:pt x="62651" y="1521"/>
                  </a:lnTo>
                  <a:lnTo>
                    <a:pt x="62443" y="1418"/>
                  </a:lnTo>
                  <a:lnTo>
                    <a:pt x="62167" y="1349"/>
                  </a:lnTo>
                  <a:lnTo>
                    <a:pt x="61407" y="1176"/>
                  </a:lnTo>
                  <a:lnTo>
                    <a:pt x="60370" y="1038"/>
                  </a:lnTo>
                  <a:lnTo>
                    <a:pt x="59057" y="899"/>
                  </a:lnTo>
                  <a:lnTo>
                    <a:pt x="57536" y="761"/>
                  </a:lnTo>
                  <a:lnTo>
                    <a:pt x="55739" y="623"/>
                  </a:lnTo>
                  <a:lnTo>
                    <a:pt x="53735" y="485"/>
                  </a:lnTo>
                  <a:lnTo>
                    <a:pt x="49174" y="312"/>
                  </a:lnTo>
                  <a:lnTo>
                    <a:pt x="43921" y="139"/>
                  </a:lnTo>
                  <a:lnTo>
                    <a:pt x="38116" y="35"/>
                  </a:lnTo>
                  <a:lnTo>
                    <a:pt x="3189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76" name="Google Shape;1576;p16"/>
            <p:cNvSpPr/>
            <p:nvPr/>
          </p:nvSpPr>
          <p:spPr>
            <a:xfrm>
              <a:off x="1044625" y="3889000"/>
              <a:ext cx="301525" cy="1136925"/>
            </a:xfrm>
            <a:custGeom>
              <a:avLst/>
              <a:gdLst/>
              <a:ahLst/>
              <a:cxnLst/>
              <a:rect l="l" t="t" r="r" b="b"/>
              <a:pathLst>
                <a:path w="12061" h="45477" extrusionOk="0">
                  <a:moveTo>
                    <a:pt x="11058" y="0"/>
                  </a:moveTo>
                  <a:lnTo>
                    <a:pt x="10021" y="864"/>
                  </a:lnTo>
                  <a:lnTo>
                    <a:pt x="8916" y="1797"/>
                  </a:lnTo>
                  <a:lnTo>
                    <a:pt x="7672" y="2903"/>
                  </a:lnTo>
                  <a:lnTo>
                    <a:pt x="6358" y="4113"/>
                  </a:lnTo>
                  <a:lnTo>
                    <a:pt x="5771" y="4700"/>
                  </a:lnTo>
                  <a:lnTo>
                    <a:pt x="5218" y="5287"/>
                  </a:lnTo>
                  <a:lnTo>
                    <a:pt x="4734" y="5840"/>
                  </a:lnTo>
                  <a:lnTo>
                    <a:pt x="4320" y="6359"/>
                  </a:lnTo>
                  <a:lnTo>
                    <a:pt x="4009" y="6808"/>
                  </a:lnTo>
                  <a:lnTo>
                    <a:pt x="3905" y="7015"/>
                  </a:lnTo>
                  <a:lnTo>
                    <a:pt x="3836" y="7188"/>
                  </a:lnTo>
                  <a:lnTo>
                    <a:pt x="3767" y="7672"/>
                  </a:lnTo>
                  <a:lnTo>
                    <a:pt x="3663" y="8501"/>
                  </a:lnTo>
                  <a:lnTo>
                    <a:pt x="3628" y="9538"/>
                  </a:lnTo>
                  <a:lnTo>
                    <a:pt x="3559" y="10817"/>
                  </a:lnTo>
                  <a:lnTo>
                    <a:pt x="3490" y="13823"/>
                  </a:lnTo>
                  <a:lnTo>
                    <a:pt x="3490" y="17175"/>
                  </a:lnTo>
                  <a:lnTo>
                    <a:pt x="3490" y="23464"/>
                  </a:lnTo>
                  <a:lnTo>
                    <a:pt x="3456" y="25779"/>
                  </a:lnTo>
                  <a:lnTo>
                    <a:pt x="3421" y="27023"/>
                  </a:lnTo>
                  <a:lnTo>
                    <a:pt x="3317" y="27887"/>
                  </a:lnTo>
                  <a:lnTo>
                    <a:pt x="3179" y="29235"/>
                  </a:lnTo>
                  <a:lnTo>
                    <a:pt x="2937" y="30859"/>
                  </a:lnTo>
                  <a:lnTo>
                    <a:pt x="2661" y="32691"/>
                  </a:lnTo>
                  <a:lnTo>
                    <a:pt x="2350" y="34488"/>
                  </a:lnTo>
                  <a:lnTo>
                    <a:pt x="2039" y="36215"/>
                  </a:lnTo>
                  <a:lnTo>
                    <a:pt x="1693" y="37667"/>
                  </a:lnTo>
                  <a:lnTo>
                    <a:pt x="1521" y="38254"/>
                  </a:lnTo>
                  <a:lnTo>
                    <a:pt x="1348" y="38738"/>
                  </a:lnTo>
                  <a:lnTo>
                    <a:pt x="1037" y="39429"/>
                  </a:lnTo>
                  <a:lnTo>
                    <a:pt x="760" y="39913"/>
                  </a:lnTo>
                  <a:lnTo>
                    <a:pt x="553" y="40224"/>
                  </a:lnTo>
                  <a:lnTo>
                    <a:pt x="346" y="40466"/>
                  </a:lnTo>
                  <a:lnTo>
                    <a:pt x="207" y="40639"/>
                  </a:lnTo>
                  <a:lnTo>
                    <a:pt x="69" y="40881"/>
                  </a:lnTo>
                  <a:lnTo>
                    <a:pt x="0" y="41192"/>
                  </a:lnTo>
                  <a:lnTo>
                    <a:pt x="0" y="41641"/>
                  </a:lnTo>
                  <a:lnTo>
                    <a:pt x="0" y="41779"/>
                  </a:lnTo>
                  <a:lnTo>
                    <a:pt x="69" y="41952"/>
                  </a:lnTo>
                  <a:lnTo>
                    <a:pt x="173" y="42090"/>
                  </a:lnTo>
                  <a:lnTo>
                    <a:pt x="311" y="42263"/>
                  </a:lnTo>
                  <a:lnTo>
                    <a:pt x="691" y="42608"/>
                  </a:lnTo>
                  <a:lnTo>
                    <a:pt x="1210" y="42954"/>
                  </a:lnTo>
                  <a:lnTo>
                    <a:pt x="1832" y="43300"/>
                  </a:lnTo>
                  <a:lnTo>
                    <a:pt x="2488" y="43645"/>
                  </a:lnTo>
                  <a:lnTo>
                    <a:pt x="3214" y="43991"/>
                  </a:lnTo>
                  <a:lnTo>
                    <a:pt x="3939" y="44336"/>
                  </a:lnTo>
                  <a:lnTo>
                    <a:pt x="4665" y="44613"/>
                  </a:lnTo>
                  <a:lnTo>
                    <a:pt x="5356" y="44889"/>
                  </a:lnTo>
                  <a:lnTo>
                    <a:pt x="6013" y="45096"/>
                  </a:lnTo>
                  <a:lnTo>
                    <a:pt x="6600" y="45304"/>
                  </a:lnTo>
                  <a:lnTo>
                    <a:pt x="7084" y="45407"/>
                  </a:lnTo>
                  <a:lnTo>
                    <a:pt x="7430" y="45477"/>
                  </a:lnTo>
                  <a:lnTo>
                    <a:pt x="7533" y="45477"/>
                  </a:lnTo>
                  <a:lnTo>
                    <a:pt x="7637" y="45442"/>
                  </a:lnTo>
                  <a:lnTo>
                    <a:pt x="7672" y="45407"/>
                  </a:lnTo>
                  <a:lnTo>
                    <a:pt x="7672" y="45338"/>
                  </a:lnTo>
                  <a:lnTo>
                    <a:pt x="7222" y="44474"/>
                  </a:lnTo>
                  <a:lnTo>
                    <a:pt x="6497" y="43161"/>
                  </a:lnTo>
                  <a:lnTo>
                    <a:pt x="5287" y="41053"/>
                  </a:lnTo>
                  <a:lnTo>
                    <a:pt x="5287" y="40915"/>
                  </a:lnTo>
                  <a:lnTo>
                    <a:pt x="5287" y="40639"/>
                  </a:lnTo>
                  <a:lnTo>
                    <a:pt x="5425" y="39809"/>
                  </a:lnTo>
                  <a:lnTo>
                    <a:pt x="5667" y="38531"/>
                  </a:lnTo>
                  <a:lnTo>
                    <a:pt x="5978" y="36907"/>
                  </a:lnTo>
                  <a:lnTo>
                    <a:pt x="6877" y="32898"/>
                  </a:lnTo>
                  <a:lnTo>
                    <a:pt x="7948" y="28233"/>
                  </a:lnTo>
                  <a:lnTo>
                    <a:pt x="10160" y="18937"/>
                  </a:lnTo>
                  <a:lnTo>
                    <a:pt x="11576" y="13028"/>
                  </a:lnTo>
                  <a:lnTo>
                    <a:pt x="11715" y="12302"/>
                  </a:lnTo>
                  <a:lnTo>
                    <a:pt x="11853" y="11542"/>
                  </a:lnTo>
                  <a:lnTo>
                    <a:pt x="11922" y="10817"/>
                  </a:lnTo>
                  <a:lnTo>
                    <a:pt x="11991" y="10056"/>
                  </a:lnTo>
                  <a:lnTo>
                    <a:pt x="12026" y="9296"/>
                  </a:lnTo>
                  <a:lnTo>
                    <a:pt x="12060" y="8501"/>
                  </a:lnTo>
                  <a:lnTo>
                    <a:pt x="12060" y="7706"/>
                  </a:lnTo>
                  <a:lnTo>
                    <a:pt x="12026" y="6912"/>
                  </a:lnTo>
                  <a:lnTo>
                    <a:pt x="11887" y="5253"/>
                  </a:lnTo>
                  <a:lnTo>
                    <a:pt x="11680" y="3560"/>
                  </a:lnTo>
                  <a:lnTo>
                    <a:pt x="11404" y="1832"/>
                  </a:lnTo>
                  <a:lnTo>
                    <a:pt x="11058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77" name="Google Shape;1577;p16"/>
            <p:cNvSpPr/>
            <p:nvPr/>
          </p:nvSpPr>
          <p:spPr>
            <a:xfrm>
              <a:off x="1044625" y="3889000"/>
              <a:ext cx="301525" cy="1136925"/>
            </a:xfrm>
            <a:custGeom>
              <a:avLst/>
              <a:gdLst/>
              <a:ahLst/>
              <a:cxnLst/>
              <a:rect l="l" t="t" r="r" b="b"/>
              <a:pathLst>
                <a:path w="12061" h="45477" fill="none" extrusionOk="0">
                  <a:moveTo>
                    <a:pt x="11058" y="0"/>
                  </a:moveTo>
                  <a:lnTo>
                    <a:pt x="11058" y="0"/>
                  </a:lnTo>
                  <a:lnTo>
                    <a:pt x="11404" y="1832"/>
                  </a:lnTo>
                  <a:lnTo>
                    <a:pt x="11680" y="3560"/>
                  </a:lnTo>
                  <a:lnTo>
                    <a:pt x="11887" y="5253"/>
                  </a:lnTo>
                  <a:lnTo>
                    <a:pt x="12026" y="6912"/>
                  </a:lnTo>
                  <a:lnTo>
                    <a:pt x="12060" y="7706"/>
                  </a:lnTo>
                  <a:lnTo>
                    <a:pt x="12060" y="8501"/>
                  </a:lnTo>
                  <a:lnTo>
                    <a:pt x="12026" y="9296"/>
                  </a:lnTo>
                  <a:lnTo>
                    <a:pt x="11991" y="10056"/>
                  </a:lnTo>
                  <a:lnTo>
                    <a:pt x="11922" y="10817"/>
                  </a:lnTo>
                  <a:lnTo>
                    <a:pt x="11853" y="11542"/>
                  </a:lnTo>
                  <a:lnTo>
                    <a:pt x="11715" y="12302"/>
                  </a:lnTo>
                  <a:lnTo>
                    <a:pt x="11576" y="13028"/>
                  </a:lnTo>
                  <a:lnTo>
                    <a:pt x="11576" y="13028"/>
                  </a:lnTo>
                  <a:lnTo>
                    <a:pt x="10160" y="18937"/>
                  </a:lnTo>
                  <a:lnTo>
                    <a:pt x="7948" y="28233"/>
                  </a:lnTo>
                  <a:lnTo>
                    <a:pt x="6877" y="32898"/>
                  </a:lnTo>
                  <a:lnTo>
                    <a:pt x="5978" y="36907"/>
                  </a:lnTo>
                  <a:lnTo>
                    <a:pt x="5667" y="38531"/>
                  </a:lnTo>
                  <a:lnTo>
                    <a:pt x="5425" y="39809"/>
                  </a:lnTo>
                  <a:lnTo>
                    <a:pt x="5287" y="40639"/>
                  </a:lnTo>
                  <a:lnTo>
                    <a:pt x="5287" y="40915"/>
                  </a:lnTo>
                  <a:lnTo>
                    <a:pt x="5287" y="41053"/>
                  </a:lnTo>
                  <a:lnTo>
                    <a:pt x="5287" y="41053"/>
                  </a:lnTo>
                  <a:lnTo>
                    <a:pt x="6497" y="43161"/>
                  </a:lnTo>
                  <a:lnTo>
                    <a:pt x="7222" y="44474"/>
                  </a:lnTo>
                  <a:lnTo>
                    <a:pt x="7672" y="45338"/>
                  </a:lnTo>
                  <a:lnTo>
                    <a:pt x="7672" y="45338"/>
                  </a:lnTo>
                  <a:lnTo>
                    <a:pt x="7672" y="45407"/>
                  </a:lnTo>
                  <a:lnTo>
                    <a:pt x="7637" y="45442"/>
                  </a:lnTo>
                  <a:lnTo>
                    <a:pt x="7533" y="45477"/>
                  </a:lnTo>
                  <a:lnTo>
                    <a:pt x="7430" y="45477"/>
                  </a:lnTo>
                  <a:lnTo>
                    <a:pt x="7084" y="45407"/>
                  </a:lnTo>
                  <a:lnTo>
                    <a:pt x="6600" y="45304"/>
                  </a:lnTo>
                  <a:lnTo>
                    <a:pt x="6013" y="45096"/>
                  </a:lnTo>
                  <a:lnTo>
                    <a:pt x="5356" y="44889"/>
                  </a:lnTo>
                  <a:lnTo>
                    <a:pt x="4665" y="44613"/>
                  </a:lnTo>
                  <a:lnTo>
                    <a:pt x="3939" y="44336"/>
                  </a:lnTo>
                  <a:lnTo>
                    <a:pt x="3214" y="43991"/>
                  </a:lnTo>
                  <a:lnTo>
                    <a:pt x="2488" y="43645"/>
                  </a:lnTo>
                  <a:lnTo>
                    <a:pt x="1832" y="43300"/>
                  </a:lnTo>
                  <a:lnTo>
                    <a:pt x="1210" y="42954"/>
                  </a:lnTo>
                  <a:lnTo>
                    <a:pt x="691" y="42608"/>
                  </a:lnTo>
                  <a:lnTo>
                    <a:pt x="311" y="42263"/>
                  </a:lnTo>
                  <a:lnTo>
                    <a:pt x="173" y="42090"/>
                  </a:lnTo>
                  <a:lnTo>
                    <a:pt x="69" y="41952"/>
                  </a:lnTo>
                  <a:lnTo>
                    <a:pt x="0" y="41779"/>
                  </a:lnTo>
                  <a:lnTo>
                    <a:pt x="0" y="41641"/>
                  </a:lnTo>
                  <a:lnTo>
                    <a:pt x="0" y="41641"/>
                  </a:lnTo>
                  <a:lnTo>
                    <a:pt x="0" y="41192"/>
                  </a:lnTo>
                  <a:lnTo>
                    <a:pt x="69" y="40881"/>
                  </a:lnTo>
                  <a:lnTo>
                    <a:pt x="207" y="40639"/>
                  </a:lnTo>
                  <a:lnTo>
                    <a:pt x="346" y="40466"/>
                  </a:lnTo>
                  <a:lnTo>
                    <a:pt x="553" y="40224"/>
                  </a:lnTo>
                  <a:lnTo>
                    <a:pt x="760" y="39913"/>
                  </a:lnTo>
                  <a:lnTo>
                    <a:pt x="1037" y="39429"/>
                  </a:lnTo>
                  <a:lnTo>
                    <a:pt x="1348" y="38738"/>
                  </a:lnTo>
                  <a:lnTo>
                    <a:pt x="1348" y="38738"/>
                  </a:lnTo>
                  <a:lnTo>
                    <a:pt x="1521" y="38254"/>
                  </a:lnTo>
                  <a:lnTo>
                    <a:pt x="1693" y="37667"/>
                  </a:lnTo>
                  <a:lnTo>
                    <a:pt x="2039" y="36215"/>
                  </a:lnTo>
                  <a:lnTo>
                    <a:pt x="2350" y="34488"/>
                  </a:lnTo>
                  <a:lnTo>
                    <a:pt x="2661" y="32691"/>
                  </a:lnTo>
                  <a:lnTo>
                    <a:pt x="2937" y="30859"/>
                  </a:lnTo>
                  <a:lnTo>
                    <a:pt x="3179" y="29235"/>
                  </a:lnTo>
                  <a:lnTo>
                    <a:pt x="3317" y="27887"/>
                  </a:lnTo>
                  <a:lnTo>
                    <a:pt x="3421" y="27023"/>
                  </a:lnTo>
                  <a:lnTo>
                    <a:pt x="3421" y="27023"/>
                  </a:lnTo>
                  <a:lnTo>
                    <a:pt x="3456" y="25779"/>
                  </a:lnTo>
                  <a:lnTo>
                    <a:pt x="3490" y="23464"/>
                  </a:lnTo>
                  <a:lnTo>
                    <a:pt x="3490" y="17175"/>
                  </a:lnTo>
                  <a:lnTo>
                    <a:pt x="3490" y="13823"/>
                  </a:lnTo>
                  <a:lnTo>
                    <a:pt x="3559" y="10817"/>
                  </a:lnTo>
                  <a:lnTo>
                    <a:pt x="3628" y="9538"/>
                  </a:lnTo>
                  <a:lnTo>
                    <a:pt x="3663" y="8501"/>
                  </a:lnTo>
                  <a:lnTo>
                    <a:pt x="3767" y="7672"/>
                  </a:lnTo>
                  <a:lnTo>
                    <a:pt x="3836" y="7188"/>
                  </a:lnTo>
                  <a:lnTo>
                    <a:pt x="3836" y="7188"/>
                  </a:lnTo>
                  <a:lnTo>
                    <a:pt x="3905" y="7015"/>
                  </a:lnTo>
                  <a:lnTo>
                    <a:pt x="4009" y="6808"/>
                  </a:lnTo>
                  <a:lnTo>
                    <a:pt x="4320" y="6359"/>
                  </a:lnTo>
                  <a:lnTo>
                    <a:pt x="4734" y="5840"/>
                  </a:lnTo>
                  <a:lnTo>
                    <a:pt x="5218" y="5287"/>
                  </a:lnTo>
                  <a:lnTo>
                    <a:pt x="5771" y="4700"/>
                  </a:lnTo>
                  <a:lnTo>
                    <a:pt x="6358" y="4113"/>
                  </a:lnTo>
                  <a:lnTo>
                    <a:pt x="7672" y="2903"/>
                  </a:lnTo>
                  <a:lnTo>
                    <a:pt x="8916" y="1797"/>
                  </a:lnTo>
                  <a:lnTo>
                    <a:pt x="10021" y="864"/>
                  </a:lnTo>
                  <a:lnTo>
                    <a:pt x="1105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78" name="Google Shape;1578;p16"/>
            <p:cNvSpPr/>
            <p:nvPr/>
          </p:nvSpPr>
          <p:spPr>
            <a:xfrm>
              <a:off x="1705500" y="3103700"/>
              <a:ext cx="170225" cy="94200"/>
            </a:xfrm>
            <a:custGeom>
              <a:avLst/>
              <a:gdLst/>
              <a:ahLst/>
              <a:cxnLst/>
              <a:rect l="l" t="t" r="r" b="b"/>
              <a:pathLst>
                <a:path w="6809" h="3768" extrusionOk="0">
                  <a:moveTo>
                    <a:pt x="3940" y="1"/>
                  </a:moveTo>
                  <a:lnTo>
                    <a:pt x="3767" y="35"/>
                  </a:lnTo>
                  <a:lnTo>
                    <a:pt x="3353" y="139"/>
                  </a:lnTo>
                  <a:lnTo>
                    <a:pt x="2938" y="346"/>
                  </a:lnTo>
                  <a:lnTo>
                    <a:pt x="2489" y="553"/>
                  </a:lnTo>
                  <a:lnTo>
                    <a:pt x="2074" y="761"/>
                  </a:lnTo>
                  <a:lnTo>
                    <a:pt x="1728" y="934"/>
                  </a:lnTo>
                  <a:lnTo>
                    <a:pt x="1417" y="1003"/>
                  </a:lnTo>
                  <a:lnTo>
                    <a:pt x="1314" y="1003"/>
                  </a:lnTo>
                  <a:lnTo>
                    <a:pt x="1210" y="968"/>
                  </a:lnTo>
                  <a:lnTo>
                    <a:pt x="1141" y="968"/>
                  </a:lnTo>
                  <a:lnTo>
                    <a:pt x="1072" y="1003"/>
                  </a:lnTo>
                  <a:lnTo>
                    <a:pt x="899" y="1175"/>
                  </a:lnTo>
                  <a:lnTo>
                    <a:pt x="692" y="1417"/>
                  </a:lnTo>
                  <a:lnTo>
                    <a:pt x="484" y="1728"/>
                  </a:lnTo>
                  <a:lnTo>
                    <a:pt x="139" y="2350"/>
                  </a:lnTo>
                  <a:lnTo>
                    <a:pt x="1" y="2627"/>
                  </a:lnTo>
                  <a:lnTo>
                    <a:pt x="277" y="2869"/>
                  </a:lnTo>
                  <a:lnTo>
                    <a:pt x="623" y="3076"/>
                  </a:lnTo>
                  <a:lnTo>
                    <a:pt x="968" y="3283"/>
                  </a:lnTo>
                  <a:lnTo>
                    <a:pt x="1314" y="3422"/>
                  </a:lnTo>
                  <a:lnTo>
                    <a:pt x="1694" y="3560"/>
                  </a:lnTo>
                  <a:lnTo>
                    <a:pt x="2109" y="3629"/>
                  </a:lnTo>
                  <a:lnTo>
                    <a:pt x="2489" y="3698"/>
                  </a:lnTo>
                  <a:lnTo>
                    <a:pt x="2869" y="3767"/>
                  </a:lnTo>
                  <a:lnTo>
                    <a:pt x="3664" y="3767"/>
                  </a:lnTo>
                  <a:lnTo>
                    <a:pt x="4044" y="3733"/>
                  </a:lnTo>
                  <a:lnTo>
                    <a:pt x="4389" y="3664"/>
                  </a:lnTo>
                  <a:lnTo>
                    <a:pt x="4735" y="3594"/>
                  </a:lnTo>
                  <a:lnTo>
                    <a:pt x="5046" y="3491"/>
                  </a:lnTo>
                  <a:lnTo>
                    <a:pt x="5322" y="3353"/>
                  </a:lnTo>
                  <a:lnTo>
                    <a:pt x="5564" y="3214"/>
                  </a:lnTo>
                  <a:lnTo>
                    <a:pt x="5806" y="3042"/>
                  </a:lnTo>
                  <a:lnTo>
                    <a:pt x="6013" y="2834"/>
                  </a:lnTo>
                  <a:lnTo>
                    <a:pt x="6221" y="2592"/>
                  </a:lnTo>
                  <a:lnTo>
                    <a:pt x="6394" y="2350"/>
                  </a:lnTo>
                  <a:lnTo>
                    <a:pt x="6532" y="2109"/>
                  </a:lnTo>
                  <a:lnTo>
                    <a:pt x="6635" y="1867"/>
                  </a:lnTo>
                  <a:lnTo>
                    <a:pt x="6739" y="1625"/>
                  </a:lnTo>
                  <a:lnTo>
                    <a:pt x="6774" y="1383"/>
                  </a:lnTo>
                  <a:lnTo>
                    <a:pt x="6808" y="1175"/>
                  </a:lnTo>
                  <a:lnTo>
                    <a:pt x="6774" y="968"/>
                  </a:lnTo>
                  <a:lnTo>
                    <a:pt x="6739" y="795"/>
                  </a:lnTo>
                  <a:lnTo>
                    <a:pt x="6635" y="692"/>
                  </a:lnTo>
                  <a:lnTo>
                    <a:pt x="6532" y="588"/>
                  </a:lnTo>
                  <a:lnTo>
                    <a:pt x="6152" y="588"/>
                  </a:lnTo>
                  <a:lnTo>
                    <a:pt x="5875" y="692"/>
                  </a:lnTo>
                  <a:lnTo>
                    <a:pt x="5495" y="864"/>
                  </a:lnTo>
                  <a:lnTo>
                    <a:pt x="5184" y="968"/>
                  </a:lnTo>
                  <a:lnTo>
                    <a:pt x="4908" y="1003"/>
                  </a:lnTo>
                  <a:lnTo>
                    <a:pt x="4700" y="1037"/>
                  </a:lnTo>
                  <a:lnTo>
                    <a:pt x="4562" y="1003"/>
                  </a:lnTo>
                  <a:lnTo>
                    <a:pt x="4458" y="934"/>
                  </a:lnTo>
                  <a:lnTo>
                    <a:pt x="4389" y="864"/>
                  </a:lnTo>
                  <a:lnTo>
                    <a:pt x="4355" y="761"/>
                  </a:lnTo>
                  <a:lnTo>
                    <a:pt x="4320" y="519"/>
                  </a:lnTo>
                  <a:lnTo>
                    <a:pt x="4286" y="277"/>
                  </a:lnTo>
                  <a:lnTo>
                    <a:pt x="4286" y="173"/>
                  </a:lnTo>
                  <a:lnTo>
                    <a:pt x="4251" y="104"/>
                  </a:lnTo>
                  <a:lnTo>
                    <a:pt x="4217" y="35"/>
                  </a:lnTo>
                  <a:lnTo>
                    <a:pt x="4113" y="1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79" name="Google Shape;1579;p16"/>
            <p:cNvSpPr/>
            <p:nvPr/>
          </p:nvSpPr>
          <p:spPr>
            <a:xfrm>
              <a:off x="1874825" y="2241525"/>
              <a:ext cx="111475" cy="162425"/>
            </a:xfrm>
            <a:custGeom>
              <a:avLst/>
              <a:gdLst/>
              <a:ahLst/>
              <a:cxnLst/>
              <a:rect l="l" t="t" r="r" b="b"/>
              <a:pathLst>
                <a:path w="4459" h="6497" extrusionOk="0">
                  <a:moveTo>
                    <a:pt x="3353" y="0"/>
                  </a:moveTo>
                  <a:lnTo>
                    <a:pt x="3076" y="35"/>
                  </a:lnTo>
                  <a:lnTo>
                    <a:pt x="2800" y="69"/>
                  </a:lnTo>
                  <a:lnTo>
                    <a:pt x="2523" y="173"/>
                  </a:lnTo>
                  <a:lnTo>
                    <a:pt x="2212" y="277"/>
                  </a:lnTo>
                  <a:lnTo>
                    <a:pt x="1936" y="380"/>
                  </a:lnTo>
                  <a:lnTo>
                    <a:pt x="1694" y="553"/>
                  </a:lnTo>
                  <a:lnTo>
                    <a:pt x="1487" y="726"/>
                  </a:lnTo>
                  <a:lnTo>
                    <a:pt x="1279" y="968"/>
                  </a:lnTo>
                  <a:lnTo>
                    <a:pt x="1072" y="1210"/>
                  </a:lnTo>
                  <a:lnTo>
                    <a:pt x="865" y="1486"/>
                  </a:lnTo>
                  <a:lnTo>
                    <a:pt x="692" y="1797"/>
                  </a:lnTo>
                  <a:lnTo>
                    <a:pt x="519" y="2143"/>
                  </a:lnTo>
                  <a:lnTo>
                    <a:pt x="381" y="2488"/>
                  </a:lnTo>
                  <a:lnTo>
                    <a:pt x="243" y="2868"/>
                  </a:lnTo>
                  <a:lnTo>
                    <a:pt x="139" y="3249"/>
                  </a:lnTo>
                  <a:lnTo>
                    <a:pt x="70" y="3663"/>
                  </a:lnTo>
                  <a:lnTo>
                    <a:pt x="35" y="4043"/>
                  </a:lnTo>
                  <a:lnTo>
                    <a:pt x="1" y="4458"/>
                  </a:lnTo>
                  <a:lnTo>
                    <a:pt x="35" y="4838"/>
                  </a:lnTo>
                  <a:lnTo>
                    <a:pt x="70" y="5218"/>
                  </a:lnTo>
                  <a:lnTo>
                    <a:pt x="173" y="5598"/>
                  </a:lnTo>
                  <a:lnTo>
                    <a:pt x="277" y="5979"/>
                  </a:lnTo>
                  <a:lnTo>
                    <a:pt x="588" y="6151"/>
                  </a:lnTo>
                  <a:lnTo>
                    <a:pt x="899" y="6290"/>
                  </a:lnTo>
                  <a:lnTo>
                    <a:pt x="1314" y="6428"/>
                  </a:lnTo>
                  <a:lnTo>
                    <a:pt x="1521" y="6462"/>
                  </a:lnTo>
                  <a:lnTo>
                    <a:pt x="1763" y="6497"/>
                  </a:lnTo>
                  <a:lnTo>
                    <a:pt x="2005" y="6462"/>
                  </a:lnTo>
                  <a:lnTo>
                    <a:pt x="2281" y="6428"/>
                  </a:lnTo>
                  <a:lnTo>
                    <a:pt x="2523" y="6359"/>
                  </a:lnTo>
                  <a:lnTo>
                    <a:pt x="2765" y="6220"/>
                  </a:lnTo>
                  <a:lnTo>
                    <a:pt x="3007" y="6013"/>
                  </a:lnTo>
                  <a:lnTo>
                    <a:pt x="3214" y="5771"/>
                  </a:lnTo>
                  <a:lnTo>
                    <a:pt x="3387" y="5529"/>
                  </a:lnTo>
                  <a:lnTo>
                    <a:pt x="3491" y="5287"/>
                  </a:lnTo>
                  <a:lnTo>
                    <a:pt x="3560" y="5011"/>
                  </a:lnTo>
                  <a:lnTo>
                    <a:pt x="3629" y="4700"/>
                  </a:lnTo>
                  <a:lnTo>
                    <a:pt x="3664" y="4113"/>
                  </a:lnTo>
                  <a:lnTo>
                    <a:pt x="3664" y="3456"/>
                  </a:lnTo>
                  <a:lnTo>
                    <a:pt x="3664" y="2834"/>
                  </a:lnTo>
                  <a:lnTo>
                    <a:pt x="3664" y="2523"/>
                  </a:lnTo>
                  <a:lnTo>
                    <a:pt x="3698" y="2212"/>
                  </a:lnTo>
                  <a:lnTo>
                    <a:pt x="3767" y="1935"/>
                  </a:lnTo>
                  <a:lnTo>
                    <a:pt x="3871" y="1659"/>
                  </a:lnTo>
                  <a:lnTo>
                    <a:pt x="4009" y="1383"/>
                  </a:lnTo>
                  <a:lnTo>
                    <a:pt x="4182" y="1141"/>
                  </a:lnTo>
                  <a:lnTo>
                    <a:pt x="4355" y="933"/>
                  </a:lnTo>
                  <a:lnTo>
                    <a:pt x="4458" y="761"/>
                  </a:lnTo>
                  <a:lnTo>
                    <a:pt x="4458" y="588"/>
                  </a:lnTo>
                  <a:lnTo>
                    <a:pt x="4458" y="415"/>
                  </a:lnTo>
                  <a:lnTo>
                    <a:pt x="4355" y="311"/>
                  </a:lnTo>
                  <a:lnTo>
                    <a:pt x="4217" y="208"/>
                  </a:lnTo>
                  <a:lnTo>
                    <a:pt x="4044" y="104"/>
                  </a:lnTo>
                  <a:lnTo>
                    <a:pt x="3836" y="69"/>
                  </a:lnTo>
                  <a:lnTo>
                    <a:pt x="3595" y="35"/>
                  </a:lnTo>
                  <a:lnTo>
                    <a:pt x="3353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0" name="Google Shape;1580;p16"/>
            <p:cNvSpPr/>
            <p:nvPr/>
          </p:nvSpPr>
          <p:spPr>
            <a:xfrm>
              <a:off x="994500" y="4854850"/>
              <a:ext cx="305850" cy="254875"/>
            </a:xfrm>
            <a:custGeom>
              <a:avLst/>
              <a:gdLst/>
              <a:ahLst/>
              <a:cxnLst/>
              <a:rect l="l" t="t" r="r" b="b"/>
              <a:pathLst>
                <a:path w="12234" h="10195" extrusionOk="0">
                  <a:moveTo>
                    <a:pt x="2903" y="0"/>
                  </a:moveTo>
                  <a:lnTo>
                    <a:pt x="2731" y="70"/>
                  </a:lnTo>
                  <a:lnTo>
                    <a:pt x="1901" y="657"/>
                  </a:lnTo>
                  <a:lnTo>
                    <a:pt x="1072" y="1244"/>
                  </a:lnTo>
                  <a:lnTo>
                    <a:pt x="865" y="1452"/>
                  </a:lnTo>
                  <a:lnTo>
                    <a:pt x="657" y="1694"/>
                  </a:lnTo>
                  <a:lnTo>
                    <a:pt x="450" y="1970"/>
                  </a:lnTo>
                  <a:lnTo>
                    <a:pt x="277" y="2281"/>
                  </a:lnTo>
                  <a:lnTo>
                    <a:pt x="139" y="2558"/>
                  </a:lnTo>
                  <a:lnTo>
                    <a:pt x="35" y="2799"/>
                  </a:lnTo>
                  <a:lnTo>
                    <a:pt x="1" y="3041"/>
                  </a:lnTo>
                  <a:lnTo>
                    <a:pt x="1" y="3180"/>
                  </a:lnTo>
                  <a:lnTo>
                    <a:pt x="70" y="3352"/>
                  </a:lnTo>
                  <a:lnTo>
                    <a:pt x="243" y="3560"/>
                  </a:lnTo>
                  <a:lnTo>
                    <a:pt x="796" y="4113"/>
                  </a:lnTo>
                  <a:lnTo>
                    <a:pt x="1452" y="4700"/>
                  </a:lnTo>
                  <a:lnTo>
                    <a:pt x="2143" y="5357"/>
                  </a:lnTo>
                  <a:lnTo>
                    <a:pt x="2351" y="5357"/>
                  </a:lnTo>
                  <a:lnTo>
                    <a:pt x="2454" y="5322"/>
                  </a:lnTo>
                  <a:lnTo>
                    <a:pt x="2558" y="5218"/>
                  </a:lnTo>
                  <a:lnTo>
                    <a:pt x="2696" y="5115"/>
                  </a:lnTo>
                  <a:lnTo>
                    <a:pt x="2731" y="5115"/>
                  </a:lnTo>
                  <a:lnTo>
                    <a:pt x="2834" y="5184"/>
                  </a:lnTo>
                  <a:lnTo>
                    <a:pt x="3180" y="5460"/>
                  </a:lnTo>
                  <a:lnTo>
                    <a:pt x="4251" y="6428"/>
                  </a:lnTo>
                  <a:lnTo>
                    <a:pt x="6566" y="8674"/>
                  </a:lnTo>
                  <a:lnTo>
                    <a:pt x="6808" y="8847"/>
                  </a:lnTo>
                  <a:lnTo>
                    <a:pt x="7085" y="9054"/>
                  </a:lnTo>
                  <a:lnTo>
                    <a:pt x="7396" y="9227"/>
                  </a:lnTo>
                  <a:lnTo>
                    <a:pt x="7741" y="9400"/>
                  </a:lnTo>
                  <a:lnTo>
                    <a:pt x="8502" y="9711"/>
                  </a:lnTo>
                  <a:lnTo>
                    <a:pt x="9331" y="9953"/>
                  </a:lnTo>
                  <a:lnTo>
                    <a:pt x="9746" y="10056"/>
                  </a:lnTo>
                  <a:lnTo>
                    <a:pt x="10126" y="10125"/>
                  </a:lnTo>
                  <a:lnTo>
                    <a:pt x="10540" y="10160"/>
                  </a:lnTo>
                  <a:lnTo>
                    <a:pt x="10886" y="10195"/>
                  </a:lnTo>
                  <a:lnTo>
                    <a:pt x="11232" y="10160"/>
                  </a:lnTo>
                  <a:lnTo>
                    <a:pt x="11543" y="10125"/>
                  </a:lnTo>
                  <a:lnTo>
                    <a:pt x="11819" y="10022"/>
                  </a:lnTo>
                  <a:lnTo>
                    <a:pt x="12026" y="9918"/>
                  </a:lnTo>
                  <a:lnTo>
                    <a:pt x="12165" y="9711"/>
                  </a:lnTo>
                  <a:lnTo>
                    <a:pt x="12234" y="9503"/>
                  </a:lnTo>
                  <a:lnTo>
                    <a:pt x="12199" y="9296"/>
                  </a:lnTo>
                  <a:lnTo>
                    <a:pt x="12130" y="9054"/>
                  </a:lnTo>
                  <a:lnTo>
                    <a:pt x="12026" y="8812"/>
                  </a:lnTo>
                  <a:lnTo>
                    <a:pt x="11854" y="8536"/>
                  </a:lnTo>
                  <a:lnTo>
                    <a:pt x="11646" y="8294"/>
                  </a:lnTo>
                  <a:lnTo>
                    <a:pt x="11439" y="8017"/>
                  </a:lnTo>
                  <a:lnTo>
                    <a:pt x="10955" y="7534"/>
                  </a:lnTo>
                  <a:lnTo>
                    <a:pt x="10471" y="7050"/>
                  </a:lnTo>
                  <a:lnTo>
                    <a:pt x="10022" y="6670"/>
                  </a:lnTo>
                  <a:lnTo>
                    <a:pt x="9780" y="6428"/>
                  </a:lnTo>
                  <a:lnTo>
                    <a:pt x="9677" y="6324"/>
                  </a:lnTo>
                  <a:lnTo>
                    <a:pt x="9538" y="6255"/>
                  </a:lnTo>
                  <a:lnTo>
                    <a:pt x="9227" y="6082"/>
                  </a:lnTo>
                  <a:lnTo>
                    <a:pt x="8363" y="5840"/>
                  </a:lnTo>
                  <a:lnTo>
                    <a:pt x="7845" y="5668"/>
                  </a:lnTo>
                  <a:lnTo>
                    <a:pt x="7327" y="5460"/>
                  </a:lnTo>
                  <a:lnTo>
                    <a:pt x="6774" y="5149"/>
                  </a:lnTo>
                  <a:lnTo>
                    <a:pt x="6497" y="4977"/>
                  </a:lnTo>
                  <a:lnTo>
                    <a:pt x="6221" y="4769"/>
                  </a:lnTo>
                  <a:lnTo>
                    <a:pt x="5737" y="4355"/>
                  </a:lnTo>
                  <a:lnTo>
                    <a:pt x="5392" y="3940"/>
                  </a:lnTo>
                  <a:lnTo>
                    <a:pt x="5115" y="3560"/>
                  </a:lnTo>
                  <a:lnTo>
                    <a:pt x="4908" y="3180"/>
                  </a:lnTo>
                  <a:lnTo>
                    <a:pt x="4804" y="2834"/>
                  </a:lnTo>
                  <a:lnTo>
                    <a:pt x="4735" y="2523"/>
                  </a:lnTo>
                  <a:lnTo>
                    <a:pt x="4597" y="1970"/>
                  </a:lnTo>
                  <a:lnTo>
                    <a:pt x="4493" y="1625"/>
                  </a:lnTo>
                  <a:lnTo>
                    <a:pt x="4251" y="1175"/>
                  </a:lnTo>
                  <a:lnTo>
                    <a:pt x="4078" y="933"/>
                  </a:lnTo>
                  <a:lnTo>
                    <a:pt x="3871" y="657"/>
                  </a:lnTo>
                  <a:lnTo>
                    <a:pt x="3629" y="381"/>
                  </a:lnTo>
                  <a:lnTo>
                    <a:pt x="3353" y="104"/>
                  </a:lnTo>
                  <a:lnTo>
                    <a:pt x="3215" y="35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1" name="Google Shape;1581;p16"/>
            <p:cNvSpPr/>
            <p:nvPr/>
          </p:nvSpPr>
          <p:spPr>
            <a:xfrm>
              <a:off x="1380675" y="3920100"/>
              <a:ext cx="415575" cy="1118775"/>
            </a:xfrm>
            <a:custGeom>
              <a:avLst/>
              <a:gdLst/>
              <a:ahLst/>
              <a:cxnLst/>
              <a:rect l="l" t="t" r="r" b="b"/>
              <a:pathLst>
                <a:path w="16623" h="44751" extrusionOk="0">
                  <a:moveTo>
                    <a:pt x="1175" y="0"/>
                  </a:moveTo>
                  <a:lnTo>
                    <a:pt x="968" y="35"/>
                  </a:lnTo>
                  <a:lnTo>
                    <a:pt x="726" y="69"/>
                  </a:lnTo>
                  <a:lnTo>
                    <a:pt x="519" y="173"/>
                  </a:lnTo>
                  <a:lnTo>
                    <a:pt x="346" y="277"/>
                  </a:lnTo>
                  <a:lnTo>
                    <a:pt x="173" y="450"/>
                  </a:lnTo>
                  <a:lnTo>
                    <a:pt x="70" y="692"/>
                  </a:lnTo>
                  <a:lnTo>
                    <a:pt x="0" y="968"/>
                  </a:lnTo>
                  <a:lnTo>
                    <a:pt x="0" y="1279"/>
                  </a:lnTo>
                  <a:lnTo>
                    <a:pt x="104" y="2350"/>
                  </a:lnTo>
                  <a:lnTo>
                    <a:pt x="415" y="4389"/>
                  </a:lnTo>
                  <a:lnTo>
                    <a:pt x="1348" y="10333"/>
                  </a:lnTo>
                  <a:lnTo>
                    <a:pt x="2039" y="14583"/>
                  </a:lnTo>
                  <a:lnTo>
                    <a:pt x="2834" y="19490"/>
                  </a:lnTo>
                  <a:lnTo>
                    <a:pt x="3594" y="23913"/>
                  </a:lnTo>
                  <a:lnTo>
                    <a:pt x="4182" y="27196"/>
                  </a:lnTo>
                  <a:lnTo>
                    <a:pt x="4389" y="28268"/>
                  </a:lnTo>
                  <a:lnTo>
                    <a:pt x="4527" y="28855"/>
                  </a:lnTo>
                  <a:lnTo>
                    <a:pt x="4735" y="29753"/>
                  </a:lnTo>
                  <a:lnTo>
                    <a:pt x="5046" y="31101"/>
                  </a:lnTo>
                  <a:lnTo>
                    <a:pt x="5426" y="32725"/>
                  </a:lnTo>
                  <a:lnTo>
                    <a:pt x="5771" y="34557"/>
                  </a:lnTo>
                  <a:lnTo>
                    <a:pt x="6117" y="36457"/>
                  </a:lnTo>
                  <a:lnTo>
                    <a:pt x="6393" y="38220"/>
                  </a:lnTo>
                  <a:lnTo>
                    <a:pt x="6497" y="39015"/>
                  </a:lnTo>
                  <a:lnTo>
                    <a:pt x="6601" y="39740"/>
                  </a:lnTo>
                  <a:lnTo>
                    <a:pt x="6635" y="40362"/>
                  </a:lnTo>
                  <a:lnTo>
                    <a:pt x="6635" y="40881"/>
                  </a:lnTo>
                  <a:lnTo>
                    <a:pt x="6566" y="41641"/>
                  </a:lnTo>
                  <a:lnTo>
                    <a:pt x="6463" y="42194"/>
                  </a:lnTo>
                  <a:lnTo>
                    <a:pt x="6359" y="42608"/>
                  </a:lnTo>
                  <a:lnTo>
                    <a:pt x="6255" y="42885"/>
                  </a:lnTo>
                  <a:lnTo>
                    <a:pt x="6186" y="43127"/>
                  </a:lnTo>
                  <a:lnTo>
                    <a:pt x="6151" y="43369"/>
                  </a:lnTo>
                  <a:lnTo>
                    <a:pt x="6186" y="43714"/>
                  </a:lnTo>
                  <a:lnTo>
                    <a:pt x="6324" y="44163"/>
                  </a:lnTo>
                  <a:lnTo>
                    <a:pt x="6393" y="44267"/>
                  </a:lnTo>
                  <a:lnTo>
                    <a:pt x="6532" y="44405"/>
                  </a:lnTo>
                  <a:lnTo>
                    <a:pt x="6704" y="44474"/>
                  </a:lnTo>
                  <a:lnTo>
                    <a:pt x="6912" y="44578"/>
                  </a:lnTo>
                  <a:lnTo>
                    <a:pt x="7188" y="44613"/>
                  </a:lnTo>
                  <a:lnTo>
                    <a:pt x="7499" y="44682"/>
                  </a:lnTo>
                  <a:lnTo>
                    <a:pt x="8225" y="44751"/>
                  </a:lnTo>
                  <a:lnTo>
                    <a:pt x="9054" y="44751"/>
                  </a:lnTo>
                  <a:lnTo>
                    <a:pt x="9953" y="44716"/>
                  </a:lnTo>
                  <a:lnTo>
                    <a:pt x="10886" y="44682"/>
                  </a:lnTo>
                  <a:lnTo>
                    <a:pt x="11853" y="44578"/>
                  </a:lnTo>
                  <a:lnTo>
                    <a:pt x="12821" y="44474"/>
                  </a:lnTo>
                  <a:lnTo>
                    <a:pt x="13719" y="44336"/>
                  </a:lnTo>
                  <a:lnTo>
                    <a:pt x="14583" y="44198"/>
                  </a:lnTo>
                  <a:lnTo>
                    <a:pt x="15309" y="44060"/>
                  </a:lnTo>
                  <a:lnTo>
                    <a:pt x="15896" y="43887"/>
                  </a:lnTo>
                  <a:lnTo>
                    <a:pt x="16346" y="43749"/>
                  </a:lnTo>
                  <a:lnTo>
                    <a:pt x="16484" y="43680"/>
                  </a:lnTo>
                  <a:lnTo>
                    <a:pt x="16588" y="43611"/>
                  </a:lnTo>
                  <a:lnTo>
                    <a:pt x="16622" y="43541"/>
                  </a:lnTo>
                  <a:lnTo>
                    <a:pt x="16588" y="43507"/>
                  </a:lnTo>
                  <a:lnTo>
                    <a:pt x="16449" y="43403"/>
                  </a:lnTo>
                  <a:lnTo>
                    <a:pt x="16207" y="43265"/>
                  </a:lnTo>
                  <a:lnTo>
                    <a:pt x="15620" y="43023"/>
                  </a:lnTo>
                  <a:lnTo>
                    <a:pt x="14860" y="42816"/>
                  </a:lnTo>
                  <a:lnTo>
                    <a:pt x="13996" y="42574"/>
                  </a:lnTo>
                  <a:lnTo>
                    <a:pt x="12372" y="42090"/>
                  </a:lnTo>
                  <a:lnTo>
                    <a:pt x="11750" y="41883"/>
                  </a:lnTo>
                  <a:lnTo>
                    <a:pt x="11508" y="41779"/>
                  </a:lnTo>
                  <a:lnTo>
                    <a:pt x="11335" y="41675"/>
                  </a:lnTo>
                  <a:lnTo>
                    <a:pt x="11300" y="41606"/>
                  </a:lnTo>
                  <a:lnTo>
                    <a:pt x="11266" y="41433"/>
                  </a:lnTo>
                  <a:lnTo>
                    <a:pt x="11162" y="40846"/>
                  </a:lnTo>
                  <a:lnTo>
                    <a:pt x="11024" y="39982"/>
                  </a:lnTo>
                  <a:lnTo>
                    <a:pt x="10920" y="38842"/>
                  </a:lnTo>
                  <a:lnTo>
                    <a:pt x="10609" y="35801"/>
                  </a:lnTo>
                  <a:lnTo>
                    <a:pt x="10298" y="32034"/>
                  </a:lnTo>
                  <a:lnTo>
                    <a:pt x="9642" y="23188"/>
                  </a:lnTo>
                  <a:lnTo>
                    <a:pt x="8951" y="14134"/>
                  </a:lnTo>
                  <a:lnTo>
                    <a:pt x="8640" y="9849"/>
                  </a:lnTo>
                  <a:lnTo>
                    <a:pt x="8329" y="5564"/>
                  </a:lnTo>
                  <a:lnTo>
                    <a:pt x="8190" y="4078"/>
                  </a:lnTo>
                  <a:lnTo>
                    <a:pt x="8087" y="3076"/>
                  </a:lnTo>
                  <a:lnTo>
                    <a:pt x="7948" y="2385"/>
                  </a:lnTo>
                  <a:lnTo>
                    <a:pt x="7810" y="1797"/>
                  </a:lnTo>
                  <a:lnTo>
                    <a:pt x="7637" y="1314"/>
                  </a:lnTo>
                  <a:lnTo>
                    <a:pt x="7465" y="933"/>
                  </a:lnTo>
                  <a:lnTo>
                    <a:pt x="7223" y="622"/>
                  </a:lnTo>
                  <a:lnTo>
                    <a:pt x="6946" y="380"/>
                  </a:lnTo>
                  <a:lnTo>
                    <a:pt x="6670" y="208"/>
                  </a:lnTo>
                  <a:lnTo>
                    <a:pt x="6324" y="104"/>
                  </a:lnTo>
                  <a:lnTo>
                    <a:pt x="5979" y="35"/>
                  </a:lnTo>
                  <a:lnTo>
                    <a:pt x="5564" y="0"/>
                  </a:lnTo>
                  <a:lnTo>
                    <a:pt x="5149" y="35"/>
                  </a:lnTo>
                  <a:lnTo>
                    <a:pt x="4666" y="35"/>
                  </a:lnTo>
                  <a:lnTo>
                    <a:pt x="3629" y="104"/>
                  </a:lnTo>
                  <a:lnTo>
                    <a:pt x="2454" y="173"/>
                  </a:lnTo>
                  <a:lnTo>
                    <a:pt x="2074" y="69"/>
                  </a:lnTo>
                  <a:lnTo>
                    <a:pt x="1659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2" name="Google Shape;1582;p16"/>
            <p:cNvSpPr/>
            <p:nvPr/>
          </p:nvSpPr>
          <p:spPr>
            <a:xfrm>
              <a:off x="1380675" y="3920100"/>
              <a:ext cx="415575" cy="1118775"/>
            </a:xfrm>
            <a:custGeom>
              <a:avLst/>
              <a:gdLst/>
              <a:ahLst/>
              <a:cxnLst/>
              <a:rect l="l" t="t" r="r" b="b"/>
              <a:pathLst>
                <a:path w="16623" h="44751" fill="none" extrusionOk="0">
                  <a:moveTo>
                    <a:pt x="0" y="1279"/>
                  </a:moveTo>
                  <a:lnTo>
                    <a:pt x="0" y="1279"/>
                  </a:lnTo>
                  <a:lnTo>
                    <a:pt x="104" y="2350"/>
                  </a:lnTo>
                  <a:lnTo>
                    <a:pt x="415" y="4389"/>
                  </a:lnTo>
                  <a:lnTo>
                    <a:pt x="1348" y="10333"/>
                  </a:lnTo>
                  <a:lnTo>
                    <a:pt x="1348" y="10333"/>
                  </a:lnTo>
                  <a:lnTo>
                    <a:pt x="2039" y="14583"/>
                  </a:lnTo>
                  <a:lnTo>
                    <a:pt x="2039" y="14583"/>
                  </a:lnTo>
                  <a:lnTo>
                    <a:pt x="2834" y="19490"/>
                  </a:lnTo>
                  <a:lnTo>
                    <a:pt x="3594" y="23913"/>
                  </a:lnTo>
                  <a:lnTo>
                    <a:pt x="4182" y="27196"/>
                  </a:lnTo>
                  <a:lnTo>
                    <a:pt x="4389" y="28268"/>
                  </a:lnTo>
                  <a:lnTo>
                    <a:pt x="4527" y="28855"/>
                  </a:lnTo>
                  <a:lnTo>
                    <a:pt x="4527" y="28855"/>
                  </a:lnTo>
                  <a:lnTo>
                    <a:pt x="4735" y="29753"/>
                  </a:lnTo>
                  <a:lnTo>
                    <a:pt x="5046" y="31101"/>
                  </a:lnTo>
                  <a:lnTo>
                    <a:pt x="5426" y="32725"/>
                  </a:lnTo>
                  <a:lnTo>
                    <a:pt x="5771" y="34557"/>
                  </a:lnTo>
                  <a:lnTo>
                    <a:pt x="6117" y="36457"/>
                  </a:lnTo>
                  <a:lnTo>
                    <a:pt x="6393" y="38220"/>
                  </a:lnTo>
                  <a:lnTo>
                    <a:pt x="6497" y="39015"/>
                  </a:lnTo>
                  <a:lnTo>
                    <a:pt x="6601" y="39740"/>
                  </a:lnTo>
                  <a:lnTo>
                    <a:pt x="6635" y="40362"/>
                  </a:lnTo>
                  <a:lnTo>
                    <a:pt x="6635" y="40881"/>
                  </a:lnTo>
                  <a:lnTo>
                    <a:pt x="6635" y="40881"/>
                  </a:lnTo>
                  <a:lnTo>
                    <a:pt x="6566" y="41641"/>
                  </a:lnTo>
                  <a:lnTo>
                    <a:pt x="6463" y="42194"/>
                  </a:lnTo>
                  <a:lnTo>
                    <a:pt x="6359" y="42608"/>
                  </a:lnTo>
                  <a:lnTo>
                    <a:pt x="6255" y="42885"/>
                  </a:lnTo>
                  <a:lnTo>
                    <a:pt x="6186" y="43127"/>
                  </a:lnTo>
                  <a:lnTo>
                    <a:pt x="6151" y="43369"/>
                  </a:lnTo>
                  <a:lnTo>
                    <a:pt x="6186" y="43714"/>
                  </a:lnTo>
                  <a:lnTo>
                    <a:pt x="6324" y="44163"/>
                  </a:lnTo>
                  <a:lnTo>
                    <a:pt x="6324" y="44163"/>
                  </a:lnTo>
                  <a:lnTo>
                    <a:pt x="6393" y="44267"/>
                  </a:lnTo>
                  <a:lnTo>
                    <a:pt x="6532" y="44405"/>
                  </a:lnTo>
                  <a:lnTo>
                    <a:pt x="6704" y="44474"/>
                  </a:lnTo>
                  <a:lnTo>
                    <a:pt x="6912" y="44578"/>
                  </a:lnTo>
                  <a:lnTo>
                    <a:pt x="7188" y="44613"/>
                  </a:lnTo>
                  <a:lnTo>
                    <a:pt x="7499" y="44682"/>
                  </a:lnTo>
                  <a:lnTo>
                    <a:pt x="8225" y="44751"/>
                  </a:lnTo>
                  <a:lnTo>
                    <a:pt x="9054" y="44751"/>
                  </a:lnTo>
                  <a:lnTo>
                    <a:pt x="9953" y="44716"/>
                  </a:lnTo>
                  <a:lnTo>
                    <a:pt x="10886" y="44682"/>
                  </a:lnTo>
                  <a:lnTo>
                    <a:pt x="11853" y="44578"/>
                  </a:lnTo>
                  <a:lnTo>
                    <a:pt x="12821" y="44474"/>
                  </a:lnTo>
                  <a:lnTo>
                    <a:pt x="13719" y="44336"/>
                  </a:lnTo>
                  <a:lnTo>
                    <a:pt x="14583" y="44198"/>
                  </a:lnTo>
                  <a:lnTo>
                    <a:pt x="15309" y="44060"/>
                  </a:lnTo>
                  <a:lnTo>
                    <a:pt x="15896" y="43887"/>
                  </a:lnTo>
                  <a:lnTo>
                    <a:pt x="16346" y="43749"/>
                  </a:lnTo>
                  <a:lnTo>
                    <a:pt x="16484" y="43680"/>
                  </a:lnTo>
                  <a:lnTo>
                    <a:pt x="16588" y="43611"/>
                  </a:lnTo>
                  <a:lnTo>
                    <a:pt x="16622" y="43541"/>
                  </a:lnTo>
                  <a:lnTo>
                    <a:pt x="16588" y="43507"/>
                  </a:lnTo>
                  <a:lnTo>
                    <a:pt x="16588" y="43507"/>
                  </a:lnTo>
                  <a:lnTo>
                    <a:pt x="16449" y="43403"/>
                  </a:lnTo>
                  <a:lnTo>
                    <a:pt x="16207" y="43265"/>
                  </a:lnTo>
                  <a:lnTo>
                    <a:pt x="15620" y="43023"/>
                  </a:lnTo>
                  <a:lnTo>
                    <a:pt x="14860" y="42816"/>
                  </a:lnTo>
                  <a:lnTo>
                    <a:pt x="13996" y="42574"/>
                  </a:lnTo>
                  <a:lnTo>
                    <a:pt x="12372" y="42090"/>
                  </a:lnTo>
                  <a:lnTo>
                    <a:pt x="11750" y="41883"/>
                  </a:lnTo>
                  <a:lnTo>
                    <a:pt x="11508" y="41779"/>
                  </a:lnTo>
                  <a:lnTo>
                    <a:pt x="11335" y="41675"/>
                  </a:lnTo>
                  <a:lnTo>
                    <a:pt x="11335" y="41675"/>
                  </a:lnTo>
                  <a:lnTo>
                    <a:pt x="11300" y="41606"/>
                  </a:lnTo>
                  <a:lnTo>
                    <a:pt x="11266" y="41433"/>
                  </a:lnTo>
                  <a:lnTo>
                    <a:pt x="11162" y="40846"/>
                  </a:lnTo>
                  <a:lnTo>
                    <a:pt x="11024" y="39982"/>
                  </a:lnTo>
                  <a:lnTo>
                    <a:pt x="10920" y="38842"/>
                  </a:lnTo>
                  <a:lnTo>
                    <a:pt x="10609" y="35801"/>
                  </a:lnTo>
                  <a:lnTo>
                    <a:pt x="10298" y="32034"/>
                  </a:lnTo>
                  <a:lnTo>
                    <a:pt x="9642" y="23188"/>
                  </a:lnTo>
                  <a:lnTo>
                    <a:pt x="8951" y="14134"/>
                  </a:lnTo>
                  <a:lnTo>
                    <a:pt x="8951" y="14134"/>
                  </a:lnTo>
                  <a:lnTo>
                    <a:pt x="8640" y="9849"/>
                  </a:lnTo>
                  <a:lnTo>
                    <a:pt x="8640" y="9849"/>
                  </a:lnTo>
                  <a:lnTo>
                    <a:pt x="8329" y="5564"/>
                  </a:lnTo>
                  <a:lnTo>
                    <a:pt x="8190" y="4078"/>
                  </a:lnTo>
                  <a:lnTo>
                    <a:pt x="8087" y="3076"/>
                  </a:lnTo>
                  <a:lnTo>
                    <a:pt x="8087" y="3076"/>
                  </a:lnTo>
                  <a:lnTo>
                    <a:pt x="7948" y="2385"/>
                  </a:lnTo>
                  <a:lnTo>
                    <a:pt x="7810" y="1797"/>
                  </a:lnTo>
                  <a:lnTo>
                    <a:pt x="7637" y="1314"/>
                  </a:lnTo>
                  <a:lnTo>
                    <a:pt x="7465" y="933"/>
                  </a:lnTo>
                  <a:lnTo>
                    <a:pt x="7223" y="622"/>
                  </a:lnTo>
                  <a:lnTo>
                    <a:pt x="6946" y="380"/>
                  </a:lnTo>
                  <a:lnTo>
                    <a:pt x="6670" y="208"/>
                  </a:lnTo>
                  <a:lnTo>
                    <a:pt x="6324" y="104"/>
                  </a:lnTo>
                  <a:lnTo>
                    <a:pt x="5979" y="35"/>
                  </a:lnTo>
                  <a:lnTo>
                    <a:pt x="5564" y="0"/>
                  </a:lnTo>
                  <a:lnTo>
                    <a:pt x="5149" y="35"/>
                  </a:lnTo>
                  <a:lnTo>
                    <a:pt x="4666" y="35"/>
                  </a:lnTo>
                  <a:lnTo>
                    <a:pt x="3629" y="104"/>
                  </a:lnTo>
                  <a:lnTo>
                    <a:pt x="2454" y="173"/>
                  </a:lnTo>
                  <a:lnTo>
                    <a:pt x="2454" y="173"/>
                  </a:lnTo>
                  <a:lnTo>
                    <a:pt x="2074" y="69"/>
                  </a:lnTo>
                  <a:lnTo>
                    <a:pt x="1659" y="0"/>
                  </a:lnTo>
                  <a:lnTo>
                    <a:pt x="1175" y="0"/>
                  </a:lnTo>
                  <a:lnTo>
                    <a:pt x="968" y="35"/>
                  </a:lnTo>
                  <a:lnTo>
                    <a:pt x="726" y="69"/>
                  </a:lnTo>
                  <a:lnTo>
                    <a:pt x="519" y="173"/>
                  </a:lnTo>
                  <a:lnTo>
                    <a:pt x="346" y="277"/>
                  </a:lnTo>
                  <a:lnTo>
                    <a:pt x="173" y="450"/>
                  </a:lnTo>
                  <a:lnTo>
                    <a:pt x="70" y="692"/>
                  </a:lnTo>
                  <a:lnTo>
                    <a:pt x="0" y="968"/>
                  </a:lnTo>
                  <a:lnTo>
                    <a:pt x="0" y="127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3" name="Google Shape;1583;p16"/>
            <p:cNvSpPr/>
            <p:nvPr/>
          </p:nvSpPr>
          <p:spPr>
            <a:xfrm>
              <a:off x="1514575" y="4975800"/>
              <a:ext cx="358550" cy="120975"/>
            </a:xfrm>
            <a:custGeom>
              <a:avLst/>
              <a:gdLst/>
              <a:ahLst/>
              <a:cxnLst/>
              <a:rect l="l" t="t" r="r" b="b"/>
              <a:pathLst>
                <a:path w="14342" h="4839" extrusionOk="0">
                  <a:moveTo>
                    <a:pt x="1037" y="0"/>
                  </a:moveTo>
                  <a:lnTo>
                    <a:pt x="899" y="35"/>
                  </a:lnTo>
                  <a:lnTo>
                    <a:pt x="726" y="104"/>
                  </a:lnTo>
                  <a:lnTo>
                    <a:pt x="623" y="208"/>
                  </a:lnTo>
                  <a:lnTo>
                    <a:pt x="554" y="380"/>
                  </a:lnTo>
                  <a:lnTo>
                    <a:pt x="277" y="1383"/>
                  </a:lnTo>
                  <a:lnTo>
                    <a:pt x="35" y="2419"/>
                  </a:lnTo>
                  <a:lnTo>
                    <a:pt x="1" y="2730"/>
                  </a:lnTo>
                  <a:lnTo>
                    <a:pt x="1" y="3076"/>
                  </a:lnTo>
                  <a:lnTo>
                    <a:pt x="35" y="3421"/>
                  </a:lnTo>
                  <a:lnTo>
                    <a:pt x="104" y="3767"/>
                  </a:lnTo>
                  <a:lnTo>
                    <a:pt x="173" y="4078"/>
                  </a:lnTo>
                  <a:lnTo>
                    <a:pt x="277" y="4320"/>
                  </a:lnTo>
                  <a:lnTo>
                    <a:pt x="381" y="4527"/>
                  </a:lnTo>
                  <a:lnTo>
                    <a:pt x="519" y="4665"/>
                  </a:lnTo>
                  <a:lnTo>
                    <a:pt x="692" y="4735"/>
                  </a:lnTo>
                  <a:lnTo>
                    <a:pt x="968" y="4769"/>
                  </a:lnTo>
                  <a:lnTo>
                    <a:pt x="1763" y="4804"/>
                  </a:lnTo>
                  <a:lnTo>
                    <a:pt x="2731" y="4838"/>
                  </a:lnTo>
                  <a:lnTo>
                    <a:pt x="3733" y="4838"/>
                  </a:lnTo>
                  <a:lnTo>
                    <a:pt x="3802" y="4769"/>
                  </a:lnTo>
                  <a:lnTo>
                    <a:pt x="3871" y="4700"/>
                  </a:lnTo>
                  <a:lnTo>
                    <a:pt x="3906" y="4596"/>
                  </a:lnTo>
                  <a:lnTo>
                    <a:pt x="3940" y="4458"/>
                  </a:lnTo>
                  <a:lnTo>
                    <a:pt x="3940" y="4285"/>
                  </a:lnTo>
                  <a:lnTo>
                    <a:pt x="3975" y="4285"/>
                  </a:lnTo>
                  <a:lnTo>
                    <a:pt x="4113" y="4251"/>
                  </a:lnTo>
                  <a:lnTo>
                    <a:pt x="4562" y="4285"/>
                  </a:lnTo>
                  <a:lnTo>
                    <a:pt x="6152" y="4493"/>
                  </a:lnTo>
                  <a:lnTo>
                    <a:pt x="8018" y="4700"/>
                  </a:lnTo>
                  <a:lnTo>
                    <a:pt x="8882" y="4804"/>
                  </a:lnTo>
                  <a:lnTo>
                    <a:pt x="9573" y="4838"/>
                  </a:lnTo>
                  <a:lnTo>
                    <a:pt x="10195" y="4838"/>
                  </a:lnTo>
                  <a:lnTo>
                    <a:pt x="10921" y="4735"/>
                  </a:lnTo>
                  <a:lnTo>
                    <a:pt x="11681" y="4562"/>
                  </a:lnTo>
                  <a:lnTo>
                    <a:pt x="12441" y="4354"/>
                  </a:lnTo>
                  <a:lnTo>
                    <a:pt x="12787" y="4216"/>
                  </a:lnTo>
                  <a:lnTo>
                    <a:pt x="13098" y="4078"/>
                  </a:lnTo>
                  <a:lnTo>
                    <a:pt x="13409" y="3905"/>
                  </a:lnTo>
                  <a:lnTo>
                    <a:pt x="13685" y="3732"/>
                  </a:lnTo>
                  <a:lnTo>
                    <a:pt x="13927" y="3525"/>
                  </a:lnTo>
                  <a:lnTo>
                    <a:pt x="14100" y="3318"/>
                  </a:lnTo>
                  <a:lnTo>
                    <a:pt x="14238" y="3110"/>
                  </a:lnTo>
                  <a:lnTo>
                    <a:pt x="14342" y="2868"/>
                  </a:lnTo>
                  <a:lnTo>
                    <a:pt x="14307" y="2627"/>
                  </a:lnTo>
                  <a:lnTo>
                    <a:pt x="14238" y="2385"/>
                  </a:lnTo>
                  <a:lnTo>
                    <a:pt x="14100" y="2177"/>
                  </a:lnTo>
                  <a:lnTo>
                    <a:pt x="13892" y="2005"/>
                  </a:lnTo>
                  <a:lnTo>
                    <a:pt x="13650" y="1797"/>
                  </a:lnTo>
                  <a:lnTo>
                    <a:pt x="13374" y="1659"/>
                  </a:lnTo>
                  <a:lnTo>
                    <a:pt x="13063" y="1486"/>
                  </a:lnTo>
                  <a:lnTo>
                    <a:pt x="12752" y="1383"/>
                  </a:lnTo>
                  <a:lnTo>
                    <a:pt x="12061" y="1141"/>
                  </a:lnTo>
                  <a:lnTo>
                    <a:pt x="11439" y="1002"/>
                  </a:lnTo>
                  <a:lnTo>
                    <a:pt x="10886" y="899"/>
                  </a:lnTo>
                  <a:lnTo>
                    <a:pt x="10506" y="830"/>
                  </a:lnTo>
                  <a:lnTo>
                    <a:pt x="10195" y="830"/>
                  </a:lnTo>
                  <a:lnTo>
                    <a:pt x="9815" y="899"/>
                  </a:lnTo>
                  <a:lnTo>
                    <a:pt x="8951" y="1141"/>
                  </a:lnTo>
                  <a:lnTo>
                    <a:pt x="8432" y="1279"/>
                  </a:lnTo>
                  <a:lnTo>
                    <a:pt x="7845" y="1417"/>
                  </a:lnTo>
                  <a:lnTo>
                    <a:pt x="7223" y="1555"/>
                  </a:lnTo>
                  <a:lnTo>
                    <a:pt x="6497" y="1624"/>
                  </a:lnTo>
                  <a:lnTo>
                    <a:pt x="5841" y="1624"/>
                  </a:lnTo>
                  <a:lnTo>
                    <a:pt x="5288" y="1555"/>
                  </a:lnTo>
                  <a:lnTo>
                    <a:pt x="4804" y="1452"/>
                  </a:lnTo>
                  <a:lnTo>
                    <a:pt x="4389" y="1279"/>
                  </a:lnTo>
                  <a:lnTo>
                    <a:pt x="4044" y="1106"/>
                  </a:lnTo>
                  <a:lnTo>
                    <a:pt x="3767" y="899"/>
                  </a:lnTo>
                  <a:lnTo>
                    <a:pt x="3318" y="553"/>
                  </a:lnTo>
                  <a:lnTo>
                    <a:pt x="3007" y="380"/>
                  </a:lnTo>
                  <a:lnTo>
                    <a:pt x="2489" y="173"/>
                  </a:lnTo>
                  <a:lnTo>
                    <a:pt x="2178" y="104"/>
                  </a:lnTo>
                  <a:lnTo>
                    <a:pt x="1832" y="35"/>
                  </a:lnTo>
                  <a:lnTo>
                    <a:pt x="145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4" name="Google Shape;1584;p16"/>
            <p:cNvSpPr/>
            <p:nvPr/>
          </p:nvSpPr>
          <p:spPr>
            <a:xfrm>
              <a:off x="1318475" y="4255300"/>
              <a:ext cx="6075" cy="25925"/>
            </a:xfrm>
            <a:custGeom>
              <a:avLst/>
              <a:gdLst/>
              <a:ahLst/>
              <a:cxnLst/>
              <a:rect l="l" t="t" r="r" b="b"/>
              <a:pathLst>
                <a:path w="243" h="1037" extrusionOk="0">
                  <a:moveTo>
                    <a:pt x="242" y="0"/>
                  </a:moveTo>
                  <a:lnTo>
                    <a:pt x="242" y="0"/>
                  </a:lnTo>
                  <a:lnTo>
                    <a:pt x="0" y="1037"/>
                  </a:lnTo>
                  <a:lnTo>
                    <a:pt x="0" y="1037"/>
                  </a:lnTo>
                  <a:lnTo>
                    <a:pt x="242" y="0"/>
                  </a:lnTo>
                  <a:lnTo>
                    <a:pt x="242" y="0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5" name="Google Shape;1585;p16"/>
            <p:cNvSpPr/>
            <p:nvPr/>
          </p:nvSpPr>
          <p:spPr>
            <a:xfrm>
              <a:off x="1318475" y="4255300"/>
              <a:ext cx="6075" cy="25925"/>
            </a:xfrm>
            <a:custGeom>
              <a:avLst/>
              <a:gdLst/>
              <a:ahLst/>
              <a:cxnLst/>
              <a:rect l="l" t="t" r="r" b="b"/>
              <a:pathLst>
                <a:path w="243" h="1037" fill="none" extrusionOk="0">
                  <a:moveTo>
                    <a:pt x="242" y="0"/>
                  </a:moveTo>
                  <a:lnTo>
                    <a:pt x="242" y="0"/>
                  </a:lnTo>
                  <a:lnTo>
                    <a:pt x="0" y="1037"/>
                  </a:lnTo>
                  <a:lnTo>
                    <a:pt x="0" y="1037"/>
                  </a:lnTo>
                  <a:lnTo>
                    <a:pt x="242" y="0"/>
                  </a:lnTo>
                  <a:lnTo>
                    <a:pt x="242" y="0"/>
                  </a:lnTo>
                  <a:lnTo>
                    <a:pt x="24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6" name="Google Shape;1586;p16"/>
            <p:cNvSpPr/>
            <p:nvPr/>
          </p:nvSpPr>
          <p:spPr>
            <a:xfrm>
              <a:off x="1131875" y="4228525"/>
              <a:ext cx="192675" cy="57900"/>
            </a:xfrm>
            <a:custGeom>
              <a:avLst/>
              <a:gdLst/>
              <a:ahLst/>
              <a:cxnLst/>
              <a:rect l="l" t="t" r="r" b="b"/>
              <a:pathLst>
                <a:path w="7707" h="2316" extrusionOk="0">
                  <a:moveTo>
                    <a:pt x="35" y="0"/>
                  </a:moveTo>
                  <a:lnTo>
                    <a:pt x="0" y="1279"/>
                  </a:lnTo>
                  <a:lnTo>
                    <a:pt x="449" y="1417"/>
                  </a:lnTo>
                  <a:lnTo>
                    <a:pt x="899" y="1555"/>
                  </a:lnTo>
                  <a:lnTo>
                    <a:pt x="1382" y="1693"/>
                  </a:lnTo>
                  <a:lnTo>
                    <a:pt x="1901" y="1762"/>
                  </a:lnTo>
                  <a:lnTo>
                    <a:pt x="2903" y="1935"/>
                  </a:lnTo>
                  <a:lnTo>
                    <a:pt x="3940" y="2039"/>
                  </a:lnTo>
                  <a:lnTo>
                    <a:pt x="5875" y="2143"/>
                  </a:lnTo>
                  <a:lnTo>
                    <a:pt x="6704" y="2212"/>
                  </a:lnTo>
                  <a:lnTo>
                    <a:pt x="7430" y="2315"/>
                  </a:lnTo>
                  <a:lnTo>
                    <a:pt x="7464" y="2108"/>
                  </a:lnTo>
                  <a:lnTo>
                    <a:pt x="7706" y="1071"/>
                  </a:lnTo>
                  <a:lnTo>
                    <a:pt x="6808" y="1071"/>
                  </a:lnTo>
                  <a:lnTo>
                    <a:pt x="5875" y="1002"/>
                  </a:lnTo>
                  <a:lnTo>
                    <a:pt x="4873" y="898"/>
                  </a:lnTo>
                  <a:lnTo>
                    <a:pt x="3871" y="760"/>
                  </a:lnTo>
                  <a:lnTo>
                    <a:pt x="2834" y="587"/>
                  </a:lnTo>
                  <a:lnTo>
                    <a:pt x="1866" y="415"/>
                  </a:lnTo>
                  <a:lnTo>
                    <a:pt x="899" y="207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7" name="Google Shape;1587;p16"/>
            <p:cNvSpPr/>
            <p:nvPr/>
          </p:nvSpPr>
          <p:spPr>
            <a:xfrm>
              <a:off x="1131875" y="4228525"/>
              <a:ext cx="192675" cy="57900"/>
            </a:xfrm>
            <a:custGeom>
              <a:avLst/>
              <a:gdLst/>
              <a:ahLst/>
              <a:cxnLst/>
              <a:rect l="l" t="t" r="r" b="b"/>
              <a:pathLst>
                <a:path w="7707" h="2316" fill="none" extrusionOk="0">
                  <a:moveTo>
                    <a:pt x="35" y="0"/>
                  </a:moveTo>
                  <a:lnTo>
                    <a:pt x="35" y="0"/>
                  </a:lnTo>
                  <a:lnTo>
                    <a:pt x="0" y="1279"/>
                  </a:lnTo>
                  <a:lnTo>
                    <a:pt x="0" y="1279"/>
                  </a:lnTo>
                  <a:lnTo>
                    <a:pt x="449" y="1417"/>
                  </a:lnTo>
                  <a:lnTo>
                    <a:pt x="899" y="1555"/>
                  </a:lnTo>
                  <a:lnTo>
                    <a:pt x="1382" y="1693"/>
                  </a:lnTo>
                  <a:lnTo>
                    <a:pt x="1901" y="1762"/>
                  </a:lnTo>
                  <a:lnTo>
                    <a:pt x="2903" y="1935"/>
                  </a:lnTo>
                  <a:lnTo>
                    <a:pt x="3940" y="2039"/>
                  </a:lnTo>
                  <a:lnTo>
                    <a:pt x="5875" y="2143"/>
                  </a:lnTo>
                  <a:lnTo>
                    <a:pt x="6704" y="2212"/>
                  </a:lnTo>
                  <a:lnTo>
                    <a:pt x="7430" y="2315"/>
                  </a:lnTo>
                  <a:lnTo>
                    <a:pt x="7430" y="2315"/>
                  </a:lnTo>
                  <a:lnTo>
                    <a:pt x="7464" y="2108"/>
                  </a:lnTo>
                  <a:lnTo>
                    <a:pt x="7464" y="2108"/>
                  </a:lnTo>
                  <a:lnTo>
                    <a:pt x="7706" y="1071"/>
                  </a:lnTo>
                  <a:lnTo>
                    <a:pt x="7706" y="1071"/>
                  </a:lnTo>
                  <a:lnTo>
                    <a:pt x="6808" y="1071"/>
                  </a:lnTo>
                  <a:lnTo>
                    <a:pt x="5875" y="1002"/>
                  </a:lnTo>
                  <a:lnTo>
                    <a:pt x="4873" y="898"/>
                  </a:lnTo>
                  <a:lnTo>
                    <a:pt x="3871" y="760"/>
                  </a:lnTo>
                  <a:lnTo>
                    <a:pt x="2834" y="587"/>
                  </a:lnTo>
                  <a:lnTo>
                    <a:pt x="1866" y="415"/>
                  </a:lnTo>
                  <a:lnTo>
                    <a:pt x="899" y="207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8" name="Google Shape;1588;p16"/>
            <p:cNvSpPr/>
            <p:nvPr/>
          </p:nvSpPr>
          <p:spPr>
            <a:xfrm>
              <a:off x="1423000" y="4233700"/>
              <a:ext cx="6950" cy="39750"/>
            </a:xfrm>
            <a:custGeom>
              <a:avLst/>
              <a:gdLst/>
              <a:ahLst/>
              <a:cxnLst/>
              <a:rect l="l" t="t" r="r" b="b"/>
              <a:pathLst>
                <a:path w="278" h="1590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277" y="1590"/>
                  </a:lnTo>
                  <a:lnTo>
                    <a:pt x="277" y="159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9" name="Google Shape;1589;p16"/>
            <p:cNvSpPr/>
            <p:nvPr/>
          </p:nvSpPr>
          <p:spPr>
            <a:xfrm>
              <a:off x="1423000" y="4233700"/>
              <a:ext cx="6950" cy="39750"/>
            </a:xfrm>
            <a:custGeom>
              <a:avLst/>
              <a:gdLst/>
              <a:ahLst/>
              <a:cxnLst/>
              <a:rect l="l" t="t" r="r" b="b"/>
              <a:pathLst>
                <a:path w="278" h="1590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277" y="1590"/>
                  </a:lnTo>
                  <a:lnTo>
                    <a:pt x="277" y="159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0" name="Google Shape;1590;p16"/>
            <p:cNvSpPr/>
            <p:nvPr/>
          </p:nvSpPr>
          <p:spPr>
            <a:xfrm>
              <a:off x="1423000" y="4208650"/>
              <a:ext cx="181450" cy="68275"/>
            </a:xfrm>
            <a:custGeom>
              <a:avLst/>
              <a:gdLst/>
              <a:ahLst/>
              <a:cxnLst/>
              <a:rect l="l" t="t" r="r" b="b"/>
              <a:pathLst>
                <a:path w="7258" h="2731" extrusionOk="0">
                  <a:moveTo>
                    <a:pt x="3595" y="0"/>
                  </a:moveTo>
                  <a:lnTo>
                    <a:pt x="3007" y="69"/>
                  </a:lnTo>
                  <a:lnTo>
                    <a:pt x="2420" y="173"/>
                  </a:lnTo>
                  <a:lnTo>
                    <a:pt x="1901" y="311"/>
                  </a:lnTo>
                  <a:lnTo>
                    <a:pt x="1383" y="449"/>
                  </a:lnTo>
                  <a:lnTo>
                    <a:pt x="899" y="622"/>
                  </a:lnTo>
                  <a:lnTo>
                    <a:pt x="1" y="1002"/>
                  </a:lnTo>
                  <a:lnTo>
                    <a:pt x="277" y="2592"/>
                  </a:lnTo>
                  <a:lnTo>
                    <a:pt x="277" y="2730"/>
                  </a:lnTo>
                  <a:lnTo>
                    <a:pt x="623" y="2592"/>
                  </a:lnTo>
                  <a:lnTo>
                    <a:pt x="1003" y="2488"/>
                  </a:lnTo>
                  <a:lnTo>
                    <a:pt x="1383" y="2385"/>
                  </a:lnTo>
                  <a:lnTo>
                    <a:pt x="1763" y="2315"/>
                  </a:lnTo>
                  <a:lnTo>
                    <a:pt x="2558" y="2246"/>
                  </a:lnTo>
                  <a:lnTo>
                    <a:pt x="3387" y="2212"/>
                  </a:lnTo>
                  <a:lnTo>
                    <a:pt x="4389" y="2246"/>
                  </a:lnTo>
                  <a:lnTo>
                    <a:pt x="5392" y="2350"/>
                  </a:lnTo>
                  <a:lnTo>
                    <a:pt x="6359" y="2454"/>
                  </a:lnTo>
                  <a:lnTo>
                    <a:pt x="7258" y="2592"/>
                  </a:lnTo>
                  <a:lnTo>
                    <a:pt x="7119" y="449"/>
                  </a:lnTo>
                  <a:lnTo>
                    <a:pt x="6325" y="242"/>
                  </a:lnTo>
                  <a:lnTo>
                    <a:pt x="5564" y="104"/>
                  </a:lnTo>
                  <a:lnTo>
                    <a:pt x="4873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1" name="Google Shape;1591;p16"/>
            <p:cNvSpPr/>
            <p:nvPr/>
          </p:nvSpPr>
          <p:spPr>
            <a:xfrm>
              <a:off x="1423000" y="4208650"/>
              <a:ext cx="181450" cy="68275"/>
            </a:xfrm>
            <a:custGeom>
              <a:avLst/>
              <a:gdLst/>
              <a:ahLst/>
              <a:cxnLst/>
              <a:rect l="l" t="t" r="r" b="b"/>
              <a:pathLst>
                <a:path w="7258" h="2731" fill="none" extrusionOk="0">
                  <a:moveTo>
                    <a:pt x="4217" y="0"/>
                  </a:moveTo>
                  <a:lnTo>
                    <a:pt x="4217" y="0"/>
                  </a:lnTo>
                  <a:lnTo>
                    <a:pt x="3595" y="0"/>
                  </a:lnTo>
                  <a:lnTo>
                    <a:pt x="3007" y="69"/>
                  </a:lnTo>
                  <a:lnTo>
                    <a:pt x="2420" y="173"/>
                  </a:lnTo>
                  <a:lnTo>
                    <a:pt x="1901" y="311"/>
                  </a:lnTo>
                  <a:lnTo>
                    <a:pt x="1383" y="449"/>
                  </a:lnTo>
                  <a:lnTo>
                    <a:pt x="899" y="622"/>
                  </a:lnTo>
                  <a:lnTo>
                    <a:pt x="1" y="1002"/>
                  </a:lnTo>
                  <a:lnTo>
                    <a:pt x="1" y="1002"/>
                  </a:lnTo>
                  <a:lnTo>
                    <a:pt x="277" y="2592"/>
                  </a:lnTo>
                  <a:lnTo>
                    <a:pt x="277" y="2592"/>
                  </a:lnTo>
                  <a:lnTo>
                    <a:pt x="277" y="2730"/>
                  </a:lnTo>
                  <a:lnTo>
                    <a:pt x="277" y="2730"/>
                  </a:lnTo>
                  <a:lnTo>
                    <a:pt x="623" y="2592"/>
                  </a:lnTo>
                  <a:lnTo>
                    <a:pt x="1003" y="2488"/>
                  </a:lnTo>
                  <a:lnTo>
                    <a:pt x="1383" y="2385"/>
                  </a:lnTo>
                  <a:lnTo>
                    <a:pt x="1763" y="2315"/>
                  </a:lnTo>
                  <a:lnTo>
                    <a:pt x="2558" y="2246"/>
                  </a:lnTo>
                  <a:lnTo>
                    <a:pt x="3387" y="2212"/>
                  </a:lnTo>
                  <a:lnTo>
                    <a:pt x="3387" y="2212"/>
                  </a:lnTo>
                  <a:lnTo>
                    <a:pt x="4389" y="2246"/>
                  </a:lnTo>
                  <a:lnTo>
                    <a:pt x="5392" y="2350"/>
                  </a:lnTo>
                  <a:lnTo>
                    <a:pt x="6359" y="2454"/>
                  </a:lnTo>
                  <a:lnTo>
                    <a:pt x="7258" y="2592"/>
                  </a:lnTo>
                  <a:lnTo>
                    <a:pt x="7258" y="2592"/>
                  </a:lnTo>
                  <a:lnTo>
                    <a:pt x="7119" y="449"/>
                  </a:lnTo>
                  <a:lnTo>
                    <a:pt x="7119" y="449"/>
                  </a:lnTo>
                  <a:lnTo>
                    <a:pt x="6325" y="242"/>
                  </a:lnTo>
                  <a:lnTo>
                    <a:pt x="5564" y="104"/>
                  </a:lnTo>
                  <a:lnTo>
                    <a:pt x="4873" y="0"/>
                  </a:lnTo>
                  <a:lnTo>
                    <a:pt x="421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2" name="Google Shape;1592;p16"/>
            <p:cNvSpPr/>
            <p:nvPr/>
          </p:nvSpPr>
          <p:spPr>
            <a:xfrm>
              <a:off x="785450" y="3182325"/>
              <a:ext cx="901925" cy="1073000"/>
            </a:xfrm>
            <a:custGeom>
              <a:avLst/>
              <a:gdLst/>
              <a:ahLst/>
              <a:cxnLst/>
              <a:rect l="l" t="t" r="r" b="b"/>
              <a:pathLst>
                <a:path w="36077" h="42920" extrusionOk="0">
                  <a:moveTo>
                    <a:pt x="20872" y="0"/>
                  </a:moveTo>
                  <a:lnTo>
                    <a:pt x="20250" y="35"/>
                  </a:lnTo>
                  <a:lnTo>
                    <a:pt x="19663" y="104"/>
                  </a:lnTo>
                  <a:lnTo>
                    <a:pt x="19041" y="173"/>
                  </a:lnTo>
                  <a:lnTo>
                    <a:pt x="18453" y="311"/>
                  </a:lnTo>
                  <a:lnTo>
                    <a:pt x="17831" y="484"/>
                  </a:lnTo>
                  <a:lnTo>
                    <a:pt x="17244" y="691"/>
                  </a:lnTo>
                  <a:lnTo>
                    <a:pt x="16622" y="933"/>
                  </a:lnTo>
                  <a:lnTo>
                    <a:pt x="16034" y="1210"/>
                  </a:lnTo>
                  <a:lnTo>
                    <a:pt x="15239" y="1659"/>
                  </a:lnTo>
                  <a:lnTo>
                    <a:pt x="14445" y="2212"/>
                  </a:lnTo>
                  <a:lnTo>
                    <a:pt x="14065" y="2488"/>
                  </a:lnTo>
                  <a:lnTo>
                    <a:pt x="13684" y="2834"/>
                  </a:lnTo>
                  <a:lnTo>
                    <a:pt x="13304" y="3179"/>
                  </a:lnTo>
                  <a:lnTo>
                    <a:pt x="12924" y="3560"/>
                  </a:lnTo>
                  <a:lnTo>
                    <a:pt x="12890" y="3629"/>
                  </a:lnTo>
                  <a:lnTo>
                    <a:pt x="12302" y="4596"/>
                  </a:lnTo>
                  <a:lnTo>
                    <a:pt x="11784" y="5598"/>
                  </a:lnTo>
                  <a:lnTo>
                    <a:pt x="11335" y="6600"/>
                  </a:lnTo>
                  <a:lnTo>
                    <a:pt x="10920" y="7568"/>
                  </a:lnTo>
                  <a:lnTo>
                    <a:pt x="10574" y="8570"/>
                  </a:lnTo>
                  <a:lnTo>
                    <a:pt x="10263" y="9607"/>
                  </a:lnTo>
                  <a:lnTo>
                    <a:pt x="9987" y="10609"/>
                  </a:lnTo>
                  <a:lnTo>
                    <a:pt x="9710" y="11611"/>
                  </a:lnTo>
                  <a:lnTo>
                    <a:pt x="9503" y="12648"/>
                  </a:lnTo>
                  <a:lnTo>
                    <a:pt x="9330" y="13685"/>
                  </a:lnTo>
                  <a:lnTo>
                    <a:pt x="8950" y="15758"/>
                  </a:lnTo>
                  <a:lnTo>
                    <a:pt x="8639" y="17900"/>
                  </a:lnTo>
                  <a:lnTo>
                    <a:pt x="8294" y="20043"/>
                  </a:lnTo>
                  <a:lnTo>
                    <a:pt x="7914" y="22220"/>
                  </a:lnTo>
                  <a:lnTo>
                    <a:pt x="7672" y="23360"/>
                  </a:lnTo>
                  <a:lnTo>
                    <a:pt x="7430" y="24466"/>
                  </a:lnTo>
                  <a:lnTo>
                    <a:pt x="7119" y="25607"/>
                  </a:lnTo>
                  <a:lnTo>
                    <a:pt x="6773" y="26747"/>
                  </a:lnTo>
                  <a:lnTo>
                    <a:pt x="6393" y="27922"/>
                  </a:lnTo>
                  <a:lnTo>
                    <a:pt x="5944" y="29097"/>
                  </a:lnTo>
                  <a:lnTo>
                    <a:pt x="5460" y="30272"/>
                  </a:lnTo>
                  <a:lnTo>
                    <a:pt x="4907" y="31481"/>
                  </a:lnTo>
                  <a:lnTo>
                    <a:pt x="4285" y="32691"/>
                  </a:lnTo>
                  <a:lnTo>
                    <a:pt x="3594" y="33935"/>
                  </a:lnTo>
                  <a:lnTo>
                    <a:pt x="2834" y="35179"/>
                  </a:lnTo>
                  <a:lnTo>
                    <a:pt x="1970" y="36423"/>
                  </a:lnTo>
                  <a:lnTo>
                    <a:pt x="1037" y="37701"/>
                  </a:lnTo>
                  <a:lnTo>
                    <a:pt x="0" y="39014"/>
                  </a:lnTo>
                  <a:lnTo>
                    <a:pt x="242" y="39256"/>
                  </a:lnTo>
                  <a:lnTo>
                    <a:pt x="518" y="39498"/>
                  </a:lnTo>
                  <a:lnTo>
                    <a:pt x="864" y="39706"/>
                  </a:lnTo>
                  <a:lnTo>
                    <a:pt x="1175" y="39878"/>
                  </a:lnTo>
                  <a:lnTo>
                    <a:pt x="1555" y="40017"/>
                  </a:lnTo>
                  <a:lnTo>
                    <a:pt x="1935" y="40155"/>
                  </a:lnTo>
                  <a:lnTo>
                    <a:pt x="2350" y="40224"/>
                  </a:lnTo>
                  <a:lnTo>
                    <a:pt x="2799" y="40328"/>
                  </a:lnTo>
                  <a:lnTo>
                    <a:pt x="3698" y="40431"/>
                  </a:lnTo>
                  <a:lnTo>
                    <a:pt x="4631" y="40466"/>
                  </a:lnTo>
                  <a:lnTo>
                    <a:pt x="8639" y="40466"/>
                  </a:lnTo>
                  <a:lnTo>
                    <a:pt x="9261" y="40500"/>
                  </a:lnTo>
                  <a:lnTo>
                    <a:pt x="9849" y="40569"/>
                  </a:lnTo>
                  <a:lnTo>
                    <a:pt x="10367" y="40673"/>
                  </a:lnTo>
                  <a:lnTo>
                    <a:pt x="10851" y="40811"/>
                  </a:lnTo>
                  <a:lnTo>
                    <a:pt x="11300" y="40984"/>
                  </a:lnTo>
                  <a:lnTo>
                    <a:pt x="11646" y="41157"/>
                  </a:lnTo>
                  <a:lnTo>
                    <a:pt x="12095" y="41330"/>
                  </a:lnTo>
                  <a:lnTo>
                    <a:pt x="12613" y="41502"/>
                  </a:lnTo>
                  <a:lnTo>
                    <a:pt x="13235" y="41675"/>
                  </a:lnTo>
                  <a:lnTo>
                    <a:pt x="14479" y="41986"/>
                  </a:lnTo>
                  <a:lnTo>
                    <a:pt x="15861" y="42297"/>
                  </a:lnTo>
                  <a:lnTo>
                    <a:pt x="17313" y="42539"/>
                  </a:lnTo>
                  <a:lnTo>
                    <a:pt x="18764" y="42746"/>
                  </a:lnTo>
                  <a:lnTo>
                    <a:pt x="20216" y="42885"/>
                  </a:lnTo>
                  <a:lnTo>
                    <a:pt x="20872" y="42919"/>
                  </a:lnTo>
                  <a:lnTo>
                    <a:pt x="22151" y="42919"/>
                  </a:lnTo>
                  <a:lnTo>
                    <a:pt x="22704" y="42885"/>
                  </a:lnTo>
                  <a:lnTo>
                    <a:pt x="23187" y="42850"/>
                  </a:lnTo>
                  <a:lnTo>
                    <a:pt x="23637" y="42746"/>
                  </a:lnTo>
                  <a:lnTo>
                    <a:pt x="24155" y="42574"/>
                  </a:lnTo>
                  <a:lnTo>
                    <a:pt x="24673" y="42401"/>
                  </a:lnTo>
                  <a:lnTo>
                    <a:pt x="25745" y="41952"/>
                  </a:lnTo>
                  <a:lnTo>
                    <a:pt x="26332" y="41710"/>
                  </a:lnTo>
                  <a:lnTo>
                    <a:pt x="26920" y="41502"/>
                  </a:lnTo>
                  <a:lnTo>
                    <a:pt x="27542" y="41330"/>
                  </a:lnTo>
                  <a:lnTo>
                    <a:pt x="28233" y="41157"/>
                  </a:lnTo>
                  <a:lnTo>
                    <a:pt x="28924" y="41088"/>
                  </a:lnTo>
                  <a:lnTo>
                    <a:pt x="29684" y="41053"/>
                  </a:lnTo>
                  <a:lnTo>
                    <a:pt x="30513" y="41088"/>
                  </a:lnTo>
                  <a:lnTo>
                    <a:pt x="30963" y="41122"/>
                  </a:lnTo>
                  <a:lnTo>
                    <a:pt x="31412" y="41191"/>
                  </a:lnTo>
                  <a:lnTo>
                    <a:pt x="31861" y="41295"/>
                  </a:lnTo>
                  <a:lnTo>
                    <a:pt x="32345" y="41433"/>
                  </a:lnTo>
                  <a:lnTo>
                    <a:pt x="32863" y="41572"/>
                  </a:lnTo>
                  <a:lnTo>
                    <a:pt x="33382" y="41779"/>
                  </a:lnTo>
                  <a:lnTo>
                    <a:pt x="33934" y="41986"/>
                  </a:lnTo>
                  <a:lnTo>
                    <a:pt x="34487" y="42228"/>
                  </a:lnTo>
                  <a:lnTo>
                    <a:pt x="35075" y="42505"/>
                  </a:lnTo>
                  <a:lnTo>
                    <a:pt x="35697" y="42816"/>
                  </a:lnTo>
                  <a:lnTo>
                    <a:pt x="35835" y="42194"/>
                  </a:lnTo>
                  <a:lnTo>
                    <a:pt x="35939" y="41468"/>
                  </a:lnTo>
                  <a:lnTo>
                    <a:pt x="36008" y="40639"/>
                  </a:lnTo>
                  <a:lnTo>
                    <a:pt x="36042" y="39671"/>
                  </a:lnTo>
                  <a:lnTo>
                    <a:pt x="36077" y="38634"/>
                  </a:lnTo>
                  <a:lnTo>
                    <a:pt x="36042" y="37528"/>
                  </a:lnTo>
                  <a:lnTo>
                    <a:pt x="36008" y="36319"/>
                  </a:lnTo>
                  <a:lnTo>
                    <a:pt x="35939" y="35075"/>
                  </a:lnTo>
                  <a:lnTo>
                    <a:pt x="35766" y="32380"/>
                  </a:lnTo>
                  <a:lnTo>
                    <a:pt x="35455" y="29477"/>
                  </a:lnTo>
                  <a:lnTo>
                    <a:pt x="35109" y="26470"/>
                  </a:lnTo>
                  <a:lnTo>
                    <a:pt x="34695" y="23360"/>
                  </a:lnTo>
                  <a:lnTo>
                    <a:pt x="34211" y="20250"/>
                  </a:lnTo>
                  <a:lnTo>
                    <a:pt x="33693" y="17209"/>
                  </a:lnTo>
                  <a:lnTo>
                    <a:pt x="33140" y="14272"/>
                  </a:lnTo>
                  <a:lnTo>
                    <a:pt x="32552" y="11507"/>
                  </a:lnTo>
                  <a:lnTo>
                    <a:pt x="31965" y="8950"/>
                  </a:lnTo>
                  <a:lnTo>
                    <a:pt x="31377" y="6670"/>
                  </a:lnTo>
                  <a:lnTo>
                    <a:pt x="31101" y="5667"/>
                  </a:lnTo>
                  <a:lnTo>
                    <a:pt x="30790" y="4734"/>
                  </a:lnTo>
                  <a:lnTo>
                    <a:pt x="30513" y="3905"/>
                  </a:lnTo>
                  <a:lnTo>
                    <a:pt x="30237" y="3214"/>
                  </a:lnTo>
                  <a:lnTo>
                    <a:pt x="29995" y="2696"/>
                  </a:lnTo>
                  <a:lnTo>
                    <a:pt x="29753" y="2246"/>
                  </a:lnTo>
                  <a:lnTo>
                    <a:pt x="29442" y="2074"/>
                  </a:lnTo>
                  <a:lnTo>
                    <a:pt x="28509" y="1624"/>
                  </a:lnTo>
                  <a:lnTo>
                    <a:pt x="27853" y="1348"/>
                  </a:lnTo>
                  <a:lnTo>
                    <a:pt x="27092" y="1071"/>
                  </a:lnTo>
                  <a:lnTo>
                    <a:pt x="26228" y="760"/>
                  </a:lnTo>
                  <a:lnTo>
                    <a:pt x="25295" y="519"/>
                  </a:lnTo>
                  <a:lnTo>
                    <a:pt x="24259" y="277"/>
                  </a:lnTo>
                  <a:lnTo>
                    <a:pt x="23187" y="104"/>
                  </a:lnTo>
                  <a:lnTo>
                    <a:pt x="22600" y="35"/>
                  </a:lnTo>
                  <a:lnTo>
                    <a:pt x="22047" y="0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3" name="Google Shape;1593;p16"/>
            <p:cNvSpPr/>
            <p:nvPr/>
          </p:nvSpPr>
          <p:spPr>
            <a:xfrm>
              <a:off x="785450" y="3182325"/>
              <a:ext cx="901925" cy="1073000"/>
            </a:xfrm>
            <a:custGeom>
              <a:avLst/>
              <a:gdLst/>
              <a:ahLst/>
              <a:cxnLst/>
              <a:rect l="l" t="t" r="r" b="b"/>
              <a:pathLst>
                <a:path w="36077" h="42920" fill="none" extrusionOk="0">
                  <a:moveTo>
                    <a:pt x="0" y="39014"/>
                  </a:moveTo>
                  <a:lnTo>
                    <a:pt x="0" y="39014"/>
                  </a:lnTo>
                  <a:lnTo>
                    <a:pt x="242" y="39256"/>
                  </a:lnTo>
                  <a:lnTo>
                    <a:pt x="518" y="39498"/>
                  </a:lnTo>
                  <a:lnTo>
                    <a:pt x="864" y="39706"/>
                  </a:lnTo>
                  <a:lnTo>
                    <a:pt x="1175" y="39878"/>
                  </a:lnTo>
                  <a:lnTo>
                    <a:pt x="1555" y="40017"/>
                  </a:lnTo>
                  <a:lnTo>
                    <a:pt x="1935" y="40155"/>
                  </a:lnTo>
                  <a:lnTo>
                    <a:pt x="2350" y="40224"/>
                  </a:lnTo>
                  <a:lnTo>
                    <a:pt x="2799" y="40328"/>
                  </a:lnTo>
                  <a:lnTo>
                    <a:pt x="3698" y="40431"/>
                  </a:lnTo>
                  <a:lnTo>
                    <a:pt x="4631" y="40466"/>
                  </a:lnTo>
                  <a:lnTo>
                    <a:pt x="5633" y="40466"/>
                  </a:lnTo>
                  <a:lnTo>
                    <a:pt x="6600" y="40466"/>
                  </a:lnTo>
                  <a:lnTo>
                    <a:pt x="6600" y="40466"/>
                  </a:lnTo>
                  <a:lnTo>
                    <a:pt x="7983" y="40466"/>
                  </a:lnTo>
                  <a:lnTo>
                    <a:pt x="8639" y="40466"/>
                  </a:lnTo>
                  <a:lnTo>
                    <a:pt x="9261" y="40500"/>
                  </a:lnTo>
                  <a:lnTo>
                    <a:pt x="9849" y="40569"/>
                  </a:lnTo>
                  <a:lnTo>
                    <a:pt x="10367" y="40673"/>
                  </a:lnTo>
                  <a:lnTo>
                    <a:pt x="10851" y="40811"/>
                  </a:lnTo>
                  <a:lnTo>
                    <a:pt x="11300" y="40984"/>
                  </a:lnTo>
                  <a:lnTo>
                    <a:pt x="11300" y="40984"/>
                  </a:lnTo>
                  <a:lnTo>
                    <a:pt x="11646" y="41157"/>
                  </a:lnTo>
                  <a:lnTo>
                    <a:pt x="12095" y="41330"/>
                  </a:lnTo>
                  <a:lnTo>
                    <a:pt x="12613" y="41502"/>
                  </a:lnTo>
                  <a:lnTo>
                    <a:pt x="13235" y="41675"/>
                  </a:lnTo>
                  <a:lnTo>
                    <a:pt x="13235" y="41675"/>
                  </a:lnTo>
                  <a:lnTo>
                    <a:pt x="14479" y="41986"/>
                  </a:lnTo>
                  <a:lnTo>
                    <a:pt x="15861" y="42297"/>
                  </a:lnTo>
                  <a:lnTo>
                    <a:pt x="17313" y="42539"/>
                  </a:lnTo>
                  <a:lnTo>
                    <a:pt x="18764" y="42746"/>
                  </a:lnTo>
                  <a:lnTo>
                    <a:pt x="20216" y="42885"/>
                  </a:lnTo>
                  <a:lnTo>
                    <a:pt x="20872" y="42919"/>
                  </a:lnTo>
                  <a:lnTo>
                    <a:pt x="21529" y="42919"/>
                  </a:lnTo>
                  <a:lnTo>
                    <a:pt x="22151" y="42919"/>
                  </a:lnTo>
                  <a:lnTo>
                    <a:pt x="22704" y="42885"/>
                  </a:lnTo>
                  <a:lnTo>
                    <a:pt x="23187" y="42850"/>
                  </a:lnTo>
                  <a:lnTo>
                    <a:pt x="23637" y="42746"/>
                  </a:lnTo>
                  <a:lnTo>
                    <a:pt x="23637" y="42746"/>
                  </a:lnTo>
                  <a:lnTo>
                    <a:pt x="24155" y="42574"/>
                  </a:lnTo>
                  <a:lnTo>
                    <a:pt x="24673" y="42401"/>
                  </a:lnTo>
                  <a:lnTo>
                    <a:pt x="25745" y="41952"/>
                  </a:lnTo>
                  <a:lnTo>
                    <a:pt x="26332" y="41710"/>
                  </a:lnTo>
                  <a:lnTo>
                    <a:pt x="26920" y="41502"/>
                  </a:lnTo>
                  <a:lnTo>
                    <a:pt x="27542" y="41330"/>
                  </a:lnTo>
                  <a:lnTo>
                    <a:pt x="28233" y="41157"/>
                  </a:lnTo>
                  <a:lnTo>
                    <a:pt x="28924" y="41088"/>
                  </a:lnTo>
                  <a:lnTo>
                    <a:pt x="29684" y="41053"/>
                  </a:lnTo>
                  <a:lnTo>
                    <a:pt x="30513" y="41088"/>
                  </a:lnTo>
                  <a:lnTo>
                    <a:pt x="30963" y="41122"/>
                  </a:lnTo>
                  <a:lnTo>
                    <a:pt x="31412" y="41191"/>
                  </a:lnTo>
                  <a:lnTo>
                    <a:pt x="31861" y="41295"/>
                  </a:lnTo>
                  <a:lnTo>
                    <a:pt x="32345" y="41433"/>
                  </a:lnTo>
                  <a:lnTo>
                    <a:pt x="32863" y="41572"/>
                  </a:lnTo>
                  <a:lnTo>
                    <a:pt x="33382" y="41779"/>
                  </a:lnTo>
                  <a:lnTo>
                    <a:pt x="33934" y="41986"/>
                  </a:lnTo>
                  <a:lnTo>
                    <a:pt x="34487" y="42228"/>
                  </a:lnTo>
                  <a:lnTo>
                    <a:pt x="35075" y="42505"/>
                  </a:lnTo>
                  <a:lnTo>
                    <a:pt x="35697" y="42816"/>
                  </a:lnTo>
                  <a:lnTo>
                    <a:pt x="35697" y="42816"/>
                  </a:lnTo>
                  <a:lnTo>
                    <a:pt x="35835" y="42194"/>
                  </a:lnTo>
                  <a:lnTo>
                    <a:pt x="35939" y="41468"/>
                  </a:lnTo>
                  <a:lnTo>
                    <a:pt x="36008" y="40639"/>
                  </a:lnTo>
                  <a:lnTo>
                    <a:pt x="36042" y="39671"/>
                  </a:lnTo>
                  <a:lnTo>
                    <a:pt x="36077" y="38634"/>
                  </a:lnTo>
                  <a:lnTo>
                    <a:pt x="36042" y="37528"/>
                  </a:lnTo>
                  <a:lnTo>
                    <a:pt x="36008" y="36319"/>
                  </a:lnTo>
                  <a:lnTo>
                    <a:pt x="35939" y="35075"/>
                  </a:lnTo>
                  <a:lnTo>
                    <a:pt x="35766" y="32380"/>
                  </a:lnTo>
                  <a:lnTo>
                    <a:pt x="35455" y="29477"/>
                  </a:lnTo>
                  <a:lnTo>
                    <a:pt x="35109" y="26470"/>
                  </a:lnTo>
                  <a:lnTo>
                    <a:pt x="34695" y="23360"/>
                  </a:lnTo>
                  <a:lnTo>
                    <a:pt x="34211" y="20250"/>
                  </a:lnTo>
                  <a:lnTo>
                    <a:pt x="33693" y="17209"/>
                  </a:lnTo>
                  <a:lnTo>
                    <a:pt x="33140" y="14272"/>
                  </a:lnTo>
                  <a:lnTo>
                    <a:pt x="32552" y="11507"/>
                  </a:lnTo>
                  <a:lnTo>
                    <a:pt x="31965" y="8950"/>
                  </a:lnTo>
                  <a:lnTo>
                    <a:pt x="31377" y="6670"/>
                  </a:lnTo>
                  <a:lnTo>
                    <a:pt x="31101" y="5667"/>
                  </a:lnTo>
                  <a:lnTo>
                    <a:pt x="30790" y="4734"/>
                  </a:lnTo>
                  <a:lnTo>
                    <a:pt x="30513" y="3905"/>
                  </a:lnTo>
                  <a:lnTo>
                    <a:pt x="30237" y="3214"/>
                  </a:lnTo>
                  <a:lnTo>
                    <a:pt x="30237" y="3214"/>
                  </a:lnTo>
                  <a:lnTo>
                    <a:pt x="30237" y="3214"/>
                  </a:lnTo>
                  <a:lnTo>
                    <a:pt x="29995" y="2696"/>
                  </a:lnTo>
                  <a:lnTo>
                    <a:pt x="29753" y="2246"/>
                  </a:lnTo>
                  <a:lnTo>
                    <a:pt x="29753" y="2246"/>
                  </a:lnTo>
                  <a:lnTo>
                    <a:pt x="29442" y="2074"/>
                  </a:lnTo>
                  <a:lnTo>
                    <a:pt x="28509" y="1624"/>
                  </a:lnTo>
                  <a:lnTo>
                    <a:pt x="27853" y="1348"/>
                  </a:lnTo>
                  <a:lnTo>
                    <a:pt x="27092" y="1071"/>
                  </a:lnTo>
                  <a:lnTo>
                    <a:pt x="26228" y="760"/>
                  </a:lnTo>
                  <a:lnTo>
                    <a:pt x="25295" y="519"/>
                  </a:lnTo>
                  <a:lnTo>
                    <a:pt x="24259" y="277"/>
                  </a:lnTo>
                  <a:lnTo>
                    <a:pt x="23187" y="104"/>
                  </a:lnTo>
                  <a:lnTo>
                    <a:pt x="22600" y="35"/>
                  </a:lnTo>
                  <a:lnTo>
                    <a:pt x="22047" y="0"/>
                  </a:lnTo>
                  <a:lnTo>
                    <a:pt x="21460" y="0"/>
                  </a:lnTo>
                  <a:lnTo>
                    <a:pt x="20872" y="0"/>
                  </a:lnTo>
                  <a:lnTo>
                    <a:pt x="20250" y="35"/>
                  </a:lnTo>
                  <a:lnTo>
                    <a:pt x="19663" y="104"/>
                  </a:lnTo>
                  <a:lnTo>
                    <a:pt x="19041" y="173"/>
                  </a:lnTo>
                  <a:lnTo>
                    <a:pt x="18453" y="311"/>
                  </a:lnTo>
                  <a:lnTo>
                    <a:pt x="17831" y="484"/>
                  </a:lnTo>
                  <a:lnTo>
                    <a:pt x="17244" y="691"/>
                  </a:lnTo>
                  <a:lnTo>
                    <a:pt x="16622" y="933"/>
                  </a:lnTo>
                  <a:lnTo>
                    <a:pt x="16034" y="1210"/>
                  </a:lnTo>
                  <a:lnTo>
                    <a:pt x="16034" y="1210"/>
                  </a:lnTo>
                  <a:lnTo>
                    <a:pt x="15239" y="1659"/>
                  </a:lnTo>
                  <a:lnTo>
                    <a:pt x="14445" y="2212"/>
                  </a:lnTo>
                  <a:lnTo>
                    <a:pt x="14065" y="2488"/>
                  </a:lnTo>
                  <a:lnTo>
                    <a:pt x="13684" y="2834"/>
                  </a:lnTo>
                  <a:lnTo>
                    <a:pt x="13304" y="3179"/>
                  </a:lnTo>
                  <a:lnTo>
                    <a:pt x="12924" y="3560"/>
                  </a:lnTo>
                  <a:lnTo>
                    <a:pt x="12924" y="3560"/>
                  </a:lnTo>
                  <a:lnTo>
                    <a:pt x="12890" y="3629"/>
                  </a:lnTo>
                  <a:lnTo>
                    <a:pt x="12890" y="3629"/>
                  </a:lnTo>
                  <a:lnTo>
                    <a:pt x="12302" y="4596"/>
                  </a:lnTo>
                  <a:lnTo>
                    <a:pt x="11784" y="5598"/>
                  </a:lnTo>
                  <a:lnTo>
                    <a:pt x="11335" y="6600"/>
                  </a:lnTo>
                  <a:lnTo>
                    <a:pt x="10920" y="7568"/>
                  </a:lnTo>
                  <a:lnTo>
                    <a:pt x="10574" y="8570"/>
                  </a:lnTo>
                  <a:lnTo>
                    <a:pt x="10263" y="9607"/>
                  </a:lnTo>
                  <a:lnTo>
                    <a:pt x="9987" y="10609"/>
                  </a:lnTo>
                  <a:lnTo>
                    <a:pt x="9710" y="11611"/>
                  </a:lnTo>
                  <a:lnTo>
                    <a:pt x="9503" y="12648"/>
                  </a:lnTo>
                  <a:lnTo>
                    <a:pt x="9330" y="13685"/>
                  </a:lnTo>
                  <a:lnTo>
                    <a:pt x="8950" y="15758"/>
                  </a:lnTo>
                  <a:lnTo>
                    <a:pt x="8639" y="17900"/>
                  </a:lnTo>
                  <a:lnTo>
                    <a:pt x="8294" y="20043"/>
                  </a:lnTo>
                  <a:lnTo>
                    <a:pt x="7914" y="22220"/>
                  </a:lnTo>
                  <a:lnTo>
                    <a:pt x="7672" y="23360"/>
                  </a:lnTo>
                  <a:lnTo>
                    <a:pt x="7430" y="24466"/>
                  </a:lnTo>
                  <a:lnTo>
                    <a:pt x="7119" y="25607"/>
                  </a:lnTo>
                  <a:lnTo>
                    <a:pt x="6773" y="26747"/>
                  </a:lnTo>
                  <a:lnTo>
                    <a:pt x="6393" y="27922"/>
                  </a:lnTo>
                  <a:lnTo>
                    <a:pt x="5944" y="29097"/>
                  </a:lnTo>
                  <a:lnTo>
                    <a:pt x="5460" y="30272"/>
                  </a:lnTo>
                  <a:lnTo>
                    <a:pt x="4907" y="31481"/>
                  </a:lnTo>
                  <a:lnTo>
                    <a:pt x="4285" y="32691"/>
                  </a:lnTo>
                  <a:lnTo>
                    <a:pt x="3594" y="33935"/>
                  </a:lnTo>
                  <a:lnTo>
                    <a:pt x="2834" y="35179"/>
                  </a:lnTo>
                  <a:lnTo>
                    <a:pt x="1970" y="36423"/>
                  </a:lnTo>
                  <a:lnTo>
                    <a:pt x="1037" y="37701"/>
                  </a:lnTo>
                  <a:lnTo>
                    <a:pt x="0" y="3901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4" name="Google Shape;1594;p16"/>
            <p:cNvSpPr/>
            <p:nvPr/>
          </p:nvSpPr>
          <p:spPr>
            <a:xfrm>
              <a:off x="1082625" y="2352100"/>
              <a:ext cx="861350" cy="951200"/>
            </a:xfrm>
            <a:custGeom>
              <a:avLst/>
              <a:gdLst/>
              <a:ahLst/>
              <a:cxnLst/>
              <a:rect l="l" t="t" r="r" b="b"/>
              <a:pathLst>
                <a:path w="34454" h="38048" extrusionOk="0">
                  <a:moveTo>
                    <a:pt x="31620" y="1"/>
                  </a:moveTo>
                  <a:lnTo>
                    <a:pt x="31412" y="35"/>
                  </a:lnTo>
                  <a:lnTo>
                    <a:pt x="31309" y="35"/>
                  </a:lnTo>
                  <a:lnTo>
                    <a:pt x="31205" y="104"/>
                  </a:lnTo>
                  <a:lnTo>
                    <a:pt x="31136" y="173"/>
                  </a:lnTo>
                  <a:lnTo>
                    <a:pt x="31101" y="242"/>
                  </a:lnTo>
                  <a:lnTo>
                    <a:pt x="30721" y="934"/>
                  </a:lnTo>
                  <a:lnTo>
                    <a:pt x="29961" y="2247"/>
                  </a:lnTo>
                  <a:lnTo>
                    <a:pt x="28959" y="3940"/>
                  </a:lnTo>
                  <a:lnTo>
                    <a:pt x="27749" y="5806"/>
                  </a:lnTo>
                  <a:lnTo>
                    <a:pt x="27093" y="6774"/>
                  </a:lnTo>
                  <a:lnTo>
                    <a:pt x="26471" y="7707"/>
                  </a:lnTo>
                  <a:lnTo>
                    <a:pt x="25849" y="8570"/>
                  </a:lnTo>
                  <a:lnTo>
                    <a:pt x="25227" y="9365"/>
                  </a:lnTo>
                  <a:lnTo>
                    <a:pt x="24639" y="10056"/>
                  </a:lnTo>
                  <a:lnTo>
                    <a:pt x="24086" y="10644"/>
                  </a:lnTo>
                  <a:lnTo>
                    <a:pt x="23810" y="10851"/>
                  </a:lnTo>
                  <a:lnTo>
                    <a:pt x="23568" y="11059"/>
                  </a:lnTo>
                  <a:lnTo>
                    <a:pt x="23361" y="11197"/>
                  </a:lnTo>
                  <a:lnTo>
                    <a:pt x="23153" y="11300"/>
                  </a:lnTo>
                  <a:lnTo>
                    <a:pt x="22773" y="11370"/>
                  </a:lnTo>
                  <a:lnTo>
                    <a:pt x="22255" y="11439"/>
                  </a:lnTo>
                  <a:lnTo>
                    <a:pt x="21633" y="11439"/>
                  </a:lnTo>
                  <a:lnTo>
                    <a:pt x="20942" y="11404"/>
                  </a:lnTo>
                  <a:lnTo>
                    <a:pt x="20216" y="11335"/>
                  </a:lnTo>
                  <a:lnTo>
                    <a:pt x="19387" y="11231"/>
                  </a:lnTo>
                  <a:lnTo>
                    <a:pt x="18523" y="11093"/>
                  </a:lnTo>
                  <a:lnTo>
                    <a:pt x="17624" y="10920"/>
                  </a:lnTo>
                  <a:lnTo>
                    <a:pt x="16726" y="10748"/>
                  </a:lnTo>
                  <a:lnTo>
                    <a:pt x="15827" y="10540"/>
                  </a:lnTo>
                  <a:lnTo>
                    <a:pt x="14929" y="10298"/>
                  </a:lnTo>
                  <a:lnTo>
                    <a:pt x="14065" y="10022"/>
                  </a:lnTo>
                  <a:lnTo>
                    <a:pt x="13236" y="9780"/>
                  </a:lnTo>
                  <a:lnTo>
                    <a:pt x="12441" y="9504"/>
                  </a:lnTo>
                  <a:lnTo>
                    <a:pt x="11750" y="9193"/>
                  </a:lnTo>
                  <a:lnTo>
                    <a:pt x="11093" y="8916"/>
                  </a:lnTo>
                  <a:lnTo>
                    <a:pt x="10609" y="8847"/>
                  </a:lnTo>
                  <a:lnTo>
                    <a:pt x="9434" y="8709"/>
                  </a:lnTo>
                  <a:lnTo>
                    <a:pt x="8709" y="8640"/>
                  </a:lnTo>
                  <a:lnTo>
                    <a:pt x="7983" y="8570"/>
                  </a:lnTo>
                  <a:lnTo>
                    <a:pt x="6704" y="8570"/>
                  </a:lnTo>
                  <a:lnTo>
                    <a:pt x="6393" y="8640"/>
                  </a:lnTo>
                  <a:lnTo>
                    <a:pt x="6048" y="8743"/>
                  </a:lnTo>
                  <a:lnTo>
                    <a:pt x="5668" y="8916"/>
                  </a:lnTo>
                  <a:lnTo>
                    <a:pt x="5253" y="9123"/>
                  </a:lnTo>
                  <a:lnTo>
                    <a:pt x="4355" y="9676"/>
                  </a:lnTo>
                  <a:lnTo>
                    <a:pt x="3387" y="10298"/>
                  </a:lnTo>
                  <a:lnTo>
                    <a:pt x="2489" y="10989"/>
                  </a:lnTo>
                  <a:lnTo>
                    <a:pt x="1625" y="11715"/>
                  </a:lnTo>
                  <a:lnTo>
                    <a:pt x="934" y="12337"/>
                  </a:lnTo>
                  <a:lnTo>
                    <a:pt x="657" y="12648"/>
                  </a:lnTo>
                  <a:lnTo>
                    <a:pt x="415" y="12890"/>
                  </a:lnTo>
                  <a:lnTo>
                    <a:pt x="346" y="13063"/>
                  </a:lnTo>
                  <a:lnTo>
                    <a:pt x="242" y="13236"/>
                  </a:lnTo>
                  <a:lnTo>
                    <a:pt x="104" y="13616"/>
                  </a:lnTo>
                  <a:lnTo>
                    <a:pt x="35" y="14134"/>
                  </a:lnTo>
                  <a:lnTo>
                    <a:pt x="1" y="14687"/>
                  </a:lnTo>
                  <a:lnTo>
                    <a:pt x="1" y="15344"/>
                  </a:lnTo>
                  <a:lnTo>
                    <a:pt x="35" y="16035"/>
                  </a:lnTo>
                  <a:lnTo>
                    <a:pt x="139" y="16795"/>
                  </a:lnTo>
                  <a:lnTo>
                    <a:pt x="242" y="17590"/>
                  </a:lnTo>
                  <a:lnTo>
                    <a:pt x="381" y="18419"/>
                  </a:lnTo>
                  <a:lnTo>
                    <a:pt x="553" y="19283"/>
                  </a:lnTo>
                  <a:lnTo>
                    <a:pt x="968" y="21045"/>
                  </a:lnTo>
                  <a:lnTo>
                    <a:pt x="1452" y="22877"/>
                  </a:lnTo>
                  <a:lnTo>
                    <a:pt x="1936" y="24639"/>
                  </a:lnTo>
                  <a:lnTo>
                    <a:pt x="2005" y="24777"/>
                  </a:lnTo>
                  <a:lnTo>
                    <a:pt x="2108" y="24916"/>
                  </a:lnTo>
                  <a:lnTo>
                    <a:pt x="2350" y="25192"/>
                  </a:lnTo>
                  <a:lnTo>
                    <a:pt x="2730" y="25503"/>
                  </a:lnTo>
                  <a:lnTo>
                    <a:pt x="3214" y="25814"/>
                  </a:lnTo>
                  <a:lnTo>
                    <a:pt x="3663" y="26078"/>
                  </a:lnTo>
                  <a:lnTo>
                    <a:pt x="3663" y="26078"/>
                  </a:lnTo>
                  <a:lnTo>
                    <a:pt x="3663" y="26125"/>
                  </a:lnTo>
                  <a:lnTo>
                    <a:pt x="3663" y="26816"/>
                  </a:lnTo>
                  <a:lnTo>
                    <a:pt x="3629" y="27473"/>
                  </a:lnTo>
                  <a:lnTo>
                    <a:pt x="3525" y="28682"/>
                  </a:lnTo>
                  <a:lnTo>
                    <a:pt x="3456" y="29719"/>
                  </a:lnTo>
                  <a:lnTo>
                    <a:pt x="3318" y="30756"/>
                  </a:lnTo>
                  <a:lnTo>
                    <a:pt x="3145" y="31723"/>
                  </a:lnTo>
                  <a:lnTo>
                    <a:pt x="2903" y="32691"/>
                  </a:lnTo>
                  <a:lnTo>
                    <a:pt x="2627" y="33624"/>
                  </a:lnTo>
                  <a:lnTo>
                    <a:pt x="2281" y="34488"/>
                  </a:lnTo>
                  <a:lnTo>
                    <a:pt x="1936" y="35283"/>
                  </a:lnTo>
                  <a:lnTo>
                    <a:pt x="1486" y="36043"/>
                  </a:lnTo>
                  <a:lnTo>
                    <a:pt x="1037" y="36769"/>
                  </a:lnTo>
                  <a:lnTo>
                    <a:pt x="1003" y="36838"/>
                  </a:lnTo>
                  <a:lnTo>
                    <a:pt x="968" y="36976"/>
                  </a:lnTo>
                  <a:lnTo>
                    <a:pt x="968" y="37114"/>
                  </a:lnTo>
                  <a:lnTo>
                    <a:pt x="1072" y="37218"/>
                  </a:lnTo>
                  <a:lnTo>
                    <a:pt x="1210" y="37356"/>
                  </a:lnTo>
                  <a:lnTo>
                    <a:pt x="1417" y="37460"/>
                  </a:lnTo>
                  <a:lnTo>
                    <a:pt x="1659" y="37563"/>
                  </a:lnTo>
                  <a:lnTo>
                    <a:pt x="2316" y="37702"/>
                  </a:lnTo>
                  <a:lnTo>
                    <a:pt x="3145" y="37840"/>
                  </a:lnTo>
                  <a:lnTo>
                    <a:pt x="4113" y="37943"/>
                  </a:lnTo>
                  <a:lnTo>
                    <a:pt x="5219" y="38013"/>
                  </a:lnTo>
                  <a:lnTo>
                    <a:pt x="6393" y="38047"/>
                  </a:lnTo>
                  <a:lnTo>
                    <a:pt x="8259" y="38013"/>
                  </a:lnTo>
                  <a:lnTo>
                    <a:pt x="10160" y="37978"/>
                  </a:lnTo>
                  <a:lnTo>
                    <a:pt x="12061" y="37874"/>
                  </a:lnTo>
                  <a:lnTo>
                    <a:pt x="13858" y="37702"/>
                  </a:lnTo>
                  <a:lnTo>
                    <a:pt x="15447" y="37529"/>
                  </a:lnTo>
                  <a:lnTo>
                    <a:pt x="16760" y="37321"/>
                  </a:lnTo>
                  <a:lnTo>
                    <a:pt x="17279" y="37183"/>
                  </a:lnTo>
                  <a:lnTo>
                    <a:pt x="17693" y="37080"/>
                  </a:lnTo>
                  <a:lnTo>
                    <a:pt x="18004" y="36941"/>
                  </a:lnTo>
                  <a:lnTo>
                    <a:pt x="18177" y="36803"/>
                  </a:lnTo>
                  <a:lnTo>
                    <a:pt x="18281" y="36630"/>
                  </a:lnTo>
                  <a:lnTo>
                    <a:pt x="18350" y="36423"/>
                  </a:lnTo>
                  <a:lnTo>
                    <a:pt x="18350" y="36181"/>
                  </a:lnTo>
                  <a:lnTo>
                    <a:pt x="18350" y="35939"/>
                  </a:lnTo>
                  <a:lnTo>
                    <a:pt x="18281" y="35352"/>
                  </a:lnTo>
                  <a:lnTo>
                    <a:pt x="18143" y="34626"/>
                  </a:lnTo>
                  <a:lnTo>
                    <a:pt x="17970" y="33831"/>
                  </a:lnTo>
                  <a:lnTo>
                    <a:pt x="17728" y="32967"/>
                  </a:lnTo>
                  <a:lnTo>
                    <a:pt x="17451" y="32069"/>
                  </a:lnTo>
                  <a:lnTo>
                    <a:pt x="17172" y="31216"/>
                  </a:lnTo>
                  <a:lnTo>
                    <a:pt x="17172" y="31216"/>
                  </a:lnTo>
                  <a:lnTo>
                    <a:pt x="18626" y="31689"/>
                  </a:lnTo>
                  <a:lnTo>
                    <a:pt x="22462" y="32898"/>
                  </a:lnTo>
                  <a:lnTo>
                    <a:pt x="25227" y="33762"/>
                  </a:lnTo>
                  <a:lnTo>
                    <a:pt x="26056" y="34039"/>
                  </a:lnTo>
                  <a:lnTo>
                    <a:pt x="26402" y="34211"/>
                  </a:lnTo>
                  <a:lnTo>
                    <a:pt x="26436" y="34211"/>
                  </a:lnTo>
                  <a:lnTo>
                    <a:pt x="26471" y="34177"/>
                  </a:lnTo>
                  <a:lnTo>
                    <a:pt x="26540" y="34073"/>
                  </a:lnTo>
                  <a:lnTo>
                    <a:pt x="26678" y="33624"/>
                  </a:lnTo>
                  <a:lnTo>
                    <a:pt x="26851" y="32967"/>
                  </a:lnTo>
                  <a:lnTo>
                    <a:pt x="27058" y="32173"/>
                  </a:lnTo>
                  <a:lnTo>
                    <a:pt x="27196" y="31378"/>
                  </a:lnTo>
                  <a:lnTo>
                    <a:pt x="27300" y="30617"/>
                  </a:lnTo>
                  <a:lnTo>
                    <a:pt x="27300" y="30306"/>
                  </a:lnTo>
                  <a:lnTo>
                    <a:pt x="27300" y="30065"/>
                  </a:lnTo>
                  <a:lnTo>
                    <a:pt x="27265" y="29857"/>
                  </a:lnTo>
                  <a:lnTo>
                    <a:pt x="27231" y="29719"/>
                  </a:lnTo>
                  <a:lnTo>
                    <a:pt x="27093" y="29650"/>
                  </a:lnTo>
                  <a:lnTo>
                    <a:pt x="26851" y="29546"/>
                  </a:lnTo>
                  <a:lnTo>
                    <a:pt x="26160" y="29304"/>
                  </a:lnTo>
                  <a:lnTo>
                    <a:pt x="25227" y="29028"/>
                  </a:lnTo>
                  <a:lnTo>
                    <a:pt x="24155" y="28751"/>
                  </a:lnTo>
                  <a:lnTo>
                    <a:pt x="22151" y="28268"/>
                  </a:lnTo>
                  <a:lnTo>
                    <a:pt x="20976" y="27991"/>
                  </a:lnTo>
                  <a:lnTo>
                    <a:pt x="20112" y="27715"/>
                  </a:lnTo>
                  <a:lnTo>
                    <a:pt x="18937" y="27369"/>
                  </a:lnTo>
                  <a:lnTo>
                    <a:pt x="16035" y="26505"/>
                  </a:lnTo>
                  <a:lnTo>
                    <a:pt x="15566" y="26349"/>
                  </a:lnTo>
                  <a:lnTo>
                    <a:pt x="15566" y="26349"/>
                  </a:lnTo>
                  <a:lnTo>
                    <a:pt x="15447" y="25952"/>
                  </a:lnTo>
                  <a:lnTo>
                    <a:pt x="15274" y="25330"/>
                  </a:lnTo>
                  <a:lnTo>
                    <a:pt x="15171" y="24847"/>
                  </a:lnTo>
                  <a:lnTo>
                    <a:pt x="15136" y="24501"/>
                  </a:lnTo>
                  <a:lnTo>
                    <a:pt x="15171" y="24225"/>
                  </a:lnTo>
                  <a:lnTo>
                    <a:pt x="15274" y="23948"/>
                  </a:lnTo>
                  <a:lnTo>
                    <a:pt x="15447" y="23706"/>
                  </a:lnTo>
                  <a:lnTo>
                    <a:pt x="15620" y="23464"/>
                  </a:lnTo>
                  <a:lnTo>
                    <a:pt x="15862" y="23257"/>
                  </a:lnTo>
                  <a:lnTo>
                    <a:pt x="16104" y="23015"/>
                  </a:lnTo>
                  <a:lnTo>
                    <a:pt x="16657" y="22635"/>
                  </a:lnTo>
                  <a:lnTo>
                    <a:pt x="17210" y="22255"/>
                  </a:lnTo>
                  <a:lnTo>
                    <a:pt x="17728" y="21840"/>
                  </a:lnTo>
                  <a:lnTo>
                    <a:pt x="17935" y="21667"/>
                  </a:lnTo>
                  <a:lnTo>
                    <a:pt x="18108" y="21460"/>
                  </a:lnTo>
                  <a:lnTo>
                    <a:pt x="18212" y="21253"/>
                  </a:lnTo>
                  <a:lnTo>
                    <a:pt x="18315" y="21011"/>
                  </a:lnTo>
                  <a:lnTo>
                    <a:pt x="18315" y="20769"/>
                  </a:lnTo>
                  <a:lnTo>
                    <a:pt x="18246" y="20492"/>
                  </a:lnTo>
                  <a:lnTo>
                    <a:pt x="18143" y="20147"/>
                  </a:lnTo>
                  <a:lnTo>
                    <a:pt x="17970" y="19801"/>
                  </a:lnTo>
                  <a:lnTo>
                    <a:pt x="17521" y="19041"/>
                  </a:lnTo>
                  <a:lnTo>
                    <a:pt x="17037" y="18281"/>
                  </a:lnTo>
                  <a:lnTo>
                    <a:pt x="16173" y="17071"/>
                  </a:lnTo>
                  <a:lnTo>
                    <a:pt x="15966" y="16760"/>
                  </a:lnTo>
                  <a:lnTo>
                    <a:pt x="15966" y="16691"/>
                  </a:lnTo>
                  <a:lnTo>
                    <a:pt x="16035" y="16726"/>
                  </a:lnTo>
                  <a:lnTo>
                    <a:pt x="16242" y="16795"/>
                  </a:lnTo>
                  <a:lnTo>
                    <a:pt x="16484" y="16864"/>
                  </a:lnTo>
                  <a:lnTo>
                    <a:pt x="16726" y="16933"/>
                  </a:lnTo>
                  <a:lnTo>
                    <a:pt x="17037" y="16968"/>
                  </a:lnTo>
                  <a:lnTo>
                    <a:pt x="17659" y="17002"/>
                  </a:lnTo>
                  <a:lnTo>
                    <a:pt x="18385" y="16968"/>
                  </a:lnTo>
                  <a:lnTo>
                    <a:pt x="19145" y="16864"/>
                  </a:lnTo>
                  <a:lnTo>
                    <a:pt x="19974" y="16726"/>
                  </a:lnTo>
                  <a:lnTo>
                    <a:pt x="20838" y="16553"/>
                  </a:lnTo>
                  <a:lnTo>
                    <a:pt x="21702" y="16346"/>
                  </a:lnTo>
                  <a:lnTo>
                    <a:pt x="22566" y="16104"/>
                  </a:lnTo>
                  <a:lnTo>
                    <a:pt x="23430" y="15827"/>
                  </a:lnTo>
                  <a:lnTo>
                    <a:pt x="24225" y="15551"/>
                  </a:lnTo>
                  <a:lnTo>
                    <a:pt x="24985" y="15274"/>
                  </a:lnTo>
                  <a:lnTo>
                    <a:pt x="25641" y="14963"/>
                  </a:lnTo>
                  <a:lnTo>
                    <a:pt x="26229" y="14687"/>
                  </a:lnTo>
                  <a:lnTo>
                    <a:pt x="26713" y="14411"/>
                  </a:lnTo>
                  <a:lnTo>
                    <a:pt x="27058" y="14134"/>
                  </a:lnTo>
                  <a:lnTo>
                    <a:pt x="27404" y="13789"/>
                  </a:lnTo>
                  <a:lnTo>
                    <a:pt x="27818" y="13270"/>
                  </a:lnTo>
                  <a:lnTo>
                    <a:pt x="28302" y="12614"/>
                  </a:lnTo>
                  <a:lnTo>
                    <a:pt x="28855" y="11819"/>
                  </a:lnTo>
                  <a:lnTo>
                    <a:pt x="30065" y="9953"/>
                  </a:lnTo>
                  <a:lnTo>
                    <a:pt x="31274" y="7914"/>
                  </a:lnTo>
                  <a:lnTo>
                    <a:pt x="32449" y="5944"/>
                  </a:lnTo>
                  <a:lnTo>
                    <a:pt x="33451" y="4216"/>
                  </a:lnTo>
                  <a:lnTo>
                    <a:pt x="34419" y="2454"/>
                  </a:lnTo>
                  <a:lnTo>
                    <a:pt x="34453" y="2281"/>
                  </a:lnTo>
                  <a:lnTo>
                    <a:pt x="34419" y="2108"/>
                  </a:lnTo>
                  <a:lnTo>
                    <a:pt x="34280" y="1867"/>
                  </a:lnTo>
                  <a:lnTo>
                    <a:pt x="34108" y="1659"/>
                  </a:lnTo>
                  <a:lnTo>
                    <a:pt x="33900" y="1417"/>
                  </a:lnTo>
                  <a:lnTo>
                    <a:pt x="33658" y="1175"/>
                  </a:lnTo>
                  <a:lnTo>
                    <a:pt x="33382" y="934"/>
                  </a:lnTo>
                  <a:lnTo>
                    <a:pt x="33071" y="692"/>
                  </a:lnTo>
                  <a:lnTo>
                    <a:pt x="32760" y="484"/>
                  </a:lnTo>
                  <a:lnTo>
                    <a:pt x="32449" y="312"/>
                  </a:lnTo>
                  <a:lnTo>
                    <a:pt x="32173" y="173"/>
                  </a:lnTo>
                  <a:lnTo>
                    <a:pt x="31861" y="70"/>
                  </a:lnTo>
                  <a:lnTo>
                    <a:pt x="31620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5" name="Google Shape;1595;p16"/>
            <p:cNvSpPr/>
            <p:nvPr/>
          </p:nvSpPr>
          <p:spPr>
            <a:xfrm>
              <a:off x="1082625" y="2352100"/>
              <a:ext cx="861350" cy="951200"/>
            </a:xfrm>
            <a:custGeom>
              <a:avLst/>
              <a:gdLst/>
              <a:ahLst/>
              <a:cxnLst/>
              <a:rect l="l" t="t" r="r" b="b"/>
              <a:pathLst>
                <a:path w="34454" h="38048" fill="none" extrusionOk="0">
                  <a:moveTo>
                    <a:pt x="26402" y="34211"/>
                  </a:moveTo>
                  <a:lnTo>
                    <a:pt x="26402" y="34211"/>
                  </a:lnTo>
                  <a:lnTo>
                    <a:pt x="26436" y="34211"/>
                  </a:lnTo>
                  <a:lnTo>
                    <a:pt x="26471" y="34177"/>
                  </a:lnTo>
                  <a:lnTo>
                    <a:pt x="26540" y="34073"/>
                  </a:lnTo>
                  <a:lnTo>
                    <a:pt x="26678" y="33624"/>
                  </a:lnTo>
                  <a:lnTo>
                    <a:pt x="26851" y="32967"/>
                  </a:lnTo>
                  <a:lnTo>
                    <a:pt x="27058" y="32173"/>
                  </a:lnTo>
                  <a:lnTo>
                    <a:pt x="27196" y="31378"/>
                  </a:lnTo>
                  <a:lnTo>
                    <a:pt x="27300" y="30617"/>
                  </a:lnTo>
                  <a:lnTo>
                    <a:pt x="27300" y="30306"/>
                  </a:lnTo>
                  <a:lnTo>
                    <a:pt x="27300" y="30065"/>
                  </a:lnTo>
                  <a:lnTo>
                    <a:pt x="27265" y="29857"/>
                  </a:lnTo>
                  <a:lnTo>
                    <a:pt x="27231" y="29719"/>
                  </a:lnTo>
                  <a:lnTo>
                    <a:pt x="27231" y="29719"/>
                  </a:lnTo>
                  <a:lnTo>
                    <a:pt x="27093" y="29650"/>
                  </a:lnTo>
                  <a:lnTo>
                    <a:pt x="26851" y="29546"/>
                  </a:lnTo>
                  <a:lnTo>
                    <a:pt x="26160" y="29304"/>
                  </a:lnTo>
                  <a:lnTo>
                    <a:pt x="25227" y="29028"/>
                  </a:lnTo>
                  <a:lnTo>
                    <a:pt x="24155" y="28751"/>
                  </a:lnTo>
                  <a:lnTo>
                    <a:pt x="22151" y="28268"/>
                  </a:lnTo>
                  <a:lnTo>
                    <a:pt x="20976" y="27991"/>
                  </a:lnTo>
                  <a:lnTo>
                    <a:pt x="20976" y="27991"/>
                  </a:lnTo>
                  <a:lnTo>
                    <a:pt x="20112" y="27715"/>
                  </a:lnTo>
                  <a:lnTo>
                    <a:pt x="18937" y="27369"/>
                  </a:lnTo>
                  <a:lnTo>
                    <a:pt x="16035" y="26505"/>
                  </a:lnTo>
                  <a:lnTo>
                    <a:pt x="14480" y="25987"/>
                  </a:lnTo>
                  <a:lnTo>
                    <a:pt x="12994" y="25469"/>
                  </a:lnTo>
                  <a:lnTo>
                    <a:pt x="12303" y="25192"/>
                  </a:lnTo>
                  <a:lnTo>
                    <a:pt x="11646" y="24916"/>
                  </a:lnTo>
                  <a:lnTo>
                    <a:pt x="11024" y="24605"/>
                  </a:lnTo>
                  <a:lnTo>
                    <a:pt x="10506" y="24328"/>
                  </a:lnTo>
                  <a:lnTo>
                    <a:pt x="10506" y="24328"/>
                  </a:lnTo>
                  <a:lnTo>
                    <a:pt x="9815" y="23914"/>
                  </a:lnTo>
                  <a:lnTo>
                    <a:pt x="9089" y="23533"/>
                  </a:lnTo>
                  <a:lnTo>
                    <a:pt x="7430" y="22704"/>
                  </a:lnTo>
                  <a:lnTo>
                    <a:pt x="6359" y="22151"/>
                  </a:lnTo>
                  <a:lnTo>
                    <a:pt x="5046" y="21425"/>
                  </a:lnTo>
                  <a:lnTo>
                    <a:pt x="3491" y="20527"/>
                  </a:lnTo>
                  <a:lnTo>
                    <a:pt x="1556" y="19387"/>
                  </a:lnTo>
                  <a:lnTo>
                    <a:pt x="1556" y="19387"/>
                  </a:lnTo>
                  <a:lnTo>
                    <a:pt x="1797" y="19663"/>
                  </a:lnTo>
                  <a:lnTo>
                    <a:pt x="2005" y="19940"/>
                  </a:lnTo>
                  <a:lnTo>
                    <a:pt x="2419" y="20527"/>
                  </a:lnTo>
                  <a:lnTo>
                    <a:pt x="2765" y="21184"/>
                  </a:lnTo>
                  <a:lnTo>
                    <a:pt x="3041" y="21840"/>
                  </a:lnTo>
                  <a:lnTo>
                    <a:pt x="3249" y="22531"/>
                  </a:lnTo>
                  <a:lnTo>
                    <a:pt x="3422" y="23257"/>
                  </a:lnTo>
                  <a:lnTo>
                    <a:pt x="3525" y="23983"/>
                  </a:lnTo>
                  <a:lnTo>
                    <a:pt x="3594" y="24708"/>
                  </a:lnTo>
                  <a:lnTo>
                    <a:pt x="3663" y="25399"/>
                  </a:lnTo>
                  <a:lnTo>
                    <a:pt x="3663" y="26125"/>
                  </a:lnTo>
                  <a:lnTo>
                    <a:pt x="3663" y="26816"/>
                  </a:lnTo>
                  <a:lnTo>
                    <a:pt x="3629" y="27473"/>
                  </a:lnTo>
                  <a:lnTo>
                    <a:pt x="3525" y="28682"/>
                  </a:lnTo>
                  <a:lnTo>
                    <a:pt x="3456" y="29719"/>
                  </a:lnTo>
                  <a:lnTo>
                    <a:pt x="3456" y="29719"/>
                  </a:lnTo>
                  <a:lnTo>
                    <a:pt x="3318" y="30756"/>
                  </a:lnTo>
                  <a:lnTo>
                    <a:pt x="3145" y="31723"/>
                  </a:lnTo>
                  <a:lnTo>
                    <a:pt x="2903" y="32691"/>
                  </a:lnTo>
                  <a:lnTo>
                    <a:pt x="2627" y="33624"/>
                  </a:lnTo>
                  <a:lnTo>
                    <a:pt x="2281" y="34488"/>
                  </a:lnTo>
                  <a:lnTo>
                    <a:pt x="1936" y="35283"/>
                  </a:lnTo>
                  <a:lnTo>
                    <a:pt x="1486" y="36043"/>
                  </a:lnTo>
                  <a:lnTo>
                    <a:pt x="1037" y="36769"/>
                  </a:lnTo>
                  <a:lnTo>
                    <a:pt x="1037" y="36769"/>
                  </a:lnTo>
                  <a:lnTo>
                    <a:pt x="1003" y="36838"/>
                  </a:lnTo>
                  <a:lnTo>
                    <a:pt x="1003" y="36838"/>
                  </a:lnTo>
                  <a:lnTo>
                    <a:pt x="968" y="36976"/>
                  </a:lnTo>
                  <a:lnTo>
                    <a:pt x="968" y="37114"/>
                  </a:lnTo>
                  <a:lnTo>
                    <a:pt x="1072" y="37218"/>
                  </a:lnTo>
                  <a:lnTo>
                    <a:pt x="1210" y="37356"/>
                  </a:lnTo>
                  <a:lnTo>
                    <a:pt x="1417" y="37460"/>
                  </a:lnTo>
                  <a:lnTo>
                    <a:pt x="1659" y="37563"/>
                  </a:lnTo>
                  <a:lnTo>
                    <a:pt x="2316" y="37702"/>
                  </a:lnTo>
                  <a:lnTo>
                    <a:pt x="3145" y="37840"/>
                  </a:lnTo>
                  <a:lnTo>
                    <a:pt x="4113" y="37943"/>
                  </a:lnTo>
                  <a:lnTo>
                    <a:pt x="5219" y="38013"/>
                  </a:lnTo>
                  <a:lnTo>
                    <a:pt x="6393" y="38047"/>
                  </a:lnTo>
                  <a:lnTo>
                    <a:pt x="6393" y="38047"/>
                  </a:lnTo>
                  <a:lnTo>
                    <a:pt x="8259" y="38013"/>
                  </a:lnTo>
                  <a:lnTo>
                    <a:pt x="10160" y="37978"/>
                  </a:lnTo>
                  <a:lnTo>
                    <a:pt x="12061" y="37874"/>
                  </a:lnTo>
                  <a:lnTo>
                    <a:pt x="13858" y="37702"/>
                  </a:lnTo>
                  <a:lnTo>
                    <a:pt x="15447" y="37529"/>
                  </a:lnTo>
                  <a:lnTo>
                    <a:pt x="16760" y="37321"/>
                  </a:lnTo>
                  <a:lnTo>
                    <a:pt x="17279" y="37183"/>
                  </a:lnTo>
                  <a:lnTo>
                    <a:pt x="17693" y="37080"/>
                  </a:lnTo>
                  <a:lnTo>
                    <a:pt x="18004" y="36941"/>
                  </a:lnTo>
                  <a:lnTo>
                    <a:pt x="18177" y="36803"/>
                  </a:lnTo>
                  <a:lnTo>
                    <a:pt x="18177" y="36803"/>
                  </a:lnTo>
                  <a:lnTo>
                    <a:pt x="18281" y="36630"/>
                  </a:lnTo>
                  <a:lnTo>
                    <a:pt x="18350" y="36423"/>
                  </a:lnTo>
                  <a:lnTo>
                    <a:pt x="18350" y="36423"/>
                  </a:lnTo>
                  <a:lnTo>
                    <a:pt x="18350" y="36181"/>
                  </a:lnTo>
                  <a:lnTo>
                    <a:pt x="18350" y="35939"/>
                  </a:lnTo>
                  <a:lnTo>
                    <a:pt x="18281" y="35352"/>
                  </a:lnTo>
                  <a:lnTo>
                    <a:pt x="18143" y="34626"/>
                  </a:lnTo>
                  <a:lnTo>
                    <a:pt x="17970" y="33831"/>
                  </a:lnTo>
                  <a:lnTo>
                    <a:pt x="17728" y="32967"/>
                  </a:lnTo>
                  <a:lnTo>
                    <a:pt x="17451" y="32069"/>
                  </a:lnTo>
                  <a:lnTo>
                    <a:pt x="16829" y="30168"/>
                  </a:lnTo>
                  <a:lnTo>
                    <a:pt x="16207" y="28337"/>
                  </a:lnTo>
                  <a:lnTo>
                    <a:pt x="15655" y="26643"/>
                  </a:lnTo>
                  <a:lnTo>
                    <a:pt x="15447" y="25952"/>
                  </a:lnTo>
                  <a:lnTo>
                    <a:pt x="15274" y="25330"/>
                  </a:lnTo>
                  <a:lnTo>
                    <a:pt x="15171" y="24847"/>
                  </a:lnTo>
                  <a:lnTo>
                    <a:pt x="15136" y="24501"/>
                  </a:lnTo>
                  <a:lnTo>
                    <a:pt x="15136" y="24501"/>
                  </a:lnTo>
                  <a:lnTo>
                    <a:pt x="15171" y="24225"/>
                  </a:lnTo>
                  <a:lnTo>
                    <a:pt x="15274" y="23948"/>
                  </a:lnTo>
                  <a:lnTo>
                    <a:pt x="15447" y="23706"/>
                  </a:lnTo>
                  <a:lnTo>
                    <a:pt x="15620" y="23464"/>
                  </a:lnTo>
                  <a:lnTo>
                    <a:pt x="15862" y="23257"/>
                  </a:lnTo>
                  <a:lnTo>
                    <a:pt x="16104" y="23015"/>
                  </a:lnTo>
                  <a:lnTo>
                    <a:pt x="16657" y="22635"/>
                  </a:lnTo>
                  <a:lnTo>
                    <a:pt x="17210" y="22255"/>
                  </a:lnTo>
                  <a:lnTo>
                    <a:pt x="17728" y="21840"/>
                  </a:lnTo>
                  <a:lnTo>
                    <a:pt x="17935" y="21667"/>
                  </a:lnTo>
                  <a:lnTo>
                    <a:pt x="18108" y="21460"/>
                  </a:lnTo>
                  <a:lnTo>
                    <a:pt x="18212" y="21253"/>
                  </a:lnTo>
                  <a:lnTo>
                    <a:pt x="18315" y="21011"/>
                  </a:lnTo>
                  <a:lnTo>
                    <a:pt x="18315" y="21011"/>
                  </a:lnTo>
                  <a:lnTo>
                    <a:pt x="18315" y="20769"/>
                  </a:lnTo>
                  <a:lnTo>
                    <a:pt x="18246" y="20492"/>
                  </a:lnTo>
                  <a:lnTo>
                    <a:pt x="18143" y="20147"/>
                  </a:lnTo>
                  <a:lnTo>
                    <a:pt x="17970" y="19801"/>
                  </a:lnTo>
                  <a:lnTo>
                    <a:pt x="17521" y="19041"/>
                  </a:lnTo>
                  <a:lnTo>
                    <a:pt x="17037" y="18281"/>
                  </a:lnTo>
                  <a:lnTo>
                    <a:pt x="16173" y="17071"/>
                  </a:lnTo>
                  <a:lnTo>
                    <a:pt x="15966" y="16760"/>
                  </a:lnTo>
                  <a:lnTo>
                    <a:pt x="15966" y="16691"/>
                  </a:lnTo>
                  <a:lnTo>
                    <a:pt x="16035" y="16726"/>
                  </a:lnTo>
                  <a:lnTo>
                    <a:pt x="16035" y="16726"/>
                  </a:lnTo>
                  <a:lnTo>
                    <a:pt x="16242" y="16795"/>
                  </a:lnTo>
                  <a:lnTo>
                    <a:pt x="16484" y="16864"/>
                  </a:lnTo>
                  <a:lnTo>
                    <a:pt x="16726" y="16933"/>
                  </a:lnTo>
                  <a:lnTo>
                    <a:pt x="17037" y="16968"/>
                  </a:lnTo>
                  <a:lnTo>
                    <a:pt x="17659" y="17002"/>
                  </a:lnTo>
                  <a:lnTo>
                    <a:pt x="18385" y="16968"/>
                  </a:lnTo>
                  <a:lnTo>
                    <a:pt x="19145" y="16864"/>
                  </a:lnTo>
                  <a:lnTo>
                    <a:pt x="19974" y="16726"/>
                  </a:lnTo>
                  <a:lnTo>
                    <a:pt x="20838" y="16553"/>
                  </a:lnTo>
                  <a:lnTo>
                    <a:pt x="21702" y="16346"/>
                  </a:lnTo>
                  <a:lnTo>
                    <a:pt x="22566" y="16104"/>
                  </a:lnTo>
                  <a:lnTo>
                    <a:pt x="23430" y="15827"/>
                  </a:lnTo>
                  <a:lnTo>
                    <a:pt x="24225" y="15551"/>
                  </a:lnTo>
                  <a:lnTo>
                    <a:pt x="24985" y="15274"/>
                  </a:lnTo>
                  <a:lnTo>
                    <a:pt x="25641" y="14963"/>
                  </a:lnTo>
                  <a:lnTo>
                    <a:pt x="26229" y="14687"/>
                  </a:lnTo>
                  <a:lnTo>
                    <a:pt x="26713" y="14411"/>
                  </a:lnTo>
                  <a:lnTo>
                    <a:pt x="27058" y="14134"/>
                  </a:lnTo>
                  <a:lnTo>
                    <a:pt x="27058" y="14134"/>
                  </a:lnTo>
                  <a:lnTo>
                    <a:pt x="27404" y="13789"/>
                  </a:lnTo>
                  <a:lnTo>
                    <a:pt x="27818" y="13270"/>
                  </a:lnTo>
                  <a:lnTo>
                    <a:pt x="28302" y="12614"/>
                  </a:lnTo>
                  <a:lnTo>
                    <a:pt x="28855" y="11819"/>
                  </a:lnTo>
                  <a:lnTo>
                    <a:pt x="30065" y="9953"/>
                  </a:lnTo>
                  <a:lnTo>
                    <a:pt x="31274" y="7914"/>
                  </a:lnTo>
                  <a:lnTo>
                    <a:pt x="32449" y="5944"/>
                  </a:lnTo>
                  <a:lnTo>
                    <a:pt x="33451" y="4216"/>
                  </a:lnTo>
                  <a:lnTo>
                    <a:pt x="34419" y="2454"/>
                  </a:lnTo>
                  <a:lnTo>
                    <a:pt x="34419" y="2454"/>
                  </a:lnTo>
                  <a:lnTo>
                    <a:pt x="34453" y="2281"/>
                  </a:lnTo>
                  <a:lnTo>
                    <a:pt x="34419" y="2108"/>
                  </a:lnTo>
                  <a:lnTo>
                    <a:pt x="34280" y="1867"/>
                  </a:lnTo>
                  <a:lnTo>
                    <a:pt x="34108" y="1659"/>
                  </a:lnTo>
                  <a:lnTo>
                    <a:pt x="33900" y="1417"/>
                  </a:lnTo>
                  <a:lnTo>
                    <a:pt x="33658" y="1175"/>
                  </a:lnTo>
                  <a:lnTo>
                    <a:pt x="33382" y="934"/>
                  </a:lnTo>
                  <a:lnTo>
                    <a:pt x="33071" y="692"/>
                  </a:lnTo>
                  <a:lnTo>
                    <a:pt x="32760" y="484"/>
                  </a:lnTo>
                  <a:lnTo>
                    <a:pt x="32449" y="312"/>
                  </a:lnTo>
                  <a:lnTo>
                    <a:pt x="32173" y="173"/>
                  </a:lnTo>
                  <a:lnTo>
                    <a:pt x="31861" y="70"/>
                  </a:lnTo>
                  <a:lnTo>
                    <a:pt x="31620" y="1"/>
                  </a:lnTo>
                  <a:lnTo>
                    <a:pt x="31412" y="35"/>
                  </a:lnTo>
                  <a:lnTo>
                    <a:pt x="31309" y="35"/>
                  </a:lnTo>
                  <a:lnTo>
                    <a:pt x="31205" y="104"/>
                  </a:lnTo>
                  <a:lnTo>
                    <a:pt x="31136" y="173"/>
                  </a:lnTo>
                  <a:lnTo>
                    <a:pt x="31101" y="242"/>
                  </a:lnTo>
                  <a:lnTo>
                    <a:pt x="31101" y="242"/>
                  </a:lnTo>
                  <a:lnTo>
                    <a:pt x="30721" y="934"/>
                  </a:lnTo>
                  <a:lnTo>
                    <a:pt x="29961" y="2247"/>
                  </a:lnTo>
                  <a:lnTo>
                    <a:pt x="28959" y="3940"/>
                  </a:lnTo>
                  <a:lnTo>
                    <a:pt x="27749" y="5806"/>
                  </a:lnTo>
                  <a:lnTo>
                    <a:pt x="27093" y="6774"/>
                  </a:lnTo>
                  <a:lnTo>
                    <a:pt x="26471" y="7707"/>
                  </a:lnTo>
                  <a:lnTo>
                    <a:pt x="25849" y="8570"/>
                  </a:lnTo>
                  <a:lnTo>
                    <a:pt x="25227" y="9365"/>
                  </a:lnTo>
                  <a:lnTo>
                    <a:pt x="24639" y="10056"/>
                  </a:lnTo>
                  <a:lnTo>
                    <a:pt x="24086" y="10644"/>
                  </a:lnTo>
                  <a:lnTo>
                    <a:pt x="23810" y="10851"/>
                  </a:lnTo>
                  <a:lnTo>
                    <a:pt x="23568" y="11059"/>
                  </a:lnTo>
                  <a:lnTo>
                    <a:pt x="23361" y="11197"/>
                  </a:lnTo>
                  <a:lnTo>
                    <a:pt x="23153" y="11300"/>
                  </a:lnTo>
                  <a:lnTo>
                    <a:pt x="23153" y="11300"/>
                  </a:lnTo>
                  <a:lnTo>
                    <a:pt x="22773" y="11370"/>
                  </a:lnTo>
                  <a:lnTo>
                    <a:pt x="22255" y="11439"/>
                  </a:lnTo>
                  <a:lnTo>
                    <a:pt x="21633" y="11439"/>
                  </a:lnTo>
                  <a:lnTo>
                    <a:pt x="20942" y="11404"/>
                  </a:lnTo>
                  <a:lnTo>
                    <a:pt x="20216" y="11335"/>
                  </a:lnTo>
                  <a:lnTo>
                    <a:pt x="19387" y="11231"/>
                  </a:lnTo>
                  <a:lnTo>
                    <a:pt x="18523" y="11093"/>
                  </a:lnTo>
                  <a:lnTo>
                    <a:pt x="17624" y="10920"/>
                  </a:lnTo>
                  <a:lnTo>
                    <a:pt x="16726" y="10748"/>
                  </a:lnTo>
                  <a:lnTo>
                    <a:pt x="15827" y="10540"/>
                  </a:lnTo>
                  <a:lnTo>
                    <a:pt x="14929" y="10298"/>
                  </a:lnTo>
                  <a:lnTo>
                    <a:pt x="14065" y="10022"/>
                  </a:lnTo>
                  <a:lnTo>
                    <a:pt x="13236" y="9780"/>
                  </a:lnTo>
                  <a:lnTo>
                    <a:pt x="12441" y="9504"/>
                  </a:lnTo>
                  <a:lnTo>
                    <a:pt x="11750" y="9193"/>
                  </a:lnTo>
                  <a:lnTo>
                    <a:pt x="11093" y="8916"/>
                  </a:lnTo>
                  <a:lnTo>
                    <a:pt x="11093" y="8916"/>
                  </a:lnTo>
                  <a:lnTo>
                    <a:pt x="10609" y="8847"/>
                  </a:lnTo>
                  <a:lnTo>
                    <a:pt x="9434" y="8709"/>
                  </a:lnTo>
                  <a:lnTo>
                    <a:pt x="8709" y="8640"/>
                  </a:lnTo>
                  <a:lnTo>
                    <a:pt x="7983" y="8570"/>
                  </a:lnTo>
                  <a:lnTo>
                    <a:pt x="7292" y="8570"/>
                  </a:lnTo>
                  <a:lnTo>
                    <a:pt x="6704" y="8570"/>
                  </a:lnTo>
                  <a:lnTo>
                    <a:pt x="6704" y="8570"/>
                  </a:lnTo>
                  <a:lnTo>
                    <a:pt x="6393" y="8640"/>
                  </a:lnTo>
                  <a:lnTo>
                    <a:pt x="6048" y="8743"/>
                  </a:lnTo>
                  <a:lnTo>
                    <a:pt x="5668" y="8916"/>
                  </a:lnTo>
                  <a:lnTo>
                    <a:pt x="5253" y="9123"/>
                  </a:lnTo>
                  <a:lnTo>
                    <a:pt x="4355" y="9676"/>
                  </a:lnTo>
                  <a:lnTo>
                    <a:pt x="3387" y="10298"/>
                  </a:lnTo>
                  <a:lnTo>
                    <a:pt x="2489" y="10989"/>
                  </a:lnTo>
                  <a:lnTo>
                    <a:pt x="1625" y="11715"/>
                  </a:lnTo>
                  <a:lnTo>
                    <a:pt x="934" y="12337"/>
                  </a:lnTo>
                  <a:lnTo>
                    <a:pt x="657" y="12648"/>
                  </a:lnTo>
                  <a:lnTo>
                    <a:pt x="415" y="12890"/>
                  </a:lnTo>
                  <a:lnTo>
                    <a:pt x="415" y="12890"/>
                  </a:lnTo>
                  <a:lnTo>
                    <a:pt x="346" y="13063"/>
                  </a:lnTo>
                  <a:lnTo>
                    <a:pt x="242" y="13236"/>
                  </a:lnTo>
                  <a:lnTo>
                    <a:pt x="104" y="13616"/>
                  </a:lnTo>
                  <a:lnTo>
                    <a:pt x="35" y="14134"/>
                  </a:lnTo>
                  <a:lnTo>
                    <a:pt x="1" y="14687"/>
                  </a:lnTo>
                  <a:lnTo>
                    <a:pt x="1" y="15344"/>
                  </a:lnTo>
                  <a:lnTo>
                    <a:pt x="35" y="16035"/>
                  </a:lnTo>
                  <a:lnTo>
                    <a:pt x="139" y="16795"/>
                  </a:lnTo>
                  <a:lnTo>
                    <a:pt x="242" y="17590"/>
                  </a:lnTo>
                  <a:lnTo>
                    <a:pt x="381" y="18419"/>
                  </a:lnTo>
                  <a:lnTo>
                    <a:pt x="553" y="19283"/>
                  </a:lnTo>
                  <a:lnTo>
                    <a:pt x="968" y="21045"/>
                  </a:lnTo>
                  <a:lnTo>
                    <a:pt x="1452" y="22877"/>
                  </a:lnTo>
                  <a:lnTo>
                    <a:pt x="1936" y="24639"/>
                  </a:lnTo>
                  <a:lnTo>
                    <a:pt x="1936" y="24639"/>
                  </a:lnTo>
                  <a:lnTo>
                    <a:pt x="2005" y="24777"/>
                  </a:lnTo>
                  <a:lnTo>
                    <a:pt x="2108" y="24916"/>
                  </a:lnTo>
                  <a:lnTo>
                    <a:pt x="2350" y="25192"/>
                  </a:lnTo>
                  <a:lnTo>
                    <a:pt x="2730" y="25503"/>
                  </a:lnTo>
                  <a:lnTo>
                    <a:pt x="3214" y="25814"/>
                  </a:lnTo>
                  <a:lnTo>
                    <a:pt x="3802" y="26160"/>
                  </a:lnTo>
                  <a:lnTo>
                    <a:pt x="4458" y="26505"/>
                  </a:lnTo>
                  <a:lnTo>
                    <a:pt x="5219" y="26851"/>
                  </a:lnTo>
                  <a:lnTo>
                    <a:pt x="6048" y="27231"/>
                  </a:lnTo>
                  <a:lnTo>
                    <a:pt x="7879" y="27957"/>
                  </a:lnTo>
                  <a:lnTo>
                    <a:pt x="9884" y="28751"/>
                  </a:lnTo>
                  <a:lnTo>
                    <a:pt x="12061" y="29512"/>
                  </a:lnTo>
                  <a:lnTo>
                    <a:pt x="14272" y="30272"/>
                  </a:lnTo>
                  <a:lnTo>
                    <a:pt x="18626" y="31689"/>
                  </a:lnTo>
                  <a:lnTo>
                    <a:pt x="22462" y="32898"/>
                  </a:lnTo>
                  <a:lnTo>
                    <a:pt x="25227" y="33762"/>
                  </a:lnTo>
                  <a:lnTo>
                    <a:pt x="26056" y="34039"/>
                  </a:lnTo>
                  <a:lnTo>
                    <a:pt x="26402" y="3421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6" name="Google Shape;1596;p16"/>
            <p:cNvSpPr/>
            <p:nvPr/>
          </p:nvSpPr>
          <p:spPr>
            <a:xfrm>
              <a:off x="1210475" y="2415175"/>
              <a:ext cx="134800" cy="251425"/>
            </a:xfrm>
            <a:custGeom>
              <a:avLst/>
              <a:gdLst/>
              <a:ahLst/>
              <a:cxnLst/>
              <a:rect l="l" t="t" r="r" b="b"/>
              <a:pathLst>
                <a:path w="5392" h="10057" extrusionOk="0">
                  <a:moveTo>
                    <a:pt x="3733" y="0"/>
                  </a:moveTo>
                  <a:lnTo>
                    <a:pt x="3629" y="35"/>
                  </a:lnTo>
                  <a:lnTo>
                    <a:pt x="3526" y="104"/>
                  </a:lnTo>
                  <a:lnTo>
                    <a:pt x="3422" y="207"/>
                  </a:lnTo>
                  <a:lnTo>
                    <a:pt x="3318" y="346"/>
                  </a:lnTo>
                  <a:lnTo>
                    <a:pt x="3076" y="760"/>
                  </a:lnTo>
                  <a:lnTo>
                    <a:pt x="2593" y="1797"/>
                  </a:lnTo>
                  <a:lnTo>
                    <a:pt x="2074" y="2799"/>
                  </a:lnTo>
                  <a:lnTo>
                    <a:pt x="1072" y="4665"/>
                  </a:lnTo>
                  <a:lnTo>
                    <a:pt x="1" y="6600"/>
                  </a:lnTo>
                  <a:lnTo>
                    <a:pt x="105" y="6808"/>
                  </a:lnTo>
                  <a:lnTo>
                    <a:pt x="346" y="7257"/>
                  </a:lnTo>
                  <a:lnTo>
                    <a:pt x="554" y="7568"/>
                  </a:lnTo>
                  <a:lnTo>
                    <a:pt x="796" y="7844"/>
                  </a:lnTo>
                  <a:lnTo>
                    <a:pt x="1038" y="8155"/>
                  </a:lnTo>
                  <a:lnTo>
                    <a:pt x="1349" y="8397"/>
                  </a:lnTo>
                  <a:lnTo>
                    <a:pt x="1729" y="8639"/>
                  </a:lnTo>
                  <a:lnTo>
                    <a:pt x="2212" y="8916"/>
                  </a:lnTo>
                  <a:lnTo>
                    <a:pt x="3318" y="9469"/>
                  </a:lnTo>
                  <a:lnTo>
                    <a:pt x="4355" y="9883"/>
                  </a:lnTo>
                  <a:lnTo>
                    <a:pt x="4701" y="10021"/>
                  </a:lnTo>
                  <a:lnTo>
                    <a:pt x="4942" y="10056"/>
                  </a:lnTo>
                  <a:lnTo>
                    <a:pt x="5081" y="10056"/>
                  </a:lnTo>
                  <a:lnTo>
                    <a:pt x="5184" y="9987"/>
                  </a:lnTo>
                  <a:lnTo>
                    <a:pt x="5288" y="9918"/>
                  </a:lnTo>
                  <a:lnTo>
                    <a:pt x="5323" y="9814"/>
                  </a:lnTo>
                  <a:lnTo>
                    <a:pt x="5357" y="9676"/>
                  </a:lnTo>
                  <a:lnTo>
                    <a:pt x="5392" y="9503"/>
                  </a:lnTo>
                  <a:lnTo>
                    <a:pt x="5357" y="9158"/>
                  </a:lnTo>
                  <a:lnTo>
                    <a:pt x="5288" y="8777"/>
                  </a:lnTo>
                  <a:lnTo>
                    <a:pt x="5184" y="8363"/>
                  </a:lnTo>
                  <a:lnTo>
                    <a:pt x="5046" y="8017"/>
                  </a:lnTo>
                  <a:lnTo>
                    <a:pt x="4873" y="7706"/>
                  </a:lnTo>
                  <a:lnTo>
                    <a:pt x="4735" y="7395"/>
                  </a:lnTo>
                  <a:lnTo>
                    <a:pt x="4631" y="7050"/>
                  </a:lnTo>
                  <a:lnTo>
                    <a:pt x="4562" y="6635"/>
                  </a:lnTo>
                  <a:lnTo>
                    <a:pt x="4528" y="6117"/>
                  </a:lnTo>
                  <a:lnTo>
                    <a:pt x="4528" y="5529"/>
                  </a:lnTo>
                  <a:lnTo>
                    <a:pt x="4597" y="4873"/>
                  </a:lnTo>
                  <a:lnTo>
                    <a:pt x="4701" y="4078"/>
                  </a:lnTo>
                  <a:lnTo>
                    <a:pt x="4873" y="3214"/>
                  </a:lnTo>
                  <a:lnTo>
                    <a:pt x="4770" y="2454"/>
                  </a:lnTo>
                  <a:lnTo>
                    <a:pt x="4666" y="1728"/>
                  </a:lnTo>
                  <a:lnTo>
                    <a:pt x="4459" y="1002"/>
                  </a:lnTo>
                  <a:lnTo>
                    <a:pt x="4355" y="657"/>
                  </a:lnTo>
                  <a:lnTo>
                    <a:pt x="4217" y="380"/>
                  </a:lnTo>
                  <a:lnTo>
                    <a:pt x="4079" y="173"/>
                  </a:lnTo>
                  <a:lnTo>
                    <a:pt x="3975" y="69"/>
                  </a:lnTo>
                  <a:lnTo>
                    <a:pt x="3906" y="35"/>
                  </a:lnTo>
                  <a:lnTo>
                    <a:pt x="3802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7" name="Google Shape;1597;p16"/>
            <p:cNvSpPr/>
            <p:nvPr/>
          </p:nvSpPr>
          <p:spPr>
            <a:xfrm>
              <a:off x="1210475" y="2415175"/>
              <a:ext cx="134800" cy="251425"/>
            </a:xfrm>
            <a:custGeom>
              <a:avLst/>
              <a:gdLst/>
              <a:ahLst/>
              <a:cxnLst/>
              <a:rect l="l" t="t" r="r" b="b"/>
              <a:pathLst>
                <a:path w="5392" h="10057" fill="none" extrusionOk="0">
                  <a:moveTo>
                    <a:pt x="4873" y="3214"/>
                  </a:moveTo>
                  <a:lnTo>
                    <a:pt x="4873" y="3214"/>
                  </a:lnTo>
                  <a:lnTo>
                    <a:pt x="4701" y="4078"/>
                  </a:lnTo>
                  <a:lnTo>
                    <a:pt x="4597" y="4873"/>
                  </a:lnTo>
                  <a:lnTo>
                    <a:pt x="4528" y="5529"/>
                  </a:lnTo>
                  <a:lnTo>
                    <a:pt x="4528" y="6117"/>
                  </a:lnTo>
                  <a:lnTo>
                    <a:pt x="4562" y="6635"/>
                  </a:lnTo>
                  <a:lnTo>
                    <a:pt x="4631" y="7050"/>
                  </a:lnTo>
                  <a:lnTo>
                    <a:pt x="4735" y="7395"/>
                  </a:lnTo>
                  <a:lnTo>
                    <a:pt x="4873" y="7706"/>
                  </a:lnTo>
                  <a:lnTo>
                    <a:pt x="4873" y="7706"/>
                  </a:lnTo>
                  <a:lnTo>
                    <a:pt x="5046" y="8017"/>
                  </a:lnTo>
                  <a:lnTo>
                    <a:pt x="5184" y="8363"/>
                  </a:lnTo>
                  <a:lnTo>
                    <a:pt x="5288" y="8777"/>
                  </a:lnTo>
                  <a:lnTo>
                    <a:pt x="5357" y="9158"/>
                  </a:lnTo>
                  <a:lnTo>
                    <a:pt x="5392" y="9503"/>
                  </a:lnTo>
                  <a:lnTo>
                    <a:pt x="5357" y="9676"/>
                  </a:lnTo>
                  <a:lnTo>
                    <a:pt x="5323" y="9814"/>
                  </a:lnTo>
                  <a:lnTo>
                    <a:pt x="5288" y="9918"/>
                  </a:lnTo>
                  <a:lnTo>
                    <a:pt x="5184" y="9987"/>
                  </a:lnTo>
                  <a:lnTo>
                    <a:pt x="5081" y="10056"/>
                  </a:lnTo>
                  <a:lnTo>
                    <a:pt x="4942" y="10056"/>
                  </a:lnTo>
                  <a:lnTo>
                    <a:pt x="4942" y="10056"/>
                  </a:lnTo>
                  <a:lnTo>
                    <a:pt x="4701" y="10021"/>
                  </a:lnTo>
                  <a:lnTo>
                    <a:pt x="4355" y="9883"/>
                  </a:lnTo>
                  <a:lnTo>
                    <a:pt x="3318" y="9469"/>
                  </a:lnTo>
                  <a:lnTo>
                    <a:pt x="2212" y="8916"/>
                  </a:lnTo>
                  <a:lnTo>
                    <a:pt x="1729" y="8639"/>
                  </a:lnTo>
                  <a:lnTo>
                    <a:pt x="1349" y="8397"/>
                  </a:lnTo>
                  <a:lnTo>
                    <a:pt x="1349" y="8397"/>
                  </a:lnTo>
                  <a:lnTo>
                    <a:pt x="1038" y="8155"/>
                  </a:lnTo>
                  <a:lnTo>
                    <a:pt x="796" y="7844"/>
                  </a:lnTo>
                  <a:lnTo>
                    <a:pt x="554" y="7568"/>
                  </a:lnTo>
                  <a:lnTo>
                    <a:pt x="346" y="7257"/>
                  </a:lnTo>
                  <a:lnTo>
                    <a:pt x="105" y="6808"/>
                  </a:lnTo>
                  <a:lnTo>
                    <a:pt x="1" y="6600"/>
                  </a:lnTo>
                  <a:lnTo>
                    <a:pt x="1" y="6600"/>
                  </a:lnTo>
                  <a:lnTo>
                    <a:pt x="1072" y="4665"/>
                  </a:lnTo>
                  <a:lnTo>
                    <a:pt x="2074" y="2799"/>
                  </a:lnTo>
                  <a:lnTo>
                    <a:pt x="2593" y="1797"/>
                  </a:lnTo>
                  <a:lnTo>
                    <a:pt x="3076" y="760"/>
                  </a:lnTo>
                  <a:lnTo>
                    <a:pt x="3076" y="760"/>
                  </a:lnTo>
                  <a:lnTo>
                    <a:pt x="3318" y="346"/>
                  </a:lnTo>
                  <a:lnTo>
                    <a:pt x="3422" y="207"/>
                  </a:lnTo>
                  <a:lnTo>
                    <a:pt x="3526" y="104"/>
                  </a:lnTo>
                  <a:lnTo>
                    <a:pt x="3629" y="35"/>
                  </a:lnTo>
                  <a:lnTo>
                    <a:pt x="3733" y="0"/>
                  </a:lnTo>
                  <a:lnTo>
                    <a:pt x="3802" y="0"/>
                  </a:lnTo>
                  <a:lnTo>
                    <a:pt x="3906" y="35"/>
                  </a:lnTo>
                  <a:lnTo>
                    <a:pt x="3975" y="69"/>
                  </a:lnTo>
                  <a:lnTo>
                    <a:pt x="4079" y="173"/>
                  </a:lnTo>
                  <a:lnTo>
                    <a:pt x="4217" y="380"/>
                  </a:lnTo>
                  <a:lnTo>
                    <a:pt x="4355" y="657"/>
                  </a:lnTo>
                  <a:lnTo>
                    <a:pt x="4459" y="1002"/>
                  </a:lnTo>
                  <a:lnTo>
                    <a:pt x="4666" y="1728"/>
                  </a:lnTo>
                  <a:lnTo>
                    <a:pt x="4770" y="2454"/>
                  </a:lnTo>
                  <a:lnTo>
                    <a:pt x="4873" y="321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8" name="Google Shape;1598;p16"/>
            <p:cNvSpPr/>
            <p:nvPr/>
          </p:nvSpPr>
          <p:spPr>
            <a:xfrm>
              <a:off x="1323650" y="2495500"/>
              <a:ext cx="8675" cy="58775"/>
            </a:xfrm>
            <a:custGeom>
              <a:avLst/>
              <a:gdLst/>
              <a:ahLst/>
              <a:cxnLst/>
              <a:rect l="l" t="t" r="r" b="b"/>
              <a:pathLst>
                <a:path w="347" h="2351" extrusionOk="0">
                  <a:moveTo>
                    <a:pt x="346" y="1"/>
                  </a:moveTo>
                  <a:lnTo>
                    <a:pt x="208" y="657"/>
                  </a:lnTo>
                  <a:lnTo>
                    <a:pt x="150" y="1176"/>
                  </a:lnTo>
                  <a:lnTo>
                    <a:pt x="346" y="1"/>
                  </a:lnTo>
                  <a:close/>
                  <a:moveTo>
                    <a:pt x="150" y="1176"/>
                  </a:moveTo>
                  <a:lnTo>
                    <a:pt x="139" y="1245"/>
                  </a:lnTo>
                  <a:lnTo>
                    <a:pt x="70" y="1832"/>
                  </a:lnTo>
                  <a:lnTo>
                    <a:pt x="70" y="1832"/>
                  </a:lnTo>
                  <a:lnTo>
                    <a:pt x="139" y="1279"/>
                  </a:lnTo>
                  <a:lnTo>
                    <a:pt x="150" y="1176"/>
                  </a:lnTo>
                  <a:close/>
                  <a:moveTo>
                    <a:pt x="70" y="1832"/>
                  </a:moveTo>
                  <a:lnTo>
                    <a:pt x="1" y="2351"/>
                  </a:lnTo>
                  <a:lnTo>
                    <a:pt x="35" y="2351"/>
                  </a:lnTo>
                  <a:lnTo>
                    <a:pt x="70" y="1832"/>
                  </a:lnTo>
                  <a:close/>
                </a:path>
              </a:pathLst>
            </a:custGeom>
            <a:solidFill>
              <a:srgbClr val="C1C1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9" name="Google Shape;1599;p16"/>
            <p:cNvSpPr/>
            <p:nvPr/>
          </p:nvSpPr>
          <p:spPr>
            <a:xfrm>
              <a:off x="1323650" y="2495500"/>
              <a:ext cx="8675" cy="58775"/>
            </a:xfrm>
            <a:custGeom>
              <a:avLst/>
              <a:gdLst/>
              <a:ahLst/>
              <a:cxnLst/>
              <a:rect l="l" t="t" r="r" b="b"/>
              <a:pathLst>
                <a:path w="347" h="2351" fill="none" extrusionOk="0">
                  <a:moveTo>
                    <a:pt x="346" y="1"/>
                  </a:moveTo>
                  <a:lnTo>
                    <a:pt x="346" y="1"/>
                  </a:lnTo>
                  <a:lnTo>
                    <a:pt x="208" y="657"/>
                  </a:lnTo>
                  <a:lnTo>
                    <a:pt x="139" y="1279"/>
                  </a:lnTo>
                  <a:lnTo>
                    <a:pt x="70" y="1832"/>
                  </a:lnTo>
                  <a:lnTo>
                    <a:pt x="1" y="2351"/>
                  </a:lnTo>
                  <a:lnTo>
                    <a:pt x="1" y="2351"/>
                  </a:lnTo>
                  <a:lnTo>
                    <a:pt x="35" y="2351"/>
                  </a:lnTo>
                  <a:lnTo>
                    <a:pt x="35" y="2351"/>
                  </a:lnTo>
                  <a:lnTo>
                    <a:pt x="70" y="1832"/>
                  </a:lnTo>
                  <a:lnTo>
                    <a:pt x="139" y="1245"/>
                  </a:lnTo>
                  <a:lnTo>
                    <a:pt x="139" y="1245"/>
                  </a:lnTo>
                  <a:lnTo>
                    <a:pt x="34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00" name="Google Shape;1600;p16"/>
            <p:cNvSpPr/>
            <p:nvPr/>
          </p:nvSpPr>
          <p:spPr>
            <a:xfrm>
              <a:off x="1283050" y="2479100"/>
              <a:ext cx="49275" cy="75175"/>
            </a:xfrm>
            <a:custGeom>
              <a:avLst/>
              <a:gdLst/>
              <a:ahLst/>
              <a:cxnLst/>
              <a:rect l="l" t="t" r="r" b="b"/>
              <a:pathLst>
                <a:path w="1971" h="3007" extrusionOk="0">
                  <a:moveTo>
                    <a:pt x="553" y="0"/>
                  </a:moveTo>
                  <a:lnTo>
                    <a:pt x="415" y="35"/>
                  </a:lnTo>
                  <a:lnTo>
                    <a:pt x="312" y="139"/>
                  </a:lnTo>
                  <a:lnTo>
                    <a:pt x="208" y="311"/>
                  </a:lnTo>
                  <a:lnTo>
                    <a:pt x="104" y="519"/>
                  </a:lnTo>
                  <a:lnTo>
                    <a:pt x="35" y="726"/>
                  </a:lnTo>
                  <a:lnTo>
                    <a:pt x="1" y="968"/>
                  </a:lnTo>
                  <a:lnTo>
                    <a:pt x="1" y="1210"/>
                  </a:lnTo>
                  <a:lnTo>
                    <a:pt x="35" y="1417"/>
                  </a:lnTo>
                  <a:lnTo>
                    <a:pt x="242" y="1694"/>
                  </a:lnTo>
                  <a:lnTo>
                    <a:pt x="588" y="2143"/>
                  </a:lnTo>
                  <a:lnTo>
                    <a:pt x="830" y="2385"/>
                  </a:lnTo>
                  <a:lnTo>
                    <a:pt x="1072" y="2627"/>
                  </a:lnTo>
                  <a:lnTo>
                    <a:pt x="1348" y="2834"/>
                  </a:lnTo>
                  <a:lnTo>
                    <a:pt x="1625" y="3007"/>
                  </a:lnTo>
                  <a:lnTo>
                    <a:pt x="1694" y="2488"/>
                  </a:lnTo>
                  <a:lnTo>
                    <a:pt x="1763" y="1935"/>
                  </a:lnTo>
                  <a:lnTo>
                    <a:pt x="1832" y="1313"/>
                  </a:lnTo>
                  <a:lnTo>
                    <a:pt x="1970" y="657"/>
                  </a:lnTo>
                  <a:lnTo>
                    <a:pt x="1728" y="450"/>
                  </a:lnTo>
                  <a:lnTo>
                    <a:pt x="1590" y="346"/>
                  </a:lnTo>
                  <a:lnTo>
                    <a:pt x="1452" y="311"/>
                  </a:lnTo>
                  <a:lnTo>
                    <a:pt x="1072" y="277"/>
                  </a:lnTo>
                  <a:lnTo>
                    <a:pt x="865" y="208"/>
                  </a:lnTo>
                  <a:lnTo>
                    <a:pt x="761" y="173"/>
                  </a:lnTo>
                  <a:lnTo>
                    <a:pt x="692" y="104"/>
                  </a:lnTo>
                  <a:lnTo>
                    <a:pt x="623" y="35"/>
                  </a:lnTo>
                  <a:lnTo>
                    <a:pt x="553" y="0"/>
                  </a:lnTo>
                  <a:close/>
                </a:path>
              </a:pathLst>
            </a:custGeom>
            <a:solidFill>
              <a:srgbClr val="6C322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01" name="Google Shape;1601;p16"/>
            <p:cNvSpPr/>
            <p:nvPr/>
          </p:nvSpPr>
          <p:spPr>
            <a:xfrm>
              <a:off x="1283050" y="2479100"/>
              <a:ext cx="49275" cy="75175"/>
            </a:xfrm>
            <a:custGeom>
              <a:avLst/>
              <a:gdLst/>
              <a:ahLst/>
              <a:cxnLst/>
              <a:rect l="l" t="t" r="r" b="b"/>
              <a:pathLst>
                <a:path w="1971" h="3007" fill="none" extrusionOk="0">
                  <a:moveTo>
                    <a:pt x="553" y="0"/>
                  </a:moveTo>
                  <a:lnTo>
                    <a:pt x="553" y="0"/>
                  </a:lnTo>
                  <a:lnTo>
                    <a:pt x="415" y="35"/>
                  </a:lnTo>
                  <a:lnTo>
                    <a:pt x="312" y="139"/>
                  </a:lnTo>
                  <a:lnTo>
                    <a:pt x="208" y="311"/>
                  </a:lnTo>
                  <a:lnTo>
                    <a:pt x="104" y="519"/>
                  </a:lnTo>
                  <a:lnTo>
                    <a:pt x="35" y="726"/>
                  </a:lnTo>
                  <a:lnTo>
                    <a:pt x="1" y="968"/>
                  </a:lnTo>
                  <a:lnTo>
                    <a:pt x="1" y="1210"/>
                  </a:lnTo>
                  <a:lnTo>
                    <a:pt x="35" y="1417"/>
                  </a:lnTo>
                  <a:lnTo>
                    <a:pt x="35" y="1417"/>
                  </a:lnTo>
                  <a:lnTo>
                    <a:pt x="242" y="1694"/>
                  </a:lnTo>
                  <a:lnTo>
                    <a:pt x="588" y="2143"/>
                  </a:lnTo>
                  <a:lnTo>
                    <a:pt x="830" y="2385"/>
                  </a:lnTo>
                  <a:lnTo>
                    <a:pt x="1072" y="2627"/>
                  </a:lnTo>
                  <a:lnTo>
                    <a:pt x="1348" y="2834"/>
                  </a:lnTo>
                  <a:lnTo>
                    <a:pt x="1625" y="3007"/>
                  </a:lnTo>
                  <a:lnTo>
                    <a:pt x="1625" y="3007"/>
                  </a:lnTo>
                  <a:lnTo>
                    <a:pt x="1694" y="2488"/>
                  </a:lnTo>
                  <a:lnTo>
                    <a:pt x="1763" y="1935"/>
                  </a:lnTo>
                  <a:lnTo>
                    <a:pt x="1832" y="1313"/>
                  </a:lnTo>
                  <a:lnTo>
                    <a:pt x="1970" y="657"/>
                  </a:lnTo>
                  <a:lnTo>
                    <a:pt x="1970" y="657"/>
                  </a:lnTo>
                  <a:lnTo>
                    <a:pt x="1970" y="657"/>
                  </a:lnTo>
                  <a:lnTo>
                    <a:pt x="1970" y="657"/>
                  </a:lnTo>
                  <a:lnTo>
                    <a:pt x="1728" y="450"/>
                  </a:lnTo>
                  <a:lnTo>
                    <a:pt x="1590" y="346"/>
                  </a:lnTo>
                  <a:lnTo>
                    <a:pt x="1452" y="311"/>
                  </a:lnTo>
                  <a:lnTo>
                    <a:pt x="1452" y="311"/>
                  </a:lnTo>
                  <a:lnTo>
                    <a:pt x="1072" y="277"/>
                  </a:lnTo>
                  <a:lnTo>
                    <a:pt x="865" y="208"/>
                  </a:lnTo>
                  <a:lnTo>
                    <a:pt x="761" y="173"/>
                  </a:lnTo>
                  <a:lnTo>
                    <a:pt x="692" y="104"/>
                  </a:lnTo>
                  <a:lnTo>
                    <a:pt x="692" y="104"/>
                  </a:lnTo>
                  <a:lnTo>
                    <a:pt x="623" y="35"/>
                  </a:lnTo>
                  <a:lnTo>
                    <a:pt x="55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02" name="Google Shape;1602;p16"/>
            <p:cNvSpPr/>
            <p:nvPr/>
          </p:nvSpPr>
          <p:spPr>
            <a:xfrm>
              <a:off x="1243300" y="2803925"/>
              <a:ext cx="171950" cy="188350"/>
            </a:xfrm>
            <a:custGeom>
              <a:avLst/>
              <a:gdLst/>
              <a:ahLst/>
              <a:cxnLst/>
              <a:rect l="l" t="t" r="r" b="b"/>
              <a:pathLst>
                <a:path w="6878" h="7534" extrusionOk="0">
                  <a:moveTo>
                    <a:pt x="312" y="1"/>
                  </a:moveTo>
                  <a:lnTo>
                    <a:pt x="105" y="968"/>
                  </a:lnTo>
                  <a:lnTo>
                    <a:pt x="1" y="1763"/>
                  </a:lnTo>
                  <a:lnTo>
                    <a:pt x="1" y="2385"/>
                  </a:lnTo>
                  <a:lnTo>
                    <a:pt x="36" y="2903"/>
                  </a:lnTo>
                  <a:lnTo>
                    <a:pt x="139" y="3283"/>
                  </a:lnTo>
                  <a:lnTo>
                    <a:pt x="243" y="3629"/>
                  </a:lnTo>
                  <a:lnTo>
                    <a:pt x="381" y="3871"/>
                  </a:lnTo>
                  <a:lnTo>
                    <a:pt x="485" y="4078"/>
                  </a:lnTo>
                  <a:lnTo>
                    <a:pt x="588" y="4182"/>
                  </a:lnTo>
                  <a:lnTo>
                    <a:pt x="761" y="4320"/>
                  </a:lnTo>
                  <a:lnTo>
                    <a:pt x="1314" y="4700"/>
                  </a:lnTo>
                  <a:lnTo>
                    <a:pt x="2109" y="5149"/>
                  </a:lnTo>
                  <a:lnTo>
                    <a:pt x="3007" y="5668"/>
                  </a:lnTo>
                  <a:lnTo>
                    <a:pt x="5046" y="6670"/>
                  </a:lnTo>
                  <a:lnTo>
                    <a:pt x="6878" y="7534"/>
                  </a:lnTo>
                  <a:lnTo>
                    <a:pt x="6878" y="7534"/>
                  </a:lnTo>
                  <a:lnTo>
                    <a:pt x="5012" y="6359"/>
                  </a:lnTo>
                  <a:lnTo>
                    <a:pt x="3526" y="5357"/>
                  </a:lnTo>
                  <a:lnTo>
                    <a:pt x="2938" y="4942"/>
                  </a:lnTo>
                  <a:lnTo>
                    <a:pt x="2420" y="4527"/>
                  </a:lnTo>
                  <a:lnTo>
                    <a:pt x="1971" y="4113"/>
                  </a:lnTo>
                  <a:lnTo>
                    <a:pt x="1591" y="3733"/>
                  </a:lnTo>
                  <a:lnTo>
                    <a:pt x="1280" y="3352"/>
                  </a:lnTo>
                  <a:lnTo>
                    <a:pt x="1038" y="2972"/>
                  </a:lnTo>
                  <a:lnTo>
                    <a:pt x="830" y="2558"/>
                  </a:lnTo>
                  <a:lnTo>
                    <a:pt x="658" y="2108"/>
                  </a:lnTo>
                  <a:lnTo>
                    <a:pt x="519" y="1659"/>
                  </a:lnTo>
                  <a:lnTo>
                    <a:pt x="416" y="1175"/>
                  </a:lnTo>
                  <a:lnTo>
                    <a:pt x="347" y="623"/>
                  </a:lnTo>
                  <a:lnTo>
                    <a:pt x="312" y="1"/>
                  </a:lnTo>
                  <a:close/>
                </a:path>
              </a:pathLst>
            </a:custGeom>
            <a:solidFill>
              <a:srgbClr val="C18C1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03" name="Google Shape;1603;p16"/>
            <p:cNvSpPr/>
            <p:nvPr/>
          </p:nvSpPr>
          <p:spPr>
            <a:xfrm>
              <a:off x="1243300" y="2803925"/>
              <a:ext cx="171950" cy="188350"/>
            </a:xfrm>
            <a:custGeom>
              <a:avLst/>
              <a:gdLst/>
              <a:ahLst/>
              <a:cxnLst/>
              <a:rect l="l" t="t" r="r" b="b"/>
              <a:pathLst>
                <a:path w="6878" h="7534" fill="none" extrusionOk="0">
                  <a:moveTo>
                    <a:pt x="312" y="1"/>
                  </a:moveTo>
                  <a:lnTo>
                    <a:pt x="312" y="1"/>
                  </a:lnTo>
                  <a:lnTo>
                    <a:pt x="105" y="968"/>
                  </a:lnTo>
                  <a:lnTo>
                    <a:pt x="1" y="1763"/>
                  </a:lnTo>
                  <a:lnTo>
                    <a:pt x="1" y="2385"/>
                  </a:lnTo>
                  <a:lnTo>
                    <a:pt x="36" y="2903"/>
                  </a:lnTo>
                  <a:lnTo>
                    <a:pt x="139" y="3283"/>
                  </a:lnTo>
                  <a:lnTo>
                    <a:pt x="243" y="3629"/>
                  </a:lnTo>
                  <a:lnTo>
                    <a:pt x="381" y="3871"/>
                  </a:lnTo>
                  <a:lnTo>
                    <a:pt x="485" y="4078"/>
                  </a:lnTo>
                  <a:lnTo>
                    <a:pt x="485" y="4078"/>
                  </a:lnTo>
                  <a:lnTo>
                    <a:pt x="588" y="4182"/>
                  </a:lnTo>
                  <a:lnTo>
                    <a:pt x="761" y="4320"/>
                  </a:lnTo>
                  <a:lnTo>
                    <a:pt x="1314" y="4700"/>
                  </a:lnTo>
                  <a:lnTo>
                    <a:pt x="2109" y="5149"/>
                  </a:lnTo>
                  <a:lnTo>
                    <a:pt x="3007" y="5668"/>
                  </a:lnTo>
                  <a:lnTo>
                    <a:pt x="5046" y="6670"/>
                  </a:lnTo>
                  <a:lnTo>
                    <a:pt x="6878" y="7534"/>
                  </a:lnTo>
                  <a:lnTo>
                    <a:pt x="6878" y="7534"/>
                  </a:lnTo>
                  <a:lnTo>
                    <a:pt x="5012" y="6359"/>
                  </a:lnTo>
                  <a:lnTo>
                    <a:pt x="3526" y="5357"/>
                  </a:lnTo>
                  <a:lnTo>
                    <a:pt x="2938" y="4942"/>
                  </a:lnTo>
                  <a:lnTo>
                    <a:pt x="2420" y="4527"/>
                  </a:lnTo>
                  <a:lnTo>
                    <a:pt x="1971" y="4113"/>
                  </a:lnTo>
                  <a:lnTo>
                    <a:pt x="1591" y="3733"/>
                  </a:lnTo>
                  <a:lnTo>
                    <a:pt x="1280" y="3352"/>
                  </a:lnTo>
                  <a:lnTo>
                    <a:pt x="1038" y="2972"/>
                  </a:lnTo>
                  <a:lnTo>
                    <a:pt x="830" y="2558"/>
                  </a:lnTo>
                  <a:lnTo>
                    <a:pt x="658" y="2108"/>
                  </a:lnTo>
                  <a:lnTo>
                    <a:pt x="519" y="1659"/>
                  </a:lnTo>
                  <a:lnTo>
                    <a:pt x="416" y="1175"/>
                  </a:lnTo>
                  <a:lnTo>
                    <a:pt x="347" y="623"/>
                  </a:lnTo>
                  <a:lnTo>
                    <a:pt x="31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04" name="Google Shape;1604;p16"/>
            <p:cNvSpPr/>
            <p:nvPr/>
          </p:nvSpPr>
          <p:spPr>
            <a:xfrm>
              <a:off x="1174200" y="3004350"/>
              <a:ext cx="25" cy="21625"/>
            </a:xfrm>
            <a:custGeom>
              <a:avLst/>
              <a:gdLst/>
              <a:ahLst/>
              <a:cxnLst/>
              <a:rect l="l" t="t" r="r" b="b"/>
              <a:pathLst>
                <a:path w="1" h="865" extrusionOk="0">
                  <a:moveTo>
                    <a:pt x="0" y="1"/>
                  </a:moveTo>
                  <a:lnTo>
                    <a:pt x="0" y="1"/>
                  </a:lnTo>
                  <a:lnTo>
                    <a:pt x="0" y="865"/>
                  </a:lnTo>
                  <a:lnTo>
                    <a:pt x="0" y="865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C1C1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05" name="Google Shape;1605;p16"/>
            <p:cNvSpPr/>
            <p:nvPr/>
          </p:nvSpPr>
          <p:spPr>
            <a:xfrm>
              <a:off x="1174200" y="3004350"/>
              <a:ext cx="25" cy="21625"/>
            </a:xfrm>
            <a:custGeom>
              <a:avLst/>
              <a:gdLst/>
              <a:ahLst/>
              <a:cxnLst/>
              <a:rect l="l" t="t" r="r" b="b"/>
              <a:pathLst>
                <a:path w="1" h="865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865"/>
                  </a:lnTo>
                  <a:lnTo>
                    <a:pt x="0" y="865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06" name="Google Shape;1606;p16"/>
            <p:cNvSpPr/>
            <p:nvPr/>
          </p:nvSpPr>
          <p:spPr>
            <a:xfrm>
              <a:off x="1173325" y="3004350"/>
              <a:ext cx="310175" cy="120975"/>
            </a:xfrm>
            <a:custGeom>
              <a:avLst/>
              <a:gdLst/>
              <a:ahLst/>
              <a:cxnLst/>
              <a:rect l="l" t="t" r="r" b="b"/>
              <a:pathLst>
                <a:path w="12407" h="4839" extrusionOk="0">
                  <a:moveTo>
                    <a:pt x="35" y="1"/>
                  </a:moveTo>
                  <a:lnTo>
                    <a:pt x="35" y="865"/>
                  </a:lnTo>
                  <a:lnTo>
                    <a:pt x="1" y="1279"/>
                  </a:lnTo>
                  <a:lnTo>
                    <a:pt x="35" y="1279"/>
                  </a:lnTo>
                  <a:lnTo>
                    <a:pt x="243" y="1314"/>
                  </a:lnTo>
                  <a:lnTo>
                    <a:pt x="727" y="1417"/>
                  </a:lnTo>
                  <a:lnTo>
                    <a:pt x="2143" y="1832"/>
                  </a:lnTo>
                  <a:lnTo>
                    <a:pt x="6256" y="3042"/>
                  </a:lnTo>
                  <a:lnTo>
                    <a:pt x="10333" y="4286"/>
                  </a:lnTo>
                  <a:lnTo>
                    <a:pt x="11750" y="4666"/>
                  </a:lnTo>
                  <a:lnTo>
                    <a:pt x="12165" y="4804"/>
                  </a:lnTo>
                  <a:lnTo>
                    <a:pt x="12407" y="4838"/>
                  </a:lnTo>
                  <a:lnTo>
                    <a:pt x="10506" y="4078"/>
                  </a:lnTo>
                  <a:lnTo>
                    <a:pt x="6256" y="2489"/>
                  </a:lnTo>
                  <a:lnTo>
                    <a:pt x="1971" y="830"/>
                  </a:lnTo>
                  <a:lnTo>
                    <a:pt x="588" y="277"/>
                  </a:lnTo>
                  <a:lnTo>
                    <a:pt x="174" y="70"/>
                  </a:lnTo>
                  <a:lnTo>
                    <a:pt x="35" y="1"/>
                  </a:lnTo>
                  <a:close/>
                </a:path>
              </a:pathLst>
            </a:custGeom>
            <a:solidFill>
              <a:srgbClr val="C18C1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07" name="Google Shape;1607;p16"/>
            <p:cNvSpPr/>
            <p:nvPr/>
          </p:nvSpPr>
          <p:spPr>
            <a:xfrm>
              <a:off x="1173325" y="3004350"/>
              <a:ext cx="310175" cy="120975"/>
            </a:xfrm>
            <a:custGeom>
              <a:avLst/>
              <a:gdLst/>
              <a:ahLst/>
              <a:cxnLst/>
              <a:rect l="l" t="t" r="r" b="b"/>
              <a:pathLst>
                <a:path w="12407" h="4839" fill="none" extrusionOk="0">
                  <a:moveTo>
                    <a:pt x="35" y="1"/>
                  </a:moveTo>
                  <a:lnTo>
                    <a:pt x="35" y="1"/>
                  </a:lnTo>
                  <a:lnTo>
                    <a:pt x="35" y="865"/>
                  </a:lnTo>
                  <a:lnTo>
                    <a:pt x="35" y="865"/>
                  </a:lnTo>
                  <a:lnTo>
                    <a:pt x="1" y="1279"/>
                  </a:lnTo>
                  <a:lnTo>
                    <a:pt x="1" y="1279"/>
                  </a:lnTo>
                  <a:lnTo>
                    <a:pt x="35" y="1279"/>
                  </a:lnTo>
                  <a:lnTo>
                    <a:pt x="35" y="1279"/>
                  </a:lnTo>
                  <a:lnTo>
                    <a:pt x="243" y="1314"/>
                  </a:lnTo>
                  <a:lnTo>
                    <a:pt x="727" y="1417"/>
                  </a:lnTo>
                  <a:lnTo>
                    <a:pt x="2143" y="1832"/>
                  </a:lnTo>
                  <a:lnTo>
                    <a:pt x="6256" y="3042"/>
                  </a:lnTo>
                  <a:lnTo>
                    <a:pt x="6256" y="3042"/>
                  </a:lnTo>
                  <a:lnTo>
                    <a:pt x="10333" y="4286"/>
                  </a:lnTo>
                  <a:lnTo>
                    <a:pt x="11750" y="4666"/>
                  </a:lnTo>
                  <a:lnTo>
                    <a:pt x="12165" y="4804"/>
                  </a:lnTo>
                  <a:lnTo>
                    <a:pt x="12407" y="4838"/>
                  </a:lnTo>
                  <a:lnTo>
                    <a:pt x="12407" y="4838"/>
                  </a:lnTo>
                  <a:lnTo>
                    <a:pt x="12407" y="4838"/>
                  </a:lnTo>
                  <a:lnTo>
                    <a:pt x="12407" y="4838"/>
                  </a:lnTo>
                  <a:lnTo>
                    <a:pt x="10506" y="4078"/>
                  </a:lnTo>
                  <a:lnTo>
                    <a:pt x="6256" y="2489"/>
                  </a:lnTo>
                  <a:lnTo>
                    <a:pt x="1971" y="830"/>
                  </a:lnTo>
                  <a:lnTo>
                    <a:pt x="588" y="277"/>
                  </a:lnTo>
                  <a:lnTo>
                    <a:pt x="174" y="70"/>
                  </a:lnTo>
                  <a:lnTo>
                    <a:pt x="3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08" name="Google Shape;1608;p16"/>
            <p:cNvSpPr/>
            <p:nvPr/>
          </p:nvSpPr>
          <p:spPr>
            <a:xfrm>
              <a:off x="1481750" y="2769375"/>
              <a:ext cx="1750" cy="3475"/>
            </a:xfrm>
            <a:custGeom>
              <a:avLst/>
              <a:gdLst/>
              <a:ahLst/>
              <a:cxnLst/>
              <a:rect l="l" t="t" r="r" b="b"/>
              <a:pathLst>
                <a:path w="70" h="139" extrusionOk="0">
                  <a:moveTo>
                    <a:pt x="1" y="0"/>
                  </a:moveTo>
                  <a:lnTo>
                    <a:pt x="70" y="138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C1C1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09" name="Google Shape;1609;p16"/>
            <p:cNvSpPr/>
            <p:nvPr/>
          </p:nvSpPr>
          <p:spPr>
            <a:xfrm>
              <a:off x="1481750" y="2769375"/>
              <a:ext cx="1750" cy="3475"/>
            </a:xfrm>
            <a:custGeom>
              <a:avLst/>
              <a:gdLst/>
              <a:ahLst/>
              <a:cxnLst/>
              <a:rect l="l" t="t" r="r" b="b"/>
              <a:pathLst>
                <a:path w="70" h="139" fill="none" extrusionOk="0">
                  <a:moveTo>
                    <a:pt x="35" y="0"/>
                  </a:moveTo>
                  <a:lnTo>
                    <a:pt x="35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70" y="138"/>
                  </a:lnTo>
                  <a:lnTo>
                    <a:pt x="70" y="138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0" name="Google Shape;1610;p16"/>
            <p:cNvSpPr/>
            <p:nvPr/>
          </p:nvSpPr>
          <p:spPr>
            <a:xfrm>
              <a:off x="1410050" y="2691625"/>
              <a:ext cx="72600" cy="77775"/>
            </a:xfrm>
            <a:custGeom>
              <a:avLst/>
              <a:gdLst/>
              <a:ahLst/>
              <a:cxnLst/>
              <a:rect l="l" t="t" r="r" b="b"/>
              <a:pathLst>
                <a:path w="2904" h="3111" extrusionOk="0">
                  <a:moveTo>
                    <a:pt x="0" y="0"/>
                  </a:moveTo>
                  <a:lnTo>
                    <a:pt x="830" y="760"/>
                  </a:lnTo>
                  <a:lnTo>
                    <a:pt x="1521" y="1382"/>
                  </a:lnTo>
                  <a:lnTo>
                    <a:pt x="1866" y="1728"/>
                  </a:lnTo>
                  <a:lnTo>
                    <a:pt x="2177" y="2108"/>
                  </a:lnTo>
                  <a:lnTo>
                    <a:pt x="2523" y="2557"/>
                  </a:lnTo>
                  <a:lnTo>
                    <a:pt x="2869" y="3110"/>
                  </a:lnTo>
                  <a:lnTo>
                    <a:pt x="2903" y="3110"/>
                  </a:lnTo>
                  <a:lnTo>
                    <a:pt x="2454" y="1970"/>
                  </a:lnTo>
                  <a:lnTo>
                    <a:pt x="2177" y="1313"/>
                  </a:lnTo>
                  <a:lnTo>
                    <a:pt x="2074" y="933"/>
                  </a:lnTo>
                  <a:lnTo>
                    <a:pt x="1832" y="795"/>
                  </a:lnTo>
                  <a:lnTo>
                    <a:pt x="1244" y="484"/>
                  </a:lnTo>
                  <a:lnTo>
                    <a:pt x="553" y="173"/>
                  </a:lnTo>
                  <a:lnTo>
                    <a:pt x="242" y="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18C1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1" name="Google Shape;1611;p16"/>
            <p:cNvSpPr/>
            <p:nvPr/>
          </p:nvSpPr>
          <p:spPr>
            <a:xfrm>
              <a:off x="1410050" y="2691625"/>
              <a:ext cx="72600" cy="77775"/>
            </a:xfrm>
            <a:custGeom>
              <a:avLst/>
              <a:gdLst/>
              <a:ahLst/>
              <a:cxnLst/>
              <a:rect l="l" t="t" r="r" b="b"/>
              <a:pathLst>
                <a:path w="2904" h="311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830" y="760"/>
                  </a:lnTo>
                  <a:lnTo>
                    <a:pt x="1521" y="1382"/>
                  </a:lnTo>
                  <a:lnTo>
                    <a:pt x="1866" y="1728"/>
                  </a:lnTo>
                  <a:lnTo>
                    <a:pt x="2177" y="2108"/>
                  </a:lnTo>
                  <a:lnTo>
                    <a:pt x="2523" y="2557"/>
                  </a:lnTo>
                  <a:lnTo>
                    <a:pt x="2869" y="3110"/>
                  </a:lnTo>
                  <a:lnTo>
                    <a:pt x="2869" y="3110"/>
                  </a:lnTo>
                  <a:lnTo>
                    <a:pt x="2903" y="3110"/>
                  </a:lnTo>
                  <a:lnTo>
                    <a:pt x="2903" y="3110"/>
                  </a:lnTo>
                  <a:lnTo>
                    <a:pt x="2903" y="3110"/>
                  </a:lnTo>
                  <a:lnTo>
                    <a:pt x="2903" y="3110"/>
                  </a:lnTo>
                  <a:lnTo>
                    <a:pt x="2454" y="1970"/>
                  </a:lnTo>
                  <a:lnTo>
                    <a:pt x="2177" y="1313"/>
                  </a:lnTo>
                  <a:lnTo>
                    <a:pt x="2074" y="933"/>
                  </a:lnTo>
                  <a:lnTo>
                    <a:pt x="2074" y="933"/>
                  </a:lnTo>
                  <a:lnTo>
                    <a:pt x="1832" y="795"/>
                  </a:lnTo>
                  <a:lnTo>
                    <a:pt x="1244" y="484"/>
                  </a:lnTo>
                  <a:lnTo>
                    <a:pt x="553" y="173"/>
                  </a:lnTo>
                  <a:lnTo>
                    <a:pt x="242" y="6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2" name="Google Shape;1612;p16"/>
            <p:cNvSpPr/>
            <p:nvPr/>
          </p:nvSpPr>
          <p:spPr>
            <a:xfrm>
              <a:off x="1150875" y="3134800"/>
              <a:ext cx="12125" cy="48400"/>
            </a:xfrm>
            <a:custGeom>
              <a:avLst/>
              <a:gdLst/>
              <a:ahLst/>
              <a:cxnLst/>
              <a:rect l="l" t="t" r="r" b="b"/>
              <a:pathLst>
                <a:path w="485" h="1936" extrusionOk="0">
                  <a:moveTo>
                    <a:pt x="484" y="1"/>
                  </a:moveTo>
                  <a:lnTo>
                    <a:pt x="484" y="1"/>
                  </a:lnTo>
                  <a:lnTo>
                    <a:pt x="277" y="968"/>
                  </a:lnTo>
                  <a:lnTo>
                    <a:pt x="0" y="1936"/>
                  </a:lnTo>
                  <a:lnTo>
                    <a:pt x="0" y="1936"/>
                  </a:lnTo>
                  <a:lnTo>
                    <a:pt x="277" y="968"/>
                  </a:lnTo>
                  <a:lnTo>
                    <a:pt x="484" y="1"/>
                  </a:lnTo>
                  <a:close/>
                </a:path>
              </a:pathLst>
            </a:custGeom>
            <a:solidFill>
              <a:srgbClr val="E6E6E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3" name="Google Shape;1613;p16"/>
            <p:cNvSpPr/>
            <p:nvPr/>
          </p:nvSpPr>
          <p:spPr>
            <a:xfrm>
              <a:off x="1150875" y="3134800"/>
              <a:ext cx="12125" cy="48400"/>
            </a:xfrm>
            <a:custGeom>
              <a:avLst/>
              <a:gdLst/>
              <a:ahLst/>
              <a:cxnLst/>
              <a:rect l="l" t="t" r="r" b="b"/>
              <a:pathLst>
                <a:path w="485" h="1936" fill="none" extrusionOk="0">
                  <a:moveTo>
                    <a:pt x="484" y="1"/>
                  </a:moveTo>
                  <a:lnTo>
                    <a:pt x="484" y="1"/>
                  </a:lnTo>
                  <a:lnTo>
                    <a:pt x="277" y="968"/>
                  </a:lnTo>
                  <a:lnTo>
                    <a:pt x="0" y="1936"/>
                  </a:lnTo>
                  <a:lnTo>
                    <a:pt x="0" y="1936"/>
                  </a:lnTo>
                  <a:lnTo>
                    <a:pt x="277" y="968"/>
                  </a:lnTo>
                  <a:lnTo>
                    <a:pt x="484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4" name="Google Shape;1614;p16"/>
            <p:cNvSpPr/>
            <p:nvPr/>
          </p:nvSpPr>
          <p:spPr>
            <a:xfrm>
              <a:off x="785450" y="3273025"/>
              <a:ext cx="428525" cy="951200"/>
            </a:xfrm>
            <a:custGeom>
              <a:avLst/>
              <a:gdLst/>
              <a:ahLst/>
              <a:cxnLst/>
              <a:rect l="l" t="t" r="r" b="b"/>
              <a:pathLst>
                <a:path w="17141" h="38048" extrusionOk="0">
                  <a:moveTo>
                    <a:pt x="12890" y="1"/>
                  </a:moveTo>
                  <a:lnTo>
                    <a:pt x="12302" y="968"/>
                  </a:lnTo>
                  <a:lnTo>
                    <a:pt x="11784" y="1970"/>
                  </a:lnTo>
                  <a:lnTo>
                    <a:pt x="11335" y="2972"/>
                  </a:lnTo>
                  <a:lnTo>
                    <a:pt x="10920" y="3940"/>
                  </a:lnTo>
                  <a:lnTo>
                    <a:pt x="10574" y="4942"/>
                  </a:lnTo>
                  <a:lnTo>
                    <a:pt x="10263" y="5979"/>
                  </a:lnTo>
                  <a:lnTo>
                    <a:pt x="9987" y="6981"/>
                  </a:lnTo>
                  <a:lnTo>
                    <a:pt x="9710" y="7983"/>
                  </a:lnTo>
                  <a:lnTo>
                    <a:pt x="9503" y="9020"/>
                  </a:lnTo>
                  <a:lnTo>
                    <a:pt x="9296" y="10057"/>
                  </a:lnTo>
                  <a:lnTo>
                    <a:pt x="8950" y="12130"/>
                  </a:lnTo>
                  <a:lnTo>
                    <a:pt x="8639" y="14272"/>
                  </a:lnTo>
                  <a:lnTo>
                    <a:pt x="8294" y="16415"/>
                  </a:lnTo>
                  <a:lnTo>
                    <a:pt x="7914" y="18592"/>
                  </a:lnTo>
                  <a:lnTo>
                    <a:pt x="7672" y="19732"/>
                  </a:lnTo>
                  <a:lnTo>
                    <a:pt x="7430" y="20838"/>
                  </a:lnTo>
                  <a:lnTo>
                    <a:pt x="7119" y="21979"/>
                  </a:lnTo>
                  <a:lnTo>
                    <a:pt x="6773" y="23119"/>
                  </a:lnTo>
                  <a:lnTo>
                    <a:pt x="6393" y="24294"/>
                  </a:lnTo>
                  <a:lnTo>
                    <a:pt x="5944" y="25469"/>
                  </a:lnTo>
                  <a:lnTo>
                    <a:pt x="5460" y="26644"/>
                  </a:lnTo>
                  <a:lnTo>
                    <a:pt x="4907" y="27853"/>
                  </a:lnTo>
                  <a:lnTo>
                    <a:pt x="4285" y="29063"/>
                  </a:lnTo>
                  <a:lnTo>
                    <a:pt x="3594" y="30307"/>
                  </a:lnTo>
                  <a:lnTo>
                    <a:pt x="2834" y="31551"/>
                  </a:lnTo>
                  <a:lnTo>
                    <a:pt x="1970" y="32795"/>
                  </a:lnTo>
                  <a:lnTo>
                    <a:pt x="1037" y="34073"/>
                  </a:lnTo>
                  <a:lnTo>
                    <a:pt x="0" y="35386"/>
                  </a:lnTo>
                  <a:lnTo>
                    <a:pt x="207" y="35628"/>
                  </a:lnTo>
                  <a:lnTo>
                    <a:pt x="449" y="35836"/>
                  </a:lnTo>
                  <a:lnTo>
                    <a:pt x="726" y="36008"/>
                  </a:lnTo>
                  <a:lnTo>
                    <a:pt x="1002" y="36181"/>
                  </a:lnTo>
                  <a:lnTo>
                    <a:pt x="1313" y="36319"/>
                  </a:lnTo>
                  <a:lnTo>
                    <a:pt x="1659" y="36423"/>
                  </a:lnTo>
                  <a:lnTo>
                    <a:pt x="2004" y="36527"/>
                  </a:lnTo>
                  <a:lnTo>
                    <a:pt x="2350" y="36596"/>
                  </a:lnTo>
                  <a:lnTo>
                    <a:pt x="3110" y="36734"/>
                  </a:lnTo>
                  <a:lnTo>
                    <a:pt x="3905" y="36803"/>
                  </a:lnTo>
                  <a:lnTo>
                    <a:pt x="4769" y="36838"/>
                  </a:lnTo>
                  <a:lnTo>
                    <a:pt x="8674" y="36838"/>
                  </a:lnTo>
                  <a:lnTo>
                    <a:pt x="9192" y="36872"/>
                  </a:lnTo>
                  <a:lnTo>
                    <a:pt x="9676" y="36941"/>
                  </a:lnTo>
                  <a:lnTo>
                    <a:pt x="10125" y="37011"/>
                  </a:lnTo>
                  <a:lnTo>
                    <a:pt x="10540" y="37080"/>
                  </a:lnTo>
                  <a:lnTo>
                    <a:pt x="10954" y="37218"/>
                  </a:lnTo>
                  <a:lnTo>
                    <a:pt x="11300" y="37356"/>
                  </a:lnTo>
                  <a:lnTo>
                    <a:pt x="11646" y="37529"/>
                  </a:lnTo>
                  <a:lnTo>
                    <a:pt x="12095" y="37702"/>
                  </a:lnTo>
                  <a:lnTo>
                    <a:pt x="12613" y="37874"/>
                  </a:lnTo>
                  <a:lnTo>
                    <a:pt x="13235" y="38047"/>
                  </a:lnTo>
                  <a:lnTo>
                    <a:pt x="13650" y="37080"/>
                  </a:lnTo>
                  <a:lnTo>
                    <a:pt x="14030" y="36078"/>
                  </a:lnTo>
                  <a:lnTo>
                    <a:pt x="14410" y="35075"/>
                  </a:lnTo>
                  <a:lnTo>
                    <a:pt x="14756" y="34004"/>
                  </a:lnTo>
                  <a:lnTo>
                    <a:pt x="15032" y="32933"/>
                  </a:lnTo>
                  <a:lnTo>
                    <a:pt x="15343" y="31827"/>
                  </a:lnTo>
                  <a:lnTo>
                    <a:pt x="15585" y="30721"/>
                  </a:lnTo>
                  <a:lnTo>
                    <a:pt x="15827" y="29581"/>
                  </a:lnTo>
                  <a:lnTo>
                    <a:pt x="16034" y="28406"/>
                  </a:lnTo>
                  <a:lnTo>
                    <a:pt x="16242" y="27231"/>
                  </a:lnTo>
                  <a:lnTo>
                    <a:pt x="16414" y="26056"/>
                  </a:lnTo>
                  <a:lnTo>
                    <a:pt x="16553" y="24847"/>
                  </a:lnTo>
                  <a:lnTo>
                    <a:pt x="16795" y="22428"/>
                  </a:lnTo>
                  <a:lnTo>
                    <a:pt x="16967" y="19974"/>
                  </a:lnTo>
                  <a:lnTo>
                    <a:pt x="17071" y="17521"/>
                  </a:lnTo>
                  <a:lnTo>
                    <a:pt x="17140" y="15033"/>
                  </a:lnTo>
                  <a:lnTo>
                    <a:pt x="17106" y="12614"/>
                  </a:lnTo>
                  <a:lnTo>
                    <a:pt x="17036" y="10195"/>
                  </a:lnTo>
                  <a:lnTo>
                    <a:pt x="16933" y="7810"/>
                  </a:lnTo>
                  <a:lnTo>
                    <a:pt x="16795" y="5495"/>
                  </a:lnTo>
                  <a:lnTo>
                    <a:pt x="16622" y="3283"/>
                  </a:lnTo>
                  <a:lnTo>
                    <a:pt x="16414" y="1141"/>
                  </a:lnTo>
                  <a:lnTo>
                    <a:pt x="15585" y="1072"/>
                  </a:lnTo>
                  <a:lnTo>
                    <a:pt x="14859" y="968"/>
                  </a:lnTo>
                  <a:lnTo>
                    <a:pt x="14203" y="865"/>
                  </a:lnTo>
                  <a:lnTo>
                    <a:pt x="13650" y="761"/>
                  </a:lnTo>
                  <a:lnTo>
                    <a:pt x="13235" y="588"/>
                  </a:lnTo>
                  <a:lnTo>
                    <a:pt x="13097" y="519"/>
                  </a:lnTo>
                  <a:lnTo>
                    <a:pt x="12959" y="415"/>
                  </a:lnTo>
                  <a:lnTo>
                    <a:pt x="12890" y="312"/>
                  </a:lnTo>
                  <a:lnTo>
                    <a:pt x="12855" y="208"/>
                  </a:lnTo>
                  <a:lnTo>
                    <a:pt x="12855" y="104"/>
                  </a:lnTo>
                  <a:lnTo>
                    <a:pt x="12890" y="1"/>
                  </a:lnTo>
                  <a:close/>
                </a:path>
              </a:pathLst>
            </a:custGeom>
            <a:solidFill>
              <a:srgbClr val="BD450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5" name="Google Shape;1615;p16"/>
            <p:cNvSpPr/>
            <p:nvPr/>
          </p:nvSpPr>
          <p:spPr>
            <a:xfrm>
              <a:off x="785450" y="3273025"/>
              <a:ext cx="428525" cy="951200"/>
            </a:xfrm>
            <a:custGeom>
              <a:avLst/>
              <a:gdLst/>
              <a:ahLst/>
              <a:cxnLst/>
              <a:rect l="l" t="t" r="r" b="b"/>
              <a:pathLst>
                <a:path w="17141" h="38048" fill="none" extrusionOk="0">
                  <a:moveTo>
                    <a:pt x="12890" y="1"/>
                  </a:moveTo>
                  <a:lnTo>
                    <a:pt x="12890" y="1"/>
                  </a:lnTo>
                  <a:lnTo>
                    <a:pt x="12302" y="968"/>
                  </a:lnTo>
                  <a:lnTo>
                    <a:pt x="11784" y="1970"/>
                  </a:lnTo>
                  <a:lnTo>
                    <a:pt x="11335" y="2972"/>
                  </a:lnTo>
                  <a:lnTo>
                    <a:pt x="10920" y="3940"/>
                  </a:lnTo>
                  <a:lnTo>
                    <a:pt x="10574" y="4942"/>
                  </a:lnTo>
                  <a:lnTo>
                    <a:pt x="10263" y="5979"/>
                  </a:lnTo>
                  <a:lnTo>
                    <a:pt x="9987" y="6981"/>
                  </a:lnTo>
                  <a:lnTo>
                    <a:pt x="9710" y="7983"/>
                  </a:lnTo>
                  <a:lnTo>
                    <a:pt x="9503" y="9020"/>
                  </a:lnTo>
                  <a:lnTo>
                    <a:pt x="9296" y="10057"/>
                  </a:lnTo>
                  <a:lnTo>
                    <a:pt x="8950" y="12130"/>
                  </a:lnTo>
                  <a:lnTo>
                    <a:pt x="8639" y="14272"/>
                  </a:lnTo>
                  <a:lnTo>
                    <a:pt x="8294" y="16415"/>
                  </a:lnTo>
                  <a:lnTo>
                    <a:pt x="7914" y="18592"/>
                  </a:lnTo>
                  <a:lnTo>
                    <a:pt x="7672" y="19732"/>
                  </a:lnTo>
                  <a:lnTo>
                    <a:pt x="7430" y="20838"/>
                  </a:lnTo>
                  <a:lnTo>
                    <a:pt x="7119" y="21979"/>
                  </a:lnTo>
                  <a:lnTo>
                    <a:pt x="6773" y="23119"/>
                  </a:lnTo>
                  <a:lnTo>
                    <a:pt x="6393" y="24294"/>
                  </a:lnTo>
                  <a:lnTo>
                    <a:pt x="5944" y="25469"/>
                  </a:lnTo>
                  <a:lnTo>
                    <a:pt x="5460" y="26644"/>
                  </a:lnTo>
                  <a:lnTo>
                    <a:pt x="4907" y="27853"/>
                  </a:lnTo>
                  <a:lnTo>
                    <a:pt x="4285" y="29063"/>
                  </a:lnTo>
                  <a:lnTo>
                    <a:pt x="3594" y="30307"/>
                  </a:lnTo>
                  <a:lnTo>
                    <a:pt x="2834" y="31551"/>
                  </a:lnTo>
                  <a:lnTo>
                    <a:pt x="1970" y="32795"/>
                  </a:lnTo>
                  <a:lnTo>
                    <a:pt x="1037" y="34073"/>
                  </a:lnTo>
                  <a:lnTo>
                    <a:pt x="0" y="35386"/>
                  </a:lnTo>
                  <a:lnTo>
                    <a:pt x="0" y="35386"/>
                  </a:lnTo>
                  <a:lnTo>
                    <a:pt x="207" y="35628"/>
                  </a:lnTo>
                  <a:lnTo>
                    <a:pt x="449" y="35836"/>
                  </a:lnTo>
                  <a:lnTo>
                    <a:pt x="726" y="36008"/>
                  </a:lnTo>
                  <a:lnTo>
                    <a:pt x="1002" y="36181"/>
                  </a:lnTo>
                  <a:lnTo>
                    <a:pt x="1313" y="36319"/>
                  </a:lnTo>
                  <a:lnTo>
                    <a:pt x="1659" y="36423"/>
                  </a:lnTo>
                  <a:lnTo>
                    <a:pt x="2004" y="36527"/>
                  </a:lnTo>
                  <a:lnTo>
                    <a:pt x="2350" y="36596"/>
                  </a:lnTo>
                  <a:lnTo>
                    <a:pt x="3110" y="36734"/>
                  </a:lnTo>
                  <a:lnTo>
                    <a:pt x="3905" y="36803"/>
                  </a:lnTo>
                  <a:lnTo>
                    <a:pt x="4769" y="36838"/>
                  </a:lnTo>
                  <a:lnTo>
                    <a:pt x="5598" y="36838"/>
                  </a:lnTo>
                  <a:lnTo>
                    <a:pt x="5598" y="36838"/>
                  </a:lnTo>
                  <a:lnTo>
                    <a:pt x="6600" y="36838"/>
                  </a:lnTo>
                  <a:lnTo>
                    <a:pt x="6600" y="36838"/>
                  </a:lnTo>
                  <a:lnTo>
                    <a:pt x="7568" y="36838"/>
                  </a:lnTo>
                  <a:lnTo>
                    <a:pt x="7568" y="36838"/>
                  </a:lnTo>
                  <a:lnTo>
                    <a:pt x="8674" y="36838"/>
                  </a:lnTo>
                  <a:lnTo>
                    <a:pt x="9192" y="36872"/>
                  </a:lnTo>
                  <a:lnTo>
                    <a:pt x="9676" y="36941"/>
                  </a:lnTo>
                  <a:lnTo>
                    <a:pt x="10125" y="37011"/>
                  </a:lnTo>
                  <a:lnTo>
                    <a:pt x="10540" y="37080"/>
                  </a:lnTo>
                  <a:lnTo>
                    <a:pt x="10954" y="37218"/>
                  </a:lnTo>
                  <a:lnTo>
                    <a:pt x="11300" y="37356"/>
                  </a:lnTo>
                  <a:lnTo>
                    <a:pt x="11300" y="37356"/>
                  </a:lnTo>
                  <a:lnTo>
                    <a:pt x="11646" y="37529"/>
                  </a:lnTo>
                  <a:lnTo>
                    <a:pt x="12095" y="37702"/>
                  </a:lnTo>
                  <a:lnTo>
                    <a:pt x="12613" y="37874"/>
                  </a:lnTo>
                  <a:lnTo>
                    <a:pt x="13235" y="38047"/>
                  </a:lnTo>
                  <a:lnTo>
                    <a:pt x="13235" y="38047"/>
                  </a:lnTo>
                  <a:lnTo>
                    <a:pt x="13650" y="37080"/>
                  </a:lnTo>
                  <a:lnTo>
                    <a:pt x="14030" y="36078"/>
                  </a:lnTo>
                  <a:lnTo>
                    <a:pt x="14410" y="35075"/>
                  </a:lnTo>
                  <a:lnTo>
                    <a:pt x="14756" y="34004"/>
                  </a:lnTo>
                  <a:lnTo>
                    <a:pt x="15032" y="32933"/>
                  </a:lnTo>
                  <a:lnTo>
                    <a:pt x="15343" y="31827"/>
                  </a:lnTo>
                  <a:lnTo>
                    <a:pt x="15585" y="30721"/>
                  </a:lnTo>
                  <a:lnTo>
                    <a:pt x="15827" y="29581"/>
                  </a:lnTo>
                  <a:lnTo>
                    <a:pt x="16034" y="28406"/>
                  </a:lnTo>
                  <a:lnTo>
                    <a:pt x="16242" y="27231"/>
                  </a:lnTo>
                  <a:lnTo>
                    <a:pt x="16414" y="26056"/>
                  </a:lnTo>
                  <a:lnTo>
                    <a:pt x="16553" y="24847"/>
                  </a:lnTo>
                  <a:lnTo>
                    <a:pt x="16795" y="22428"/>
                  </a:lnTo>
                  <a:lnTo>
                    <a:pt x="16967" y="19974"/>
                  </a:lnTo>
                  <a:lnTo>
                    <a:pt x="17071" y="17521"/>
                  </a:lnTo>
                  <a:lnTo>
                    <a:pt x="17140" y="15033"/>
                  </a:lnTo>
                  <a:lnTo>
                    <a:pt x="17106" y="12614"/>
                  </a:lnTo>
                  <a:lnTo>
                    <a:pt x="17036" y="10195"/>
                  </a:lnTo>
                  <a:lnTo>
                    <a:pt x="16933" y="7810"/>
                  </a:lnTo>
                  <a:lnTo>
                    <a:pt x="16795" y="5495"/>
                  </a:lnTo>
                  <a:lnTo>
                    <a:pt x="16622" y="3283"/>
                  </a:lnTo>
                  <a:lnTo>
                    <a:pt x="16414" y="1141"/>
                  </a:lnTo>
                  <a:lnTo>
                    <a:pt x="16414" y="1141"/>
                  </a:lnTo>
                  <a:lnTo>
                    <a:pt x="16414" y="1141"/>
                  </a:lnTo>
                  <a:lnTo>
                    <a:pt x="15585" y="1072"/>
                  </a:lnTo>
                  <a:lnTo>
                    <a:pt x="14859" y="968"/>
                  </a:lnTo>
                  <a:lnTo>
                    <a:pt x="14203" y="865"/>
                  </a:lnTo>
                  <a:lnTo>
                    <a:pt x="13650" y="761"/>
                  </a:lnTo>
                  <a:lnTo>
                    <a:pt x="13235" y="588"/>
                  </a:lnTo>
                  <a:lnTo>
                    <a:pt x="13097" y="519"/>
                  </a:lnTo>
                  <a:lnTo>
                    <a:pt x="12959" y="415"/>
                  </a:lnTo>
                  <a:lnTo>
                    <a:pt x="12890" y="312"/>
                  </a:lnTo>
                  <a:lnTo>
                    <a:pt x="12855" y="208"/>
                  </a:lnTo>
                  <a:lnTo>
                    <a:pt x="12855" y="104"/>
                  </a:lnTo>
                  <a:lnTo>
                    <a:pt x="1289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6" name="Google Shape;1616;p16"/>
            <p:cNvSpPr/>
            <p:nvPr/>
          </p:nvSpPr>
          <p:spPr>
            <a:xfrm>
              <a:off x="1106825" y="3095075"/>
              <a:ext cx="89000" cy="206475"/>
            </a:xfrm>
            <a:custGeom>
              <a:avLst/>
              <a:gdLst/>
              <a:ahLst/>
              <a:cxnLst/>
              <a:rect l="l" t="t" r="r" b="b"/>
              <a:pathLst>
                <a:path w="3560" h="8259" extrusionOk="0">
                  <a:moveTo>
                    <a:pt x="2488" y="0"/>
                  </a:moveTo>
                  <a:lnTo>
                    <a:pt x="2384" y="795"/>
                  </a:lnTo>
                  <a:lnTo>
                    <a:pt x="2246" y="1590"/>
                  </a:lnTo>
                  <a:lnTo>
                    <a:pt x="2039" y="2557"/>
                  </a:lnTo>
                  <a:lnTo>
                    <a:pt x="1762" y="3525"/>
                  </a:lnTo>
                  <a:lnTo>
                    <a:pt x="1417" y="4492"/>
                  </a:lnTo>
                  <a:lnTo>
                    <a:pt x="1037" y="5425"/>
                  </a:lnTo>
                  <a:lnTo>
                    <a:pt x="588" y="6255"/>
                  </a:lnTo>
                  <a:lnTo>
                    <a:pt x="346" y="6669"/>
                  </a:lnTo>
                  <a:lnTo>
                    <a:pt x="69" y="7050"/>
                  </a:lnTo>
                  <a:lnTo>
                    <a:pt x="35" y="7119"/>
                  </a:lnTo>
                  <a:lnTo>
                    <a:pt x="0" y="7222"/>
                  </a:lnTo>
                  <a:lnTo>
                    <a:pt x="0" y="7326"/>
                  </a:lnTo>
                  <a:lnTo>
                    <a:pt x="35" y="7430"/>
                  </a:lnTo>
                  <a:lnTo>
                    <a:pt x="104" y="7533"/>
                  </a:lnTo>
                  <a:lnTo>
                    <a:pt x="242" y="7637"/>
                  </a:lnTo>
                  <a:lnTo>
                    <a:pt x="380" y="7706"/>
                  </a:lnTo>
                  <a:lnTo>
                    <a:pt x="795" y="7879"/>
                  </a:lnTo>
                  <a:lnTo>
                    <a:pt x="1348" y="7983"/>
                  </a:lnTo>
                  <a:lnTo>
                    <a:pt x="2004" y="8086"/>
                  </a:lnTo>
                  <a:lnTo>
                    <a:pt x="2730" y="8190"/>
                  </a:lnTo>
                  <a:lnTo>
                    <a:pt x="3559" y="8259"/>
                  </a:lnTo>
                  <a:lnTo>
                    <a:pt x="3387" y="6428"/>
                  </a:lnTo>
                  <a:lnTo>
                    <a:pt x="3179" y="4700"/>
                  </a:lnTo>
                  <a:lnTo>
                    <a:pt x="2834" y="2212"/>
                  </a:lnTo>
                  <a:lnTo>
                    <a:pt x="2488" y="0"/>
                  </a:lnTo>
                  <a:close/>
                </a:path>
              </a:pathLst>
            </a:custGeom>
            <a:solidFill>
              <a:srgbClr val="E6A50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7" name="Google Shape;1617;p16"/>
            <p:cNvSpPr/>
            <p:nvPr/>
          </p:nvSpPr>
          <p:spPr>
            <a:xfrm>
              <a:off x="1106825" y="3095075"/>
              <a:ext cx="89000" cy="206475"/>
            </a:xfrm>
            <a:custGeom>
              <a:avLst/>
              <a:gdLst/>
              <a:ahLst/>
              <a:cxnLst/>
              <a:rect l="l" t="t" r="r" b="b"/>
              <a:pathLst>
                <a:path w="3560" h="8259" fill="none" extrusionOk="0">
                  <a:moveTo>
                    <a:pt x="2488" y="0"/>
                  </a:moveTo>
                  <a:lnTo>
                    <a:pt x="2488" y="0"/>
                  </a:lnTo>
                  <a:lnTo>
                    <a:pt x="2384" y="795"/>
                  </a:lnTo>
                  <a:lnTo>
                    <a:pt x="2246" y="1590"/>
                  </a:lnTo>
                  <a:lnTo>
                    <a:pt x="2246" y="1590"/>
                  </a:lnTo>
                  <a:lnTo>
                    <a:pt x="2039" y="2557"/>
                  </a:lnTo>
                  <a:lnTo>
                    <a:pt x="1762" y="3525"/>
                  </a:lnTo>
                  <a:lnTo>
                    <a:pt x="1762" y="3525"/>
                  </a:lnTo>
                  <a:lnTo>
                    <a:pt x="1417" y="4492"/>
                  </a:lnTo>
                  <a:lnTo>
                    <a:pt x="1037" y="5425"/>
                  </a:lnTo>
                  <a:lnTo>
                    <a:pt x="588" y="6255"/>
                  </a:lnTo>
                  <a:lnTo>
                    <a:pt x="346" y="6669"/>
                  </a:lnTo>
                  <a:lnTo>
                    <a:pt x="69" y="7050"/>
                  </a:lnTo>
                  <a:lnTo>
                    <a:pt x="69" y="7050"/>
                  </a:lnTo>
                  <a:lnTo>
                    <a:pt x="35" y="7119"/>
                  </a:lnTo>
                  <a:lnTo>
                    <a:pt x="35" y="7119"/>
                  </a:lnTo>
                  <a:lnTo>
                    <a:pt x="35" y="7119"/>
                  </a:lnTo>
                  <a:lnTo>
                    <a:pt x="35" y="7119"/>
                  </a:lnTo>
                  <a:lnTo>
                    <a:pt x="35" y="7119"/>
                  </a:lnTo>
                  <a:lnTo>
                    <a:pt x="0" y="7222"/>
                  </a:lnTo>
                  <a:lnTo>
                    <a:pt x="0" y="7326"/>
                  </a:lnTo>
                  <a:lnTo>
                    <a:pt x="35" y="7430"/>
                  </a:lnTo>
                  <a:lnTo>
                    <a:pt x="104" y="7533"/>
                  </a:lnTo>
                  <a:lnTo>
                    <a:pt x="242" y="7637"/>
                  </a:lnTo>
                  <a:lnTo>
                    <a:pt x="380" y="7706"/>
                  </a:lnTo>
                  <a:lnTo>
                    <a:pt x="795" y="7879"/>
                  </a:lnTo>
                  <a:lnTo>
                    <a:pt x="1348" y="7983"/>
                  </a:lnTo>
                  <a:lnTo>
                    <a:pt x="2004" y="8086"/>
                  </a:lnTo>
                  <a:lnTo>
                    <a:pt x="2730" y="8190"/>
                  </a:lnTo>
                  <a:lnTo>
                    <a:pt x="3559" y="8259"/>
                  </a:lnTo>
                  <a:lnTo>
                    <a:pt x="3559" y="8259"/>
                  </a:lnTo>
                  <a:lnTo>
                    <a:pt x="3387" y="6428"/>
                  </a:lnTo>
                  <a:lnTo>
                    <a:pt x="3179" y="4700"/>
                  </a:lnTo>
                  <a:lnTo>
                    <a:pt x="3179" y="4700"/>
                  </a:lnTo>
                  <a:lnTo>
                    <a:pt x="2834" y="2212"/>
                  </a:lnTo>
                  <a:lnTo>
                    <a:pt x="248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8" name="Google Shape;1618;p16"/>
            <p:cNvSpPr/>
            <p:nvPr/>
          </p:nvSpPr>
          <p:spPr>
            <a:xfrm>
              <a:off x="1180250" y="2334825"/>
              <a:ext cx="218600" cy="170200"/>
            </a:xfrm>
            <a:custGeom>
              <a:avLst/>
              <a:gdLst/>
              <a:ahLst/>
              <a:cxnLst/>
              <a:rect l="l" t="t" r="r" b="b"/>
              <a:pathLst>
                <a:path w="8744" h="6808" extrusionOk="0">
                  <a:moveTo>
                    <a:pt x="4389" y="0"/>
                  </a:moveTo>
                  <a:lnTo>
                    <a:pt x="0" y="2316"/>
                  </a:lnTo>
                  <a:lnTo>
                    <a:pt x="622" y="3076"/>
                  </a:lnTo>
                  <a:lnTo>
                    <a:pt x="2316" y="5253"/>
                  </a:lnTo>
                  <a:lnTo>
                    <a:pt x="2592" y="5599"/>
                  </a:lnTo>
                  <a:lnTo>
                    <a:pt x="2869" y="5875"/>
                  </a:lnTo>
                  <a:lnTo>
                    <a:pt x="3180" y="6117"/>
                  </a:lnTo>
                  <a:lnTo>
                    <a:pt x="3491" y="6324"/>
                  </a:lnTo>
                  <a:lnTo>
                    <a:pt x="3836" y="6497"/>
                  </a:lnTo>
                  <a:lnTo>
                    <a:pt x="4182" y="6635"/>
                  </a:lnTo>
                  <a:lnTo>
                    <a:pt x="4527" y="6739"/>
                  </a:lnTo>
                  <a:lnTo>
                    <a:pt x="4907" y="6773"/>
                  </a:lnTo>
                  <a:lnTo>
                    <a:pt x="5288" y="6808"/>
                  </a:lnTo>
                  <a:lnTo>
                    <a:pt x="6048" y="6808"/>
                  </a:lnTo>
                  <a:lnTo>
                    <a:pt x="6428" y="6739"/>
                  </a:lnTo>
                  <a:lnTo>
                    <a:pt x="6843" y="6670"/>
                  </a:lnTo>
                  <a:lnTo>
                    <a:pt x="7223" y="6601"/>
                  </a:lnTo>
                  <a:lnTo>
                    <a:pt x="8017" y="6359"/>
                  </a:lnTo>
                  <a:lnTo>
                    <a:pt x="8225" y="6290"/>
                  </a:lnTo>
                  <a:lnTo>
                    <a:pt x="8363" y="6186"/>
                  </a:lnTo>
                  <a:lnTo>
                    <a:pt x="8501" y="6082"/>
                  </a:lnTo>
                  <a:lnTo>
                    <a:pt x="8605" y="5979"/>
                  </a:lnTo>
                  <a:lnTo>
                    <a:pt x="8674" y="5875"/>
                  </a:lnTo>
                  <a:lnTo>
                    <a:pt x="8709" y="5737"/>
                  </a:lnTo>
                  <a:lnTo>
                    <a:pt x="8743" y="5599"/>
                  </a:lnTo>
                  <a:lnTo>
                    <a:pt x="8743" y="5460"/>
                  </a:lnTo>
                  <a:lnTo>
                    <a:pt x="8674" y="5149"/>
                  </a:lnTo>
                  <a:lnTo>
                    <a:pt x="8570" y="4838"/>
                  </a:lnTo>
                  <a:lnTo>
                    <a:pt x="8398" y="4493"/>
                  </a:lnTo>
                  <a:lnTo>
                    <a:pt x="8190" y="4182"/>
                  </a:lnTo>
                  <a:lnTo>
                    <a:pt x="7776" y="3525"/>
                  </a:lnTo>
                  <a:lnTo>
                    <a:pt x="7361" y="2938"/>
                  </a:lnTo>
                  <a:lnTo>
                    <a:pt x="7188" y="2696"/>
                  </a:lnTo>
                  <a:lnTo>
                    <a:pt x="7084" y="2488"/>
                  </a:lnTo>
                  <a:lnTo>
                    <a:pt x="7050" y="2316"/>
                  </a:lnTo>
                  <a:lnTo>
                    <a:pt x="7050" y="2247"/>
                  </a:lnTo>
                  <a:lnTo>
                    <a:pt x="7084" y="2212"/>
                  </a:lnTo>
                  <a:lnTo>
                    <a:pt x="7154" y="2108"/>
                  </a:lnTo>
                  <a:lnTo>
                    <a:pt x="7188" y="2005"/>
                  </a:lnTo>
                  <a:lnTo>
                    <a:pt x="7154" y="1901"/>
                  </a:lnTo>
                  <a:lnTo>
                    <a:pt x="7119" y="1797"/>
                  </a:lnTo>
                  <a:lnTo>
                    <a:pt x="7050" y="1728"/>
                  </a:lnTo>
                  <a:lnTo>
                    <a:pt x="6912" y="1625"/>
                  </a:lnTo>
                  <a:lnTo>
                    <a:pt x="6566" y="1417"/>
                  </a:lnTo>
                  <a:lnTo>
                    <a:pt x="5633" y="864"/>
                  </a:lnTo>
                  <a:lnTo>
                    <a:pt x="5011" y="484"/>
                  </a:lnTo>
                  <a:lnTo>
                    <a:pt x="4389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9" name="Google Shape;1619;p16"/>
            <p:cNvSpPr/>
            <p:nvPr/>
          </p:nvSpPr>
          <p:spPr>
            <a:xfrm>
              <a:off x="836400" y="2294225"/>
              <a:ext cx="466550" cy="533925"/>
            </a:xfrm>
            <a:custGeom>
              <a:avLst/>
              <a:gdLst/>
              <a:ahLst/>
              <a:cxnLst/>
              <a:rect l="l" t="t" r="r" b="b"/>
              <a:pathLst>
                <a:path w="18662" h="21357" extrusionOk="0">
                  <a:moveTo>
                    <a:pt x="15206" y="0"/>
                  </a:moveTo>
                  <a:lnTo>
                    <a:pt x="14826" y="35"/>
                  </a:lnTo>
                  <a:lnTo>
                    <a:pt x="14446" y="104"/>
                  </a:lnTo>
                  <a:lnTo>
                    <a:pt x="14031" y="208"/>
                  </a:lnTo>
                  <a:lnTo>
                    <a:pt x="13616" y="311"/>
                  </a:lnTo>
                  <a:lnTo>
                    <a:pt x="13167" y="484"/>
                  </a:lnTo>
                  <a:lnTo>
                    <a:pt x="12683" y="691"/>
                  </a:lnTo>
                  <a:lnTo>
                    <a:pt x="12338" y="864"/>
                  </a:lnTo>
                  <a:lnTo>
                    <a:pt x="12027" y="1037"/>
                  </a:lnTo>
                  <a:lnTo>
                    <a:pt x="11750" y="1244"/>
                  </a:lnTo>
                  <a:lnTo>
                    <a:pt x="11508" y="1486"/>
                  </a:lnTo>
                  <a:lnTo>
                    <a:pt x="11266" y="1763"/>
                  </a:lnTo>
                  <a:lnTo>
                    <a:pt x="11059" y="2005"/>
                  </a:lnTo>
                  <a:lnTo>
                    <a:pt x="10886" y="2316"/>
                  </a:lnTo>
                  <a:lnTo>
                    <a:pt x="10713" y="2592"/>
                  </a:lnTo>
                  <a:lnTo>
                    <a:pt x="10575" y="2903"/>
                  </a:lnTo>
                  <a:lnTo>
                    <a:pt x="10472" y="3249"/>
                  </a:lnTo>
                  <a:lnTo>
                    <a:pt x="10264" y="3905"/>
                  </a:lnTo>
                  <a:lnTo>
                    <a:pt x="10126" y="4596"/>
                  </a:lnTo>
                  <a:lnTo>
                    <a:pt x="10022" y="5287"/>
                  </a:lnTo>
                  <a:lnTo>
                    <a:pt x="9953" y="5978"/>
                  </a:lnTo>
                  <a:lnTo>
                    <a:pt x="9919" y="6635"/>
                  </a:lnTo>
                  <a:lnTo>
                    <a:pt x="9850" y="7810"/>
                  </a:lnTo>
                  <a:lnTo>
                    <a:pt x="9815" y="8328"/>
                  </a:lnTo>
                  <a:lnTo>
                    <a:pt x="9780" y="8778"/>
                  </a:lnTo>
                  <a:lnTo>
                    <a:pt x="9711" y="9123"/>
                  </a:lnTo>
                  <a:lnTo>
                    <a:pt x="9677" y="9227"/>
                  </a:lnTo>
                  <a:lnTo>
                    <a:pt x="9608" y="9330"/>
                  </a:lnTo>
                  <a:lnTo>
                    <a:pt x="9469" y="9503"/>
                  </a:lnTo>
                  <a:lnTo>
                    <a:pt x="9331" y="9641"/>
                  </a:lnTo>
                  <a:lnTo>
                    <a:pt x="9193" y="9745"/>
                  </a:lnTo>
                  <a:lnTo>
                    <a:pt x="9055" y="9849"/>
                  </a:lnTo>
                  <a:lnTo>
                    <a:pt x="8709" y="9987"/>
                  </a:lnTo>
                  <a:lnTo>
                    <a:pt x="8329" y="10091"/>
                  </a:lnTo>
                  <a:lnTo>
                    <a:pt x="7811" y="10263"/>
                  </a:lnTo>
                  <a:lnTo>
                    <a:pt x="7154" y="10505"/>
                  </a:lnTo>
                  <a:lnTo>
                    <a:pt x="6359" y="10885"/>
                  </a:lnTo>
                  <a:lnTo>
                    <a:pt x="5357" y="11438"/>
                  </a:lnTo>
                  <a:lnTo>
                    <a:pt x="4873" y="11749"/>
                  </a:lnTo>
                  <a:lnTo>
                    <a:pt x="4493" y="12095"/>
                  </a:lnTo>
                  <a:lnTo>
                    <a:pt x="4217" y="12406"/>
                  </a:lnTo>
                  <a:lnTo>
                    <a:pt x="4044" y="12717"/>
                  </a:lnTo>
                  <a:lnTo>
                    <a:pt x="3940" y="13028"/>
                  </a:lnTo>
                  <a:lnTo>
                    <a:pt x="3906" y="13339"/>
                  </a:lnTo>
                  <a:lnTo>
                    <a:pt x="3906" y="13650"/>
                  </a:lnTo>
                  <a:lnTo>
                    <a:pt x="3975" y="13926"/>
                  </a:lnTo>
                  <a:lnTo>
                    <a:pt x="4148" y="14479"/>
                  </a:lnTo>
                  <a:lnTo>
                    <a:pt x="4286" y="14998"/>
                  </a:lnTo>
                  <a:lnTo>
                    <a:pt x="4355" y="15205"/>
                  </a:lnTo>
                  <a:lnTo>
                    <a:pt x="4355" y="15447"/>
                  </a:lnTo>
                  <a:lnTo>
                    <a:pt x="4286" y="15620"/>
                  </a:lnTo>
                  <a:lnTo>
                    <a:pt x="4182" y="15793"/>
                  </a:lnTo>
                  <a:lnTo>
                    <a:pt x="4044" y="15931"/>
                  </a:lnTo>
                  <a:lnTo>
                    <a:pt x="3906" y="16034"/>
                  </a:lnTo>
                  <a:lnTo>
                    <a:pt x="3595" y="16207"/>
                  </a:lnTo>
                  <a:lnTo>
                    <a:pt x="3318" y="16276"/>
                  </a:lnTo>
                  <a:lnTo>
                    <a:pt x="3007" y="16345"/>
                  </a:lnTo>
                  <a:lnTo>
                    <a:pt x="2662" y="16415"/>
                  </a:lnTo>
                  <a:lnTo>
                    <a:pt x="2351" y="16553"/>
                  </a:lnTo>
                  <a:lnTo>
                    <a:pt x="2005" y="16726"/>
                  </a:lnTo>
                  <a:lnTo>
                    <a:pt x="1832" y="16864"/>
                  </a:lnTo>
                  <a:lnTo>
                    <a:pt x="1625" y="17037"/>
                  </a:lnTo>
                  <a:lnTo>
                    <a:pt x="1280" y="17451"/>
                  </a:lnTo>
                  <a:lnTo>
                    <a:pt x="934" y="17935"/>
                  </a:lnTo>
                  <a:lnTo>
                    <a:pt x="588" y="18453"/>
                  </a:lnTo>
                  <a:lnTo>
                    <a:pt x="347" y="19006"/>
                  </a:lnTo>
                  <a:lnTo>
                    <a:pt x="139" y="19525"/>
                  </a:lnTo>
                  <a:lnTo>
                    <a:pt x="70" y="19766"/>
                  </a:lnTo>
                  <a:lnTo>
                    <a:pt x="36" y="20008"/>
                  </a:lnTo>
                  <a:lnTo>
                    <a:pt x="1" y="20250"/>
                  </a:lnTo>
                  <a:lnTo>
                    <a:pt x="1" y="20423"/>
                  </a:lnTo>
                  <a:lnTo>
                    <a:pt x="70" y="20596"/>
                  </a:lnTo>
                  <a:lnTo>
                    <a:pt x="139" y="20769"/>
                  </a:lnTo>
                  <a:lnTo>
                    <a:pt x="277" y="20941"/>
                  </a:lnTo>
                  <a:lnTo>
                    <a:pt x="519" y="21080"/>
                  </a:lnTo>
                  <a:lnTo>
                    <a:pt x="796" y="21183"/>
                  </a:lnTo>
                  <a:lnTo>
                    <a:pt x="1107" y="21252"/>
                  </a:lnTo>
                  <a:lnTo>
                    <a:pt x="1521" y="21322"/>
                  </a:lnTo>
                  <a:lnTo>
                    <a:pt x="1936" y="21356"/>
                  </a:lnTo>
                  <a:lnTo>
                    <a:pt x="2420" y="21356"/>
                  </a:lnTo>
                  <a:lnTo>
                    <a:pt x="2938" y="21322"/>
                  </a:lnTo>
                  <a:lnTo>
                    <a:pt x="3491" y="21252"/>
                  </a:lnTo>
                  <a:lnTo>
                    <a:pt x="4079" y="21149"/>
                  </a:lnTo>
                  <a:lnTo>
                    <a:pt x="4701" y="21045"/>
                  </a:lnTo>
                  <a:lnTo>
                    <a:pt x="5323" y="20872"/>
                  </a:lnTo>
                  <a:lnTo>
                    <a:pt x="6014" y="20700"/>
                  </a:lnTo>
                  <a:lnTo>
                    <a:pt x="6670" y="20492"/>
                  </a:lnTo>
                  <a:lnTo>
                    <a:pt x="7361" y="20285"/>
                  </a:lnTo>
                  <a:lnTo>
                    <a:pt x="8087" y="20008"/>
                  </a:lnTo>
                  <a:lnTo>
                    <a:pt x="8778" y="19732"/>
                  </a:lnTo>
                  <a:lnTo>
                    <a:pt x="9469" y="19386"/>
                  </a:lnTo>
                  <a:lnTo>
                    <a:pt x="10195" y="19041"/>
                  </a:lnTo>
                  <a:lnTo>
                    <a:pt x="10886" y="18695"/>
                  </a:lnTo>
                  <a:lnTo>
                    <a:pt x="11577" y="18281"/>
                  </a:lnTo>
                  <a:lnTo>
                    <a:pt x="12268" y="17866"/>
                  </a:lnTo>
                  <a:lnTo>
                    <a:pt x="12925" y="17382"/>
                  </a:lnTo>
                  <a:lnTo>
                    <a:pt x="13547" y="16898"/>
                  </a:lnTo>
                  <a:lnTo>
                    <a:pt x="14135" y="16415"/>
                  </a:lnTo>
                  <a:lnTo>
                    <a:pt x="14687" y="15965"/>
                  </a:lnTo>
                  <a:lnTo>
                    <a:pt x="15171" y="15481"/>
                  </a:lnTo>
                  <a:lnTo>
                    <a:pt x="15620" y="15067"/>
                  </a:lnTo>
                  <a:lnTo>
                    <a:pt x="16001" y="14652"/>
                  </a:lnTo>
                  <a:lnTo>
                    <a:pt x="16346" y="14237"/>
                  </a:lnTo>
                  <a:lnTo>
                    <a:pt x="16657" y="13857"/>
                  </a:lnTo>
                  <a:lnTo>
                    <a:pt x="16899" y="13477"/>
                  </a:lnTo>
                  <a:lnTo>
                    <a:pt x="17141" y="13132"/>
                  </a:lnTo>
                  <a:lnTo>
                    <a:pt x="17314" y="12786"/>
                  </a:lnTo>
                  <a:lnTo>
                    <a:pt x="17486" y="12441"/>
                  </a:lnTo>
                  <a:lnTo>
                    <a:pt x="17590" y="12130"/>
                  </a:lnTo>
                  <a:lnTo>
                    <a:pt x="17694" y="11819"/>
                  </a:lnTo>
                  <a:lnTo>
                    <a:pt x="17763" y="11542"/>
                  </a:lnTo>
                  <a:lnTo>
                    <a:pt x="17797" y="11266"/>
                  </a:lnTo>
                  <a:lnTo>
                    <a:pt x="17797" y="10989"/>
                  </a:lnTo>
                  <a:lnTo>
                    <a:pt x="17797" y="10471"/>
                  </a:lnTo>
                  <a:lnTo>
                    <a:pt x="17728" y="10022"/>
                  </a:lnTo>
                  <a:lnTo>
                    <a:pt x="17625" y="9607"/>
                  </a:lnTo>
                  <a:lnTo>
                    <a:pt x="17486" y="9192"/>
                  </a:lnTo>
                  <a:lnTo>
                    <a:pt x="17279" y="8501"/>
                  </a:lnTo>
                  <a:lnTo>
                    <a:pt x="17210" y="8156"/>
                  </a:lnTo>
                  <a:lnTo>
                    <a:pt x="17210" y="7879"/>
                  </a:lnTo>
                  <a:lnTo>
                    <a:pt x="17210" y="7706"/>
                  </a:lnTo>
                  <a:lnTo>
                    <a:pt x="17175" y="7534"/>
                  </a:lnTo>
                  <a:lnTo>
                    <a:pt x="17106" y="7223"/>
                  </a:lnTo>
                  <a:lnTo>
                    <a:pt x="17037" y="7050"/>
                  </a:lnTo>
                  <a:lnTo>
                    <a:pt x="16934" y="6912"/>
                  </a:lnTo>
                  <a:lnTo>
                    <a:pt x="16830" y="6808"/>
                  </a:lnTo>
                  <a:lnTo>
                    <a:pt x="16692" y="6704"/>
                  </a:lnTo>
                  <a:lnTo>
                    <a:pt x="16277" y="6497"/>
                  </a:lnTo>
                  <a:lnTo>
                    <a:pt x="16070" y="6359"/>
                  </a:lnTo>
                  <a:lnTo>
                    <a:pt x="15897" y="6220"/>
                  </a:lnTo>
                  <a:lnTo>
                    <a:pt x="15724" y="6082"/>
                  </a:lnTo>
                  <a:lnTo>
                    <a:pt x="15655" y="5909"/>
                  </a:lnTo>
                  <a:lnTo>
                    <a:pt x="15620" y="5806"/>
                  </a:lnTo>
                  <a:lnTo>
                    <a:pt x="15620" y="5702"/>
                  </a:lnTo>
                  <a:lnTo>
                    <a:pt x="15655" y="5598"/>
                  </a:lnTo>
                  <a:lnTo>
                    <a:pt x="15724" y="5495"/>
                  </a:lnTo>
                  <a:lnTo>
                    <a:pt x="15828" y="5322"/>
                  </a:lnTo>
                  <a:lnTo>
                    <a:pt x="15966" y="5184"/>
                  </a:lnTo>
                  <a:lnTo>
                    <a:pt x="16104" y="5080"/>
                  </a:lnTo>
                  <a:lnTo>
                    <a:pt x="16242" y="5011"/>
                  </a:lnTo>
                  <a:lnTo>
                    <a:pt x="16415" y="4942"/>
                  </a:lnTo>
                  <a:lnTo>
                    <a:pt x="16553" y="4942"/>
                  </a:lnTo>
                  <a:lnTo>
                    <a:pt x="16692" y="4976"/>
                  </a:lnTo>
                  <a:lnTo>
                    <a:pt x="16830" y="5011"/>
                  </a:lnTo>
                  <a:lnTo>
                    <a:pt x="16934" y="5080"/>
                  </a:lnTo>
                  <a:lnTo>
                    <a:pt x="17072" y="5080"/>
                  </a:lnTo>
                  <a:lnTo>
                    <a:pt x="17210" y="5045"/>
                  </a:lnTo>
                  <a:lnTo>
                    <a:pt x="17383" y="5011"/>
                  </a:lnTo>
                  <a:lnTo>
                    <a:pt x="17521" y="4942"/>
                  </a:lnTo>
                  <a:lnTo>
                    <a:pt x="17625" y="4873"/>
                  </a:lnTo>
                  <a:lnTo>
                    <a:pt x="17728" y="4769"/>
                  </a:lnTo>
                  <a:lnTo>
                    <a:pt x="17763" y="4631"/>
                  </a:lnTo>
                  <a:lnTo>
                    <a:pt x="17867" y="4389"/>
                  </a:lnTo>
                  <a:lnTo>
                    <a:pt x="17970" y="4147"/>
                  </a:lnTo>
                  <a:lnTo>
                    <a:pt x="18247" y="3490"/>
                  </a:lnTo>
                  <a:lnTo>
                    <a:pt x="18419" y="3110"/>
                  </a:lnTo>
                  <a:lnTo>
                    <a:pt x="18523" y="2730"/>
                  </a:lnTo>
                  <a:lnTo>
                    <a:pt x="18627" y="2281"/>
                  </a:lnTo>
                  <a:lnTo>
                    <a:pt x="18661" y="1797"/>
                  </a:lnTo>
                  <a:lnTo>
                    <a:pt x="18661" y="1659"/>
                  </a:lnTo>
                  <a:lnTo>
                    <a:pt x="18592" y="1486"/>
                  </a:lnTo>
                  <a:lnTo>
                    <a:pt x="18489" y="1279"/>
                  </a:lnTo>
                  <a:lnTo>
                    <a:pt x="18350" y="1106"/>
                  </a:lnTo>
                  <a:lnTo>
                    <a:pt x="18039" y="795"/>
                  </a:lnTo>
                  <a:lnTo>
                    <a:pt x="17728" y="588"/>
                  </a:lnTo>
                  <a:lnTo>
                    <a:pt x="17383" y="380"/>
                  </a:lnTo>
                  <a:lnTo>
                    <a:pt x="16968" y="242"/>
                  </a:lnTo>
                  <a:lnTo>
                    <a:pt x="16484" y="104"/>
                  </a:lnTo>
                  <a:lnTo>
                    <a:pt x="158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20" name="Google Shape;1620;p16"/>
            <p:cNvSpPr/>
            <p:nvPr/>
          </p:nvSpPr>
          <p:spPr>
            <a:xfrm>
              <a:off x="5011675" y="5126125"/>
              <a:ext cx="203925" cy="344725"/>
            </a:xfrm>
            <a:custGeom>
              <a:avLst/>
              <a:gdLst/>
              <a:ahLst/>
              <a:cxnLst/>
              <a:rect l="l" t="t" r="r" b="b"/>
              <a:pathLst>
                <a:path w="8157" h="13789" extrusionOk="0">
                  <a:moveTo>
                    <a:pt x="1003" y="0"/>
                  </a:moveTo>
                  <a:lnTo>
                    <a:pt x="1" y="9849"/>
                  </a:lnTo>
                  <a:lnTo>
                    <a:pt x="1" y="10229"/>
                  </a:lnTo>
                  <a:lnTo>
                    <a:pt x="1" y="10574"/>
                  </a:lnTo>
                  <a:lnTo>
                    <a:pt x="70" y="10920"/>
                  </a:lnTo>
                  <a:lnTo>
                    <a:pt x="139" y="11265"/>
                  </a:lnTo>
                  <a:lnTo>
                    <a:pt x="277" y="11611"/>
                  </a:lnTo>
                  <a:lnTo>
                    <a:pt x="416" y="11922"/>
                  </a:lnTo>
                  <a:lnTo>
                    <a:pt x="588" y="12199"/>
                  </a:lnTo>
                  <a:lnTo>
                    <a:pt x="796" y="12475"/>
                  </a:lnTo>
                  <a:lnTo>
                    <a:pt x="1038" y="12751"/>
                  </a:lnTo>
                  <a:lnTo>
                    <a:pt x="1280" y="12959"/>
                  </a:lnTo>
                  <a:lnTo>
                    <a:pt x="1556" y="13166"/>
                  </a:lnTo>
                  <a:lnTo>
                    <a:pt x="1867" y="13373"/>
                  </a:lnTo>
                  <a:lnTo>
                    <a:pt x="2178" y="13512"/>
                  </a:lnTo>
                  <a:lnTo>
                    <a:pt x="2524" y="13650"/>
                  </a:lnTo>
                  <a:lnTo>
                    <a:pt x="2869" y="13719"/>
                  </a:lnTo>
                  <a:lnTo>
                    <a:pt x="3215" y="13788"/>
                  </a:lnTo>
                  <a:lnTo>
                    <a:pt x="3975" y="13788"/>
                  </a:lnTo>
                  <a:lnTo>
                    <a:pt x="4320" y="13719"/>
                  </a:lnTo>
                  <a:lnTo>
                    <a:pt x="4666" y="13650"/>
                  </a:lnTo>
                  <a:lnTo>
                    <a:pt x="4977" y="13512"/>
                  </a:lnTo>
                  <a:lnTo>
                    <a:pt x="5288" y="13373"/>
                  </a:lnTo>
                  <a:lnTo>
                    <a:pt x="5599" y="13201"/>
                  </a:lnTo>
                  <a:lnTo>
                    <a:pt x="5876" y="12993"/>
                  </a:lnTo>
                  <a:lnTo>
                    <a:pt x="6117" y="12751"/>
                  </a:lnTo>
                  <a:lnTo>
                    <a:pt x="6359" y="12510"/>
                  </a:lnTo>
                  <a:lnTo>
                    <a:pt x="6567" y="12233"/>
                  </a:lnTo>
                  <a:lnTo>
                    <a:pt x="6739" y="11922"/>
                  </a:lnTo>
                  <a:lnTo>
                    <a:pt x="6878" y="11611"/>
                  </a:lnTo>
                  <a:lnTo>
                    <a:pt x="7016" y="11300"/>
                  </a:lnTo>
                  <a:lnTo>
                    <a:pt x="7120" y="10954"/>
                  </a:lnTo>
                  <a:lnTo>
                    <a:pt x="7154" y="10574"/>
                  </a:lnTo>
                  <a:lnTo>
                    <a:pt x="8156" y="726"/>
                  </a:lnTo>
                  <a:lnTo>
                    <a:pt x="100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21" name="Google Shape;1621;p16"/>
            <p:cNvSpPr/>
            <p:nvPr/>
          </p:nvSpPr>
          <p:spPr>
            <a:xfrm>
              <a:off x="5011675" y="5126125"/>
              <a:ext cx="203925" cy="344725"/>
            </a:xfrm>
            <a:custGeom>
              <a:avLst/>
              <a:gdLst/>
              <a:ahLst/>
              <a:cxnLst/>
              <a:rect l="l" t="t" r="r" b="b"/>
              <a:pathLst>
                <a:path w="8157" h="13789" fill="none" extrusionOk="0">
                  <a:moveTo>
                    <a:pt x="1003" y="0"/>
                  </a:moveTo>
                  <a:lnTo>
                    <a:pt x="8156" y="726"/>
                  </a:lnTo>
                  <a:lnTo>
                    <a:pt x="7154" y="10574"/>
                  </a:lnTo>
                  <a:lnTo>
                    <a:pt x="7154" y="10574"/>
                  </a:lnTo>
                  <a:lnTo>
                    <a:pt x="7120" y="10954"/>
                  </a:lnTo>
                  <a:lnTo>
                    <a:pt x="7016" y="11300"/>
                  </a:lnTo>
                  <a:lnTo>
                    <a:pt x="6878" y="11611"/>
                  </a:lnTo>
                  <a:lnTo>
                    <a:pt x="6739" y="11922"/>
                  </a:lnTo>
                  <a:lnTo>
                    <a:pt x="6567" y="12233"/>
                  </a:lnTo>
                  <a:lnTo>
                    <a:pt x="6359" y="12510"/>
                  </a:lnTo>
                  <a:lnTo>
                    <a:pt x="6117" y="12751"/>
                  </a:lnTo>
                  <a:lnTo>
                    <a:pt x="5876" y="12993"/>
                  </a:lnTo>
                  <a:lnTo>
                    <a:pt x="5599" y="13201"/>
                  </a:lnTo>
                  <a:lnTo>
                    <a:pt x="5288" y="13373"/>
                  </a:lnTo>
                  <a:lnTo>
                    <a:pt x="4977" y="13512"/>
                  </a:lnTo>
                  <a:lnTo>
                    <a:pt x="4666" y="13650"/>
                  </a:lnTo>
                  <a:lnTo>
                    <a:pt x="4320" y="13719"/>
                  </a:lnTo>
                  <a:lnTo>
                    <a:pt x="3975" y="13788"/>
                  </a:lnTo>
                  <a:lnTo>
                    <a:pt x="3595" y="13788"/>
                  </a:lnTo>
                  <a:lnTo>
                    <a:pt x="3249" y="13788"/>
                  </a:lnTo>
                  <a:lnTo>
                    <a:pt x="3215" y="13788"/>
                  </a:lnTo>
                  <a:lnTo>
                    <a:pt x="3215" y="13788"/>
                  </a:lnTo>
                  <a:lnTo>
                    <a:pt x="2869" y="13719"/>
                  </a:lnTo>
                  <a:lnTo>
                    <a:pt x="2524" y="13650"/>
                  </a:lnTo>
                  <a:lnTo>
                    <a:pt x="2178" y="13512"/>
                  </a:lnTo>
                  <a:lnTo>
                    <a:pt x="1867" y="13373"/>
                  </a:lnTo>
                  <a:lnTo>
                    <a:pt x="1556" y="13166"/>
                  </a:lnTo>
                  <a:lnTo>
                    <a:pt x="1280" y="12959"/>
                  </a:lnTo>
                  <a:lnTo>
                    <a:pt x="1038" y="12751"/>
                  </a:lnTo>
                  <a:lnTo>
                    <a:pt x="796" y="12475"/>
                  </a:lnTo>
                  <a:lnTo>
                    <a:pt x="588" y="12199"/>
                  </a:lnTo>
                  <a:lnTo>
                    <a:pt x="416" y="11922"/>
                  </a:lnTo>
                  <a:lnTo>
                    <a:pt x="277" y="11611"/>
                  </a:lnTo>
                  <a:lnTo>
                    <a:pt x="139" y="11265"/>
                  </a:lnTo>
                  <a:lnTo>
                    <a:pt x="70" y="10920"/>
                  </a:lnTo>
                  <a:lnTo>
                    <a:pt x="1" y="10574"/>
                  </a:lnTo>
                  <a:lnTo>
                    <a:pt x="1" y="10229"/>
                  </a:lnTo>
                  <a:lnTo>
                    <a:pt x="1" y="9849"/>
                  </a:lnTo>
                  <a:lnTo>
                    <a:pt x="100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22" name="Google Shape;1622;p16"/>
            <p:cNvSpPr/>
            <p:nvPr/>
          </p:nvSpPr>
          <p:spPr>
            <a:xfrm>
              <a:off x="5024650" y="2352975"/>
              <a:ext cx="450975" cy="2914850"/>
            </a:xfrm>
            <a:custGeom>
              <a:avLst/>
              <a:gdLst/>
              <a:ahLst/>
              <a:cxnLst/>
              <a:rect l="l" t="t" r="r" b="b"/>
              <a:pathLst>
                <a:path w="18039" h="116594" extrusionOk="0">
                  <a:moveTo>
                    <a:pt x="15101" y="0"/>
                  </a:moveTo>
                  <a:lnTo>
                    <a:pt x="14894" y="35"/>
                  </a:lnTo>
                  <a:lnTo>
                    <a:pt x="14687" y="104"/>
                  </a:lnTo>
                  <a:lnTo>
                    <a:pt x="14514" y="173"/>
                  </a:lnTo>
                  <a:lnTo>
                    <a:pt x="14341" y="277"/>
                  </a:lnTo>
                  <a:lnTo>
                    <a:pt x="14168" y="449"/>
                  </a:lnTo>
                  <a:lnTo>
                    <a:pt x="14065" y="622"/>
                  </a:lnTo>
                  <a:lnTo>
                    <a:pt x="13926" y="829"/>
                  </a:lnTo>
                  <a:lnTo>
                    <a:pt x="10955" y="7844"/>
                  </a:lnTo>
                  <a:lnTo>
                    <a:pt x="10886" y="8017"/>
                  </a:lnTo>
                  <a:lnTo>
                    <a:pt x="0" y="115868"/>
                  </a:lnTo>
                  <a:lnTo>
                    <a:pt x="1452" y="116006"/>
                  </a:lnTo>
                  <a:lnTo>
                    <a:pt x="1590" y="116040"/>
                  </a:lnTo>
                  <a:lnTo>
                    <a:pt x="4665" y="116351"/>
                  </a:lnTo>
                  <a:lnTo>
                    <a:pt x="6428" y="116524"/>
                  </a:lnTo>
                  <a:lnTo>
                    <a:pt x="7119" y="116593"/>
                  </a:lnTo>
                  <a:lnTo>
                    <a:pt x="18004" y="9088"/>
                  </a:lnTo>
                  <a:lnTo>
                    <a:pt x="18039" y="8743"/>
                  </a:lnTo>
                  <a:lnTo>
                    <a:pt x="16484" y="1071"/>
                  </a:lnTo>
                  <a:lnTo>
                    <a:pt x="16415" y="864"/>
                  </a:lnTo>
                  <a:lnTo>
                    <a:pt x="16311" y="657"/>
                  </a:lnTo>
                  <a:lnTo>
                    <a:pt x="16173" y="484"/>
                  </a:lnTo>
                  <a:lnTo>
                    <a:pt x="16034" y="346"/>
                  </a:lnTo>
                  <a:lnTo>
                    <a:pt x="15862" y="207"/>
                  </a:lnTo>
                  <a:lnTo>
                    <a:pt x="15689" y="104"/>
                  </a:lnTo>
                  <a:lnTo>
                    <a:pt x="15516" y="69"/>
                  </a:lnTo>
                  <a:lnTo>
                    <a:pt x="15309" y="35"/>
                  </a:lnTo>
                  <a:lnTo>
                    <a:pt x="15101" y="0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23" name="Google Shape;1623;p16"/>
            <p:cNvSpPr/>
            <p:nvPr/>
          </p:nvSpPr>
          <p:spPr>
            <a:xfrm>
              <a:off x="5024650" y="2352975"/>
              <a:ext cx="450975" cy="2914850"/>
            </a:xfrm>
            <a:custGeom>
              <a:avLst/>
              <a:gdLst/>
              <a:ahLst/>
              <a:cxnLst/>
              <a:rect l="l" t="t" r="r" b="b"/>
              <a:pathLst>
                <a:path w="18039" h="116594" fill="none" extrusionOk="0">
                  <a:moveTo>
                    <a:pt x="7119" y="116593"/>
                  </a:moveTo>
                  <a:lnTo>
                    <a:pt x="6428" y="116524"/>
                  </a:lnTo>
                  <a:lnTo>
                    <a:pt x="4665" y="116351"/>
                  </a:lnTo>
                  <a:lnTo>
                    <a:pt x="1590" y="116040"/>
                  </a:lnTo>
                  <a:lnTo>
                    <a:pt x="1452" y="116006"/>
                  </a:lnTo>
                  <a:lnTo>
                    <a:pt x="0" y="115868"/>
                  </a:lnTo>
                  <a:lnTo>
                    <a:pt x="10886" y="8017"/>
                  </a:lnTo>
                  <a:lnTo>
                    <a:pt x="10955" y="7844"/>
                  </a:lnTo>
                  <a:lnTo>
                    <a:pt x="13926" y="829"/>
                  </a:lnTo>
                  <a:lnTo>
                    <a:pt x="13926" y="829"/>
                  </a:lnTo>
                  <a:lnTo>
                    <a:pt x="14065" y="622"/>
                  </a:lnTo>
                  <a:lnTo>
                    <a:pt x="14168" y="449"/>
                  </a:lnTo>
                  <a:lnTo>
                    <a:pt x="14341" y="277"/>
                  </a:lnTo>
                  <a:lnTo>
                    <a:pt x="14514" y="173"/>
                  </a:lnTo>
                  <a:lnTo>
                    <a:pt x="14687" y="104"/>
                  </a:lnTo>
                  <a:lnTo>
                    <a:pt x="14894" y="35"/>
                  </a:lnTo>
                  <a:lnTo>
                    <a:pt x="15101" y="0"/>
                  </a:lnTo>
                  <a:lnTo>
                    <a:pt x="15309" y="35"/>
                  </a:lnTo>
                  <a:lnTo>
                    <a:pt x="15516" y="69"/>
                  </a:lnTo>
                  <a:lnTo>
                    <a:pt x="15689" y="104"/>
                  </a:lnTo>
                  <a:lnTo>
                    <a:pt x="15862" y="207"/>
                  </a:lnTo>
                  <a:lnTo>
                    <a:pt x="16034" y="346"/>
                  </a:lnTo>
                  <a:lnTo>
                    <a:pt x="16173" y="484"/>
                  </a:lnTo>
                  <a:lnTo>
                    <a:pt x="16311" y="657"/>
                  </a:lnTo>
                  <a:lnTo>
                    <a:pt x="16415" y="864"/>
                  </a:lnTo>
                  <a:lnTo>
                    <a:pt x="16484" y="1071"/>
                  </a:lnTo>
                  <a:lnTo>
                    <a:pt x="18039" y="8743"/>
                  </a:lnTo>
                  <a:lnTo>
                    <a:pt x="18004" y="9088"/>
                  </a:lnTo>
                  <a:lnTo>
                    <a:pt x="7119" y="116593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24" name="Google Shape;1624;p16"/>
            <p:cNvSpPr/>
            <p:nvPr/>
          </p:nvSpPr>
          <p:spPr>
            <a:xfrm>
              <a:off x="5296775" y="2296800"/>
              <a:ext cx="178850" cy="298950"/>
            </a:xfrm>
            <a:custGeom>
              <a:avLst/>
              <a:gdLst/>
              <a:ahLst/>
              <a:cxnLst/>
              <a:rect l="l" t="t" r="r" b="b"/>
              <a:pathLst>
                <a:path w="7154" h="11958" extrusionOk="0">
                  <a:moveTo>
                    <a:pt x="4493" y="1"/>
                  </a:moveTo>
                  <a:lnTo>
                    <a:pt x="4355" y="35"/>
                  </a:lnTo>
                  <a:lnTo>
                    <a:pt x="4216" y="70"/>
                  </a:lnTo>
                  <a:lnTo>
                    <a:pt x="4078" y="139"/>
                  </a:lnTo>
                  <a:lnTo>
                    <a:pt x="3975" y="208"/>
                  </a:lnTo>
                  <a:lnTo>
                    <a:pt x="3871" y="312"/>
                  </a:lnTo>
                  <a:lnTo>
                    <a:pt x="3767" y="450"/>
                  </a:lnTo>
                  <a:lnTo>
                    <a:pt x="3698" y="588"/>
                  </a:lnTo>
                  <a:lnTo>
                    <a:pt x="1" y="10264"/>
                  </a:lnTo>
                  <a:lnTo>
                    <a:pt x="381" y="10299"/>
                  </a:lnTo>
                  <a:lnTo>
                    <a:pt x="588" y="10299"/>
                  </a:lnTo>
                  <a:lnTo>
                    <a:pt x="726" y="10264"/>
                  </a:lnTo>
                  <a:lnTo>
                    <a:pt x="795" y="10230"/>
                  </a:lnTo>
                  <a:lnTo>
                    <a:pt x="864" y="10160"/>
                  </a:lnTo>
                  <a:lnTo>
                    <a:pt x="1072" y="10160"/>
                  </a:lnTo>
                  <a:lnTo>
                    <a:pt x="1210" y="10195"/>
                  </a:lnTo>
                  <a:lnTo>
                    <a:pt x="1348" y="10264"/>
                  </a:lnTo>
                  <a:lnTo>
                    <a:pt x="1556" y="10471"/>
                  </a:lnTo>
                  <a:lnTo>
                    <a:pt x="1694" y="10575"/>
                  </a:lnTo>
                  <a:lnTo>
                    <a:pt x="1832" y="10679"/>
                  </a:lnTo>
                  <a:lnTo>
                    <a:pt x="2039" y="10748"/>
                  </a:lnTo>
                  <a:lnTo>
                    <a:pt x="2316" y="10782"/>
                  </a:lnTo>
                  <a:lnTo>
                    <a:pt x="2558" y="10782"/>
                  </a:lnTo>
                  <a:lnTo>
                    <a:pt x="2730" y="10713"/>
                  </a:lnTo>
                  <a:lnTo>
                    <a:pt x="2869" y="10575"/>
                  </a:lnTo>
                  <a:lnTo>
                    <a:pt x="2972" y="10437"/>
                  </a:lnTo>
                  <a:lnTo>
                    <a:pt x="3076" y="10264"/>
                  </a:lnTo>
                  <a:lnTo>
                    <a:pt x="3180" y="10160"/>
                  </a:lnTo>
                  <a:lnTo>
                    <a:pt x="3283" y="10091"/>
                  </a:lnTo>
                  <a:lnTo>
                    <a:pt x="3387" y="10091"/>
                  </a:lnTo>
                  <a:lnTo>
                    <a:pt x="3491" y="10057"/>
                  </a:lnTo>
                  <a:lnTo>
                    <a:pt x="3629" y="10057"/>
                  </a:lnTo>
                  <a:lnTo>
                    <a:pt x="3767" y="10091"/>
                  </a:lnTo>
                  <a:lnTo>
                    <a:pt x="3905" y="10160"/>
                  </a:lnTo>
                  <a:lnTo>
                    <a:pt x="4009" y="10264"/>
                  </a:lnTo>
                  <a:lnTo>
                    <a:pt x="4113" y="10368"/>
                  </a:lnTo>
                  <a:lnTo>
                    <a:pt x="4320" y="10644"/>
                  </a:lnTo>
                  <a:lnTo>
                    <a:pt x="4493" y="10990"/>
                  </a:lnTo>
                  <a:lnTo>
                    <a:pt x="4666" y="11301"/>
                  </a:lnTo>
                  <a:lnTo>
                    <a:pt x="4838" y="11612"/>
                  </a:lnTo>
                  <a:lnTo>
                    <a:pt x="4942" y="11716"/>
                  </a:lnTo>
                  <a:lnTo>
                    <a:pt x="5046" y="11819"/>
                  </a:lnTo>
                  <a:lnTo>
                    <a:pt x="5184" y="11888"/>
                  </a:lnTo>
                  <a:lnTo>
                    <a:pt x="5288" y="11957"/>
                  </a:lnTo>
                  <a:lnTo>
                    <a:pt x="5495" y="11957"/>
                  </a:lnTo>
                  <a:lnTo>
                    <a:pt x="5668" y="11888"/>
                  </a:lnTo>
                  <a:lnTo>
                    <a:pt x="5806" y="11819"/>
                  </a:lnTo>
                  <a:lnTo>
                    <a:pt x="5979" y="11681"/>
                  </a:lnTo>
                  <a:lnTo>
                    <a:pt x="6186" y="11508"/>
                  </a:lnTo>
                  <a:lnTo>
                    <a:pt x="6428" y="11370"/>
                  </a:lnTo>
                  <a:lnTo>
                    <a:pt x="6739" y="11232"/>
                  </a:lnTo>
                  <a:lnTo>
                    <a:pt x="7119" y="11128"/>
                  </a:lnTo>
                  <a:lnTo>
                    <a:pt x="7154" y="10990"/>
                  </a:lnTo>
                  <a:lnTo>
                    <a:pt x="5460" y="796"/>
                  </a:lnTo>
                  <a:lnTo>
                    <a:pt x="5426" y="623"/>
                  </a:lnTo>
                  <a:lnTo>
                    <a:pt x="5357" y="485"/>
                  </a:lnTo>
                  <a:lnTo>
                    <a:pt x="5253" y="346"/>
                  </a:lnTo>
                  <a:lnTo>
                    <a:pt x="5184" y="243"/>
                  </a:lnTo>
                  <a:lnTo>
                    <a:pt x="5046" y="139"/>
                  </a:lnTo>
                  <a:lnTo>
                    <a:pt x="4908" y="70"/>
                  </a:lnTo>
                  <a:lnTo>
                    <a:pt x="4769" y="35"/>
                  </a:lnTo>
                  <a:lnTo>
                    <a:pt x="4631" y="1"/>
                  </a:lnTo>
                  <a:close/>
                </a:path>
              </a:pathLst>
            </a:custGeom>
            <a:solidFill>
              <a:srgbClr val="F1BAC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25" name="Google Shape;1625;p16"/>
            <p:cNvSpPr/>
            <p:nvPr/>
          </p:nvSpPr>
          <p:spPr>
            <a:xfrm>
              <a:off x="5296775" y="2296800"/>
              <a:ext cx="178850" cy="298950"/>
            </a:xfrm>
            <a:custGeom>
              <a:avLst/>
              <a:gdLst/>
              <a:ahLst/>
              <a:cxnLst/>
              <a:rect l="l" t="t" r="r" b="b"/>
              <a:pathLst>
                <a:path w="7154" h="11958" fill="none" extrusionOk="0">
                  <a:moveTo>
                    <a:pt x="1" y="10264"/>
                  </a:moveTo>
                  <a:lnTo>
                    <a:pt x="3698" y="588"/>
                  </a:lnTo>
                  <a:lnTo>
                    <a:pt x="3698" y="588"/>
                  </a:lnTo>
                  <a:lnTo>
                    <a:pt x="3767" y="450"/>
                  </a:lnTo>
                  <a:lnTo>
                    <a:pt x="3871" y="312"/>
                  </a:lnTo>
                  <a:lnTo>
                    <a:pt x="3975" y="208"/>
                  </a:lnTo>
                  <a:lnTo>
                    <a:pt x="4078" y="139"/>
                  </a:lnTo>
                  <a:lnTo>
                    <a:pt x="4216" y="70"/>
                  </a:lnTo>
                  <a:lnTo>
                    <a:pt x="4355" y="35"/>
                  </a:lnTo>
                  <a:lnTo>
                    <a:pt x="4493" y="1"/>
                  </a:lnTo>
                  <a:lnTo>
                    <a:pt x="4631" y="1"/>
                  </a:lnTo>
                  <a:lnTo>
                    <a:pt x="4769" y="35"/>
                  </a:lnTo>
                  <a:lnTo>
                    <a:pt x="4908" y="70"/>
                  </a:lnTo>
                  <a:lnTo>
                    <a:pt x="5046" y="139"/>
                  </a:lnTo>
                  <a:lnTo>
                    <a:pt x="5184" y="243"/>
                  </a:lnTo>
                  <a:lnTo>
                    <a:pt x="5253" y="346"/>
                  </a:lnTo>
                  <a:lnTo>
                    <a:pt x="5357" y="485"/>
                  </a:lnTo>
                  <a:lnTo>
                    <a:pt x="5426" y="623"/>
                  </a:lnTo>
                  <a:lnTo>
                    <a:pt x="5460" y="796"/>
                  </a:lnTo>
                  <a:lnTo>
                    <a:pt x="7154" y="10990"/>
                  </a:lnTo>
                  <a:lnTo>
                    <a:pt x="7119" y="11128"/>
                  </a:lnTo>
                  <a:lnTo>
                    <a:pt x="7119" y="11128"/>
                  </a:lnTo>
                  <a:lnTo>
                    <a:pt x="6739" y="11232"/>
                  </a:lnTo>
                  <a:lnTo>
                    <a:pt x="6428" y="11370"/>
                  </a:lnTo>
                  <a:lnTo>
                    <a:pt x="6186" y="11508"/>
                  </a:lnTo>
                  <a:lnTo>
                    <a:pt x="5979" y="11681"/>
                  </a:lnTo>
                  <a:lnTo>
                    <a:pt x="5806" y="11819"/>
                  </a:lnTo>
                  <a:lnTo>
                    <a:pt x="5668" y="11888"/>
                  </a:lnTo>
                  <a:lnTo>
                    <a:pt x="5495" y="11957"/>
                  </a:lnTo>
                  <a:lnTo>
                    <a:pt x="5288" y="11957"/>
                  </a:lnTo>
                  <a:lnTo>
                    <a:pt x="5288" y="11957"/>
                  </a:lnTo>
                  <a:lnTo>
                    <a:pt x="5184" y="11888"/>
                  </a:lnTo>
                  <a:lnTo>
                    <a:pt x="5046" y="11819"/>
                  </a:lnTo>
                  <a:lnTo>
                    <a:pt x="4942" y="11716"/>
                  </a:lnTo>
                  <a:lnTo>
                    <a:pt x="4838" y="11612"/>
                  </a:lnTo>
                  <a:lnTo>
                    <a:pt x="4666" y="11301"/>
                  </a:lnTo>
                  <a:lnTo>
                    <a:pt x="4493" y="10990"/>
                  </a:lnTo>
                  <a:lnTo>
                    <a:pt x="4320" y="10644"/>
                  </a:lnTo>
                  <a:lnTo>
                    <a:pt x="4113" y="10368"/>
                  </a:lnTo>
                  <a:lnTo>
                    <a:pt x="4009" y="10264"/>
                  </a:lnTo>
                  <a:lnTo>
                    <a:pt x="3905" y="10160"/>
                  </a:lnTo>
                  <a:lnTo>
                    <a:pt x="3767" y="10091"/>
                  </a:lnTo>
                  <a:lnTo>
                    <a:pt x="3629" y="10057"/>
                  </a:lnTo>
                  <a:lnTo>
                    <a:pt x="3629" y="10057"/>
                  </a:lnTo>
                  <a:lnTo>
                    <a:pt x="3491" y="10057"/>
                  </a:lnTo>
                  <a:lnTo>
                    <a:pt x="3387" y="10091"/>
                  </a:lnTo>
                  <a:lnTo>
                    <a:pt x="3283" y="10091"/>
                  </a:lnTo>
                  <a:lnTo>
                    <a:pt x="3180" y="10160"/>
                  </a:lnTo>
                  <a:lnTo>
                    <a:pt x="3076" y="10264"/>
                  </a:lnTo>
                  <a:lnTo>
                    <a:pt x="2972" y="10437"/>
                  </a:lnTo>
                  <a:lnTo>
                    <a:pt x="2972" y="10437"/>
                  </a:lnTo>
                  <a:lnTo>
                    <a:pt x="2869" y="10575"/>
                  </a:lnTo>
                  <a:lnTo>
                    <a:pt x="2730" y="10713"/>
                  </a:lnTo>
                  <a:lnTo>
                    <a:pt x="2558" y="10782"/>
                  </a:lnTo>
                  <a:lnTo>
                    <a:pt x="2454" y="10782"/>
                  </a:lnTo>
                  <a:lnTo>
                    <a:pt x="2316" y="10782"/>
                  </a:lnTo>
                  <a:lnTo>
                    <a:pt x="2316" y="10782"/>
                  </a:lnTo>
                  <a:lnTo>
                    <a:pt x="2039" y="10748"/>
                  </a:lnTo>
                  <a:lnTo>
                    <a:pt x="1832" y="10679"/>
                  </a:lnTo>
                  <a:lnTo>
                    <a:pt x="1694" y="10575"/>
                  </a:lnTo>
                  <a:lnTo>
                    <a:pt x="1556" y="10471"/>
                  </a:lnTo>
                  <a:lnTo>
                    <a:pt x="1348" y="10264"/>
                  </a:lnTo>
                  <a:lnTo>
                    <a:pt x="1210" y="10195"/>
                  </a:lnTo>
                  <a:lnTo>
                    <a:pt x="1072" y="10160"/>
                  </a:lnTo>
                  <a:lnTo>
                    <a:pt x="1072" y="10160"/>
                  </a:lnTo>
                  <a:lnTo>
                    <a:pt x="934" y="10160"/>
                  </a:lnTo>
                  <a:lnTo>
                    <a:pt x="864" y="10160"/>
                  </a:lnTo>
                  <a:lnTo>
                    <a:pt x="795" y="10230"/>
                  </a:lnTo>
                  <a:lnTo>
                    <a:pt x="795" y="10230"/>
                  </a:lnTo>
                  <a:lnTo>
                    <a:pt x="726" y="10264"/>
                  </a:lnTo>
                  <a:lnTo>
                    <a:pt x="588" y="10299"/>
                  </a:lnTo>
                  <a:lnTo>
                    <a:pt x="381" y="10299"/>
                  </a:lnTo>
                  <a:lnTo>
                    <a:pt x="1" y="1026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26" name="Google Shape;1626;p16"/>
            <p:cNvSpPr/>
            <p:nvPr/>
          </p:nvSpPr>
          <p:spPr>
            <a:xfrm>
              <a:off x="5368475" y="2269175"/>
              <a:ext cx="74325" cy="107150"/>
            </a:xfrm>
            <a:custGeom>
              <a:avLst/>
              <a:gdLst/>
              <a:ahLst/>
              <a:cxnLst/>
              <a:rect l="l" t="t" r="r" b="b"/>
              <a:pathLst>
                <a:path w="2973" h="4286" extrusionOk="0">
                  <a:moveTo>
                    <a:pt x="1901" y="0"/>
                  </a:moveTo>
                  <a:lnTo>
                    <a:pt x="1729" y="35"/>
                  </a:lnTo>
                  <a:lnTo>
                    <a:pt x="1556" y="69"/>
                  </a:lnTo>
                  <a:lnTo>
                    <a:pt x="1452" y="173"/>
                  </a:lnTo>
                  <a:lnTo>
                    <a:pt x="1348" y="346"/>
                  </a:lnTo>
                  <a:lnTo>
                    <a:pt x="35" y="3801"/>
                  </a:lnTo>
                  <a:lnTo>
                    <a:pt x="1" y="3870"/>
                  </a:lnTo>
                  <a:lnTo>
                    <a:pt x="35" y="3905"/>
                  </a:lnTo>
                  <a:lnTo>
                    <a:pt x="70" y="3940"/>
                  </a:lnTo>
                  <a:lnTo>
                    <a:pt x="139" y="3940"/>
                  </a:lnTo>
                  <a:lnTo>
                    <a:pt x="796" y="3801"/>
                  </a:lnTo>
                  <a:lnTo>
                    <a:pt x="1348" y="3767"/>
                  </a:lnTo>
                  <a:lnTo>
                    <a:pt x="1521" y="3801"/>
                  </a:lnTo>
                  <a:lnTo>
                    <a:pt x="1694" y="3870"/>
                  </a:lnTo>
                  <a:lnTo>
                    <a:pt x="2005" y="4078"/>
                  </a:lnTo>
                  <a:lnTo>
                    <a:pt x="2178" y="4181"/>
                  </a:lnTo>
                  <a:lnTo>
                    <a:pt x="2351" y="4251"/>
                  </a:lnTo>
                  <a:lnTo>
                    <a:pt x="2592" y="4285"/>
                  </a:lnTo>
                  <a:lnTo>
                    <a:pt x="2903" y="4216"/>
                  </a:lnTo>
                  <a:lnTo>
                    <a:pt x="2938" y="4181"/>
                  </a:lnTo>
                  <a:lnTo>
                    <a:pt x="2973" y="4112"/>
                  </a:lnTo>
                  <a:lnTo>
                    <a:pt x="2351" y="449"/>
                  </a:lnTo>
                  <a:lnTo>
                    <a:pt x="2281" y="277"/>
                  </a:lnTo>
                  <a:lnTo>
                    <a:pt x="2178" y="138"/>
                  </a:lnTo>
                  <a:lnTo>
                    <a:pt x="2040" y="69"/>
                  </a:lnTo>
                  <a:lnTo>
                    <a:pt x="190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27" name="Google Shape;1627;p16"/>
            <p:cNvSpPr/>
            <p:nvPr/>
          </p:nvSpPr>
          <p:spPr>
            <a:xfrm>
              <a:off x="5024650" y="2550800"/>
              <a:ext cx="298925" cy="2703200"/>
            </a:xfrm>
            <a:custGeom>
              <a:avLst/>
              <a:gdLst/>
              <a:ahLst/>
              <a:cxnLst/>
              <a:rect l="l" t="t" r="r" b="b"/>
              <a:pathLst>
                <a:path w="11957" h="108128" extrusionOk="0">
                  <a:moveTo>
                    <a:pt x="11957" y="0"/>
                  </a:moveTo>
                  <a:lnTo>
                    <a:pt x="11715" y="35"/>
                  </a:lnTo>
                  <a:lnTo>
                    <a:pt x="11680" y="70"/>
                  </a:lnTo>
                  <a:lnTo>
                    <a:pt x="11577" y="139"/>
                  </a:lnTo>
                  <a:lnTo>
                    <a:pt x="11335" y="139"/>
                  </a:lnTo>
                  <a:lnTo>
                    <a:pt x="10886" y="104"/>
                  </a:lnTo>
                  <a:lnTo>
                    <a:pt x="2661" y="81554"/>
                  </a:lnTo>
                  <a:lnTo>
                    <a:pt x="2454" y="83558"/>
                  </a:lnTo>
                  <a:lnTo>
                    <a:pt x="0" y="107955"/>
                  </a:lnTo>
                  <a:lnTo>
                    <a:pt x="1452" y="108093"/>
                  </a:lnTo>
                  <a:lnTo>
                    <a:pt x="1590" y="108127"/>
                  </a:lnTo>
                  <a:lnTo>
                    <a:pt x="2143" y="103428"/>
                  </a:lnTo>
                  <a:lnTo>
                    <a:pt x="2661" y="98486"/>
                  </a:lnTo>
                  <a:lnTo>
                    <a:pt x="3145" y="93406"/>
                  </a:lnTo>
                  <a:lnTo>
                    <a:pt x="3629" y="88258"/>
                  </a:lnTo>
                  <a:lnTo>
                    <a:pt x="4527" y="78236"/>
                  </a:lnTo>
                  <a:lnTo>
                    <a:pt x="4976" y="73571"/>
                  </a:lnTo>
                  <a:lnTo>
                    <a:pt x="5391" y="69286"/>
                  </a:lnTo>
                  <a:lnTo>
                    <a:pt x="6082" y="62824"/>
                  </a:lnTo>
                  <a:lnTo>
                    <a:pt x="6981" y="54323"/>
                  </a:lnTo>
                  <a:lnTo>
                    <a:pt x="8052" y="44440"/>
                  </a:lnTo>
                  <a:lnTo>
                    <a:pt x="9158" y="33935"/>
                  </a:lnTo>
                  <a:lnTo>
                    <a:pt x="10194" y="23499"/>
                  </a:lnTo>
                  <a:lnTo>
                    <a:pt x="10678" y="18557"/>
                  </a:lnTo>
                  <a:lnTo>
                    <a:pt x="11058" y="13892"/>
                  </a:lnTo>
                  <a:lnTo>
                    <a:pt x="11438" y="9642"/>
                  </a:lnTo>
                  <a:lnTo>
                    <a:pt x="11680" y="5841"/>
                  </a:lnTo>
                  <a:lnTo>
                    <a:pt x="11888" y="2592"/>
                  </a:lnTo>
                  <a:lnTo>
                    <a:pt x="11922" y="1210"/>
                  </a:lnTo>
                  <a:lnTo>
                    <a:pt x="11957" y="0"/>
                  </a:lnTo>
                  <a:close/>
                </a:path>
              </a:pathLst>
            </a:custGeom>
            <a:solidFill>
              <a:srgbClr val="D9820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28" name="Google Shape;1628;p16"/>
            <p:cNvSpPr/>
            <p:nvPr/>
          </p:nvSpPr>
          <p:spPr>
            <a:xfrm>
              <a:off x="5024650" y="2550800"/>
              <a:ext cx="298925" cy="2703200"/>
            </a:xfrm>
            <a:custGeom>
              <a:avLst/>
              <a:gdLst/>
              <a:ahLst/>
              <a:cxnLst/>
              <a:rect l="l" t="t" r="r" b="b"/>
              <a:pathLst>
                <a:path w="11957" h="108128" fill="none" extrusionOk="0">
                  <a:moveTo>
                    <a:pt x="11957" y="0"/>
                  </a:moveTo>
                  <a:lnTo>
                    <a:pt x="11715" y="35"/>
                  </a:lnTo>
                  <a:lnTo>
                    <a:pt x="11715" y="35"/>
                  </a:lnTo>
                  <a:lnTo>
                    <a:pt x="11680" y="70"/>
                  </a:lnTo>
                  <a:lnTo>
                    <a:pt x="11680" y="70"/>
                  </a:lnTo>
                  <a:lnTo>
                    <a:pt x="11577" y="139"/>
                  </a:lnTo>
                  <a:lnTo>
                    <a:pt x="11335" y="139"/>
                  </a:lnTo>
                  <a:lnTo>
                    <a:pt x="11335" y="139"/>
                  </a:lnTo>
                  <a:lnTo>
                    <a:pt x="10886" y="104"/>
                  </a:lnTo>
                  <a:lnTo>
                    <a:pt x="2661" y="81554"/>
                  </a:lnTo>
                  <a:lnTo>
                    <a:pt x="2454" y="83558"/>
                  </a:lnTo>
                  <a:lnTo>
                    <a:pt x="0" y="107955"/>
                  </a:lnTo>
                  <a:lnTo>
                    <a:pt x="1452" y="108093"/>
                  </a:lnTo>
                  <a:lnTo>
                    <a:pt x="1590" y="108127"/>
                  </a:lnTo>
                  <a:lnTo>
                    <a:pt x="1590" y="108127"/>
                  </a:lnTo>
                  <a:lnTo>
                    <a:pt x="2143" y="103428"/>
                  </a:lnTo>
                  <a:lnTo>
                    <a:pt x="2661" y="98486"/>
                  </a:lnTo>
                  <a:lnTo>
                    <a:pt x="3145" y="93406"/>
                  </a:lnTo>
                  <a:lnTo>
                    <a:pt x="3629" y="88258"/>
                  </a:lnTo>
                  <a:lnTo>
                    <a:pt x="4527" y="78236"/>
                  </a:lnTo>
                  <a:lnTo>
                    <a:pt x="4976" y="73571"/>
                  </a:lnTo>
                  <a:lnTo>
                    <a:pt x="5391" y="69286"/>
                  </a:lnTo>
                  <a:lnTo>
                    <a:pt x="5391" y="69286"/>
                  </a:lnTo>
                  <a:lnTo>
                    <a:pt x="6082" y="62824"/>
                  </a:lnTo>
                  <a:lnTo>
                    <a:pt x="6981" y="54323"/>
                  </a:lnTo>
                  <a:lnTo>
                    <a:pt x="8052" y="44440"/>
                  </a:lnTo>
                  <a:lnTo>
                    <a:pt x="9158" y="33935"/>
                  </a:lnTo>
                  <a:lnTo>
                    <a:pt x="10194" y="23499"/>
                  </a:lnTo>
                  <a:lnTo>
                    <a:pt x="10678" y="18557"/>
                  </a:lnTo>
                  <a:lnTo>
                    <a:pt x="11058" y="13892"/>
                  </a:lnTo>
                  <a:lnTo>
                    <a:pt x="11438" y="9642"/>
                  </a:lnTo>
                  <a:lnTo>
                    <a:pt x="11680" y="5841"/>
                  </a:lnTo>
                  <a:lnTo>
                    <a:pt x="11888" y="2592"/>
                  </a:lnTo>
                  <a:lnTo>
                    <a:pt x="11922" y="1210"/>
                  </a:lnTo>
                  <a:lnTo>
                    <a:pt x="11957" y="0"/>
                  </a:lnTo>
                  <a:lnTo>
                    <a:pt x="1195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29" name="Google Shape;1629;p16"/>
            <p:cNvSpPr/>
            <p:nvPr/>
          </p:nvSpPr>
          <p:spPr>
            <a:xfrm>
              <a:off x="5296775" y="2551675"/>
              <a:ext cx="20750" cy="2600"/>
            </a:xfrm>
            <a:custGeom>
              <a:avLst/>
              <a:gdLst/>
              <a:ahLst/>
              <a:cxnLst/>
              <a:rect l="l" t="t" r="r" b="b"/>
              <a:pathLst>
                <a:path w="830" h="104" extrusionOk="0">
                  <a:moveTo>
                    <a:pt x="830" y="0"/>
                  </a:moveTo>
                  <a:lnTo>
                    <a:pt x="1" y="69"/>
                  </a:lnTo>
                  <a:lnTo>
                    <a:pt x="450" y="104"/>
                  </a:lnTo>
                  <a:lnTo>
                    <a:pt x="692" y="104"/>
                  </a:lnTo>
                  <a:lnTo>
                    <a:pt x="795" y="35"/>
                  </a:lnTo>
                  <a:lnTo>
                    <a:pt x="830" y="0"/>
                  </a:lnTo>
                  <a:close/>
                </a:path>
              </a:pathLst>
            </a:custGeom>
            <a:solidFill>
              <a:srgbClr val="DEACB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30" name="Google Shape;1630;p16"/>
            <p:cNvSpPr/>
            <p:nvPr/>
          </p:nvSpPr>
          <p:spPr>
            <a:xfrm>
              <a:off x="5296775" y="2551675"/>
              <a:ext cx="20750" cy="2600"/>
            </a:xfrm>
            <a:custGeom>
              <a:avLst/>
              <a:gdLst/>
              <a:ahLst/>
              <a:cxnLst/>
              <a:rect l="l" t="t" r="r" b="b"/>
              <a:pathLst>
                <a:path w="830" h="104" fill="none" extrusionOk="0">
                  <a:moveTo>
                    <a:pt x="830" y="0"/>
                  </a:moveTo>
                  <a:lnTo>
                    <a:pt x="1" y="69"/>
                  </a:lnTo>
                  <a:lnTo>
                    <a:pt x="1" y="69"/>
                  </a:lnTo>
                  <a:lnTo>
                    <a:pt x="1" y="69"/>
                  </a:lnTo>
                  <a:lnTo>
                    <a:pt x="1" y="69"/>
                  </a:lnTo>
                  <a:lnTo>
                    <a:pt x="450" y="104"/>
                  </a:lnTo>
                  <a:lnTo>
                    <a:pt x="450" y="104"/>
                  </a:lnTo>
                  <a:lnTo>
                    <a:pt x="692" y="104"/>
                  </a:lnTo>
                  <a:lnTo>
                    <a:pt x="795" y="35"/>
                  </a:lnTo>
                  <a:lnTo>
                    <a:pt x="795" y="35"/>
                  </a:lnTo>
                  <a:lnTo>
                    <a:pt x="83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31" name="Google Shape;1631;p16"/>
            <p:cNvSpPr/>
            <p:nvPr/>
          </p:nvSpPr>
          <p:spPr>
            <a:xfrm>
              <a:off x="5323550" y="25508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32" name="Google Shape;1632;p16"/>
            <p:cNvSpPr/>
            <p:nvPr/>
          </p:nvSpPr>
          <p:spPr>
            <a:xfrm>
              <a:off x="5263950" y="3018175"/>
              <a:ext cx="203050" cy="190075"/>
            </a:xfrm>
            <a:custGeom>
              <a:avLst/>
              <a:gdLst/>
              <a:ahLst/>
              <a:cxnLst/>
              <a:rect l="l" t="t" r="r" b="b"/>
              <a:pathLst>
                <a:path w="8122" h="7603" extrusionOk="0">
                  <a:moveTo>
                    <a:pt x="7119" y="0"/>
                  </a:moveTo>
                  <a:lnTo>
                    <a:pt x="7050" y="35"/>
                  </a:lnTo>
                  <a:lnTo>
                    <a:pt x="6635" y="312"/>
                  </a:lnTo>
                  <a:lnTo>
                    <a:pt x="6255" y="588"/>
                  </a:lnTo>
                  <a:lnTo>
                    <a:pt x="5529" y="1175"/>
                  </a:lnTo>
                  <a:lnTo>
                    <a:pt x="4942" y="1659"/>
                  </a:lnTo>
                  <a:lnTo>
                    <a:pt x="4700" y="1832"/>
                  </a:lnTo>
                  <a:lnTo>
                    <a:pt x="4493" y="1936"/>
                  </a:lnTo>
                  <a:lnTo>
                    <a:pt x="4424" y="1936"/>
                  </a:lnTo>
                  <a:lnTo>
                    <a:pt x="4389" y="1901"/>
                  </a:lnTo>
                  <a:lnTo>
                    <a:pt x="4354" y="1867"/>
                  </a:lnTo>
                  <a:lnTo>
                    <a:pt x="4389" y="1763"/>
                  </a:lnTo>
                  <a:lnTo>
                    <a:pt x="4527" y="1245"/>
                  </a:lnTo>
                  <a:lnTo>
                    <a:pt x="4562" y="934"/>
                  </a:lnTo>
                  <a:lnTo>
                    <a:pt x="4562" y="795"/>
                  </a:lnTo>
                  <a:lnTo>
                    <a:pt x="4562" y="657"/>
                  </a:lnTo>
                  <a:lnTo>
                    <a:pt x="4493" y="553"/>
                  </a:lnTo>
                  <a:lnTo>
                    <a:pt x="4424" y="484"/>
                  </a:lnTo>
                  <a:lnTo>
                    <a:pt x="4285" y="450"/>
                  </a:lnTo>
                  <a:lnTo>
                    <a:pt x="4078" y="415"/>
                  </a:lnTo>
                  <a:lnTo>
                    <a:pt x="3905" y="484"/>
                  </a:lnTo>
                  <a:lnTo>
                    <a:pt x="3698" y="588"/>
                  </a:lnTo>
                  <a:lnTo>
                    <a:pt x="3525" y="726"/>
                  </a:lnTo>
                  <a:lnTo>
                    <a:pt x="3352" y="934"/>
                  </a:lnTo>
                  <a:lnTo>
                    <a:pt x="3007" y="1452"/>
                  </a:lnTo>
                  <a:lnTo>
                    <a:pt x="2592" y="2108"/>
                  </a:lnTo>
                  <a:lnTo>
                    <a:pt x="2143" y="2800"/>
                  </a:lnTo>
                  <a:lnTo>
                    <a:pt x="1866" y="3180"/>
                  </a:lnTo>
                  <a:lnTo>
                    <a:pt x="1555" y="3525"/>
                  </a:lnTo>
                  <a:lnTo>
                    <a:pt x="1244" y="3871"/>
                  </a:lnTo>
                  <a:lnTo>
                    <a:pt x="864" y="4216"/>
                  </a:lnTo>
                  <a:lnTo>
                    <a:pt x="450" y="4527"/>
                  </a:lnTo>
                  <a:lnTo>
                    <a:pt x="0" y="4804"/>
                  </a:lnTo>
                  <a:lnTo>
                    <a:pt x="70" y="5288"/>
                  </a:lnTo>
                  <a:lnTo>
                    <a:pt x="139" y="5806"/>
                  </a:lnTo>
                  <a:lnTo>
                    <a:pt x="242" y="6359"/>
                  </a:lnTo>
                  <a:lnTo>
                    <a:pt x="415" y="6877"/>
                  </a:lnTo>
                  <a:lnTo>
                    <a:pt x="519" y="7119"/>
                  </a:lnTo>
                  <a:lnTo>
                    <a:pt x="622" y="7292"/>
                  </a:lnTo>
                  <a:lnTo>
                    <a:pt x="761" y="7465"/>
                  </a:lnTo>
                  <a:lnTo>
                    <a:pt x="899" y="7568"/>
                  </a:lnTo>
                  <a:lnTo>
                    <a:pt x="1072" y="7603"/>
                  </a:lnTo>
                  <a:lnTo>
                    <a:pt x="1244" y="7568"/>
                  </a:lnTo>
                  <a:lnTo>
                    <a:pt x="2419" y="7050"/>
                  </a:lnTo>
                  <a:lnTo>
                    <a:pt x="4009" y="6324"/>
                  </a:lnTo>
                  <a:lnTo>
                    <a:pt x="5599" y="5564"/>
                  </a:lnTo>
                  <a:lnTo>
                    <a:pt x="6221" y="5253"/>
                  </a:lnTo>
                  <a:lnTo>
                    <a:pt x="6670" y="5011"/>
                  </a:lnTo>
                  <a:lnTo>
                    <a:pt x="6877" y="4873"/>
                  </a:lnTo>
                  <a:lnTo>
                    <a:pt x="7084" y="4700"/>
                  </a:lnTo>
                  <a:lnTo>
                    <a:pt x="7292" y="4527"/>
                  </a:lnTo>
                  <a:lnTo>
                    <a:pt x="7430" y="4355"/>
                  </a:lnTo>
                  <a:lnTo>
                    <a:pt x="7568" y="4147"/>
                  </a:lnTo>
                  <a:lnTo>
                    <a:pt x="7706" y="3940"/>
                  </a:lnTo>
                  <a:lnTo>
                    <a:pt x="7914" y="3525"/>
                  </a:lnTo>
                  <a:lnTo>
                    <a:pt x="8017" y="3076"/>
                  </a:lnTo>
                  <a:lnTo>
                    <a:pt x="8087" y="2627"/>
                  </a:lnTo>
                  <a:lnTo>
                    <a:pt x="8121" y="2212"/>
                  </a:lnTo>
                  <a:lnTo>
                    <a:pt x="8087" y="1763"/>
                  </a:lnTo>
                  <a:lnTo>
                    <a:pt x="8017" y="1383"/>
                  </a:lnTo>
                  <a:lnTo>
                    <a:pt x="7914" y="1003"/>
                  </a:lnTo>
                  <a:lnTo>
                    <a:pt x="7776" y="657"/>
                  </a:lnTo>
                  <a:lnTo>
                    <a:pt x="7637" y="381"/>
                  </a:lnTo>
                  <a:lnTo>
                    <a:pt x="7499" y="173"/>
                  </a:lnTo>
                  <a:lnTo>
                    <a:pt x="7326" y="35"/>
                  </a:lnTo>
                  <a:lnTo>
                    <a:pt x="7188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33" name="Google Shape;1633;p16"/>
            <p:cNvSpPr/>
            <p:nvPr/>
          </p:nvSpPr>
          <p:spPr>
            <a:xfrm>
              <a:off x="4577150" y="3092475"/>
              <a:ext cx="749025" cy="341275"/>
            </a:xfrm>
            <a:custGeom>
              <a:avLst/>
              <a:gdLst/>
              <a:ahLst/>
              <a:cxnLst/>
              <a:rect l="l" t="t" r="r" b="b"/>
              <a:pathLst>
                <a:path w="29961" h="13651" extrusionOk="0">
                  <a:moveTo>
                    <a:pt x="27403" y="0"/>
                  </a:moveTo>
                  <a:lnTo>
                    <a:pt x="27300" y="35"/>
                  </a:lnTo>
                  <a:lnTo>
                    <a:pt x="27230" y="69"/>
                  </a:lnTo>
                  <a:lnTo>
                    <a:pt x="26194" y="899"/>
                  </a:lnTo>
                  <a:lnTo>
                    <a:pt x="24881" y="1901"/>
                  </a:lnTo>
                  <a:lnTo>
                    <a:pt x="23326" y="3041"/>
                  </a:lnTo>
                  <a:lnTo>
                    <a:pt x="21701" y="4147"/>
                  </a:lnTo>
                  <a:lnTo>
                    <a:pt x="20872" y="4700"/>
                  </a:lnTo>
                  <a:lnTo>
                    <a:pt x="20043" y="5184"/>
                  </a:lnTo>
                  <a:lnTo>
                    <a:pt x="19248" y="5633"/>
                  </a:lnTo>
                  <a:lnTo>
                    <a:pt x="18522" y="6048"/>
                  </a:lnTo>
                  <a:lnTo>
                    <a:pt x="17831" y="6359"/>
                  </a:lnTo>
                  <a:lnTo>
                    <a:pt x="17175" y="6635"/>
                  </a:lnTo>
                  <a:lnTo>
                    <a:pt x="16622" y="6773"/>
                  </a:lnTo>
                  <a:lnTo>
                    <a:pt x="16380" y="6808"/>
                  </a:lnTo>
                  <a:lnTo>
                    <a:pt x="16172" y="6843"/>
                  </a:lnTo>
                  <a:lnTo>
                    <a:pt x="15896" y="6808"/>
                  </a:lnTo>
                  <a:lnTo>
                    <a:pt x="15516" y="6704"/>
                  </a:lnTo>
                  <a:lnTo>
                    <a:pt x="15032" y="6601"/>
                  </a:lnTo>
                  <a:lnTo>
                    <a:pt x="14479" y="6393"/>
                  </a:lnTo>
                  <a:lnTo>
                    <a:pt x="13857" y="6186"/>
                  </a:lnTo>
                  <a:lnTo>
                    <a:pt x="13201" y="5909"/>
                  </a:lnTo>
                  <a:lnTo>
                    <a:pt x="12440" y="5564"/>
                  </a:lnTo>
                  <a:lnTo>
                    <a:pt x="11680" y="5184"/>
                  </a:lnTo>
                  <a:lnTo>
                    <a:pt x="10851" y="4769"/>
                  </a:lnTo>
                  <a:lnTo>
                    <a:pt x="10021" y="4320"/>
                  </a:lnTo>
                  <a:lnTo>
                    <a:pt x="9192" y="3802"/>
                  </a:lnTo>
                  <a:lnTo>
                    <a:pt x="8328" y="3214"/>
                  </a:lnTo>
                  <a:lnTo>
                    <a:pt x="7464" y="2592"/>
                  </a:lnTo>
                  <a:lnTo>
                    <a:pt x="6635" y="1936"/>
                  </a:lnTo>
                  <a:lnTo>
                    <a:pt x="5840" y="1244"/>
                  </a:lnTo>
                  <a:lnTo>
                    <a:pt x="5080" y="484"/>
                  </a:lnTo>
                  <a:lnTo>
                    <a:pt x="4251" y="588"/>
                  </a:lnTo>
                  <a:lnTo>
                    <a:pt x="3387" y="691"/>
                  </a:lnTo>
                  <a:lnTo>
                    <a:pt x="2419" y="864"/>
                  </a:lnTo>
                  <a:lnTo>
                    <a:pt x="1935" y="1002"/>
                  </a:lnTo>
                  <a:lnTo>
                    <a:pt x="1451" y="1141"/>
                  </a:lnTo>
                  <a:lnTo>
                    <a:pt x="1037" y="1313"/>
                  </a:lnTo>
                  <a:lnTo>
                    <a:pt x="657" y="1521"/>
                  </a:lnTo>
                  <a:lnTo>
                    <a:pt x="346" y="1728"/>
                  </a:lnTo>
                  <a:lnTo>
                    <a:pt x="242" y="1866"/>
                  </a:lnTo>
                  <a:lnTo>
                    <a:pt x="138" y="2005"/>
                  </a:lnTo>
                  <a:lnTo>
                    <a:pt x="69" y="2143"/>
                  </a:lnTo>
                  <a:lnTo>
                    <a:pt x="35" y="2281"/>
                  </a:lnTo>
                  <a:lnTo>
                    <a:pt x="0" y="2419"/>
                  </a:lnTo>
                  <a:lnTo>
                    <a:pt x="35" y="2592"/>
                  </a:lnTo>
                  <a:lnTo>
                    <a:pt x="69" y="2799"/>
                  </a:lnTo>
                  <a:lnTo>
                    <a:pt x="173" y="3007"/>
                  </a:lnTo>
                  <a:lnTo>
                    <a:pt x="518" y="3594"/>
                  </a:lnTo>
                  <a:lnTo>
                    <a:pt x="1002" y="4285"/>
                  </a:lnTo>
                  <a:lnTo>
                    <a:pt x="1624" y="5080"/>
                  </a:lnTo>
                  <a:lnTo>
                    <a:pt x="2384" y="5944"/>
                  </a:lnTo>
                  <a:lnTo>
                    <a:pt x="3248" y="6877"/>
                  </a:lnTo>
                  <a:lnTo>
                    <a:pt x="4216" y="7845"/>
                  </a:lnTo>
                  <a:lnTo>
                    <a:pt x="5287" y="8778"/>
                  </a:lnTo>
                  <a:lnTo>
                    <a:pt x="6428" y="9745"/>
                  </a:lnTo>
                  <a:lnTo>
                    <a:pt x="7602" y="10609"/>
                  </a:lnTo>
                  <a:lnTo>
                    <a:pt x="8224" y="11058"/>
                  </a:lnTo>
                  <a:lnTo>
                    <a:pt x="8847" y="11439"/>
                  </a:lnTo>
                  <a:lnTo>
                    <a:pt x="9503" y="11819"/>
                  </a:lnTo>
                  <a:lnTo>
                    <a:pt x="10125" y="12164"/>
                  </a:lnTo>
                  <a:lnTo>
                    <a:pt x="10782" y="12510"/>
                  </a:lnTo>
                  <a:lnTo>
                    <a:pt x="11438" y="12786"/>
                  </a:lnTo>
                  <a:lnTo>
                    <a:pt x="12060" y="13028"/>
                  </a:lnTo>
                  <a:lnTo>
                    <a:pt x="12717" y="13235"/>
                  </a:lnTo>
                  <a:lnTo>
                    <a:pt x="13373" y="13408"/>
                  </a:lnTo>
                  <a:lnTo>
                    <a:pt x="14030" y="13546"/>
                  </a:lnTo>
                  <a:lnTo>
                    <a:pt x="14652" y="13616"/>
                  </a:lnTo>
                  <a:lnTo>
                    <a:pt x="15274" y="13650"/>
                  </a:lnTo>
                  <a:lnTo>
                    <a:pt x="15585" y="13616"/>
                  </a:lnTo>
                  <a:lnTo>
                    <a:pt x="15931" y="13581"/>
                  </a:lnTo>
                  <a:lnTo>
                    <a:pt x="16311" y="13477"/>
                  </a:lnTo>
                  <a:lnTo>
                    <a:pt x="16691" y="13339"/>
                  </a:lnTo>
                  <a:lnTo>
                    <a:pt x="17624" y="12959"/>
                  </a:lnTo>
                  <a:lnTo>
                    <a:pt x="18626" y="12475"/>
                  </a:lnTo>
                  <a:lnTo>
                    <a:pt x="19732" y="11922"/>
                  </a:lnTo>
                  <a:lnTo>
                    <a:pt x="20872" y="11300"/>
                  </a:lnTo>
                  <a:lnTo>
                    <a:pt x="22047" y="10609"/>
                  </a:lnTo>
                  <a:lnTo>
                    <a:pt x="23222" y="9883"/>
                  </a:lnTo>
                  <a:lnTo>
                    <a:pt x="25468" y="8432"/>
                  </a:lnTo>
                  <a:lnTo>
                    <a:pt x="27438" y="7084"/>
                  </a:lnTo>
                  <a:lnTo>
                    <a:pt x="28924" y="6048"/>
                  </a:lnTo>
                  <a:lnTo>
                    <a:pt x="29719" y="5426"/>
                  </a:lnTo>
                  <a:lnTo>
                    <a:pt x="29788" y="5357"/>
                  </a:lnTo>
                  <a:lnTo>
                    <a:pt x="29857" y="5218"/>
                  </a:lnTo>
                  <a:lnTo>
                    <a:pt x="29926" y="5080"/>
                  </a:lnTo>
                  <a:lnTo>
                    <a:pt x="29960" y="4907"/>
                  </a:lnTo>
                  <a:lnTo>
                    <a:pt x="29960" y="4562"/>
                  </a:lnTo>
                  <a:lnTo>
                    <a:pt x="29891" y="4113"/>
                  </a:lnTo>
                  <a:lnTo>
                    <a:pt x="29788" y="3629"/>
                  </a:lnTo>
                  <a:lnTo>
                    <a:pt x="29649" y="3145"/>
                  </a:lnTo>
                  <a:lnTo>
                    <a:pt x="29442" y="2627"/>
                  </a:lnTo>
                  <a:lnTo>
                    <a:pt x="29235" y="2143"/>
                  </a:lnTo>
                  <a:lnTo>
                    <a:pt x="28958" y="1659"/>
                  </a:lnTo>
                  <a:lnTo>
                    <a:pt x="28716" y="1210"/>
                  </a:lnTo>
                  <a:lnTo>
                    <a:pt x="28440" y="795"/>
                  </a:lnTo>
                  <a:lnTo>
                    <a:pt x="28164" y="450"/>
                  </a:lnTo>
                  <a:lnTo>
                    <a:pt x="27887" y="208"/>
                  </a:lnTo>
                  <a:lnTo>
                    <a:pt x="27645" y="35"/>
                  </a:lnTo>
                  <a:lnTo>
                    <a:pt x="27542" y="0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34" name="Google Shape;1634;p16"/>
            <p:cNvSpPr/>
            <p:nvPr/>
          </p:nvSpPr>
          <p:spPr>
            <a:xfrm>
              <a:off x="3670900" y="2765050"/>
              <a:ext cx="137375" cy="338675"/>
            </a:xfrm>
            <a:custGeom>
              <a:avLst/>
              <a:gdLst/>
              <a:ahLst/>
              <a:cxnLst/>
              <a:rect l="l" t="t" r="r" b="b"/>
              <a:pathLst>
                <a:path w="5495" h="13547" extrusionOk="0">
                  <a:moveTo>
                    <a:pt x="2765" y="0"/>
                  </a:moveTo>
                  <a:lnTo>
                    <a:pt x="2696" y="35"/>
                  </a:lnTo>
                  <a:lnTo>
                    <a:pt x="2592" y="208"/>
                  </a:lnTo>
                  <a:lnTo>
                    <a:pt x="2523" y="415"/>
                  </a:lnTo>
                  <a:lnTo>
                    <a:pt x="2488" y="657"/>
                  </a:lnTo>
                  <a:lnTo>
                    <a:pt x="2454" y="968"/>
                  </a:lnTo>
                  <a:lnTo>
                    <a:pt x="2488" y="1694"/>
                  </a:lnTo>
                  <a:lnTo>
                    <a:pt x="2592" y="3145"/>
                  </a:lnTo>
                  <a:lnTo>
                    <a:pt x="2592" y="3767"/>
                  </a:lnTo>
                  <a:lnTo>
                    <a:pt x="2558" y="3974"/>
                  </a:lnTo>
                  <a:lnTo>
                    <a:pt x="2488" y="4113"/>
                  </a:lnTo>
                  <a:lnTo>
                    <a:pt x="2385" y="4251"/>
                  </a:lnTo>
                  <a:lnTo>
                    <a:pt x="2247" y="4355"/>
                  </a:lnTo>
                  <a:lnTo>
                    <a:pt x="2074" y="4424"/>
                  </a:lnTo>
                  <a:lnTo>
                    <a:pt x="1866" y="4458"/>
                  </a:lnTo>
                  <a:lnTo>
                    <a:pt x="1452" y="4527"/>
                  </a:lnTo>
                  <a:lnTo>
                    <a:pt x="1037" y="4562"/>
                  </a:lnTo>
                  <a:lnTo>
                    <a:pt x="830" y="4596"/>
                  </a:lnTo>
                  <a:lnTo>
                    <a:pt x="622" y="4666"/>
                  </a:lnTo>
                  <a:lnTo>
                    <a:pt x="450" y="4735"/>
                  </a:lnTo>
                  <a:lnTo>
                    <a:pt x="277" y="4873"/>
                  </a:lnTo>
                  <a:lnTo>
                    <a:pt x="173" y="5011"/>
                  </a:lnTo>
                  <a:lnTo>
                    <a:pt x="70" y="5218"/>
                  </a:lnTo>
                  <a:lnTo>
                    <a:pt x="0" y="5495"/>
                  </a:lnTo>
                  <a:lnTo>
                    <a:pt x="0" y="5806"/>
                  </a:lnTo>
                  <a:lnTo>
                    <a:pt x="35" y="5944"/>
                  </a:lnTo>
                  <a:lnTo>
                    <a:pt x="70" y="6082"/>
                  </a:lnTo>
                  <a:lnTo>
                    <a:pt x="173" y="6359"/>
                  </a:lnTo>
                  <a:lnTo>
                    <a:pt x="346" y="6635"/>
                  </a:lnTo>
                  <a:lnTo>
                    <a:pt x="553" y="6946"/>
                  </a:lnTo>
                  <a:lnTo>
                    <a:pt x="761" y="7326"/>
                  </a:lnTo>
                  <a:lnTo>
                    <a:pt x="1003" y="7776"/>
                  </a:lnTo>
                  <a:lnTo>
                    <a:pt x="1210" y="8329"/>
                  </a:lnTo>
                  <a:lnTo>
                    <a:pt x="1383" y="8985"/>
                  </a:lnTo>
                  <a:lnTo>
                    <a:pt x="1486" y="9503"/>
                  </a:lnTo>
                  <a:lnTo>
                    <a:pt x="1555" y="10125"/>
                  </a:lnTo>
                  <a:lnTo>
                    <a:pt x="1694" y="11508"/>
                  </a:lnTo>
                  <a:lnTo>
                    <a:pt x="1866" y="12752"/>
                  </a:lnTo>
                  <a:lnTo>
                    <a:pt x="1936" y="13201"/>
                  </a:lnTo>
                  <a:lnTo>
                    <a:pt x="2005" y="13339"/>
                  </a:lnTo>
                  <a:lnTo>
                    <a:pt x="2039" y="13443"/>
                  </a:lnTo>
                  <a:lnTo>
                    <a:pt x="2143" y="13512"/>
                  </a:lnTo>
                  <a:lnTo>
                    <a:pt x="2281" y="13547"/>
                  </a:lnTo>
                  <a:lnTo>
                    <a:pt x="2488" y="13547"/>
                  </a:lnTo>
                  <a:lnTo>
                    <a:pt x="2696" y="13512"/>
                  </a:lnTo>
                  <a:lnTo>
                    <a:pt x="3283" y="13374"/>
                  </a:lnTo>
                  <a:lnTo>
                    <a:pt x="3871" y="13166"/>
                  </a:lnTo>
                  <a:lnTo>
                    <a:pt x="4977" y="12752"/>
                  </a:lnTo>
                  <a:lnTo>
                    <a:pt x="5495" y="12579"/>
                  </a:lnTo>
                  <a:lnTo>
                    <a:pt x="5322" y="11784"/>
                  </a:lnTo>
                  <a:lnTo>
                    <a:pt x="5115" y="10851"/>
                  </a:lnTo>
                  <a:lnTo>
                    <a:pt x="4838" y="9918"/>
                  </a:lnTo>
                  <a:lnTo>
                    <a:pt x="4527" y="8985"/>
                  </a:lnTo>
                  <a:lnTo>
                    <a:pt x="4251" y="8156"/>
                  </a:lnTo>
                  <a:lnTo>
                    <a:pt x="4044" y="7326"/>
                  </a:lnTo>
                  <a:lnTo>
                    <a:pt x="3940" y="6877"/>
                  </a:lnTo>
                  <a:lnTo>
                    <a:pt x="3905" y="6463"/>
                  </a:lnTo>
                  <a:lnTo>
                    <a:pt x="3871" y="6048"/>
                  </a:lnTo>
                  <a:lnTo>
                    <a:pt x="3905" y="5633"/>
                  </a:lnTo>
                  <a:lnTo>
                    <a:pt x="3940" y="4977"/>
                  </a:lnTo>
                  <a:lnTo>
                    <a:pt x="3871" y="4147"/>
                  </a:lnTo>
                  <a:lnTo>
                    <a:pt x="3802" y="3249"/>
                  </a:lnTo>
                  <a:lnTo>
                    <a:pt x="3663" y="2316"/>
                  </a:lnTo>
                  <a:lnTo>
                    <a:pt x="3491" y="1452"/>
                  </a:lnTo>
                  <a:lnTo>
                    <a:pt x="3352" y="726"/>
                  </a:lnTo>
                  <a:lnTo>
                    <a:pt x="3180" y="242"/>
                  </a:lnTo>
                  <a:lnTo>
                    <a:pt x="3111" y="70"/>
                  </a:lnTo>
                  <a:lnTo>
                    <a:pt x="3041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35" name="Google Shape;1635;p16"/>
            <p:cNvSpPr/>
            <p:nvPr/>
          </p:nvSpPr>
          <p:spPr>
            <a:xfrm>
              <a:off x="3986225" y="5196100"/>
              <a:ext cx="131350" cy="218575"/>
            </a:xfrm>
            <a:custGeom>
              <a:avLst/>
              <a:gdLst/>
              <a:ahLst/>
              <a:cxnLst/>
              <a:rect l="l" t="t" r="r" b="b"/>
              <a:pathLst>
                <a:path w="5254" h="8743" extrusionOk="0">
                  <a:moveTo>
                    <a:pt x="312" y="0"/>
                  </a:moveTo>
                  <a:lnTo>
                    <a:pt x="139" y="2454"/>
                  </a:lnTo>
                  <a:lnTo>
                    <a:pt x="1" y="4527"/>
                  </a:lnTo>
                  <a:lnTo>
                    <a:pt x="1" y="5460"/>
                  </a:lnTo>
                  <a:lnTo>
                    <a:pt x="1" y="6220"/>
                  </a:lnTo>
                  <a:lnTo>
                    <a:pt x="1210" y="8743"/>
                  </a:lnTo>
                  <a:lnTo>
                    <a:pt x="4597" y="6773"/>
                  </a:lnTo>
                  <a:lnTo>
                    <a:pt x="5253" y="104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36" name="Google Shape;1636;p16"/>
            <p:cNvSpPr/>
            <p:nvPr/>
          </p:nvSpPr>
          <p:spPr>
            <a:xfrm>
              <a:off x="3751250" y="5332600"/>
              <a:ext cx="366325" cy="139975"/>
            </a:xfrm>
            <a:custGeom>
              <a:avLst/>
              <a:gdLst/>
              <a:ahLst/>
              <a:cxnLst/>
              <a:rect l="l" t="t" r="r" b="b"/>
              <a:pathLst>
                <a:path w="14653" h="5599" extrusionOk="0">
                  <a:moveTo>
                    <a:pt x="8881" y="0"/>
                  </a:moveTo>
                  <a:lnTo>
                    <a:pt x="8777" y="35"/>
                  </a:lnTo>
                  <a:lnTo>
                    <a:pt x="8708" y="104"/>
                  </a:lnTo>
                  <a:lnTo>
                    <a:pt x="8674" y="242"/>
                  </a:lnTo>
                  <a:lnTo>
                    <a:pt x="8639" y="588"/>
                  </a:lnTo>
                  <a:lnTo>
                    <a:pt x="8605" y="829"/>
                  </a:lnTo>
                  <a:lnTo>
                    <a:pt x="8536" y="1106"/>
                  </a:lnTo>
                  <a:lnTo>
                    <a:pt x="8466" y="1244"/>
                  </a:lnTo>
                  <a:lnTo>
                    <a:pt x="8397" y="1382"/>
                  </a:lnTo>
                  <a:lnTo>
                    <a:pt x="8259" y="1521"/>
                  </a:lnTo>
                  <a:lnTo>
                    <a:pt x="8086" y="1659"/>
                  </a:lnTo>
                  <a:lnTo>
                    <a:pt x="7706" y="1866"/>
                  </a:lnTo>
                  <a:lnTo>
                    <a:pt x="7222" y="2073"/>
                  </a:lnTo>
                  <a:lnTo>
                    <a:pt x="6670" y="2246"/>
                  </a:lnTo>
                  <a:lnTo>
                    <a:pt x="6082" y="2384"/>
                  </a:lnTo>
                  <a:lnTo>
                    <a:pt x="5426" y="2488"/>
                  </a:lnTo>
                  <a:lnTo>
                    <a:pt x="4734" y="2557"/>
                  </a:lnTo>
                  <a:lnTo>
                    <a:pt x="3387" y="2695"/>
                  </a:lnTo>
                  <a:lnTo>
                    <a:pt x="2177" y="2799"/>
                  </a:lnTo>
                  <a:lnTo>
                    <a:pt x="1175" y="2834"/>
                  </a:lnTo>
                  <a:lnTo>
                    <a:pt x="588" y="2868"/>
                  </a:lnTo>
                  <a:lnTo>
                    <a:pt x="484" y="2937"/>
                  </a:lnTo>
                  <a:lnTo>
                    <a:pt x="380" y="3006"/>
                  </a:lnTo>
                  <a:lnTo>
                    <a:pt x="277" y="3145"/>
                  </a:lnTo>
                  <a:lnTo>
                    <a:pt x="173" y="3318"/>
                  </a:lnTo>
                  <a:lnTo>
                    <a:pt x="104" y="3490"/>
                  </a:lnTo>
                  <a:lnTo>
                    <a:pt x="35" y="3732"/>
                  </a:lnTo>
                  <a:lnTo>
                    <a:pt x="35" y="3940"/>
                  </a:lnTo>
                  <a:lnTo>
                    <a:pt x="0" y="4181"/>
                  </a:lnTo>
                  <a:lnTo>
                    <a:pt x="35" y="4423"/>
                  </a:lnTo>
                  <a:lnTo>
                    <a:pt x="138" y="4665"/>
                  </a:lnTo>
                  <a:lnTo>
                    <a:pt x="242" y="4873"/>
                  </a:lnTo>
                  <a:lnTo>
                    <a:pt x="415" y="5045"/>
                  </a:lnTo>
                  <a:lnTo>
                    <a:pt x="657" y="5218"/>
                  </a:lnTo>
                  <a:lnTo>
                    <a:pt x="933" y="5356"/>
                  </a:lnTo>
                  <a:lnTo>
                    <a:pt x="1313" y="5425"/>
                  </a:lnTo>
                  <a:lnTo>
                    <a:pt x="1728" y="5460"/>
                  </a:lnTo>
                  <a:lnTo>
                    <a:pt x="7430" y="5529"/>
                  </a:lnTo>
                  <a:lnTo>
                    <a:pt x="13304" y="5598"/>
                  </a:lnTo>
                  <a:lnTo>
                    <a:pt x="13477" y="5564"/>
                  </a:lnTo>
                  <a:lnTo>
                    <a:pt x="13650" y="5529"/>
                  </a:lnTo>
                  <a:lnTo>
                    <a:pt x="13823" y="5460"/>
                  </a:lnTo>
                  <a:lnTo>
                    <a:pt x="13961" y="5391"/>
                  </a:lnTo>
                  <a:lnTo>
                    <a:pt x="14099" y="5253"/>
                  </a:lnTo>
                  <a:lnTo>
                    <a:pt x="14203" y="5114"/>
                  </a:lnTo>
                  <a:lnTo>
                    <a:pt x="14307" y="4976"/>
                  </a:lnTo>
                  <a:lnTo>
                    <a:pt x="14341" y="4803"/>
                  </a:lnTo>
                  <a:lnTo>
                    <a:pt x="14514" y="4181"/>
                  </a:lnTo>
                  <a:lnTo>
                    <a:pt x="14583" y="3490"/>
                  </a:lnTo>
                  <a:lnTo>
                    <a:pt x="14652" y="2765"/>
                  </a:lnTo>
                  <a:lnTo>
                    <a:pt x="14618" y="2108"/>
                  </a:lnTo>
                  <a:lnTo>
                    <a:pt x="14583" y="1521"/>
                  </a:lnTo>
                  <a:lnTo>
                    <a:pt x="14514" y="1244"/>
                  </a:lnTo>
                  <a:lnTo>
                    <a:pt x="14445" y="1037"/>
                  </a:lnTo>
                  <a:lnTo>
                    <a:pt x="14376" y="864"/>
                  </a:lnTo>
                  <a:lnTo>
                    <a:pt x="14307" y="726"/>
                  </a:lnTo>
                  <a:lnTo>
                    <a:pt x="14203" y="622"/>
                  </a:lnTo>
                  <a:lnTo>
                    <a:pt x="14065" y="588"/>
                  </a:lnTo>
                  <a:lnTo>
                    <a:pt x="13650" y="484"/>
                  </a:lnTo>
                  <a:lnTo>
                    <a:pt x="13166" y="415"/>
                  </a:lnTo>
                  <a:lnTo>
                    <a:pt x="11991" y="380"/>
                  </a:lnTo>
                  <a:lnTo>
                    <a:pt x="11335" y="346"/>
                  </a:lnTo>
                  <a:lnTo>
                    <a:pt x="10609" y="277"/>
                  </a:lnTo>
                  <a:lnTo>
                    <a:pt x="9849" y="173"/>
                  </a:lnTo>
                  <a:lnTo>
                    <a:pt x="905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37" name="Google Shape;1637;p16"/>
            <p:cNvSpPr/>
            <p:nvPr/>
          </p:nvSpPr>
          <p:spPr>
            <a:xfrm>
              <a:off x="4654025" y="5114025"/>
              <a:ext cx="162450" cy="235875"/>
            </a:xfrm>
            <a:custGeom>
              <a:avLst/>
              <a:gdLst/>
              <a:ahLst/>
              <a:cxnLst/>
              <a:rect l="l" t="t" r="r" b="b"/>
              <a:pathLst>
                <a:path w="6498" h="9435" extrusionOk="0">
                  <a:moveTo>
                    <a:pt x="4700" y="0"/>
                  </a:moveTo>
                  <a:lnTo>
                    <a:pt x="1" y="1521"/>
                  </a:lnTo>
                  <a:lnTo>
                    <a:pt x="726" y="3871"/>
                  </a:lnTo>
                  <a:lnTo>
                    <a:pt x="1348" y="5840"/>
                  </a:lnTo>
                  <a:lnTo>
                    <a:pt x="1694" y="6739"/>
                  </a:lnTo>
                  <a:lnTo>
                    <a:pt x="1970" y="7465"/>
                  </a:lnTo>
                  <a:lnTo>
                    <a:pt x="4009" y="9434"/>
                  </a:lnTo>
                  <a:lnTo>
                    <a:pt x="6497" y="6497"/>
                  </a:lnTo>
                  <a:lnTo>
                    <a:pt x="4700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38" name="Google Shape;1638;p16"/>
            <p:cNvSpPr/>
            <p:nvPr/>
          </p:nvSpPr>
          <p:spPr>
            <a:xfrm>
              <a:off x="4509750" y="5258300"/>
              <a:ext cx="346450" cy="218575"/>
            </a:xfrm>
            <a:custGeom>
              <a:avLst/>
              <a:gdLst/>
              <a:ahLst/>
              <a:cxnLst/>
              <a:rect l="l" t="t" r="r" b="b"/>
              <a:pathLst>
                <a:path w="13858" h="8743" extrusionOk="0">
                  <a:moveTo>
                    <a:pt x="12061" y="0"/>
                  </a:moveTo>
                  <a:lnTo>
                    <a:pt x="11646" y="35"/>
                  </a:lnTo>
                  <a:lnTo>
                    <a:pt x="11162" y="138"/>
                  </a:lnTo>
                  <a:lnTo>
                    <a:pt x="10022" y="484"/>
                  </a:lnTo>
                  <a:lnTo>
                    <a:pt x="9400" y="657"/>
                  </a:lnTo>
                  <a:lnTo>
                    <a:pt x="8709" y="830"/>
                  </a:lnTo>
                  <a:lnTo>
                    <a:pt x="7949" y="1002"/>
                  </a:lnTo>
                  <a:lnTo>
                    <a:pt x="7154" y="1106"/>
                  </a:lnTo>
                  <a:lnTo>
                    <a:pt x="6981" y="1141"/>
                  </a:lnTo>
                  <a:lnTo>
                    <a:pt x="6877" y="1210"/>
                  </a:lnTo>
                  <a:lnTo>
                    <a:pt x="6877" y="1279"/>
                  </a:lnTo>
                  <a:lnTo>
                    <a:pt x="6877" y="1417"/>
                  </a:lnTo>
                  <a:lnTo>
                    <a:pt x="6947" y="1797"/>
                  </a:lnTo>
                  <a:lnTo>
                    <a:pt x="7016" y="2005"/>
                  </a:lnTo>
                  <a:lnTo>
                    <a:pt x="7050" y="2281"/>
                  </a:lnTo>
                  <a:lnTo>
                    <a:pt x="7050" y="2454"/>
                  </a:lnTo>
                  <a:lnTo>
                    <a:pt x="7016" y="2627"/>
                  </a:lnTo>
                  <a:lnTo>
                    <a:pt x="6947" y="2765"/>
                  </a:lnTo>
                  <a:lnTo>
                    <a:pt x="6843" y="2938"/>
                  </a:lnTo>
                  <a:lnTo>
                    <a:pt x="6566" y="3283"/>
                  </a:lnTo>
                  <a:lnTo>
                    <a:pt x="6186" y="3629"/>
                  </a:lnTo>
                  <a:lnTo>
                    <a:pt x="5737" y="3940"/>
                  </a:lnTo>
                  <a:lnTo>
                    <a:pt x="5219" y="4285"/>
                  </a:lnTo>
                  <a:lnTo>
                    <a:pt x="4631" y="4596"/>
                  </a:lnTo>
                  <a:lnTo>
                    <a:pt x="4044" y="4907"/>
                  </a:lnTo>
                  <a:lnTo>
                    <a:pt x="2800" y="5460"/>
                  </a:lnTo>
                  <a:lnTo>
                    <a:pt x="1694" y="5944"/>
                  </a:lnTo>
                  <a:lnTo>
                    <a:pt x="761" y="6324"/>
                  </a:lnTo>
                  <a:lnTo>
                    <a:pt x="208" y="6566"/>
                  </a:lnTo>
                  <a:lnTo>
                    <a:pt x="139" y="6635"/>
                  </a:lnTo>
                  <a:lnTo>
                    <a:pt x="70" y="6739"/>
                  </a:lnTo>
                  <a:lnTo>
                    <a:pt x="35" y="6912"/>
                  </a:lnTo>
                  <a:lnTo>
                    <a:pt x="1" y="7084"/>
                  </a:lnTo>
                  <a:lnTo>
                    <a:pt x="1" y="7292"/>
                  </a:lnTo>
                  <a:lnTo>
                    <a:pt x="35" y="7499"/>
                  </a:lnTo>
                  <a:lnTo>
                    <a:pt x="104" y="7741"/>
                  </a:lnTo>
                  <a:lnTo>
                    <a:pt x="173" y="7948"/>
                  </a:lnTo>
                  <a:lnTo>
                    <a:pt x="277" y="8156"/>
                  </a:lnTo>
                  <a:lnTo>
                    <a:pt x="450" y="8363"/>
                  </a:lnTo>
                  <a:lnTo>
                    <a:pt x="623" y="8536"/>
                  </a:lnTo>
                  <a:lnTo>
                    <a:pt x="865" y="8639"/>
                  </a:lnTo>
                  <a:lnTo>
                    <a:pt x="1141" y="8708"/>
                  </a:lnTo>
                  <a:lnTo>
                    <a:pt x="1452" y="8743"/>
                  </a:lnTo>
                  <a:lnTo>
                    <a:pt x="1832" y="8708"/>
                  </a:lnTo>
                  <a:lnTo>
                    <a:pt x="2247" y="8605"/>
                  </a:lnTo>
                  <a:lnTo>
                    <a:pt x="7638" y="6808"/>
                  </a:lnTo>
                  <a:lnTo>
                    <a:pt x="13132" y="4942"/>
                  </a:lnTo>
                  <a:lnTo>
                    <a:pt x="13305" y="4873"/>
                  </a:lnTo>
                  <a:lnTo>
                    <a:pt x="13478" y="4769"/>
                  </a:lnTo>
                  <a:lnTo>
                    <a:pt x="13581" y="4665"/>
                  </a:lnTo>
                  <a:lnTo>
                    <a:pt x="13720" y="4527"/>
                  </a:lnTo>
                  <a:lnTo>
                    <a:pt x="13789" y="4389"/>
                  </a:lnTo>
                  <a:lnTo>
                    <a:pt x="13858" y="4216"/>
                  </a:lnTo>
                  <a:lnTo>
                    <a:pt x="13858" y="4043"/>
                  </a:lnTo>
                  <a:lnTo>
                    <a:pt x="13858" y="3871"/>
                  </a:lnTo>
                  <a:lnTo>
                    <a:pt x="13789" y="3214"/>
                  </a:lnTo>
                  <a:lnTo>
                    <a:pt x="13616" y="2523"/>
                  </a:lnTo>
                  <a:lnTo>
                    <a:pt x="13409" y="1866"/>
                  </a:lnTo>
                  <a:lnTo>
                    <a:pt x="13132" y="1244"/>
                  </a:lnTo>
                  <a:lnTo>
                    <a:pt x="12890" y="691"/>
                  </a:lnTo>
                  <a:lnTo>
                    <a:pt x="12752" y="484"/>
                  </a:lnTo>
                  <a:lnTo>
                    <a:pt x="12579" y="277"/>
                  </a:lnTo>
                  <a:lnTo>
                    <a:pt x="12441" y="138"/>
                  </a:lnTo>
                  <a:lnTo>
                    <a:pt x="12303" y="35"/>
                  </a:lnTo>
                  <a:lnTo>
                    <a:pt x="1219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39" name="Google Shape;1639;p16"/>
            <p:cNvSpPr/>
            <p:nvPr/>
          </p:nvSpPr>
          <p:spPr>
            <a:xfrm>
              <a:off x="3969800" y="3703250"/>
              <a:ext cx="854450" cy="1612075"/>
            </a:xfrm>
            <a:custGeom>
              <a:avLst/>
              <a:gdLst/>
              <a:ahLst/>
              <a:cxnLst/>
              <a:rect l="l" t="t" r="r" b="b"/>
              <a:pathLst>
                <a:path w="34178" h="64483" extrusionOk="0">
                  <a:moveTo>
                    <a:pt x="16657" y="1"/>
                  </a:moveTo>
                  <a:lnTo>
                    <a:pt x="12579" y="2247"/>
                  </a:lnTo>
                  <a:lnTo>
                    <a:pt x="12027" y="3767"/>
                  </a:lnTo>
                  <a:lnTo>
                    <a:pt x="11439" y="5599"/>
                  </a:lnTo>
                  <a:lnTo>
                    <a:pt x="10817" y="7672"/>
                  </a:lnTo>
                  <a:lnTo>
                    <a:pt x="10161" y="9953"/>
                  </a:lnTo>
                  <a:lnTo>
                    <a:pt x="9538" y="12337"/>
                  </a:lnTo>
                  <a:lnTo>
                    <a:pt x="8882" y="14825"/>
                  </a:lnTo>
                  <a:lnTo>
                    <a:pt x="7638" y="19940"/>
                  </a:lnTo>
                  <a:lnTo>
                    <a:pt x="6463" y="24881"/>
                  </a:lnTo>
                  <a:lnTo>
                    <a:pt x="5495" y="29305"/>
                  </a:lnTo>
                  <a:lnTo>
                    <a:pt x="4770" y="32795"/>
                  </a:lnTo>
                  <a:lnTo>
                    <a:pt x="4355" y="35006"/>
                  </a:lnTo>
                  <a:lnTo>
                    <a:pt x="1971" y="50142"/>
                  </a:lnTo>
                  <a:lnTo>
                    <a:pt x="588" y="58781"/>
                  </a:lnTo>
                  <a:lnTo>
                    <a:pt x="174" y="61649"/>
                  </a:lnTo>
                  <a:lnTo>
                    <a:pt x="1" y="62893"/>
                  </a:lnTo>
                  <a:lnTo>
                    <a:pt x="1" y="62962"/>
                  </a:lnTo>
                  <a:lnTo>
                    <a:pt x="70" y="63032"/>
                  </a:lnTo>
                  <a:lnTo>
                    <a:pt x="277" y="63170"/>
                  </a:lnTo>
                  <a:lnTo>
                    <a:pt x="623" y="63343"/>
                  </a:lnTo>
                  <a:lnTo>
                    <a:pt x="1038" y="63515"/>
                  </a:lnTo>
                  <a:lnTo>
                    <a:pt x="1556" y="63723"/>
                  </a:lnTo>
                  <a:lnTo>
                    <a:pt x="2109" y="63861"/>
                  </a:lnTo>
                  <a:lnTo>
                    <a:pt x="2731" y="64034"/>
                  </a:lnTo>
                  <a:lnTo>
                    <a:pt x="3387" y="64172"/>
                  </a:lnTo>
                  <a:lnTo>
                    <a:pt x="4044" y="64310"/>
                  </a:lnTo>
                  <a:lnTo>
                    <a:pt x="4701" y="64379"/>
                  </a:lnTo>
                  <a:lnTo>
                    <a:pt x="5323" y="64448"/>
                  </a:lnTo>
                  <a:lnTo>
                    <a:pt x="5910" y="64483"/>
                  </a:lnTo>
                  <a:lnTo>
                    <a:pt x="6394" y="64448"/>
                  </a:lnTo>
                  <a:lnTo>
                    <a:pt x="6843" y="64379"/>
                  </a:lnTo>
                  <a:lnTo>
                    <a:pt x="7016" y="64345"/>
                  </a:lnTo>
                  <a:lnTo>
                    <a:pt x="7189" y="64276"/>
                  </a:lnTo>
                  <a:lnTo>
                    <a:pt x="7292" y="64172"/>
                  </a:lnTo>
                  <a:lnTo>
                    <a:pt x="7396" y="64103"/>
                  </a:lnTo>
                  <a:lnTo>
                    <a:pt x="7465" y="63930"/>
                  </a:lnTo>
                  <a:lnTo>
                    <a:pt x="7569" y="63654"/>
                  </a:lnTo>
                  <a:lnTo>
                    <a:pt x="7742" y="62859"/>
                  </a:lnTo>
                  <a:lnTo>
                    <a:pt x="7949" y="61753"/>
                  </a:lnTo>
                  <a:lnTo>
                    <a:pt x="8156" y="60336"/>
                  </a:lnTo>
                  <a:lnTo>
                    <a:pt x="8605" y="56846"/>
                  </a:lnTo>
                  <a:lnTo>
                    <a:pt x="9158" y="52768"/>
                  </a:lnTo>
                  <a:lnTo>
                    <a:pt x="9469" y="50660"/>
                  </a:lnTo>
                  <a:lnTo>
                    <a:pt x="9780" y="48518"/>
                  </a:lnTo>
                  <a:lnTo>
                    <a:pt x="10126" y="46410"/>
                  </a:lnTo>
                  <a:lnTo>
                    <a:pt x="10472" y="44406"/>
                  </a:lnTo>
                  <a:lnTo>
                    <a:pt x="10852" y="42540"/>
                  </a:lnTo>
                  <a:lnTo>
                    <a:pt x="11266" y="40846"/>
                  </a:lnTo>
                  <a:lnTo>
                    <a:pt x="11474" y="40086"/>
                  </a:lnTo>
                  <a:lnTo>
                    <a:pt x="11681" y="39395"/>
                  </a:lnTo>
                  <a:lnTo>
                    <a:pt x="11888" y="38773"/>
                  </a:lnTo>
                  <a:lnTo>
                    <a:pt x="12130" y="38220"/>
                  </a:lnTo>
                  <a:lnTo>
                    <a:pt x="14618" y="32415"/>
                  </a:lnTo>
                  <a:lnTo>
                    <a:pt x="17797" y="25020"/>
                  </a:lnTo>
                  <a:lnTo>
                    <a:pt x="21633" y="15931"/>
                  </a:lnTo>
                  <a:lnTo>
                    <a:pt x="21219" y="19283"/>
                  </a:lnTo>
                  <a:lnTo>
                    <a:pt x="20769" y="22946"/>
                  </a:lnTo>
                  <a:lnTo>
                    <a:pt x="20320" y="26713"/>
                  </a:lnTo>
                  <a:lnTo>
                    <a:pt x="19905" y="30410"/>
                  </a:lnTo>
                  <a:lnTo>
                    <a:pt x="19733" y="32138"/>
                  </a:lnTo>
                  <a:lnTo>
                    <a:pt x="19594" y="33797"/>
                  </a:lnTo>
                  <a:lnTo>
                    <a:pt x="19491" y="35352"/>
                  </a:lnTo>
                  <a:lnTo>
                    <a:pt x="19456" y="36769"/>
                  </a:lnTo>
                  <a:lnTo>
                    <a:pt x="19456" y="38047"/>
                  </a:lnTo>
                  <a:lnTo>
                    <a:pt x="19525" y="39119"/>
                  </a:lnTo>
                  <a:lnTo>
                    <a:pt x="19560" y="39568"/>
                  </a:lnTo>
                  <a:lnTo>
                    <a:pt x="19629" y="39982"/>
                  </a:lnTo>
                  <a:lnTo>
                    <a:pt x="19733" y="40328"/>
                  </a:lnTo>
                  <a:lnTo>
                    <a:pt x="19836" y="40604"/>
                  </a:lnTo>
                  <a:lnTo>
                    <a:pt x="20838" y="43300"/>
                  </a:lnTo>
                  <a:lnTo>
                    <a:pt x="22013" y="46548"/>
                  </a:lnTo>
                  <a:lnTo>
                    <a:pt x="24501" y="53563"/>
                  </a:lnTo>
                  <a:lnTo>
                    <a:pt x="27370" y="61891"/>
                  </a:lnTo>
                  <a:lnTo>
                    <a:pt x="27577" y="61960"/>
                  </a:lnTo>
                  <a:lnTo>
                    <a:pt x="27784" y="62029"/>
                  </a:lnTo>
                  <a:lnTo>
                    <a:pt x="28268" y="62133"/>
                  </a:lnTo>
                  <a:lnTo>
                    <a:pt x="28786" y="62133"/>
                  </a:lnTo>
                  <a:lnTo>
                    <a:pt x="29339" y="62099"/>
                  </a:lnTo>
                  <a:lnTo>
                    <a:pt x="29927" y="62029"/>
                  </a:lnTo>
                  <a:lnTo>
                    <a:pt x="30549" y="61891"/>
                  </a:lnTo>
                  <a:lnTo>
                    <a:pt x="31136" y="61753"/>
                  </a:lnTo>
                  <a:lnTo>
                    <a:pt x="31724" y="61546"/>
                  </a:lnTo>
                  <a:lnTo>
                    <a:pt x="32277" y="61373"/>
                  </a:lnTo>
                  <a:lnTo>
                    <a:pt x="32795" y="61166"/>
                  </a:lnTo>
                  <a:lnTo>
                    <a:pt x="33624" y="60785"/>
                  </a:lnTo>
                  <a:lnTo>
                    <a:pt x="33901" y="60613"/>
                  </a:lnTo>
                  <a:lnTo>
                    <a:pt x="34108" y="60509"/>
                  </a:lnTo>
                  <a:lnTo>
                    <a:pt x="34177" y="60405"/>
                  </a:lnTo>
                  <a:lnTo>
                    <a:pt x="34177" y="60371"/>
                  </a:lnTo>
                  <a:lnTo>
                    <a:pt x="34143" y="60336"/>
                  </a:lnTo>
                  <a:lnTo>
                    <a:pt x="33452" y="58332"/>
                  </a:lnTo>
                  <a:lnTo>
                    <a:pt x="32622" y="55775"/>
                  </a:lnTo>
                  <a:lnTo>
                    <a:pt x="31724" y="52837"/>
                  </a:lnTo>
                  <a:lnTo>
                    <a:pt x="30791" y="49693"/>
                  </a:lnTo>
                  <a:lnTo>
                    <a:pt x="29892" y="46583"/>
                  </a:lnTo>
                  <a:lnTo>
                    <a:pt x="29132" y="43645"/>
                  </a:lnTo>
                  <a:lnTo>
                    <a:pt x="28821" y="42332"/>
                  </a:lnTo>
                  <a:lnTo>
                    <a:pt x="28545" y="41123"/>
                  </a:lnTo>
                  <a:lnTo>
                    <a:pt x="28337" y="40086"/>
                  </a:lnTo>
                  <a:lnTo>
                    <a:pt x="28199" y="39188"/>
                  </a:lnTo>
                  <a:lnTo>
                    <a:pt x="28199" y="38704"/>
                  </a:lnTo>
                  <a:lnTo>
                    <a:pt x="28199" y="38082"/>
                  </a:lnTo>
                  <a:lnTo>
                    <a:pt x="28233" y="37287"/>
                  </a:lnTo>
                  <a:lnTo>
                    <a:pt x="28303" y="36354"/>
                  </a:lnTo>
                  <a:lnTo>
                    <a:pt x="28510" y="34108"/>
                  </a:lnTo>
                  <a:lnTo>
                    <a:pt x="28821" y="31447"/>
                  </a:lnTo>
                  <a:lnTo>
                    <a:pt x="29201" y="28475"/>
                  </a:lnTo>
                  <a:lnTo>
                    <a:pt x="29650" y="25261"/>
                  </a:lnTo>
                  <a:lnTo>
                    <a:pt x="30687" y="18558"/>
                  </a:lnTo>
                  <a:lnTo>
                    <a:pt x="31689" y="12026"/>
                  </a:lnTo>
                  <a:lnTo>
                    <a:pt x="32622" y="6428"/>
                  </a:lnTo>
                  <a:lnTo>
                    <a:pt x="33521" y="1037"/>
                  </a:lnTo>
                  <a:lnTo>
                    <a:pt x="16657" y="1"/>
                  </a:lnTo>
                  <a:close/>
                </a:path>
              </a:pathLst>
            </a:custGeom>
            <a:solidFill>
              <a:srgbClr val="2D2D2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40" name="Google Shape;1640;p16"/>
            <p:cNvSpPr/>
            <p:nvPr/>
          </p:nvSpPr>
          <p:spPr>
            <a:xfrm>
              <a:off x="3969800" y="3703250"/>
              <a:ext cx="854450" cy="1612075"/>
            </a:xfrm>
            <a:custGeom>
              <a:avLst/>
              <a:gdLst/>
              <a:ahLst/>
              <a:cxnLst/>
              <a:rect l="l" t="t" r="r" b="b"/>
              <a:pathLst>
                <a:path w="34178" h="64483" fill="none" extrusionOk="0">
                  <a:moveTo>
                    <a:pt x="12579" y="2247"/>
                  </a:moveTo>
                  <a:lnTo>
                    <a:pt x="12579" y="2247"/>
                  </a:lnTo>
                  <a:lnTo>
                    <a:pt x="12027" y="3767"/>
                  </a:lnTo>
                  <a:lnTo>
                    <a:pt x="11439" y="5599"/>
                  </a:lnTo>
                  <a:lnTo>
                    <a:pt x="10817" y="7672"/>
                  </a:lnTo>
                  <a:lnTo>
                    <a:pt x="10161" y="9953"/>
                  </a:lnTo>
                  <a:lnTo>
                    <a:pt x="9538" y="12337"/>
                  </a:lnTo>
                  <a:lnTo>
                    <a:pt x="8882" y="14825"/>
                  </a:lnTo>
                  <a:lnTo>
                    <a:pt x="7638" y="19940"/>
                  </a:lnTo>
                  <a:lnTo>
                    <a:pt x="6463" y="24881"/>
                  </a:lnTo>
                  <a:lnTo>
                    <a:pt x="5495" y="29305"/>
                  </a:lnTo>
                  <a:lnTo>
                    <a:pt x="4770" y="32795"/>
                  </a:lnTo>
                  <a:lnTo>
                    <a:pt x="4355" y="35006"/>
                  </a:lnTo>
                  <a:lnTo>
                    <a:pt x="4355" y="35006"/>
                  </a:lnTo>
                  <a:lnTo>
                    <a:pt x="1971" y="50142"/>
                  </a:lnTo>
                  <a:lnTo>
                    <a:pt x="588" y="58781"/>
                  </a:lnTo>
                  <a:lnTo>
                    <a:pt x="174" y="61649"/>
                  </a:lnTo>
                  <a:lnTo>
                    <a:pt x="1" y="62893"/>
                  </a:lnTo>
                  <a:lnTo>
                    <a:pt x="1" y="62893"/>
                  </a:lnTo>
                  <a:lnTo>
                    <a:pt x="1" y="62962"/>
                  </a:lnTo>
                  <a:lnTo>
                    <a:pt x="70" y="63032"/>
                  </a:lnTo>
                  <a:lnTo>
                    <a:pt x="277" y="63170"/>
                  </a:lnTo>
                  <a:lnTo>
                    <a:pt x="623" y="63343"/>
                  </a:lnTo>
                  <a:lnTo>
                    <a:pt x="1038" y="63515"/>
                  </a:lnTo>
                  <a:lnTo>
                    <a:pt x="1556" y="63723"/>
                  </a:lnTo>
                  <a:lnTo>
                    <a:pt x="2109" y="63861"/>
                  </a:lnTo>
                  <a:lnTo>
                    <a:pt x="2731" y="64034"/>
                  </a:lnTo>
                  <a:lnTo>
                    <a:pt x="3387" y="64172"/>
                  </a:lnTo>
                  <a:lnTo>
                    <a:pt x="4044" y="64310"/>
                  </a:lnTo>
                  <a:lnTo>
                    <a:pt x="4701" y="64379"/>
                  </a:lnTo>
                  <a:lnTo>
                    <a:pt x="5323" y="64448"/>
                  </a:lnTo>
                  <a:lnTo>
                    <a:pt x="5910" y="64483"/>
                  </a:lnTo>
                  <a:lnTo>
                    <a:pt x="6394" y="64448"/>
                  </a:lnTo>
                  <a:lnTo>
                    <a:pt x="6843" y="64379"/>
                  </a:lnTo>
                  <a:lnTo>
                    <a:pt x="7016" y="64345"/>
                  </a:lnTo>
                  <a:lnTo>
                    <a:pt x="7189" y="64276"/>
                  </a:lnTo>
                  <a:lnTo>
                    <a:pt x="7292" y="64172"/>
                  </a:lnTo>
                  <a:lnTo>
                    <a:pt x="7396" y="64103"/>
                  </a:lnTo>
                  <a:lnTo>
                    <a:pt x="7396" y="64103"/>
                  </a:lnTo>
                  <a:lnTo>
                    <a:pt x="7465" y="63930"/>
                  </a:lnTo>
                  <a:lnTo>
                    <a:pt x="7569" y="63654"/>
                  </a:lnTo>
                  <a:lnTo>
                    <a:pt x="7742" y="62859"/>
                  </a:lnTo>
                  <a:lnTo>
                    <a:pt x="7949" y="61753"/>
                  </a:lnTo>
                  <a:lnTo>
                    <a:pt x="8156" y="60336"/>
                  </a:lnTo>
                  <a:lnTo>
                    <a:pt x="8605" y="56846"/>
                  </a:lnTo>
                  <a:lnTo>
                    <a:pt x="9158" y="52768"/>
                  </a:lnTo>
                  <a:lnTo>
                    <a:pt x="9469" y="50660"/>
                  </a:lnTo>
                  <a:lnTo>
                    <a:pt x="9780" y="48518"/>
                  </a:lnTo>
                  <a:lnTo>
                    <a:pt x="10126" y="46410"/>
                  </a:lnTo>
                  <a:lnTo>
                    <a:pt x="10472" y="44406"/>
                  </a:lnTo>
                  <a:lnTo>
                    <a:pt x="10852" y="42540"/>
                  </a:lnTo>
                  <a:lnTo>
                    <a:pt x="11266" y="40846"/>
                  </a:lnTo>
                  <a:lnTo>
                    <a:pt x="11474" y="40086"/>
                  </a:lnTo>
                  <a:lnTo>
                    <a:pt x="11681" y="39395"/>
                  </a:lnTo>
                  <a:lnTo>
                    <a:pt x="11888" y="38773"/>
                  </a:lnTo>
                  <a:lnTo>
                    <a:pt x="12130" y="38220"/>
                  </a:lnTo>
                  <a:lnTo>
                    <a:pt x="12130" y="38220"/>
                  </a:lnTo>
                  <a:lnTo>
                    <a:pt x="14618" y="32415"/>
                  </a:lnTo>
                  <a:lnTo>
                    <a:pt x="17797" y="25020"/>
                  </a:lnTo>
                  <a:lnTo>
                    <a:pt x="21633" y="15931"/>
                  </a:lnTo>
                  <a:lnTo>
                    <a:pt x="21633" y="15931"/>
                  </a:lnTo>
                  <a:lnTo>
                    <a:pt x="21219" y="19283"/>
                  </a:lnTo>
                  <a:lnTo>
                    <a:pt x="20769" y="22946"/>
                  </a:lnTo>
                  <a:lnTo>
                    <a:pt x="20320" y="26713"/>
                  </a:lnTo>
                  <a:lnTo>
                    <a:pt x="19905" y="30410"/>
                  </a:lnTo>
                  <a:lnTo>
                    <a:pt x="19733" y="32138"/>
                  </a:lnTo>
                  <a:lnTo>
                    <a:pt x="19594" y="33797"/>
                  </a:lnTo>
                  <a:lnTo>
                    <a:pt x="19491" y="35352"/>
                  </a:lnTo>
                  <a:lnTo>
                    <a:pt x="19456" y="36769"/>
                  </a:lnTo>
                  <a:lnTo>
                    <a:pt x="19456" y="38047"/>
                  </a:lnTo>
                  <a:lnTo>
                    <a:pt x="19525" y="39119"/>
                  </a:lnTo>
                  <a:lnTo>
                    <a:pt x="19560" y="39568"/>
                  </a:lnTo>
                  <a:lnTo>
                    <a:pt x="19629" y="39982"/>
                  </a:lnTo>
                  <a:lnTo>
                    <a:pt x="19733" y="40328"/>
                  </a:lnTo>
                  <a:lnTo>
                    <a:pt x="19836" y="40604"/>
                  </a:lnTo>
                  <a:lnTo>
                    <a:pt x="19836" y="40604"/>
                  </a:lnTo>
                  <a:lnTo>
                    <a:pt x="20838" y="43300"/>
                  </a:lnTo>
                  <a:lnTo>
                    <a:pt x="22013" y="46548"/>
                  </a:lnTo>
                  <a:lnTo>
                    <a:pt x="24501" y="53563"/>
                  </a:lnTo>
                  <a:lnTo>
                    <a:pt x="27370" y="61891"/>
                  </a:lnTo>
                  <a:lnTo>
                    <a:pt x="27370" y="61891"/>
                  </a:lnTo>
                  <a:lnTo>
                    <a:pt x="27577" y="61960"/>
                  </a:lnTo>
                  <a:lnTo>
                    <a:pt x="27784" y="62029"/>
                  </a:lnTo>
                  <a:lnTo>
                    <a:pt x="28268" y="62133"/>
                  </a:lnTo>
                  <a:lnTo>
                    <a:pt x="28786" y="62133"/>
                  </a:lnTo>
                  <a:lnTo>
                    <a:pt x="29339" y="62099"/>
                  </a:lnTo>
                  <a:lnTo>
                    <a:pt x="29927" y="62029"/>
                  </a:lnTo>
                  <a:lnTo>
                    <a:pt x="30549" y="61891"/>
                  </a:lnTo>
                  <a:lnTo>
                    <a:pt x="31136" y="61753"/>
                  </a:lnTo>
                  <a:lnTo>
                    <a:pt x="31724" y="61546"/>
                  </a:lnTo>
                  <a:lnTo>
                    <a:pt x="32277" y="61373"/>
                  </a:lnTo>
                  <a:lnTo>
                    <a:pt x="32795" y="61166"/>
                  </a:lnTo>
                  <a:lnTo>
                    <a:pt x="33624" y="60785"/>
                  </a:lnTo>
                  <a:lnTo>
                    <a:pt x="33901" y="60613"/>
                  </a:lnTo>
                  <a:lnTo>
                    <a:pt x="34108" y="60509"/>
                  </a:lnTo>
                  <a:lnTo>
                    <a:pt x="34177" y="60405"/>
                  </a:lnTo>
                  <a:lnTo>
                    <a:pt x="34177" y="60371"/>
                  </a:lnTo>
                  <a:lnTo>
                    <a:pt x="34143" y="60336"/>
                  </a:lnTo>
                  <a:lnTo>
                    <a:pt x="34143" y="60336"/>
                  </a:lnTo>
                  <a:lnTo>
                    <a:pt x="33452" y="58332"/>
                  </a:lnTo>
                  <a:lnTo>
                    <a:pt x="32622" y="55775"/>
                  </a:lnTo>
                  <a:lnTo>
                    <a:pt x="31724" y="52837"/>
                  </a:lnTo>
                  <a:lnTo>
                    <a:pt x="30791" y="49693"/>
                  </a:lnTo>
                  <a:lnTo>
                    <a:pt x="29892" y="46583"/>
                  </a:lnTo>
                  <a:lnTo>
                    <a:pt x="29132" y="43645"/>
                  </a:lnTo>
                  <a:lnTo>
                    <a:pt x="28821" y="42332"/>
                  </a:lnTo>
                  <a:lnTo>
                    <a:pt x="28545" y="41123"/>
                  </a:lnTo>
                  <a:lnTo>
                    <a:pt x="28337" y="40086"/>
                  </a:lnTo>
                  <a:lnTo>
                    <a:pt x="28199" y="39188"/>
                  </a:lnTo>
                  <a:lnTo>
                    <a:pt x="28199" y="39188"/>
                  </a:lnTo>
                  <a:lnTo>
                    <a:pt x="28199" y="38704"/>
                  </a:lnTo>
                  <a:lnTo>
                    <a:pt x="28199" y="38082"/>
                  </a:lnTo>
                  <a:lnTo>
                    <a:pt x="28233" y="37287"/>
                  </a:lnTo>
                  <a:lnTo>
                    <a:pt x="28303" y="36354"/>
                  </a:lnTo>
                  <a:lnTo>
                    <a:pt x="28510" y="34108"/>
                  </a:lnTo>
                  <a:lnTo>
                    <a:pt x="28821" y="31447"/>
                  </a:lnTo>
                  <a:lnTo>
                    <a:pt x="29201" y="28475"/>
                  </a:lnTo>
                  <a:lnTo>
                    <a:pt x="29650" y="25261"/>
                  </a:lnTo>
                  <a:lnTo>
                    <a:pt x="30687" y="18558"/>
                  </a:lnTo>
                  <a:lnTo>
                    <a:pt x="31689" y="12026"/>
                  </a:lnTo>
                  <a:lnTo>
                    <a:pt x="32622" y="6428"/>
                  </a:lnTo>
                  <a:lnTo>
                    <a:pt x="33521" y="1037"/>
                  </a:lnTo>
                  <a:lnTo>
                    <a:pt x="16657" y="1"/>
                  </a:lnTo>
                  <a:lnTo>
                    <a:pt x="12579" y="224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41" name="Google Shape;1641;p16"/>
            <p:cNvSpPr/>
            <p:nvPr/>
          </p:nvSpPr>
          <p:spPr>
            <a:xfrm>
              <a:off x="4486425" y="4220750"/>
              <a:ext cx="9525" cy="75175"/>
            </a:xfrm>
            <a:custGeom>
              <a:avLst/>
              <a:gdLst/>
              <a:ahLst/>
              <a:cxnLst/>
              <a:rect l="l" t="t" r="r" b="b"/>
              <a:pathLst>
                <a:path w="381" h="3007" extrusionOk="0">
                  <a:moveTo>
                    <a:pt x="381" y="0"/>
                  </a:moveTo>
                  <a:lnTo>
                    <a:pt x="1" y="3006"/>
                  </a:lnTo>
                  <a:lnTo>
                    <a:pt x="208" y="1486"/>
                  </a:lnTo>
                  <a:lnTo>
                    <a:pt x="381" y="0"/>
                  </a:lnTo>
                  <a:close/>
                </a:path>
              </a:pathLst>
            </a:custGeom>
            <a:solidFill>
              <a:srgbClr val="71718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42" name="Google Shape;1642;p16"/>
            <p:cNvSpPr/>
            <p:nvPr/>
          </p:nvSpPr>
          <p:spPr>
            <a:xfrm>
              <a:off x="4486425" y="4220750"/>
              <a:ext cx="9525" cy="75175"/>
            </a:xfrm>
            <a:custGeom>
              <a:avLst/>
              <a:gdLst/>
              <a:ahLst/>
              <a:cxnLst/>
              <a:rect l="l" t="t" r="r" b="b"/>
              <a:pathLst>
                <a:path w="381" h="3007" fill="none" extrusionOk="0">
                  <a:moveTo>
                    <a:pt x="381" y="0"/>
                  </a:moveTo>
                  <a:lnTo>
                    <a:pt x="381" y="0"/>
                  </a:lnTo>
                  <a:lnTo>
                    <a:pt x="208" y="1486"/>
                  </a:lnTo>
                  <a:lnTo>
                    <a:pt x="1" y="3006"/>
                  </a:lnTo>
                  <a:lnTo>
                    <a:pt x="1" y="3006"/>
                  </a:lnTo>
                  <a:lnTo>
                    <a:pt x="38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43" name="Google Shape;1643;p16"/>
            <p:cNvSpPr/>
            <p:nvPr/>
          </p:nvSpPr>
          <p:spPr>
            <a:xfrm>
              <a:off x="4486425" y="3977125"/>
              <a:ext cx="79500" cy="318800"/>
            </a:xfrm>
            <a:custGeom>
              <a:avLst/>
              <a:gdLst/>
              <a:ahLst/>
              <a:cxnLst/>
              <a:rect l="l" t="t" r="r" b="b"/>
              <a:pathLst>
                <a:path w="3180" h="12752" extrusionOk="0">
                  <a:moveTo>
                    <a:pt x="3180" y="0"/>
                  </a:moveTo>
                  <a:lnTo>
                    <a:pt x="3076" y="380"/>
                  </a:lnTo>
                  <a:lnTo>
                    <a:pt x="2661" y="1451"/>
                  </a:lnTo>
                  <a:lnTo>
                    <a:pt x="2385" y="2177"/>
                  </a:lnTo>
                  <a:lnTo>
                    <a:pt x="2005" y="3041"/>
                  </a:lnTo>
                  <a:lnTo>
                    <a:pt x="1521" y="3974"/>
                  </a:lnTo>
                  <a:lnTo>
                    <a:pt x="968" y="4976"/>
                  </a:lnTo>
                  <a:lnTo>
                    <a:pt x="865" y="6117"/>
                  </a:lnTo>
                  <a:lnTo>
                    <a:pt x="726" y="7292"/>
                  </a:lnTo>
                  <a:lnTo>
                    <a:pt x="381" y="9745"/>
                  </a:lnTo>
                  <a:lnTo>
                    <a:pt x="1" y="12751"/>
                  </a:lnTo>
                  <a:lnTo>
                    <a:pt x="3180" y="0"/>
                  </a:lnTo>
                  <a:close/>
                </a:path>
              </a:pathLst>
            </a:custGeom>
            <a:solidFill>
              <a:srgbClr val="24243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44" name="Google Shape;1644;p16"/>
            <p:cNvSpPr/>
            <p:nvPr/>
          </p:nvSpPr>
          <p:spPr>
            <a:xfrm>
              <a:off x="4486425" y="3977125"/>
              <a:ext cx="79500" cy="318800"/>
            </a:xfrm>
            <a:custGeom>
              <a:avLst/>
              <a:gdLst/>
              <a:ahLst/>
              <a:cxnLst/>
              <a:rect l="l" t="t" r="r" b="b"/>
              <a:pathLst>
                <a:path w="3180" h="12752" fill="none" extrusionOk="0">
                  <a:moveTo>
                    <a:pt x="3180" y="0"/>
                  </a:moveTo>
                  <a:lnTo>
                    <a:pt x="3180" y="0"/>
                  </a:lnTo>
                  <a:lnTo>
                    <a:pt x="3076" y="380"/>
                  </a:lnTo>
                  <a:lnTo>
                    <a:pt x="2661" y="1451"/>
                  </a:lnTo>
                  <a:lnTo>
                    <a:pt x="2385" y="2177"/>
                  </a:lnTo>
                  <a:lnTo>
                    <a:pt x="2005" y="3041"/>
                  </a:lnTo>
                  <a:lnTo>
                    <a:pt x="1521" y="3974"/>
                  </a:lnTo>
                  <a:lnTo>
                    <a:pt x="968" y="4976"/>
                  </a:lnTo>
                  <a:lnTo>
                    <a:pt x="968" y="4976"/>
                  </a:lnTo>
                  <a:lnTo>
                    <a:pt x="865" y="6117"/>
                  </a:lnTo>
                  <a:lnTo>
                    <a:pt x="726" y="7292"/>
                  </a:lnTo>
                  <a:lnTo>
                    <a:pt x="381" y="9745"/>
                  </a:lnTo>
                  <a:lnTo>
                    <a:pt x="381" y="9745"/>
                  </a:lnTo>
                  <a:lnTo>
                    <a:pt x="1" y="12751"/>
                  </a:lnTo>
                  <a:lnTo>
                    <a:pt x="1" y="12751"/>
                  </a:lnTo>
                  <a:lnTo>
                    <a:pt x="1" y="12751"/>
                  </a:lnTo>
                  <a:lnTo>
                    <a:pt x="318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45" name="Google Shape;1645;p16"/>
            <p:cNvSpPr/>
            <p:nvPr/>
          </p:nvSpPr>
          <p:spPr>
            <a:xfrm>
              <a:off x="4413000" y="2757275"/>
              <a:ext cx="188350" cy="340400"/>
            </a:xfrm>
            <a:custGeom>
              <a:avLst/>
              <a:gdLst/>
              <a:ahLst/>
              <a:cxnLst/>
              <a:rect l="l" t="t" r="r" b="b"/>
              <a:pathLst>
                <a:path w="7534" h="13616" extrusionOk="0">
                  <a:moveTo>
                    <a:pt x="4562" y="0"/>
                  </a:moveTo>
                  <a:lnTo>
                    <a:pt x="4078" y="35"/>
                  </a:lnTo>
                  <a:lnTo>
                    <a:pt x="3629" y="104"/>
                  </a:lnTo>
                  <a:lnTo>
                    <a:pt x="3214" y="208"/>
                  </a:lnTo>
                  <a:lnTo>
                    <a:pt x="2765" y="311"/>
                  </a:lnTo>
                  <a:lnTo>
                    <a:pt x="2385" y="450"/>
                  </a:lnTo>
                  <a:lnTo>
                    <a:pt x="2074" y="622"/>
                  </a:lnTo>
                  <a:lnTo>
                    <a:pt x="1763" y="761"/>
                  </a:lnTo>
                  <a:lnTo>
                    <a:pt x="1555" y="933"/>
                  </a:lnTo>
                  <a:lnTo>
                    <a:pt x="1383" y="1106"/>
                  </a:lnTo>
                  <a:lnTo>
                    <a:pt x="1314" y="1279"/>
                  </a:lnTo>
                  <a:lnTo>
                    <a:pt x="1037" y="2247"/>
                  </a:lnTo>
                  <a:lnTo>
                    <a:pt x="830" y="3007"/>
                  </a:lnTo>
                  <a:lnTo>
                    <a:pt x="588" y="3629"/>
                  </a:lnTo>
                  <a:lnTo>
                    <a:pt x="415" y="4113"/>
                  </a:lnTo>
                  <a:lnTo>
                    <a:pt x="139" y="4735"/>
                  </a:lnTo>
                  <a:lnTo>
                    <a:pt x="35" y="4907"/>
                  </a:lnTo>
                  <a:lnTo>
                    <a:pt x="0" y="5046"/>
                  </a:lnTo>
                  <a:lnTo>
                    <a:pt x="173" y="5149"/>
                  </a:lnTo>
                  <a:lnTo>
                    <a:pt x="311" y="5184"/>
                  </a:lnTo>
                  <a:lnTo>
                    <a:pt x="450" y="5184"/>
                  </a:lnTo>
                  <a:lnTo>
                    <a:pt x="450" y="5253"/>
                  </a:lnTo>
                  <a:lnTo>
                    <a:pt x="450" y="5426"/>
                  </a:lnTo>
                  <a:lnTo>
                    <a:pt x="346" y="6186"/>
                  </a:lnTo>
                  <a:lnTo>
                    <a:pt x="242" y="6946"/>
                  </a:lnTo>
                  <a:lnTo>
                    <a:pt x="242" y="7672"/>
                  </a:lnTo>
                  <a:lnTo>
                    <a:pt x="242" y="7983"/>
                  </a:lnTo>
                  <a:lnTo>
                    <a:pt x="277" y="8259"/>
                  </a:lnTo>
                  <a:lnTo>
                    <a:pt x="346" y="8501"/>
                  </a:lnTo>
                  <a:lnTo>
                    <a:pt x="450" y="8709"/>
                  </a:lnTo>
                  <a:lnTo>
                    <a:pt x="553" y="8881"/>
                  </a:lnTo>
                  <a:lnTo>
                    <a:pt x="726" y="8985"/>
                  </a:lnTo>
                  <a:lnTo>
                    <a:pt x="933" y="9054"/>
                  </a:lnTo>
                  <a:lnTo>
                    <a:pt x="1175" y="9054"/>
                  </a:lnTo>
                  <a:lnTo>
                    <a:pt x="1486" y="9020"/>
                  </a:lnTo>
                  <a:lnTo>
                    <a:pt x="1832" y="8881"/>
                  </a:lnTo>
                  <a:lnTo>
                    <a:pt x="2212" y="8709"/>
                  </a:lnTo>
                  <a:lnTo>
                    <a:pt x="2696" y="8432"/>
                  </a:lnTo>
                  <a:lnTo>
                    <a:pt x="2419" y="10575"/>
                  </a:lnTo>
                  <a:lnTo>
                    <a:pt x="3007" y="13616"/>
                  </a:lnTo>
                  <a:lnTo>
                    <a:pt x="7154" y="13270"/>
                  </a:lnTo>
                  <a:lnTo>
                    <a:pt x="7084" y="12994"/>
                  </a:lnTo>
                  <a:lnTo>
                    <a:pt x="7015" y="12683"/>
                  </a:lnTo>
                  <a:lnTo>
                    <a:pt x="6946" y="12026"/>
                  </a:lnTo>
                  <a:lnTo>
                    <a:pt x="6946" y="11266"/>
                  </a:lnTo>
                  <a:lnTo>
                    <a:pt x="6981" y="10436"/>
                  </a:lnTo>
                  <a:lnTo>
                    <a:pt x="7015" y="9538"/>
                  </a:lnTo>
                  <a:lnTo>
                    <a:pt x="7119" y="8605"/>
                  </a:lnTo>
                  <a:lnTo>
                    <a:pt x="7326" y="6670"/>
                  </a:lnTo>
                  <a:lnTo>
                    <a:pt x="7465" y="4804"/>
                  </a:lnTo>
                  <a:lnTo>
                    <a:pt x="7534" y="3905"/>
                  </a:lnTo>
                  <a:lnTo>
                    <a:pt x="7534" y="3111"/>
                  </a:lnTo>
                  <a:lnTo>
                    <a:pt x="7499" y="2350"/>
                  </a:lnTo>
                  <a:lnTo>
                    <a:pt x="7395" y="1728"/>
                  </a:lnTo>
                  <a:lnTo>
                    <a:pt x="7326" y="1452"/>
                  </a:lnTo>
                  <a:lnTo>
                    <a:pt x="7223" y="1210"/>
                  </a:lnTo>
                  <a:lnTo>
                    <a:pt x="7119" y="1003"/>
                  </a:lnTo>
                  <a:lnTo>
                    <a:pt x="6981" y="830"/>
                  </a:lnTo>
                  <a:lnTo>
                    <a:pt x="6808" y="657"/>
                  </a:lnTo>
                  <a:lnTo>
                    <a:pt x="6670" y="519"/>
                  </a:lnTo>
                  <a:lnTo>
                    <a:pt x="6290" y="311"/>
                  </a:lnTo>
                  <a:lnTo>
                    <a:pt x="5910" y="173"/>
                  </a:lnTo>
                  <a:lnTo>
                    <a:pt x="5460" y="70"/>
                  </a:lnTo>
                  <a:lnTo>
                    <a:pt x="5011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46" name="Google Shape;1646;p16"/>
            <p:cNvSpPr/>
            <p:nvPr/>
          </p:nvSpPr>
          <p:spPr>
            <a:xfrm>
              <a:off x="4413000" y="2757275"/>
              <a:ext cx="188350" cy="340400"/>
            </a:xfrm>
            <a:custGeom>
              <a:avLst/>
              <a:gdLst/>
              <a:ahLst/>
              <a:cxnLst/>
              <a:rect l="l" t="t" r="r" b="b"/>
              <a:pathLst>
                <a:path w="7534" h="13616" fill="none" extrusionOk="0">
                  <a:moveTo>
                    <a:pt x="1314" y="1279"/>
                  </a:moveTo>
                  <a:lnTo>
                    <a:pt x="1314" y="1279"/>
                  </a:lnTo>
                  <a:lnTo>
                    <a:pt x="1037" y="2247"/>
                  </a:lnTo>
                  <a:lnTo>
                    <a:pt x="830" y="3007"/>
                  </a:lnTo>
                  <a:lnTo>
                    <a:pt x="588" y="3629"/>
                  </a:lnTo>
                  <a:lnTo>
                    <a:pt x="415" y="4113"/>
                  </a:lnTo>
                  <a:lnTo>
                    <a:pt x="139" y="4735"/>
                  </a:lnTo>
                  <a:lnTo>
                    <a:pt x="35" y="4907"/>
                  </a:lnTo>
                  <a:lnTo>
                    <a:pt x="0" y="5046"/>
                  </a:lnTo>
                  <a:lnTo>
                    <a:pt x="0" y="5046"/>
                  </a:lnTo>
                  <a:lnTo>
                    <a:pt x="173" y="5149"/>
                  </a:lnTo>
                  <a:lnTo>
                    <a:pt x="311" y="5184"/>
                  </a:lnTo>
                  <a:lnTo>
                    <a:pt x="380" y="5184"/>
                  </a:lnTo>
                  <a:lnTo>
                    <a:pt x="450" y="5184"/>
                  </a:lnTo>
                  <a:lnTo>
                    <a:pt x="450" y="5253"/>
                  </a:lnTo>
                  <a:lnTo>
                    <a:pt x="450" y="5426"/>
                  </a:lnTo>
                  <a:lnTo>
                    <a:pt x="346" y="6186"/>
                  </a:lnTo>
                  <a:lnTo>
                    <a:pt x="346" y="6186"/>
                  </a:lnTo>
                  <a:lnTo>
                    <a:pt x="242" y="6946"/>
                  </a:lnTo>
                  <a:lnTo>
                    <a:pt x="242" y="7672"/>
                  </a:lnTo>
                  <a:lnTo>
                    <a:pt x="242" y="7983"/>
                  </a:lnTo>
                  <a:lnTo>
                    <a:pt x="277" y="8259"/>
                  </a:lnTo>
                  <a:lnTo>
                    <a:pt x="346" y="8501"/>
                  </a:lnTo>
                  <a:lnTo>
                    <a:pt x="450" y="8709"/>
                  </a:lnTo>
                  <a:lnTo>
                    <a:pt x="553" y="8881"/>
                  </a:lnTo>
                  <a:lnTo>
                    <a:pt x="726" y="8985"/>
                  </a:lnTo>
                  <a:lnTo>
                    <a:pt x="933" y="9054"/>
                  </a:lnTo>
                  <a:lnTo>
                    <a:pt x="1175" y="9054"/>
                  </a:lnTo>
                  <a:lnTo>
                    <a:pt x="1486" y="9020"/>
                  </a:lnTo>
                  <a:lnTo>
                    <a:pt x="1832" y="8881"/>
                  </a:lnTo>
                  <a:lnTo>
                    <a:pt x="2212" y="8709"/>
                  </a:lnTo>
                  <a:lnTo>
                    <a:pt x="2696" y="8432"/>
                  </a:lnTo>
                  <a:lnTo>
                    <a:pt x="2696" y="8432"/>
                  </a:lnTo>
                  <a:lnTo>
                    <a:pt x="2419" y="10575"/>
                  </a:lnTo>
                  <a:lnTo>
                    <a:pt x="3007" y="13616"/>
                  </a:lnTo>
                  <a:lnTo>
                    <a:pt x="7154" y="13270"/>
                  </a:lnTo>
                  <a:lnTo>
                    <a:pt x="7154" y="13270"/>
                  </a:lnTo>
                  <a:lnTo>
                    <a:pt x="7084" y="12994"/>
                  </a:lnTo>
                  <a:lnTo>
                    <a:pt x="7015" y="12683"/>
                  </a:lnTo>
                  <a:lnTo>
                    <a:pt x="6946" y="12026"/>
                  </a:lnTo>
                  <a:lnTo>
                    <a:pt x="6946" y="11266"/>
                  </a:lnTo>
                  <a:lnTo>
                    <a:pt x="6981" y="10436"/>
                  </a:lnTo>
                  <a:lnTo>
                    <a:pt x="7015" y="9538"/>
                  </a:lnTo>
                  <a:lnTo>
                    <a:pt x="7119" y="8605"/>
                  </a:lnTo>
                  <a:lnTo>
                    <a:pt x="7326" y="6670"/>
                  </a:lnTo>
                  <a:lnTo>
                    <a:pt x="7465" y="4804"/>
                  </a:lnTo>
                  <a:lnTo>
                    <a:pt x="7534" y="3905"/>
                  </a:lnTo>
                  <a:lnTo>
                    <a:pt x="7534" y="3111"/>
                  </a:lnTo>
                  <a:lnTo>
                    <a:pt x="7499" y="2350"/>
                  </a:lnTo>
                  <a:lnTo>
                    <a:pt x="7395" y="1728"/>
                  </a:lnTo>
                  <a:lnTo>
                    <a:pt x="7326" y="1452"/>
                  </a:lnTo>
                  <a:lnTo>
                    <a:pt x="7223" y="1210"/>
                  </a:lnTo>
                  <a:lnTo>
                    <a:pt x="7119" y="1003"/>
                  </a:lnTo>
                  <a:lnTo>
                    <a:pt x="6981" y="830"/>
                  </a:lnTo>
                  <a:lnTo>
                    <a:pt x="6981" y="830"/>
                  </a:lnTo>
                  <a:lnTo>
                    <a:pt x="6808" y="657"/>
                  </a:lnTo>
                  <a:lnTo>
                    <a:pt x="6670" y="519"/>
                  </a:lnTo>
                  <a:lnTo>
                    <a:pt x="6290" y="311"/>
                  </a:lnTo>
                  <a:lnTo>
                    <a:pt x="5910" y="173"/>
                  </a:lnTo>
                  <a:lnTo>
                    <a:pt x="5460" y="70"/>
                  </a:lnTo>
                  <a:lnTo>
                    <a:pt x="5011" y="0"/>
                  </a:lnTo>
                  <a:lnTo>
                    <a:pt x="4562" y="0"/>
                  </a:lnTo>
                  <a:lnTo>
                    <a:pt x="4078" y="35"/>
                  </a:lnTo>
                  <a:lnTo>
                    <a:pt x="3629" y="104"/>
                  </a:lnTo>
                  <a:lnTo>
                    <a:pt x="3214" y="208"/>
                  </a:lnTo>
                  <a:lnTo>
                    <a:pt x="2765" y="311"/>
                  </a:lnTo>
                  <a:lnTo>
                    <a:pt x="2385" y="450"/>
                  </a:lnTo>
                  <a:lnTo>
                    <a:pt x="2074" y="622"/>
                  </a:lnTo>
                  <a:lnTo>
                    <a:pt x="1763" y="761"/>
                  </a:lnTo>
                  <a:lnTo>
                    <a:pt x="1555" y="933"/>
                  </a:lnTo>
                  <a:lnTo>
                    <a:pt x="1383" y="1106"/>
                  </a:lnTo>
                  <a:lnTo>
                    <a:pt x="1314" y="127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47" name="Google Shape;1647;p16"/>
            <p:cNvSpPr/>
            <p:nvPr/>
          </p:nvSpPr>
          <p:spPr>
            <a:xfrm>
              <a:off x="4423375" y="2708025"/>
              <a:ext cx="216000" cy="269575"/>
            </a:xfrm>
            <a:custGeom>
              <a:avLst/>
              <a:gdLst/>
              <a:ahLst/>
              <a:cxnLst/>
              <a:rect l="l" t="t" r="r" b="b"/>
              <a:pathLst>
                <a:path w="8640" h="10783" extrusionOk="0">
                  <a:moveTo>
                    <a:pt x="1624" y="1"/>
                  </a:moveTo>
                  <a:lnTo>
                    <a:pt x="1451" y="35"/>
                  </a:lnTo>
                  <a:lnTo>
                    <a:pt x="1140" y="139"/>
                  </a:lnTo>
                  <a:lnTo>
                    <a:pt x="864" y="277"/>
                  </a:lnTo>
                  <a:lnTo>
                    <a:pt x="587" y="485"/>
                  </a:lnTo>
                  <a:lnTo>
                    <a:pt x="380" y="692"/>
                  </a:lnTo>
                  <a:lnTo>
                    <a:pt x="242" y="865"/>
                  </a:lnTo>
                  <a:lnTo>
                    <a:pt x="173" y="1072"/>
                  </a:lnTo>
                  <a:lnTo>
                    <a:pt x="104" y="1245"/>
                  </a:lnTo>
                  <a:lnTo>
                    <a:pt x="138" y="1418"/>
                  </a:lnTo>
                  <a:lnTo>
                    <a:pt x="138" y="1590"/>
                  </a:lnTo>
                  <a:lnTo>
                    <a:pt x="242" y="1867"/>
                  </a:lnTo>
                  <a:lnTo>
                    <a:pt x="276" y="1970"/>
                  </a:lnTo>
                  <a:lnTo>
                    <a:pt x="173" y="2143"/>
                  </a:lnTo>
                  <a:lnTo>
                    <a:pt x="69" y="2316"/>
                  </a:lnTo>
                  <a:lnTo>
                    <a:pt x="35" y="2454"/>
                  </a:lnTo>
                  <a:lnTo>
                    <a:pt x="0" y="2592"/>
                  </a:lnTo>
                  <a:lnTo>
                    <a:pt x="0" y="2731"/>
                  </a:lnTo>
                  <a:lnTo>
                    <a:pt x="0" y="2869"/>
                  </a:lnTo>
                  <a:lnTo>
                    <a:pt x="138" y="3111"/>
                  </a:lnTo>
                  <a:lnTo>
                    <a:pt x="311" y="3318"/>
                  </a:lnTo>
                  <a:lnTo>
                    <a:pt x="518" y="3560"/>
                  </a:lnTo>
                  <a:lnTo>
                    <a:pt x="1002" y="4009"/>
                  </a:lnTo>
                  <a:lnTo>
                    <a:pt x="1279" y="4251"/>
                  </a:lnTo>
                  <a:lnTo>
                    <a:pt x="1521" y="4389"/>
                  </a:lnTo>
                  <a:lnTo>
                    <a:pt x="1935" y="4597"/>
                  </a:lnTo>
                  <a:lnTo>
                    <a:pt x="2108" y="4700"/>
                  </a:lnTo>
                  <a:lnTo>
                    <a:pt x="2246" y="4839"/>
                  </a:lnTo>
                  <a:lnTo>
                    <a:pt x="2281" y="4908"/>
                  </a:lnTo>
                  <a:lnTo>
                    <a:pt x="2281" y="5011"/>
                  </a:lnTo>
                  <a:lnTo>
                    <a:pt x="2281" y="5288"/>
                  </a:lnTo>
                  <a:lnTo>
                    <a:pt x="2212" y="5806"/>
                  </a:lnTo>
                  <a:lnTo>
                    <a:pt x="2212" y="5979"/>
                  </a:lnTo>
                  <a:lnTo>
                    <a:pt x="2246" y="6117"/>
                  </a:lnTo>
                  <a:lnTo>
                    <a:pt x="2350" y="6221"/>
                  </a:lnTo>
                  <a:lnTo>
                    <a:pt x="2523" y="6290"/>
                  </a:lnTo>
                  <a:lnTo>
                    <a:pt x="2730" y="6359"/>
                  </a:lnTo>
                  <a:lnTo>
                    <a:pt x="3076" y="6394"/>
                  </a:lnTo>
                  <a:lnTo>
                    <a:pt x="3283" y="6255"/>
                  </a:lnTo>
                  <a:lnTo>
                    <a:pt x="3456" y="6152"/>
                  </a:lnTo>
                  <a:lnTo>
                    <a:pt x="3628" y="6117"/>
                  </a:lnTo>
                  <a:lnTo>
                    <a:pt x="3801" y="6117"/>
                  </a:lnTo>
                  <a:lnTo>
                    <a:pt x="3939" y="6152"/>
                  </a:lnTo>
                  <a:lnTo>
                    <a:pt x="4078" y="6255"/>
                  </a:lnTo>
                  <a:lnTo>
                    <a:pt x="4181" y="6359"/>
                  </a:lnTo>
                  <a:lnTo>
                    <a:pt x="4250" y="6497"/>
                  </a:lnTo>
                  <a:lnTo>
                    <a:pt x="4320" y="6670"/>
                  </a:lnTo>
                  <a:lnTo>
                    <a:pt x="4354" y="6843"/>
                  </a:lnTo>
                  <a:lnTo>
                    <a:pt x="4354" y="7016"/>
                  </a:lnTo>
                  <a:lnTo>
                    <a:pt x="4320" y="7223"/>
                  </a:lnTo>
                  <a:lnTo>
                    <a:pt x="4216" y="7396"/>
                  </a:lnTo>
                  <a:lnTo>
                    <a:pt x="4112" y="7569"/>
                  </a:lnTo>
                  <a:lnTo>
                    <a:pt x="3974" y="7741"/>
                  </a:lnTo>
                  <a:lnTo>
                    <a:pt x="3801" y="7880"/>
                  </a:lnTo>
                  <a:lnTo>
                    <a:pt x="3801" y="8225"/>
                  </a:lnTo>
                  <a:lnTo>
                    <a:pt x="3836" y="8674"/>
                  </a:lnTo>
                  <a:lnTo>
                    <a:pt x="3974" y="9124"/>
                  </a:lnTo>
                  <a:lnTo>
                    <a:pt x="4181" y="9573"/>
                  </a:lnTo>
                  <a:lnTo>
                    <a:pt x="4423" y="10022"/>
                  </a:lnTo>
                  <a:lnTo>
                    <a:pt x="4561" y="10195"/>
                  </a:lnTo>
                  <a:lnTo>
                    <a:pt x="4734" y="10368"/>
                  </a:lnTo>
                  <a:lnTo>
                    <a:pt x="4907" y="10540"/>
                  </a:lnTo>
                  <a:lnTo>
                    <a:pt x="5114" y="10644"/>
                  </a:lnTo>
                  <a:lnTo>
                    <a:pt x="5322" y="10748"/>
                  </a:lnTo>
                  <a:lnTo>
                    <a:pt x="5564" y="10782"/>
                  </a:lnTo>
                  <a:lnTo>
                    <a:pt x="5978" y="10782"/>
                  </a:lnTo>
                  <a:lnTo>
                    <a:pt x="6186" y="10713"/>
                  </a:lnTo>
                  <a:lnTo>
                    <a:pt x="6393" y="10610"/>
                  </a:lnTo>
                  <a:lnTo>
                    <a:pt x="6566" y="10471"/>
                  </a:lnTo>
                  <a:lnTo>
                    <a:pt x="6704" y="10299"/>
                  </a:lnTo>
                  <a:lnTo>
                    <a:pt x="6877" y="10126"/>
                  </a:lnTo>
                  <a:lnTo>
                    <a:pt x="6980" y="9918"/>
                  </a:lnTo>
                  <a:lnTo>
                    <a:pt x="7119" y="9677"/>
                  </a:lnTo>
                  <a:lnTo>
                    <a:pt x="7222" y="9435"/>
                  </a:lnTo>
                  <a:lnTo>
                    <a:pt x="7361" y="8882"/>
                  </a:lnTo>
                  <a:lnTo>
                    <a:pt x="7464" y="8294"/>
                  </a:lnTo>
                  <a:lnTo>
                    <a:pt x="7499" y="7672"/>
                  </a:lnTo>
                  <a:lnTo>
                    <a:pt x="7499" y="7396"/>
                  </a:lnTo>
                  <a:lnTo>
                    <a:pt x="7568" y="7119"/>
                  </a:lnTo>
                  <a:lnTo>
                    <a:pt x="7637" y="6912"/>
                  </a:lnTo>
                  <a:lnTo>
                    <a:pt x="7741" y="6705"/>
                  </a:lnTo>
                  <a:lnTo>
                    <a:pt x="8017" y="6359"/>
                  </a:lnTo>
                  <a:lnTo>
                    <a:pt x="8259" y="5979"/>
                  </a:lnTo>
                  <a:lnTo>
                    <a:pt x="8397" y="5772"/>
                  </a:lnTo>
                  <a:lnTo>
                    <a:pt x="8501" y="5564"/>
                  </a:lnTo>
                  <a:lnTo>
                    <a:pt x="8605" y="5288"/>
                  </a:lnTo>
                  <a:lnTo>
                    <a:pt x="8639" y="5011"/>
                  </a:lnTo>
                  <a:lnTo>
                    <a:pt x="8639" y="4666"/>
                  </a:lnTo>
                  <a:lnTo>
                    <a:pt x="8605" y="4286"/>
                  </a:lnTo>
                  <a:lnTo>
                    <a:pt x="8535" y="3837"/>
                  </a:lnTo>
                  <a:lnTo>
                    <a:pt x="8397" y="3318"/>
                  </a:lnTo>
                  <a:lnTo>
                    <a:pt x="8294" y="3042"/>
                  </a:lnTo>
                  <a:lnTo>
                    <a:pt x="8190" y="2834"/>
                  </a:lnTo>
                  <a:lnTo>
                    <a:pt x="8086" y="2662"/>
                  </a:lnTo>
                  <a:lnTo>
                    <a:pt x="7983" y="2558"/>
                  </a:lnTo>
                  <a:lnTo>
                    <a:pt x="7879" y="2454"/>
                  </a:lnTo>
                  <a:lnTo>
                    <a:pt x="7741" y="2420"/>
                  </a:lnTo>
                  <a:lnTo>
                    <a:pt x="7533" y="2351"/>
                  </a:lnTo>
                  <a:lnTo>
                    <a:pt x="7326" y="2247"/>
                  </a:lnTo>
                  <a:lnTo>
                    <a:pt x="7222" y="2212"/>
                  </a:lnTo>
                  <a:lnTo>
                    <a:pt x="7153" y="2109"/>
                  </a:lnTo>
                  <a:lnTo>
                    <a:pt x="7050" y="1970"/>
                  </a:lnTo>
                  <a:lnTo>
                    <a:pt x="6946" y="1832"/>
                  </a:lnTo>
                  <a:lnTo>
                    <a:pt x="6877" y="1590"/>
                  </a:lnTo>
                  <a:lnTo>
                    <a:pt x="6808" y="1314"/>
                  </a:lnTo>
                  <a:lnTo>
                    <a:pt x="6739" y="1037"/>
                  </a:lnTo>
                  <a:lnTo>
                    <a:pt x="6635" y="796"/>
                  </a:lnTo>
                  <a:lnTo>
                    <a:pt x="6531" y="623"/>
                  </a:lnTo>
                  <a:lnTo>
                    <a:pt x="6393" y="450"/>
                  </a:lnTo>
                  <a:lnTo>
                    <a:pt x="6255" y="312"/>
                  </a:lnTo>
                  <a:lnTo>
                    <a:pt x="6117" y="208"/>
                  </a:lnTo>
                  <a:lnTo>
                    <a:pt x="5944" y="104"/>
                  </a:lnTo>
                  <a:lnTo>
                    <a:pt x="5771" y="70"/>
                  </a:lnTo>
                  <a:lnTo>
                    <a:pt x="5564" y="35"/>
                  </a:lnTo>
                  <a:lnTo>
                    <a:pt x="5356" y="35"/>
                  </a:lnTo>
                  <a:lnTo>
                    <a:pt x="5149" y="70"/>
                  </a:lnTo>
                  <a:lnTo>
                    <a:pt x="4942" y="139"/>
                  </a:lnTo>
                  <a:lnTo>
                    <a:pt x="4734" y="208"/>
                  </a:lnTo>
                  <a:lnTo>
                    <a:pt x="4527" y="312"/>
                  </a:lnTo>
                  <a:lnTo>
                    <a:pt x="4320" y="450"/>
                  </a:lnTo>
                  <a:lnTo>
                    <a:pt x="4112" y="623"/>
                  </a:lnTo>
                  <a:lnTo>
                    <a:pt x="3732" y="899"/>
                  </a:lnTo>
                  <a:lnTo>
                    <a:pt x="3456" y="1037"/>
                  </a:lnTo>
                  <a:lnTo>
                    <a:pt x="3352" y="1072"/>
                  </a:lnTo>
                  <a:lnTo>
                    <a:pt x="3248" y="1072"/>
                  </a:lnTo>
                  <a:lnTo>
                    <a:pt x="3179" y="1037"/>
                  </a:lnTo>
                  <a:lnTo>
                    <a:pt x="3110" y="1003"/>
                  </a:lnTo>
                  <a:lnTo>
                    <a:pt x="2972" y="899"/>
                  </a:lnTo>
                  <a:lnTo>
                    <a:pt x="2834" y="692"/>
                  </a:lnTo>
                  <a:lnTo>
                    <a:pt x="2661" y="485"/>
                  </a:lnTo>
                  <a:lnTo>
                    <a:pt x="2384" y="243"/>
                  </a:lnTo>
                  <a:lnTo>
                    <a:pt x="2246" y="139"/>
                  </a:lnTo>
                  <a:lnTo>
                    <a:pt x="2108" y="70"/>
                  </a:lnTo>
                  <a:lnTo>
                    <a:pt x="1935" y="1"/>
                  </a:lnTo>
                  <a:close/>
                </a:path>
              </a:pathLst>
            </a:custGeom>
            <a:solidFill>
              <a:srgbClr val="6D352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48" name="Google Shape;1648;p16"/>
            <p:cNvSpPr/>
            <p:nvPr/>
          </p:nvSpPr>
          <p:spPr>
            <a:xfrm>
              <a:off x="4475200" y="2953375"/>
              <a:ext cx="54450" cy="63950"/>
            </a:xfrm>
            <a:custGeom>
              <a:avLst/>
              <a:gdLst/>
              <a:ahLst/>
              <a:cxnLst/>
              <a:rect l="l" t="t" r="r" b="b"/>
              <a:pathLst>
                <a:path w="2178" h="2558" extrusionOk="0">
                  <a:moveTo>
                    <a:pt x="1175" y="1"/>
                  </a:moveTo>
                  <a:lnTo>
                    <a:pt x="1003" y="35"/>
                  </a:lnTo>
                  <a:lnTo>
                    <a:pt x="761" y="139"/>
                  </a:lnTo>
                  <a:lnTo>
                    <a:pt x="519" y="312"/>
                  </a:lnTo>
                  <a:lnTo>
                    <a:pt x="208" y="588"/>
                  </a:lnTo>
                  <a:lnTo>
                    <a:pt x="35" y="2281"/>
                  </a:lnTo>
                  <a:lnTo>
                    <a:pt x="0" y="2558"/>
                  </a:lnTo>
                  <a:lnTo>
                    <a:pt x="0" y="2558"/>
                  </a:lnTo>
                  <a:lnTo>
                    <a:pt x="761" y="2523"/>
                  </a:lnTo>
                  <a:lnTo>
                    <a:pt x="1348" y="2523"/>
                  </a:lnTo>
                  <a:lnTo>
                    <a:pt x="1625" y="2316"/>
                  </a:lnTo>
                  <a:lnTo>
                    <a:pt x="1866" y="2109"/>
                  </a:lnTo>
                  <a:lnTo>
                    <a:pt x="2039" y="1867"/>
                  </a:lnTo>
                  <a:lnTo>
                    <a:pt x="2108" y="1763"/>
                  </a:lnTo>
                  <a:lnTo>
                    <a:pt x="2177" y="1625"/>
                  </a:lnTo>
                  <a:lnTo>
                    <a:pt x="2177" y="1487"/>
                  </a:lnTo>
                  <a:lnTo>
                    <a:pt x="2177" y="1348"/>
                  </a:lnTo>
                  <a:lnTo>
                    <a:pt x="2177" y="1176"/>
                  </a:lnTo>
                  <a:lnTo>
                    <a:pt x="2108" y="1003"/>
                  </a:lnTo>
                  <a:lnTo>
                    <a:pt x="2005" y="830"/>
                  </a:lnTo>
                  <a:lnTo>
                    <a:pt x="1901" y="623"/>
                  </a:lnTo>
                  <a:lnTo>
                    <a:pt x="1521" y="174"/>
                  </a:lnTo>
                  <a:lnTo>
                    <a:pt x="1383" y="70"/>
                  </a:lnTo>
                  <a:lnTo>
                    <a:pt x="1279" y="35"/>
                  </a:lnTo>
                  <a:lnTo>
                    <a:pt x="1175" y="1"/>
                  </a:lnTo>
                  <a:close/>
                </a:path>
              </a:pathLst>
            </a:custGeom>
            <a:solidFill>
              <a:srgbClr val="CE979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49" name="Google Shape;1649;p16"/>
            <p:cNvSpPr/>
            <p:nvPr/>
          </p:nvSpPr>
          <p:spPr>
            <a:xfrm>
              <a:off x="4475200" y="2953375"/>
              <a:ext cx="54450" cy="63950"/>
            </a:xfrm>
            <a:custGeom>
              <a:avLst/>
              <a:gdLst/>
              <a:ahLst/>
              <a:cxnLst/>
              <a:rect l="l" t="t" r="r" b="b"/>
              <a:pathLst>
                <a:path w="2178" h="2558" fill="none" extrusionOk="0">
                  <a:moveTo>
                    <a:pt x="1175" y="1"/>
                  </a:moveTo>
                  <a:lnTo>
                    <a:pt x="1175" y="1"/>
                  </a:lnTo>
                  <a:lnTo>
                    <a:pt x="1003" y="35"/>
                  </a:lnTo>
                  <a:lnTo>
                    <a:pt x="761" y="139"/>
                  </a:lnTo>
                  <a:lnTo>
                    <a:pt x="519" y="312"/>
                  </a:lnTo>
                  <a:lnTo>
                    <a:pt x="208" y="588"/>
                  </a:lnTo>
                  <a:lnTo>
                    <a:pt x="208" y="588"/>
                  </a:lnTo>
                  <a:lnTo>
                    <a:pt x="208" y="588"/>
                  </a:lnTo>
                  <a:lnTo>
                    <a:pt x="208" y="588"/>
                  </a:lnTo>
                  <a:lnTo>
                    <a:pt x="35" y="2281"/>
                  </a:lnTo>
                  <a:lnTo>
                    <a:pt x="35" y="2281"/>
                  </a:lnTo>
                  <a:lnTo>
                    <a:pt x="0" y="2558"/>
                  </a:lnTo>
                  <a:lnTo>
                    <a:pt x="0" y="2558"/>
                  </a:lnTo>
                  <a:lnTo>
                    <a:pt x="761" y="2523"/>
                  </a:lnTo>
                  <a:lnTo>
                    <a:pt x="761" y="2523"/>
                  </a:lnTo>
                  <a:lnTo>
                    <a:pt x="1348" y="2523"/>
                  </a:lnTo>
                  <a:lnTo>
                    <a:pt x="1348" y="2523"/>
                  </a:lnTo>
                  <a:lnTo>
                    <a:pt x="1625" y="2316"/>
                  </a:lnTo>
                  <a:lnTo>
                    <a:pt x="1866" y="2109"/>
                  </a:lnTo>
                  <a:lnTo>
                    <a:pt x="2039" y="1867"/>
                  </a:lnTo>
                  <a:lnTo>
                    <a:pt x="2108" y="1763"/>
                  </a:lnTo>
                  <a:lnTo>
                    <a:pt x="2177" y="1625"/>
                  </a:lnTo>
                  <a:lnTo>
                    <a:pt x="2177" y="1487"/>
                  </a:lnTo>
                  <a:lnTo>
                    <a:pt x="2177" y="1348"/>
                  </a:lnTo>
                  <a:lnTo>
                    <a:pt x="2177" y="1176"/>
                  </a:lnTo>
                  <a:lnTo>
                    <a:pt x="2108" y="1003"/>
                  </a:lnTo>
                  <a:lnTo>
                    <a:pt x="2005" y="830"/>
                  </a:lnTo>
                  <a:lnTo>
                    <a:pt x="1901" y="623"/>
                  </a:lnTo>
                  <a:lnTo>
                    <a:pt x="1521" y="174"/>
                  </a:lnTo>
                  <a:lnTo>
                    <a:pt x="1521" y="174"/>
                  </a:lnTo>
                  <a:lnTo>
                    <a:pt x="1383" y="70"/>
                  </a:lnTo>
                  <a:lnTo>
                    <a:pt x="1279" y="35"/>
                  </a:lnTo>
                  <a:lnTo>
                    <a:pt x="117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0" name="Google Shape;1650;p16"/>
            <p:cNvSpPr/>
            <p:nvPr/>
          </p:nvSpPr>
          <p:spPr>
            <a:xfrm>
              <a:off x="3682125" y="2970650"/>
              <a:ext cx="1142125" cy="869125"/>
            </a:xfrm>
            <a:custGeom>
              <a:avLst/>
              <a:gdLst/>
              <a:ahLst/>
              <a:cxnLst/>
              <a:rect l="l" t="t" r="r" b="b"/>
              <a:pathLst>
                <a:path w="45685" h="34765" extrusionOk="0">
                  <a:moveTo>
                    <a:pt x="4839" y="1"/>
                  </a:moveTo>
                  <a:lnTo>
                    <a:pt x="4597" y="70"/>
                  </a:lnTo>
                  <a:lnTo>
                    <a:pt x="3940" y="277"/>
                  </a:lnTo>
                  <a:lnTo>
                    <a:pt x="3145" y="588"/>
                  </a:lnTo>
                  <a:lnTo>
                    <a:pt x="2316" y="968"/>
                  </a:lnTo>
                  <a:lnTo>
                    <a:pt x="1487" y="1418"/>
                  </a:lnTo>
                  <a:lnTo>
                    <a:pt x="795" y="1832"/>
                  </a:lnTo>
                  <a:lnTo>
                    <a:pt x="277" y="2178"/>
                  </a:lnTo>
                  <a:lnTo>
                    <a:pt x="104" y="2351"/>
                  </a:lnTo>
                  <a:lnTo>
                    <a:pt x="1" y="2454"/>
                  </a:lnTo>
                  <a:lnTo>
                    <a:pt x="312" y="3802"/>
                  </a:lnTo>
                  <a:lnTo>
                    <a:pt x="623" y="4908"/>
                  </a:lnTo>
                  <a:lnTo>
                    <a:pt x="968" y="6290"/>
                  </a:lnTo>
                  <a:lnTo>
                    <a:pt x="1417" y="7845"/>
                  </a:lnTo>
                  <a:lnTo>
                    <a:pt x="1970" y="9504"/>
                  </a:lnTo>
                  <a:lnTo>
                    <a:pt x="2592" y="11266"/>
                  </a:lnTo>
                  <a:lnTo>
                    <a:pt x="3284" y="13029"/>
                  </a:lnTo>
                  <a:lnTo>
                    <a:pt x="3664" y="13893"/>
                  </a:lnTo>
                  <a:lnTo>
                    <a:pt x="4044" y="14722"/>
                  </a:lnTo>
                  <a:lnTo>
                    <a:pt x="4458" y="15551"/>
                  </a:lnTo>
                  <a:lnTo>
                    <a:pt x="4908" y="16346"/>
                  </a:lnTo>
                  <a:lnTo>
                    <a:pt x="5357" y="17106"/>
                  </a:lnTo>
                  <a:lnTo>
                    <a:pt x="5841" y="17797"/>
                  </a:lnTo>
                  <a:lnTo>
                    <a:pt x="6324" y="18454"/>
                  </a:lnTo>
                  <a:lnTo>
                    <a:pt x="6843" y="19041"/>
                  </a:lnTo>
                  <a:lnTo>
                    <a:pt x="7361" y="19560"/>
                  </a:lnTo>
                  <a:lnTo>
                    <a:pt x="7914" y="20009"/>
                  </a:lnTo>
                  <a:lnTo>
                    <a:pt x="8467" y="20389"/>
                  </a:lnTo>
                  <a:lnTo>
                    <a:pt x="8778" y="20527"/>
                  </a:lnTo>
                  <a:lnTo>
                    <a:pt x="9054" y="20666"/>
                  </a:lnTo>
                  <a:lnTo>
                    <a:pt x="9365" y="20769"/>
                  </a:lnTo>
                  <a:lnTo>
                    <a:pt x="9676" y="20838"/>
                  </a:lnTo>
                  <a:lnTo>
                    <a:pt x="9987" y="20873"/>
                  </a:lnTo>
                  <a:lnTo>
                    <a:pt x="10298" y="20908"/>
                  </a:lnTo>
                  <a:lnTo>
                    <a:pt x="10609" y="20908"/>
                  </a:lnTo>
                  <a:lnTo>
                    <a:pt x="10920" y="20873"/>
                  </a:lnTo>
                  <a:lnTo>
                    <a:pt x="11231" y="20804"/>
                  </a:lnTo>
                  <a:lnTo>
                    <a:pt x="11577" y="20735"/>
                  </a:lnTo>
                  <a:lnTo>
                    <a:pt x="12026" y="20562"/>
                  </a:lnTo>
                  <a:lnTo>
                    <a:pt x="12510" y="20355"/>
                  </a:lnTo>
                  <a:lnTo>
                    <a:pt x="13512" y="19905"/>
                  </a:lnTo>
                  <a:lnTo>
                    <a:pt x="14583" y="19352"/>
                  </a:lnTo>
                  <a:lnTo>
                    <a:pt x="15655" y="18730"/>
                  </a:lnTo>
                  <a:lnTo>
                    <a:pt x="16726" y="18074"/>
                  </a:lnTo>
                  <a:lnTo>
                    <a:pt x="17797" y="17383"/>
                  </a:lnTo>
                  <a:lnTo>
                    <a:pt x="19905" y="16001"/>
                  </a:lnTo>
                  <a:lnTo>
                    <a:pt x="21806" y="14791"/>
                  </a:lnTo>
                  <a:lnTo>
                    <a:pt x="22635" y="14307"/>
                  </a:lnTo>
                  <a:lnTo>
                    <a:pt x="23361" y="13927"/>
                  </a:lnTo>
                  <a:lnTo>
                    <a:pt x="23672" y="13789"/>
                  </a:lnTo>
                  <a:lnTo>
                    <a:pt x="23948" y="13685"/>
                  </a:lnTo>
                  <a:lnTo>
                    <a:pt x="24225" y="13616"/>
                  </a:lnTo>
                  <a:lnTo>
                    <a:pt x="24432" y="13582"/>
                  </a:lnTo>
                  <a:lnTo>
                    <a:pt x="24639" y="13582"/>
                  </a:lnTo>
                  <a:lnTo>
                    <a:pt x="24778" y="13651"/>
                  </a:lnTo>
                  <a:lnTo>
                    <a:pt x="24881" y="13754"/>
                  </a:lnTo>
                  <a:lnTo>
                    <a:pt x="24950" y="13893"/>
                  </a:lnTo>
                  <a:lnTo>
                    <a:pt x="24950" y="14791"/>
                  </a:lnTo>
                  <a:lnTo>
                    <a:pt x="25019" y="15655"/>
                  </a:lnTo>
                  <a:lnTo>
                    <a:pt x="25123" y="17314"/>
                  </a:lnTo>
                  <a:lnTo>
                    <a:pt x="25296" y="18972"/>
                  </a:lnTo>
                  <a:lnTo>
                    <a:pt x="25330" y="19836"/>
                  </a:lnTo>
                  <a:lnTo>
                    <a:pt x="25365" y="20769"/>
                  </a:lnTo>
                  <a:lnTo>
                    <a:pt x="25365" y="21771"/>
                  </a:lnTo>
                  <a:lnTo>
                    <a:pt x="25365" y="22808"/>
                  </a:lnTo>
                  <a:lnTo>
                    <a:pt x="25296" y="23983"/>
                  </a:lnTo>
                  <a:lnTo>
                    <a:pt x="25158" y="25227"/>
                  </a:lnTo>
                  <a:lnTo>
                    <a:pt x="25019" y="26609"/>
                  </a:lnTo>
                  <a:lnTo>
                    <a:pt x="24778" y="28095"/>
                  </a:lnTo>
                  <a:lnTo>
                    <a:pt x="24467" y="29754"/>
                  </a:lnTo>
                  <a:lnTo>
                    <a:pt x="24086" y="31551"/>
                  </a:lnTo>
                  <a:lnTo>
                    <a:pt x="24674" y="32000"/>
                  </a:lnTo>
                  <a:lnTo>
                    <a:pt x="25261" y="32415"/>
                  </a:lnTo>
                  <a:lnTo>
                    <a:pt x="25953" y="32795"/>
                  </a:lnTo>
                  <a:lnTo>
                    <a:pt x="26644" y="33106"/>
                  </a:lnTo>
                  <a:lnTo>
                    <a:pt x="27404" y="33417"/>
                  </a:lnTo>
                  <a:lnTo>
                    <a:pt x="28164" y="33693"/>
                  </a:lnTo>
                  <a:lnTo>
                    <a:pt x="28993" y="33935"/>
                  </a:lnTo>
                  <a:lnTo>
                    <a:pt x="29823" y="34143"/>
                  </a:lnTo>
                  <a:lnTo>
                    <a:pt x="30687" y="34315"/>
                  </a:lnTo>
                  <a:lnTo>
                    <a:pt x="31551" y="34454"/>
                  </a:lnTo>
                  <a:lnTo>
                    <a:pt x="32449" y="34592"/>
                  </a:lnTo>
                  <a:lnTo>
                    <a:pt x="33313" y="34661"/>
                  </a:lnTo>
                  <a:lnTo>
                    <a:pt x="34211" y="34730"/>
                  </a:lnTo>
                  <a:lnTo>
                    <a:pt x="35110" y="34765"/>
                  </a:lnTo>
                  <a:lnTo>
                    <a:pt x="36872" y="34765"/>
                  </a:lnTo>
                  <a:lnTo>
                    <a:pt x="37736" y="34696"/>
                  </a:lnTo>
                  <a:lnTo>
                    <a:pt x="38566" y="34661"/>
                  </a:lnTo>
                  <a:lnTo>
                    <a:pt x="39360" y="34557"/>
                  </a:lnTo>
                  <a:lnTo>
                    <a:pt x="40155" y="34454"/>
                  </a:lnTo>
                  <a:lnTo>
                    <a:pt x="40915" y="34315"/>
                  </a:lnTo>
                  <a:lnTo>
                    <a:pt x="41607" y="34177"/>
                  </a:lnTo>
                  <a:lnTo>
                    <a:pt x="42298" y="34004"/>
                  </a:lnTo>
                  <a:lnTo>
                    <a:pt x="42920" y="33832"/>
                  </a:lnTo>
                  <a:lnTo>
                    <a:pt x="43473" y="33659"/>
                  </a:lnTo>
                  <a:lnTo>
                    <a:pt x="43991" y="33417"/>
                  </a:lnTo>
                  <a:lnTo>
                    <a:pt x="44440" y="33210"/>
                  </a:lnTo>
                  <a:lnTo>
                    <a:pt x="44820" y="32968"/>
                  </a:lnTo>
                  <a:lnTo>
                    <a:pt x="45166" y="32726"/>
                  </a:lnTo>
                  <a:lnTo>
                    <a:pt x="45408" y="32449"/>
                  </a:lnTo>
                  <a:lnTo>
                    <a:pt x="45546" y="32173"/>
                  </a:lnTo>
                  <a:lnTo>
                    <a:pt x="45615" y="32035"/>
                  </a:lnTo>
                  <a:lnTo>
                    <a:pt x="45650" y="31896"/>
                  </a:lnTo>
                  <a:lnTo>
                    <a:pt x="45684" y="31171"/>
                  </a:lnTo>
                  <a:lnTo>
                    <a:pt x="45684" y="30100"/>
                  </a:lnTo>
                  <a:lnTo>
                    <a:pt x="45650" y="28821"/>
                  </a:lnTo>
                  <a:lnTo>
                    <a:pt x="45546" y="27300"/>
                  </a:lnTo>
                  <a:lnTo>
                    <a:pt x="45270" y="23810"/>
                  </a:lnTo>
                  <a:lnTo>
                    <a:pt x="44889" y="20009"/>
                  </a:lnTo>
                  <a:lnTo>
                    <a:pt x="44440" y="16242"/>
                  </a:lnTo>
                  <a:lnTo>
                    <a:pt x="43991" y="12856"/>
                  </a:lnTo>
                  <a:lnTo>
                    <a:pt x="43784" y="11439"/>
                  </a:lnTo>
                  <a:lnTo>
                    <a:pt x="43576" y="10264"/>
                  </a:lnTo>
                  <a:lnTo>
                    <a:pt x="43403" y="9366"/>
                  </a:lnTo>
                  <a:lnTo>
                    <a:pt x="43231" y="8778"/>
                  </a:lnTo>
                  <a:lnTo>
                    <a:pt x="42989" y="8225"/>
                  </a:lnTo>
                  <a:lnTo>
                    <a:pt x="42712" y="7707"/>
                  </a:lnTo>
                  <a:lnTo>
                    <a:pt x="42367" y="7154"/>
                  </a:lnTo>
                  <a:lnTo>
                    <a:pt x="41987" y="6636"/>
                  </a:lnTo>
                  <a:lnTo>
                    <a:pt x="41537" y="6117"/>
                  </a:lnTo>
                  <a:lnTo>
                    <a:pt x="41088" y="5599"/>
                  </a:lnTo>
                  <a:lnTo>
                    <a:pt x="40639" y="5115"/>
                  </a:lnTo>
                  <a:lnTo>
                    <a:pt x="40155" y="4666"/>
                  </a:lnTo>
                  <a:lnTo>
                    <a:pt x="39222" y="3837"/>
                  </a:lnTo>
                  <a:lnTo>
                    <a:pt x="38324" y="3146"/>
                  </a:lnTo>
                  <a:lnTo>
                    <a:pt x="37598" y="2662"/>
                  </a:lnTo>
                  <a:lnTo>
                    <a:pt x="37287" y="2489"/>
                  </a:lnTo>
                  <a:lnTo>
                    <a:pt x="37080" y="2385"/>
                  </a:lnTo>
                  <a:lnTo>
                    <a:pt x="36838" y="2282"/>
                  </a:lnTo>
                  <a:lnTo>
                    <a:pt x="36492" y="2213"/>
                  </a:lnTo>
                  <a:lnTo>
                    <a:pt x="35559" y="2040"/>
                  </a:lnTo>
                  <a:lnTo>
                    <a:pt x="34384" y="1901"/>
                  </a:lnTo>
                  <a:lnTo>
                    <a:pt x="33071" y="1832"/>
                  </a:lnTo>
                  <a:lnTo>
                    <a:pt x="32345" y="1832"/>
                  </a:lnTo>
                  <a:lnTo>
                    <a:pt x="31654" y="1867"/>
                  </a:lnTo>
                  <a:lnTo>
                    <a:pt x="30963" y="1901"/>
                  </a:lnTo>
                  <a:lnTo>
                    <a:pt x="30272" y="1971"/>
                  </a:lnTo>
                  <a:lnTo>
                    <a:pt x="29615" y="2109"/>
                  </a:lnTo>
                  <a:lnTo>
                    <a:pt x="28993" y="2247"/>
                  </a:lnTo>
                  <a:lnTo>
                    <a:pt x="28406" y="2454"/>
                  </a:lnTo>
                  <a:lnTo>
                    <a:pt x="27888" y="2696"/>
                  </a:lnTo>
                  <a:lnTo>
                    <a:pt x="26955" y="3180"/>
                  </a:lnTo>
                  <a:lnTo>
                    <a:pt x="26091" y="3595"/>
                  </a:lnTo>
                  <a:lnTo>
                    <a:pt x="25261" y="4009"/>
                  </a:lnTo>
                  <a:lnTo>
                    <a:pt x="24432" y="4424"/>
                  </a:lnTo>
                  <a:lnTo>
                    <a:pt x="23603" y="4908"/>
                  </a:lnTo>
                  <a:lnTo>
                    <a:pt x="22739" y="5461"/>
                  </a:lnTo>
                  <a:lnTo>
                    <a:pt x="22290" y="5772"/>
                  </a:lnTo>
                  <a:lnTo>
                    <a:pt x="21840" y="6152"/>
                  </a:lnTo>
                  <a:lnTo>
                    <a:pt x="21391" y="6567"/>
                  </a:lnTo>
                  <a:lnTo>
                    <a:pt x="20907" y="7016"/>
                  </a:lnTo>
                  <a:lnTo>
                    <a:pt x="18972" y="8951"/>
                  </a:lnTo>
                  <a:lnTo>
                    <a:pt x="17866" y="10022"/>
                  </a:lnTo>
                  <a:lnTo>
                    <a:pt x="16691" y="11059"/>
                  </a:lnTo>
                  <a:lnTo>
                    <a:pt x="16069" y="11577"/>
                  </a:lnTo>
                  <a:lnTo>
                    <a:pt x="15447" y="12061"/>
                  </a:lnTo>
                  <a:lnTo>
                    <a:pt x="14825" y="12510"/>
                  </a:lnTo>
                  <a:lnTo>
                    <a:pt x="14203" y="12925"/>
                  </a:lnTo>
                  <a:lnTo>
                    <a:pt x="13581" y="13305"/>
                  </a:lnTo>
                  <a:lnTo>
                    <a:pt x="12959" y="13616"/>
                  </a:lnTo>
                  <a:lnTo>
                    <a:pt x="12337" y="13893"/>
                  </a:lnTo>
                  <a:lnTo>
                    <a:pt x="11750" y="14065"/>
                  </a:lnTo>
                  <a:lnTo>
                    <a:pt x="11473" y="14065"/>
                  </a:lnTo>
                  <a:lnTo>
                    <a:pt x="11197" y="13996"/>
                  </a:lnTo>
                  <a:lnTo>
                    <a:pt x="10920" y="13858"/>
                  </a:lnTo>
                  <a:lnTo>
                    <a:pt x="10644" y="13651"/>
                  </a:lnTo>
                  <a:lnTo>
                    <a:pt x="10368" y="13374"/>
                  </a:lnTo>
                  <a:lnTo>
                    <a:pt x="10091" y="13029"/>
                  </a:lnTo>
                  <a:lnTo>
                    <a:pt x="9780" y="12614"/>
                  </a:lnTo>
                  <a:lnTo>
                    <a:pt x="9504" y="12165"/>
                  </a:lnTo>
                  <a:lnTo>
                    <a:pt x="9227" y="11646"/>
                  </a:lnTo>
                  <a:lnTo>
                    <a:pt x="8951" y="11093"/>
                  </a:lnTo>
                  <a:lnTo>
                    <a:pt x="8398" y="9919"/>
                  </a:lnTo>
                  <a:lnTo>
                    <a:pt x="7845" y="8605"/>
                  </a:lnTo>
                  <a:lnTo>
                    <a:pt x="7327" y="7292"/>
                  </a:lnTo>
                  <a:lnTo>
                    <a:pt x="6877" y="5945"/>
                  </a:lnTo>
                  <a:lnTo>
                    <a:pt x="6428" y="4631"/>
                  </a:lnTo>
                  <a:lnTo>
                    <a:pt x="5702" y="2282"/>
                  </a:lnTo>
                  <a:lnTo>
                    <a:pt x="5219" y="623"/>
                  </a:lnTo>
                  <a:lnTo>
                    <a:pt x="5046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1" name="Google Shape;1651;p16"/>
            <p:cNvSpPr/>
            <p:nvPr/>
          </p:nvSpPr>
          <p:spPr>
            <a:xfrm>
              <a:off x="3682125" y="2970650"/>
              <a:ext cx="1142125" cy="869125"/>
            </a:xfrm>
            <a:custGeom>
              <a:avLst/>
              <a:gdLst/>
              <a:ahLst/>
              <a:cxnLst/>
              <a:rect l="l" t="t" r="r" b="b"/>
              <a:pathLst>
                <a:path w="45685" h="34765" fill="none" extrusionOk="0">
                  <a:moveTo>
                    <a:pt x="37080" y="2385"/>
                  </a:moveTo>
                  <a:lnTo>
                    <a:pt x="37080" y="2385"/>
                  </a:lnTo>
                  <a:lnTo>
                    <a:pt x="36838" y="2282"/>
                  </a:lnTo>
                  <a:lnTo>
                    <a:pt x="36492" y="2213"/>
                  </a:lnTo>
                  <a:lnTo>
                    <a:pt x="35559" y="2040"/>
                  </a:lnTo>
                  <a:lnTo>
                    <a:pt x="34384" y="1901"/>
                  </a:lnTo>
                  <a:lnTo>
                    <a:pt x="33071" y="1832"/>
                  </a:lnTo>
                  <a:lnTo>
                    <a:pt x="32345" y="1832"/>
                  </a:lnTo>
                  <a:lnTo>
                    <a:pt x="31654" y="1867"/>
                  </a:lnTo>
                  <a:lnTo>
                    <a:pt x="30963" y="1901"/>
                  </a:lnTo>
                  <a:lnTo>
                    <a:pt x="30272" y="1971"/>
                  </a:lnTo>
                  <a:lnTo>
                    <a:pt x="29615" y="2109"/>
                  </a:lnTo>
                  <a:lnTo>
                    <a:pt x="28993" y="2247"/>
                  </a:lnTo>
                  <a:lnTo>
                    <a:pt x="28406" y="2454"/>
                  </a:lnTo>
                  <a:lnTo>
                    <a:pt x="27888" y="2696"/>
                  </a:lnTo>
                  <a:lnTo>
                    <a:pt x="27888" y="2696"/>
                  </a:lnTo>
                  <a:lnTo>
                    <a:pt x="26955" y="3180"/>
                  </a:lnTo>
                  <a:lnTo>
                    <a:pt x="26091" y="3595"/>
                  </a:lnTo>
                  <a:lnTo>
                    <a:pt x="25261" y="4009"/>
                  </a:lnTo>
                  <a:lnTo>
                    <a:pt x="24432" y="4424"/>
                  </a:lnTo>
                  <a:lnTo>
                    <a:pt x="23603" y="4908"/>
                  </a:lnTo>
                  <a:lnTo>
                    <a:pt x="22739" y="5461"/>
                  </a:lnTo>
                  <a:lnTo>
                    <a:pt x="22290" y="5772"/>
                  </a:lnTo>
                  <a:lnTo>
                    <a:pt x="21840" y="6152"/>
                  </a:lnTo>
                  <a:lnTo>
                    <a:pt x="21391" y="6567"/>
                  </a:lnTo>
                  <a:lnTo>
                    <a:pt x="20907" y="7016"/>
                  </a:lnTo>
                  <a:lnTo>
                    <a:pt x="20907" y="7016"/>
                  </a:lnTo>
                  <a:lnTo>
                    <a:pt x="18972" y="8951"/>
                  </a:lnTo>
                  <a:lnTo>
                    <a:pt x="17866" y="10022"/>
                  </a:lnTo>
                  <a:lnTo>
                    <a:pt x="16691" y="11059"/>
                  </a:lnTo>
                  <a:lnTo>
                    <a:pt x="16069" y="11577"/>
                  </a:lnTo>
                  <a:lnTo>
                    <a:pt x="15447" y="12061"/>
                  </a:lnTo>
                  <a:lnTo>
                    <a:pt x="14825" y="12510"/>
                  </a:lnTo>
                  <a:lnTo>
                    <a:pt x="14203" y="12925"/>
                  </a:lnTo>
                  <a:lnTo>
                    <a:pt x="13581" y="13305"/>
                  </a:lnTo>
                  <a:lnTo>
                    <a:pt x="12959" y="13616"/>
                  </a:lnTo>
                  <a:lnTo>
                    <a:pt x="12337" y="13893"/>
                  </a:lnTo>
                  <a:lnTo>
                    <a:pt x="11750" y="14065"/>
                  </a:lnTo>
                  <a:lnTo>
                    <a:pt x="11750" y="14065"/>
                  </a:lnTo>
                  <a:lnTo>
                    <a:pt x="11612" y="14065"/>
                  </a:lnTo>
                  <a:lnTo>
                    <a:pt x="11473" y="14065"/>
                  </a:lnTo>
                  <a:lnTo>
                    <a:pt x="11197" y="13996"/>
                  </a:lnTo>
                  <a:lnTo>
                    <a:pt x="10920" y="13858"/>
                  </a:lnTo>
                  <a:lnTo>
                    <a:pt x="10644" y="13651"/>
                  </a:lnTo>
                  <a:lnTo>
                    <a:pt x="10368" y="13374"/>
                  </a:lnTo>
                  <a:lnTo>
                    <a:pt x="10091" y="13029"/>
                  </a:lnTo>
                  <a:lnTo>
                    <a:pt x="9780" y="12614"/>
                  </a:lnTo>
                  <a:lnTo>
                    <a:pt x="9504" y="12165"/>
                  </a:lnTo>
                  <a:lnTo>
                    <a:pt x="9227" y="11646"/>
                  </a:lnTo>
                  <a:lnTo>
                    <a:pt x="8951" y="11093"/>
                  </a:lnTo>
                  <a:lnTo>
                    <a:pt x="8398" y="9919"/>
                  </a:lnTo>
                  <a:lnTo>
                    <a:pt x="7845" y="8605"/>
                  </a:lnTo>
                  <a:lnTo>
                    <a:pt x="7327" y="7292"/>
                  </a:lnTo>
                  <a:lnTo>
                    <a:pt x="6877" y="5945"/>
                  </a:lnTo>
                  <a:lnTo>
                    <a:pt x="6428" y="4631"/>
                  </a:lnTo>
                  <a:lnTo>
                    <a:pt x="5702" y="2282"/>
                  </a:lnTo>
                  <a:lnTo>
                    <a:pt x="5219" y="623"/>
                  </a:lnTo>
                  <a:lnTo>
                    <a:pt x="5046" y="1"/>
                  </a:lnTo>
                  <a:lnTo>
                    <a:pt x="5046" y="1"/>
                  </a:lnTo>
                  <a:lnTo>
                    <a:pt x="4839" y="1"/>
                  </a:lnTo>
                  <a:lnTo>
                    <a:pt x="4597" y="70"/>
                  </a:lnTo>
                  <a:lnTo>
                    <a:pt x="3940" y="277"/>
                  </a:lnTo>
                  <a:lnTo>
                    <a:pt x="3145" y="588"/>
                  </a:lnTo>
                  <a:lnTo>
                    <a:pt x="2316" y="968"/>
                  </a:lnTo>
                  <a:lnTo>
                    <a:pt x="1487" y="1418"/>
                  </a:lnTo>
                  <a:lnTo>
                    <a:pt x="795" y="1832"/>
                  </a:lnTo>
                  <a:lnTo>
                    <a:pt x="277" y="2178"/>
                  </a:lnTo>
                  <a:lnTo>
                    <a:pt x="104" y="2351"/>
                  </a:lnTo>
                  <a:lnTo>
                    <a:pt x="1" y="2454"/>
                  </a:lnTo>
                  <a:lnTo>
                    <a:pt x="1" y="2454"/>
                  </a:lnTo>
                  <a:lnTo>
                    <a:pt x="312" y="3802"/>
                  </a:lnTo>
                  <a:lnTo>
                    <a:pt x="623" y="4908"/>
                  </a:lnTo>
                  <a:lnTo>
                    <a:pt x="968" y="6290"/>
                  </a:lnTo>
                  <a:lnTo>
                    <a:pt x="1417" y="7845"/>
                  </a:lnTo>
                  <a:lnTo>
                    <a:pt x="1970" y="9504"/>
                  </a:lnTo>
                  <a:lnTo>
                    <a:pt x="2592" y="11266"/>
                  </a:lnTo>
                  <a:lnTo>
                    <a:pt x="3284" y="13029"/>
                  </a:lnTo>
                  <a:lnTo>
                    <a:pt x="3664" y="13893"/>
                  </a:lnTo>
                  <a:lnTo>
                    <a:pt x="4044" y="14722"/>
                  </a:lnTo>
                  <a:lnTo>
                    <a:pt x="4458" y="15551"/>
                  </a:lnTo>
                  <a:lnTo>
                    <a:pt x="4908" y="16346"/>
                  </a:lnTo>
                  <a:lnTo>
                    <a:pt x="5357" y="17106"/>
                  </a:lnTo>
                  <a:lnTo>
                    <a:pt x="5841" y="17797"/>
                  </a:lnTo>
                  <a:lnTo>
                    <a:pt x="6324" y="18454"/>
                  </a:lnTo>
                  <a:lnTo>
                    <a:pt x="6843" y="19041"/>
                  </a:lnTo>
                  <a:lnTo>
                    <a:pt x="7361" y="19560"/>
                  </a:lnTo>
                  <a:lnTo>
                    <a:pt x="7914" y="20009"/>
                  </a:lnTo>
                  <a:lnTo>
                    <a:pt x="8467" y="20389"/>
                  </a:lnTo>
                  <a:lnTo>
                    <a:pt x="8778" y="20527"/>
                  </a:lnTo>
                  <a:lnTo>
                    <a:pt x="9054" y="20666"/>
                  </a:lnTo>
                  <a:lnTo>
                    <a:pt x="9365" y="20769"/>
                  </a:lnTo>
                  <a:lnTo>
                    <a:pt x="9676" y="20838"/>
                  </a:lnTo>
                  <a:lnTo>
                    <a:pt x="9987" y="20873"/>
                  </a:lnTo>
                  <a:lnTo>
                    <a:pt x="10298" y="20908"/>
                  </a:lnTo>
                  <a:lnTo>
                    <a:pt x="10609" y="20908"/>
                  </a:lnTo>
                  <a:lnTo>
                    <a:pt x="10920" y="20873"/>
                  </a:lnTo>
                  <a:lnTo>
                    <a:pt x="11231" y="20804"/>
                  </a:lnTo>
                  <a:lnTo>
                    <a:pt x="11577" y="20735"/>
                  </a:lnTo>
                  <a:lnTo>
                    <a:pt x="11577" y="20735"/>
                  </a:lnTo>
                  <a:lnTo>
                    <a:pt x="12026" y="20562"/>
                  </a:lnTo>
                  <a:lnTo>
                    <a:pt x="12510" y="20355"/>
                  </a:lnTo>
                  <a:lnTo>
                    <a:pt x="13512" y="19905"/>
                  </a:lnTo>
                  <a:lnTo>
                    <a:pt x="14583" y="19352"/>
                  </a:lnTo>
                  <a:lnTo>
                    <a:pt x="15655" y="18730"/>
                  </a:lnTo>
                  <a:lnTo>
                    <a:pt x="16726" y="18074"/>
                  </a:lnTo>
                  <a:lnTo>
                    <a:pt x="17797" y="17383"/>
                  </a:lnTo>
                  <a:lnTo>
                    <a:pt x="19905" y="16001"/>
                  </a:lnTo>
                  <a:lnTo>
                    <a:pt x="21806" y="14791"/>
                  </a:lnTo>
                  <a:lnTo>
                    <a:pt x="22635" y="14307"/>
                  </a:lnTo>
                  <a:lnTo>
                    <a:pt x="23361" y="13927"/>
                  </a:lnTo>
                  <a:lnTo>
                    <a:pt x="23672" y="13789"/>
                  </a:lnTo>
                  <a:lnTo>
                    <a:pt x="23948" y="13685"/>
                  </a:lnTo>
                  <a:lnTo>
                    <a:pt x="24225" y="13616"/>
                  </a:lnTo>
                  <a:lnTo>
                    <a:pt x="24432" y="13582"/>
                  </a:lnTo>
                  <a:lnTo>
                    <a:pt x="24639" y="13582"/>
                  </a:lnTo>
                  <a:lnTo>
                    <a:pt x="24778" y="13651"/>
                  </a:lnTo>
                  <a:lnTo>
                    <a:pt x="24881" y="13754"/>
                  </a:lnTo>
                  <a:lnTo>
                    <a:pt x="24950" y="13893"/>
                  </a:lnTo>
                  <a:lnTo>
                    <a:pt x="24950" y="13893"/>
                  </a:lnTo>
                  <a:lnTo>
                    <a:pt x="24950" y="14791"/>
                  </a:lnTo>
                  <a:lnTo>
                    <a:pt x="25019" y="15655"/>
                  </a:lnTo>
                  <a:lnTo>
                    <a:pt x="25123" y="17314"/>
                  </a:lnTo>
                  <a:lnTo>
                    <a:pt x="25296" y="18972"/>
                  </a:lnTo>
                  <a:lnTo>
                    <a:pt x="25330" y="19836"/>
                  </a:lnTo>
                  <a:lnTo>
                    <a:pt x="25365" y="20769"/>
                  </a:lnTo>
                  <a:lnTo>
                    <a:pt x="25365" y="21771"/>
                  </a:lnTo>
                  <a:lnTo>
                    <a:pt x="25365" y="22808"/>
                  </a:lnTo>
                  <a:lnTo>
                    <a:pt x="25296" y="23983"/>
                  </a:lnTo>
                  <a:lnTo>
                    <a:pt x="25158" y="25227"/>
                  </a:lnTo>
                  <a:lnTo>
                    <a:pt x="25019" y="26609"/>
                  </a:lnTo>
                  <a:lnTo>
                    <a:pt x="24778" y="28095"/>
                  </a:lnTo>
                  <a:lnTo>
                    <a:pt x="24467" y="29754"/>
                  </a:lnTo>
                  <a:lnTo>
                    <a:pt x="24086" y="31551"/>
                  </a:lnTo>
                  <a:lnTo>
                    <a:pt x="24086" y="31551"/>
                  </a:lnTo>
                  <a:lnTo>
                    <a:pt x="24674" y="32000"/>
                  </a:lnTo>
                  <a:lnTo>
                    <a:pt x="25261" y="32415"/>
                  </a:lnTo>
                  <a:lnTo>
                    <a:pt x="25953" y="32795"/>
                  </a:lnTo>
                  <a:lnTo>
                    <a:pt x="26644" y="33106"/>
                  </a:lnTo>
                  <a:lnTo>
                    <a:pt x="27404" y="33417"/>
                  </a:lnTo>
                  <a:lnTo>
                    <a:pt x="28164" y="33693"/>
                  </a:lnTo>
                  <a:lnTo>
                    <a:pt x="28993" y="33935"/>
                  </a:lnTo>
                  <a:lnTo>
                    <a:pt x="29823" y="34143"/>
                  </a:lnTo>
                  <a:lnTo>
                    <a:pt x="30687" y="34315"/>
                  </a:lnTo>
                  <a:lnTo>
                    <a:pt x="31551" y="34454"/>
                  </a:lnTo>
                  <a:lnTo>
                    <a:pt x="32449" y="34592"/>
                  </a:lnTo>
                  <a:lnTo>
                    <a:pt x="33313" y="34661"/>
                  </a:lnTo>
                  <a:lnTo>
                    <a:pt x="34211" y="34730"/>
                  </a:lnTo>
                  <a:lnTo>
                    <a:pt x="35110" y="34765"/>
                  </a:lnTo>
                  <a:lnTo>
                    <a:pt x="36008" y="34765"/>
                  </a:lnTo>
                  <a:lnTo>
                    <a:pt x="36872" y="34765"/>
                  </a:lnTo>
                  <a:lnTo>
                    <a:pt x="37736" y="34696"/>
                  </a:lnTo>
                  <a:lnTo>
                    <a:pt x="38566" y="34661"/>
                  </a:lnTo>
                  <a:lnTo>
                    <a:pt x="39360" y="34557"/>
                  </a:lnTo>
                  <a:lnTo>
                    <a:pt x="40155" y="34454"/>
                  </a:lnTo>
                  <a:lnTo>
                    <a:pt x="40915" y="34315"/>
                  </a:lnTo>
                  <a:lnTo>
                    <a:pt x="41607" y="34177"/>
                  </a:lnTo>
                  <a:lnTo>
                    <a:pt x="42298" y="34004"/>
                  </a:lnTo>
                  <a:lnTo>
                    <a:pt x="42920" y="33832"/>
                  </a:lnTo>
                  <a:lnTo>
                    <a:pt x="43473" y="33659"/>
                  </a:lnTo>
                  <a:lnTo>
                    <a:pt x="43991" y="33417"/>
                  </a:lnTo>
                  <a:lnTo>
                    <a:pt x="44440" y="33210"/>
                  </a:lnTo>
                  <a:lnTo>
                    <a:pt x="44820" y="32968"/>
                  </a:lnTo>
                  <a:lnTo>
                    <a:pt x="45166" y="32726"/>
                  </a:lnTo>
                  <a:lnTo>
                    <a:pt x="45408" y="32449"/>
                  </a:lnTo>
                  <a:lnTo>
                    <a:pt x="45546" y="32173"/>
                  </a:lnTo>
                  <a:lnTo>
                    <a:pt x="45615" y="32035"/>
                  </a:lnTo>
                  <a:lnTo>
                    <a:pt x="45650" y="31896"/>
                  </a:lnTo>
                  <a:lnTo>
                    <a:pt x="45650" y="31896"/>
                  </a:lnTo>
                  <a:lnTo>
                    <a:pt x="45684" y="31171"/>
                  </a:lnTo>
                  <a:lnTo>
                    <a:pt x="45684" y="30100"/>
                  </a:lnTo>
                  <a:lnTo>
                    <a:pt x="45650" y="28821"/>
                  </a:lnTo>
                  <a:lnTo>
                    <a:pt x="45546" y="27300"/>
                  </a:lnTo>
                  <a:lnTo>
                    <a:pt x="45270" y="23810"/>
                  </a:lnTo>
                  <a:lnTo>
                    <a:pt x="44889" y="20009"/>
                  </a:lnTo>
                  <a:lnTo>
                    <a:pt x="44440" y="16242"/>
                  </a:lnTo>
                  <a:lnTo>
                    <a:pt x="43991" y="12856"/>
                  </a:lnTo>
                  <a:lnTo>
                    <a:pt x="43784" y="11439"/>
                  </a:lnTo>
                  <a:lnTo>
                    <a:pt x="43576" y="10264"/>
                  </a:lnTo>
                  <a:lnTo>
                    <a:pt x="43403" y="9366"/>
                  </a:lnTo>
                  <a:lnTo>
                    <a:pt x="43231" y="8778"/>
                  </a:lnTo>
                  <a:lnTo>
                    <a:pt x="43231" y="8778"/>
                  </a:lnTo>
                  <a:lnTo>
                    <a:pt x="42989" y="8225"/>
                  </a:lnTo>
                  <a:lnTo>
                    <a:pt x="42712" y="7707"/>
                  </a:lnTo>
                  <a:lnTo>
                    <a:pt x="42367" y="7154"/>
                  </a:lnTo>
                  <a:lnTo>
                    <a:pt x="41987" y="6636"/>
                  </a:lnTo>
                  <a:lnTo>
                    <a:pt x="41537" y="6117"/>
                  </a:lnTo>
                  <a:lnTo>
                    <a:pt x="41088" y="5599"/>
                  </a:lnTo>
                  <a:lnTo>
                    <a:pt x="40639" y="5115"/>
                  </a:lnTo>
                  <a:lnTo>
                    <a:pt x="40155" y="4666"/>
                  </a:lnTo>
                  <a:lnTo>
                    <a:pt x="39222" y="3837"/>
                  </a:lnTo>
                  <a:lnTo>
                    <a:pt x="38324" y="3146"/>
                  </a:lnTo>
                  <a:lnTo>
                    <a:pt x="37598" y="2662"/>
                  </a:lnTo>
                  <a:lnTo>
                    <a:pt x="37287" y="2489"/>
                  </a:lnTo>
                  <a:lnTo>
                    <a:pt x="37080" y="238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2" name="Google Shape;1652;p16"/>
            <p:cNvSpPr/>
            <p:nvPr/>
          </p:nvSpPr>
          <p:spPr>
            <a:xfrm>
              <a:off x="4294650" y="3308450"/>
              <a:ext cx="84675" cy="400875"/>
            </a:xfrm>
            <a:custGeom>
              <a:avLst/>
              <a:gdLst/>
              <a:ahLst/>
              <a:cxnLst/>
              <a:rect l="l" t="t" r="r" b="b"/>
              <a:pathLst>
                <a:path w="3387" h="16035" extrusionOk="0">
                  <a:moveTo>
                    <a:pt x="207" y="0"/>
                  </a:moveTo>
                  <a:lnTo>
                    <a:pt x="311" y="70"/>
                  </a:lnTo>
                  <a:lnTo>
                    <a:pt x="380" y="173"/>
                  </a:lnTo>
                  <a:lnTo>
                    <a:pt x="449" y="381"/>
                  </a:lnTo>
                  <a:lnTo>
                    <a:pt x="449" y="1175"/>
                  </a:lnTo>
                  <a:lnTo>
                    <a:pt x="518" y="1970"/>
                  </a:lnTo>
                  <a:lnTo>
                    <a:pt x="622" y="3525"/>
                  </a:lnTo>
                  <a:lnTo>
                    <a:pt x="760" y="5149"/>
                  </a:lnTo>
                  <a:lnTo>
                    <a:pt x="899" y="6912"/>
                  </a:lnTo>
                  <a:lnTo>
                    <a:pt x="899" y="7810"/>
                  </a:lnTo>
                  <a:lnTo>
                    <a:pt x="933" y="8778"/>
                  </a:lnTo>
                  <a:lnTo>
                    <a:pt x="899" y="9814"/>
                  </a:lnTo>
                  <a:lnTo>
                    <a:pt x="829" y="10920"/>
                  </a:lnTo>
                  <a:lnTo>
                    <a:pt x="691" y="12061"/>
                  </a:lnTo>
                  <a:lnTo>
                    <a:pt x="518" y="13305"/>
                  </a:lnTo>
                  <a:lnTo>
                    <a:pt x="311" y="14618"/>
                  </a:lnTo>
                  <a:lnTo>
                    <a:pt x="0" y="16035"/>
                  </a:lnTo>
                  <a:lnTo>
                    <a:pt x="104" y="15966"/>
                  </a:lnTo>
                  <a:lnTo>
                    <a:pt x="207" y="15827"/>
                  </a:lnTo>
                  <a:lnTo>
                    <a:pt x="449" y="15378"/>
                  </a:lnTo>
                  <a:lnTo>
                    <a:pt x="726" y="14825"/>
                  </a:lnTo>
                  <a:lnTo>
                    <a:pt x="968" y="14341"/>
                  </a:lnTo>
                  <a:lnTo>
                    <a:pt x="1210" y="13892"/>
                  </a:lnTo>
                  <a:lnTo>
                    <a:pt x="1452" y="13270"/>
                  </a:lnTo>
                  <a:lnTo>
                    <a:pt x="1693" y="12544"/>
                  </a:lnTo>
                  <a:lnTo>
                    <a:pt x="1935" y="11681"/>
                  </a:lnTo>
                  <a:lnTo>
                    <a:pt x="2177" y="10747"/>
                  </a:lnTo>
                  <a:lnTo>
                    <a:pt x="2385" y="9780"/>
                  </a:lnTo>
                  <a:lnTo>
                    <a:pt x="2799" y="7707"/>
                  </a:lnTo>
                  <a:lnTo>
                    <a:pt x="3110" y="5737"/>
                  </a:lnTo>
                  <a:lnTo>
                    <a:pt x="3318" y="3974"/>
                  </a:lnTo>
                  <a:lnTo>
                    <a:pt x="3387" y="3249"/>
                  </a:lnTo>
                  <a:lnTo>
                    <a:pt x="3387" y="2661"/>
                  </a:lnTo>
                  <a:lnTo>
                    <a:pt x="3387" y="2247"/>
                  </a:lnTo>
                  <a:lnTo>
                    <a:pt x="3352" y="2108"/>
                  </a:lnTo>
                  <a:lnTo>
                    <a:pt x="3318" y="2005"/>
                  </a:lnTo>
                  <a:lnTo>
                    <a:pt x="3179" y="1728"/>
                  </a:lnTo>
                  <a:lnTo>
                    <a:pt x="3007" y="1452"/>
                  </a:lnTo>
                  <a:lnTo>
                    <a:pt x="2765" y="1244"/>
                  </a:lnTo>
                  <a:lnTo>
                    <a:pt x="2454" y="1003"/>
                  </a:lnTo>
                  <a:lnTo>
                    <a:pt x="2074" y="795"/>
                  </a:lnTo>
                  <a:lnTo>
                    <a:pt x="1590" y="553"/>
                  </a:lnTo>
                  <a:lnTo>
                    <a:pt x="968" y="277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AA2B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3" name="Google Shape;1653;p16"/>
            <p:cNvSpPr/>
            <p:nvPr/>
          </p:nvSpPr>
          <p:spPr>
            <a:xfrm>
              <a:off x="4294650" y="3308450"/>
              <a:ext cx="84675" cy="400875"/>
            </a:xfrm>
            <a:custGeom>
              <a:avLst/>
              <a:gdLst/>
              <a:ahLst/>
              <a:cxnLst/>
              <a:rect l="l" t="t" r="r" b="b"/>
              <a:pathLst>
                <a:path w="3387" h="16035" fill="none" extrusionOk="0">
                  <a:moveTo>
                    <a:pt x="207" y="0"/>
                  </a:moveTo>
                  <a:lnTo>
                    <a:pt x="207" y="0"/>
                  </a:lnTo>
                  <a:lnTo>
                    <a:pt x="311" y="70"/>
                  </a:lnTo>
                  <a:lnTo>
                    <a:pt x="380" y="173"/>
                  </a:lnTo>
                  <a:lnTo>
                    <a:pt x="449" y="381"/>
                  </a:lnTo>
                  <a:lnTo>
                    <a:pt x="449" y="381"/>
                  </a:lnTo>
                  <a:lnTo>
                    <a:pt x="449" y="1175"/>
                  </a:lnTo>
                  <a:lnTo>
                    <a:pt x="518" y="1970"/>
                  </a:lnTo>
                  <a:lnTo>
                    <a:pt x="622" y="3525"/>
                  </a:lnTo>
                  <a:lnTo>
                    <a:pt x="760" y="5149"/>
                  </a:lnTo>
                  <a:lnTo>
                    <a:pt x="899" y="6912"/>
                  </a:lnTo>
                  <a:lnTo>
                    <a:pt x="899" y="7810"/>
                  </a:lnTo>
                  <a:lnTo>
                    <a:pt x="933" y="8778"/>
                  </a:lnTo>
                  <a:lnTo>
                    <a:pt x="899" y="9814"/>
                  </a:lnTo>
                  <a:lnTo>
                    <a:pt x="829" y="10920"/>
                  </a:lnTo>
                  <a:lnTo>
                    <a:pt x="691" y="12061"/>
                  </a:lnTo>
                  <a:lnTo>
                    <a:pt x="518" y="13305"/>
                  </a:lnTo>
                  <a:lnTo>
                    <a:pt x="311" y="14618"/>
                  </a:lnTo>
                  <a:lnTo>
                    <a:pt x="0" y="16035"/>
                  </a:lnTo>
                  <a:lnTo>
                    <a:pt x="0" y="16035"/>
                  </a:lnTo>
                  <a:lnTo>
                    <a:pt x="104" y="15966"/>
                  </a:lnTo>
                  <a:lnTo>
                    <a:pt x="207" y="15827"/>
                  </a:lnTo>
                  <a:lnTo>
                    <a:pt x="449" y="15378"/>
                  </a:lnTo>
                  <a:lnTo>
                    <a:pt x="726" y="14825"/>
                  </a:lnTo>
                  <a:lnTo>
                    <a:pt x="968" y="14341"/>
                  </a:lnTo>
                  <a:lnTo>
                    <a:pt x="968" y="14341"/>
                  </a:lnTo>
                  <a:lnTo>
                    <a:pt x="1210" y="13892"/>
                  </a:lnTo>
                  <a:lnTo>
                    <a:pt x="1452" y="13270"/>
                  </a:lnTo>
                  <a:lnTo>
                    <a:pt x="1693" y="12544"/>
                  </a:lnTo>
                  <a:lnTo>
                    <a:pt x="1935" y="11681"/>
                  </a:lnTo>
                  <a:lnTo>
                    <a:pt x="2177" y="10747"/>
                  </a:lnTo>
                  <a:lnTo>
                    <a:pt x="2385" y="9780"/>
                  </a:lnTo>
                  <a:lnTo>
                    <a:pt x="2799" y="7707"/>
                  </a:lnTo>
                  <a:lnTo>
                    <a:pt x="3110" y="5737"/>
                  </a:lnTo>
                  <a:lnTo>
                    <a:pt x="3318" y="3974"/>
                  </a:lnTo>
                  <a:lnTo>
                    <a:pt x="3387" y="3249"/>
                  </a:lnTo>
                  <a:lnTo>
                    <a:pt x="3387" y="2661"/>
                  </a:lnTo>
                  <a:lnTo>
                    <a:pt x="3387" y="2247"/>
                  </a:lnTo>
                  <a:lnTo>
                    <a:pt x="3352" y="2108"/>
                  </a:lnTo>
                  <a:lnTo>
                    <a:pt x="3318" y="2005"/>
                  </a:lnTo>
                  <a:lnTo>
                    <a:pt x="3318" y="2005"/>
                  </a:lnTo>
                  <a:lnTo>
                    <a:pt x="3179" y="1728"/>
                  </a:lnTo>
                  <a:lnTo>
                    <a:pt x="3007" y="1452"/>
                  </a:lnTo>
                  <a:lnTo>
                    <a:pt x="2765" y="1244"/>
                  </a:lnTo>
                  <a:lnTo>
                    <a:pt x="2454" y="1003"/>
                  </a:lnTo>
                  <a:lnTo>
                    <a:pt x="2074" y="795"/>
                  </a:lnTo>
                  <a:lnTo>
                    <a:pt x="1590" y="553"/>
                  </a:lnTo>
                  <a:lnTo>
                    <a:pt x="968" y="277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654" name="Google Shape;1654;p1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1317651" y="5250930"/>
            <a:ext cx="563867" cy="120933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55" name="Google Shape;1655;p16"/>
          <p:cNvGrpSpPr/>
          <p:nvPr/>
        </p:nvGrpSpPr>
        <p:grpSpPr>
          <a:xfrm>
            <a:off x="10319249" y="1731732"/>
            <a:ext cx="1430545" cy="599329"/>
            <a:chOff x="238675" y="1649175"/>
            <a:chExt cx="7143200" cy="2416650"/>
          </a:xfrm>
        </p:grpSpPr>
        <p:sp>
          <p:nvSpPr>
            <p:cNvPr id="1656" name="Google Shape;1656;p16"/>
            <p:cNvSpPr/>
            <p:nvPr/>
          </p:nvSpPr>
          <p:spPr>
            <a:xfrm>
              <a:off x="3945875" y="2546425"/>
              <a:ext cx="520425" cy="1021625"/>
            </a:xfrm>
            <a:custGeom>
              <a:avLst/>
              <a:gdLst/>
              <a:ahLst/>
              <a:cxnLst/>
              <a:rect l="l" t="t" r="r" b="b"/>
              <a:pathLst>
                <a:path w="20817" h="40865" extrusionOk="0">
                  <a:moveTo>
                    <a:pt x="679" y="1"/>
                  </a:moveTo>
                  <a:lnTo>
                    <a:pt x="543" y="24"/>
                  </a:lnTo>
                  <a:lnTo>
                    <a:pt x="407" y="69"/>
                  </a:lnTo>
                  <a:lnTo>
                    <a:pt x="294" y="137"/>
                  </a:lnTo>
                  <a:lnTo>
                    <a:pt x="181" y="250"/>
                  </a:lnTo>
                  <a:lnTo>
                    <a:pt x="91" y="363"/>
                  </a:lnTo>
                  <a:lnTo>
                    <a:pt x="46" y="476"/>
                  </a:lnTo>
                  <a:lnTo>
                    <a:pt x="23" y="611"/>
                  </a:lnTo>
                  <a:lnTo>
                    <a:pt x="1" y="747"/>
                  </a:lnTo>
                  <a:lnTo>
                    <a:pt x="23" y="905"/>
                  </a:lnTo>
                  <a:lnTo>
                    <a:pt x="91" y="1041"/>
                  </a:lnTo>
                  <a:lnTo>
                    <a:pt x="19438" y="40457"/>
                  </a:lnTo>
                  <a:lnTo>
                    <a:pt x="19528" y="40593"/>
                  </a:lnTo>
                  <a:lnTo>
                    <a:pt x="19619" y="40683"/>
                  </a:lnTo>
                  <a:lnTo>
                    <a:pt x="19732" y="40774"/>
                  </a:lnTo>
                  <a:lnTo>
                    <a:pt x="19845" y="40842"/>
                  </a:lnTo>
                  <a:lnTo>
                    <a:pt x="19980" y="40864"/>
                  </a:lnTo>
                  <a:lnTo>
                    <a:pt x="20139" y="40864"/>
                  </a:lnTo>
                  <a:lnTo>
                    <a:pt x="20274" y="40842"/>
                  </a:lnTo>
                  <a:lnTo>
                    <a:pt x="20410" y="40796"/>
                  </a:lnTo>
                  <a:lnTo>
                    <a:pt x="20523" y="40729"/>
                  </a:lnTo>
                  <a:lnTo>
                    <a:pt x="20636" y="40616"/>
                  </a:lnTo>
                  <a:lnTo>
                    <a:pt x="20726" y="40503"/>
                  </a:lnTo>
                  <a:lnTo>
                    <a:pt x="20771" y="40390"/>
                  </a:lnTo>
                  <a:lnTo>
                    <a:pt x="20794" y="40254"/>
                  </a:lnTo>
                  <a:lnTo>
                    <a:pt x="20817" y="40096"/>
                  </a:lnTo>
                  <a:lnTo>
                    <a:pt x="20794" y="39960"/>
                  </a:lnTo>
                  <a:lnTo>
                    <a:pt x="20749" y="39825"/>
                  </a:lnTo>
                  <a:lnTo>
                    <a:pt x="1379" y="408"/>
                  </a:lnTo>
                  <a:lnTo>
                    <a:pt x="1312" y="272"/>
                  </a:lnTo>
                  <a:lnTo>
                    <a:pt x="1199" y="159"/>
                  </a:lnTo>
                  <a:lnTo>
                    <a:pt x="1086" y="91"/>
                  </a:lnTo>
                  <a:lnTo>
                    <a:pt x="973" y="24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7" name="Google Shape;1657;p16"/>
            <p:cNvSpPr/>
            <p:nvPr/>
          </p:nvSpPr>
          <p:spPr>
            <a:xfrm>
              <a:off x="4345925" y="3429575"/>
              <a:ext cx="211350" cy="211350"/>
            </a:xfrm>
            <a:custGeom>
              <a:avLst/>
              <a:gdLst/>
              <a:ahLst/>
              <a:cxnLst/>
              <a:rect l="l" t="t" r="r" b="b"/>
              <a:pathLst>
                <a:path w="8454" h="8454" extrusionOk="0">
                  <a:moveTo>
                    <a:pt x="4227" y="1"/>
                  </a:moveTo>
                  <a:lnTo>
                    <a:pt x="3798" y="23"/>
                  </a:lnTo>
                  <a:lnTo>
                    <a:pt x="3368" y="91"/>
                  </a:lnTo>
                  <a:lnTo>
                    <a:pt x="2961" y="182"/>
                  </a:lnTo>
                  <a:lnTo>
                    <a:pt x="2577" y="340"/>
                  </a:lnTo>
                  <a:lnTo>
                    <a:pt x="2215" y="521"/>
                  </a:lnTo>
                  <a:lnTo>
                    <a:pt x="1854" y="724"/>
                  </a:lnTo>
                  <a:lnTo>
                    <a:pt x="1537" y="973"/>
                  </a:lnTo>
                  <a:lnTo>
                    <a:pt x="1221" y="1244"/>
                  </a:lnTo>
                  <a:lnTo>
                    <a:pt x="950" y="1538"/>
                  </a:lnTo>
                  <a:lnTo>
                    <a:pt x="724" y="1854"/>
                  </a:lnTo>
                  <a:lnTo>
                    <a:pt x="498" y="2216"/>
                  </a:lnTo>
                  <a:lnTo>
                    <a:pt x="317" y="2577"/>
                  </a:lnTo>
                  <a:lnTo>
                    <a:pt x="181" y="2962"/>
                  </a:lnTo>
                  <a:lnTo>
                    <a:pt x="68" y="3368"/>
                  </a:lnTo>
                  <a:lnTo>
                    <a:pt x="23" y="3798"/>
                  </a:lnTo>
                  <a:lnTo>
                    <a:pt x="0" y="4227"/>
                  </a:lnTo>
                  <a:lnTo>
                    <a:pt x="23" y="4657"/>
                  </a:lnTo>
                  <a:lnTo>
                    <a:pt x="68" y="5086"/>
                  </a:lnTo>
                  <a:lnTo>
                    <a:pt x="181" y="5493"/>
                  </a:lnTo>
                  <a:lnTo>
                    <a:pt x="317" y="5877"/>
                  </a:lnTo>
                  <a:lnTo>
                    <a:pt x="498" y="6239"/>
                  </a:lnTo>
                  <a:lnTo>
                    <a:pt x="724" y="6600"/>
                  </a:lnTo>
                  <a:lnTo>
                    <a:pt x="950" y="6917"/>
                  </a:lnTo>
                  <a:lnTo>
                    <a:pt x="1221" y="7211"/>
                  </a:lnTo>
                  <a:lnTo>
                    <a:pt x="1537" y="7482"/>
                  </a:lnTo>
                  <a:lnTo>
                    <a:pt x="1854" y="7731"/>
                  </a:lnTo>
                  <a:lnTo>
                    <a:pt x="2215" y="7957"/>
                  </a:lnTo>
                  <a:lnTo>
                    <a:pt x="2577" y="8115"/>
                  </a:lnTo>
                  <a:lnTo>
                    <a:pt x="2961" y="8273"/>
                  </a:lnTo>
                  <a:lnTo>
                    <a:pt x="3368" y="8363"/>
                  </a:lnTo>
                  <a:lnTo>
                    <a:pt x="3798" y="8431"/>
                  </a:lnTo>
                  <a:lnTo>
                    <a:pt x="4227" y="8454"/>
                  </a:lnTo>
                  <a:lnTo>
                    <a:pt x="4656" y="8431"/>
                  </a:lnTo>
                  <a:lnTo>
                    <a:pt x="5063" y="8363"/>
                  </a:lnTo>
                  <a:lnTo>
                    <a:pt x="5470" y="8273"/>
                  </a:lnTo>
                  <a:lnTo>
                    <a:pt x="5877" y="8115"/>
                  </a:lnTo>
                  <a:lnTo>
                    <a:pt x="6238" y="7957"/>
                  </a:lnTo>
                  <a:lnTo>
                    <a:pt x="6577" y="7731"/>
                  </a:lnTo>
                  <a:lnTo>
                    <a:pt x="6917" y="7482"/>
                  </a:lnTo>
                  <a:lnTo>
                    <a:pt x="7210" y="7211"/>
                  </a:lnTo>
                  <a:lnTo>
                    <a:pt x="7482" y="6917"/>
                  </a:lnTo>
                  <a:lnTo>
                    <a:pt x="7730" y="6600"/>
                  </a:lnTo>
                  <a:lnTo>
                    <a:pt x="7934" y="6239"/>
                  </a:lnTo>
                  <a:lnTo>
                    <a:pt x="8114" y="5877"/>
                  </a:lnTo>
                  <a:lnTo>
                    <a:pt x="8250" y="5493"/>
                  </a:lnTo>
                  <a:lnTo>
                    <a:pt x="8363" y="5086"/>
                  </a:lnTo>
                  <a:lnTo>
                    <a:pt x="8431" y="4657"/>
                  </a:lnTo>
                  <a:lnTo>
                    <a:pt x="8453" y="4227"/>
                  </a:lnTo>
                  <a:lnTo>
                    <a:pt x="8431" y="3798"/>
                  </a:lnTo>
                  <a:lnTo>
                    <a:pt x="8363" y="3368"/>
                  </a:lnTo>
                  <a:lnTo>
                    <a:pt x="8250" y="2962"/>
                  </a:lnTo>
                  <a:lnTo>
                    <a:pt x="8114" y="2577"/>
                  </a:lnTo>
                  <a:lnTo>
                    <a:pt x="7934" y="2216"/>
                  </a:lnTo>
                  <a:lnTo>
                    <a:pt x="7730" y="1854"/>
                  </a:lnTo>
                  <a:lnTo>
                    <a:pt x="7482" y="1538"/>
                  </a:lnTo>
                  <a:lnTo>
                    <a:pt x="7210" y="1244"/>
                  </a:lnTo>
                  <a:lnTo>
                    <a:pt x="6917" y="973"/>
                  </a:lnTo>
                  <a:lnTo>
                    <a:pt x="6577" y="724"/>
                  </a:lnTo>
                  <a:lnTo>
                    <a:pt x="6238" y="521"/>
                  </a:lnTo>
                  <a:lnTo>
                    <a:pt x="5877" y="340"/>
                  </a:lnTo>
                  <a:lnTo>
                    <a:pt x="5470" y="182"/>
                  </a:lnTo>
                  <a:lnTo>
                    <a:pt x="5063" y="91"/>
                  </a:lnTo>
                  <a:lnTo>
                    <a:pt x="4656" y="23"/>
                  </a:lnTo>
                  <a:lnTo>
                    <a:pt x="4227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8" name="Google Shape;1658;p16"/>
            <p:cNvSpPr/>
            <p:nvPr/>
          </p:nvSpPr>
          <p:spPr>
            <a:xfrm>
              <a:off x="5609900" y="2732325"/>
              <a:ext cx="1175" cy="1150"/>
            </a:xfrm>
            <a:custGeom>
              <a:avLst/>
              <a:gdLst/>
              <a:ahLst/>
              <a:cxnLst/>
              <a:rect l="l" t="t" r="r" b="b"/>
              <a:pathLst>
                <a:path w="47" h="46" extrusionOk="0">
                  <a:moveTo>
                    <a:pt x="46" y="1"/>
                  </a:moveTo>
                  <a:lnTo>
                    <a:pt x="1" y="23"/>
                  </a:lnTo>
                  <a:lnTo>
                    <a:pt x="1" y="46"/>
                  </a:lnTo>
                  <a:lnTo>
                    <a:pt x="46" y="1"/>
                  </a:lnTo>
                  <a:close/>
                </a:path>
              </a:pathLst>
            </a:custGeom>
            <a:solidFill>
              <a:srgbClr val="A1A0A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9" name="Google Shape;1659;p16"/>
            <p:cNvSpPr/>
            <p:nvPr/>
          </p:nvSpPr>
          <p:spPr>
            <a:xfrm>
              <a:off x="5609900" y="2732325"/>
              <a:ext cx="1175" cy="1150"/>
            </a:xfrm>
            <a:custGeom>
              <a:avLst/>
              <a:gdLst/>
              <a:ahLst/>
              <a:cxnLst/>
              <a:rect l="l" t="t" r="r" b="b"/>
              <a:pathLst>
                <a:path w="47" h="46" fill="none" extrusionOk="0">
                  <a:moveTo>
                    <a:pt x="46" y="1"/>
                  </a:moveTo>
                  <a:lnTo>
                    <a:pt x="1" y="23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4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60" name="Google Shape;1660;p16"/>
            <p:cNvSpPr/>
            <p:nvPr/>
          </p:nvSpPr>
          <p:spPr>
            <a:xfrm>
              <a:off x="2171100" y="3508125"/>
              <a:ext cx="3750175" cy="36175"/>
            </a:xfrm>
            <a:custGeom>
              <a:avLst/>
              <a:gdLst/>
              <a:ahLst/>
              <a:cxnLst/>
              <a:rect l="l" t="t" r="r" b="b"/>
              <a:pathLst>
                <a:path w="150007" h="1447" extrusionOk="0">
                  <a:moveTo>
                    <a:pt x="566" y="0"/>
                  </a:moveTo>
                  <a:lnTo>
                    <a:pt x="430" y="46"/>
                  </a:lnTo>
                  <a:lnTo>
                    <a:pt x="317" y="113"/>
                  </a:lnTo>
                  <a:lnTo>
                    <a:pt x="204" y="204"/>
                  </a:lnTo>
                  <a:lnTo>
                    <a:pt x="114" y="317"/>
                  </a:lnTo>
                  <a:lnTo>
                    <a:pt x="46" y="430"/>
                  </a:lnTo>
                  <a:lnTo>
                    <a:pt x="1" y="566"/>
                  </a:lnTo>
                  <a:lnTo>
                    <a:pt x="1" y="724"/>
                  </a:lnTo>
                  <a:lnTo>
                    <a:pt x="1" y="859"/>
                  </a:lnTo>
                  <a:lnTo>
                    <a:pt x="46" y="995"/>
                  </a:lnTo>
                  <a:lnTo>
                    <a:pt x="114" y="1131"/>
                  </a:lnTo>
                  <a:lnTo>
                    <a:pt x="204" y="1221"/>
                  </a:lnTo>
                  <a:lnTo>
                    <a:pt x="317" y="1311"/>
                  </a:lnTo>
                  <a:lnTo>
                    <a:pt x="430" y="1379"/>
                  </a:lnTo>
                  <a:lnTo>
                    <a:pt x="566" y="1424"/>
                  </a:lnTo>
                  <a:lnTo>
                    <a:pt x="724" y="1447"/>
                  </a:lnTo>
                  <a:lnTo>
                    <a:pt x="149283" y="1447"/>
                  </a:lnTo>
                  <a:lnTo>
                    <a:pt x="149441" y="1424"/>
                  </a:lnTo>
                  <a:lnTo>
                    <a:pt x="149577" y="1379"/>
                  </a:lnTo>
                  <a:lnTo>
                    <a:pt x="149690" y="1311"/>
                  </a:lnTo>
                  <a:lnTo>
                    <a:pt x="149803" y="1221"/>
                  </a:lnTo>
                  <a:lnTo>
                    <a:pt x="149893" y="1131"/>
                  </a:lnTo>
                  <a:lnTo>
                    <a:pt x="149961" y="995"/>
                  </a:lnTo>
                  <a:lnTo>
                    <a:pt x="149984" y="859"/>
                  </a:lnTo>
                  <a:lnTo>
                    <a:pt x="150006" y="724"/>
                  </a:lnTo>
                  <a:lnTo>
                    <a:pt x="149984" y="566"/>
                  </a:lnTo>
                  <a:lnTo>
                    <a:pt x="149961" y="430"/>
                  </a:lnTo>
                  <a:lnTo>
                    <a:pt x="149893" y="317"/>
                  </a:lnTo>
                  <a:lnTo>
                    <a:pt x="149803" y="204"/>
                  </a:lnTo>
                  <a:lnTo>
                    <a:pt x="149690" y="113"/>
                  </a:lnTo>
                  <a:lnTo>
                    <a:pt x="149577" y="46"/>
                  </a:lnTo>
                  <a:lnTo>
                    <a:pt x="149441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61" name="Google Shape;1661;p16"/>
            <p:cNvSpPr/>
            <p:nvPr/>
          </p:nvSpPr>
          <p:spPr>
            <a:xfrm>
              <a:off x="6097525" y="3320525"/>
              <a:ext cx="118700" cy="196675"/>
            </a:xfrm>
            <a:custGeom>
              <a:avLst/>
              <a:gdLst/>
              <a:ahLst/>
              <a:cxnLst/>
              <a:rect l="l" t="t" r="r" b="b"/>
              <a:pathLst>
                <a:path w="4748" h="7867" extrusionOk="0">
                  <a:moveTo>
                    <a:pt x="905" y="1"/>
                  </a:moveTo>
                  <a:lnTo>
                    <a:pt x="1" y="5583"/>
                  </a:lnTo>
                  <a:lnTo>
                    <a:pt x="2193" y="7866"/>
                  </a:lnTo>
                  <a:lnTo>
                    <a:pt x="3662" y="6058"/>
                  </a:lnTo>
                  <a:lnTo>
                    <a:pt x="3843" y="5425"/>
                  </a:lnTo>
                  <a:lnTo>
                    <a:pt x="4024" y="4657"/>
                  </a:lnTo>
                  <a:lnTo>
                    <a:pt x="4363" y="2962"/>
                  </a:lnTo>
                  <a:lnTo>
                    <a:pt x="4634" y="1515"/>
                  </a:lnTo>
                  <a:lnTo>
                    <a:pt x="4747" y="927"/>
                  </a:lnTo>
                  <a:lnTo>
                    <a:pt x="905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62" name="Google Shape;1662;p16"/>
            <p:cNvSpPr/>
            <p:nvPr/>
          </p:nvSpPr>
          <p:spPr>
            <a:xfrm>
              <a:off x="6097525" y="3320525"/>
              <a:ext cx="118700" cy="196675"/>
            </a:xfrm>
            <a:custGeom>
              <a:avLst/>
              <a:gdLst/>
              <a:ahLst/>
              <a:cxnLst/>
              <a:rect l="l" t="t" r="r" b="b"/>
              <a:pathLst>
                <a:path w="4748" h="7867" fill="none" extrusionOk="0">
                  <a:moveTo>
                    <a:pt x="3662" y="6058"/>
                  </a:moveTo>
                  <a:lnTo>
                    <a:pt x="3662" y="6058"/>
                  </a:lnTo>
                  <a:lnTo>
                    <a:pt x="3843" y="5425"/>
                  </a:lnTo>
                  <a:lnTo>
                    <a:pt x="4024" y="4657"/>
                  </a:lnTo>
                  <a:lnTo>
                    <a:pt x="4363" y="2962"/>
                  </a:lnTo>
                  <a:lnTo>
                    <a:pt x="4634" y="1515"/>
                  </a:lnTo>
                  <a:lnTo>
                    <a:pt x="4747" y="927"/>
                  </a:lnTo>
                  <a:lnTo>
                    <a:pt x="905" y="1"/>
                  </a:lnTo>
                  <a:lnTo>
                    <a:pt x="1" y="5583"/>
                  </a:lnTo>
                  <a:lnTo>
                    <a:pt x="2193" y="7866"/>
                  </a:lnTo>
                  <a:lnTo>
                    <a:pt x="3662" y="6058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63" name="Google Shape;1663;p16"/>
            <p:cNvSpPr/>
            <p:nvPr/>
          </p:nvSpPr>
          <p:spPr>
            <a:xfrm>
              <a:off x="6071550" y="3444275"/>
              <a:ext cx="281975" cy="163325"/>
            </a:xfrm>
            <a:custGeom>
              <a:avLst/>
              <a:gdLst/>
              <a:ahLst/>
              <a:cxnLst/>
              <a:rect l="l" t="t" r="r" b="b"/>
              <a:pathLst>
                <a:path w="11279" h="6533" extrusionOk="0">
                  <a:moveTo>
                    <a:pt x="1040" y="1"/>
                  </a:moveTo>
                  <a:lnTo>
                    <a:pt x="927" y="68"/>
                  </a:lnTo>
                  <a:lnTo>
                    <a:pt x="837" y="159"/>
                  </a:lnTo>
                  <a:lnTo>
                    <a:pt x="746" y="294"/>
                  </a:lnTo>
                  <a:lnTo>
                    <a:pt x="633" y="475"/>
                  </a:lnTo>
                  <a:lnTo>
                    <a:pt x="543" y="656"/>
                  </a:lnTo>
                  <a:lnTo>
                    <a:pt x="384" y="1131"/>
                  </a:lnTo>
                  <a:lnTo>
                    <a:pt x="226" y="1673"/>
                  </a:lnTo>
                  <a:lnTo>
                    <a:pt x="113" y="2261"/>
                  </a:lnTo>
                  <a:lnTo>
                    <a:pt x="45" y="2848"/>
                  </a:lnTo>
                  <a:lnTo>
                    <a:pt x="0" y="3391"/>
                  </a:lnTo>
                  <a:lnTo>
                    <a:pt x="23" y="3549"/>
                  </a:lnTo>
                  <a:lnTo>
                    <a:pt x="68" y="3685"/>
                  </a:lnTo>
                  <a:lnTo>
                    <a:pt x="113" y="3820"/>
                  </a:lnTo>
                  <a:lnTo>
                    <a:pt x="204" y="3933"/>
                  </a:lnTo>
                  <a:lnTo>
                    <a:pt x="294" y="4046"/>
                  </a:lnTo>
                  <a:lnTo>
                    <a:pt x="407" y="4114"/>
                  </a:lnTo>
                  <a:lnTo>
                    <a:pt x="543" y="4182"/>
                  </a:lnTo>
                  <a:lnTo>
                    <a:pt x="678" y="4250"/>
                  </a:lnTo>
                  <a:lnTo>
                    <a:pt x="5199" y="5380"/>
                  </a:lnTo>
                  <a:lnTo>
                    <a:pt x="9628" y="6465"/>
                  </a:lnTo>
                  <a:lnTo>
                    <a:pt x="9968" y="6532"/>
                  </a:lnTo>
                  <a:lnTo>
                    <a:pt x="10261" y="6532"/>
                  </a:lnTo>
                  <a:lnTo>
                    <a:pt x="10510" y="6487"/>
                  </a:lnTo>
                  <a:lnTo>
                    <a:pt x="10713" y="6397"/>
                  </a:lnTo>
                  <a:lnTo>
                    <a:pt x="10894" y="6284"/>
                  </a:lnTo>
                  <a:lnTo>
                    <a:pt x="11030" y="6148"/>
                  </a:lnTo>
                  <a:lnTo>
                    <a:pt x="11143" y="5967"/>
                  </a:lnTo>
                  <a:lnTo>
                    <a:pt x="11211" y="5786"/>
                  </a:lnTo>
                  <a:lnTo>
                    <a:pt x="11256" y="5583"/>
                  </a:lnTo>
                  <a:lnTo>
                    <a:pt x="11278" y="5402"/>
                  </a:lnTo>
                  <a:lnTo>
                    <a:pt x="11278" y="5199"/>
                  </a:lnTo>
                  <a:lnTo>
                    <a:pt x="11278" y="5041"/>
                  </a:lnTo>
                  <a:lnTo>
                    <a:pt x="11233" y="4882"/>
                  </a:lnTo>
                  <a:lnTo>
                    <a:pt x="11188" y="4747"/>
                  </a:lnTo>
                  <a:lnTo>
                    <a:pt x="11120" y="4656"/>
                  </a:lnTo>
                  <a:lnTo>
                    <a:pt x="11052" y="4611"/>
                  </a:lnTo>
                  <a:lnTo>
                    <a:pt x="10600" y="4453"/>
                  </a:lnTo>
                  <a:lnTo>
                    <a:pt x="9854" y="4204"/>
                  </a:lnTo>
                  <a:lnTo>
                    <a:pt x="8928" y="3888"/>
                  </a:lnTo>
                  <a:lnTo>
                    <a:pt x="7911" y="3504"/>
                  </a:lnTo>
                  <a:lnTo>
                    <a:pt x="7414" y="3300"/>
                  </a:lnTo>
                  <a:lnTo>
                    <a:pt x="6939" y="3074"/>
                  </a:lnTo>
                  <a:lnTo>
                    <a:pt x="6487" y="2848"/>
                  </a:lnTo>
                  <a:lnTo>
                    <a:pt x="6103" y="2600"/>
                  </a:lnTo>
                  <a:lnTo>
                    <a:pt x="5764" y="2351"/>
                  </a:lnTo>
                  <a:lnTo>
                    <a:pt x="5628" y="2215"/>
                  </a:lnTo>
                  <a:lnTo>
                    <a:pt x="5515" y="2080"/>
                  </a:lnTo>
                  <a:lnTo>
                    <a:pt x="5425" y="1944"/>
                  </a:lnTo>
                  <a:lnTo>
                    <a:pt x="5357" y="1809"/>
                  </a:lnTo>
                  <a:lnTo>
                    <a:pt x="5312" y="1673"/>
                  </a:lnTo>
                  <a:lnTo>
                    <a:pt x="5289" y="1537"/>
                  </a:lnTo>
                  <a:lnTo>
                    <a:pt x="5312" y="1311"/>
                  </a:lnTo>
                  <a:lnTo>
                    <a:pt x="5334" y="1108"/>
                  </a:lnTo>
                  <a:lnTo>
                    <a:pt x="5379" y="814"/>
                  </a:lnTo>
                  <a:lnTo>
                    <a:pt x="5379" y="701"/>
                  </a:lnTo>
                  <a:lnTo>
                    <a:pt x="5334" y="611"/>
                  </a:lnTo>
                  <a:lnTo>
                    <a:pt x="5266" y="566"/>
                  </a:lnTo>
                  <a:lnTo>
                    <a:pt x="5131" y="566"/>
                  </a:lnTo>
                  <a:lnTo>
                    <a:pt x="4498" y="520"/>
                  </a:lnTo>
                  <a:lnTo>
                    <a:pt x="3888" y="453"/>
                  </a:lnTo>
                  <a:lnTo>
                    <a:pt x="3323" y="362"/>
                  </a:lnTo>
                  <a:lnTo>
                    <a:pt x="2780" y="249"/>
                  </a:lnTo>
                  <a:lnTo>
                    <a:pt x="1876" y="68"/>
                  </a:lnTo>
                  <a:lnTo>
                    <a:pt x="1469" y="1"/>
                  </a:lnTo>
                  <a:close/>
                </a:path>
              </a:pathLst>
            </a:custGeom>
            <a:solidFill>
              <a:srgbClr val="3331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64" name="Google Shape;1664;p16"/>
            <p:cNvSpPr/>
            <p:nvPr/>
          </p:nvSpPr>
          <p:spPr>
            <a:xfrm>
              <a:off x="5624025" y="2413100"/>
              <a:ext cx="723850" cy="1003525"/>
            </a:xfrm>
            <a:custGeom>
              <a:avLst/>
              <a:gdLst/>
              <a:ahLst/>
              <a:cxnLst/>
              <a:rect l="l" t="t" r="r" b="b"/>
              <a:pathLst>
                <a:path w="28954" h="40141" extrusionOk="0">
                  <a:moveTo>
                    <a:pt x="476" y="0"/>
                  </a:moveTo>
                  <a:lnTo>
                    <a:pt x="227" y="23"/>
                  </a:lnTo>
                  <a:lnTo>
                    <a:pt x="1" y="45"/>
                  </a:lnTo>
                  <a:lnTo>
                    <a:pt x="272" y="565"/>
                  </a:lnTo>
                  <a:lnTo>
                    <a:pt x="1018" y="1944"/>
                  </a:lnTo>
                  <a:lnTo>
                    <a:pt x="1560" y="2893"/>
                  </a:lnTo>
                  <a:lnTo>
                    <a:pt x="2193" y="3955"/>
                  </a:lnTo>
                  <a:lnTo>
                    <a:pt x="2917" y="5131"/>
                  </a:lnTo>
                  <a:lnTo>
                    <a:pt x="3708" y="6351"/>
                  </a:lnTo>
                  <a:lnTo>
                    <a:pt x="3956" y="6667"/>
                  </a:lnTo>
                  <a:lnTo>
                    <a:pt x="4295" y="7006"/>
                  </a:lnTo>
                  <a:lnTo>
                    <a:pt x="4679" y="7368"/>
                  </a:lnTo>
                  <a:lnTo>
                    <a:pt x="5131" y="7730"/>
                  </a:lnTo>
                  <a:lnTo>
                    <a:pt x="5629" y="8091"/>
                  </a:lnTo>
                  <a:lnTo>
                    <a:pt x="6194" y="8498"/>
                  </a:lnTo>
                  <a:lnTo>
                    <a:pt x="6804" y="8882"/>
                  </a:lnTo>
                  <a:lnTo>
                    <a:pt x="7459" y="9289"/>
                  </a:lnTo>
                  <a:lnTo>
                    <a:pt x="8861" y="10103"/>
                  </a:lnTo>
                  <a:lnTo>
                    <a:pt x="10375" y="10939"/>
                  </a:lnTo>
                  <a:lnTo>
                    <a:pt x="11957" y="11775"/>
                  </a:lnTo>
                  <a:lnTo>
                    <a:pt x="13539" y="12589"/>
                  </a:lnTo>
                  <a:lnTo>
                    <a:pt x="16636" y="14126"/>
                  </a:lnTo>
                  <a:lnTo>
                    <a:pt x="19303" y="15459"/>
                  </a:lnTo>
                  <a:lnTo>
                    <a:pt x="20387" y="16024"/>
                  </a:lnTo>
                  <a:lnTo>
                    <a:pt x="21224" y="16499"/>
                  </a:lnTo>
                  <a:lnTo>
                    <a:pt x="21563" y="16702"/>
                  </a:lnTo>
                  <a:lnTo>
                    <a:pt x="21811" y="16883"/>
                  </a:lnTo>
                  <a:lnTo>
                    <a:pt x="21992" y="17041"/>
                  </a:lnTo>
                  <a:lnTo>
                    <a:pt x="22083" y="17154"/>
                  </a:lnTo>
                  <a:lnTo>
                    <a:pt x="22128" y="17313"/>
                  </a:lnTo>
                  <a:lnTo>
                    <a:pt x="22128" y="17584"/>
                  </a:lnTo>
                  <a:lnTo>
                    <a:pt x="22105" y="17946"/>
                  </a:lnTo>
                  <a:lnTo>
                    <a:pt x="22060" y="18420"/>
                  </a:lnTo>
                  <a:lnTo>
                    <a:pt x="21902" y="19573"/>
                  </a:lnTo>
                  <a:lnTo>
                    <a:pt x="21676" y="21019"/>
                  </a:lnTo>
                  <a:lnTo>
                    <a:pt x="21382" y="22692"/>
                  </a:lnTo>
                  <a:lnTo>
                    <a:pt x="21043" y="24545"/>
                  </a:lnTo>
                  <a:lnTo>
                    <a:pt x="20274" y="28500"/>
                  </a:lnTo>
                  <a:lnTo>
                    <a:pt x="19461" y="32433"/>
                  </a:lnTo>
                  <a:lnTo>
                    <a:pt x="18738" y="35914"/>
                  </a:lnTo>
                  <a:lnTo>
                    <a:pt x="18218" y="38445"/>
                  </a:lnTo>
                  <a:lnTo>
                    <a:pt x="18059" y="39213"/>
                  </a:lnTo>
                  <a:lnTo>
                    <a:pt x="17992" y="39598"/>
                  </a:lnTo>
                  <a:lnTo>
                    <a:pt x="17992" y="39665"/>
                  </a:lnTo>
                  <a:lnTo>
                    <a:pt x="18037" y="39733"/>
                  </a:lnTo>
                  <a:lnTo>
                    <a:pt x="18127" y="39801"/>
                  </a:lnTo>
                  <a:lnTo>
                    <a:pt x="18240" y="39846"/>
                  </a:lnTo>
                  <a:lnTo>
                    <a:pt x="18534" y="39937"/>
                  </a:lnTo>
                  <a:lnTo>
                    <a:pt x="18918" y="40004"/>
                  </a:lnTo>
                  <a:lnTo>
                    <a:pt x="19370" y="40072"/>
                  </a:lnTo>
                  <a:lnTo>
                    <a:pt x="19890" y="40095"/>
                  </a:lnTo>
                  <a:lnTo>
                    <a:pt x="21020" y="40140"/>
                  </a:lnTo>
                  <a:lnTo>
                    <a:pt x="22173" y="40140"/>
                  </a:lnTo>
                  <a:lnTo>
                    <a:pt x="23167" y="40117"/>
                  </a:lnTo>
                  <a:lnTo>
                    <a:pt x="24139" y="40072"/>
                  </a:lnTo>
                  <a:lnTo>
                    <a:pt x="24410" y="39033"/>
                  </a:lnTo>
                  <a:lnTo>
                    <a:pt x="25134" y="36275"/>
                  </a:lnTo>
                  <a:lnTo>
                    <a:pt x="25586" y="34422"/>
                  </a:lnTo>
                  <a:lnTo>
                    <a:pt x="26106" y="32320"/>
                  </a:lnTo>
                  <a:lnTo>
                    <a:pt x="26625" y="30060"/>
                  </a:lnTo>
                  <a:lnTo>
                    <a:pt x="27145" y="27687"/>
                  </a:lnTo>
                  <a:lnTo>
                    <a:pt x="27642" y="25291"/>
                  </a:lnTo>
                  <a:lnTo>
                    <a:pt x="28095" y="22895"/>
                  </a:lnTo>
                  <a:lnTo>
                    <a:pt x="28298" y="21743"/>
                  </a:lnTo>
                  <a:lnTo>
                    <a:pt x="28479" y="20612"/>
                  </a:lnTo>
                  <a:lnTo>
                    <a:pt x="28637" y="19528"/>
                  </a:lnTo>
                  <a:lnTo>
                    <a:pt x="28750" y="18488"/>
                  </a:lnTo>
                  <a:lnTo>
                    <a:pt x="28840" y="17493"/>
                  </a:lnTo>
                  <a:lnTo>
                    <a:pt x="28908" y="16567"/>
                  </a:lnTo>
                  <a:lnTo>
                    <a:pt x="28953" y="15708"/>
                  </a:lnTo>
                  <a:lnTo>
                    <a:pt x="28931" y="14940"/>
                  </a:lnTo>
                  <a:lnTo>
                    <a:pt x="28886" y="14261"/>
                  </a:lnTo>
                  <a:lnTo>
                    <a:pt x="28840" y="13945"/>
                  </a:lnTo>
                  <a:lnTo>
                    <a:pt x="28795" y="13674"/>
                  </a:lnTo>
                  <a:lnTo>
                    <a:pt x="28727" y="13403"/>
                  </a:lnTo>
                  <a:lnTo>
                    <a:pt x="28660" y="13177"/>
                  </a:lnTo>
                  <a:lnTo>
                    <a:pt x="28569" y="12973"/>
                  </a:lnTo>
                  <a:lnTo>
                    <a:pt x="28456" y="12815"/>
                  </a:lnTo>
                  <a:lnTo>
                    <a:pt x="28388" y="12702"/>
                  </a:lnTo>
                  <a:lnTo>
                    <a:pt x="28275" y="12566"/>
                  </a:lnTo>
                  <a:lnTo>
                    <a:pt x="27959" y="12295"/>
                  </a:lnTo>
                  <a:lnTo>
                    <a:pt x="27529" y="11979"/>
                  </a:lnTo>
                  <a:lnTo>
                    <a:pt x="27010" y="11595"/>
                  </a:lnTo>
                  <a:lnTo>
                    <a:pt x="26399" y="11210"/>
                  </a:lnTo>
                  <a:lnTo>
                    <a:pt x="25676" y="10758"/>
                  </a:lnTo>
                  <a:lnTo>
                    <a:pt x="24908" y="10284"/>
                  </a:lnTo>
                  <a:lnTo>
                    <a:pt x="24049" y="9786"/>
                  </a:lnTo>
                  <a:lnTo>
                    <a:pt x="22128" y="8724"/>
                  </a:lnTo>
                  <a:lnTo>
                    <a:pt x="20026" y="7617"/>
                  </a:lnTo>
                  <a:lnTo>
                    <a:pt x="17743" y="6464"/>
                  </a:lnTo>
                  <a:lnTo>
                    <a:pt x="15393" y="5311"/>
                  </a:lnTo>
                  <a:lnTo>
                    <a:pt x="12997" y="4204"/>
                  </a:lnTo>
                  <a:lnTo>
                    <a:pt x="11799" y="3684"/>
                  </a:lnTo>
                  <a:lnTo>
                    <a:pt x="10624" y="3164"/>
                  </a:lnTo>
                  <a:lnTo>
                    <a:pt x="9471" y="2667"/>
                  </a:lnTo>
                  <a:lnTo>
                    <a:pt x="8341" y="2215"/>
                  </a:lnTo>
                  <a:lnTo>
                    <a:pt x="7233" y="1786"/>
                  </a:lnTo>
                  <a:lnTo>
                    <a:pt x="6171" y="1401"/>
                  </a:lnTo>
                  <a:lnTo>
                    <a:pt x="5154" y="1040"/>
                  </a:lnTo>
                  <a:lnTo>
                    <a:pt x="4205" y="746"/>
                  </a:lnTo>
                  <a:lnTo>
                    <a:pt x="3301" y="475"/>
                  </a:lnTo>
                  <a:lnTo>
                    <a:pt x="2487" y="271"/>
                  </a:lnTo>
                  <a:lnTo>
                    <a:pt x="1719" y="113"/>
                  </a:lnTo>
                  <a:lnTo>
                    <a:pt x="1063" y="23"/>
                  </a:lnTo>
                  <a:lnTo>
                    <a:pt x="769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65" name="Google Shape;1665;p16"/>
            <p:cNvSpPr/>
            <p:nvPr/>
          </p:nvSpPr>
          <p:spPr>
            <a:xfrm>
              <a:off x="5624025" y="2413100"/>
              <a:ext cx="723850" cy="1003525"/>
            </a:xfrm>
            <a:custGeom>
              <a:avLst/>
              <a:gdLst/>
              <a:ahLst/>
              <a:cxnLst/>
              <a:rect l="l" t="t" r="r" b="b"/>
              <a:pathLst>
                <a:path w="28954" h="40141" fill="none" extrusionOk="0">
                  <a:moveTo>
                    <a:pt x="1" y="45"/>
                  </a:moveTo>
                  <a:lnTo>
                    <a:pt x="1" y="45"/>
                  </a:lnTo>
                  <a:lnTo>
                    <a:pt x="227" y="23"/>
                  </a:lnTo>
                  <a:lnTo>
                    <a:pt x="476" y="0"/>
                  </a:lnTo>
                  <a:lnTo>
                    <a:pt x="769" y="0"/>
                  </a:lnTo>
                  <a:lnTo>
                    <a:pt x="1063" y="23"/>
                  </a:lnTo>
                  <a:lnTo>
                    <a:pt x="1719" y="113"/>
                  </a:lnTo>
                  <a:lnTo>
                    <a:pt x="2487" y="271"/>
                  </a:lnTo>
                  <a:lnTo>
                    <a:pt x="3301" y="475"/>
                  </a:lnTo>
                  <a:lnTo>
                    <a:pt x="4205" y="746"/>
                  </a:lnTo>
                  <a:lnTo>
                    <a:pt x="5154" y="1040"/>
                  </a:lnTo>
                  <a:lnTo>
                    <a:pt x="6171" y="1401"/>
                  </a:lnTo>
                  <a:lnTo>
                    <a:pt x="7233" y="1786"/>
                  </a:lnTo>
                  <a:lnTo>
                    <a:pt x="8341" y="2215"/>
                  </a:lnTo>
                  <a:lnTo>
                    <a:pt x="9471" y="2667"/>
                  </a:lnTo>
                  <a:lnTo>
                    <a:pt x="10624" y="3164"/>
                  </a:lnTo>
                  <a:lnTo>
                    <a:pt x="11799" y="3684"/>
                  </a:lnTo>
                  <a:lnTo>
                    <a:pt x="12997" y="4204"/>
                  </a:lnTo>
                  <a:lnTo>
                    <a:pt x="15393" y="5311"/>
                  </a:lnTo>
                  <a:lnTo>
                    <a:pt x="17743" y="6464"/>
                  </a:lnTo>
                  <a:lnTo>
                    <a:pt x="20026" y="7617"/>
                  </a:lnTo>
                  <a:lnTo>
                    <a:pt x="22128" y="8724"/>
                  </a:lnTo>
                  <a:lnTo>
                    <a:pt x="24049" y="9786"/>
                  </a:lnTo>
                  <a:lnTo>
                    <a:pt x="24908" y="10284"/>
                  </a:lnTo>
                  <a:lnTo>
                    <a:pt x="25676" y="10758"/>
                  </a:lnTo>
                  <a:lnTo>
                    <a:pt x="26399" y="11210"/>
                  </a:lnTo>
                  <a:lnTo>
                    <a:pt x="27010" y="11595"/>
                  </a:lnTo>
                  <a:lnTo>
                    <a:pt x="27529" y="11979"/>
                  </a:lnTo>
                  <a:lnTo>
                    <a:pt x="27959" y="12295"/>
                  </a:lnTo>
                  <a:lnTo>
                    <a:pt x="28275" y="12566"/>
                  </a:lnTo>
                  <a:lnTo>
                    <a:pt x="28388" y="12702"/>
                  </a:lnTo>
                  <a:lnTo>
                    <a:pt x="28456" y="12815"/>
                  </a:lnTo>
                  <a:lnTo>
                    <a:pt x="28456" y="12815"/>
                  </a:lnTo>
                  <a:lnTo>
                    <a:pt x="28569" y="12973"/>
                  </a:lnTo>
                  <a:lnTo>
                    <a:pt x="28660" y="13177"/>
                  </a:lnTo>
                  <a:lnTo>
                    <a:pt x="28727" y="13403"/>
                  </a:lnTo>
                  <a:lnTo>
                    <a:pt x="28795" y="13674"/>
                  </a:lnTo>
                  <a:lnTo>
                    <a:pt x="28840" y="13945"/>
                  </a:lnTo>
                  <a:lnTo>
                    <a:pt x="28886" y="14261"/>
                  </a:lnTo>
                  <a:lnTo>
                    <a:pt x="28931" y="14940"/>
                  </a:lnTo>
                  <a:lnTo>
                    <a:pt x="28953" y="15708"/>
                  </a:lnTo>
                  <a:lnTo>
                    <a:pt x="28908" y="16567"/>
                  </a:lnTo>
                  <a:lnTo>
                    <a:pt x="28840" y="17493"/>
                  </a:lnTo>
                  <a:lnTo>
                    <a:pt x="28750" y="18488"/>
                  </a:lnTo>
                  <a:lnTo>
                    <a:pt x="28637" y="19528"/>
                  </a:lnTo>
                  <a:lnTo>
                    <a:pt x="28479" y="20612"/>
                  </a:lnTo>
                  <a:lnTo>
                    <a:pt x="28298" y="21743"/>
                  </a:lnTo>
                  <a:lnTo>
                    <a:pt x="28095" y="22895"/>
                  </a:lnTo>
                  <a:lnTo>
                    <a:pt x="27642" y="25291"/>
                  </a:lnTo>
                  <a:lnTo>
                    <a:pt x="27145" y="27687"/>
                  </a:lnTo>
                  <a:lnTo>
                    <a:pt x="26625" y="30060"/>
                  </a:lnTo>
                  <a:lnTo>
                    <a:pt x="26106" y="32320"/>
                  </a:lnTo>
                  <a:lnTo>
                    <a:pt x="25586" y="34422"/>
                  </a:lnTo>
                  <a:lnTo>
                    <a:pt x="25134" y="36275"/>
                  </a:lnTo>
                  <a:lnTo>
                    <a:pt x="24410" y="39033"/>
                  </a:lnTo>
                  <a:lnTo>
                    <a:pt x="24139" y="40072"/>
                  </a:lnTo>
                  <a:lnTo>
                    <a:pt x="24139" y="40072"/>
                  </a:lnTo>
                  <a:lnTo>
                    <a:pt x="23167" y="40117"/>
                  </a:lnTo>
                  <a:lnTo>
                    <a:pt x="22173" y="40140"/>
                  </a:lnTo>
                  <a:lnTo>
                    <a:pt x="21020" y="40140"/>
                  </a:lnTo>
                  <a:lnTo>
                    <a:pt x="19890" y="40095"/>
                  </a:lnTo>
                  <a:lnTo>
                    <a:pt x="19370" y="40072"/>
                  </a:lnTo>
                  <a:lnTo>
                    <a:pt x="18918" y="40004"/>
                  </a:lnTo>
                  <a:lnTo>
                    <a:pt x="18534" y="39937"/>
                  </a:lnTo>
                  <a:lnTo>
                    <a:pt x="18240" y="39846"/>
                  </a:lnTo>
                  <a:lnTo>
                    <a:pt x="18127" y="39801"/>
                  </a:lnTo>
                  <a:lnTo>
                    <a:pt x="18037" y="39733"/>
                  </a:lnTo>
                  <a:lnTo>
                    <a:pt x="17992" y="39665"/>
                  </a:lnTo>
                  <a:lnTo>
                    <a:pt x="17992" y="39598"/>
                  </a:lnTo>
                  <a:lnTo>
                    <a:pt x="17992" y="39598"/>
                  </a:lnTo>
                  <a:lnTo>
                    <a:pt x="18059" y="39213"/>
                  </a:lnTo>
                  <a:lnTo>
                    <a:pt x="18218" y="38445"/>
                  </a:lnTo>
                  <a:lnTo>
                    <a:pt x="18738" y="35914"/>
                  </a:lnTo>
                  <a:lnTo>
                    <a:pt x="19461" y="32433"/>
                  </a:lnTo>
                  <a:lnTo>
                    <a:pt x="20274" y="28500"/>
                  </a:lnTo>
                  <a:lnTo>
                    <a:pt x="21043" y="24545"/>
                  </a:lnTo>
                  <a:lnTo>
                    <a:pt x="21382" y="22692"/>
                  </a:lnTo>
                  <a:lnTo>
                    <a:pt x="21676" y="21019"/>
                  </a:lnTo>
                  <a:lnTo>
                    <a:pt x="21902" y="19573"/>
                  </a:lnTo>
                  <a:lnTo>
                    <a:pt x="22060" y="18420"/>
                  </a:lnTo>
                  <a:lnTo>
                    <a:pt x="22105" y="17946"/>
                  </a:lnTo>
                  <a:lnTo>
                    <a:pt x="22128" y="17584"/>
                  </a:lnTo>
                  <a:lnTo>
                    <a:pt x="22128" y="17313"/>
                  </a:lnTo>
                  <a:lnTo>
                    <a:pt x="22083" y="17154"/>
                  </a:lnTo>
                  <a:lnTo>
                    <a:pt x="22083" y="17154"/>
                  </a:lnTo>
                  <a:lnTo>
                    <a:pt x="21992" y="17041"/>
                  </a:lnTo>
                  <a:lnTo>
                    <a:pt x="21811" y="16883"/>
                  </a:lnTo>
                  <a:lnTo>
                    <a:pt x="21563" y="16702"/>
                  </a:lnTo>
                  <a:lnTo>
                    <a:pt x="21224" y="16499"/>
                  </a:lnTo>
                  <a:lnTo>
                    <a:pt x="20387" y="16024"/>
                  </a:lnTo>
                  <a:lnTo>
                    <a:pt x="19303" y="15459"/>
                  </a:lnTo>
                  <a:lnTo>
                    <a:pt x="16636" y="14126"/>
                  </a:lnTo>
                  <a:lnTo>
                    <a:pt x="13539" y="12589"/>
                  </a:lnTo>
                  <a:lnTo>
                    <a:pt x="11957" y="11775"/>
                  </a:lnTo>
                  <a:lnTo>
                    <a:pt x="10375" y="10939"/>
                  </a:lnTo>
                  <a:lnTo>
                    <a:pt x="8861" y="10103"/>
                  </a:lnTo>
                  <a:lnTo>
                    <a:pt x="7459" y="9289"/>
                  </a:lnTo>
                  <a:lnTo>
                    <a:pt x="6804" y="8882"/>
                  </a:lnTo>
                  <a:lnTo>
                    <a:pt x="6194" y="8498"/>
                  </a:lnTo>
                  <a:lnTo>
                    <a:pt x="5629" y="8091"/>
                  </a:lnTo>
                  <a:lnTo>
                    <a:pt x="5131" y="7730"/>
                  </a:lnTo>
                  <a:lnTo>
                    <a:pt x="4679" y="7368"/>
                  </a:lnTo>
                  <a:lnTo>
                    <a:pt x="4295" y="7006"/>
                  </a:lnTo>
                  <a:lnTo>
                    <a:pt x="3956" y="6667"/>
                  </a:lnTo>
                  <a:lnTo>
                    <a:pt x="3708" y="6351"/>
                  </a:lnTo>
                  <a:lnTo>
                    <a:pt x="3708" y="6351"/>
                  </a:lnTo>
                  <a:lnTo>
                    <a:pt x="2917" y="5131"/>
                  </a:lnTo>
                  <a:lnTo>
                    <a:pt x="2193" y="3955"/>
                  </a:lnTo>
                  <a:lnTo>
                    <a:pt x="1560" y="2893"/>
                  </a:lnTo>
                  <a:lnTo>
                    <a:pt x="1018" y="1944"/>
                  </a:lnTo>
                  <a:lnTo>
                    <a:pt x="272" y="565"/>
                  </a:lnTo>
                  <a:lnTo>
                    <a:pt x="1" y="4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66" name="Google Shape;1666;p16"/>
            <p:cNvSpPr/>
            <p:nvPr/>
          </p:nvSpPr>
          <p:spPr>
            <a:xfrm>
              <a:off x="5738175" y="2439650"/>
              <a:ext cx="609125" cy="976975"/>
            </a:xfrm>
            <a:custGeom>
              <a:avLst/>
              <a:gdLst/>
              <a:ahLst/>
              <a:cxnLst/>
              <a:rect l="l" t="t" r="r" b="b"/>
              <a:pathLst>
                <a:path w="24365" h="39079" extrusionOk="0">
                  <a:moveTo>
                    <a:pt x="678" y="0"/>
                  </a:moveTo>
                  <a:lnTo>
                    <a:pt x="520" y="272"/>
                  </a:lnTo>
                  <a:lnTo>
                    <a:pt x="430" y="362"/>
                  </a:lnTo>
                  <a:lnTo>
                    <a:pt x="272" y="407"/>
                  </a:lnTo>
                  <a:lnTo>
                    <a:pt x="0" y="430"/>
                  </a:lnTo>
                  <a:lnTo>
                    <a:pt x="385" y="1153"/>
                  </a:lnTo>
                  <a:lnTo>
                    <a:pt x="611" y="1515"/>
                  </a:lnTo>
                  <a:lnTo>
                    <a:pt x="859" y="1876"/>
                  </a:lnTo>
                  <a:lnTo>
                    <a:pt x="1130" y="2238"/>
                  </a:lnTo>
                  <a:lnTo>
                    <a:pt x="1424" y="2622"/>
                  </a:lnTo>
                  <a:lnTo>
                    <a:pt x="1786" y="3006"/>
                  </a:lnTo>
                  <a:lnTo>
                    <a:pt x="2170" y="3391"/>
                  </a:lnTo>
                  <a:lnTo>
                    <a:pt x="2667" y="3843"/>
                  </a:lnTo>
                  <a:lnTo>
                    <a:pt x="3278" y="4295"/>
                  </a:lnTo>
                  <a:lnTo>
                    <a:pt x="3956" y="4814"/>
                  </a:lnTo>
                  <a:lnTo>
                    <a:pt x="4747" y="5334"/>
                  </a:lnTo>
                  <a:lnTo>
                    <a:pt x="6464" y="6487"/>
                  </a:lnTo>
                  <a:lnTo>
                    <a:pt x="8363" y="7730"/>
                  </a:lnTo>
                  <a:lnTo>
                    <a:pt x="9357" y="8385"/>
                  </a:lnTo>
                  <a:lnTo>
                    <a:pt x="10329" y="9063"/>
                  </a:lnTo>
                  <a:lnTo>
                    <a:pt x="11301" y="9764"/>
                  </a:lnTo>
                  <a:lnTo>
                    <a:pt x="12273" y="10487"/>
                  </a:lnTo>
                  <a:lnTo>
                    <a:pt x="13177" y="11211"/>
                  </a:lnTo>
                  <a:lnTo>
                    <a:pt x="14059" y="11956"/>
                  </a:lnTo>
                  <a:lnTo>
                    <a:pt x="14465" y="12341"/>
                  </a:lnTo>
                  <a:lnTo>
                    <a:pt x="14872" y="12725"/>
                  </a:lnTo>
                  <a:lnTo>
                    <a:pt x="15256" y="13109"/>
                  </a:lnTo>
                  <a:lnTo>
                    <a:pt x="15618" y="13493"/>
                  </a:lnTo>
                  <a:lnTo>
                    <a:pt x="24342" y="13493"/>
                  </a:lnTo>
                  <a:lnTo>
                    <a:pt x="24297" y="12951"/>
                  </a:lnTo>
                  <a:lnTo>
                    <a:pt x="24207" y="12454"/>
                  </a:lnTo>
                  <a:lnTo>
                    <a:pt x="24139" y="12250"/>
                  </a:lnTo>
                  <a:lnTo>
                    <a:pt x="24071" y="12069"/>
                  </a:lnTo>
                  <a:lnTo>
                    <a:pt x="23981" y="11889"/>
                  </a:lnTo>
                  <a:lnTo>
                    <a:pt x="23890" y="11753"/>
                  </a:lnTo>
                  <a:lnTo>
                    <a:pt x="23755" y="11572"/>
                  </a:lnTo>
                  <a:lnTo>
                    <a:pt x="23551" y="11369"/>
                  </a:lnTo>
                  <a:lnTo>
                    <a:pt x="23257" y="11143"/>
                  </a:lnTo>
                  <a:lnTo>
                    <a:pt x="22918" y="10872"/>
                  </a:lnTo>
                  <a:lnTo>
                    <a:pt x="22037" y="10284"/>
                  </a:lnTo>
                  <a:lnTo>
                    <a:pt x="20952" y="9583"/>
                  </a:lnTo>
                  <a:lnTo>
                    <a:pt x="19664" y="8837"/>
                  </a:lnTo>
                  <a:lnTo>
                    <a:pt x="18217" y="8024"/>
                  </a:lnTo>
                  <a:lnTo>
                    <a:pt x="16635" y="7165"/>
                  </a:lnTo>
                  <a:lnTo>
                    <a:pt x="14940" y="6283"/>
                  </a:lnTo>
                  <a:lnTo>
                    <a:pt x="13154" y="5379"/>
                  </a:lnTo>
                  <a:lnTo>
                    <a:pt x="11324" y="4498"/>
                  </a:lnTo>
                  <a:lnTo>
                    <a:pt x="9470" y="3617"/>
                  </a:lnTo>
                  <a:lnTo>
                    <a:pt x="7617" y="2780"/>
                  </a:lnTo>
                  <a:lnTo>
                    <a:pt x="5764" y="1967"/>
                  </a:lnTo>
                  <a:lnTo>
                    <a:pt x="3978" y="1243"/>
                  </a:lnTo>
                  <a:lnTo>
                    <a:pt x="2261" y="588"/>
                  </a:lnTo>
                  <a:lnTo>
                    <a:pt x="1447" y="272"/>
                  </a:lnTo>
                  <a:lnTo>
                    <a:pt x="678" y="0"/>
                  </a:lnTo>
                  <a:close/>
                  <a:moveTo>
                    <a:pt x="16725" y="14940"/>
                  </a:moveTo>
                  <a:lnTo>
                    <a:pt x="16997" y="15392"/>
                  </a:lnTo>
                  <a:lnTo>
                    <a:pt x="17245" y="15821"/>
                  </a:lnTo>
                  <a:lnTo>
                    <a:pt x="17426" y="15979"/>
                  </a:lnTo>
                  <a:lnTo>
                    <a:pt x="17517" y="16092"/>
                  </a:lnTo>
                  <a:lnTo>
                    <a:pt x="17539" y="16228"/>
                  </a:lnTo>
                  <a:lnTo>
                    <a:pt x="17562" y="16454"/>
                  </a:lnTo>
                  <a:lnTo>
                    <a:pt x="17562" y="16567"/>
                  </a:lnTo>
                  <a:lnTo>
                    <a:pt x="17675" y="16997"/>
                  </a:lnTo>
                  <a:lnTo>
                    <a:pt x="17765" y="17426"/>
                  </a:lnTo>
                  <a:lnTo>
                    <a:pt x="17833" y="17855"/>
                  </a:lnTo>
                  <a:lnTo>
                    <a:pt x="17833" y="18285"/>
                  </a:lnTo>
                  <a:lnTo>
                    <a:pt x="17810" y="18601"/>
                  </a:lnTo>
                  <a:lnTo>
                    <a:pt x="17743" y="18963"/>
                  </a:lnTo>
                  <a:lnTo>
                    <a:pt x="17675" y="19347"/>
                  </a:lnTo>
                  <a:lnTo>
                    <a:pt x="17562" y="19731"/>
                  </a:lnTo>
                  <a:lnTo>
                    <a:pt x="17426" y="20116"/>
                  </a:lnTo>
                  <a:lnTo>
                    <a:pt x="17245" y="20545"/>
                  </a:lnTo>
                  <a:lnTo>
                    <a:pt x="17065" y="20974"/>
                  </a:lnTo>
                  <a:lnTo>
                    <a:pt x="16861" y="21426"/>
                  </a:lnTo>
                  <a:lnTo>
                    <a:pt x="16432" y="23664"/>
                  </a:lnTo>
                  <a:lnTo>
                    <a:pt x="15980" y="26060"/>
                  </a:lnTo>
                  <a:lnTo>
                    <a:pt x="14985" y="30919"/>
                  </a:lnTo>
                  <a:lnTo>
                    <a:pt x="14104" y="35145"/>
                  </a:lnTo>
                  <a:lnTo>
                    <a:pt x="13539" y="37925"/>
                  </a:lnTo>
                  <a:lnTo>
                    <a:pt x="13426" y="38536"/>
                  </a:lnTo>
                  <a:lnTo>
                    <a:pt x="13448" y="38626"/>
                  </a:lnTo>
                  <a:lnTo>
                    <a:pt x="13516" y="38694"/>
                  </a:lnTo>
                  <a:lnTo>
                    <a:pt x="13606" y="38762"/>
                  </a:lnTo>
                  <a:lnTo>
                    <a:pt x="13742" y="38807"/>
                  </a:lnTo>
                  <a:lnTo>
                    <a:pt x="14104" y="38897"/>
                  </a:lnTo>
                  <a:lnTo>
                    <a:pt x="14556" y="38965"/>
                  </a:lnTo>
                  <a:lnTo>
                    <a:pt x="15098" y="39033"/>
                  </a:lnTo>
                  <a:lnTo>
                    <a:pt x="15708" y="39055"/>
                  </a:lnTo>
                  <a:lnTo>
                    <a:pt x="16951" y="39078"/>
                  </a:lnTo>
                  <a:lnTo>
                    <a:pt x="17946" y="39078"/>
                  </a:lnTo>
                  <a:lnTo>
                    <a:pt x="18782" y="39055"/>
                  </a:lnTo>
                  <a:lnTo>
                    <a:pt x="19573" y="39010"/>
                  </a:lnTo>
                  <a:lnTo>
                    <a:pt x="19754" y="38287"/>
                  </a:lnTo>
                  <a:lnTo>
                    <a:pt x="20274" y="36298"/>
                  </a:lnTo>
                  <a:lnTo>
                    <a:pt x="21020" y="33360"/>
                  </a:lnTo>
                  <a:lnTo>
                    <a:pt x="21449" y="31642"/>
                  </a:lnTo>
                  <a:lnTo>
                    <a:pt x="21879" y="29789"/>
                  </a:lnTo>
                  <a:lnTo>
                    <a:pt x="22331" y="27845"/>
                  </a:lnTo>
                  <a:lnTo>
                    <a:pt x="22760" y="25856"/>
                  </a:lnTo>
                  <a:lnTo>
                    <a:pt x="23167" y="23845"/>
                  </a:lnTo>
                  <a:lnTo>
                    <a:pt x="23529" y="21856"/>
                  </a:lnTo>
                  <a:lnTo>
                    <a:pt x="23845" y="19935"/>
                  </a:lnTo>
                  <a:lnTo>
                    <a:pt x="24116" y="18127"/>
                  </a:lnTo>
                  <a:lnTo>
                    <a:pt x="24207" y="17268"/>
                  </a:lnTo>
                  <a:lnTo>
                    <a:pt x="24274" y="16454"/>
                  </a:lnTo>
                  <a:lnTo>
                    <a:pt x="24342" y="15663"/>
                  </a:lnTo>
                  <a:lnTo>
                    <a:pt x="24365" y="14940"/>
                  </a:lnTo>
                  <a:close/>
                </a:path>
              </a:pathLst>
            </a:custGeom>
            <a:solidFill>
              <a:srgbClr val="9B9DA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67" name="Google Shape;1667;p16"/>
            <p:cNvSpPr/>
            <p:nvPr/>
          </p:nvSpPr>
          <p:spPr>
            <a:xfrm>
              <a:off x="6073800" y="2813125"/>
              <a:ext cx="273500" cy="603500"/>
            </a:xfrm>
            <a:custGeom>
              <a:avLst/>
              <a:gdLst/>
              <a:ahLst/>
              <a:cxnLst/>
              <a:rect l="l" t="t" r="r" b="b"/>
              <a:pathLst>
                <a:path w="10940" h="24140" fill="none" extrusionOk="0">
                  <a:moveTo>
                    <a:pt x="10940" y="1"/>
                  </a:moveTo>
                  <a:lnTo>
                    <a:pt x="3300" y="1"/>
                  </a:lnTo>
                  <a:lnTo>
                    <a:pt x="3300" y="1"/>
                  </a:lnTo>
                  <a:lnTo>
                    <a:pt x="3572" y="453"/>
                  </a:lnTo>
                  <a:lnTo>
                    <a:pt x="3820" y="882"/>
                  </a:lnTo>
                  <a:lnTo>
                    <a:pt x="3820" y="882"/>
                  </a:lnTo>
                  <a:lnTo>
                    <a:pt x="4001" y="1040"/>
                  </a:lnTo>
                  <a:lnTo>
                    <a:pt x="4092" y="1153"/>
                  </a:lnTo>
                  <a:lnTo>
                    <a:pt x="4092" y="1153"/>
                  </a:lnTo>
                  <a:lnTo>
                    <a:pt x="4092" y="1153"/>
                  </a:lnTo>
                  <a:lnTo>
                    <a:pt x="4114" y="1289"/>
                  </a:lnTo>
                  <a:lnTo>
                    <a:pt x="4137" y="1515"/>
                  </a:lnTo>
                  <a:lnTo>
                    <a:pt x="4137" y="1515"/>
                  </a:lnTo>
                  <a:lnTo>
                    <a:pt x="4137" y="1515"/>
                  </a:lnTo>
                  <a:lnTo>
                    <a:pt x="4137" y="1628"/>
                  </a:lnTo>
                  <a:lnTo>
                    <a:pt x="4137" y="1628"/>
                  </a:lnTo>
                  <a:lnTo>
                    <a:pt x="4250" y="2058"/>
                  </a:lnTo>
                  <a:lnTo>
                    <a:pt x="4340" y="2487"/>
                  </a:lnTo>
                  <a:lnTo>
                    <a:pt x="4408" y="2916"/>
                  </a:lnTo>
                  <a:lnTo>
                    <a:pt x="4408" y="3346"/>
                  </a:lnTo>
                  <a:lnTo>
                    <a:pt x="4408" y="3346"/>
                  </a:lnTo>
                  <a:lnTo>
                    <a:pt x="4385" y="3662"/>
                  </a:lnTo>
                  <a:lnTo>
                    <a:pt x="4318" y="4024"/>
                  </a:lnTo>
                  <a:lnTo>
                    <a:pt x="4250" y="4408"/>
                  </a:lnTo>
                  <a:lnTo>
                    <a:pt x="4137" y="4792"/>
                  </a:lnTo>
                  <a:lnTo>
                    <a:pt x="4001" y="5177"/>
                  </a:lnTo>
                  <a:lnTo>
                    <a:pt x="3820" y="5606"/>
                  </a:lnTo>
                  <a:lnTo>
                    <a:pt x="3640" y="6035"/>
                  </a:lnTo>
                  <a:lnTo>
                    <a:pt x="3436" y="6487"/>
                  </a:lnTo>
                  <a:lnTo>
                    <a:pt x="3436" y="6487"/>
                  </a:lnTo>
                  <a:lnTo>
                    <a:pt x="3007" y="8725"/>
                  </a:lnTo>
                  <a:lnTo>
                    <a:pt x="2555" y="11121"/>
                  </a:lnTo>
                  <a:lnTo>
                    <a:pt x="1560" y="15980"/>
                  </a:lnTo>
                  <a:lnTo>
                    <a:pt x="679" y="20206"/>
                  </a:lnTo>
                  <a:lnTo>
                    <a:pt x="114" y="22986"/>
                  </a:lnTo>
                  <a:lnTo>
                    <a:pt x="1" y="23597"/>
                  </a:lnTo>
                  <a:lnTo>
                    <a:pt x="1" y="23597"/>
                  </a:lnTo>
                  <a:lnTo>
                    <a:pt x="1" y="23597"/>
                  </a:lnTo>
                  <a:lnTo>
                    <a:pt x="1" y="23597"/>
                  </a:lnTo>
                  <a:lnTo>
                    <a:pt x="1" y="23597"/>
                  </a:lnTo>
                  <a:lnTo>
                    <a:pt x="23" y="23687"/>
                  </a:lnTo>
                  <a:lnTo>
                    <a:pt x="91" y="23755"/>
                  </a:lnTo>
                  <a:lnTo>
                    <a:pt x="181" y="23823"/>
                  </a:lnTo>
                  <a:lnTo>
                    <a:pt x="317" y="23868"/>
                  </a:lnTo>
                  <a:lnTo>
                    <a:pt x="679" y="23958"/>
                  </a:lnTo>
                  <a:lnTo>
                    <a:pt x="1131" y="24026"/>
                  </a:lnTo>
                  <a:lnTo>
                    <a:pt x="1673" y="24094"/>
                  </a:lnTo>
                  <a:lnTo>
                    <a:pt x="2283" y="24116"/>
                  </a:lnTo>
                  <a:lnTo>
                    <a:pt x="3526" y="24139"/>
                  </a:lnTo>
                  <a:lnTo>
                    <a:pt x="3526" y="24139"/>
                  </a:lnTo>
                  <a:lnTo>
                    <a:pt x="4521" y="24139"/>
                  </a:lnTo>
                  <a:lnTo>
                    <a:pt x="5357" y="24116"/>
                  </a:lnTo>
                  <a:lnTo>
                    <a:pt x="6148" y="24071"/>
                  </a:lnTo>
                  <a:lnTo>
                    <a:pt x="6148" y="24071"/>
                  </a:lnTo>
                  <a:lnTo>
                    <a:pt x="6329" y="23348"/>
                  </a:lnTo>
                  <a:lnTo>
                    <a:pt x="6849" y="21359"/>
                  </a:lnTo>
                  <a:lnTo>
                    <a:pt x="7595" y="18421"/>
                  </a:lnTo>
                  <a:lnTo>
                    <a:pt x="8024" y="16703"/>
                  </a:lnTo>
                  <a:lnTo>
                    <a:pt x="8454" y="14850"/>
                  </a:lnTo>
                  <a:lnTo>
                    <a:pt x="8906" y="12906"/>
                  </a:lnTo>
                  <a:lnTo>
                    <a:pt x="9335" y="10917"/>
                  </a:lnTo>
                  <a:lnTo>
                    <a:pt x="9742" y="8906"/>
                  </a:lnTo>
                  <a:lnTo>
                    <a:pt x="10104" y="6917"/>
                  </a:lnTo>
                  <a:lnTo>
                    <a:pt x="10420" y="4996"/>
                  </a:lnTo>
                  <a:lnTo>
                    <a:pt x="10691" y="3188"/>
                  </a:lnTo>
                  <a:lnTo>
                    <a:pt x="10782" y="2329"/>
                  </a:lnTo>
                  <a:lnTo>
                    <a:pt x="10849" y="1515"/>
                  </a:lnTo>
                  <a:lnTo>
                    <a:pt x="10917" y="724"/>
                  </a:lnTo>
                  <a:lnTo>
                    <a:pt x="1094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68" name="Google Shape;1668;p16"/>
            <p:cNvSpPr/>
            <p:nvPr/>
          </p:nvSpPr>
          <p:spPr>
            <a:xfrm>
              <a:off x="5738175" y="2439650"/>
              <a:ext cx="608575" cy="337350"/>
            </a:xfrm>
            <a:custGeom>
              <a:avLst/>
              <a:gdLst/>
              <a:ahLst/>
              <a:cxnLst/>
              <a:rect l="l" t="t" r="r" b="b"/>
              <a:pathLst>
                <a:path w="24343" h="13494" fill="none" extrusionOk="0">
                  <a:moveTo>
                    <a:pt x="678" y="0"/>
                  </a:moveTo>
                  <a:lnTo>
                    <a:pt x="678" y="0"/>
                  </a:lnTo>
                  <a:lnTo>
                    <a:pt x="520" y="272"/>
                  </a:lnTo>
                  <a:lnTo>
                    <a:pt x="430" y="362"/>
                  </a:lnTo>
                  <a:lnTo>
                    <a:pt x="430" y="362"/>
                  </a:lnTo>
                  <a:lnTo>
                    <a:pt x="272" y="407"/>
                  </a:lnTo>
                  <a:lnTo>
                    <a:pt x="0" y="430"/>
                  </a:lnTo>
                  <a:lnTo>
                    <a:pt x="0" y="430"/>
                  </a:lnTo>
                  <a:lnTo>
                    <a:pt x="385" y="1153"/>
                  </a:lnTo>
                  <a:lnTo>
                    <a:pt x="611" y="1515"/>
                  </a:lnTo>
                  <a:lnTo>
                    <a:pt x="859" y="1876"/>
                  </a:lnTo>
                  <a:lnTo>
                    <a:pt x="1130" y="2238"/>
                  </a:lnTo>
                  <a:lnTo>
                    <a:pt x="1424" y="2622"/>
                  </a:lnTo>
                  <a:lnTo>
                    <a:pt x="1786" y="3006"/>
                  </a:lnTo>
                  <a:lnTo>
                    <a:pt x="2170" y="3391"/>
                  </a:lnTo>
                  <a:lnTo>
                    <a:pt x="2170" y="3391"/>
                  </a:lnTo>
                  <a:lnTo>
                    <a:pt x="2667" y="3843"/>
                  </a:lnTo>
                  <a:lnTo>
                    <a:pt x="3278" y="4295"/>
                  </a:lnTo>
                  <a:lnTo>
                    <a:pt x="3956" y="4814"/>
                  </a:lnTo>
                  <a:lnTo>
                    <a:pt x="4747" y="5334"/>
                  </a:lnTo>
                  <a:lnTo>
                    <a:pt x="6464" y="6487"/>
                  </a:lnTo>
                  <a:lnTo>
                    <a:pt x="8363" y="7730"/>
                  </a:lnTo>
                  <a:lnTo>
                    <a:pt x="9357" y="8385"/>
                  </a:lnTo>
                  <a:lnTo>
                    <a:pt x="10329" y="9063"/>
                  </a:lnTo>
                  <a:lnTo>
                    <a:pt x="11301" y="9764"/>
                  </a:lnTo>
                  <a:lnTo>
                    <a:pt x="12273" y="10487"/>
                  </a:lnTo>
                  <a:lnTo>
                    <a:pt x="13177" y="11211"/>
                  </a:lnTo>
                  <a:lnTo>
                    <a:pt x="14059" y="11956"/>
                  </a:lnTo>
                  <a:lnTo>
                    <a:pt x="14465" y="12341"/>
                  </a:lnTo>
                  <a:lnTo>
                    <a:pt x="14872" y="12725"/>
                  </a:lnTo>
                  <a:lnTo>
                    <a:pt x="15256" y="13109"/>
                  </a:lnTo>
                  <a:lnTo>
                    <a:pt x="15618" y="13493"/>
                  </a:lnTo>
                  <a:lnTo>
                    <a:pt x="24342" y="13493"/>
                  </a:lnTo>
                  <a:lnTo>
                    <a:pt x="24342" y="13493"/>
                  </a:lnTo>
                  <a:lnTo>
                    <a:pt x="24297" y="12951"/>
                  </a:lnTo>
                  <a:lnTo>
                    <a:pt x="24207" y="12454"/>
                  </a:lnTo>
                  <a:lnTo>
                    <a:pt x="24139" y="12250"/>
                  </a:lnTo>
                  <a:lnTo>
                    <a:pt x="24071" y="12069"/>
                  </a:lnTo>
                  <a:lnTo>
                    <a:pt x="23981" y="11889"/>
                  </a:lnTo>
                  <a:lnTo>
                    <a:pt x="23890" y="11753"/>
                  </a:lnTo>
                  <a:lnTo>
                    <a:pt x="23890" y="11753"/>
                  </a:lnTo>
                  <a:lnTo>
                    <a:pt x="23755" y="11572"/>
                  </a:lnTo>
                  <a:lnTo>
                    <a:pt x="23551" y="11369"/>
                  </a:lnTo>
                  <a:lnTo>
                    <a:pt x="23257" y="11143"/>
                  </a:lnTo>
                  <a:lnTo>
                    <a:pt x="22918" y="10872"/>
                  </a:lnTo>
                  <a:lnTo>
                    <a:pt x="22037" y="10284"/>
                  </a:lnTo>
                  <a:lnTo>
                    <a:pt x="20952" y="9583"/>
                  </a:lnTo>
                  <a:lnTo>
                    <a:pt x="19664" y="8837"/>
                  </a:lnTo>
                  <a:lnTo>
                    <a:pt x="18217" y="8024"/>
                  </a:lnTo>
                  <a:lnTo>
                    <a:pt x="16635" y="7165"/>
                  </a:lnTo>
                  <a:lnTo>
                    <a:pt x="14940" y="6283"/>
                  </a:lnTo>
                  <a:lnTo>
                    <a:pt x="13154" y="5379"/>
                  </a:lnTo>
                  <a:lnTo>
                    <a:pt x="11324" y="4498"/>
                  </a:lnTo>
                  <a:lnTo>
                    <a:pt x="9470" y="3617"/>
                  </a:lnTo>
                  <a:lnTo>
                    <a:pt x="7617" y="2780"/>
                  </a:lnTo>
                  <a:lnTo>
                    <a:pt x="5764" y="1967"/>
                  </a:lnTo>
                  <a:lnTo>
                    <a:pt x="3978" y="1243"/>
                  </a:lnTo>
                  <a:lnTo>
                    <a:pt x="2261" y="588"/>
                  </a:lnTo>
                  <a:lnTo>
                    <a:pt x="1447" y="272"/>
                  </a:lnTo>
                  <a:lnTo>
                    <a:pt x="67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69" name="Google Shape;1669;p16"/>
            <p:cNvSpPr/>
            <p:nvPr/>
          </p:nvSpPr>
          <p:spPr>
            <a:xfrm>
              <a:off x="6076625" y="2841950"/>
              <a:ext cx="100600" cy="545850"/>
            </a:xfrm>
            <a:custGeom>
              <a:avLst/>
              <a:gdLst/>
              <a:ahLst/>
              <a:cxnLst/>
              <a:rect l="l" t="t" r="r" b="b"/>
              <a:pathLst>
                <a:path w="4024" h="21834" extrusionOk="0">
                  <a:moveTo>
                    <a:pt x="3979" y="0"/>
                  </a:moveTo>
                  <a:lnTo>
                    <a:pt x="3933" y="249"/>
                  </a:lnTo>
                  <a:lnTo>
                    <a:pt x="4024" y="475"/>
                  </a:lnTo>
                  <a:lnTo>
                    <a:pt x="4024" y="362"/>
                  </a:lnTo>
                  <a:lnTo>
                    <a:pt x="4001" y="136"/>
                  </a:lnTo>
                  <a:lnTo>
                    <a:pt x="3979" y="0"/>
                  </a:lnTo>
                  <a:close/>
                  <a:moveTo>
                    <a:pt x="3323" y="5334"/>
                  </a:moveTo>
                  <a:lnTo>
                    <a:pt x="2848" y="6238"/>
                  </a:lnTo>
                  <a:lnTo>
                    <a:pt x="1" y="21833"/>
                  </a:lnTo>
                  <a:lnTo>
                    <a:pt x="566" y="19053"/>
                  </a:lnTo>
                  <a:lnTo>
                    <a:pt x="1447" y="14827"/>
                  </a:lnTo>
                  <a:lnTo>
                    <a:pt x="2442" y="9968"/>
                  </a:lnTo>
                  <a:lnTo>
                    <a:pt x="2894" y="7572"/>
                  </a:lnTo>
                  <a:lnTo>
                    <a:pt x="3323" y="5334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70" name="Google Shape;1670;p16"/>
            <p:cNvSpPr/>
            <p:nvPr/>
          </p:nvSpPr>
          <p:spPr>
            <a:xfrm>
              <a:off x="6076625" y="2975300"/>
              <a:ext cx="83100" cy="412500"/>
            </a:xfrm>
            <a:custGeom>
              <a:avLst/>
              <a:gdLst/>
              <a:ahLst/>
              <a:cxnLst/>
              <a:rect l="l" t="t" r="r" b="b"/>
              <a:pathLst>
                <a:path w="3324" h="16500" fill="none" extrusionOk="0">
                  <a:moveTo>
                    <a:pt x="3323" y="0"/>
                  </a:moveTo>
                  <a:lnTo>
                    <a:pt x="3323" y="0"/>
                  </a:lnTo>
                  <a:lnTo>
                    <a:pt x="2848" y="904"/>
                  </a:lnTo>
                  <a:lnTo>
                    <a:pt x="1" y="16499"/>
                  </a:lnTo>
                  <a:lnTo>
                    <a:pt x="1" y="16499"/>
                  </a:lnTo>
                  <a:lnTo>
                    <a:pt x="566" y="13719"/>
                  </a:lnTo>
                  <a:lnTo>
                    <a:pt x="1447" y="9493"/>
                  </a:lnTo>
                  <a:lnTo>
                    <a:pt x="2442" y="4634"/>
                  </a:lnTo>
                  <a:lnTo>
                    <a:pt x="2894" y="2238"/>
                  </a:lnTo>
                  <a:lnTo>
                    <a:pt x="332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71" name="Google Shape;1671;p16"/>
            <p:cNvSpPr/>
            <p:nvPr/>
          </p:nvSpPr>
          <p:spPr>
            <a:xfrm>
              <a:off x="6174950" y="2841950"/>
              <a:ext cx="2275" cy="11900"/>
            </a:xfrm>
            <a:custGeom>
              <a:avLst/>
              <a:gdLst/>
              <a:ahLst/>
              <a:cxnLst/>
              <a:rect l="l" t="t" r="r" b="b"/>
              <a:pathLst>
                <a:path w="91" h="476" fill="none" extrusionOk="0">
                  <a:moveTo>
                    <a:pt x="46" y="0"/>
                  </a:moveTo>
                  <a:lnTo>
                    <a:pt x="0" y="249"/>
                  </a:lnTo>
                  <a:lnTo>
                    <a:pt x="0" y="249"/>
                  </a:lnTo>
                  <a:lnTo>
                    <a:pt x="91" y="475"/>
                  </a:lnTo>
                  <a:lnTo>
                    <a:pt x="91" y="475"/>
                  </a:lnTo>
                  <a:lnTo>
                    <a:pt x="91" y="362"/>
                  </a:lnTo>
                  <a:lnTo>
                    <a:pt x="91" y="362"/>
                  </a:lnTo>
                  <a:lnTo>
                    <a:pt x="68" y="136"/>
                  </a:lnTo>
                  <a:lnTo>
                    <a:pt x="46" y="0"/>
                  </a:lnTo>
                  <a:lnTo>
                    <a:pt x="4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72" name="Google Shape;1672;p16"/>
            <p:cNvSpPr/>
            <p:nvPr/>
          </p:nvSpPr>
          <p:spPr>
            <a:xfrm>
              <a:off x="6073800" y="3387775"/>
              <a:ext cx="2850" cy="15275"/>
            </a:xfrm>
            <a:custGeom>
              <a:avLst/>
              <a:gdLst/>
              <a:ahLst/>
              <a:cxnLst/>
              <a:rect l="l" t="t" r="r" b="b"/>
              <a:pathLst>
                <a:path w="114" h="611" extrusionOk="0">
                  <a:moveTo>
                    <a:pt x="114" y="0"/>
                  </a:moveTo>
                  <a:lnTo>
                    <a:pt x="114" y="0"/>
                  </a:lnTo>
                  <a:lnTo>
                    <a:pt x="1" y="611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9092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73" name="Google Shape;1673;p16"/>
            <p:cNvSpPr/>
            <p:nvPr/>
          </p:nvSpPr>
          <p:spPr>
            <a:xfrm>
              <a:off x="6073800" y="3387775"/>
              <a:ext cx="2850" cy="15275"/>
            </a:xfrm>
            <a:custGeom>
              <a:avLst/>
              <a:gdLst/>
              <a:ahLst/>
              <a:cxnLst/>
              <a:rect l="l" t="t" r="r" b="b"/>
              <a:pathLst>
                <a:path w="114" h="611" fill="none" extrusionOk="0">
                  <a:moveTo>
                    <a:pt x="114" y="0"/>
                  </a:moveTo>
                  <a:lnTo>
                    <a:pt x="114" y="0"/>
                  </a:lnTo>
                  <a:lnTo>
                    <a:pt x="1" y="611"/>
                  </a:lnTo>
                  <a:lnTo>
                    <a:pt x="11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74" name="Google Shape;1674;p16"/>
            <p:cNvSpPr/>
            <p:nvPr/>
          </p:nvSpPr>
          <p:spPr>
            <a:xfrm>
              <a:off x="2594875" y="2776975"/>
              <a:ext cx="3927025" cy="36175"/>
            </a:xfrm>
            <a:custGeom>
              <a:avLst/>
              <a:gdLst/>
              <a:ahLst/>
              <a:cxnLst/>
              <a:rect l="l" t="t" r="r" b="b"/>
              <a:pathLst>
                <a:path w="157081" h="1447" extrusionOk="0">
                  <a:moveTo>
                    <a:pt x="724" y="0"/>
                  </a:moveTo>
                  <a:lnTo>
                    <a:pt x="588" y="23"/>
                  </a:lnTo>
                  <a:lnTo>
                    <a:pt x="453" y="68"/>
                  </a:lnTo>
                  <a:lnTo>
                    <a:pt x="340" y="136"/>
                  </a:lnTo>
                  <a:lnTo>
                    <a:pt x="227" y="226"/>
                  </a:lnTo>
                  <a:lnTo>
                    <a:pt x="136" y="317"/>
                  </a:lnTo>
                  <a:lnTo>
                    <a:pt x="68" y="452"/>
                  </a:lnTo>
                  <a:lnTo>
                    <a:pt x="23" y="588"/>
                  </a:lnTo>
                  <a:lnTo>
                    <a:pt x="1" y="724"/>
                  </a:lnTo>
                  <a:lnTo>
                    <a:pt x="23" y="882"/>
                  </a:lnTo>
                  <a:lnTo>
                    <a:pt x="68" y="1017"/>
                  </a:lnTo>
                  <a:lnTo>
                    <a:pt x="136" y="1130"/>
                  </a:lnTo>
                  <a:lnTo>
                    <a:pt x="227" y="1243"/>
                  </a:lnTo>
                  <a:lnTo>
                    <a:pt x="340" y="1334"/>
                  </a:lnTo>
                  <a:lnTo>
                    <a:pt x="453" y="1402"/>
                  </a:lnTo>
                  <a:lnTo>
                    <a:pt x="588" y="1447"/>
                  </a:lnTo>
                  <a:lnTo>
                    <a:pt x="156516" y="1447"/>
                  </a:lnTo>
                  <a:lnTo>
                    <a:pt x="156651" y="1402"/>
                  </a:lnTo>
                  <a:lnTo>
                    <a:pt x="156764" y="1334"/>
                  </a:lnTo>
                  <a:lnTo>
                    <a:pt x="156877" y="1243"/>
                  </a:lnTo>
                  <a:lnTo>
                    <a:pt x="156968" y="1130"/>
                  </a:lnTo>
                  <a:lnTo>
                    <a:pt x="157035" y="1017"/>
                  </a:lnTo>
                  <a:lnTo>
                    <a:pt x="157081" y="882"/>
                  </a:lnTo>
                  <a:lnTo>
                    <a:pt x="157081" y="724"/>
                  </a:lnTo>
                  <a:lnTo>
                    <a:pt x="157081" y="588"/>
                  </a:lnTo>
                  <a:lnTo>
                    <a:pt x="157035" y="452"/>
                  </a:lnTo>
                  <a:lnTo>
                    <a:pt x="156968" y="317"/>
                  </a:lnTo>
                  <a:lnTo>
                    <a:pt x="156877" y="226"/>
                  </a:lnTo>
                  <a:lnTo>
                    <a:pt x="156764" y="136"/>
                  </a:lnTo>
                  <a:lnTo>
                    <a:pt x="156651" y="68"/>
                  </a:lnTo>
                  <a:lnTo>
                    <a:pt x="156516" y="23"/>
                  </a:lnTo>
                  <a:lnTo>
                    <a:pt x="156357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75" name="Google Shape;1675;p16"/>
            <p:cNvSpPr/>
            <p:nvPr/>
          </p:nvSpPr>
          <p:spPr>
            <a:xfrm>
              <a:off x="2594875" y="2776975"/>
              <a:ext cx="3927025" cy="36175"/>
            </a:xfrm>
            <a:custGeom>
              <a:avLst/>
              <a:gdLst/>
              <a:ahLst/>
              <a:cxnLst/>
              <a:rect l="l" t="t" r="r" b="b"/>
              <a:pathLst>
                <a:path w="157081" h="1447" fill="none" extrusionOk="0">
                  <a:moveTo>
                    <a:pt x="724" y="0"/>
                  </a:moveTo>
                  <a:lnTo>
                    <a:pt x="156357" y="0"/>
                  </a:lnTo>
                  <a:lnTo>
                    <a:pt x="156357" y="0"/>
                  </a:lnTo>
                  <a:lnTo>
                    <a:pt x="156516" y="23"/>
                  </a:lnTo>
                  <a:lnTo>
                    <a:pt x="156651" y="68"/>
                  </a:lnTo>
                  <a:lnTo>
                    <a:pt x="156764" y="136"/>
                  </a:lnTo>
                  <a:lnTo>
                    <a:pt x="156877" y="226"/>
                  </a:lnTo>
                  <a:lnTo>
                    <a:pt x="156968" y="317"/>
                  </a:lnTo>
                  <a:lnTo>
                    <a:pt x="157035" y="452"/>
                  </a:lnTo>
                  <a:lnTo>
                    <a:pt x="157081" y="588"/>
                  </a:lnTo>
                  <a:lnTo>
                    <a:pt x="157081" y="724"/>
                  </a:lnTo>
                  <a:lnTo>
                    <a:pt x="157081" y="724"/>
                  </a:lnTo>
                  <a:lnTo>
                    <a:pt x="157081" y="882"/>
                  </a:lnTo>
                  <a:lnTo>
                    <a:pt x="157035" y="1017"/>
                  </a:lnTo>
                  <a:lnTo>
                    <a:pt x="156968" y="1130"/>
                  </a:lnTo>
                  <a:lnTo>
                    <a:pt x="156877" y="1243"/>
                  </a:lnTo>
                  <a:lnTo>
                    <a:pt x="156764" y="1334"/>
                  </a:lnTo>
                  <a:lnTo>
                    <a:pt x="156651" y="1402"/>
                  </a:lnTo>
                  <a:lnTo>
                    <a:pt x="156516" y="1447"/>
                  </a:lnTo>
                  <a:lnTo>
                    <a:pt x="156357" y="1447"/>
                  </a:lnTo>
                  <a:lnTo>
                    <a:pt x="724" y="1447"/>
                  </a:lnTo>
                  <a:lnTo>
                    <a:pt x="724" y="1447"/>
                  </a:lnTo>
                  <a:lnTo>
                    <a:pt x="588" y="1447"/>
                  </a:lnTo>
                  <a:lnTo>
                    <a:pt x="453" y="1402"/>
                  </a:lnTo>
                  <a:lnTo>
                    <a:pt x="340" y="1334"/>
                  </a:lnTo>
                  <a:lnTo>
                    <a:pt x="227" y="1243"/>
                  </a:lnTo>
                  <a:lnTo>
                    <a:pt x="136" y="1130"/>
                  </a:lnTo>
                  <a:lnTo>
                    <a:pt x="68" y="1017"/>
                  </a:lnTo>
                  <a:lnTo>
                    <a:pt x="23" y="882"/>
                  </a:lnTo>
                  <a:lnTo>
                    <a:pt x="1" y="724"/>
                  </a:lnTo>
                  <a:lnTo>
                    <a:pt x="1" y="724"/>
                  </a:lnTo>
                  <a:lnTo>
                    <a:pt x="23" y="588"/>
                  </a:lnTo>
                  <a:lnTo>
                    <a:pt x="68" y="452"/>
                  </a:lnTo>
                  <a:lnTo>
                    <a:pt x="136" y="317"/>
                  </a:lnTo>
                  <a:lnTo>
                    <a:pt x="227" y="226"/>
                  </a:lnTo>
                  <a:lnTo>
                    <a:pt x="340" y="136"/>
                  </a:lnTo>
                  <a:lnTo>
                    <a:pt x="453" y="68"/>
                  </a:lnTo>
                  <a:lnTo>
                    <a:pt x="588" y="23"/>
                  </a:lnTo>
                  <a:lnTo>
                    <a:pt x="72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76" name="Google Shape;1676;p16"/>
            <p:cNvSpPr/>
            <p:nvPr/>
          </p:nvSpPr>
          <p:spPr>
            <a:xfrm>
              <a:off x="5816725" y="2110225"/>
              <a:ext cx="453725" cy="255425"/>
            </a:xfrm>
            <a:custGeom>
              <a:avLst/>
              <a:gdLst/>
              <a:ahLst/>
              <a:cxnLst/>
              <a:rect l="l" t="t" r="r" b="b"/>
              <a:pathLst>
                <a:path w="18149" h="10217" extrusionOk="0">
                  <a:moveTo>
                    <a:pt x="3707" y="1"/>
                  </a:moveTo>
                  <a:lnTo>
                    <a:pt x="0" y="2532"/>
                  </a:lnTo>
                  <a:lnTo>
                    <a:pt x="407" y="3662"/>
                  </a:lnTo>
                  <a:lnTo>
                    <a:pt x="859" y="4837"/>
                  </a:lnTo>
                  <a:lnTo>
                    <a:pt x="1401" y="6193"/>
                  </a:lnTo>
                  <a:lnTo>
                    <a:pt x="1695" y="6872"/>
                  </a:lnTo>
                  <a:lnTo>
                    <a:pt x="2012" y="7550"/>
                  </a:lnTo>
                  <a:lnTo>
                    <a:pt x="2351" y="8205"/>
                  </a:lnTo>
                  <a:lnTo>
                    <a:pt x="2667" y="8793"/>
                  </a:lnTo>
                  <a:lnTo>
                    <a:pt x="2983" y="9290"/>
                  </a:lnTo>
                  <a:lnTo>
                    <a:pt x="3142" y="9516"/>
                  </a:lnTo>
                  <a:lnTo>
                    <a:pt x="3300" y="9719"/>
                  </a:lnTo>
                  <a:lnTo>
                    <a:pt x="3458" y="9878"/>
                  </a:lnTo>
                  <a:lnTo>
                    <a:pt x="3616" y="10013"/>
                  </a:lnTo>
                  <a:lnTo>
                    <a:pt x="3752" y="10104"/>
                  </a:lnTo>
                  <a:lnTo>
                    <a:pt x="3887" y="10171"/>
                  </a:lnTo>
                  <a:lnTo>
                    <a:pt x="4068" y="10194"/>
                  </a:lnTo>
                  <a:lnTo>
                    <a:pt x="4272" y="10217"/>
                  </a:lnTo>
                  <a:lnTo>
                    <a:pt x="4837" y="10217"/>
                  </a:lnTo>
                  <a:lnTo>
                    <a:pt x="5560" y="10149"/>
                  </a:lnTo>
                  <a:lnTo>
                    <a:pt x="6419" y="10058"/>
                  </a:lnTo>
                  <a:lnTo>
                    <a:pt x="7368" y="9900"/>
                  </a:lnTo>
                  <a:lnTo>
                    <a:pt x="8408" y="9742"/>
                  </a:lnTo>
                  <a:lnTo>
                    <a:pt x="10555" y="9358"/>
                  </a:lnTo>
                  <a:lnTo>
                    <a:pt x="12679" y="8928"/>
                  </a:lnTo>
                  <a:lnTo>
                    <a:pt x="14533" y="8567"/>
                  </a:lnTo>
                  <a:lnTo>
                    <a:pt x="15866" y="8273"/>
                  </a:lnTo>
                  <a:lnTo>
                    <a:pt x="16476" y="8160"/>
                  </a:lnTo>
                  <a:lnTo>
                    <a:pt x="16589" y="8137"/>
                  </a:lnTo>
                  <a:lnTo>
                    <a:pt x="16702" y="8047"/>
                  </a:lnTo>
                  <a:lnTo>
                    <a:pt x="16838" y="7934"/>
                  </a:lnTo>
                  <a:lnTo>
                    <a:pt x="16996" y="7798"/>
                  </a:lnTo>
                  <a:lnTo>
                    <a:pt x="17290" y="7437"/>
                  </a:lnTo>
                  <a:lnTo>
                    <a:pt x="17607" y="7007"/>
                  </a:lnTo>
                  <a:lnTo>
                    <a:pt x="17855" y="6578"/>
                  </a:lnTo>
                  <a:lnTo>
                    <a:pt x="17968" y="6352"/>
                  </a:lnTo>
                  <a:lnTo>
                    <a:pt x="18059" y="6148"/>
                  </a:lnTo>
                  <a:lnTo>
                    <a:pt x="18126" y="5967"/>
                  </a:lnTo>
                  <a:lnTo>
                    <a:pt x="18149" y="5809"/>
                  </a:lnTo>
                  <a:lnTo>
                    <a:pt x="18149" y="5674"/>
                  </a:lnTo>
                  <a:lnTo>
                    <a:pt x="18104" y="5583"/>
                  </a:lnTo>
                  <a:lnTo>
                    <a:pt x="18036" y="5561"/>
                  </a:lnTo>
                  <a:lnTo>
                    <a:pt x="17878" y="5538"/>
                  </a:lnTo>
                  <a:lnTo>
                    <a:pt x="17335" y="5515"/>
                  </a:lnTo>
                  <a:lnTo>
                    <a:pt x="16544" y="5538"/>
                  </a:lnTo>
                  <a:lnTo>
                    <a:pt x="15550" y="5606"/>
                  </a:lnTo>
                  <a:lnTo>
                    <a:pt x="13154" y="5787"/>
                  </a:lnTo>
                  <a:lnTo>
                    <a:pt x="10487" y="6013"/>
                  </a:lnTo>
                  <a:lnTo>
                    <a:pt x="6735" y="6374"/>
                  </a:lnTo>
                  <a:lnTo>
                    <a:pt x="5470" y="6487"/>
                  </a:lnTo>
                  <a:lnTo>
                    <a:pt x="4814" y="6533"/>
                  </a:lnTo>
                  <a:lnTo>
                    <a:pt x="4746" y="6510"/>
                  </a:lnTo>
                  <a:lnTo>
                    <a:pt x="4701" y="6465"/>
                  </a:lnTo>
                  <a:lnTo>
                    <a:pt x="4633" y="6397"/>
                  </a:lnTo>
                  <a:lnTo>
                    <a:pt x="4588" y="6306"/>
                  </a:lnTo>
                  <a:lnTo>
                    <a:pt x="4475" y="6058"/>
                  </a:lnTo>
                  <a:lnTo>
                    <a:pt x="4407" y="5719"/>
                  </a:lnTo>
                  <a:lnTo>
                    <a:pt x="4339" y="5335"/>
                  </a:lnTo>
                  <a:lnTo>
                    <a:pt x="4272" y="4883"/>
                  </a:lnTo>
                  <a:lnTo>
                    <a:pt x="4181" y="3866"/>
                  </a:lnTo>
                  <a:lnTo>
                    <a:pt x="4091" y="2781"/>
                  </a:lnTo>
                  <a:lnTo>
                    <a:pt x="4000" y="1696"/>
                  </a:lnTo>
                  <a:lnTo>
                    <a:pt x="3955" y="1199"/>
                  </a:lnTo>
                  <a:lnTo>
                    <a:pt x="3887" y="747"/>
                  </a:lnTo>
                  <a:lnTo>
                    <a:pt x="3797" y="340"/>
                  </a:lnTo>
                  <a:lnTo>
                    <a:pt x="3707" y="1"/>
                  </a:lnTo>
                  <a:close/>
                </a:path>
              </a:pathLst>
            </a:custGeom>
            <a:solidFill>
              <a:srgbClr val="DE36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77" name="Google Shape;1677;p16"/>
            <p:cNvSpPr/>
            <p:nvPr/>
          </p:nvSpPr>
          <p:spPr>
            <a:xfrm>
              <a:off x="5816725" y="2110225"/>
              <a:ext cx="453725" cy="255425"/>
            </a:xfrm>
            <a:custGeom>
              <a:avLst/>
              <a:gdLst/>
              <a:ahLst/>
              <a:cxnLst/>
              <a:rect l="l" t="t" r="r" b="b"/>
              <a:pathLst>
                <a:path w="18149" h="10217" fill="none" extrusionOk="0">
                  <a:moveTo>
                    <a:pt x="3707" y="1"/>
                  </a:moveTo>
                  <a:lnTo>
                    <a:pt x="3707" y="1"/>
                  </a:lnTo>
                  <a:lnTo>
                    <a:pt x="3797" y="340"/>
                  </a:lnTo>
                  <a:lnTo>
                    <a:pt x="3887" y="747"/>
                  </a:lnTo>
                  <a:lnTo>
                    <a:pt x="3955" y="1199"/>
                  </a:lnTo>
                  <a:lnTo>
                    <a:pt x="4000" y="1696"/>
                  </a:lnTo>
                  <a:lnTo>
                    <a:pt x="4091" y="2781"/>
                  </a:lnTo>
                  <a:lnTo>
                    <a:pt x="4181" y="3866"/>
                  </a:lnTo>
                  <a:lnTo>
                    <a:pt x="4272" y="4883"/>
                  </a:lnTo>
                  <a:lnTo>
                    <a:pt x="4339" y="5335"/>
                  </a:lnTo>
                  <a:lnTo>
                    <a:pt x="4407" y="5719"/>
                  </a:lnTo>
                  <a:lnTo>
                    <a:pt x="4475" y="6058"/>
                  </a:lnTo>
                  <a:lnTo>
                    <a:pt x="4588" y="6306"/>
                  </a:lnTo>
                  <a:lnTo>
                    <a:pt x="4633" y="6397"/>
                  </a:lnTo>
                  <a:lnTo>
                    <a:pt x="4701" y="6465"/>
                  </a:lnTo>
                  <a:lnTo>
                    <a:pt x="4746" y="6510"/>
                  </a:lnTo>
                  <a:lnTo>
                    <a:pt x="4814" y="6533"/>
                  </a:lnTo>
                  <a:lnTo>
                    <a:pt x="4814" y="6533"/>
                  </a:lnTo>
                  <a:lnTo>
                    <a:pt x="5470" y="6487"/>
                  </a:lnTo>
                  <a:lnTo>
                    <a:pt x="6735" y="6374"/>
                  </a:lnTo>
                  <a:lnTo>
                    <a:pt x="10487" y="6013"/>
                  </a:lnTo>
                  <a:lnTo>
                    <a:pt x="10487" y="6013"/>
                  </a:lnTo>
                  <a:lnTo>
                    <a:pt x="13154" y="5787"/>
                  </a:lnTo>
                  <a:lnTo>
                    <a:pt x="15550" y="5606"/>
                  </a:lnTo>
                  <a:lnTo>
                    <a:pt x="16544" y="5538"/>
                  </a:lnTo>
                  <a:lnTo>
                    <a:pt x="17335" y="5515"/>
                  </a:lnTo>
                  <a:lnTo>
                    <a:pt x="17878" y="5538"/>
                  </a:lnTo>
                  <a:lnTo>
                    <a:pt x="18036" y="5561"/>
                  </a:lnTo>
                  <a:lnTo>
                    <a:pt x="18104" y="5583"/>
                  </a:lnTo>
                  <a:lnTo>
                    <a:pt x="18104" y="5583"/>
                  </a:lnTo>
                  <a:lnTo>
                    <a:pt x="18149" y="5674"/>
                  </a:lnTo>
                  <a:lnTo>
                    <a:pt x="18149" y="5809"/>
                  </a:lnTo>
                  <a:lnTo>
                    <a:pt x="18126" y="5967"/>
                  </a:lnTo>
                  <a:lnTo>
                    <a:pt x="18059" y="6148"/>
                  </a:lnTo>
                  <a:lnTo>
                    <a:pt x="17968" y="6352"/>
                  </a:lnTo>
                  <a:lnTo>
                    <a:pt x="17855" y="6578"/>
                  </a:lnTo>
                  <a:lnTo>
                    <a:pt x="17607" y="7007"/>
                  </a:lnTo>
                  <a:lnTo>
                    <a:pt x="17290" y="7437"/>
                  </a:lnTo>
                  <a:lnTo>
                    <a:pt x="16996" y="7798"/>
                  </a:lnTo>
                  <a:lnTo>
                    <a:pt x="16838" y="7934"/>
                  </a:lnTo>
                  <a:lnTo>
                    <a:pt x="16702" y="8047"/>
                  </a:lnTo>
                  <a:lnTo>
                    <a:pt x="16589" y="8137"/>
                  </a:lnTo>
                  <a:lnTo>
                    <a:pt x="16476" y="8160"/>
                  </a:lnTo>
                  <a:lnTo>
                    <a:pt x="16476" y="8160"/>
                  </a:lnTo>
                  <a:lnTo>
                    <a:pt x="15866" y="8273"/>
                  </a:lnTo>
                  <a:lnTo>
                    <a:pt x="14533" y="8567"/>
                  </a:lnTo>
                  <a:lnTo>
                    <a:pt x="12679" y="8928"/>
                  </a:lnTo>
                  <a:lnTo>
                    <a:pt x="10555" y="9358"/>
                  </a:lnTo>
                  <a:lnTo>
                    <a:pt x="8408" y="9742"/>
                  </a:lnTo>
                  <a:lnTo>
                    <a:pt x="7368" y="9900"/>
                  </a:lnTo>
                  <a:lnTo>
                    <a:pt x="6419" y="10058"/>
                  </a:lnTo>
                  <a:lnTo>
                    <a:pt x="5560" y="10149"/>
                  </a:lnTo>
                  <a:lnTo>
                    <a:pt x="4837" y="10217"/>
                  </a:lnTo>
                  <a:lnTo>
                    <a:pt x="4272" y="10217"/>
                  </a:lnTo>
                  <a:lnTo>
                    <a:pt x="4068" y="10194"/>
                  </a:lnTo>
                  <a:lnTo>
                    <a:pt x="3887" y="10171"/>
                  </a:lnTo>
                  <a:lnTo>
                    <a:pt x="3887" y="10171"/>
                  </a:lnTo>
                  <a:lnTo>
                    <a:pt x="3752" y="10104"/>
                  </a:lnTo>
                  <a:lnTo>
                    <a:pt x="3616" y="10013"/>
                  </a:lnTo>
                  <a:lnTo>
                    <a:pt x="3458" y="9878"/>
                  </a:lnTo>
                  <a:lnTo>
                    <a:pt x="3300" y="9719"/>
                  </a:lnTo>
                  <a:lnTo>
                    <a:pt x="3142" y="9516"/>
                  </a:lnTo>
                  <a:lnTo>
                    <a:pt x="2983" y="9290"/>
                  </a:lnTo>
                  <a:lnTo>
                    <a:pt x="2667" y="8793"/>
                  </a:lnTo>
                  <a:lnTo>
                    <a:pt x="2351" y="8205"/>
                  </a:lnTo>
                  <a:lnTo>
                    <a:pt x="2012" y="7550"/>
                  </a:lnTo>
                  <a:lnTo>
                    <a:pt x="1695" y="6872"/>
                  </a:lnTo>
                  <a:lnTo>
                    <a:pt x="1401" y="6193"/>
                  </a:lnTo>
                  <a:lnTo>
                    <a:pt x="859" y="4837"/>
                  </a:lnTo>
                  <a:lnTo>
                    <a:pt x="407" y="3662"/>
                  </a:lnTo>
                  <a:lnTo>
                    <a:pt x="0" y="2532"/>
                  </a:lnTo>
                  <a:lnTo>
                    <a:pt x="370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78" name="Google Shape;1678;p16"/>
            <p:cNvSpPr/>
            <p:nvPr/>
          </p:nvSpPr>
          <p:spPr>
            <a:xfrm>
              <a:off x="5837625" y="2110225"/>
              <a:ext cx="432825" cy="255425"/>
            </a:xfrm>
            <a:custGeom>
              <a:avLst/>
              <a:gdLst/>
              <a:ahLst/>
              <a:cxnLst/>
              <a:rect l="l" t="t" r="r" b="b"/>
              <a:pathLst>
                <a:path w="17313" h="10217" extrusionOk="0">
                  <a:moveTo>
                    <a:pt x="2871" y="1"/>
                  </a:moveTo>
                  <a:lnTo>
                    <a:pt x="972" y="1289"/>
                  </a:lnTo>
                  <a:lnTo>
                    <a:pt x="746" y="2193"/>
                  </a:lnTo>
                  <a:lnTo>
                    <a:pt x="498" y="3074"/>
                  </a:lnTo>
                  <a:lnTo>
                    <a:pt x="249" y="3956"/>
                  </a:lnTo>
                  <a:lnTo>
                    <a:pt x="0" y="4815"/>
                  </a:lnTo>
                  <a:lnTo>
                    <a:pt x="339" y="5628"/>
                  </a:lnTo>
                  <a:lnTo>
                    <a:pt x="701" y="6510"/>
                  </a:lnTo>
                  <a:lnTo>
                    <a:pt x="1085" y="7369"/>
                  </a:lnTo>
                  <a:lnTo>
                    <a:pt x="1492" y="8182"/>
                  </a:lnTo>
                  <a:lnTo>
                    <a:pt x="1899" y="8906"/>
                  </a:lnTo>
                  <a:lnTo>
                    <a:pt x="2102" y="9222"/>
                  </a:lnTo>
                  <a:lnTo>
                    <a:pt x="2306" y="9516"/>
                  </a:lnTo>
                  <a:lnTo>
                    <a:pt x="2509" y="9742"/>
                  </a:lnTo>
                  <a:lnTo>
                    <a:pt x="2690" y="9945"/>
                  </a:lnTo>
                  <a:lnTo>
                    <a:pt x="2871" y="10081"/>
                  </a:lnTo>
                  <a:lnTo>
                    <a:pt x="3051" y="10171"/>
                  </a:lnTo>
                  <a:lnTo>
                    <a:pt x="3300" y="10217"/>
                  </a:lnTo>
                  <a:lnTo>
                    <a:pt x="3617" y="10217"/>
                  </a:lnTo>
                  <a:lnTo>
                    <a:pt x="4182" y="10194"/>
                  </a:lnTo>
                  <a:lnTo>
                    <a:pt x="4882" y="10126"/>
                  </a:lnTo>
                  <a:lnTo>
                    <a:pt x="5673" y="10036"/>
                  </a:lnTo>
                  <a:lnTo>
                    <a:pt x="6555" y="9900"/>
                  </a:lnTo>
                  <a:lnTo>
                    <a:pt x="8476" y="9584"/>
                  </a:lnTo>
                  <a:lnTo>
                    <a:pt x="10465" y="9199"/>
                  </a:lnTo>
                  <a:lnTo>
                    <a:pt x="12341" y="8838"/>
                  </a:lnTo>
                  <a:lnTo>
                    <a:pt x="13945" y="8499"/>
                  </a:lnTo>
                  <a:lnTo>
                    <a:pt x="15121" y="8250"/>
                  </a:lnTo>
                  <a:lnTo>
                    <a:pt x="15640" y="8160"/>
                  </a:lnTo>
                  <a:lnTo>
                    <a:pt x="15731" y="8137"/>
                  </a:lnTo>
                  <a:lnTo>
                    <a:pt x="15844" y="8069"/>
                  </a:lnTo>
                  <a:lnTo>
                    <a:pt x="15957" y="7979"/>
                  </a:lnTo>
                  <a:lnTo>
                    <a:pt x="16092" y="7866"/>
                  </a:lnTo>
                  <a:lnTo>
                    <a:pt x="16364" y="7550"/>
                  </a:lnTo>
                  <a:lnTo>
                    <a:pt x="16658" y="7165"/>
                  </a:lnTo>
                  <a:lnTo>
                    <a:pt x="16906" y="6781"/>
                  </a:lnTo>
                  <a:lnTo>
                    <a:pt x="17110" y="6397"/>
                  </a:lnTo>
                  <a:lnTo>
                    <a:pt x="17200" y="6193"/>
                  </a:lnTo>
                  <a:lnTo>
                    <a:pt x="17268" y="6035"/>
                  </a:lnTo>
                  <a:lnTo>
                    <a:pt x="17313" y="5877"/>
                  </a:lnTo>
                  <a:lnTo>
                    <a:pt x="17313" y="5741"/>
                  </a:lnTo>
                  <a:lnTo>
                    <a:pt x="17313" y="5651"/>
                  </a:lnTo>
                  <a:lnTo>
                    <a:pt x="17268" y="5583"/>
                  </a:lnTo>
                  <a:lnTo>
                    <a:pt x="17200" y="5561"/>
                  </a:lnTo>
                  <a:lnTo>
                    <a:pt x="17064" y="5538"/>
                  </a:lnTo>
                  <a:lnTo>
                    <a:pt x="16612" y="5515"/>
                  </a:lnTo>
                  <a:lnTo>
                    <a:pt x="16047" y="5515"/>
                  </a:lnTo>
                  <a:lnTo>
                    <a:pt x="15369" y="5561"/>
                  </a:lnTo>
                  <a:lnTo>
                    <a:pt x="13674" y="5674"/>
                  </a:lnTo>
                  <a:lnTo>
                    <a:pt x="11708" y="5832"/>
                  </a:lnTo>
                  <a:lnTo>
                    <a:pt x="9651" y="6013"/>
                  </a:lnTo>
                  <a:lnTo>
                    <a:pt x="5967" y="6374"/>
                  </a:lnTo>
                  <a:lnTo>
                    <a:pt x="4679" y="6487"/>
                  </a:lnTo>
                  <a:lnTo>
                    <a:pt x="4001" y="6533"/>
                  </a:lnTo>
                  <a:lnTo>
                    <a:pt x="3978" y="6533"/>
                  </a:lnTo>
                  <a:lnTo>
                    <a:pt x="3910" y="6510"/>
                  </a:lnTo>
                  <a:lnTo>
                    <a:pt x="3865" y="6465"/>
                  </a:lnTo>
                  <a:lnTo>
                    <a:pt x="3797" y="6397"/>
                  </a:lnTo>
                  <a:lnTo>
                    <a:pt x="3752" y="6306"/>
                  </a:lnTo>
                  <a:lnTo>
                    <a:pt x="3639" y="6058"/>
                  </a:lnTo>
                  <a:lnTo>
                    <a:pt x="3571" y="5719"/>
                  </a:lnTo>
                  <a:lnTo>
                    <a:pt x="3503" y="5335"/>
                  </a:lnTo>
                  <a:lnTo>
                    <a:pt x="3436" y="4883"/>
                  </a:lnTo>
                  <a:lnTo>
                    <a:pt x="3345" y="3866"/>
                  </a:lnTo>
                  <a:lnTo>
                    <a:pt x="3255" y="2781"/>
                  </a:lnTo>
                  <a:lnTo>
                    <a:pt x="3164" y="1696"/>
                  </a:lnTo>
                  <a:lnTo>
                    <a:pt x="3119" y="1199"/>
                  </a:lnTo>
                  <a:lnTo>
                    <a:pt x="3051" y="747"/>
                  </a:lnTo>
                  <a:lnTo>
                    <a:pt x="2961" y="340"/>
                  </a:lnTo>
                  <a:lnTo>
                    <a:pt x="2871" y="1"/>
                  </a:lnTo>
                  <a:close/>
                </a:path>
              </a:pathLst>
            </a:custGeom>
            <a:solidFill>
              <a:srgbClr val="C1352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79" name="Google Shape;1679;p16"/>
            <p:cNvSpPr/>
            <p:nvPr/>
          </p:nvSpPr>
          <p:spPr>
            <a:xfrm>
              <a:off x="5837625" y="2110225"/>
              <a:ext cx="432825" cy="255425"/>
            </a:xfrm>
            <a:custGeom>
              <a:avLst/>
              <a:gdLst/>
              <a:ahLst/>
              <a:cxnLst/>
              <a:rect l="l" t="t" r="r" b="b"/>
              <a:pathLst>
                <a:path w="17313" h="10217" fill="none" extrusionOk="0">
                  <a:moveTo>
                    <a:pt x="2871" y="1"/>
                  </a:moveTo>
                  <a:lnTo>
                    <a:pt x="972" y="1289"/>
                  </a:lnTo>
                  <a:lnTo>
                    <a:pt x="972" y="1289"/>
                  </a:lnTo>
                  <a:lnTo>
                    <a:pt x="746" y="2193"/>
                  </a:lnTo>
                  <a:lnTo>
                    <a:pt x="498" y="3074"/>
                  </a:lnTo>
                  <a:lnTo>
                    <a:pt x="249" y="3956"/>
                  </a:lnTo>
                  <a:lnTo>
                    <a:pt x="0" y="4815"/>
                  </a:lnTo>
                  <a:lnTo>
                    <a:pt x="0" y="4815"/>
                  </a:lnTo>
                  <a:lnTo>
                    <a:pt x="339" y="5628"/>
                  </a:lnTo>
                  <a:lnTo>
                    <a:pt x="701" y="6510"/>
                  </a:lnTo>
                  <a:lnTo>
                    <a:pt x="1085" y="7369"/>
                  </a:lnTo>
                  <a:lnTo>
                    <a:pt x="1492" y="8182"/>
                  </a:lnTo>
                  <a:lnTo>
                    <a:pt x="1899" y="8906"/>
                  </a:lnTo>
                  <a:lnTo>
                    <a:pt x="2102" y="9222"/>
                  </a:lnTo>
                  <a:lnTo>
                    <a:pt x="2306" y="9516"/>
                  </a:lnTo>
                  <a:lnTo>
                    <a:pt x="2509" y="9742"/>
                  </a:lnTo>
                  <a:lnTo>
                    <a:pt x="2690" y="9945"/>
                  </a:lnTo>
                  <a:lnTo>
                    <a:pt x="2871" y="10081"/>
                  </a:lnTo>
                  <a:lnTo>
                    <a:pt x="3051" y="10171"/>
                  </a:lnTo>
                  <a:lnTo>
                    <a:pt x="3051" y="10171"/>
                  </a:lnTo>
                  <a:lnTo>
                    <a:pt x="3300" y="10217"/>
                  </a:lnTo>
                  <a:lnTo>
                    <a:pt x="3617" y="10217"/>
                  </a:lnTo>
                  <a:lnTo>
                    <a:pt x="3617" y="10217"/>
                  </a:lnTo>
                  <a:lnTo>
                    <a:pt x="4182" y="10194"/>
                  </a:lnTo>
                  <a:lnTo>
                    <a:pt x="4882" y="10126"/>
                  </a:lnTo>
                  <a:lnTo>
                    <a:pt x="5673" y="10036"/>
                  </a:lnTo>
                  <a:lnTo>
                    <a:pt x="6555" y="9900"/>
                  </a:lnTo>
                  <a:lnTo>
                    <a:pt x="8476" y="9584"/>
                  </a:lnTo>
                  <a:lnTo>
                    <a:pt x="10465" y="9199"/>
                  </a:lnTo>
                  <a:lnTo>
                    <a:pt x="12341" y="8838"/>
                  </a:lnTo>
                  <a:lnTo>
                    <a:pt x="13945" y="8499"/>
                  </a:lnTo>
                  <a:lnTo>
                    <a:pt x="15121" y="8250"/>
                  </a:lnTo>
                  <a:lnTo>
                    <a:pt x="15640" y="8160"/>
                  </a:lnTo>
                  <a:lnTo>
                    <a:pt x="15640" y="8160"/>
                  </a:lnTo>
                  <a:lnTo>
                    <a:pt x="15731" y="8137"/>
                  </a:lnTo>
                  <a:lnTo>
                    <a:pt x="15844" y="8069"/>
                  </a:lnTo>
                  <a:lnTo>
                    <a:pt x="15957" y="7979"/>
                  </a:lnTo>
                  <a:lnTo>
                    <a:pt x="16092" y="7866"/>
                  </a:lnTo>
                  <a:lnTo>
                    <a:pt x="16364" y="7550"/>
                  </a:lnTo>
                  <a:lnTo>
                    <a:pt x="16658" y="7165"/>
                  </a:lnTo>
                  <a:lnTo>
                    <a:pt x="16906" y="6781"/>
                  </a:lnTo>
                  <a:lnTo>
                    <a:pt x="17110" y="6397"/>
                  </a:lnTo>
                  <a:lnTo>
                    <a:pt x="17200" y="6193"/>
                  </a:lnTo>
                  <a:lnTo>
                    <a:pt x="17268" y="6035"/>
                  </a:lnTo>
                  <a:lnTo>
                    <a:pt x="17313" y="5877"/>
                  </a:lnTo>
                  <a:lnTo>
                    <a:pt x="17313" y="5741"/>
                  </a:lnTo>
                  <a:lnTo>
                    <a:pt x="17313" y="5741"/>
                  </a:lnTo>
                  <a:lnTo>
                    <a:pt x="17313" y="5651"/>
                  </a:lnTo>
                  <a:lnTo>
                    <a:pt x="17268" y="5583"/>
                  </a:lnTo>
                  <a:lnTo>
                    <a:pt x="17268" y="5583"/>
                  </a:lnTo>
                  <a:lnTo>
                    <a:pt x="17200" y="5561"/>
                  </a:lnTo>
                  <a:lnTo>
                    <a:pt x="17064" y="5538"/>
                  </a:lnTo>
                  <a:lnTo>
                    <a:pt x="16612" y="5515"/>
                  </a:lnTo>
                  <a:lnTo>
                    <a:pt x="16612" y="5515"/>
                  </a:lnTo>
                  <a:lnTo>
                    <a:pt x="16047" y="5515"/>
                  </a:lnTo>
                  <a:lnTo>
                    <a:pt x="15369" y="5561"/>
                  </a:lnTo>
                  <a:lnTo>
                    <a:pt x="13674" y="5674"/>
                  </a:lnTo>
                  <a:lnTo>
                    <a:pt x="11708" y="5832"/>
                  </a:lnTo>
                  <a:lnTo>
                    <a:pt x="9651" y="6013"/>
                  </a:lnTo>
                  <a:lnTo>
                    <a:pt x="9651" y="6013"/>
                  </a:lnTo>
                  <a:lnTo>
                    <a:pt x="5967" y="6374"/>
                  </a:lnTo>
                  <a:lnTo>
                    <a:pt x="4679" y="6487"/>
                  </a:lnTo>
                  <a:lnTo>
                    <a:pt x="4001" y="6533"/>
                  </a:lnTo>
                  <a:lnTo>
                    <a:pt x="4001" y="6533"/>
                  </a:lnTo>
                  <a:lnTo>
                    <a:pt x="3978" y="6533"/>
                  </a:lnTo>
                  <a:lnTo>
                    <a:pt x="3978" y="6533"/>
                  </a:lnTo>
                  <a:lnTo>
                    <a:pt x="3910" y="6510"/>
                  </a:lnTo>
                  <a:lnTo>
                    <a:pt x="3865" y="6465"/>
                  </a:lnTo>
                  <a:lnTo>
                    <a:pt x="3797" y="6397"/>
                  </a:lnTo>
                  <a:lnTo>
                    <a:pt x="3752" y="6306"/>
                  </a:lnTo>
                  <a:lnTo>
                    <a:pt x="3639" y="6058"/>
                  </a:lnTo>
                  <a:lnTo>
                    <a:pt x="3571" y="5719"/>
                  </a:lnTo>
                  <a:lnTo>
                    <a:pt x="3503" y="5335"/>
                  </a:lnTo>
                  <a:lnTo>
                    <a:pt x="3436" y="4883"/>
                  </a:lnTo>
                  <a:lnTo>
                    <a:pt x="3345" y="3866"/>
                  </a:lnTo>
                  <a:lnTo>
                    <a:pt x="3255" y="2781"/>
                  </a:lnTo>
                  <a:lnTo>
                    <a:pt x="3164" y="1696"/>
                  </a:lnTo>
                  <a:lnTo>
                    <a:pt x="3119" y="1199"/>
                  </a:lnTo>
                  <a:lnTo>
                    <a:pt x="3051" y="747"/>
                  </a:lnTo>
                  <a:lnTo>
                    <a:pt x="2961" y="340"/>
                  </a:lnTo>
                  <a:lnTo>
                    <a:pt x="287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80" name="Google Shape;1680;p16"/>
            <p:cNvSpPr/>
            <p:nvPr/>
          </p:nvSpPr>
          <p:spPr>
            <a:xfrm>
              <a:off x="5450000" y="2546425"/>
              <a:ext cx="520425" cy="1021625"/>
            </a:xfrm>
            <a:custGeom>
              <a:avLst/>
              <a:gdLst/>
              <a:ahLst/>
              <a:cxnLst/>
              <a:rect l="l" t="t" r="r" b="b"/>
              <a:pathLst>
                <a:path w="20817" h="40865" extrusionOk="0">
                  <a:moveTo>
                    <a:pt x="679" y="1"/>
                  </a:moveTo>
                  <a:lnTo>
                    <a:pt x="543" y="24"/>
                  </a:lnTo>
                  <a:lnTo>
                    <a:pt x="408" y="69"/>
                  </a:lnTo>
                  <a:lnTo>
                    <a:pt x="295" y="137"/>
                  </a:lnTo>
                  <a:lnTo>
                    <a:pt x="181" y="250"/>
                  </a:lnTo>
                  <a:lnTo>
                    <a:pt x="91" y="363"/>
                  </a:lnTo>
                  <a:lnTo>
                    <a:pt x="46" y="476"/>
                  </a:lnTo>
                  <a:lnTo>
                    <a:pt x="1" y="611"/>
                  </a:lnTo>
                  <a:lnTo>
                    <a:pt x="1" y="747"/>
                  </a:lnTo>
                  <a:lnTo>
                    <a:pt x="23" y="905"/>
                  </a:lnTo>
                  <a:lnTo>
                    <a:pt x="68" y="1041"/>
                  </a:lnTo>
                  <a:lnTo>
                    <a:pt x="19438" y="40457"/>
                  </a:lnTo>
                  <a:lnTo>
                    <a:pt x="19506" y="40593"/>
                  </a:lnTo>
                  <a:lnTo>
                    <a:pt x="19619" y="40683"/>
                  </a:lnTo>
                  <a:lnTo>
                    <a:pt x="19732" y="40774"/>
                  </a:lnTo>
                  <a:lnTo>
                    <a:pt x="19845" y="40842"/>
                  </a:lnTo>
                  <a:lnTo>
                    <a:pt x="19980" y="40864"/>
                  </a:lnTo>
                  <a:lnTo>
                    <a:pt x="20139" y="40864"/>
                  </a:lnTo>
                  <a:lnTo>
                    <a:pt x="20274" y="40842"/>
                  </a:lnTo>
                  <a:lnTo>
                    <a:pt x="20410" y="40796"/>
                  </a:lnTo>
                  <a:lnTo>
                    <a:pt x="20523" y="40729"/>
                  </a:lnTo>
                  <a:lnTo>
                    <a:pt x="20636" y="40616"/>
                  </a:lnTo>
                  <a:lnTo>
                    <a:pt x="20704" y="40503"/>
                  </a:lnTo>
                  <a:lnTo>
                    <a:pt x="20771" y="40390"/>
                  </a:lnTo>
                  <a:lnTo>
                    <a:pt x="20794" y="40254"/>
                  </a:lnTo>
                  <a:lnTo>
                    <a:pt x="20817" y="40096"/>
                  </a:lnTo>
                  <a:lnTo>
                    <a:pt x="20794" y="39960"/>
                  </a:lnTo>
                  <a:lnTo>
                    <a:pt x="20726" y="39825"/>
                  </a:lnTo>
                  <a:lnTo>
                    <a:pt x="1379" y="408"/>
                  </a:lnTo>
                  <a:lnTo>
                    <a:pt x="1289" y="272"/>
                  </a:lnTo>
                  <a:lnTo>
                    <a:pt x="1199" y="159"/>
                  </a:lnTo>
                  <a:lnTo>
                    <a:pt x="1086" y="91"/>
                  </a:lnTo>
                  <a:lnTo>
                    <a:pt x="973" y="24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81" name="Google Shape;1681;p16"/>
            <p:cNvSpPr/>
            <p:nvPr/>
          </p:nvSpPr>
          <p:spPr>
            <a:xfrm>
              <a:off x="5707650" y="1873475"/>
              <a:ext cx="207975" cy="600100"/>
            </a:xfrm>
            <a:custGeom>
              <a:avLst/>
              <a:gdLst/>
              <a:ahLst/>
              <a:cxnLst/>
              <a:rect l="l" t="t" r="r" b="b"/>
              <a:pathLst>
                <a:path w="8319" h="24004" extrusionOk="0">
                  <a:moveTo>
                    <a:pt x="6940" y="1"/>
                  </a:moveTo>
                  <a:lnTo>
                    <a:pt x="6872" y="23"/>
                  </a:lnTo>
                  <a:lnTo>
                    <a:pt x="6804" y="46"/>
                  </a:lnTo>
                  <a:lnTo>
                    <a:pt x="6759" y="91"/>
                  </a:lnTo>
                  <a:lnTo>
                    <a:pt x="6736" y="182"/>
                  </a:lnTo>
                  <a:lnTo>
                    <a:pt x="6714" y="272"/>
                  </a:lnTo>
                  <a:lnTo>
                    <a:pt x="6691" y="408"/>
                  </a:lnTo>
                  <a:lnTo>
                    <a:pt x="6714" y="566"/>
                  </a:lnTo>
                  <a:lnTo>
                    <a:pt x="6759" y="747"/>
                  </a:lnTo>
                  <a:lnTo>
                    <a:pt x="6759" y="905"/>
                  </a:lnTo>
                  <a:lnTo>
                    <a:pt x="6714" y="1199"/>
                  </a:lnTo>
                  <a:lnTo>
                    <a:pt x="6646" y="1583"/>
                  </a:lnTo>
                  <a:lnTo>
                    <a:pt x="6533" y="2057"/>
                  </a:lnTo>
                  <a:lnTo>
                    <a:pt x="6216" y="3278"/>
                  </a:lnTo>
                  <a:lnTo>
                    <a:pt x="5810" y="4792"/>
                  </a:lnTo>
                  <a:lnTo>
                    <a:pt x="5312" y="6533"/>
                  </a:lnTo>
                  <a:lnTo>
                    <a:pt x="4725" y="8454"/>
                  </a:lnTo>
                  <a:lnTo>
                    <a:pt x="3482" y="12567"/>
                  </a:lnTo>
                  <a:lnTo>
                    <a:pt x="2193" y="16635"/>
                  </a:lnTo>
                  <a:lnTo>
                    <a:pt x="1086" y="20139"/>
                  </a:lnTo>
                  <a:lnTo>
                    <a:pt x="1" y="23551"/>
                  </a:lnTo>
                  <a:lnTo>
                    <a:pt x="204" y="23664"/>
                  </a:lnTo>
                  <a:lnTo>
                    <a:pt x="453" y="23755"/>
                  </a:lnTo>
                  <a:lnTo>
                    <a:pt x="747" y="23868"/>
                  </a:lnTo>
                  <a:lnTo>
                    <a:pt x="1108" y="23958"/>
                  </a:lnTo>
                  <a:lnTo>
                    <a:pt x="1312" y="23981"/>
                  </a:lnTo>
                  <a:lnTo>
                    <a:pt x="1515" y="24003"/>
                  </a:lnTo>
                  <a:lnTo>
                    <a:pt x="1741" y="24003"/>
                  </a:lnTo>
                  <a:lnTo>
                    <a:pt x="1945" y="23981"/>
                  </a:lnTo>
                  <a:lnTo>
                    <a:pt x="2171" y="23913"/>
                  </a:lnTo>
                  <a:lnTo>
                    <a:pt x="2397" y="23845"/>
                  </a:lnTo>
                  <a:lnTo>
                    <a:pt x="2510" y="23777"/>
                  </a:lnTo>
                  <a:lnTo>
                    <a:pt x="2645" y="23642"/>
                  </a:lnTo>
                  <a:lnTo>
                    <a:pt x="2781" y="23484"/>
                  </a:lnTo>
                  <a:lnTo>
                    <a:pt x="2939" y="23258"/>
                  </a:lnTo>
                  <a:lnTo>
                    <a:pt x="3278" y="22693"/>
                  </a:lnTo>
                  <a:lnTo>
                    <a:pt x="3640" y="21969"/>
                  </a:lnTo>
                  <a:lnTo>
                    <a:pt x="4047" y="21110"/>
                  </a:lnTo>
                  <a:lnTo>
                    <a:pt x="4453" y="20161"/>
                  </a:lnTo>
                  <a:lnTo>
                    <a:pt x="4883" y="19099"/>
                  </a:lnTo>
                  <a:lnTo>
                    <a:pt x="5312" y="17991"/>
                  </a:lnTo>
                  <a:lnTo>
                    <a:pt x="5742" y="16861"/>
                  </a:lnTo>
                  <a:lnTo>
                    <a:pt x="6171" y="15686"/>
                  </a:lnTo>
                  <a:lnTo>
                    <a:pt x="6940" y="13403"/>
                  </a:lnTo>
                  <a:lnTo>
                    <a:pt x="7595" y="11347"/>
                  </a:lnTo>
                  <a:lnTo>
                    <a:pt x="7866" y="10443"/>
                  </a:lnTo>
                  <a:lnTo>
                    <a:pt x="8092" y="9652"/>
                  </a:lnTo>
                  <a:lnTo>
                    <a:pt x="8160" y="9267"/>
                  </a:lnTo>
                  <a:lnTo>
                    <a:pt x="8228" y="8770"/>
                  </a:lnTo>
                  <a:lnTo>
                    <a:pt x="8273" y="8228"/>
                  </a:lnTo>
                  <a:lnTo>
                    <a:pt x="8318" y="7595"/>
                  </a:lnTo>
                  <a:lnTo>
                    <a:pt x="8318" y="6939"/>
                  </a:lnTo>
                  <a:lnTo>
                    <a:pt x="8318" y="6239"/>
                  </a:lnTo>
                  <a:lnTo>
                    <a:pt x="8296" y="5515"/>
                  </a:lnTo>
                  <a:lnTo>
                    <a:pt x="8273" y="4792"/>
                  </a:lnTo>
                  <a:lnTo>
                    <a:pt x="8205" y="4046"/>
                  </a:lnTo>
                  <a:lnTo>
                    <a:pt x="8137" y="3346"/>
                  </a:lnTo>
                  <a:lnTo>
                    <a:pt x="8047" y="2645"/>
                  </a:lnTo>
                  <a:lnTo>
                    <a:pt x="7934" y="2012"/>
                  </a:lnTo>
                  <a:lnTo>
                    <a:pt x="7821" y="1425"/>
                  </a:lnTo>
                  <a:lnTo>
                    <a:pt x="7663" y="905"/>
                  </a:lnTo>
                  <a:lnTo>
                    <a:pt x="7505" y="453"/>
                  </a:lnTo>
                  <a:lnTo>
                    <a:pt x="7414" y="272"/>
                  </a:lnTo>
                  <a:lnTo>
                    <a:pt x="7324" y="114"/>
                  </a:lnTo>
                  <a:lnTo>
                    <a:pt x="7188" y="46"/>
                  </a:lnTo>
                  <a:lnTo>
                    <a:pt x="7075" y="1"/>
                  </a:lnTo>
                  <a:close/>
                </a:path>
              </a:pathLst>
            </a:custGeom>
            <a:solidFill>
              <a:srgbClr val="DE36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82" name="Google Shape;1682;p16"/>
            <p:cNvSpPr/>
            <p:nvPr/>
          </p:nvSpPr>
          <p:spPr>
            <a:xfrm>
              <a:off x="5363550" y="2516500"/>
              <a:ext cx="502900" cy="217550"/>
            </a:xfrm>
            <a:custGeom>
              <a:avLst/>
              <a:gdLst/>
              <a:ahLst/>
              <a:cxnLst/>
              <a:rect l="l" t="t" r="r" b="b"/>
              <a:pathLst>
                <a:path w="20116" h="8702" extrusionOk="0">
                  <a:moveTo>
                    <a:pt x="1402" y="0"/>
                  </a:moveTo>
                  <a:lnTo>
                    <a:pt x="1266" y="23"/>
                  </a:lnTo>
                  <a:lnTo>
                    <a:pt x="1108" y="68"/>
                  </a:lnTo>
                  <a:lnTo>
                    <a:pt x="973" y="113"/>
                  </a:lnTo>
                  <a:lnTo>
                    <a:pt x="837" y="203"/>
                  </a:lnTo>
                  <a:lnTo>
                    <a:pt x="701" y="317"/>
                  </a:lnTo>
                  <a:lnTo>
                    <a:pt x="566" y="452"/>
                  </a:lnTo>
                  <a:lnTo>
                    <a:pt x="430" y="610"/>
                  </a:lnTo>
                  <a:lnTo>
                    <a:pt x="340" y="769"/>
                  </a:lnTo>
                  <a:lnTo>
                    <a:pt x="249" y="927"/>
                  </a:lnTo>
                  <a:lnTo>
                    <a:pt x="159" y="1130"/>
                  </a:lnTo>
                  <a:lnTo>
                    <a:pt x="114" y="1334"/>
                  </a:lnTo>
                  <a:lnTo>
                    <a:pt x="68" y="1537"/>
                  </a:lnTo>
                  <a:lnTo>
                    <a:pt x="23" y="1763"/>
                  </a:lnTo>
                  <a:lnTo>
                    <a:pt x="1" y="2260"/>
                  </a:lnTo>
                  <a:lnTo>
                    <a:pt x="1" y="2780"/>
                  </a:lnTo>
                  <a:lnTo>
                    <a:pt x="68" y="3300"/>
                  </a:lnTo>
                  <a:lnTo>
                    <a:pt x="181" y="3842"/>
                  </a:lnTo>
                  <a:lnTo>
                    <a:pt x="317" y="4407"/>
                  </a:lnTo>
                  <a:lnTo>
                    <a:pt x="520" y="4927"/>
                  </a:lnTo>
                  <a:lnTo>
                    <a:pt x="747" y="5447"/>
                  </a:lnTo>
                  <a:lnTo>
                    <a:pt x="1018" y="5944"/>
                  </a:lnTo>
                  <a:lnTo>
                    <a:pt x="1312" y="6396"/>
                  </a:lnTo>
                  <a:lnTo>
                    <a:pt x="1470" y="6600"/>
                  </a:lnTo>
                  <a:lnTo>
                    <a:pt x="1628" y="6780"/>
                  </a:lnTo>
                  <a:lnTo>
                    <a:pt x="1809" y="6961"/>
                  </a:lnTo>
                  <a:lnTo>
                    <a:pt x="1990" y="7120"/>
                  </a:lnTo>
                  <a:lnTo>
                    <a:pt x="2170" y="7278"/>
                  </a:lnTo>
                  <a:lnTo>
                    <a:pt x="2374" y="7391"/>
                  </a:lnTo>
                  <a:lnTo>
                    <a:pt x="2555" y="7504"/>
                  </a:lnTo>
                  <a:lnTo>
                    <a:pt x="2781" y="7594"/>
                  </a:lnTo>
                  <a:lnTo>
                    <a:pt x="3007" y="7662"/>
                  </a:lnTo>
                  <a:lnTo>
                    <a:pt x="3300" y="7730"/>
                  </a:lnTo>
                  <a:lnTo>
                    <a:pt x="4046" y="7888"/>
                  </a:lnTo>
                  <a:lnTo>
                    <a:pt x="4973" y="8046"/>
                  </a:lnTo>
                  <a:lnTo>
                    <a:pt x="6035" y="8182"/>
                  </a:lnTo>
                  <a:lnTo>
                    <a:pt x="7233" y="8295"/>
                  </a:lnTo>
                  <a:lnTo>
                    <a:pt x="8521" y="8430"/>
                  </a:lnTo>
                  <a:lnTo>
                    <a:pt x="9855" y="8521"/>
                  </a:lnTo>
                  <a:lnTo>
                    <a:pt x="11211" y="8611"/>
                  </a:lnTo>
                  <a:lnTo>
                    <a:pt x="12544" y="8656"/>
                  </a:lnTo>
                  <a:lnTo>
                    <a:pt x="13855" y="8702"/>
                  </a:lnTo>
                  <a:lnTo>
                    <a:pt x="15098" y="8702"/>
                  </a:lnTo>
                  <a:lnTo>
                    <a:pt x="16228" y="8656"/>
                  </a:lnTo>
                  <a:lnTo>
                    <a:pt x="17223" y="8611"/>
                  </a:lnTo>
                  <a:lnTo>
                    <a:pt x="17652" y="8543"/>
                  </a:lnTo>
                  <a:lnTo>
                    <a:pt x="18059" y="8498"/>
                  </a:lnTo>
                  <a:lnTo>
                    <a:pt x="18398" y="8430"/>
                  </a:lnTo>
                  <a:lnTo>
                    <a:pt x="18692" y="8340"/>
                  </a:lnTo>
                  <a:lnTo>
                    <a:pt x="18918" y="8250"/>
                  </a:lnTo>
                  <a:lnTo>
                    <a:pt x="19099" y="8159"/>
                  </a:lnTo>
                  <a:lnTo>
                    <a:pt x="19212" y="8046"/>
                  </a:lnTo>
                  <a:lnTo>
                    <a:pt x="19325" y="7911"/>
                  </a:lnTo>
                  <a:lnTo>
                    <a:pt x="19438" y="7775"/>
                  </a:lnTo>
                  <a:lnTo>
                    <a:pt x="19551" y="7617"/>
                  </a:lnTo>
                  <a:lnTo>
                    <a:pt x="19709" y="7300"/>
                  </a:lnTo>
                  <a:lnTo>
                    <a:pt x="19867" y="6916"/>
                  </a:lnTo>
                  <a:lnTo>
                    <a:pt x="19980" y="6509"/>
                  </a:lnTo>
                  <a:lnTo>
                    <a:pt x="20048" y="6080"/>
                  </a:lnTo>
                  <a:lnTo>
                    <a:pt x="20093" y="5650"/>
                  </a:lnTo>
                  <a:lnTo>
                    <a:pt x="20116" y="5198"/>
                  </a:lnTo>
                  <a:lnTo>
                    <a:pt x="20071" y="4769"/>
                  </a:lnTo>
                  <a:lnTo>
                    <a:pt x="20003" y="4340"/>
                  </a:lnTo>
                  <a:lnTo>
                    <a:pt x="19913" y="3933"/>
                  </a:lnTo>
                  <a:lnTo>
                    <a:pt x="19777" y="3548"/>
                  </a:lnTo>
                  <a:lnTo>
                    <a:pt x="19687" y="3390"/>
                  </a:lnTo>
                  <a:lnTo>
                    <a:pt x="19596" y="3209"/>
                  </a:lnTo>
                  <a:lnTo>
                    <a:pt x="19483" y="3051"/>
                  </a:lnTo>
                  <a:lnTo>
                    <a:pt x="19370" y="2916"/>
                  </a:lnTo>
                  <a:lnTo>
                    <a:pt x="19234" y="2803"/>
                  </a:lnTo>
                  <a:lnTo>
                    <a:pt x="19099" y="2690"/>
                  </a:lnTo>
                  <a:lnTo>
                    <a:pt x="18963" y="2577"/>
                  </a:lnTo>
                  <a:lnTo>
                    <a:pt x="18805" y="2509"/>
                  </a:lnTo>
                  <a:lnTo>
                    <a:pt x="18534" y="2396"/>
                  </a:lnTo>
                  <a:lnTo>
                    <a:pt x="18240" y="2305"/>
                  </a:lnTo>
                  <a:lnTo>
                    <a:pt x="17924" y="2215"/>
                  </a:lnTo>
                  <a:lnTo>
                    <a:pt x="17562" y="2147"/>
                  </a:lnTo>
                  <a:lnTo>
                    <a:pt x="16771" y="2034"/>
                  </a:lnTo>
                  <a:lnTo>
                    <a:pt x="15912" y="1966"/>
                  </a:lnTo>
                  <a:lnTo>
                    <a:pt x="14985" y="1921"/>
                  </a:lnTo>
                  <a:lnTo>
                    <a:pt x="13991" y="1899"/>
                  </a:lnTo>
                  <a:lnTo>
                    <a:pt x="11979" y="1899"/>
                  </a:lnTo>
                  <a:lnTo>
                    <a:pt x="9991" y="1966"/>
                  </a:lnTo>
                  <a:lnTo>
                    <a:pt x="8160" y="2034"/>
                  </a:lnTo>
                  <a:lnTo>
                    <a:pt x="7369" y="2057"/>
                  </a:lnTo>
                  <a:lnTo>
                    <a:pt x="6668" y="2057"/>
                  </a:lnTo>
                  <a:lnTo>
                    <a:pt x="6080" y="2034"/>
                  </a:lnTo>
                  <a:lnTo>
                    <a:pt x="5628" y="2012"/>
                  </a:lnTo>
                  <a:lnTo>
                    <a:pt x="5448" y="1966"/>
                  </a:lnTo>
                  <a:lnTo>
                    <a:pt x="5267" y="1921"/>
                  </a:lnTo>
                  <a:lnTo>
                    <a:pt x="4905" y="1786"/>
                  </a:lnTo>
                  <a:lnTo>
                    <a:pt x="4544" y="1627"/>
                  </a:lnTo>
                  <a:lnTo>
                    <a:pt x="4182" y="1424"/>
                  </a:lnTo>
                  <a:lnTo>
                    <a:pt x="3481" y="949"/>
                  </a:lnTo>
                  <a:lnTo>
                    <a:pt x="2803" y="520"/>
                  </a:lnTo>
                  <a:lnTo>
                    <a:pt x="2487" y="317"/>
                  </a:lnTo>
                  <a:lnTo>
                    <a:pt x="2170" y="158"/>
                  </a:lnTo>
                  <a:lnTo>
                    <a:pt x="1854" y="45"/>
                  </a:lnTo>
                  <a:lnTo>
                    <a:pt x="1696" y="23"/>
                  </a:lnTo>
                  <a:lnTo>
                    <a:pt x="1560" y="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83" name="Google Shape;1683;p16"/>
            <p:cNvSpPr/>
            <p:nvPr/>
          </p:nvSpPr>
          <p:spPr>
            <a:xfrm>
              <a:off x="3885425" y="2516500"/>
              <a:ext cx="502900" cy="217550"/>
            </a:xfrm>
            <a:custGeom>
              <a:avLst/>
              <a:gdLst/>
              <a:ahLst/>
              <a:cxnLst/>
              <a:rect l="l" t="t" r="r" b="b"/>
              <a:pathLst>
                <a:path w="20116" h="8702" extrusionOk="0">
                  <a:moveTo>
                    <a:pt x="1424" y="0"/>
                  </a:moveTo>
                  <a:lnTo>
                    <a:pt x="1266" y="23"/>
                  </a:lnTo>
                  <a:lnTo>
                    <a:pt x="1130" y="68"/>
                  </a:lnTo>
                  <a:lnTo>
                    <a:pt x="995" y="113"/>
                  </a:lnTo>
                  <a:lnTo>
                    <a:pt x="859" y="203"/>
                  </a:lnTo>
                  <a:lnTo>
                    <a:pt x="724" y="317"/>
                  </a:lnTo>
                  <a:lnTo>
                    <a:pt x="588" y="452"/>
                  </a:lnTo>
                  <a:lnTo>
                    <a:pt x="452" y="610"/>
                  </a:lnTo>
                  <a:lnTo>
                    <a:pt x="339" y="769"/>
                  </a:lnTo>
                  <a:lnTo>
                    <a:pt x="249" y="927"/>
                  </a:lnTo>
                  <a:lnTo>
                    <a:pt x="181" y="1130"/>
                  </a:lnTo>
                  <a:lnTo>
                    <a:pt x="113" y="1334"/>
                  </a:lnTo>
                  <a:lnTo>
                    <a:pt x="68" y="1537"/>
                  </a:lnTo>
                  <a:lnTo>
                    <a:pt x="46" y="1763"/>
                  </a:lnTo>
                  <a:lnTo>
                    <a:pt x="0" y="2260"/>
                  </a:lnTo>
                  <a:lnTo>
                    <a:pt x="23" y="2780"/>
                  </a:lnTo>
                  <a:lnTo>
                    <a:pt x="91" y="3300"/>
                  </a:lnTo>
                  <a:lnTo>
                    <a:pt x="181" y="3842"/>
                  </a:lnTo>
                  <a:lnTo>
                    <a:pt x="339" y="4407"/>
                  </a:lnTo>
                  <a:lnTo>
                    <a:pt x="520" y="4927"/>
                  </a:lnTo>
                  <a:lnTo>
                    <a:pt x="746" y="5447"/>
                  </a:lnTo>
                  <a:lnTo>
                    <a:pt x="1017" y="5944"/>
                  </a:lnTo>
                  <a:lnTo>
                    <a:pt x="1311" y="6396"/>
                  </a:lnTo>
                  <a:lnTo>
                    <a:pt x="1469" y="6600"/>
                  </a:lnTo>
                  <a:lnTo>
                    <a:pt x="1650" y="6780"/>
                  </a:lnTo>
                  <a:lnTo>
                    <a:pt x="1808" y="6961"/>
                  </a:lnTo>
                  <a:lnTo>
                    <a:pt x="1989" y="7120"/>
                  </a:lnTo>
                  <a:lnTo>
                    <a:pt x="2193" y="7278"/>
                  </a:lnTo>
                  <a:lnTo>
                    <a:pt x="2373" y="7391"/>
                  </a:lnTo>
                  <a:lnTo>
                    <a:pt x="2577" y="7504"/>
                  </a:lnTo>
                  <a:lnTo>
                    <a:pt x="2780" y="7594"/>
                  </a:lnTo>
                  <a:lnTo>
                    <a:pt x="3029" y="7662"/>
                  </a:lnTo>
                  <a:lnTo>
                    <a:pt x="3323" y="7730"/>
                  </a:lnTo>
                  <a:lnTo>
                    <a:pt x="4069" y="7888"/>
                  </a:lnTo>
                  <a:lnTo>
                    <a:pt x="4995" y="8046"/>
                  </a:lnTo>
                  <a:lnTo>
                    <a:pt x="6057" y="8182"/>
                  </a:lnTo>
                  <a:lnTo>
                    <a:pt x="7255" y="8295"/>
                  </a:lnTo>
                  <a:lnTo>
                    <a:pt x="8521" y="8430"/>
                  </a:lnTo>
                  <a:lnTo>
                    <a:pt x="9855" y="8521"/>
                  </a:lnTo>
                  <a:lnTo>
                    <a:pt x="11211" y="8611"/>
                  </a:lnTo>
                  <a:lnTo>
                    <a:pt x="12567" y="8656"/>
                  </a:lnTo>
                  <a:lnTo>
                    <a:pt x="13878" y="8702"/>
                  </a:lnTo>
                  <a:lnTo>
                    <a:pt x="15098" y="8702"/>
                  </a:lnTo>
                  <a:lnTo>
                    <a:pt x="16228" y="8656"/>
                  </a:lnTo>
                  <a:lnTo>
                    <a:pt x="17223" y="8611"/>
                  </a:lnTo>
                  <a:lnTo>
                    <a:pt x="17675" y="8543"/>
                  </a:lnTo>
                  <a:lnTo>
                    <a:pt x="18059" y="8498"/>
                  </a:lnTo>
                  <a:lnTo>
                    <a:pt x="18398" y="8430"/>
                  </a:lnTo>
                  <a:lnTo>
                    <a:pt x="18692" y="8340"/>
                  </a:lnTo>
                  <a:lnTo>
                    <a:pt x="18940" y="8250"/>
                  </a:lnTo>
                  <a:lnTo>
                    <a:pt x="19099" y="8159"/>
                  </a:lnTo>
                  <a:lnTo>
                    <a:pt x="19234" y="8046"/>
                  </a:lnTo>
                  <a:lnTo>
                    <a:pt x="19347" y="7911"/>
                  </a:lnTo>
                  <a:lnTo>
                    <a:pt x="19460" y="7775"/>
                  </a:lnTo>
                  <a:lnTo>
                    <a:pt x="19551" y="7617"/>
                  </a:lnTo>
                  <a:lnTo>
                    <a:pt x="19731" y="7300"/>
                  </a:lnTo>
                  <a:lnTo>
                    <a:pt x="19867" y="6916"/>
                  </a:lnTo>
                  <a:lnTo>
                    <a:pt x="19980" y="6509"/>
                  </a:lnTo>
                  <a:lnTo>
                    <a:pt x="20070" y="6080"/>
                  </a:lnTo>
                  <a:lnTo>
                    <a:pt x="20116" y="5650"/>
                  </a:lnTo>
                  <a:lnTo>
                    <a:pt x="20116" y="5198"/>
                  </a:lnTo>
                  <a:lnTo>
                    <a:pt x="20093" y="4769"/>
                  </a:lnTo>
                  <a:lnTo>
                    <a:pt x="20025" y="4340"/>
                  </a:lnTo>
                  <a:lnTo>
                    <a:pt x="19912" y="3933"/>
                  </a:lnTo>
                  <a:lnTo>
                    <a:pt x="19777" y="3548"/>
                  </a:lnTo>
                  <a:lnTo>
                    <a:pt x="19686" y="3390"/>
                  </a:lnTo>
                  <a:lnTo>
                    <a:pt x="19596" y="3209"/>
                  </a:lnTo>
                  <a:lnTo>
                    <a:pt x="19505" y="3051"/>
                  </a:lnTo>
                  <a:lnTo>
                    <a:pt x="19370" y="2916"/>
                  </a:lnTo>
                  <a:lnTo>
                    <a:pt x="19257" y="2803"/>
                  </a:lnTo>
                  <a:lnTo>
                    <a:pt x="19121" y="2690"/>
                  </a:lnTo>
                  <a:lnTo>
                    <a:pt x="18986" y="2577"/>
                  </a:lnTo>
                  <a:lnTo>
                    <a:pt x="18827" y="2509"/>
                  </a:lnTo>
                  <a:lnTo>
                    <a:pt x="18466" y="2373"/>
                  </a:lnTo>
                  <a:lnTo>
                    <a:pt x="18081" y="2260"/>
                  </a:lnTo>
                  <a:lnTo>
                    <a:pt x="17629" y="2170"/>
                  </a:lnTo>
                  <a:lnTo>
                    <a:pt x="17155" y="2079"/>
                  </a:lnTo>
                  <a:lnTo>
                    <a:pt x="16635" y="2012"/>
                  </a:lnTo>
                  <a:lnTo>
                    <a:pt x="16070" y="1966"/>
                  </a:lnTo>
                  <a:lnTo>
                    <a:pt x="14895" y="1921"/>
                  </a:lnTo>
                  <a:lnTo>
                    <a:pt x="13629" y="1899"/>
                  </a:lnTo>
                  <a:lnTo>
                    <a:pt x="12341" y="1899"/>
                  </a:lnTo>
                  <a:lnTo>
                    <a:pt x="11052" y="1944"/>
                  </a:lnTo>
                  <a:lnTo>
                    <a:pt x="9809" y="1966"/>
                  </a:lnTo>
                  <a:lnTo>
                    <a:pt x="8476" y="2012"/>
                  </a:lnTo>
                  <a:lnTo>
                    <a:pt x="7301" y="2057"/>
                  </a:lnTo>
                  <a:lnTo>
                    <a:pt x="6351" y="2057"/>
                  </a:lnTo>
                  <a:lnTo>
                    <a:pt x="5967" y="2034"/>
                  </a:lnTo>
                  <a:lnTo>
                    <a:pt x="5651" y="2012"/>
                  </a:lnTo>
                  <a:lnTo>
                    <a:pt x="5470" y="1966"/>
                  </a:lnTo>
                  <a:lnTo>
                    <a:pt x="5289" y="1921"/>
                  </a:lnTo>
                  <a:lnTo>
                    <a:pt x="4905" y="1786"/>
                  </a:lnTo>
                  <a:lnTo>
                    <a:pt x="4543" y="1627"/>
                  </a:lnTo>
                  <a:lnTo>
                    <a:pt x="4182" y="1424"/>
                  </a:lnTo>
                  <a:lnTo>
                    <a:pt x="3481" y="949"/>
                  </a:lnTo>
                  <a:lnTo>
                    <a:pt x="2825" y="520"/>
                  </a:lnTo>
                  <a:lnTo>
                    <a:pt x="2486" y="317"/>
                  </a:lnTo>
                  <a:lnTo>
                    <a:pt x="2170" y="158"/>
                  </a:lnTo>
                  <a:lnTo>
                    <a:pt x="1876" y="45"/>
                  </a:lnTo>
                  <a:lnTo>
                    <a:pt x="1718" y="23"/>
                  </a:lnTo>
                  <a:lnTo>
                    <a:pt x="1560" y="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84" name="Google Shape;1684;p16"/>
            <p:cNvSpPr/>
            <p:nvPr/>
          </p:nvSpPr>
          <p:spPr>
            <a:xfrm>
              <a:off x="3885425" y="2516500"/>
              <a:ext cx="502900" cy="217550"/>
            </a:xfrm>
            <a:custGeom>
              <a:avLst/>
              <a:gdLst/>
              <a:ahLst/>
              <a:cxnLst/>
              <a:rect l="l" t="t" r="r" b="b"/>
              <a:pathLst>
                <a:path w="20116" h="8702" fill="none" extrusionOk="0">
                  <a:moveTo>
                    <a:pt x="452" y="610"/>
                  </a:moveTo>
                  <a:lnTo>
                    <a:pt x="452" y="610"/>
                  </a:lnTo>
                  <a:lnTo>
                    <a:pt x="339" y="769"/>
                  </a:lnTo>
                  <a:lnTo>
                    <a:pt x="249" y="927"/>
                  </a:lnTo>
                  <a:lnTo>
                    <a:pt x="181" y="1130"/>
                  </a:lnTo>
                  <a:lnTo>
                    <a:pt x="113" y="1334"/>
                  </a:lnTo>
                  <a:lnTo>
                    <a:pt x="68" y="1537"/>
                  </a:lnTo>
                  <a:lnTo>
                    <a:pt x="46" y="1763"/>
                  </a:lnTo>
                  <a:lnTo>
                    <a:pt x="0" y="2260"/>
                  </a:lnTo>
                  <a:lnTo>
                    <a:pt x="23" y="2780"/>
                  </a:lnTo>
                  <a:lnTo>
                    <a:pt x="91" y="3300"/>
                  </a:lnTo>
                  <a:lnTo>
                    <a:pt x="181" y="3842"/>
                  </a:lnTo>
                  <a:lnTo>
                    <a:pt x="339" y="4407"/>
                  </a:lnTo>
                  <a:lnTo>
                    <a:pt x="520" y="4927"/>
                  </a:lnTo>
                  <a:lnTo>
                    <a:pt x="746" y="5447"/>
                  </a:lnTo>
                  <a:lnTo>
                    <a:pt x="1017" y="5944"/>
                  </a:lnTo>
                  <a:lnTo>
                    <a:pt x="1311" y="6396"/>
                  </a:lnTo>
                  <a:lnTo>
                    <a:pt x="1469" y="6600"/>
                  </a:lnTo>
                  <a:lnTo>
                    <a:pt x="1650" y="6780"/>
                  </a:lnTo>
                  <a:lnTo>
                    <a:pt x="1808" y="6961"/>
                  </a:lnTo>
                  <a:lnTo>
                    <a:pt x="1989" y="7120"/>
                  </a:lnTo>
                  <a:lnTo>
                    <a:pt x="2193" y="7278"/>
                  </a:lnTo>
                  <a:lnTo>
                    <a:pt x="2373" y="7391"/>
                  </a:lnTo>
                  <a:lnTo>
                    <a:pt x="2577" y="7504"/>
                  </a:lnTo>
                  <a:lnTo>
                    <a:pt x="2780" y="7594"/>
                  </a:lnTo>
                  <a:lnTo>
                    <a:pt x="2780" y="7594"/>
                  </a:lnTo>
                  <a:lnTo>
                    <a:pt x="3029" y="7662"/>
                  </a:lnTo>
                  <a:lnTo>
                    <a:pt x="3323" y="7730"/>
                  </a:lnTo>
                  <a:lnTo>
                    <a:pt x="4069" y="7888"/>
                  </a:lnTo>
                  <a:lnTo>
                    <a:pt x="4995" y="8046"/>
                  </a:lnTo>
                  <a:lnTo>
                    <a:pt x="6057" y="8182"/>
                  </a:lnTo>
                  <a:lnTo>
                    <a:pt x="7255" y="8295"/>
                  </a:lnTo>
                  <a:lnTo>
                    <a:pt x="8521" y="8430"/>
                  </a:lnTo>
                  <a:lnTo>
                    <a:pt x="9855" y="8521"/>
                  </a:lnTo>
                  <a:lnTo>
                    <a:pt x="11211" y="8611"/>
                  </a:lnTo>
                  <a:lnTo>
                    <a:pt x="12567" y="8656"/>
                  </a:lnTo>
                  <a:lnTo>
                    <a:pt x="13878" y="8702"/>
                  </a:lnTo>
                  <a:lnTo>
                    <a:pt x="15098" y="8702"/>
                  </a:lnTo>
                  <a:lnTo>
                    <a:pt x="16228" y="8656"/>
                  </a:lnTo>
                  <a:lnTo>
                    <a:pt x="17223" y="8611"/>
                  </a:lnTo>
                  <a:lnTo>
                    <a:pt x="17675" y="8543"/>
                  </a:lnTo>
                  <a:lnTo>
                    <a:pt x="18059" y="8498"/>
                  </a:lnTo>
                  <a:lnTo>
                    <a:pt x="18398" y="8430"/>
                  </a:lnTo>
                  <a:lnTo>
                    <a:pt x="18692" y="8340"/>
                  </a:lnTo>
                  <a:lnTo>
                    <a:pt x="18940" y="8250"/>
                  </a:lnTo>
                  <a:lnTo>
                    <a:pt x="19099" y="8159"/>
                  </a:lnTo>
                  <a:lnTo>
                    <a:pt x="19099" y="8159"/>
                  </a:lnTo>
                  <a:lnTo>
                    <a:pt x="19234" y="8046"/>
                  </a:lnTo>
                  <a:lnTo>
                    <a:pt x="19347" y="7911"/>
                  </a:lnTo>
                  <a:lnTo>
                    <a:pt x="19460" y="7775"/>
                  </a:lnTo>
                  <a:lnTo>
                    <a:pt x="19551" y="7617"/>
                  </a:lnTo>
                  <a:lnTo>
                    <a:pt x="19731" y="7300"/>
                  </a:lnTo>
                  <a:lnTo>
                    <a:pt x="19867" y="6916"/>
                  </a:lnTo>
                  <a:lnTo>
                    <a:pt x="19980" y="6509"/>
                  </a:lnTo>
                  <a:lnTo>
                    <a:pt x="20070" y="6080"/>
                  </a:lnTo>
                  <a:lnTo>
                    <a:pt x="20116" y="5650"/>
                  </a:lnTo>
                  <a:lnTo>
                    <a:pt x="20116" y="5198"/>
                  </a:lnTo>
                  <a:lnTo>
                    <a:pt x="20093" y="4769"/>
                  </a:lnTo>
                  <a:lnTo>
                    <a:pt x="20025" y="4340"/>
                  </a:lnTo>
                  <a:lnTo>
                    <a:pt x="19912" y="3933"/>
                  </a:lnTo>
                  <a:lnTo>
                    <a:pt x="19777" y="3548"/>
                  </a:lnTo>
                  <a:lnTo>
                    <a:pt x="19686" y="3390"/>
                  </a:lnTo>
                  <a:lnTo>
                    <a:pt x="19596" y="3209"/>
                  </a:lnTo>
                  <a:lnTo>
                    <a:pt x="19505" y="3051"/>
                  </a:lnTo>
                  <a:lnTo>
                    <a:pt x="19370" y="2916"/>
                  </a:lnTo>
                  <a:lnTo>
                    <a:pt x="19257" y="2803"/>
                  </a:lnTo>
                  <a:lnTo>
                    <a:pt x="19121" y="2690"/>
                  </a:lnTo>
                  <a:lnTo>
                    <a:pt x="18986" y="2577"/>
                  </a:lnTo>
                  <a:lnTo>
                    <a:pt x="18827" y="2509"/>
                  </a:lnTo>
                  <a:lnTo>
                    <a:pt x="18827" y="2509"/>
                  </a:lnTo>
                  <a:lnTo>
                    <a:pt x="18466" y="2373"/>
                  </a:lnTo>
                  <a:lnTo>
                    <a:pt x="18081" y="2260"/>
                  </a:lnTo>
                  <a:lnTo>
                    <a:pt x="17629" y="2170"/>
                  </a:lnTo>
                  <a:lnTo>
                    <a:pt x="17155" y="2079"/>
                  </a:lnTo>
                  <a:lnTo>
                    <a:pt x="16635" y="2012"/>
                  </a:lnTo>
                  <a:lnTo>
                    <a:pt x="16070" y="1966"/>
                  </a:lnTo>
                  <a:lnTo>
                    <a:pt x="14895" y="1921"/>
                  </a:lnTo>
                  <a:lnTo>
                    <a:pt x="13629" y="1899"/>
                  </a:lnTo>
                  <a:lnTo>
                    <a:pt x="12341" y="1899"/>
                  </a:lnTo>
                  <a:lnTo>
                    <a:pt x="11052" y="1944"/>
                  </a:lnTo>
                  <a:lnTo>
                    <a:pt x="9809" y="1966"/>
                  </a:lnTo>
                  <a:lnTo>
                    <a:pt x="9809" y="1966"/>
                  </a:lnTo>
                  <a:lnTo>
                    <a:pt x="8476" y="2012"/>
                  </a:lnTo>
                  <a:lnTo>
                    <a:pt x="7301" y="2057"/>
                  </a:lnTo>
                  <a:lnTo>
                    <a:pt x="6351" y="2057"/>
                  </a:lnTo>
                  <a:lnTo>
                    <a:pt x="5967" y="2034"/>
                  </a:lnTo>
                  <a:lnTo>
                    <a:pt x="5651" y="2012"/>
                  </a:lnTo>
                  <a:lnTo>
                    <a:pt x="5651" y="2012"/>
                  </a:lnTo>
                  <a:lnTo>
                    <a:pt x="5470" y="1966"/>
                  </a:lnTo>
                  <a:lnTo>
                    <a:pt x="5289" y="1921"/>
                  </a:lnTo>
                  <a:lnTo>
                    <a:pt x="4905" y="1786"/>
                  </a:lnTo>
                  <a:lnTo>
                    <a:pt x="4543" y="1627"/>
                  </a:lnTo>
                  <a:lnTo>
                    <a:pt x="4182" y="1424"/>
                  </a:lnTo>
                  <a:lnTo>
                    <a:pt x="3481" y="949"/>
                  </a:lnTo>
                  <a:lnTo>
                    <a:pt x="2825" y="520"/>
                  </a:lnTo>
                  <a:lnTo>
                    <a:pt x="2486" y="317"/>
                  </a:lnTo>
                  <a:lnTo>
                    <a:pt x="2170" y="158"/>
                  </a:lnTo>
                  <a:lnTo>
                    <a:pt x="1876" y="45"/>
                  </a:lnTo>
                  <a:lnTo>
                    <a:pt x="1718" y="23"/>
                  </a:lnTo>
                  <a:lnTo>
                    <a:pt x="1560" y="0"/>
                  </a:lnTo>
                  <a:lnTo>
                    <a:pt x="1424" y="0"/>
                  </a:lnTo>
                  <a:lnTo>
                    <a:pt x="1266" y="23"/>
                  </a:lnTo>
                  <a:lnTo>
                    <a:pt x="1130" y="68"/>
                  </a:lnTo>
                  <a:lnTo>
                    <a:pt x="995" y="113"/>
                  </a:lnTo>
                  <a:lnTo>
                    <a:pt x="859" y="203"/>
                  </a:lnTo>
                  <a:lnTo>
                    <a:pt x="724" y="317"/>
                  </a:lnTo>
                  <a:lnTo>
                    <a:pt x="588" y="452"/>
                  </a:lnTo>
                  <a:lnTo>
                    <a:pt x="452" y="61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85" name="Google Shape;1685;p16"/>
            <p:cNvSpPr/>
            <p:nvPr/>
          </p:nvSpPr>
          <p:spPr>
            <a:xfrm>
              <a:off x="5664725" y="3302450"/>
              <a:ext cx="152025" cy="194975"/>
            </a:xfrm>
            <a:custGeom>
              <a:avLst/>
              <a:gdLst/>
              <a:ahLst/>
              <a:cxnLst/>
              <a:rect l="l" t="t" r="r" b="b"/>
              <a:pathLst>
                <a:path w="6081" h="7799" extrusionOk="0">
                  <a:moveTo>
                    <a:pt x="2825" y="1"/>
                  </a:moveTo>
                  <a:lnTo>
                    <a:pt x="0" y="4905"/>
                  </a:lnTo>
                  <a:lnTo>
                    <a:pt x="1266" y="7798"/>
                  </a:lnTo>
                  <a:lnTo>
                    <a:pt x="3277" y="6645"/>
                  </a:lnTo>
                  <a:lnTo>
                    <a:pt x="3662" y="6103"/>
                  </a:lnTo>
                  <a:lnTo>
                    <a:pt x="4091" y="5448"/>
                  </a:lnTo>
                  <a:lnTo>
                    <a:pt x="5018" y="3978"/>
                  </a:lnTo>
                  <a:lnTo>
                    <a:pt x="5786" y="2735"/>
                  </a:lnTo>
                  <a:lnTo>
                    <a:pt x="6080" y="2193"/>
                  </a:lnTo>
                  <a:lnTo>
                    <a:pt x="2825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86" name="Google Shape;1686;p16"/>
            <p:cNvSpPr/>
            <p:nvPr/>
          </p:nvSpPr>
          <p:spPr>
            <a:xfrm>
              <a:off x="5615000" y="3410375"/>
              <a:ext cx="250900" cy="235075"/>
            </a:xfrm>
            <a:custGeom>
              <a:avLst/>
              <a:gdLst/>
              <a:ahLst/>
              <a:cxnLst/>
              <a:rect l="l" t="t" r="r" b="b"/>
              <a:pathLst>
                <a:path w="10036" h="9403" extrusionOk="0">
                  <a:moveTo>
                    <a:pt x="2215" y="0"/>
                  </a:moveTo>
                  <a:lnTo>
                    <a:pt x="2102" y="23"/>
                  </a:lnTo>
                  <a:lnTo>
                    <a:pt x="1967" y="68"/>
                  </a:lnTo>
                  <a:lnTo>
                    <a:pt x="1831" y="159"/>
                  </a:lnTo>
                  <a:lnTo>
                    <a:pt x="1673" y="294"/>
                  </a:lnTo>
                  <a:lnTo>
                    <a:pt x="1515" y="430"/>
                  </a:lnTo>
                  <a:lnTo>
                    <a:pt x="1198" y="814"/>
                  </a:lnTo>
                  <a:lnTo>
                    <a:pt x="859" y="1266"/>
                  </a:lnTo>
                  <a:lnTo>
                    <a:pt x="565" y="1786"/>
                  </a:lnTo>
                  <a:lnTo>
                    <a:pt x="272" y="2306"/>
                  </a:lnTo>
                  <a:lnTo>
                    <a:pt x="68" y="2803"/>
                  </a:lnTo>
                  <a:lnTo>
                    <a:pt x="23" y="2961"/>
                  </a:lnTo>
                  <a:lnTo>
                    <a:pt x="0" y="3097"/>
                  </a:lnTo>
                  <a:lnTo>
                    <a:pt x="23" y="3232"/>
                  </a:lnTo>
                  <a:lnTo>
                    <a:pt x="46" y="3368"/>
                  </a:lnTo>
                  <a:lnTo>
                    <a:pt x="91" y="3504"/>
                  </a:lnTo>
                  <a:lnTo>
                    <a:pt x="181" y="3617"/>
                  </a:lnTo>
                  <a:lnTo>
                    <a:pt x="272" y="3730"/>
                  </a:lnTo>
                  <a:lnTo>
                    <a:pt x="385" y="3820"/>
                  </a:lnTo>
                  <a:lnTo>
                    <a:pt x="4227" y="6487"/>
                  </a:lnTo>
                  <a:lnTo>
                    <a:pt x="7979" y="9064"/>
                  </a:lnTo>
                  <a:lnTo>
                    <a:pt x="8272" y="9244"/>
                  </a:lnTo>
                  <a:lnTo>
                    <a:pt x="8544" y="9357"/>
                  </a:lnTo>
                  <a:lnTo>
                    <a:pt x="8792" y="9403"/>
                  </a:lnTo>
                  <a:lnTo>
                    <a:pt x="9018" y="9403"/>
                  </a:lnTo>
                  <a:lnTo>
                    <a:pt x="9222" y="9335"/>
                  </a:lnTo>
                  <a:lnTo>
                    <a:pt x="9403" y="9244"/>
                  </a:lnTo>
                  <a:lnTo>
                    <a:pt x="9561" y="9131"/>
                  </a:lnTo>
                  <a:lnTo>
                    <a:pt x="9696" y="8973"/>
                  </a:lnTo>
                  <a:lnTo>
                    <a:pt x="9809" y="8815"/>
                  </a:lnTo>
                  <a:lnTo>
                    <a:pt x="9900" y="8657"/>
                  </a:lnTo>
                  <a:lnTo>
                    <a:pt x="9968" y="8476"/>
                  </a:lnTo>
                  <a:lnTo>
                    <a:pt x="10013" y="8295"/>
                  </a:lnTo>
                  <a:lnTo>
                    <a:pt x="10035" y="8137"/>
                  </a:lnTo>
                  <a:lnTo>
                    <a:pt x="10035" y="8001"/>
                  </a:lnTo>
                  <a:lnTo>
                    <a:pt x="10035" y="7911"/>
                  </a:lnTo>
                  <a:lnTo>
                    <a:pt x="9990" y="7821"/>
                  </a:lnTo>
                  <a:lnTo>
                    <a:pt x="9606" y="7527"/>
                  </a:lnTo>
                  <a:lnTo>
                    <a:pt x="8996" y="7029"/>
                  </a:lnTo>
                  <a:lnTo>
                    <a:pt x="8227" y="6397"/>
                  </a:lnTo>
                  <a:lnTo>
                    <a:pt x="7414" y="5696"/>
                  </a:lnTo>
                  <a:lnTo>
                    <a:pt x="7007" y="5312"/>
                  </a:lnTo>
                  <a:lnTo>
                    <a:pt x="6645" y="4950"/>
                  </a:lnTo>
                  <a:lnTo>
                    <a:pt x="6306" y="4566"/>
                  </a:lnTo>
                  <a:lnTo>
                    <a:pt x="6035" y="4204"/>
                  </a:lnTo>
                  <a:lnTo>
                    <a:pt x="5809" y="3843"/>
                  </a:lnTo>
                  <a:lnTo>
                    <a:pt x="5741" y="3684"/>
                  </a:lnTo>
                  <a:lnTo>
                    <a:pt x="5673" y="3526"/>
                  </a:lnTo>
                  <a:lnTo>
                    <a:pt x="5628" y="3368"/>
                  </a:lnTo>
                  <a:lnTo>
                    <a:pt x="5605" y="3210"/>
                  </a:lnTo>
                  <a:lnTo>
                    <a:pt x="5628" y="3074"/>
                  </a:lnTo>
                  <a:lnTo>
                    <a:pt x="5651" y="2939"/>
                  </a:lnTo>
                  <a:lnTo>
                    <a:pt x="5741" y="2735"/>
                  </a:lnTo>
                  <a:lnTo>
                    <a:pt x="5831" y="2554"/>
                  </a:lnTo>
                  <a:lnTo>
                    <a:pt x="5990" y="2283"/>
                  </a:lnTo>
                  <a:lnTo>
                    <a:pt x="6035" y="2170"/>
                  </a:lnTo>
                  <a:lnTo>
                    <a:pt x="6012" y="2080"/>
                  </a:lnTo>
                  <a:lnTo>
                    <a:pt x="5967" y="2012"/>
                  </a:lnTo>
                  <a:lnTo>
                    <a:pt x="5854" y="1944"/>
                  </a:lnTo>
                  <a:lnTo>
                    <a:pt x="5266" y="1696"/>
                  </a:lnTo>
                  <a:lnTo>
                    <a:pt x="4724" y="1424"/>
                  </a:lnTo>
                  <a:lnTo>
                    <a:pt x="4227" y="1131"/>
                  </a:lnTo>
                  <a:lnTo>
                    <a:pt x="3775" y="837"/>
                  </a:lnTo>
                  <a:lnTo>
                    <a:pt x="2961" y="339"/>
                  </a:lnTo>
                  <a:lnTo>
                    <a:pt x="2622" y="159"/>
                  </a:lnTo>
                  <a:lnTo>
                    <a:pt x="2464" y="91"/>
                  </a:lnTo>
                  <a:lnTo>
                    <a:pt x="2306" y="23"/>
                  </a:lnTo>
                  <a:lnTo>
                    <a:pt x="2215" y="0"/>
                  </a:lnTo>
                  <a:close/>
                </a:path>
              </a:pathLst>
            </a:custGeom>
            <a:solidFill>
              <a:srgbClr val="3331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87" name="Google Shape;1687;p16"/>
            <p:cNvSpPr/>
            <p:nvPr/>
          </p:nvSpPr>
          <p:spPr>
            <a:xfrm>
              <a:off x="5484475" y="2315900"/>
              <a:ext cx="699525" cy="1122750"/>
            </a:xfrm>
            <a:custGeom>
              <a:avLst/>
              <a:gdLst/>
              <a:ahLst/>
              <a:cxnLst/>
              <a:rect l="l" t="t" r="r" b="b"/>
              <a:pathLst>
                <a:path w="27981" h="44910" extrusionOk="0">
                  <a:moveTo>
                    <a:pt x="3752" y="1"/>
                  </a:moveTo>
                  <a:lnTo>
                    <a:pt x="3549" y="23"/>
                  </a:lnTo>
                  <a:lnTo>
                    <a:pt x="3368" y="46"/>
                  </a:lnTo>
                  <a:lnTo>
                    <a:pt x="3187" y="91"/>
                  </a:lnTo>
                  <a:lnTo>
                    <a:pt x="3029" y="159"/>
                  </a:lnTo>
                  <a:lnTo>
                    <a:pt x="2848" y="227"/>
                  </a:lnTo>
                  <a:lnTo>
                    <a:pt x="2690" y="294"/>
                  </a:lnTo>
                  <a:lnTo>
                    <a:pt x="2396" y="498"/>
                  </a:lnTo>
                  <a:lnTo>
                    <a:pt x="2125" y="724"/>
                  </a:lnTo>
                  <a:lnTo>
                    <a:pt x="1899" y="972"/>
                  </a:lnTo>
                  <a:lnTo>
                    <a:pt x="1673" y="1244"/>
                  </a:lnTo>
                  <a:lnTo>
                    <a:pt x="1469" y="1515"/>
                  </a:lnTo>
                  <a:lnTo>
                    <a:pt x="1311" y="1786"/>
                  </a:lnTo>
                  <a:lnTo>
                    <a:pt x="1040" y="2306"/>
                  </a:lnTo>
                  <a:lnTo>
                    <a:pt x="837" y="2690"/>
                  </a:lnTo>
                  <a:lnTo>
                    <a:pt x="611" y="3255"/>
                  </a:lnTo>
                  <a:lnTo>
                    <a:pt x="407" y="3820"/>
                  </a:lnTo>
                  <a:lnTo>
                    <a:pt x="249" y="4363"/>
                  </a:lnTo>
                  <a:lnTo>
                    <a:pt x="113" y="4882"/>
                  </a:lnTo>
                  <a:lnTo>
                    <a:pt x="46" y="5402"/>
                  </a:lnTo>
                  <a:lnTo>
                    <a:pt x="0" y="5922"/>
                  </a:lnTo>
                  <a:lnTo>
                    <a:pt x="0" y="6419"/>
                  </a:lnTo>
                  <a:lnTo>
                    <a:pt x="46" y="6917"/>
                  </a:lnTo>
                  <a:lnTo>
                    <a:pt x="91" y="7414"/>
                  </a:lnTo>
                  <a:lnTo>
                    <a:pt x="204" y="7888"/>
                  </a:lnTo>
                  <a:lnTo>
                    <a:pt x="339" y="8341"/>
                  </a:lnTo>
                  <a:lnTo>
                    <a:pt x="498" y="8815"/>
                  </a:lnTo>
                  <a:lnTo>
                    <a:pt x="701" y="9245"/>
                  </a:lnTo>
                  <a:lnTo>
                    <a:pt x="904" y="9697"/>
                  </a:lnTo>
                  <a:lnTo>
                    <a:pt x="1153" y="10126"/>
                  </a:lnTo>
                  <a:lnTo>
                    <a:pt x="1447" y="10555"/>
                  </a:lnTo>
                  <a:lnTo>
                    <a:pt x="1741" y="10962"/>
                  </a:lnTo>
                  <a:lnTo>
                    <a:pt x="2057" y="11369"/>
                  </a:lnTo>
                  <a:lnTo>
                    <a:pt x="2396" y="11753"/>
                  </a:lnTo>
                  <a:lnTo>
                    <a:pt x="2758" y="12160"/>
                  </a:lnTo>
                  <a:lnTo>
                    <a:pt x="3165" y="12522"/>
                  </a:lnTo>
                  <a:lnTo>
                    <a:pt x="3549" y="12906"/>
                  </a:lnTo>
                  <a:lnTo>
                    <a:pt x="3978" y="13268"/>
                  </a:lnTo>
                  <a:lnTo>
                    <a:pt x="4408" y="13629"/>
                  </a:lnTo>
                  <a:lnTo>
                    <a:pt x="4860" y="13991"/>
                  </a:lnTo>
                  <a:lnTo>
                    <a:pt x="5334" y="14330"/>
                  </a:lnTo>
                  <a:lnTo>
                    <a:pt x="6306" y="14985"/>
                  </a:lnTo>
                  <a:lnTo>
                    <a:pt x="7301" y="15641"/>
                  </a:lnTo>
                  <a:lnTo>
                    <a:pt x="8340" y="16251"/>
                  </a:lnTo>
                  <a:lnTo>
                    <a:pt x="9403" y="16839"/>
                  </a:lnTo>
                  <a:lnTo>
                    <a:pt x="10465" y="17426"/>
                  </a:lnTo>
                  <a:lnTo>
                    <a:pt x="11527" y="17969"/>
                  </a:lnTo>
                  <a:lnTo>
                    <a:pt x="12567" y="18489"/>
                  </a:lnTo>
                  <a:lnTo>
                    <a:pt x="14601" y="19483"/>
                  </a:lnTo>
                  <a:lnTo>
                    <a:pt x="16477" y="20410"/>
                  </a:lnTo>
                  <a:lnTo>
                    <a:pt x="17336" y="20862"/>
                  </a:lnTo>
                  <a:lnTo>
                    <a:pt x="18127" y="21291"/>
                  </a:lnTo>
                  <a:lnTo>
                    <a:pt x="18827" y="21698"/>
                  </a:lnTo>
                  <a:lnTo>
                    <a:pt x="19438" y="22105"/>
                  </a:lnTo>
                  <a:lnTo>
                    <a:pt x="19709" y="22286"/>
                  </a:lnTo>
                  <a:lnTo>
                    <a:pt x="19957" y="22489"/>
                  </a:lnTo>
                  <a:lnTo>
                    <a:pt x="20161" y="22692"/>
                  </a:lnTo>
                  <a:lnTo>
                    <a:pt x="20364" y="22873"/>
                  </a:lnTo>
                  <a:lnTo>
                    <a:pt x="20522" y="23054"/>
                  </a:lnTo>
                  <a:lnTo>
                    <a:pt x="20635" y="23257"/>
                  </a:lnTo>
                  <a:lnTo>
                    <a:pt x="20726" y="23438"/>
                  </a:lnTo>
                  <a:lnTo>
                    <a:pt x="20794" y="23619"/>
                  </a:lnTo>
                  <a:lnTo>
                    <a:pt x="20816" y="23777"/>
                  </a:lnTo>
                  <a:lnTo>
                    <a:pt x="20839" y="23981"/>
                  </a:lnTo>
                  <a:lnTo>
                    <a:pt x="20816" y="24161"/>
                  </a:lnTo>
                  <a:lnTo>
                    <a:pt x="20794" y="24365"/>
                  </a:lnTo>
                  <a:lnTo>
                    <a:pt x="20748" y="24591"/>
                  </a:lnTo>
                  <a:lnTo>
                    <a:pt x="20703" y="24817"/>
                  </a:lnTo>
                  <a:lnTo>
                    <a:pt x="20522" y="25292"/>
                  </a:lnTo>
                  <a:lnTo>
                    <a:pt x="20296" y="25789"/>
                  </a:lnTo>
                  <a:lnTo>
                    <a:pt x="20003" y="26331"/>
                  </a:lnTo>
                  <a:lnTo>
                    <a:pt x="19664" y="26896"/>
                  </a:lnTo>
                  <a:lnTo>
                    <a:pt x="19257" y="27484"/>
                  </a:lnTo>
                  <a:lnTo>
                    <a:pt x="18827" y="28094"/>
                  </a:lnTo>
                  <a:lnTo>
                    <a:pt x="18353" y="28727"/>
                  </a:lnTo>
                  <a:lnTo>
                    <a:pt x="17856" y="29382"/>
                  </a:lnTo>
                  <a:lnTo>
                    <a:pt x="17313" y="30038"/>
                  </a:lnTo>
                  <a:lnTo>
                    <a:pt x="16183" y="31394"/>
                  </a:lnTo>
                  <a:lnTo>
                    <a:pt x="14963" y="32773"/>
                  </a:lnTo>
                  <a:lnTo>
                    <a:pt x="12522" y="35507"/>
                  </a:lnTo>
                  <a:lnTo>
                    <a:pt x="11346" y="36796"/>
                  </a:lnTo>
                  <a:lnTo>
                    <a:pt x="10261" y="38016"/>
                  </a:lnTo>
                  <a:lnTo>
                    <a:pt x="9290" y="39169"/>
                  </a:lnTo>
                  <a:lnTo>
                    <a:pt x="8860" y="39689"/>
                  </a:lnTo>
                  <a:lnTo>
                    <a:pt x="8476" y="40186"/>
                  </a:lnTo>
                  <a:lnTo>
                    <a:pt x="8137" y="40638"/>
                  </a:lnTo>
                  <a:lnTo>
                    <a:pt x="7866" y="41067"/>
                  </a:lnTo>
                  <a:lnTo>
                    <a:pt x="7640" y="41429"/>
                  </a:lnTo>
                  <a:lnTo>
                    <a:pt x="7459" y="41768"/>
                  </a:lnTo>
                  <a:lnTo>
                    <a:pt x="7617" y="42084"/>
                  </a:lnTo>
                  <a:lnTo>
                    <a:pt x="7866" y="42559"/>
                  </a:lnTo>
                  <a:lnTo>
                    <a:pt x="8024" y="42830"/>
                  </a:lnTo>
                  <a:lnTo>
                    <a:pt x="8227" y="43124"/>
                  </a:lnTo>
                  <a:lnTo>
                    <a:pt x="8453" y="43418"/>
                  </a:lnTo>
                  <a:lnTo>
                    <a:pt x="8702" y="43712"/>
                  </a:lnTo>
                  <a:lnTo>
                    <a:pt x="8996" y="43983"/>
                  </a:lnTo>
                  <a:lnTo>
                    <a:pt x="9335" y="44231"/>
                  </a:lnTo>
                  <a:lnTo>
                    <a:pt x="9696" y="44457"/>
                  </a:lnTo>
                  <a:lnTo>
                    <a:pt x="9900" y="44570"/>
                  </a:lnTo>
                  <a:lnTo>
                    <a:pt x="10103" y="44661"/>
                  </a:lnTo>
                  <a:lnTo>
                    <a:pt x="10307" y="44729"/>
                  </a:lnTo>
                  <a:lnTo>
                    <a:pt x="10555" y="44796"/>
                  </a:lnTo>
                  <a:lnTo>
                    <a:pt x="10781" y="44842"/>
                  </a:lnTo>
                  <a:lnTo>
                    <a:pt x="11030" y="44887"/>
                  </a:lnTo>
                  <a:lnTo>
                    <a:pt x="11301" y="44910"/>
                  </a:lnTo>
                  <a:lnTo>
                    <a:pt x="11844" y="44910"/>
                  </a:lnTo>
                  <a:lnTo>
                    <a:pt x="12137" y="44864"/>
                  </a:lnTo>
                  <a:lnTo>
                    <a:pt x="12815" y="44186"/>
                  </a:lnTo>
                  <a:lnTo>
                    <a:pt x="14578" y="42333"/>
                  </a:lnTo>
                  <a:lnTo>
                    <a:pt x="15776" y="41045"/>
                  </a:lnTo>
                  <a:lnTo>
                    <a:pt x="17110" y="39598"/>
                  </a:lnTo>
                  <a:lnTo>
                    <a:pt x="18511" y="37993"/>
                  </a:lnTo>
                  <a:lnTo>
                    <a:pt x="19980" y="36298"/>
                  </a:lnTo>
                  <a:lnTo>
                    <a:pt x="21449" y="34513"/>
                  </a:lnTo>
                  <a:lnTo>
                    <a:pt x="22172" y="33609"/>
                  </a:lnTo>
                  <a:lnTo>
                    <a:pt x="22873" y="32705"/>
                  </a:lnTo>
                  <a:lnTo>
                    <a:pt x="23551" y="31801"/>
                  </a:lnTo>
                  <a:lnTo>
                    <a:pt x="24207" y="30897"/>
                  </a:lnTo>
                  <a:lnTo>
                    <a:pt x="24839" y="30015"/>
                  </a:lnTo>
                  <a:lnTo>
                    <a:pt x="25427" y="29134"/>
                  </a:lnTo>
                  <a:lnTo>
                    <a:pt x="25947" y="28275"/>
                  </a:lnTo>
                  <a:lnTo>
                    <a:pt x="26444" y="27439"/>
                  </a:lnTo>
                  <a:lnTo>
                    <a:pt x="26873" y="26648"/>
                  </a:lnTo>
                  <a:lnTo>
                    <a:pt x="27235" y="25879"/>
                  </a:lnTo>
                  <a:lnTo>
                    <a:pt x="27529" y="25133"/>
                  </a:lnTo>
                  <a:lnTo>
                    <a:pt x="27665" y="24794"/>
                  </a:lnTo>
                  <a:lnTo>
                    <a:pt x="27778" y="24455"/>
                  </a:lnTo>
                  <a:lnTo>
                    <a:pt x="27845" y="24139"/>
                  </a:lnTo>
                  <a:lnTo>
                    <a:pt x="27913" y="23822"/>
                  </a:lnTo>
                  <a:lnTo>
                    <a:pt x="27958" y="23506"/>
                  </a:lnTo>
                  <a:lnTo>
                    <a:pt x="27981" y="23235"/>
                  </a:lnTo>
                  <a:lnTo>
                    <a:pt x="27981" y="22941"/>
                  </a:lnTo>
                  <a:lnTo>
                    <a:pt x="27958" y="22670"/>
                  </a:lnTo>
                  <a:lnTo>
                    <a:pt x="27936" y="22376"/>
                  </a:lnTo>
                  <a:lnTo>
                    <a:pt x="27868" y="22105"/>
                  </a:lnTo>
                  <a:lnTo>
                    <a:pt x="27800" y="21834"/>
                  </a:lnTo>
                  <a:lnTo>
                    <a:pt x="27710" y="21540"/>
                  </a:lnTo>
                  <a:lnTo>
                    <a:pt x="27619" y="21268"/>
                  </a:lnTo>
                  <a:lnTo>
                    <a:pt x="27506" y="20997"/>
                  </a:lnTo>
                  <a:lnTo>
                    <a:pt x="27213" y="20455"/>
                  </a:lnTo>
                  <a:lnTo>
                    <a:pt x="26896" y="19890"/>
                  </a:lnTo>
                  <a:lnTo>
                    <a:pt x="26512" y="19347"/>
                  </a:lnTo>
                  <a:lnTo>
                    <a:pt x="26082" y="18805"/>
                  </a:lnTo>
                  <a:lnTo>
                    <a:pt x="25608" y="18285"/>
                  </a:lnTo>
                  <a:lnTo>
                    <a:pt x="25088" y="17743"/>
                  </a:lnTo>
                  <a:lnTo>
                    <a:pt x="24546" y="17223"/>
                  </a:lnTo>
                  <a:lnTo>
                    <a:pt x="23958" y="16703"/>
                  </a:lnTo>
                  <a:lnTo>
                    <a:pt x="23370" y="16183"/>
                  </a:lnTo>
                  <a:lnTo>
                    <a:pt x="22737" y="15686"/>
                  </a:lnTo>
                  <a:lnTo>
                    <a:pt x="22105" y="15189"/>
                  </a:lnTo>
                  <a:lnTo>
                    <a:pt x="21427" y="14691"/>
                  </a:lnTo>
                  <a:lnTo>
                    <a:pt x="20093" y="13742"/>
                  </a:lnTo>
                  <a:lnTo>
                    <a:pt x="18737" y="12838"/>
                  </a:lnTo>
                  <a:lnTo>
                    <a:pt x="16160" y="11120"/>
                  </a:lnTo>
                  <a:lnTo>
                    <a:pt x="14985" y="10352"/>
                  </a:lnTo>
                  <a:lnTo>
                    <a:pt x="13923" y="9629"/>
                  </a:lnTo>
                  <a:lnTo>
                    <a:pt x="13448" y="9290"/>
                  </a:lnTo>
                  <a:lnTo>
                    <a:pt x="13019" y="8951"/>
                  </a:lnTo>
                  <a:lnTo>
                    <a:pt x="12657" y="8634"/>
                  </a:lnTo>
                  <a:lnTo>
                    <a:pt x="12318" y="8341"/>
                  </a:lnTo>
                  <a:lnTo>
                    <a:pt x="12024" y="8069"/>
                  </a:lnTo>
                  <a:lnTo>
                    <a:pt x="11753" y="7775"/>
                  </a:lnTo>
                  <a:lnTo>
                    <a:pt x="11527" y="7504"/>
                  </a:lnTo>
                  <a:lnTo>
                    <a:pt x="11301" y="7233"/>
                  </a:lnTo>
                  <a:lnTo>
                    <a:pt x="10917" y="6691"/>
                  </a:lnTo>
                  <a:lnTo>
                    <a:pt x="10578" y="6171"/>
                  </a:lnTo>
                  <a:lnTo>
                    <a:pt x="10284" y="5651"/>
                  </a:lnTo>
                  <a:lnTo>
                    <a:pt x="10013" y="5131"/>
                  </a:lnTo>
                  <a:lnTo>
                    <a:pt x="9764" y="4634"/>
                  </a:lnTo>
                  <a:lnTo>
                    <a:pt x="9493" y="4137"/>
                  </a:lnTo>
                  <a:lnTo>
                    <a:pt x="9199" y="3662"/>
                  </a:lnTo>
                  <a:lnTo>
                    <a:pt x="8860" y="3165"/>
                  </a:lnTo>
                  <a:lnTo>
                    <a:pt x="8679" y="2939"/>
                  </a:lnTo>
                  <a:lnTo>
                    <a:pt x="8476" y="2690"/>
                  </a:lnTo>
                  <a:lnTo>
                    <a:pt x="8250" y="2464"/>
                  </a:lnTo>
                  <a:lnTo>
                    <a:pt x="8001" y="2216"/>
                  </a:lnTo>
                  <a:lnTo>
                    <a:pt x="7753" y="1990"/>
                  </a:lnTo>
                  <a:lnTo>
                    <a:pt x="7459" y="1741"/>
                  </a:lnTo>
                  <a:lnTo>
                    <a:pt x="7142" y="1515"/>
                  </a:lnTo>
                  <a:lnTo>
                    <a:pt x="6781" y="1266"/>
                  </a:lnTo>
                  <a:lnTo>
                    <a:pt x="6397" y="1040"/>
                  </a:lnTo>
                  <a:lnTo>
                    <a:pt x="5990" y="792"/>
                  </a:lnTo>
                  <a:lnTo>
                    <a:pt x="5538" y="543"/>
                  </a:lnTo>
                  <a:lnTo>
                    <a:pt x="5063" y="317"/>
                  </a:lnTo>
                  <a:lnTo>
                    <a:pt x="4814" y="204"/>
                  </a:lnTo>
                  <a:lnTo>
                    <a:pt x="4588" y="136"/>
                  </a:lnTo>
                  <a:lnTo>
                    <a:pt x="4362" y="68"/>
                  </a:lnTo>
                  <a:lnTo>
                    <a:pt x="4159" y="23"/>
                  </a:lnTo>
                  <a:lnTo>
                    <a:pt x="3956" y="1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88" name="Google Shape;1688;p16"/>
            <p:cNvSpPr/>
            <p:nvPr/>
          </p:nvSpPr>
          <p:spPr>
            <a:xfrm>
              <a:off x="5484475" y="2315900"/>
              <a:ext cx="699525" cy="1122750"/>
            </a:xfrm>
            <a:custGeom>
              <a:avLst/>
              <a:gdLst/>
              <a:ahLst/>
              <a:cxnLst/>
              <a:rect l="l" t="t" r="r" b="b"/>
              <a:pathLst>
                <a:path w="27981" h="44910" fill="none" extrusionOk="0">
                  <a:moveTo>
                    <a:pt x="12318" y="8341"/>
                  </a:moveTo>
                  <a:lnTo>
                    <a:pt x="12318" y="8341"/>
                  </a:lnTo>
                  <a:lnTo>
                    <a:pt x="12657" y="8634"/>
                  </a:lnTo>
                  <a:lnTo>
                    <a:pt x="13019" y="8951"/>
                  </a:lnTo>
                  <a:lnTo>
                    <a:pt x="13448" y="9290"/>
                  </a:lnTo>
                  <a:lnTo>
                    <a:pt x="13923" y="9629"/>
                  </a:lnTo>
                  <a:lnTo>
                    <a:pt x="14985" y="10352"/>
                  </a:lnTo>
                  <a:lnTo>
                    <a:pt x="16160" y="11120"/>
                  </a:lnTo>
                  <a:lnTo>
                    <a:pt x="18737" y="12838"/>
                  </a:lnTo>
                  <a:lnTo>
                    <a:pt x="20093" y="13742"/>
                  </a:lnTo>
                  <a:lnTo>
                    <a:pt x="21427" y="14691"/>
                  </a:lnTo>
                  <a:lnTo>
                    <a:pt x="22105" y="15189"/>
                  </a:lnTo>
                  <a:lnTo>
                    <a:pt x="22737" y="15686"/>
                  </a:lnTo>
                  <a:lnTo>
                    <a:pt x="23370" y="16183"/>
                  </a:lnTo>
                  <a:lnTo>
                    <a:pt x="23958" y="16703"/>
                  </a:lnTo>
                  <a:lnTo>
                    <a:pt x="24546" y="17223"/>
                  </a:lnTo>
                  <a:lnTo>
                    <a:pt x="25088" y="17743"/>
                  </a:lnTo>
                  <a:lnTo>
                    <a:pt x="25608" y="18285"/>
                  </a:lnTo>
                  <a:lnTo>
                    <a:pt x="26082" y="18805"/>
                  </a:lnTo>
                  <a:lnTo>
                    <a:pt x="26512" y="19347"/>
                  </a:lnTo>
                  <a:lnTo>
                    <a:pt x="26896" y="19890"/>
                  </a:lnTo>
                  <a:lnTo>
                    <a:pt x="27213" y="20455"/>
                  </a:lnTo>
                  <a:lnTo>
                    <a:pt x="27506" y="20997"/>
                  </a:lnTo>
                  <a:lnTo>
                    <a:pt x="27619" y="21268"/>
                  </a:lnTo>
                  <a:lnTo>
                    <a:pt x="27710" y="21540"/>
                  </a:lnTo>
                  <a:lnTo>
                    <a:pt x="27800" y="21834"/>
                  </a:lnTo>
                  <a:lnTo>
                    <a:pt x="27868" y="22105"/>
                  </a:lnTo>
                  <a:lnTo>
                    <a:pt x="27936" y="22376"/>
                  </a:lnTo>
                  <a:lnTo>
                    <a:pt x="27958" y="22670"/>
                  </a:lnTo>
                  <a:lnTo>
                    <a:pt x="27981" y="22941"/>
                  </a:lnTo>
                  <a:lnTo>
                    <a:pt x="27981" y="23235"/>
                  </a:lnTo>
                  <a:lnTo>
                    <a:pt x="27981" y="23235"/>
                  </a:lnTo>
                  <a:lnTo>
                    <a:pt x="27958" y="23506"/>
                  </a:lnTo>
                  <a:lnTo>
                    <a:pt x="27913" y="23822"/>
                  </a:lnTo>
                  <a:lnTo>
                    <a:pt x="27845" y="24139"/>
                  </a:lnTo>
                  <a:lnTo>
                    <a:pt x="27778" y="24455"/>
                  </a:lnTo>
                  <a:lnTo>
                    <a:pt x="27665" y="24794"/>
                  </a:lnTo>
                  <a:lnTo>
                    <a:pt x="27529" y="25133"/>
                  </a:lnTo>
                  <a:lnTo>
                    <a:pt x="27235" y="25879"/>
                  </a:lnTo>
                  <a:lnTo>
                    <a:pt x="26873" y="26648"/>
                  </a:lnTo>
                  <a:lnTo>
                    <a:pt x="26444" y="27439"/>
                  </a:lnTo>
                  <a:lnTo>
                    <a:pt x="25947" y="28275"/>
                  </a:lnTo>
                  <a:lnTo>
                    <a:pt x="25427" y="29134"/>
                  </a:lnTo>
                  <a:lnTo>
                    <a:pt x="24839" y="30015"/>
                  </a:lnTo>
                  <a:lnTo>
                    <a:pt x="24207" y="30897"/>
                  </a:lnTo>
                  <a:lnTo>
                    <a:pt x="23551" y="31801"/>
                  </a:lnTo>
                  <a:lnTo>
                    <a:pt x="22873" y="32705"/>
                  </a:lnTo>
                  <a:lnTo>
                    <a:pt x="22172" y="33609"/>
                  </a:lnTo>
                  <a:lnTo>
                    <a:pt x="21449" y="34513"/>
                  </a:lnTo>
                  <a:lnTo>
                    <a:pt x="19980" y="36298"/>
                  </a:lnTo>
                  <a:lnTo>
                    <a:pt x="18511" y="37993"/>
                  </a:lnTo>
                  <a:lnTo>
                    <a:pt x="17110" y="39598"/>
                  </a:lnTo>
                  <a:lnTo>
                    <a:pt x="15776" y="41045"/>
                  </a:lnTo>
                  <a:lnTo>
                    <a:pt x="14578" y="42333"/>
                  </a:lnTo>
                  <a:lnTo>
                    <a:pt x="12815" y="44186"/>
                  </a:lnTo>
                  <a:lnTo>
                    <a:pt x="12137" y="44864"/>
                  </a:lnTo>
                  <a:lnTo>
                    <a:pt x="12137" y="44864"/>
                  </a:lnTo>
                  <a:lnTo>
                    <a:pt x="11844" y="44910"/>
                  </a:lnTo>
                  <a:lnTo>
                    <a:pt x="11572" y="44910"/>
                  </a:lnTo>
                  <a:lnTo>
                    <a:pt x="11301" y="44910"/>
                  </a:lnTo>
                  <a:lnTo>
                    <a:pt x="11030" y="44887"/>
                  </a:lnTo>
                  <a:lnTo>
                    <a:pt x="10781" y="44842"/>
                  </a:lnTo>
                  <a:lnTo>
                    <a:pt x="10555" y="44796"/>
                  </a:lnTo>
                  <a:lnTo>
                    <a:pt x="10307" y="44729"/>
                  </a:lnTo>
                  <a:lnTo>
                    <a:pt x="10103" y="44661"/>
                  </a:lnTo>
                  <a:lnTo>
                    <a:pt x="9900" y="44570"/>
                  </a:lnTo>
                  <a:lnTo>
                    <a:pt x="9696" y="44457"/>
                  </a:lnTo>
                  <a:lnTo>
                    <a:pt x="9335" y="44231"/>
                  </a:lnTo>
                  <a:lnTo>
                    <a:pt x="8996" y="43983"/>
                  </a:lnTo>
                  <a:lnTo>
                    <a:pt x="8702" y="43712"/>
                  </a:lnTo>
                  <a:lnTo>
                    <a:pt x="8453" y="43418"/>
                  </a:lnTo>
                  <a:lnTo>
                    <a:pt x="8227" y="43124"/>
                  </a:lnTo>
                  <a:lnTo>
                    <a:pt x="8024" y="42830"/>
                  </a:lnTo>
                  <a:lnTo>
                    <a:pt x="7866" y="42559"/>
                  </a:lnTo>
                  <a:lnTo>
                    <a:pt x="7617" y="42084"/>
                  </a:lnTo>
                  <a:lnTo>
                    <a:pt x="7459" y="41768"/>
                  </a:lnTo>
                  <a:lnTo>
                    <a:pt x="7459" y="41768"/>
                  </a:lnTo>
                  <a:lnTo>
                    <a:pt x="7640" y="41429"/>
                  </a:lnTo>
                  <a:lnTo>
                    <a:pt x="7866" y="41067"/>
                  </a:lnTo>
                  <a:lnTo>
                    <a:pt x="8137" y="40638"/>
                  </a:lnTo>
                  <a:lnTo>
                    <a:pt x="8476" y="40186"/>
                  </a:lnTo>
                  <a:lnTo>
                    <a:pt x="8860" y="39689"/>
                  </a:lnTo>
                  <a:lnTo>
                    <a:pt x="9290" y="39169"/>
                  </a:lnTo>
                  <a:lnTo>
                    <a:pt x="10261" y="38016"/>
                  </a:lnTo>
                  <a:lnTo>
                    <a:pt x="11346" y="36796"/>
                  </a:lnTo>
                  <a:lnTo>
                    <a:pt x="12522" y="35507"/>
                  </a:lnTo>
                  <a:lnTo>
                    <a:pt x="14963" y="32773"/>
                  </a:lnTo>
                  <a:lnTo>
                    <a:pt x="16183" y="31394"/>
                  </a:lnTo>
                  <a:lnTo>
                    <a:pt x="17313" y="30038"/>
                  </a:lnTo>
                  <a:lnTo>
                    <a:pt x="17856" y="29382"/>
                  </a:lnTo>
                  <a:lnTo>
                    <a:pt x="18353" y="28727"/>
                  </a:lnTo>
                  <a:lnTo>
                    <a:pt x="18827" y="28094"/>
                  </a:lnTo>
                  <a:lnTo>
                    <a:pt x="19257" y="27484"/>
                  </a:lnTo>
                  <a:lnTo>
                    <a:pt x="19664" y="26896"/>
                  </a:lnTo>
                  <a:lnTo>
                    <a:pt x="20003" y="26331"/>
                  </a:lnTo>
                  <a:lnTo>
                    <a:pt x="20296" y="25789"/>
                  </a:lnTo>
                  <a:lnTo>
                    <a:pt x="20522" y="25292"/>
                  </a:lnTo>
                  <a:lnTo>
                    <a:pt x="20703" y="24817"/>
                  </a:lnTo>
                  <a:lnTo>
                    <a:pt x="20748" y="24591"/>
                  </a:lnTo>
                  <a:lnTo>
                    <a:pt x="20794" y="24365"/>
                  </a:lnTo>
                  <a:lnTo>
                    <a:pt x="20816" y="24161"/>
                  </a:lnTo>
                  <a:lnTo>
                    <a:pt x="20839" y="23981"/>
                  </a:lnTo>
                  <a:lnTo>
                    <a:pt x="20816" y="23777"/>
                  </a:lnTo>
                  <a:lnTo>
                    <a:pt x="20794" y="23619"/>
                  </a:lnTo>
                  <a:lnTo>
                    <a:pt x="20794" y="23619"/>
                  </a:lnTo>
                  <a:lnTo>
                    <a:pt x="20726" y="23438"/>
                  </a:lnTo>
                  <a:lnTo>
                    <a:pt x="20635" y="23257"/>
                  </a:lnTo>
                  <a:lnTo>
                    <a:pt x="20522" y="23054"/>
                  </a:lnTo>
                  <a:lnTo>
                    <a:pt x="20364" y="22873"/>
                  </a:lnTo>
                  <a:lnTo>
                    <a:pt x="20161" y="22692"/>
                  </a:lnTo>
                  <a:lnTo>
                    <a:pt x="19957" y="22489"/>
                  </a:lnTo>
                  <a:lnTo>
                    <a:pt x="19709" y="22286"/>
                  </a:lnTo>
                  <a:lnTo>
                    <a:pt x="19438" y="22105"/>
                  </a:lnTo>
                  <a:lnTo>
                    <a:pt x="18827" y="21698"/>
                  </a:lnTo>
                  <a:lnTo>
                    <a:pt x="18127" y="21291"/>
                  </a:lnTo>
                  <a:lnTo>
                    <a:pt x="17336" y="20862"/>
                  </a:lnTo>
                  <a:lnTo>
                    <a:pt x="16477" y="20410"/>
                  </a:lnTo>
                  <a:lnTo>
                    <a:pt x="14601" y="19483"/>
                  </a:lnTo>
                  <a:lnTo>
                    <a:pt x="12567" y="18489"/>
                  </a:lnTo>
                  <a:lnTo>
                    <a:pt x="11527" y="17969"/>
                  </a:lnTo>
                  <a:lnTo>
                    <a:pt x="10465" y="17426"/>
                  </a:lnTo>
                  <a:lnTo>
                    <a:pt x="9403" y="16839"/>
                  </a:lnTo>
                  <a:lnTo>
                    <a:pt x="8340" y="16251"/>
                  </a:lnTo>
                  <a:lnTo>
                    <a:pt x="7301" y="15641"/>
                  </a:lnTo>
                  <a:lnTo>
                    <a:pt x="6306" y="14985"/>
                  </a:lnTo>
                  <a:lnTo>
                    <a:pt x="5334" y="14330"/>
                  </a:lnTo>
                  <a:lnTo>
                    <a:pt x="4860" y="13991"/>
                  </a:lnTo>
                  <a:lnTo>
                    <a:pt x="4408" y="13629"/>
                  </a:lnTo>
                  <a:lnTo>
                    <a:pt x="3978" y="13268"/>
                  </a:lnTo>
                  <a:lnTo>
                    <a:pt x="3549" y="12906"/>
                  </a:lnTo>
                  <a:lnTo>
                    <a:pt x="3165" y="12522"/>
                  </a:lnTo>
                  <a:lnTo>
                    <a:pt x="2758" y="12160"/>
                  </a:lnTo>
                  <a:lnTo>
                    <a:pt x="2396" y="11753"/>
                  </a:lnTo>
                  <a:lnTo>
                    <a:pt x="2057" y="11369"/>
                  </a:lnTo>
                  <a:lnTo>
                    <a:pt x="1741" y="10962"/>
                  </a:lnTo>
                  <a:lnTo>
                    <a:pt x="1447" y="10555"/>
                  </a:lnTo>
                  <a:lnTo>
                    <a:pt x="1153" y="10126"/>
                  </a:lnTo>
                  <a:lnTo>
                    <a:pt x="904" y="9697"/>
                  </a:lnTo>
                  <a:lnTo>
                    <a:pt x="701" y="9245"/>
                  </a:lnTo>
                  <a:lnTo>
                    <a:pt x="498" y="8815"/>
                  </a:lnTo>
                  <a:lnTo>
                    <a:pt x="339" y="8341"/>
                  </a:lnTo>
                  <a:lnTo>
                    <a:pt x="204" y="7888"/>
                  </a:lnTo>
                  <a:lnTo>
                    <a:pt x="91" y="7414"/>
                  </a:lnTo>
                  <a:lnTo>
                    <a:pt x="46" y="6917"/>
                  </a:lnTo>
                  <a:lnTo>
                    <a:pt x="0" y="6419"/>
                  </a:lnTo>
                  <a:lnTo>
                    <a:pt x="0" y="5922"/>
                  </a:lnTo>
                  <a:lnTo>
                    <a:pt x="46" y="5402"/>
                  </a:lnTo>
                  <a:lnTo>
                    <a:pt x="113" y="4882"/>
                  </a:lnTo>
                  <a:lnTo>
                    <a:pt x="249" y="4363"/>
                  </a:lnTo>
                  <a:lnTo>
                    <a:pt x="407" y="3820"/>
                  </a:lnTo>
                  <a:lnTo>
                    <a:pt x="611" y="3255"/>
                  </a:lnTo>
                  <a:lnTo>
                    <a:pt x="837" y="2690"/>
                  </a:lnTo>
                  <a:lnTo>
                    <a:pt x="837" y="2690"/>
                  </a:lnTo>
                  <a:lnTo>
                    <a:pt x="1040" y="2306"/>
                  </a:lnTo>
                  <a:lnTo>
                    <a:pt x="1311" y="1786"/>
                  </a:lnTo>
                  <a:lnTo>
                    <a:pt x="1469" y="1515"/>
                  </a:lnTo>
                  <a:lnTo>
                    <a:pt x="1673" y="1244"/>
                  </a:lnTo>
                  <a:lnTo>
                    <a:pt x="1899" y="972"/>
                  </a:lnTo>
                  <a:lnTo>
                    <a:pt x="2125" y="724"/>
                  </a:lnTo>
                  <a:lnTo>
                    <a:pt x="2396" y="498"/>
                  </a:lnTo>
                  <a:lnTo>
                    <a:pt x="2690" y="294"/>
                  </a:lnTo>
                  <a:lnTo>
                    <a:pt x="2848" y="227"/>
                  </a:lnTo>
                  <a:lnTo>
                    <a:pt x="3029" y="159"/>
                  </a:lnTo>
                  <a:lnTo>
                    <a:pt x="3187" y="91"/>
                  </a:lnTo>
                  <a:lnTo>
                    <a:pt x="3368" y="46"/>
                  </a:lnTo>
                  <a:lnTo>
                    <a:pt x="3549" y="23"/>
                  </a:lnTo>
                  <a:lnTo>
                    <a:pt x="3752" y="1"/>
                  </a:lnTo>
                  <a:lnTo>
                    <a:pt x="3956" y="1"/>
                  </a:lnTo>
                  <a:lnTo>
                    <a:pt x="4159" y="23"/>
                  </a:lnTo>
                  <a:lnTo>
                    <a:pt x="4362" y="68"/>
                  </a:lnTo>
                  <a:lnTo>
                    <a:pt x="4588" y="136"/>
                  </a:lnTo>
                  <a:lnTo>
                    <a:pt x="4814" y="204"/>
                  </a:lnTo>
                  <a:lnTo>
                    <a:pt x="5063" y="317"/>
                  </a:lnTo>
                  <a:lnTo>
                    <a:pt x="5063" y="317"/>
                  </a:lnTo>
                  <a:lnTo>
                    <a:pt x="5538" y="543"/>
                  </a:lnTo>
                  <a:lnTo>
                    <a:pt x="5990" y="792"/>
                  </a:lnTo>
                  <a:lnTo>
                    <a:pt x="6397" y="1040"/>
                  </a:lnTo>
                  <a:lnTo>
                    <a:pt x="6781" y="1266"/>
                  </a:lnTo>
                  <a:lnTo>
                    <a:pt x="7142" y="1515"/>
                  </a:lnTo>
                  <a:lnTo>
                    <a:pt x="7459" y="1741"/>
                  </a:lnTo>
                  <a:lnTo>
                    <a:pt x="7753" y="1990"/>
                  </a:lnTo>
                  <a:lnTo>
                    <a:pt x="8001" y="2216"/>
                  </a:lnTo>
                  <a:lnTo>
                    <a:pt x="8250" y="2464"/>
                  </a:lnTo>
                  <a:lnTo>
                    <a:pt x="8476" y="2690"/>
                  </a:lnTo>
                  <a:lnTo>
                    <a:pt x="8679" y="2939"/>
                  </a:lnTo>
                  <a:lnTo>
                    <a:pt x="8860" y="3165"/>
                  </a:lnTo>
                  <a:lnTo>
                    <a:pt x="9199" y="3662"/>
                  </a:lnTo>
                  <a:lnTo>
                    <a:pt x="9493" y="4137"/>
                  </a:lnTo>
                  <a:lnTo>
                    <a:pt x="9764" y="4634"/>
                  </a:lnTo>
                  <a:lnTo>
                    <a:pt x="10013" y="5131"/>
                  </a:lnTo>
                  <a:lnTo>
                    <a:pt x="10284" y="5651"/>
                  </a:lnTo>
                  <a:lnTo>
                    <a:pt x="10578" y="6171"/>
                  </a:lnTo>
                  <a:lnTo>
                    <a:pt x="10917" y="6691"/>
                  </a:lnTo>
                  <a:lnTo>
                    <a:pt x="11301" y="7233"/>
                  </a:lnTo>
                  <a:lnTo>
                    <a:pt x="11527" y="7504"/>
                  </a:lnTo>
                  <a:lnTo>
                    <a:pt x="11753" y="7775"/>
                  </a:lnTo>
                  <a:lnTo>
                    <a:pt x="12024" y="8069"/>
                  </a:lnTo>
                  <a:lnTo>
                    <a:pt x="12318" y="834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89" name="Google Shape;1689;p16"/>
            <p:cNvSpPr/>
            <p:nvPr/>
          </p:nvSpPr>
          <p:spPr>
            <a:xfrm>
              <a:off x="5800325" y="1754250"/>
              <a:ext cx="98900" cy="178025"/>
            </a:xfrm>
            <a:custGeom>
              <a:avLst/>
              <a:gdLst/>
              <a:ahLst/>
              <a:cxnLst/>
              <a:rect l="l" t="t" r="r" b="b"/>
              <a:pathLst>
                <a:path w="3956" h="7121" extrusionOk="0">
                  <a:moveTo>
                    <a:pt x="2080" y="1"/>
                  </a:moveTo>
                  <a:lnTo>
                    <a:pt x="2057" y="23"/>
                  </a:lnTo>
                  <a:lnTo>
                    <a:pt x="1990" y="91"/>
                  </a:lnTo>
                  <a:lnTo>
                    <a:pt x="1741" y="362"/>
                  </a:lnTo>
                  <a:lnTo>
                    <a:pt x="1334" y="950"/>
                  </a:lnTo>
                  <a:lnTo>
                    <a:pt x="1198" y="1131"/>
                  </a:lnTo>
                  <a:lnTo>
                    <a:pt x="1085" y="1357"/>
                  </a:lnTo>
                  <a:lnTo>
                    <a:pt x="837" y="1854"/>
                  </a:lnTo>
                  <a:lnTo>
                    <a:pt x="611" y="2442"/>
                  </a:lnTo>
                  <a:lnTo>
                    <a:pt x="407" y="3052"/>
                  </a:lnTo>
                  <a:lnTo>
                    <a:pt x="227" y="3685"/>
                  </a:lnTo>
                  <a:lnTo>
                    <a:pt x="114" y="4273"/>
                  </a:lnTo>
                  <a:lnTo>
                    <a:pt x="23" y="4838"/>
                  </a:lnTo>
                  <a:lnTo>
                    <a:pt x="23" y="5109"/>
                  </a:lnTo>
                  <a:lnTo>
                    <a:pt x="1" y="5335"/>
                  </a:lnTo>
                  <a:lnTo>
                    <a:pt x="1" y="5493"/>
                  </a:lnTo>
                  <a:lnTo>
                    <a:pt x="23" y="5696"/>
                  </a:lnTo>
                  <a:lnTo>
                    <a:pt x="68" y="5945"/>
                  </a:lnTo>
                  <a:lnTo>
                    <a:pt x="114" y="6081"/>
                  </a:lnTo>
                  <a:lnTo>
                    <a:pt x="181" y="6216"/>
                  </a:lnTo>
                  <a:lnTo>
                    <a:pt x="272" y="6352"/>
                  </a:lnTo>
                  <a:lnTo>
                    <a:pt x="385" y="6510"/>
                  </a:lnTo>
                  <a:lnTo>
                    <a:pt x="543" y="6668"/>
                  </a:lnTo>
                  <a:lnTo>
                    <a:pt x="701" y="6804"/>
                  </a:lnTo>
                  <a:lnTo>
                    <a:pt x="905" y="6962"/>
                  </a:lnTo>
                  <a:lnTo>
                    <a:pt x="1131" y="7120"/>
                  </a:lnTo>
                  <a:lnTo>
                    <a:pt x="1537" y="6894"/>
                  </a:lnTo>
                  <a:lnTo>
                    <a:pt x="1944" y="6691"/>
                  </a:lnTo>
                  <a:lnTo>
                    <a:pt x="2329" y="6487"/>
                  </a:lnTo>
                  <a:lnTo>
                    <a:pt x="2668" y="6307"/>
                  </a:lnTo>
                  <a:lnTo>
                    <a:pt x="2984" y="6103"/>
                  </a:lnTo>
                  <a:lnTo>
                    <a:pt x="3097" y="6013"/>
                  </a:lnTo>
                  <a:lnTo>
                    <a:pt x="3210" y="5900"/>
                  </a:lnTo>
                  <a:lnTo>
                    <a:pt x="3278" y="5787"/>
                  </a:lnTo>
                  <a:lnTo>
                    <a:pt x="3323" y="5674"/>
                  </a:lnTo>
                  <a:lnTo>
                    <a:pt x="3346" y="5538"/>
                  </a:lnTo>
                  <a:lnTo>
                    <a:pt x="3346" y="5403"/>
                  </a:lnTo>
                  <a:lnTo>
                    <a:pt x="3300" y="5064"/>
                  </a:lnTo>
                  <a:lnTo>
                    <a:pt x="3278" y="4815"/>
                  </a:lnTo>
                  <a:lnTo>
                    <a:pt x="3278" y="4657"/>
                  </a:lnTo>
                  <a:lnTo>
                    <a:pt x="3300" y="4521"/>
                  </a:lnTo>
                  <a:lnTo>
                    <a:pt x="3391" y="4318"/>
                  </a:lnTo>
                  <a:lnTo>
                    <a:pt x="3459" y="4182"/>
                  </a:lnTo>
                  <a:lnTo>
                    <a:pt x="3504" y="3979"/>
                  </a:lnTo>
                  <a:lnTo>
                    <a:pt x="3572" y="3685"/>
                  </a:lnTo>
                  <a:lnTo>
                    <a:pt x="3639" y="3414"/>
                  </a:lnTo>
                  <a:lnTo>
                    <a:pt x="3707" y="3210"/>
                  </a:lnTo>
                  <a:lnTo>
                    <a:pt x="3798" y="3029"/>
                  </a:lnTo>
                  <a:lnTo>
                    <a:pt x="3911" y="2781"/>
                  </a:lnTo>
                  <a:lnTo>
                    <a:pt x="3956" y="2713"/>
                  </a:lnTo>
                  <a:lnTo>
                    <a:pt x="3368" y="1854"/>
                  </a:lnTo>
                  <a:lnTo>
                    <a:pt x="2103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90" name="Google Shape;1690;p16"/>
            <p:cNvSpPr/>
            <p:nvPr/>
          </p:nvSpPr>
          <p:spPr>
            <a:xfrm>
              <a:off x="5800325" y="1754250"/>
              <a:ext cx="98900" cy="178025"/>
            </a:xfrm>
            <a:custGeom>
              <a:avLst/>
              <a:gdLst/>
              <a:ahLst/>
              <a:cxnLst/>
              <a:rect l="l" t="t" r="r" b="b"/>
              <a:pathLst>
                <a:path w="3956" h="7121" fill="none" extrusionOk="0">
                  <a:moveTo>
                    <a:pt x="1131" y="7120"/>
                  </a:moveTo>
                  <a:lnTo>
                    <a:pt x="1131" y="7120"/>
                  </a:lnTo>
                  <a:lnTo>
                    <a:pt x="905" y="6962"/>
                  </a:lnTo>
                  <a:lnTo>
                    <a:pt x="701" y="6804"/>
                  </a:lnTo>
                  <a:lnTo>
                    <a:pt x="543" y="6668"/>
                  </a:lnTo>
                  <a:lnTo>
                    <a:pt x="385" y="6510"/>
                  </a:lnTo>
                  <a:lnTo>
                    <a:pt x="272" y="6352"/>
                  </a:lnTo>
                  <a:lnTo>
                    <a:pt x="181" y="6216"/>
                  </a:lnTo>
                  <a:lnTo>
                    <a:pt x="114" y="6081"/>
                  </a:lnTo>
                  <a:lnTo>
                    <a:pt x="68" y="5945"/>
                  </a:lnTo>
                  <a:lnTo>
                    <a:pt x="23" y="5696"/>
                  </a:lnTo>
                  <a:lnTo>
                    <a:pt x="1" y="5493"/>
                  </a:lnTo>
                  <a:lnTo>
                    <a:pt x="1" y="5335"/>
                  </a:lnTo>
                  <a:lnTo>
                    <a:pt x="1" y="5335"/>
                  </a:lnTo>
                  <a:lnTo>
                    <a:pt x="23" y="5109"/>
                  </a:lnTo>
                  <a:lnTo>
                    <a:pt x="23" y="4838"/>
                  </a:lnTo>
                  <a:lnTo>
                    <a:pt x="114" y="4273"/>
                  </a:lnTo>
                  <a:lnTo>
                    <a:pt x="227" y="3685"/>
                  </a:lnTo>
                  <a:lnTo>
                    <a:pt x="407" y="3052"/>
                  </a:lnTo>
                  <a:lnTo>
                    <a:pt x="611" y="2442"/>
                  </a:lnTo>
                  <a:lnTo>
                    <a:pt x="837" y="1854"/>
                  </a:lnTo>
                  <a:lnTo>
                    <a:pt x="1085" y="1357"/>
                  </a:lnTo>
                  <a:lnTo>
                    <a:pt x="1198" y="1131"/>
                  </a:lnTo>
                  <a:lnTo>
                    <a:pt x="1334" y="950"/>
                  </a:lnTo>
                  <a:lnTo>
                    <a:pt x="1334" y="950"/>
                  </a:lnTo>
                  <a:lnTo>
                    <a:pt x="1741" y="362"/>
                  </a:lnTo>
                  <a:lnTo>
                    <a:pt x="1990" y="91"/>
                  </a:lnTo>
                  <a:lnTo>
                    <a:pt x="2057" y="23"/>
                  </a:lnTo>
                  <a:lnTo>
                    <a:pt x="2080" y="1"/>
                  </a:lnTo>
                  <a:lnTo>
                    <a:pt x="2103" y="1"/>
                  </a:lnTo>
                  <a:lnTo>
                    <a:pt x="3368" y="1854"/>
                  </a:lnTo>
                  <a:lnTo>
                    <a:pt x="3956" y="2713"/>
                  </a:lnTo>
                  <a:lnTo>
                    <a:pt x="3956" y="2713"/>
                  </a:lnTo>
                  <a:lnTo>
                    <a:pt x="3911" y="2781"/>
                  </a:lnTo>
                  <a:lnTo>
                    <a:pt x="3798" y="3029"/>
                  </a:lnTo>
                  <a:lnTo>
                    <a:pt x="3707" y="3210"/>
                  </a:lnTo>
                  <a:lnTo>
                    <a:pt x="3639" y="3414"/>
                  </a:lnTo>
                  <a:lnTo>
                    <a:pt x="3572" y="3685"/>
                  </a:lnTo>
                  <a:lnTo>
                    <a:pt x="3504" y="3979"/>
                  </a:lnTo>
                  <a:lnTo>
                    <a:pt x="3504" y="3979"/>
                  </a:lnTo>
                  <a:lnTo>
                    <a:pt x="3459" y="4182"/>
                  </a:lnTo>
                  <a:lnTo>
                    <a:pt x="3391" y="4318"/>
                  </a:lnTo>
                  <a:lnTo>
                    <a:pt x="3300" y="4521"/>
                  </a:lnTo>
                  <a:lnTo>
                    <a:pt x="3278" y="4657"/>
                  </a:lnTo>
                  <a:lnTo>
                    <a:pt x="3278" y="4815"/>
                  </a:lnTo>
                  <a:lnTo>
                    <a:pt x="3300" y="5064"/>
                  </a:lnTo>
                  <a:lnTo>
                    <a:pt x="3346" y="5403"/>
                  </a:lnTo>
                  <a:lnTo>
                    <a:pt x="3346" y="5403"/>
                  </a:lnTo>
                  <a:lnTo>
                    <a:pt x="3346" y="5538"/>
                  </a:lnTo>
                  <a:lnTo>
                    <a:pt x="3323" y="5674"/>
                  </a:lnTo>
                  <a:lnTo>
                    <a:pt x="3278" y="5787"/>
                  </a:lnTo>
                  <a:lnTo>
                    <a:pt x="3210" y="5900"/>
                  </a:lnTo>
                  <a:lnTo>
                    <a:pt x="3097" y="6013"/>
                  </a:lnTo>
                  <a:lnTo>
                    <a:pt x="2984" y="6103"/>
                  </a:lnTo>
                  <a:lnTo>
                    <a:pt x="2668" y="6307"/>
                  </a:lnTo>
                  <a:lnTo>
                    <a:pt x="2329" y="6487"/>
                  </a:lnTo>
                  <a:lnTo>
                    <a:pt x="1944" y="6691"/>
                  </a:lnTo>
                  <a:lnTo>
                    <a:pt x="1537" y="6894"/>
                  </a:lnTo>
                  <a:lnTo>
                    <a:pt x="1131" y="712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91" name="Google Shape;1691;p16"/>
            <p:cNvSpPr/>
            <p:nvPr/>
          </p:nvSpPr>
          <p:spPr>
            <a:xfrm>
              <a:off x="5886775" y="1822075"/>
              <a:ext cx="12450" cy="35050"/>
            </a:xfrm>
            <a:custGeom>
              <a:avLst/>
              <a:gdLst/>
              <a:ahLst/>
              <a:cxnLst/>
              <a:rect l="l" t="t" r="r" b="b"/>
              <a:pathLst>
                <a:path w="498" h="1402" extrusionOk="0">
                  <a:moveTo>
                    <a:pt x="498" y="0"/>
                  </a:moveTo>
                  <a:lnTo>
                    <a:pt x="453" y="68"/>
                  </a:lnTo>
                  <a:lnTo>
                    <a:pt x="340" y="316"/>
                  </a:lnTo>
                  <a:lnTo>
                    <a:pt x="249" y="497"/>
                  </a:lnTo>
                  <a:lnTo>
                    <a:pt x="181" y="701"/>
                  </a:lnTo>
                  <a:lnTo>
                    <a:pt x="114" y="972"/>
                  </a:lnTo>
                  <a:lnTo>
                    <a:pt x="46" y="1266"/>
                  </a:lnTo>
                  <a:lnTo>
                    <a:pt x="1" y="1401"/>
                  </a:lnTo>
                  <a:lnTo>
                    <a:pt x="23" y="1401"/>
                  </a:lnTo>
                  <a:lnTo>
                    <a:pt x="91" y="1085"/>
                  </a:lnTo>
                  <a:lnTo>
                    <a:pt x="159" y="814"/>
                  </a:lnTo>
                  <a:lnTo>
                    <a:pt x="317" y="384"/>
                  </a:lnTo>
                  <a:lnTo>
                    <a:pt x="453" y="90"/>
                  </a:lnTo>
                  <a:lnTo>
                    <a:pt x="498" y="0"/>
                  </a:lnTo>
                  <a:close/>
                </a:path>
              </a:pathLst>
            </a:custGeom>
            <a:solidFill>
              <a:srgbClr val="E2E2E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92" name="Google Shape;1692;p16"/>
            <p:cNvSpPr/>
            <p:nvPr/>
          </p:nvSpPr>
          <p:spPr>
            <a:xfrm>
              <a:off x="5886775" y="1822075"/>
              <a:ext cx="12450" cy="35050"/>
            </a:xfrm>
            <a:custGeom>
              <a:avLst/>
              <a:gdLst/>
              <a:ahLst/>
              <a:cxnLst/>
              <a:rect l="l" t="t" r="r" b="b"/>
              <a:pathLst>
                <a:path w="498" h="1402" fill="none" extrusionOk="0">
                  <a:moveTo>
                    <a:pt x="498" y="0"/>
                  </a:moveTo>
                  <a:lnTo>
                    <a:pt x="498" y="0"/>
                  </a:lnTo>
                  <a:lnTo>
                    <a:pt x="453" y="68"/>
                  </a:lnTo>
                  <a:lnTo>
                    <a:pt x="340" y="316"/>
                  </a:lnTo>
                  <a:lnTo>
                    <a:pt x="249" y="497"/>
                  </a:lnTo>
                  <a:lnTo>
                    <a:pt x="181" y="701"/>
                  </a:lnTo>
                  <a:lnTo>
                    <a:pt x="114" y="972"/>
                  </a:lnTo>
                  <a:lnTo>
                    <a:pt x="46" y="1266"/>
                  </a:lnTo>
                  <a:lnTo>
                    <a:pt x="46" y="1266"/>
                  </a:lnTo>
                  <a:lnTo>
                    <a:pt x="1" y="1401"/>
                  </a:lnTo>
                  <a:lnTo>
                    <a:pt x="1" y="1401"/>
                  </a:lnTo>
                  <a:lnTo>
                    <a:pt x="23" y="1401"/>
                  </a:lnTo>
                  <a:lnTo>
                    <a:pt x="23" y="1401"/>
                  </a:lnTo>
                  <a:lnTo>
                    <a:pt x="23" y="1401"/>
                  </a:lnTo>
                  <a:lnTo>
                    <a:pt x="23" y="1401"/>
                  </a:lnTo>
                  <a:lnTo>
                    <a:pt x="91" y="1085"/>
                  </a:lnTo>
                  <a:lnTo>
                    <a:pt x="159" y="814"/>
                  </a:lnTo>
                  <a:lnTo>
                    <a:pt x="317" y="384"/>
                  </a:lnTo>
                  <a:lnTo>
                    <a:pt x="453" y="90"/>
                  </a:lnTo>
                  <a:lnTo>
                    <a:pt x="49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93" name="Google Shape;1693;p16"/>
            <p:cNvSpPr/>
            <p:nvPr/>
          </p:nvSpPr>
          <p:spPr>
            <a:xfrm>
              <a:off x="5839325" y="1800600"/>
              <a:ext cx="59900" cy="56525"/>
            </a:xfrm>
            <a:custGeom>
              <a:avLst/>
              <a:gdLst/>
              <a:ahLst/>
              <a:cxnLst/>
              <a:rect l="l" t="t" r="r" b="b"/>
              <a:pathLst>
                <a:path w="2396" h="2261" extrusionOk="0">
                  <a:moveTo>
                    <a:pt x="1808" y="0"/>
                  </a:moveTo>
                  <a:lnTo>
                    <a:pt x="1175" y="136"/>
                  </a:lnTo>
                  <a:lnTo>
                    <a:pt x="656" y="271"/>
                  </a:lnTo>
                  <a:lnTo>
                    <a:pt x="430" y="317"/>
                  </a:lnTo>
                  <a:lnTo>
                    <a:pt x="249" y="384"/>
                  </a:lnTo>
                  <a:lnTo>
                    <a:pt x="158" y="452"/>
                  </a:lnTo>
                  <a:lnTo>
                    <a:pt x="68" y="543"/>
                  </a:lnTo>
                  <a:lnTo>
                    <a:pt x="23" y="656"/>
                  </a:lnTo>
                  <a:lnTo>
                    <a:pt x="0" y="791"/>
                  </a:lnTo>
                  <a:lnTo>
                    <a:pt x="0" y="949"/>
                  </a:lnTo>
                  <a:lnTo>
                    <a:pt x="23" y="1108"/>
                  </a:lnTo>
                  <a:lnTo>
                    <a:pt x="68" y="1266"/>
                  </a:lnTo>
                  <a:lnTo>
                    <a:pt x="158" y="1424"/>
                  </a:lnTo>
                  <a:lnTo>
                    <a:pt x="271" y="1582"/>
                  </a:lnTo>
                  <a:lnTo>
                    <a:pt x="407" y="1740"/>
                  </a:lnTo>
                  <a:lnTo>
                    <a:pt x="565" y="1876"/>
                  </a:lnTo>
                  <a:lnTo>
                    <a:pt x="769" y="2012"/>
                  </a:lnTo>
                  <a:lnTo>
                    <a:pt x="1017" y="2102"/>
                  </a:lnTo>
                  <a:lnTo>
                    <a:pt x="1266" y="2192"/>
                  </a:lnTo>
                  <a:lnTo>
                    <a:pt x="1582" y="2238"/>
                  </a:lnTo>
                  <a:lnTo>
                    <a:pt x="1899" y="2260"/>
                  </a:lnTo>
                  <a:lnTo>
                    <a:pt x="1944" y="2125"/>
                  </a:lnTo>
                  <a:lnTo>
                    <a:pt x="2012" y="1831"/>
                  </a:lnTo>
                  <a:lnTo>
                    <a:pt x="2079" y="1560"/>
                  </a:lnTo>
                  <a:lnTo>
                    <a:pt x="2147" y="1356"/>
                  </a:lnTo>
                  <a:lnTo>
                    <a:pt x="2238" y="1175"/>
                  </a:lnTo>
                  <a:lnTo>
                    <a:pt x="2351" y="927"/>
                  </a:lnTo>
                  <a:lnTo>
                    <a:pt x="2396" y="859"/>
                  </a:lnTo>
                  <a:lnTo>
                    <a:pt x="1808" y="0"/>
                  </a:lnTo>
                  <a:close/>
                </a:path>
              </a:pathLst>
            </a:custGeom>
            <a:solidFill>
              <a:srgbClr val="D49C9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94" name="Google Shape;1694;p16"/>
            <p:cNvSpPr/>
            <p:nvPr/>
          </p:nvSpPr>
          <p:spPr>
            <a:xfrm>
              <a:off x="5839325" y="1800600"/>
              <a:ext cx="59900" cy="56525"/>
            </a:xfrm>
            <a:custGeom>
              <a:avLst/>
              <a:gdLst/>
              <a:ahLst/>
              <a:cxnLst/>
              <a:rect l="l" t="t" r="r" b="b"/>
              <a:pathLst>
                <a:path w="2396" h="2261" fill="none" extrusionOk="0">
                  <a:moveTo>
                    <a:pt x="1808" y="0"/>
                  </a:moveTo>
                  <a:lnTo>
                    <a:pt x="1808" y="0"/>
                  </a:lnTo>
                  <a:lnTo>
                    <a:pt x="1175" y="136"/>
                  </a:lnTo>
                  <a:lnTo>
                    <a:pt x="656" y="271"/>
                  </a:lnTo>
                  <a:lnTo>
                    <a:pt x="430" y="317"/>
                  </a:lnTo>
                  <a:lnTo>
                    <a:pt x="249" y="384"/>
                  </a:lnTo>
                  <a:lnTo>
                    <a:pt x="249" y="384"/>
                  </a:lnTo>
                  <a:lnTo>
                    <a:pt x="158" y="452"/>
                  </a:lnTo>
                  <a:lnTo>
                    <a:pt x="68" y="543"/>
                  </a:lnTo>
                  <a:lnTo>
                    <a:pt x="23" y="656"/>
                  </a:lnTo>
                  <a:lnTo>
                    <a:pt x="0" y="791"/>
                  </a:lnTo>
                  <a:lnTo>
                    <a:pt x="0" y="949"/>
                  </a:lnTo>
                  <a:lnTo>
                    <a:pt x="23" y="1108"/>
                  </a:lnTo>
                  <a:lnTo>
                    <a:pt x="68" y="1266"/>
                  </a:lnTo>
                  <a:lnTo>
                    <a:pt x="158" y="1424"/>
                  </a:lnTo>
                  <a:lnTo>
                    <a:pt x="271" y="1582"/>
                  </a:lnTo>
                  <a:lnTo>
                    <a:pt x="407" y="1740"/>
                  </a:lnTo>
                  <a:lnTo>
                    <a:pt x="565" y="1876"/>
                  </a:lnTo>
                  <a:lnTo>
                    <a:pt x="769" y="2012"/>
                  </a:lnTo>
                  <a:lnTo>
                    <a:pt x="1017" y="2102"/>
                  </a:lnTo>
                  <a:lnTo>
                    <a:pt x="1266" y="2192"/>
                  </a:lnTo>
                  <a:lnTo>
                    <a:pt x="1582" y="2238"/>
                  </a:lnTo>
                  <a:lnTo>
                    <a:pt x="1899" y="2260"/>
                  </a:lnTo>
                  <a:lnTo>
                    <a:pt x="1899" y="2260"/>
                  </a:lnTo>
                  <a:lnTo>
                    <a:pt x="1944" y="2125"/>
                  </a:lnTo>
                  <a:lnTo>
                    <a:pt x="1944" y="2125"/>
                  </a:lnTo>
                  <a:lnTo>
                    <a:pt x="2012" y="1831"/>
                  </a:lnTo>
                  <a:lnTo>
                    <a:pt x="2079" y="1560"/>
                  </a:lnTo>
                  <a:lnTo>
                    <a:pt x="2147" y="1356"/>
                  </a:lnTo>
                  <a:lnTo>
                    <a:pt x="2238" y="1175"/>
                  </a:lnTo>
                  <a:lnTo>
                    <a:pt x="2351" y="927"/>
                  </a:lnTo>
                  <a:lnTo>
                    <a:pt x="2396" y="859"/>
                  </a:lnTo>
                  <a:lnTo>
                    <a:pt x="2396" y="859"/>
                  </a:lnTo>
                  <a:lnTo>
                    <a:pt x="180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95" name="Google Shape;1695;p16"/>
            <p:cNvSpPr/>
            <p:nvPr/>
          </p:nvSpPr>
          <p:spPr>
            <a:xfrm>
              <a:off x="5825750" y="1705675"/>
              <a:ext cx="126600" cy="146925"/>
            </a:xfrm>
            <a:custGeom>
              <a:avLst/>
              <a:gdLst/>
              <a:ahLst/>
              <a:cxnLst/>
              <a:rect l="l" t="t" r="r" b="b"/>
              <a:pathLst>
                <a:path w="5064" h="5877" extrusionOk="0">
                  <a:moveTo>
                    <a:pt x="362" y="0"/>
                  </a:moveTo>
                  <a:lnTo>
                    <a:pt x="294" y="384"/>
                  </a:lnTo>
                  <a:lnTo>
                    <a:pt x="159" y="1334"/>
                  </a:lnTo>
                  <a:lnTo>
                    <a:pt x="91" y="1899"/>
                  </a:lnTo>
                  <a:lnTo>
                    <a:pt x="23" y="2441"/>
                  </a:lnTo>
                  <a:lnTo>
                    <a:pt x="1" y="2938"/>
                  </a:lnTo>
                  <a:lnTo>
                    <a:pt x="1" y="3164"/>
                  </a:lnTo>
                  <a:lnTo>
                    <a:pt x="23" y="3345"/>
                  </a:lnTo>
                  <a:lnTo>
                    <a:pt x="68" y="3526"/>
                  </a:lnTo>
                  <a:lnTo>
                    <a:pt x="159" y="3707"/>
                  </a:lnTo>
                  <a:lnTo>
                    <a:pt x="272" y="3910"/>
                  </a:lnTo>
                  <a:lnTo>
                    <a:pt x="430" y="4114"/>
                  </a:lnTo>
                  <a:lnTo>
                    <a:pt x="611" y="4294"/>
                  </a:lnTo>
                  <a:lnTo>
                    <a:pt x="837" y="4498"/>
                  </a:lnTo>
                  <a:lnTo>
                    <a:pt x="1063" y="4701"/>
                  </a:lnTo>
                  <a:lnTo>
                    <a:pt x="1334" y="4882"/>
                  </a:lnTo>
                  <a:lnTo>
                    <a:pt x="1605" y="5063"/>
                  </a:lnTo>
                  <a:lnTo>
                    <a:pt x="1922" y="5244"/>
                  </a:lnTo>
                  <a:lnTo>
                    <a:pt x="2238" y="5402"/>
                  </a:lnTo>
                  <a:lnTo>
                    <a:pt x="2555" y="5537"/>
                  </a:lnTo>
                  <a:lnTo>
                    <a:pt x="2894" y="5650"/>
                  </a:lnTo>
                  <a:lnTo>
                    <a:pt x="3233" y="5763"/>
                  </a:lnTo>
                  <a:lnTo>
                    <a:pt x="3572" y="5831"/>
                  </a:lnTo>
                  <a:lnTo>
                    <a:pt x="3911" y="5876"/>
                  </a:lnTo>
                  <a:lnTo>
                    <a:pt x="4046" y="5876"/>
                  </a:lnTo>
                  <a:lnTo>
                    <a:pt x="4137" y="5809"/>
                  </a:lnTo>
                  <a:lnTo>
                    <a:pt x="4227" y="5696"/>
                  </a:lnTo>
                  <a:lnTo>
                    <a:pt x="4272" y="5560"/>
                  </a:lnTo>
                  <a:lnTo>
                    <a:pt x="4318" y="5402"/>
                  </a:lnTo>
                  <a:lnTo>
                    <a:pt x="4340" y="5198"/>
                  </a:lnTo>
                  <a:lnTo>
                    <a:pt x="4363" y="4792"/>
                  </a:lnTo>
                  <a:lnTo>
                    <a:pt x="4408" y="4385"/>
                  </a:lnTo>
                  <a:lnTo>
                    <a:pt x="4431" y="4204"/>
                  </a:lnTo>
                  <a:lnTo>
                    <a:pt x="4453" y="4023"/>
                  </a:lnTo>
                  <a:lnTo>
                    <a:pt x="4498" y="3888"/>
                  </a:lnTo>
                  <a:lnTo>
                    <a:pt x="4566" y="3797"/>
                  </a:lnTo>
                  <a:lnTo>
                    <a:pt x="4657" y="3729"/>
                  </a:lnTo>
                  <a:lnTo>
                    <a:pt x="4792" y="3729"/>
                  </a:lnTo>
                  <a:lnTo>
                    <a:pt x="4905" y="3707"/>
                  </a:lnTo>
                  <a:lnTo>
                    <a:pt x="4950" y="3684"/>
                  </a:lnTo>
                  <a:lnTo>
                    <a:pt x="4973" y="3662"/>
                  </a:lnTo>
                  <a:lnTo>
                    <a:pt x="5041" y="3571"/>
                  </a:lnTo>
                  <a:lnTo>
                    <a:pt x="5063" y="3436"/>
                  </a:lnTo>
                  <a:lnTo>
                    <a:pt x="5063" y="3255"/>
                  </a:lnTo>
                  <a:lnTo>
                    <a:pt x="5041" y="3051"/>
                  </a:lnTo>
                  <a:lnTo>
                    <a:pt x="4973" y="2599"/>
                  </a:lnTo>
                  <a:lnTo>
                    <a:pt x="4770" y="1560"/>
                  </a:lnTo>
                  <a:lnTo>
                    <a:pt x="4702" y="1040"/>
                  </a:lnTo>
                  <a:lnTo>
                    <a:pt x="4679" y="814"/>
                  </a:lnTo>
                  <a:lnTo>
                    <a:pt x="4679" y="610"/>
                  </a:lnTo>
                  <a:lnTo>
                    <a:pt x="362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96" name="Google Shape;1696;p16"/>
            <p:cNvSpPr/>
            <p:nvPr/>
          </p:nvSpPr>
          <p:spPr>
            <a:xfrm>
              <a:off x="5781675" y="1649175"/>
              <a:ext cx="183675" cy="143525"/>
            </a:xfrm>
            <a:custGeom>
              <a:avLst/>
              <a:gdLst/>
              <a:ahLst/>
              <a:cxnLst/>
              <a:rect l="l" t="t" r="r" b="b"/>
              <a:pathLst>
                <a:path w="7347" h="5741" extrusionOk="0">
                  <a:moveTo>
                    <a:pt x="4702" y="0"/>
                  </a:moveTo>
                  <a:lnTo>
                    <a:pt x="4521" y="23"/>
                  </a:lnTo>
                  <a:lnTo>
                    <a:pt x="4385" y="90"/>
                  </a:lnTo>
                  <a:lnTo>
                    <a:pt x="4250" y="158"/>
                  </a:lnTo>
                  <a:lnTo>
                    <a:pt x="4137" y="226"/>
                  </a:lnTo>
                  <a:lnTo>
                    <a:pt x="4001" y="271"/>
                  </a:lnTo>
                  <a:lnTo>
                    <a:pt x="3843" y="316"/>
                  </a:lnTo>
                  <a:lnTo>
                    <a:pt x="3640" y="316"/>
                  </a:lnTo>
                  <a:lnTo>
                    <a:pt x="3459" y="294"/>
                  </a:lnTo>
                  <a:lnTo>
                    <a:pt x="3233" y="249"/>
                  </a:lnTo>
                  <a:lnTo>
                    <a:pt x="2645" y="113"/>
                  </a:lnTo>
                  <a:lnTo>
                    <a:pt x="2329" y="90"/>
                  </a:lnTo>
                  <a:lnTo>
                    <a:pt x="2012" y="68"/>
                  </a:lnTo>
                  <a:lnTo>
                    <a:pt x="1877" y="90"/>
                  </a:lnTo>
                  <a:lnTo>
                    <a:pt x="1718" y="113"/>
                  </a:lnTo>
                  <a:lnTo>
                    <a:pt x="1583" y="158"/>
                  </a:lnTo>
                  <a:lnTo>
                    <a:pt x="1470" y="203"/>
                  </a:lnTo>
                  <a:lnTo>
                    <a:pt x="1266" y="339"/>
                  </a:lnTo>
                  <a:lnTo>
                    <a:pt x="1108" y="475"/>
                  </a:lnTo>
                  <a:lnTo>
                    <a:pt x="973" y="610"/>
                  </a:lnTo>
                  <a:lnTo>
                    <a:pt x="882" y="746"/>
                  </a:lnTo>
                  <a:lnTo>
                    <a:pt x="814" y="881"/>
                  </a:lnTo>
                  <a:lnTo>
                    <a:pt x="747" y="1017"/>
                  </a:lnTo>
                  <a:lnTo>
                    <a:pt x="679" y="1311"/>
                  </a:lnTo>
                  <a:lnTo>
                    <a:pt x="634" y="1627"/>
                  </a:lnTo>
                  <a:lnTo>
                    <a:pt x="566" y="1944"/>
                  </a:lnTo>
                  <a:lnTo>
                    <a:pt x="498" y="2125"/>
                  </a:lnTo>
                  <a:lnTo>
                    <a:pt x="430" y="2283"/>
                  </a:lnTo>
                  <a:lnTo>
                    <a:pt x="340" y="2464"/>
                  </a:lnTo>
                  <a:lnTo>
                    <a:pt x="204" y="2644"/>
                  </a:lnTo>
                  <a:lnTo>
                    <a:pt x="136" y="2780"/>
                  </a:lnTo>
                  <a:lnTo>
                    <a:pt x="69" y="2893"/>
                  </a:lnTo>
                  <a:lnTo>
                    <a:pt x="23" y="3006"/>
                  </a:lnTo>
                  <a:lnTo>
                    <a:pt x="1" y="3142"/>
                  </a:lnTo>
                  <a:lnTo>
                    <a:pt x="1" y="3277"/>
                  </a:lnTo>
                  <a:lnTo>
                    <a:pt x="1" y="3413"/>
                  </a:lnTo>
                  <a:lnTo>
                    <a:pt x="23" y="3684"/>
                  </a:lnTo>
                  <a:lnTo>
                    <a:pt x="114" y="3955"/>
                  </a:lnTo>
                  <a:lnTo>
                    <a:pt x="227" y="4204"/>
                  </a:lnTo>
                  <a:lnTo>
                    <a:pt x="385" y="4475"/>
                  </a:lnTo>
                  <a:lnTo>
                    <a:pt x="543" y="4724"/>
                  </a:lnTo>
                  <a:lnTo>
                    <a:pt x="747" y="4950"/>
                  </a:lnTo>
                  <a:lnTo>
                    <a:pt x="927" y="5176"/>
                  </a:lnTo>
                  <a:lnTo>
                    <a:pt x="1108" y="5357"/>
                  </a:lnTo>
                  <a:lnTo>
                    <a:pt x="1312" y="5515"/>
                  </a:lnTo>
                  <a:lnTo>
                    <a:pt x="1470" y="5628"/>
                  </a:lnTo>
                  <a:lnTo>
                    <a:pt x="1605" y="5718"/>
                  </a:lnTo>
                  <a:lnTo>
                    <a:pt x="1741" y="5741"/>
                  </a:lnTo>
                  <a:lnTo>
                    <a:pt x="1786" y="5741"/>
                  </a:lnTo>
                  <a:lnTo>
                    <a:pt x="1809" y="5718"/>
                  </a:lnTo>
                  <a:lnTo>
                    <a:pt x="1877" y="5673"/>
                  </a:lnTo>
                  <a:lnTo>
                    <a:pt x="1922" y="5583"/>
                  </a:lnTo>
                  <a:lnTo>
                    <a:pt x="1944" y="5492"/>
                  </a:lnTo>
                  <a:lnTo>
                    <a:pt x="1967" y="5402"/>
                  </a:lnTo>
                  <a:lnTo>
                    <a:pt x="2012" y="5153"/>
                  </a:lnTo>
                  <a:lnTo>
                    <a:pt x="2012" y="4904"/>
                  </a:lnTo>
                  <a:lnTo>
                    <a:pt x="2012" y="4656"/>
                  </a:lnTo>
                  <a:lnTo>
                    <a:pt x="2035" y="4430"/>
                  </a:lnTo>
                  <a:lnTo>
                    <a:pt x="2057" y="4317"/>
                  </a:lnTo>
                  <a:lnTo>
                    <a:pt x="2103" y="4249"/>
                  </a:lnTo>
                  <a:lnTo>
                    <a:pt x="2148" y="4181"/>
                  </a:lnTo>
                  <a:lnTo>
                    <a:pt x="2193" y="4113"/>
                  </a:lnTo>
                  <a:lnTo>
                    <a:pt x="2396" y="4046"/>
                  </a:lnTo>
                  <a:lnTo>
                    <a:pt x="2532" y="4023"/>
                  </a:lnTo>
                  <a:lnTo>
                    <a:pt x="2577" y="4023"/>
                  </a:lnTo>
                  <a:lnTo>
                    <a:pt x="2645" y="4046"/>
                  </a:lnTo>
                  <a:lnTo>
                    <a:pt x="2736" y="4113"/>
                  </a:lnTo>
                  <a:lnTo>
                    <a:pt x="2826" y="4226"/>
                  </a:lnTo>
                  <a:lnTo>
                    <a:pt x="2894" y="4362"/>
                  </a:lnTo>
                  <a:lnTo>
                    <a:pt x="3007" y="4520"/>
                  </a:lnTo>
                  <a:lnTo>
                    <a:pt x="3120" y="4701"/>
                  </a:lnTo>
                  <a:lnTo>
                    <a:pt x="3278" y="4859"/>
                  </a:lnTo>
                  <a:lnTo>
                    <a:pt x="3459" y="4972"/>
                  </a:lnTo>
                  <a:lnTo>
                    <a:pt x="3640" y="5063"/>
                  </a:lnTo>
                  <a:lnTo>
                    <a:pt x="3888" y="5063"/>
                  </a:lnTo>
                  <a:lnTo>
                    <a:pt x="3956" y="5018"/>
                  </a:lnTo>
                  <a:lnTo>
                    <a:pt x="3979" y="4972"/>
                  </a:lnTo>
                  <a:lnTo>
                    <a:pt x="4024" y="4904"/>
                  </a:lnTo>
                  <a:lnTo>
                    <a:pt x="4024" y="4814"/>
                  </a:lnTo>
                  <a:lnTo>
                    <a:pt x="4001" y="4701"/>
                  </a:lnTo>
                  <a:lnTo>
                    <a:pt x="3979" y="4588"/>
                  </a:lnTo>
                  <a:lnTo>
                    <a:pt x="3911" y="4430"/>
                  </a:lnTo>
                  <a:lnTo>
                    <a:pt x="3798" y="4136"/>
                  </a:lnTo>
                  <a:lnTo>
                    <a:pt x="3730" y="3910"/>
                  </a:lnTo>
                  <a:lnTo>
                    <a:pt x="3730" y="3820"/>
                  </a:lnTo>
                  <a:lnTo>
                    <a:pt x="3753" y="3752"/>
                  </a:lnTo>
                  <a:lnTo>
                    <a:pt x="3775" y="3684"/>
                  </a:lnTo>
                  <a:lnTo>
                    <a:pt x="3820" y="3639"/>
                  </a:lnTo>
                  <a:lnTo>
                    <a:pt x="3866" y="3616"/>
                  </a:lnTo>
                  <a:lnTo>
                    <a:pt x="3933" y="3594"/>
                  </a:lnTo>
                  <a:lnTo>
                    <a:pt x="4069" y="3571"/>
                  </a:lnTo>
                  <a:lnTo>
                    <a:pt x="4250" y="3571"/>
                  </a:lnTo>
                  <a:lnTo>
                    <a:pt x="4431" y="3616"/>
                  </a:lnTo>
                  <a:lnTo>
                    <a:pt x="4770" y="3729"/>
                  </a:lnTo>
                  <a:lnTo>
                    <a:pt x="4973" y="3797"/>
                  </a:lnTo>
                  <a:lnTo>
                    <a:pt x="5063" y="3820"/>
                  </a:lnTo>
                  <a:lnTo>
                    <a:pt x="5176" y="3820"/>
                  </a:lnTo>
                  <a:lnTo>
                    <a:pt x="5289" y="3797"/>
                  </a:lnTo>
                  <a:lnTo>
                    <a:pt x="5425" y="3752"/>
                  </a:lnTo>
                  <a:lnTo>
                    <a:pt x="5493" y="3729"/>
                  </a:lnTo>
                  <a:lnTo>
                    <a:pt x="5538" y="3684"/>
                  </a:lnTo>
                  <a:lnTo>
                    <a:pt x="5561" y="3639"/>
                  </a:lnTo>
                  <a:lnTo>
                    <a:pt x="5583" y="3571"/>
                  </a:lnTo>
                  <a:lnTo>
                    <a:pt x="5583" y="3435"/>
                  </a:lnTo>
                  <a:lnTo>
                    <a:pt x="5583" y="3277"/>
                  </a:lnTo>
                  <a:lnTo>
                    <a:pt x="5583" y="3142"/>
                  </a:lnTo>
                  <a:lnTo>
                    <a:pt x="5606" y="3096"/>
                  </a:lnTo>
                  <a:lnTo>
                    <a:pt x="5651" y="3051"/>
                  </a:lnTo>
                  <a:lnTo>
                    <a:pt x="5696" y="3006"/>
                  </a:lnTo>
                  <a:lnTo>
                    <a:pt x="5764" y="2961"/>
                  </a:lnTo>
                  <a:lnTo>
                    <a:pt x="5877" y="2938"/>
                  </a:lnTo>
                  <a:lnTo>
                    <a:pt x="6284" y="2938"/>
                  </a:lnTo>
                  <a:lnTo>
                    <a:pt x="6420" y="2916"/>
                  </a:lnTo>
                  <a:lnTo>
                    <a:pt x="6578" y="2870"/>
                  </a:lnTo>
                  <a:lnTo>
                    <a:pt x="6713" y="2825"/>
                  </a:lnTo>
                  <a:lnTo>
                    <a:pt x="6826" y="2757"/>
                  </a:lnTo>
                  <a:lnTo>
                    <a:pt x="6962" y="2690"/>
                  </a:lnTo>
                  <a:lnTo>
                    <a:pt x="7052" y="2577"/>
                  </a:lnTo>
                  <a:lnTo>
                    <a:pt x="7143" y="2486"/>
                  </a:lnTo>
                  <a:lnTo>
                    <a:pt x="7233" y="2351"/>
                  </a:lnTo>
                  <a:lnTo>
                    <a:pt x="7301" y="2215"/>
                  </a:lnTo>
                  <a:lnTo>
                    <a:pt x="7324" y="2034"/>
                  </a:lnTo>
                  <a:lnTo>
                    <a:pt x="7346" y="1853"/>
                  </a:lnTo>
                  <a:lnTo>
                    <a:pt x="7346" y="1650"/>
                  </a:lnTo>
                  <a:lnTo>
                    <a:pt x="7301" y="1446"/>
                  </a:lnTo>
                  <a:lnTo>
                    <a:pt x="7233" y="1198"/>
                  </a:lnTo>
                  <a:lnTo>
                    <a:pt x="7165" y="994"/>
                  </a:lnTo>
                  <a:lnTo>
                    <a:pt x="7075" y="836"/>
                  </a:lnTo>
                  <a:lnTo>
                    <a:pt x="7007" y="723"/>
                  </a:lnTo>
                  <a:lnTo>
                    <a:pt x="6917" y="655"/>
                  </a:lnTo>
                  <a:lnTo>
                    <a:pt x="6826" y="610"/>
                  </a:lnTo>
                  <a:lnTo>
                    <a:pt x="6736" y="588"/>
                  </a:lnTo>
                  <a:lnTo>
                    <a:pt x="6646" y="610"/>
                  </a:lnTo>
                  <a:lnTo>
                    <a:pt x="6555" y="633"/>
                  </a:lnTo>
                  <a:lnTo>
                    <a:pt x="6352" y="746"/>
                  </a:lnTo>
                  <a:lnTo>
                    <a:pt x="6148" y="859"/>
                  </a:lnTo>
                  <a:lnTo>
                    <a:pt x="5922" y="972"/>
                  </a:lnTo>
                  <a:lnTo>
                    <a:pt x="5787" y="1017"/>
                  </a:lnTo>
                  <a:lnTo>
                    <a:pt x="5651" y="1040"/>
                  </a:lnTo>
                  <a:lnTo>
                    <a:pt x="5583" y="1017"/>
                  </a:lnTo>
                  <a:lnTo>
                    <a:pt x="5538" y="994"/>
                  </a:lnTo>
                  <a:lnTo>
                    <a:pt x="5493" y="949"/>
                  </a:lnTo>
                  <a:lnTo>
                    <a:pt x="5470" y="904"/>
                  </a:lnTo>
                  <a:lnTo>
                    <a:pt x="5470" y="746"/>
                  </a:lnTo>
                  <a:lnTo>
                    <a:pt x="5448" y="565"/>
                  </a:lnTo>
                  <a:lnTo>
                    <a:pt x="5425" y="362"/>
                  </a:lnTo>
                  <a:lnTo>
                    <a:pt x="5402" y="271"/>
                  </a:lnTo>
                  <a:lnTo>
                    <a:pt x="5357" y="203"/>
                  </a:lnTo>
                  <a:lnTo>
                    <a:pt x="5289" y="136"/>
                  </a:lnTo>
                  <a:lnTo>
                    <a:pt x="5199" y="68"/>
                  </a:lnTo>
                  <a:lnTo>
                    <a:pt x="5086" y="23"/>
                  </a:lnTo>
                  <a:lnTo>
                    <a:pt x="4928" y="0"/>
                  </a:lnTo>
                  <a:close/>
                </a:path>
              </a:pathLst>
            </a:custGeom>
            <a:solidFill>
              <a:srgbClr val="3331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97" name="Google Shape;1697;p16"/>
            <p:cNvSpPr/>
            <p:nvPr/>
          </p:nvSpPr>
          <p:spPr>
            <a:xfrm>
              <a:off x="5507075" y="1835050"/>
              <a:ext cx="382550" cy="615925"/>
            </a:xfrm>
            <a:custGeom>
              <a:avLst/>
              <a:gdLst/>
              <a:ahLst/>
              <a:cxnLst/>
              <a:rect l="l" t="t" r="r" b="b"/>
              <a:pathLst>
                <a:path w="15302" h="24637" extrusionOk="0">
                  <a:moveTo>
                    <a:pt x="11527" y="1"/>
                  </a:moveTo>
                  <a:lnTo>
                    <a:pt x="11098" y="249"/>
                  </a:lnTo>
                  <a:lnTo>
                    <a:pt x="10714" y="475"/>
                  </a:lnTo>
                  <a:lnTo>
                    <a:pt x="9990" y="950"/>
                  </a:lnTo>
                  <a:lnTo>
                    <a:pt x="9403" y="1402"/>
                  </a:lnTo>
                  <a:lnTo>
                    <a:pt x="8905" y="1786"/>
                  </a:lnTo>
                  <a:lnTo>
                    <a:pt x="8521" y="2125"/>
                  </a:lnTo>
                  <a:lnTo>
                    <a:pt x="8250" y="2374"/>
                  </a:lnTo>
                  <a:lnTo>
                    <a:pt x="8047" y="2600"/>
                  </a:lnTo>
                  <a:lnTo>
                    <a:pt x="4634" y="10850"/>
                  </a:lnTo>
                  <a:lnTo>
                    <a:pt x="1967" y="17246"/>
                  </a:lnTo>
                  <a:lnTo>
                    <a:pt x="859" y="19845"/>
                  </a:lnTo>
                  <a:lnTo>
                    <a:pt x="68" y="21630"/>
                  </a:lnTo>
                  <a:lnTo>
                    <a:pt x="23" y="21789"/>
                  </a:lnTo>
                  <a:lnTo>
                    <a:pt x="0" y="21924"/>
                  </a:lnTo>
                  <a:lnTo>
                    <a:pt x="23" y="22037"/>
                  </a:lnTo>
                  <a:lnTo>
                    <a:pt x="91" y="22128"/>
                  </a:lnTo>
                  <a:lnTo>
                    <a:pt x="181" y="22218"/>
                  </a:lnTo>
                  <a:lnTo>
                    <a:pt x="317" y="22308"/>
                  </a:lnTo>
                  <a:lnTo>
                    <a:pt x="475" y="22376"/>
                  </a:lnTo>
                  <a:lnTo>
                    <a:pt x="656" y="22444"/>
                  </a:lnTo>
                  <a:lnTo>
                    <a:pt x="1085" y="22602"/>
                  </a:lnTo>
                  <a:lnTo>
                    <a:pt x="1583" y="22760"/>
                  </a:lnTo>
                  <a:lnTo>
                    <a:pt x="2148" y="22964"/>
                  </a:lnTo>
                  <a:lnTo>
                    <a:pt x="2441" y="23077"/>
                  </a:lnTo>
                  <a:lnTo>
                    <a:pt x="2735" y="23212"/>
                  </a:lnTo>
                  <a:lnTo>
                    <a:pt x="3391" y="23506"/>
                  </a:lnTo>
                  <a:lnTo>
                    <a:pt x="4023" y="23777"/>
                  </a:lnTo>
                  <a:lnTo>
                    <a:pt x="4634" y="23981"/>
                  </a:lnTo>
                  <a:lnTo>
                    <a:pt x="5244" y="24162"/>
                  </a:lnTo>
                  <a:lnTo>
                    <a:pt x="5809" y="24297"/>
                  </a:lnTo>
                  <a:lnTo>
                    <a:pt x="6351" y="24433"/>
                  </a:lnTo>
                  <a:lnTo>
                    <a:pt x="6871" y="24501"/>
                  </a:lnTo>
                  <a:lnTo>
                    <a:pt x="7369" y="24569"/>
                  </a:lnTo>
                  <a:lnTo>
                    <a:pt x="7821" y="24614"/>
                  </a:lnTo>
                  <a:lnTo>
                    <a:pt x="8227" y="24636"/>
                  </a:lnTo>
                  <a:lnTo>
                    <a:pt x="8928" y="24636"/>
                  </a:lnTo>
                  <a:lnTo>
                    <a:pt x="9403" y="24614"/>
                  </a:lnTo>
                  <a:lnTo>
                    <a:pt x="9674" y="24546"/>
                  </a:lnTo>
                  <a:lnTo>
                    <a:pt x="9719" y="24501"/>
                  </a:lnTo>
                  <a:lnTo>
                    <a:pt x="9809" y="24388"/>
                  </a:lnTo>
                  <a:lnTo>
                    <a:pt x="10058" y="23913"/>
                  </a:lnTo>
                  <a:lnTo>
                    <a:pt x="10420" y="23190"/>
                  </a:lnTo>
                  <a:lnTo>
                    <a:pt x="10849" y="22218"/>
                  </a:lnTo>
                  <a:lnTo>
                    <a:pt x="11346" y="21043"/>
                  </a:lnTo>
                  <a:lnTo>
                    <a:pt x="11889" y="19687"/>
                  </a:lnTo>
                  <a:lnTo>
                    <a:pt x="12454" y="18150"/>
                  </a:lnTo>
                  <a:lnTo>
                    <a:pt x="12996" y="16500"/>
                  </a:lnTo>
                  <a:lnTo>
                    <a:pt x="13267" y="15641"/>
                  </a:lnTo>
                  <a:lnTo>
                    <a:pt x="13539" y="14737"/>
                  </a:lnTo>
                  <a:lnTo>
                    <a:pt x="13810" y="13833"/>
                  </a:lnTo>
                  <a:lnTo>
                    <a:pt x="14036" y="12906"/>
                  </a:lnTo>
                  <a:lnTo>
                    <a:pt x="14285" y="11980"/>
                  </a:lnTo>
                  <a:lnTo>
                    <a:pt x="14488" y="11030"/>
                  </a:lnTo>
                  <a:lnTo>
                    <a:pt x="14691" y="10058"/>
                  </a:lnTo>
                  <a:lnTo>
                    <a:pt x="14850" y="9109"/>
                  </a:lnTo>
                  <a:lnTo>
                    <a:pt x="15008" y="8137"/>
                  </a:lnTo>
                  <a:lnTo>
                    <a:pt x="15121" y="7188"/>
                  </a:lnTo>
                  <a:lnTo>
                    <a:pt x="15211" y="6239"/>
                  </a:lnTo>
                  <a:lnTo>
                    <a:pt x="15279" y="5290"/>
                  </a:lnTo>
                  <a:lnTo>
                    <a:pt x="15302" y="4363"/>
                  </a:lnTo>
                  <a:lnTo>
                    <a:pt x="15279" y="3459"/>
                  </a:lnTo>
                  <a:lnTo>
                    <a:pt x="15234" y="2555"/>
                  </a:lnTo>
                  <a:lnTo>
                    <a:pt x="15143" y="1696"/>
                  </a:lnTo>
                  <a:lnTo>
                    <a:pt x="15098" y="1560"/>
                  </a:lnTo>
                  <a:lnTo>
                    <a:pt x="15076" y="1515"/>
                  </a:lnTo>
                  <a:lnTo>
                    <a:pt x="15008" y="1515"/>
                  </a:lnTo>
                  <a:lnTo>
                    <a:pt x="14963" y="1538"/>
                  </a:lnTo>
                  <a:lnTo>
                    <a:pt x="14895" y="1628"/>
                  </a:lnTo>
                  <a:lnTo>
                    <a:pt x="14827" y="1764"/>
                  </a:lnTo>
                  <a:lnTo>
                    <a:pt x="14782" y="1945"/>
                  </a:lnTo>
                  <a:lnTo>
                    <a:pt x="14759" y="2103"/>
                  </a:lnTo>
                  <a:lnTo>
                    <a:pt x="14782" y="2284"/>
                  </a:lnTo>
                  <a:lnTo>
                    <a:pt x="14782" y="2442"/>
                  </a:lnTo>
                  <a:lnTo>
                    <a:pt x="14782" y="2600"/>
                  </a:lnTo>
                  <a:lnTo>
                    <a:pt x="14759" y="2736"/>
                  </a:lnTo>
                  <a:lnTo>
                    <a:pt x="14714" y="2871"/>
                  </a:lnTo>
                  <a:lnTo>
                    <a:pt x="14624" y="2962"/>
                  </a:lnTo>
                  <a:lnTo>
                    <a:pt x="14578" y="3007"/>
                  </a:lnTo>
                  <a:lnTo>
                    <a:pt x="14511" y="3029"/>
                  </a:lnTo>
                  <a:lnTo>
                    <a:pt x="14420" y="3052"/>
                  </a:lnTo>
                  <a:lnTo>
                    <a:pt x="14352" y="3052"/>
                  </a:lnTo>
                  <a:lnTo>
                    <a:pt x="14126" y="3007"/>
                  </a:lnTo>
                  <a:lnTo>
                    <a:pt x="13946" y="2916"/>
                  </a:lnTo>
                  <a:lnTo>
                    <a:pt x="13787" y="2758"/>
                  </a:lnTo>
                  <a:lnTo>
                    <a:pt x="13629" y="2577"/>
                  </a:lnTo>
                  <a:lnTo>
                    <a:pt x="13493" y="2374"/>
                  </a:lnTo>
                  <a:lnTo>
                    <a:pt x="13358" y="2148"/>
                  </a:lnTo>
                  <a:lnTo>
                    <a:pt x="13222" y="1899"/>
                  </a:lnTo>
                  <a:lnTo>
                    <a:pt x="12974" y="1357"/>
                  </a:lnTo>
                  <a:lnTo>
                    <a:pt x="12838" y="1108"/>
                  </a:lnTo>
                  <a:lnTo>
                    <a:pt x="12680" y="837"/>
                  </a:lnTo>
                  <a:lnTo>
                    <a:pt x="12544" y="611"/>
                  </a:lnTo>
                  <a:lnTo>
                    <a:pt x="12363" y="408"/>
                  </a:lnTo>
                  <a:lnTo>
                    <a:pt x="12183" y="249"/>
                  </a:lnTo>
                  <a:lnTo>
                    <a:pt x="12002" y="114"/>
                  </a:lnTo>
                  <a:lnTo>
                    <a:pt x="11889" y="69"/>
                  </a:lnTo>
                  <a:lnTo>
                    <a:pt x="11776" y="23"/>
                  </a:lnTo>
                  <a:lnTo>
                    <a:pt x="11663" y="23"/>
                  </a:lnTo>
                  <a:lnTo>
                    <a:pt x="1152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98" name="Google Shape;1698;p16"/>
            <p:cNvSpPr/>
            <p:nvPr/>
          </p:nvSpPr>
          <p:spPr>
            <a:xfrm>
              <a:off x="5507075" y="1835050"/>
              <a:ext cx="382550" cy="615925"/>
            </a:xfrm>
            <a:custGeom>
              <a:avLst/>
              <a:gdLst/>
              <a:ahLst/>
              <a:cxnLst/>
              <a:rect l="l" t="t" r="r" b="b"/>
              <a:pathLst>
                <a:path w="15302" h="24637" fill="none" extrusionOk="0">
                  <a:moveTo>
                    <a:pt x="11527" y="1"/>
                  </a:moveTo>
                  <a:lnTo>
                    <a:pt x="11527" y="1"/>
                  </a:lnTo>
                  <a:lnTo>
                    <a:pt x="11663" y="23"/>
                  </a:lnTo>
                  <a:lnTo>
                    <a:pt x="11776" y="23"/>
                  </a:lnTo>
                  <a:lnTo>
                    <a:pt x="11889" y="69"/>
                  </a:lnTo>
                  <a:lnTo>
                    <a:pt x="12002" y="114"/>
                  </a:lnTo>
                  <a:lnTo>
                    <a:pt x="12183" y="249"/>
                  </a:lnTo>
                  <a:lnTo>
                    <a:pt x="12363" y="408"/>
                  </a:lnTo>
                  <a:lnTo>
                    <a:pt x="12544" y="611"/>
                  </a:lnTo>
                  <a:lnTo>
                    <a:pt x="12680" y="837"/>
                  </a:lnTo>
                  <a:lnTo>
                    <a:pt x="12838" y="1108"/>
                  </a:lnTo>
                  <a:lnTo>
                    <a:pt x="12974" y="1357"/>
                  </a:lnTo>
                  <a:lnTo>
                    <a:pt x="13222" y="1899"/>
                  </a:lnTo>
                  <a:lnTo>
                    <a:pt x="13358" y="2148"/>
                  </a:lnTo>
                  <a:lnTo>
                    <a:pt x="13493" y="2374"/>
                  </a:lnTo>
                  <a:lnTo>
                    <a:pt x="13629" y="2577"/>
                  </a:lnTo>
                  <a:lnTo>
                    <a:pt x="13787" y="2758"/>
                  </a:lnTo>
                  <a:lnTo>
                    <a:pt x="13946" y="2916"/>
                  </a:lnTo>
                  <a:lnTo>
                    <a:pt x="14126" y="3007"/>
                  </a:lnTo>
                  <a:lnTo>
                    <a:pt x="14126" y="3007"/>
                  </a:lnTo>
                  <a:lnTo>
                    <a:pt x="14352" y="3052"/>
                  </a:lnTo>
                  <a:lnTo>
                    <a:pt x="14420" y="3052"/>
                  </a:lnTo>
                  <a:lnTo>
                    <a:pt x="14511" y="3029"/>
                  </a:lnTo>
                  <a:lnTo>
                    <a:pt x="14578" y="3007"/>
                  </a:lnTo>
                  <a:lnTo>
                    <a:pt x="14624" y="2962"/>
                  </a:lnTo>
                  <a:lnTo>
                    <a:pt x="14714" y="2871"/>
                  </a:lnTo>
                  <a:lnTo>
                    <a:pt x="14759" y="2736"/>
                  </a:lnTo>
                  <a:lnTo>
                    <a:pt x="14782" y="2600"/>
                  </a:lnTo>
                  <a:lnTo>
                    <a:pt x="14782" y="2442"/>
                  </a:lnTo>
                  <a:lnTo>
                    <a:pt x="14782" y="2284"/>
                  </a:lnTo>
                  <a:lnTo>
                    <a:pt x="14782" y="2284"/>
                  </a:lnTo>
                  <a:lnTo>
                    <a:pt x="14759" y="2103"/>
                  </a:lnTo>
                  <a:lnTo>
                    <a:pt x="14782" y="1945"/>
                  </a:lnTo>
                  <a:lnTo>
                    <a:pt x="14827" y="1764"/>
                  </a:lnTo>
                  <a:lnTo>
                    <a:pt x="14895" y="1628"/>
                  </a:lnTo>
                  <a:lnTo>
                    <a:pt x="14963" y="1538"/>
                  </a:lnTo>
                  <a:lnTo>
                    <a:pt x="15008" y="1515"/>
                  </a:lnTo>
                  <a:lnTo>
                    <a:pt x="15030" y="1515"/>
                  </a:lnTo>
                  <a:lnTo>
                    <a:pt x="15076" y="1515"/>
                  </a:lnTo>
                  <a:lnTo>
                    <a:pt x="15098" y="1560"/>
                  </a:lnTo>
                  <a:lnTo>
                    <a:pt x="15143" y="1696"/>
                  </a:lnTo>
                  <a:lnTo>
                    <a:pt x="15143" y="1696"/>
                  </a:lnTo>
                  <a:lnTo>
                    <a:pt x="15234" y="2555"/>
                  </a:lnTo>
                  <a:lnTo>
                    <a:pt x="15279" y="3459"/>
                  </a:lnTo>
                  <a:lnTo>
                    <a:pt x="15302" y="4363"/>
                  </a:lnTo>
                  <a:lnTo>
                    <a:pt x="15279" y="5290"/>
                  </a:lnTo>
                  <a:lnTo>
                    <a:pt x="15211" y="6239"/>
                  </a:lnTo>
                  <a:lnTo>
                    <a:pt x="15121" y="7188"/>
                  </a:lnTo>
                  <a:lnTo>
                    <a:pt x="15008" y="8137"/>
                  </a:lnTo>
                  <a:lnTo>
                    <a:pt x="14850" y="9109"/>
                  </a:lnTo>
                  <a:lnTo>
                    <a:pt x="14691" y="10058"/>
                  </a:lnTo>
                  <a:lnTo>
                    <a:pt x="14488" y="11030"/>
                  </a:lnTo>
                  <a:lnTo>
                    <a:pt x="14285" y="11980"/>
                  </a:lnTo>
                  <a:lnTo>
                    <a:pt x="14036" y="12906"/>
                  </a:lnTo>
                  <a:lnTo>
                    <a:pt x="13810" y="13833"/>
                  </a:lnTo>
                  <a:lnTo>
                    <a:pt x="13539" y="14737"/>
                  </a:lnTo>
                  <a:lnTo>
                    <a:pt x="13267" y="15641"/>
                  </a:lnTo>
                  <a:lnTo>
                    <a:pt x="12996" y="16500"/>
                  </a:lnTo>
                  <a:lnTo>
                    <a:pt x="12454" y="18150"/>
                  </a:lnTo>
                  <a:lnTo>
                    <a:pt x="11889" y="19687"/>
                  </a:lnTo>
                  <a:lnTo>
                    <a:pt x="11346" y="21043"/>
                  </a:lnTo>
                  <a:lnTo>
                    <a:pt x="10849" y="22218"/>
                  </a:lnTo>
                  <a:lnTo>
                    <a:pt x="10420" y="23190"/>
                  </a:lnTo>
                  <a:lnTo>
                    <a:pt x="10058" y="23913"/>
                  </a:lnTo>
                  <a:lnTo>
                    <a:pt x="9809" y="24388"/>
                  </a:lnTo>
                  <a:lnTo>
                    <a:pt x="9719" y="24501"/>
                  </a:lnTo>
                  <a:lnTo>
                    <a:pt x="9674" y="24546"/>
                  </a:lnTo>
                  <a:lnTo>
                    <a:pt x="9674" y="24546"/>
                  </a:lnTo>
                  <a:lnTo>
                    <a:pt x="9403" y="24614"/>
                  </a:lnTo>
                  <a:lnTo>
                    <a:pt x="8928" y="24636"/>
                  </a:lnTo>
                  <a:lnTo>
                    <a:pt x="8227" y="24636"/>
                  </a:lnTo>
                  <a:lnTo>
                    <a:pt x="7821" y="24614"/>
                  </a:lnTo>
                  <a:lnTo>
                    <a:pt x="7369" y="24569"/>
                  </a:lnTo>
                  <a:lnTo>
                    <a:pt x="6871" y="24501"/>
                  </a:lnTo>
                  <a:lnTo>
                    <a:pt x="6351" y="24433"/>
                  </a:lnTo>
                  <a:lnTo>
                    <a:pt x="5809" y="24297"/>
                  </a:lnTo>
                  <a:lnTo>
                    <a:pt x="5244" y="24162"/>
                  </a:lnTo>
                  <a:lnTo>
                    <a:pt x="4634" y="23981"/>
                  </a:lnTo>
                  <a:lnTo>
                    <a:pt x="4023" y="23777"/>
                  </a:lnTo>
                  <a:lnTo>
                    <a:pt x="3391" y="23506"/>
                  </a:lnTo>
                  <a:lnTo>
                    <a:pt x="2735" y="23212"/>
                  </a:lnTo>
                  <a:lnTo>
                    <a:pt x="2735" y="23212"/>
                  </a:lnTo>
                  <a:lnTo>
                    <a:pt x="2441" y="23077"/>
                  </a:lnTo>
                  <a:lnTo>
                    <a:pt x="2148" y="22964"/>
                  </a:lnTo>
                  <a:lnTo>
                    <a:pt x="1583" y="22760"/>
                  </a:lnTo>
                  <a:lnTo>
                    <a:pt x="1085" y="22602"/>
                  </a:lnTo>
                  <a:lnTo>
                    <a:pt x="656" y="22444"/>
                  </a:lnTo>
                  <a:lnTo>
                    <a:pt x="475" y="22376"/>
                  </a:lnTo>
                  <a:lnTo>
                    <a:pt x="317" y="22308"/>
                  </a:lnTo>
                  <a:lnTo>
                    <a:pt x="181" y="22218"/>
                  </a:lnTo>
                  <a:lnTo>
                    <a:pt x="91" y="22128"/>
                  </a:lnTo>
                  <a:lnTo>
                    <a:pt x="23" y="22037"/>
                  </a:lnTo>
                  <a:lnTo>
                    <a:pt x="0" y="21924"/>
                  </a:lnTo>
                  <a:lnTo>
                    <a:pt x="23" y="21789"/>
                  </a:lnTo>
                  <a:lnTo>
                    <a:pt x="68" y="21630"/>
                  </a:lnTo>
                  <a:lnTo>
                    <a:pt x="68" y="21630"/>
                  </a:lnTo>
                  <a:lnTo>
                    <a:pt x="859" y="19845"/>
                  </a:lnTo>
                  <a:lnTo>
                    <a:pt x="1967" y="17246"/>
                  </a:lnTo>
                  <a:lnTo>
                    <a:pt x="4634" y="10850"/>
                  </a:lnTo>
                  <a:lnTo>
                    <a:pt x="8047" y="2600"/>
                  </a:lnTo>
                  <a:lnTo>
                    <a:pt x="8047" y="2600"/>
                  </a:lnTo>
                  <a:lnTo>
                    <a:pt x="8250" y="2374"/>
                  </a:lnTo>
                  <a:lnTo>
                    <a:pt x="8521" y="2125"/>
                  </a:lnTo>
                  <a:lnTo>
                    <a:pt x="8905" y="1786"/>
                  </a:lnTo>
                  <a:lnTo>
                    <a:pt x="9403" y="1402"/>
                  </a:lnTo>
                  <a:lnTo>
                    <a:pt x="9990" y="950"/>
                  </a:lnTo>
                  <a:lnTo>
                    <a:pt x="10714" y="475"/>
                  </a:lnTo>
                  <a:lnTo>
                    <a:pt x="11098" y="249"/>
                  </a:lnTo>
                  <a:lnTo>
                    <a:pt x="1152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99" name="Google Shape;1699;p16"/>
            <p:cNvSpPr/>
            <p:nvPr/>
          </p:nvSpPr>
          <p:spPr>
            <a:xfrm>
              <a:off x="5401400" y="1835625"/>
              <a:ext cx="397250" cy="784850"/>
            </a:xfrm>
            <a:custGeom>
              <a:avLst/>
              <a:gdLst/>
              <a:ahLst/>
              <a:cxnLst/>
              <a:rect l="l" t="t" r="r" b="b"/>
              <a:pathLst>
                <a:path w="15890" h="31394" extrusionOk="0">
                  <a:moveTo>
                    <a:pt x="15709" y="0"/>
                  </a:moveTo>
                  <a:lnTo>
                    <a:pt x="15483" y="46"/>
                  </a:lnTo>
                  <a:lnTo>
                    <a:pt x="15189" y="136"/>
                  </a:lnTo>
                  <a:lnTo>
                    <a:pt x="14760" y="317"/>
                  </a:lnTo>
                  <a:lnTo>
                    <a:pt x="14172" y="565"/>
                  </a:lnTo>
                  <a:lnTo>
                    <a:pt x="13449" y="950"/>
                  </a:lnTo>
                  <a:lnTo>
                    <a:pt x="12545" y="1470"/>
                  </a:lnTo>
                  <a:lnTo>
                    <a:pt x="11460" y="2148"/>
                  </a:lnTo>
                  <a:lnTo>
                    <a:pt x="10940" y="2487"/>
                  </a:lnTo>
                  <a:lnTo>
                    <a:pt x="10398" y="2893"/>
                  </a:lnTo>
                  <a:lnTo>
                    <a:pt x="9833" y="3368"/>
                  </a:lnTo>
                  <a:lnTo>
                    <a:pt x="9539" y="3617"/>
                  </a:lnTo>
                  <a:lnTo>
                    <a:pt x="9268" y="3888"/>
                  </a:lnTo>
                  <a:lnTo>
                    <a:pt x="8996" y="4182"/>
                  </a:lnTo>
                  <a:lnTo>
                    <a:pt x="8725" y="4498"/>
                  </a:lnTo>
                  <a:lnTo>
                    <a:pt x="8477" y="4815"/>
                  </a:lnTo>
                  <a:lnTo>
                    <a:pt x="8250" y="5176"/>
                  </a:lnTo>
                  <a:lnTo>
                    <a:pt x="8024" y="5538"/>
                  </a:lnTo>
                  <a:lnTo>
                    <a:pt x="7844" y="5922"/>
                  </a:lnTo>
                  <a:lnTo>
                    <a:pt x="7663" y="6329"/>
                  </a:lnTo>
                  <a:lnTo>
                    <a:pt x="7527" y="6758"/>
                  </a:lnTo>
                  <a:lnTo>
                    <a:pt x="7324" y="7414"/>
                  </a:lnTo>
                  <a:lnTo>
                    <a:pt x="7143" y="8092"/>
                  </a:lnTo>
                  <a:lnTo>
                    <a:pt x="6985" y="8725"/>
                  </a:lnTo>
                  <a:lnTo>
                    <a:pt x="6849" y="9357"/>
                  </a:lnTo>
                  <a:lnTo>
                    <a:pt x="6646" y="10578"/>
                  </a:lnTo>
                  <a:lnTo>
                    <a:pt x="6442" y="11731"/>
                  </a:lnTo>
                  <a:lnTo>
                    <a:pt x="6284" y="12815"/>
                  </a:lnTo>
                  <a:lnTo>
                    <a:pt x="6126" y="13855"/>
                  </a:lnTo>
                  <a:lnTo>
                    <a:pt x="5923" y="14850"/>
                  </a:lnTo>
                  <a:lnTo>
                    <a:pt x="5810" y="15324"/>
                  </a:lnTo>
                  <a:lnTo>
                    <a:pt x="5697" y="15776"/>
                  </a:lnTo>
                  <a:lnTo>
                    <a:pt x="5561" y="16251"/>
                  </a:lnTo>
                  <a:lnTo>
                    <a:pt x="5448" y="16725"/>
                  </a:lnTo>
                  <a:lnTo>
                    <a:pt x="5199" y="17765"/>
                  </a:lnTo>
                  <a:lnTo>
                    <a:pt x="4951" y="18850"/>
                  </a:lnTo>
                  <a:lnTo>
                    <a:pt x="4815" y="19415"/>
                  </a:lnTo>
                  <a:lnTo>
                    <a:pt x="4634" y="19980"/>
                  </a:lnTo>
                  <a:lnTo>
                    <a:pt x="4453" y="20522"/>
                  </a:lnTo>
                  <a:lnTo>
                    <a:pt x="4250" y="21088"/>
                  </a:lnTo>
                  <a:lnTo>
                    <a:pt x="4024" y="21630"/>
                  </a:lnTo>
                  <a:lnTo>
                    <a:pt x="3775" y="22150"/>
                  </a:lnTo>
                  <a:lnTo>
                    <a:pt x="3459" y="22670"/>
                  </a:lnTo>
                  <a:lnTo>
                    <a:pt x="3143" y="23167"/>
                  </a:lnTo>
                  <a:lnTo>
                    <a:pt x="2758" y="23641"/>
                  </a:lnTo>
                  <a:lnTo>
                    <a:pt x="2555" y="23867"/>
                  </a:lnTo>
                  <a:lnTo>
                    <a:pt x="2329" y="24093"/>
                  </a:lnTo>
                  <a:lnTo>
                    <a:pt x="1854" y="24568"/>
                  </a:lnTo>
                  <a:lnTo>
                    <a:pt x="1447" y="25043"/>
                  </a:lnTo>
                  <a:lnTo>
                    <a:pt x="1063" y="25495"/>
                  </a:lnTo>
                  <a:lnTo>
                    <a:pt x="747" y="25947"/>
                  </a:lnTo>
                  <a:lnTo>
                    <a:pt x="476" y="26399"/>
                  </a:lnTo>
                  <a:lnTo>
                    <a:pt x="272" y="26851"/>
                  </a:lnTo>
                  <a:lnTo>
                    <a:pt x="114" y="27280"/>
                  </a:lnTo>
                  <a:lnTo>
                    <a:pt x="69" y="27506"/>
                  </a:lnTo>
                  <a:lnTo>
                    <a:pt x="24" y="27710"/>
                  </a:lnTo>
                  <a:lnTo>
                    <a:pt x="1" y="27913"/>
                  </a:lnTo>
                  <a:lnTo>
                    <a:pt x="1" y="28117"/>
                  </a:lnTo>
                  <a:lnTo>
                    <a:pt x="1" y="28320"/>
                  </a:lnTo>
                  <a:lnTo>
                    <a:pt x="24" y="28523"/>
                  </a:lnTo>
                  <a:lnTo>
                    <a:pt x="46" y="28727"/>
                  </a:lnTo>
                  <a:lnTo>
                    <a:pt x="114" y="28908"/>
                  </a:lnTo>
                  <a:lnTo>
                    <a:pt x="182" y="29088"/>
                  </a:lnTo>
                  <a:lnTo>
                    <a:pt x="250" y="29292"/>
                  </a:lnTo>
                  <a:lnTo>
                    <a:pt x="363" y="29450"/>
                  </a:lnTo>
                  <a:lnTo>
                    <a:pt x="476" y="29631"/>
                  </a:lnTo>
                  <a:lnTo>
                    <a:pt x="611" y="29812"/>
                  </a:lnTo>
                  <a:lnTo>
                    <a:pt x="769" y="29970"/>
                  </a:lnTo>
                  <a:lnTo>
                    <a:pt x="928" y="30128"/>
                  </a:lnTo>
                  <a:lnTo>
                    <a:pt x="1108" y="30286"/>
                  </a:lnTo>
                  <a:lnTo>
                    <a:pt x="1334" y="30444"/>
                  </a:lnTo>
                  <a:lnTo>
                    <a:pt x="1538" y="30580"/>
                  </a:lnTo>
                  <a:lnTo>
                    <a:pt x="1877" y="30761"/>
                  </a:lnTo>
                  <a:lnTo>
                    <a:pt x="2216" y="30942"/>
                  </a:lnTo>
                  <a:lnTo>
                    <a:pt x="2532" y="31077"/>
                  </a:lnTo>
                  <a:lnTo>
                    <a:pt x="2849" y="31168"/>
                  </a:lnTo>
                  <a:lnTo>
                    <a:pt x="3188" y="31258"/>
                  </a:lnTo>
                  <a:lnTo>
                    <a:pt x="3504" y="31326"/>
                  </a:lnTo>
                  <a:lnTo>
                    <a:pt x="3821" y="31371"/>
                  </a:lnTo>
                  <a:lnTo>
                    <a:pt x="4137" y="31394"/>
                  </a:lnTo>
                  <a:lnTo>
                    <a:pt x="4431" y="31394"/>
                  </a:lnTo>
                  <a:lnTo>
                    <a:pt x="4747" y="31371"/>
                  </a:lnTo>
                  <a:lnTo>
                    <a:pt x="5041" y="31349"/>
                  </a:lnTo>
                  <a:lnTo>
                    <a:pt x="5335" y="31303"/>
                  </a:lnTo>
                  <a:lnTo>
                    <a:pt x="5629" y="31236"/>
                  </a:lnTo>
                  <a:lnTo>
                    <a:pt x="5923" y="31168"/>
                  </a:lnTo>
                  <a:lnTo>
                    <a:pt x="6488" y="30987"/>
                  </a:lnTo>
                  <a:lnTo>
                    <a:pt x="7030" y="30761"/>
                  </a:lnTo>
                  <a:lnTo>
                    <a:pt x="7572" y="30512"/>
                  </a:lnTo>
                  <a:lnTo>
                    <a:pt x="8070" y="30218"/>
                  </a:lnTo>
                  <a:lnTo>
                    <a:pt x="8544" y="29947"/>
                  </a:lnTo>
                  <a:lnTo>
                    <a:pt x="9403" y="29360"/>
                  </a:lnTo>
                  <a:lnTo>
                    <a:pt x="10172" y="28862"/>
                  </a:lnTo>
                  <a:lnTo>
                    <a:pt x="10352" y="28727"/>
                  </a:lnTo>
                  <a:lnTo>
                    <a:pt x="10533" y="28591"/>
                  </a:lnTo>
                  <a:lnTo>
                    <a:pt x="10691" y="28456"/>
                  </a:lnTo>
                  <a:lnTo>
                    <a:pt x="10804" y="28297"/>
                  </a:lnTo>
                  <a:lnTo>
                    <a:pt x="10917" y="28139"/>
                  </a:lnTo>
                  <a:lnTo>
                    <a:pt x="11008" y="27981"/>
                  </a:lnTo>
                  <a:lnTo>
                    <a:pt x="11098" y="27823"/>
                  </a:lnTo>
                  <a:lnTo>
                    <a:pt x="11166" y="27642"/>
                  </a:lnTo>
                  <a:lnTo>
                    <a:pt x="11256" y="27280"/>
                  </a:lnTo>
                  <a:lnTo>
                    <a:pt x="11324" y="26896"/>
                  </a:lnTo>
                  <a:lnTo>
                    <a:pt x="11369" y="26467"/>
                  </a:lnTo>
                  <a:lnTo>
                    <a:pt x="11392" y="26015"/>
                  </a:lnTo>
                  <a:lnTo>
                    <a:pt x="11437" y="25540"/>
                  </a:lnTo>
                  <a:lnTo>
                    <a:pt x="11482" y="25020"/>
                  </a:lnTo>
                  <a:lnTo>
                    <a:pt x="11573" y="24478"/>
                  </a:lnTo>
                  <a:lnTo>
                    <a:pt x="11709" y="23890"/>
                  </a:lnTo>
                  <a:lnTo>
                    <a:pt x="11867" y="23257"/>
                  </a:lnTo>
                  <a:lnTo>
                    <a:pt x="11980" y="22941"/>
                  </a:lnTo>
                  <a:lnTo>
                    <a:pt x="12115" y="22602"/>
                  </a:lnTo>
                  <a:lnTo>
                    <a:pt x="12274" y="22240"/>
                  </a:lnTo>
                  <a:lnTo>
                    <a:pt x="12454" y="21901"/>
                  </a:lnTo>
                  <a:lnTo>
                    <a:pt x="12658" y="21517"/>
                  </a:lnTo>
                  <a:lnTo>
                    <a:pt x="12861" y="21155"/>
                  </a:lnTo>
                  <a:lnTo>
                    <a:pt x="13065" y="20794"/>
                  </a:lnTo>
                  <a:lnTo>
                    <a:pt x="13245" y="20409"/>
                  </a:lnTo>
                  <a:lnTo>
                    <a:pt x="13404" y="20003"/>
                  </a:lnTo>
                  <a:lnTo>
                    <a:pt x="13539" y="19573"/>
                  </a:lnTo>
                  <a:lnTo>
                    <a:pt x="13675" y="19099"/>
                  </a:lnTo>
                  <a:lnTo>
                    <a:pt x="13788" y="18647"/>
                  </a:lnTo>
                  <a:lnTo>
                    <a:pt x="14014" y="17652"/>
                  </a:lnTo>
                  <a:lnTo>
                    <a:pt x="14421" y="15618"/>
                  </a:lnTo>
                  <a:lnTo>
                    <a:pt x="14669" y="14646"/>
                  </a:lnTo>
                  <a:lnTo>
                    <a:pt x="14805" y="14172"/>
                  </a:lnTo>
                  <a:lnTo>
                    <a:pt x="14941" y="13719"/>
                  </a:lnTo>
                  <a:lnTo>
                    <a:pt x="15099" y="13245"/>
                  </a:lnTo>
                  <a:lnTo>
                    <a:pt x="15234" y="12748"/>
                  </a:lnTo>
                  <a:lnTo>
                    <a:pt x="15347" y="12250"/>
                  </a:lnTo>
                  <a:lnTo>
                    <a:pt x="15460" y="11753"/>
                  </a:lnTo>
                  <a:lnTo>
                    <a:pt x="15551" y="11233"/>
                  </a:lnTo>
                  <a:lnTo>
                    <a:pt x="15619" y="10713"/>
                  </a:lnTo>
                  <a:lnTo>
                    <a:pt x="15754" y="9651"/>
                  </a:lnTo>
                  <a:lnTo>
                    <a:pt x="15822" y="8612"/>
                  </a:lnTo>
                  <a:lnTo>
                    <a:pt x="15867" y="7549"/>
                  </a:lnTo>
                  <a:lnTo>
                    <a:pt x="15890" y="6532"/>
                  </a:lnTo>
                  <a:lnTo>
                    <a:pt x="15867" y="5538"/>
                  </a:lnTo>
                  <a:lnTo>
                    <a:pt x="15845" y="4566"/>
                  </a:lnTo>
                  <a:lnTo>
                    <a:pt x="15799" y="3662"/>
                  </a:lnTo>
                  <a:lnTo>
                    <a:pt x="15709" y="2057"/>
                  </a:lnTo>
                  <a:lnTo>
                    <a:pt x="15664" y="814"/>
                  </a:lnTo>
                  <a:lnTo>
                    <a:pt x="15686" y="339"/>
                  </a:lnTo>
                  <a:lnTo>
                    <a:pt x="15709" y="0"/>
                  </a:lnTo>
                  <a:close/>
                </a:path>
              </a:pathLst>
            </a:custGeom>
            <a:solidFill>
              <a:srgbClr val="DE36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00" name="Google Shape;1700;p16"/>
            <p:cNvSpPr/>
            <p:nvPr/>
          </p:nvSpPr>
          <p:spPr>
            <a:xfrm>
              <a:off x="5401400" y="1835625"/>
              <a:ext cx="397250" cy="784850"/>
            </a:xfrm>
            <a:custGeom>
              <a:avLst/>
              <a:gdLst/>
              <a:ahLst/>
              <a:cxnLst/>
              <a:rect l="l" t="t" r="r" b="b"/>
              <a:pathLst>
                <a:path w="15890" h="31394" fill="none" extrusionOk="0">
                  <a:moveTo>
                    <a:pt x="14941" y="13719"/>
                  </a:moveTo>
                  <a:lnTo>
                    <a:pt x="14941" y="13719"/>
                  </a:lnTo>
                  <a:lnTo>
                    <a:pt x="14805" y="14172"/>
                  </a:lnTo>
                  <a:lnTo>
                    <a:pt x="14669" y="14646"/>
                  </a:lnTo>
                  <a:lnTo>
                    <a:pt x="14421" y="15618"/>
                  </a:lnTo>
                  <a:lnTo>
                    <a:pt x="14014" y="17652"/>
                  </a:lnTo>
                  <a:lnTo>
                    <a:pt x="13788" y="18647"/>
                  </a:lnTo>
                  <a:lnTo>
                    <a:pt x="13675" y="19099"/>
                  </a:lnTo>
                  <a:lnTo>
                    <a:pt x="13539" y="19573"/>
                  </a:lnTo>
                  <a:lnTo>
                    <a:pt x="13404" y="20003"/>
                  </a:lnTo>
                  <a:lnTo>
                    <a:pt x="13245" y="20409"/>
                  </a:lnTo>
                  <a:lnTo>
                    <a:pt x="13065" y="20794"/>
                  </a:lnTo>
                  <a:lnTo>
                    <a:pt x="12861" y="21155"/>
                  </a:lnTo>
                  <a:lnTo>
                    <a:pt x="12861" y="21155"/>
                  </a:lnTo>
                  <a:lnTo>
                    <a:pt x="12658" y="21517"/>
                  </a:lnTo>
                  <a:lnTo>
                    <a:pt x="12454" y="21901"/>
                  </a:lnTo>
                  <a:lnTo>
                    <a:pt x="12274" y="22240"/>
                  </a:lnTo>
                  <a:lnTo>
                    <a:pt x="12115" y="22602"/>
                  </a:lnTo>
                  <a:lnTo>
                    <a:pt x="11980" y="22941"/>
                  </a:lnTo>
                  <a:lnTo>
                    <a:pt x="11867" y="23257"/>
                  </a:lnTo>
                  <a:lnTo>
                    <a:pt x="11709" y="23890"/>
                  </a:lnTo>
                  <a:lnTo>
                    <a:pt x="11573" y="24478"/>
                  </a:lnTo>
                  <a:lnTo>
                    <a:pt x="11482" y="25020"/>
                  </a:lnTo>
                  <a:lnTo>
                    <a:pt x="11437" y="25540"/>
                  </a:lnTo>
                  <a:lnTo>
                    <a:pt x="11392" y="26015"/>
                  </a:lnTo>
                  <a:lnTo>
                    <a:pt x="11369" y="26467"/>
                  </a:lnTo>
                  <a:lnTo>
                    <a:pt x="11324" y="26896"/>
                  </a:lnTo>
                  <a:lnTo>
                    <a:pt x="11256" y="27280"/>
                  </a:lnTo>
                  <a:lnTo>
                    <a:pt x="11166" y="27642"/>
                  </a:lnTo>
                  <a:lnTo>
                    <a:pt x="11098" y="27823"/>
                  </a:lnTo>
                  <a:lnTo>
                    <a:pt x="11008" y="27981"/>
                  </a:lnTo>
                  <a:lnTo>
                    <a:pt x="10917" y="28139"/>
                  </a:lnTo>
                  <a:lnTo>
                    <a:pt x="10804" y="28297"/>
                  </a:lnTo>
                  <a:lnTo>
                    <a:pt x="10691" y="28456"/>
                  </a:lnTo>
                  <a:lnTo>
                    <a:pt x="10533" y="28591"/>
                  </a:lnTo>
                  <a:lnTo>
                    <a:pt x="10352" y="28727"/>
                  </a:lnTo>
                  <a:lnTo>
                    <a:pt x="10172" y="28862"/>
                  </a:lnTo>
                  <a:lnTo>
                    <a:pt x="10172" y="28862"/>
                  </a:lnTo>
                  <a:lnTo>
                    <a:pt x="9403" y="29360"/>
                  </a:lnTo>
                  <a:lnTo>
                    <a:pt x="8544" y="29947"/>
                  </a:lnTo>
                  <a:lnTo>
                    <a:pt x="8070" y="30218"/>
                  </a:lnTo>
                  <a:lnTo>
                    <a:pt x="7572" y="30512"/>
                  </a:lnTo>
                  <a:lnTo>
                    <a:pt x="7030" y="30761"/>
                  </a:lnTo>
                  <a:lnTo>
                    <a:pt x="6488" y="30987"/>
                  </a:lnTo>
                  <a:lnTo>
                    <a:pt x="5923" y="31168"/>
                  </a:lnTo>
                  <a:lnTo>
                    <a:pt x="5629" y="31236"/>
                  </a:lnTo>
                  <a:lnTo>
                    <a:pt x="5335" y="31303"/>
                  </a:lnTo>
                  <a:lnTo>
                    <a:pt x="5041" y="31349"/>
                  </a:lnTo>
                  <a:lnTo>
                    <a:pt x="4747" y="31371"/>
                  </a:lnTo>
                  <a:lnTo>
                    <a:pt x="4431" y="31394"/>
                  </a:lnTo>
                  <a:lnTo>
                    <a:pt x="4137" y="31394"/>
                  </a:lnTo>
                  <a:lnTo>
                    <a:pt x="3821" y="31371"/>
                  </a:lnTo>
                  <a:lnTo>
                    <a:pt x="3504" y="31326"/>
                  </a:lnTo>
                  <a:lnTo>
                    <a:pt x="3188" y="31258"/>
                  </a:lnTo>
                  <a:lnTo>
                    <a:pt x="2849" y="31168"/>
                  </a:lnTo>
                  <a:lnTo>
                    <a:pt x="2532" y="31077"/>
                  </a:lnTo>
                  <a:lnTo>
                    <a:pt x="2216" y="30942"/>
                  </a:lnTo>
                  <a:lnTo>
                    <a:pt x="1877" y="30761"/>
                  </a:lnTo>
                  <a:lnTo>
                    <a:pt x="1538" y="30580"/>
                  </a:lnTo>
                  <a:lnTo>
                    <a:pt x="1538" y="30580"/>
                  </a:lnTo>
                  <a:lnTo>
                    <a:pt x="1334" y="30444"/>
                  </a:lnTo>
                  <a:lnTo>
                    <a:pt x="1108" y="30286"/>
                  </a:lnTo>
                  <a:lnTo>
                    <a:pt x="928" y="30128"/>
                  </a:lnTo>
                  <a:lnTo>
                    <a:pt x="769" y="29970"/>
                  </a:lnTo>
                  <a:lnTo>
                    <a:pt x="611" y="29812"/>
                  </a:lnTo>
                  <a:lnTo>
                    <a:pt x="476" y="29631"/>
                  </a:lnTo>
                  <a:lnTo>
                    <a:pt x="363" y="29450"/>
                  </a:lnTo>
                  <a:lnTo>
                    <a:pt x="250" y="29292"/>
                  </a:lnTo>
                  <a:lnTo>
                    <a:pt x="182" y="29088"/>
                  </a:lnTo>
                  <a:lnTo>
                    <a:pt x="114" y="28908"/>
                  </a:lnTo>
                  <a:lnTo>
                    <a:pt x="46" y="28727"/>
                  </a:lnTo>
                  <a:lnTo>
                    <a:pt x="24" y="28523"/>
                  </a:lnTo>
                  <a:lnTo>
                    <a:pt x="1" y="28320"/>
                  </a:lnTo>
                  <a:lnTo>
                    <a:pt x="1" y="28117"/>
                  </a:lnTo>
                  <a:lnTo>
                    <a:pt x="1" y="27913"/>
                  </a:lnTo>
                  <a:lnTo>
                    <a:pt x="24" y="27710"/>
                  </a:lnTo>
                  <a:lnTo>
                    <a:pt x="69" y="27506"/>
                  </a:lnTo>
                  <a:lnTo>
                    <a:pt x="114" y="27280"/>
                  </a:lnTo>
                  <a:lnTo>
                    <a:pt x="272" y="26851"/>
                  </a:lnTo>
                  <a:lnTo>
                    <a:pt x="476" y="26399"/>
                  </a:lnTo>
                  <a:lnTo>
                    <a:pt x="747" y="25947"/>
                  </a:lnTo>
                  <a:lnTo>
                    <a:pt x="1063" y="25495"/>
                  </a:lnTo>
                  <a:lnTo>
                    <a:pt x="1447" y="25043"/>
                  </a:lnTo>
                  <a:lnTo>
                    <a:pt x="1854" y="24568"/>
                  </a:lnTo>
                  <a:lnTo>
                    <a:pt x="2329" y="24093"/>
                  </a:lnTo>
                  <a:lnTo>
                    <a:pt x="2329" y="24093"/>
                  </a:lnTo>
                  <a:lnTo>
                    <a:pt x="2555" y="23867"/>
                  </a:lnTo>
                  <a:lnTo>
                    <a:pt x="2758" y="23641"/>
                  </a:lnTo>
                  <a:lnTo>
                    <a:pt x="3143" y="23167"/>
                  </a:lnTo>
                  <a:lnTo>
                    <a:pt x="3459" y="22670"/>
                  </a:lnTo>
                  <a:lnTo>
                    <a:pt x="3775" y="22150"/>
                  </a:lnTo>
                  <a:lnTo>
                    <a:pt x="4024" y="21630"/>
                  </a:lnTo>
                  <a:lnTo>
                    <a:pt x="4250" y="21088"/>
                  </a:lnTo>
                  <a:lnTo>
                    <a:pt x="4453" y="20522"/>
                  </a:lnTo>
                  <a:lnTo>
                    <a:pt x="4634" y="19980"/>
                  </a:lnTo>
                  <a:lnTo>
                    <a:pt x="4815" y="19415"/>
                  </a:lnTo>
                  <a:lnTo>
                    <a:pt x="4951" y="18850"/>
                  </a:lnTo>
                  <a:lnTo>
                    <a:pt x="5199" y="17765"/>
                  </a:lnTo>
                  <a:lnTo>
                    <a:pt x="5448" y="16725"/>
                  </a:lnTo>
                  <a:lnTo>
                    <a:pt x="5561" y="16251"/>
                  </a:lnTo>
                  <a:lnTo>
                    <a:pt x="5697" y="15776"/>
                  </a:lnTo>
                  <a:lnTo>
                    <a:pt x="5697" y="15776"/>
                  </a:lnTo>
                  <a:lnTo>
                    <a:pt x="5810" y="15324"/>
                  </a:lnTo>
                  <a:lnTo>
                    <a:pt x="5923" y="14850"/>
                  </a:lnTo>
                  <a:lnTo>
                    <a:pt x="6126" y="13855"/>
                  </a:lnTo>
                  <a:lnTo>
                    <a:pt x="6284" y="12815"/>
                  </a:lnTo>
                  <a:lnTo>
                    <a:pt x="6442" y="11731"/>
                  </a:lnTo>
                  <a:lnTo>
                    <a:pt x="6646" y="10578"/>
                  </a:lnTo>
                  <a:lnTo>
                    <a:pt x="6849" y="9357"/>
                  </a:lnTo>
                  <a:lnTo>
                    <a:pt x="6985" y="8725"/>
                  </a:lnTo>
                  <a:lnTo>
                    <a:pt x="7143" y="8092"/>
                  </a:lnTo>
                  <a:lnTo>
                    <a:pt x="7324" y="7414"/>
                  </a:lnTo>
                  <a:lnTo>
                    <a:pt x="7527" y="6758"/>
                  </a:lnTo>
                  <a:lnTo>
                    <a:pt x="7527" y="6758"/>
                  </a:lnTo>
                  <a:lnTo>
                    <a:pt x="7663" y="6329"/>
                  </a:lnTo>
                  <a:lnTo>
                    <a:pt x="7844" y="5922"/>
                  </a:lnTo>
                  <a:lnTo>
                    <a:pt x="8024" y="5538"/>
                  </a:lnTo>
                  <a:lnTo>
                    <a:pt x="8250" y="5176"/>
                  </a:lnTo>
                  <a:lnTo>
                    <a:pt x="8477" y="4815"/>
                  </a:lnTo>
                  <a:lnTo>
                    <a:pt x="8725" y="4498"/>
                  </a:lnTo>
                  <a:lnTo>
                    <a:pt x="8996" y="4182"/>
                  </a:lnTo>
                  <a:lnTo>
                    <a:pt x="9268" y="3888"/>
                  </a:lnTo>
                  <a:lnTo>
                    <a:pt x="9539" y="3617"/>
                  </a:lnTo>
                  <a:lnTo>
                    <a:pt x="9833" y="3368"/>
                  </a:lnTo>
                  <a:lnTo>
                    <a:pt x="10398" y="2893"/>
                  </a:lnTo>
                  <a:lnTo>
                    <a:pt x="10940" y="2487"/>
                  </a:lnTo>
                  <a:lnTo>
                    <a:pt x="11460" y="2148"/>
                  </a:lnTo>
                  <a:lnTo>
                    <a:pt x="11460" y="2148"/>
                  </a:lnTo>
                  <a:lnTo>
                    <a:pt x="12545" y="1470"/>
                  </a:lnTo>
                  <a:lnTo>
                    <a:pt x="13449" y="950"/>
                  </a:lnTo>
                  <a:lnTo>
                    <a:pt x="14172" y="565"/>
                  </a:lnTo>
                  <a:lnTo>
                    <a:pt x="14760" y="317"/>
                  </a:lnTo>
                  <a:lnTo>
                    <a:pt x="15189" y="136"/>
                  </a:lnTo>
                  <a:lnTo>
                    <a:pt x="15483" y="46"/>
                  </a:lnTo>
                  <a:lnTo>
                    <a:pt x="15709" y="0"/>
                  </a:lnTo>
                  <a:lnTo>
                    <a:pt x="15709" y="0"/>
                  </a:lnTo>
                  <a:lnTo>
                    <a:pt x="15686" y="339"/>
                  </a:lnTo>
                  <a:lnTo>
                    <a:pt x="15664" y="814"/>
                  </a:lnTo>
                  <a:lnTo>
                    <a:pt x="15709" y="2057"/>
                  </a:lnTo>
                  <a:lnTo>
                    <a:pt x="15799" y="3662"/>
                  </a:lnTo>
                  <a:lnTo>
                    <a:pt x="15845" y="4566"/>
                  </a:lnTo>
                  <a:lnTo>
                    <a:pt x="15867" y="5538"/>
                  </a:lnTo>
                  <a:lnTo>
                    <a:pt x="15890" y="6532"/>
                  </a:lnTo>
                  <a:lnTo>
                    <a:pt x="15867" y="7549"/>
                  </a:lnTo>
                  <a:lnTo>
                    <a:pt x="15822" y="8612"/>
                  </a:lnTo>
                  <a:lnTo>
                    <a:pt x="15754" y="9651"/>
                  </a:lnTo>
                  <a:lnTo>
                    <a:pt x="15619" y="10713"/>
                  </a:lnTo>
                  <a:lnTo>
                    <a:pt x="15551" y="11233"/>
                  </a:lnTo>
                  <a:lnTo>
                    <a:pt x="15460" y="11753"/>
                  </a:lnTo>
                  <a:lnTo>
                    <a:pt x="15347" y="12250"/>
                  </a:lnTo>
                  <a:lnTo>
                    <a:pt x="15234" y="12748"/>
                  </a:lnTo>
                  <a:lnTo>
                    <a:pt x="15099" y="13245"/>
                  </a:lnTo>
                  <a:lnTo>
                    <a:pt x="14941" y="1371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01" name="Google Shape;1701;p16"/>
            <p:cNvSpPr/>
            <p:nvPr/>
          </p:nvSpPr>
          <p:spPr>
            <a:xfrm>
              <a:off x="5705975" y="2201775"/>
              <a:ext cx="62175" cy="195525"/>
            </a:xfrm>
            <a:custGeom>
              <a:avLst/>
              <a:gdLst/>
              <a:ahLst/>
              <a:cxnLst/>
              <a:rect l="l" t="t" r="r" b="b"/>
              <a:pathLst>
                <a:path w="2487" h="7821" extrusionOk="0">
                  <a:moveTo>
                    <a:pt x="2486" y="0"/>
                  </a:moveTo>
                  <a:lnTo>
                    <a:pt x="2238" y="972"/>
                  </a:lnTo>
                  <a:lnTo>
                    <a:pt x="1831" y="3006"/>
                  </a:lnTo>
                  <a:lnTo>
                    <a:pt x="1605" y="4001"/>
                  </a:lnTo>
                  <a:lnTo>
                    <a:pt x="1492" y="4453"/>
                  </a:lnTo>
                  <a:lnTo>
                    <a:pt x="1356" y="4927"/>
                  </a:lnTo>
                  <a:lnTo>
                    <a:pt x="1221" y="5357"/>
                  </a:lnTo>
                  <a:lnTo>
                    <a:pt x="1062" y="5763"/>
                  </a:lnTo>
                  <a:lnTo>
                    <a:pt x="882" y="6148"/>
                  </a:lnTo>
                  <a:lnTo>
                    <a:pt x="678" y="6509"/>
                  </a:lnTo>
                  <a:lnTo>
                    <a:pt x="475" y="6848"/>
                  </a:lnTo>
                  <a:lnTo>
                    <a:pt x="294" y="7187"/>
                  </a:lnTo>
                  <a:lnTo>
                    <a:pt x="0" y="7820"/>
                  </a:lnTo>
                  <a:lnTo>
                    <a:pt x="362" y="7233"/>
                  </a:lnTo>
                  <a:lnTo>
                    <a:pt x="678" y="6645"/>
                  </a:lnTo>
                  <a:lnTo>
                    <a:pt x="949" y="6057"/>
                  </a:lnTo>
                  <a:lnTo>
                    <a:pt x="1198" y="5470"/>
                  </a:lnTo>
                  <a:lnTo>
                    <a:pt x="1401" y="4882"/>
                  </a:lnTo>
                  <a:lnTo>
                    <a:pt x="1560" y="4294"/>
                  </a:lnTo>
                  <a:lnTo>
                    <a:pt x="1718" y="3729"/>
                  </a:lnTo>
                  <a:lnTo>
                    <a:pt x="1853" y="3164"/>
                  </a:lnTo>
                  <a:lnTo>
                    <a:pt x="2079" y="2057"/>
                  </a:lnTo>
                  <a:lnTo>
                    <a:pt x="2283" y="995"/>
                  </a:lnTo>
                  <a:lnTo>
                    <a:pt x="2486" y="0"/>
                  </a:lnTo>
                  <a:close/>
                </a:path>
              </a:pathLst>
            </a:custGeom>
            <a:solidFill>
              <a:srgbClr val="DDDCD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02" name="Google Shape;1702;p16"/>
            <p:cNvSpPr/>
            <p:nvPr/>
          </p:nvSpPr>
          <p:spPr>
            <a:xfrm>
              <a:off x="5705975" y="2176350"/>
              <a:ext cx="69525" cy="220950"/>
            </a:xfrm>
            <a:custGeom>
              <a:avLst/>
              <a:gdLst/>
              <a:ahLst/>
              <a:cxnLst/>
              <a:rect l="l" t="t" r="r" b="b"/>
              <a:pathLst>
                <a:path w="2781" h="8838" fill="none" extrusionOk="0">
                  <a:moveTo>
                    <a:pt x="2780" y="0"/>
                  </a:moveTo>
                  <a:lnTo>
                    <a:pt x="2780" y="0"/>
                  </a:lnTo>
                  <a:lnTo>
                    <a:pt x="2758" y="90"/>
                  </a:lnTo>
                  <a:lnTo>
                    <a:pt x="2758" y="90"/>
                  </a:lnTo>
                  <a:lnTo>
                    <a:pt x="2622" y="543"/>
                  </a:lnTo>
                  <a:lnTo>
                    <a:pt x="2486" y="1017"/>
                  </a:lnTo>
                  <a:lnTo>
                    <a:pt x="2238" y="1989"/>
                  </a:lnTo>
                  <a:lnTo>
                    <a:pt x="1831" y="4023"/>
                  </a:lnTo>
                  <a:lnTo>
                    <a:pt x="1605" y="5018"/>
                  </a:lnTo>
                  <a:lnTo>
                    <a:pt x="1492" y="5470"/>
                  </a:lnTo>
                  <a:lnTo>
                    <a:pt x="1356" y="5944"/>
                  </a:lnTo>
                  <a:lnTo>
                    <a:pt x="1221" y="6374"/>
                  </a:lnTo>
                  <a:lnTo>
                    <a:pt x="1062" y="6780"/>
                  </a:lnTo>
                  <a:lnTo>
                    <a:pt x="882" y="7165"/>
                  </a:lnTo>
                  <a:lnTo>
                    <a:pt x="678" y="7526"/>
                  </a:lnTo>
                  <a:lnTo>
                    <a:pt x="678" y="7526"/>
                  </a:lnTo>
                  <a:lnTo>
                    <a:pt x="475" y="7865"/>
                  </a:lnTo>
                  <a:lnTo>
                    <a:pt x="294" y="8204"/>
                  </a:lnTo>
                  <a:lnTo>
                    <a:pt x="0" y="8837"/>
                  </a:lnTo>
                  <a:lnTo>
                    <a:pt x="0" y="8837"/>
                  </a:lnTo>
                  <a:lnTo>
                    <a:pt x="0" y="8837"/>
                  </a:lnTo>
                  <a:lnTo>
                    <a:pt x="0" y="8837"/>
                  </a:lnTo>
                  <a:lnTo>
                    <a:pt x="362" y="8250"/>
                  </a:lnTo>
                  <a:lnTo>
                    <a:pt x="678" y="7662"/>
                  </a:lnTo>
                  <a:lnTo>
                    <a:pt x="949" y="7074"/>
                  </a:lnTo>
                  <a:lnTo>
                    <a:pt x="1198" y="6487"/>
                  </a:lnTo>
                  <a:lnTo>
                    <a:pt x="1401" y="5899"/>
                  </a:lnTo>
                  <a:lnTo>
                    <a:pt x="1560" y="5311"/>
                  </a:lnTo>
                  <a:lnTo>
                    <a:pt x="1718" y="4746"/>
                  </a:lnTo>
                  <a:lnTo>
                    <a:pt x="1853" y="4181"/>
                  </a:lnTo>
                  <a:lnTo>
                    <a:pt x="2079" y="3074"/>
                  </a:lnTo>
                  <a:lnTo>
                    <a:pt x="2283" y="2012"/>
                  </a:lnTo>
                  <a:lnTo>
                    <a:pt x="2486" y="1017"/>
                  </a:lnTo>
                  <a:lnTo>
                    <a:pt x="2622" y="543"/>
                  </a:lnTo>
                  <a:lnTo>
                    <a:pt x="2758" y="90"/>
                  </a:lnTo>
                  <a:lnTo>
                    <a:pt x="2758" y="90"/>
                  </a:lnTo>
                  <a:lnTo>
                    <a:pt x="278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03" name="Google Shape;1703;p16"/>
            <p:cNvSpPr/>
            <p:nvPr/>
          </p:nvSpPr>
          <p:spPr>
            <a:xfrm>
              <a:off x="5669250" y="2030550"/>
              <a:ext cx="124875" cy="366750"/>
            </a:xfrm>
            <a:custGeom>
              <a:avLst/>
              <a:gdLst/>
              <a:ahLst/>
              <a:cxnLst/>
              <a:rect l="l" t="t" r="r" b="b"/>
              <a:pathLst>
                <a:path w="4995" h="14670" extrusionOk="0">
                  <a:moveTo>
                    <a:pt x="0" y="1"/>
                  </a:moveTo>
                  <a:lnTo>
                    <a:pt x="226" y="317"/>
                  </a:lnTo>
                  <a:lnTo>
                    <a:pt x="407" y="656"/>
                  </a:lnTo>
                  <a:lnTo>
                    <a:pt x="565" y="1041"/>
                  </a:lnTo>
                  <a:lnTo>
                    <a:pt x="723" y="1470"/>
                  </a:lnTo>
                  <a:lnTo>
                    <a:pt x="859" y="1899"/>
                  </a:lnTo>
                  <a:lnTo>
                    <a:pt x="972" y="2374"/>
                  </a:lnTo>
                  <a:lnTo>
                    <a:pt x="1062" y="2871"/>
                  </a:lnTo>
                  <a:lnTo>
                    <a:pt x="1153" y="3369"/>
                  </a:lnTo>
                  <a:lnTo>
                    <a:pt x="1221" y="3888"/>
                  </a:lnTo>
                  <a:lnTo>
                    <a:pt x="1288" y="4431"/>
                  </a:lnTo>
                  <a:lnTo>
                    <a:pt x="1356" y="5538"/>
                  </a:lnTo>
                  <a:lnTo>
                    <a:pt x="1401" y="6691"/>
                  </a:lnTo>
                  <a:lnTo>
                    <a:pt x="1424" y="7821"/>
                  </a:lnTo>
                  <a:lnTo>
                    <a:pt x="1424" y="8951"/>
                  </a:lnTo>
                  <a:lnTo>
                    <a:pt x="1401" y="10059"/>
                  </a:lnTo>
                  <a:lnTo>
                    <a:pt x="1356" y="12047"/>
                  </a:lnTo>
                  <a:lnTo>
                    <a:pt x="1334" y="12906"/>
                  </a:lnTo>
                  <a:lnTo>
                    <a:pt x="1356" y="13630"/>
                  </a:lnTo>
                  <a:lnTo>
                    <a:pt x="1401" y="14240"/>
                  </a:lnTo>
                  <a:lnTo>
                    <a:pt x="1424" y="14466"/>
                  </a:lnTo>
                  <a:lnTo>
                    <a:pt x="1469" y="14669"/>
                  </a:lnTo>
                  <a:lnTo>
                    <a:pt x="1763" y="14036"/>
                  </a:lnTo>
                  <a:lnTo>
                    <a:pt x="1944" y="13697"/>
                  </a:lnTo>
                  <a:lnTo>
                    <a:pt x="2147" y="13358"/>
                  </a:lnTo>
                  <a:lnTo>
                    <a:pt x="2351" y="12997"/>
                  </a:lnTo>
                  <a:lnTo>
                    <a:pt x="2531" y="12612"/>
                  </a:lnTo>
                  <a:lnTo>
                    <a:pt x="2690" y="12206"/>
                  </a:lnTo>
                  <a:lnTo>
                    <a:pt x="2825" y="11776"/>
                  </a:lnTo>
                  <a:lnTo>
                    <a:pt x="2961" y="11302"/>
                  </a:lnTo>
                  <a:lnTo>
                    <a:pt x="3074" y="10850"/>
                  </a:lnTo>
                  <a:lnTo>
                    <a:pt x="3300" y="9855"/>
                  </a:lnTo>
                  <a:lnTo>
                    <a:pt x="3707" y="7821"/>
                  </a:lnTo>
                  <a:lnTo>
                    <a:pt x="3955" y="6849"/>
                  </a:lnTo>
                  <a:lnTo>
                    <a:pt x="4091" y="6375"/>
                  </a:lnTo>
                  <a:lnTo>
                    <a:pt x="4227" y="5922"/>
                  </a:lnTo>
                  <a:lnTo>
                    <a:pt x="4249" y="5832"/>
                  </a:lnTo>
                  <a:lnTo>
                    <a:pt x="4362" y="5470"/>
                  </a:lnTo>
                  <a:lnTo>
                    <a:pt x="4475" y="5041"/>
                  </a:lnTo>
                  <a:lnTo>
                    <a:pt x="4679" y="4069"/>
                  </a:lnTo>
                  <a:lnTo>
                    <a:pt x="4859" y="3120"/>
                  </a:lnTo>
                  <a:lnTo>
                    <a:pt x="4995" y="2284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C1352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04" name="Google Shape;1704;p16"/>
            <p:cNvSpPr/>
            <p:nvPr/>
          </p:nvSpPr>
          <p:spPr>
            <a:xfrm>
              <a:off x="5669250" y="2030550"/>
              <a:ext cx="124875" cy="366750"/>
            </a:xfrm>
            <a:custGeom>
              <a:avLst/>
              <a:gdLst/>
              <a:ahLst/>
              <a:cxnLst/>
              <a:rect l="l" t="t" r="r" b="b"/>
              <a:pathLst>
                <a:path w="4995" h="14670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226" y="317"/>
                  </a:lnTo>
                  <a:lnTo>
                    <a:pt x="407" y="656"/>
                  </a:lnTo>
                  <a:lnTo>
                    <a:pt x="565" y="1041"/>
                  </a:lnTo>
                  <a:lnTo>
                    <a:pt x="723" y="1470"/>
                  </a:lnTo>
                  <a:lnTo>
                    <a:pt x="859" y="1899"/>
                  </a:lnTo>
                  <a:lnTo>
                    <a:pt x="972" y="2374"/>
                  </a:lnTo>
                  <a:lnTo>
                    <a:pt x="1062" y="2871"/>
                  </a:lnTo>
                  <a:lnTo>
                    <a:pt x="1153" y="3369"/>
                  </a:lnTo>
                  <a:lnTo>
                    <a:pt x="1221" y="3888"/>
                  </a:lnTo>
                  <a:lnTo>
                    <a:pt x="1288" y="4431"/>
                  </a:lnTo>
                  <a:lnTo>
                    <a:pt x="1356" y="5538"/>
                  </a:lnTo>
                  <a:lnTo>
                    <a:pt x="1401" y="6691"/>
                  </a:lnTo>
                  <a:lnTo>
                    <a:pt x="1424" y="7821"/>
                  </a:lnTo>
                  <a:lnTo>
                    <a:pt x="1424" y="8951"/>
                  </a:lnTo>
                  <a:lnTo>
                    <a:pt x="1401" y="10059"/>
                  </a:lnTo>
                  <a:lnTo>
                    <a:pt x="1356" y="12047"/>
                  </a:lnTo>
                  <a:lnTo>
                    <a:pt x="1334" y="12906"/>
                  </a:lnTo>
                  <a:lnTo>
                    <a:pt x="1356" y="13630"/>
                  </a:lnTo>
                  <a:lnTo>
                    <a:pt x="1401" y="14240"/>
                  </a:lnTo>
                  <a:lnTo>
                    <a:pt x="1424" y="14466"/>
                  </a:lnTo>
                  <a:lnTo>
                    <a:pt x="1469" y="14669"/>
                  </a:lnTo>
                  <a:lnTo>
                    <a:pt x="1469" y="14669"/>
                  </a:lnTo>
                  <a:lnTo>
                    <a:pt x="1763" y="14036"/>
                  </a:lnTo>
                  <a:lnTo>
                    <a:pt x="1944" y="13697"/>
                  </a:lnTo>
                  <a:lnTo>
                    <a:pt x="2147" y="13358"/>
                  </a:lnTo>
                  <a:lnTo>
                    <a:pt x="2147" y="13358"/>
                  </a:lnTo>
                  <a:lnTo>
                    <a:pt x="2351" y="12997"/>
                  </a:lnTo>
                  <a:lnTo>
                    <a:pt x="2531" y="12612"/>
                  </a:lnTo>
                  <a:lnTo>
                    <a:pt x="2690" y="12206"/>
                  </a:lnTo>
                  <a:lnTo>
                    <a:pt x="2825" y="11776"/>
                  </a:lnTo>
                  <a:lnTo>
                    <a:pt x="2961" y="11302"/>
                  </a:lnTo>
                  <a:lnTo>
                    <a:pt x="3074" y="10850"/>
                  </a:lnTo>
                  <a:lnTo>
                    <a:pt x="3300" y="9855"/>
                  </a:lnTo>
                  <a:lnTo>
                    <a:pt x="3707" y="7821"/>
                  </a:lnTo>
                  <a:lnTo>
                    <a:pt x="3955" y="6849"/>
                  </a:lnTo>
                  <a:lnTo>
                    <a:pt x="4091" y="6375"/>
                  </a:lnTo>
                  <a:lnTo>
                    <a:pt x="4227" y="5922"/>
                  </a:lnTo>
                  <a:lnTo>
                    <a:pt x="4227" y="5922"/>
                  </a:lnTo>
                  <a:lnTo>
                    <a:pt x="4249" y="5832"/>
                  </a:lnTo>
                  <a:lnTo>
                    <a:pt x="4249" y="5832"/>
                  </a:lnTo>
                  <a:lnTo>
                    <a:pt x="4362" y="5470"/>
                  </a:lnTo>
                  <a:lnTo>
                    <a:pt x="4475" y="5041"/>
                  </a:lnTo>
                  <a:lnTo>
                    <a:pt x="4679" y="4069"/>
                  </a:lnTo>
                  <a:lnTo>
                    <a:pt x="4859" y="3120"/>
                  </a:lnTo>
                  <a:lnTo>
                    <a:pt x="4995" y="2284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05" name="Google Shape;1705;p16"/>
            <p:cNvSpPr/>
            <p:nvPr/>
          </p:nvSpPr>
          <p:spPr>
            <a:xfrm>
              <a:off x="6128625" y="2240750"/>
              <a:ext cx="285925" cy="118125"/>
            </a:xfrm>
            <a:custGeom>
              <a:avLst/>
              <a:gdLst/>
              <a:ahLst/>
              <a:cxnLst/>
              <a:rect l="l" t="t" r="r" b="b"/>
              <a:pathLst>
                <a:path w="11437" h="4725" extrusionOk="0">
                  <a:moveTo>
                    <a:pt x="8769" y="1"/>
                  </a:moveTo>
                  <a:lnTo>
                    <a:pt x="8430" y="46"/>
                  </a:lnTo>
                  <a:lnTo>
                    <a:pt x="8046" y="114"/>
                  </a:lnTo>
                  <a:lnTo>
                    <a:pt x="7639" y="181"/>
                  </a:lnTo>
                  <a:lnTo>
                    <a:pt x="6826" y="362"/>
                  </a:lnTo>
                  <a:lnTo>
                    <a:pt x="5967" y="566"/>
                  </a:lnTo>
                  <a:lnTo>
                    <a:pt x="5198" y="746"/>
                  </a:lnTo>
                  <a:lnTo>
                    <a:pt x="4724" y="859"/>
                  </a:lnTo>
                  <a:lnTo>
                    <a:pt x="4452" y="905"/>
                  </a:lnTo>
                  <a:lnTo>
                    <a:pt x="4204" y="927"/>
                  </a:lnTo>
                  <a:lnTo>
                    <a:pt x="3752" y="927"/>
                  </a:lnTo>
                  <a:lnTo>
                    <a:pt x="3322" y="905"/>
                  </a:lnTo>
                  <a:lnTo>
                    <a:pt x="2870" y="927"/>
                  </a:lnTo>
                  <a:lnTo>
                    <a:pt x="2622" y="950"/>
                  </a:lnTo>
                  <a:lnTo>
                    <a:pt x="2351" y="995"/>
                  </a:lnTo>
                  <a:lnTo>
                    <a:pt x="2057" y="1063"/>
                  </a:lnTo>
                  <a:lnTo>
                    <a:pt x="1740" y="1153"/>
                  </a:lnTo>
                  <a:lnTo>
                    <a:pt x="1379" y="1289"/>
                  </a:lnTo>
                  <a:lnTo>
                    <a:pt x="972" y="1470"/>
                  </a:lnTo>
                  <a:lnTo>
                    <a:pt x="520" y="1673"/>
                  </a:lnTo>
                  <a:lnTo>
                    <a:pt x="0" y="1944"/>
                  </a:lnTo>
                  <a:lnTo>
                    <a:pt x="0" y="2080"/>
                  </a:lnTo>
                  <a:lnTo>
                    <a:pt x="0" y="2487"/>
                  </a:lnTo>
                  <a:lnTo>
                    <a:pt x="23" y="2735"/>
                  </a:lnTo>
                  <a:lnTo>
                    <a:pt x="68" y="3029"/>
                  </a:lnTo>
                  <a:lnTo>
                    <a:pt x="113" y="3323"/>
                  </a:lnTo>
                  <a:lnTo>
                    <a:pt x="203" y="3617"/>
                  </a:lnTo>
                  <a:lnTo>
                    <a:pt x="316" y="3911"/>
                  </a:lnTo>
                  <a:lnTo>
                    <a:pt x="452" y="4159"/>
                  </a:lnTo>
                  <a:lnTo>
                    <a:pt x="542" y="4272"/>
                  </a:lnTo>
                  <a:lnTo>
                    <a:pt x="655" y="4385"/>
                  </a:lnTo>
                  <a:lnTo>
                    <a:pt x="746" y="4476"/>
                  </a:lnTo>
                  <a:lnTo>
                    <a:pt x="881" y="4566"/>
                  </a:lnTo>
                  <a:lnTo>
                    <a:pt x="994" y="4634"/>
                  </a:lnTo>
                  <a:lnTo>
                    <a:pt x="1153" y="4679"/>
                  </a:lnTo>
                  <a:lnTo>
                    <a:pt x="1288" y="4702"/>
                  </a:lnTo>
                  <a:lnTo>
                    <a:pt x="1469" y="4724"/>
                  </a:lnTo>
                  <a:lnTo>
                    <a:pt x="1650" y="4702"/>
                  </a:lnTo>
                  <a:lnTo>
                    <a:pt x="1853" y="4679"/>
                  </a:lnTo>
                  <a:lnTo>
                    <a:pt x="2057" y="4611"/>
                  </a:lnTo>
                  <a:lnTo>
                    <a:pt x="2283" y="4543"/>
                  </a:lnTo>
                  <a:lnTo>
                    <a:pt x="3232" y="4182"/>
                  </a:lnTo>
                  <a:lnTo>
                    <a:pt x="4068" y="3888"/>
                  </a:lnTo>
                  <a:lnTo>
                    <a:pt x="4859" y="3617"/>
                  </a:lnTo>
                  <a:lnTo>
                    <a:pt x="5244" y="3459"/>
                  </a:lnTo>
                  <a:lnTo>
                    <a:pt x="5605" y="3323"/>
                  </a:lnTo>
                  <a:lnTo>
                    <a:pt x="6713" y="2848"/>
                  </a:lnTo>
                  <a:lnTo>
                    <a:pt x="7210" y="2645"/>
                  </a:lnTo>
                  <a:lnTo>
                    <a:pt x="7662" y="2487"/>
                  </a:lnTo>
                  <a:lnTo>
                    <a:pt x="8114" y="2351"/>
                  </a:lnTo>
                  <a:lnTo>
                    <a:pt x="8521" y="2261"/>
                  </a:lnTo>
                  <a:lnTo>
                    <a:pt x="8905" y="2193"/>
                  </a:lnTo>
                  <a:lnTo>
                    <a:pt x="9267" y="2170"/>
                  </a:lnTo>
                  <a:lnTo>
                    <a:pt x="9538" y="2216"/>
                  </a:lnTo>
                  <a:lnTo>
                    <a:pt x="9741" y="2283"/>
                  </a:lnTo>
                  <a:lnTo>
                    <a:pt x="9899" y="2374"/>
                  </a:lnTo>
                  <a:lnTo>
                    <a:pt x="10035" y="2509"/>
                  </a:lnTo>
                  <a:lnTo>
                    <a:pt x="10148" y="2645"/>
                  </a:lnTo>
                  <a:lnTo>
                    <a:pt x="10238" y="2803"/>
                  </a:lnTo>
                  <a:lnTo>
                    <a:pt x="10374" y="3120"/>
                  </a:lnTo>
                  <a:lnTo>
                    <a:pt x="10487" y="3391"/>
                  </a:lnTo>
                  <a:lnTo>
                    <a:pt x="10532" y="3504"/>
                  </a:lnTo>
                  <a:lnTo>
                    <a:pt x="10623" y="3594"/>
                  </a:lnTo>
                  <a:lnTo>
                    <a:pt x="10713" y="3639"/>
                  </a:lnTo>
                  <a:lnTo>
                    <a:pt x="10849" y="3639"/>
                  </a:lnTo>
                  <a:lnTo>
                    <a:pt x="11007" y="3572"/>
                  </a:lnTo>
                  <a:lnTo>
                    <a:pt x="11188" y="3481"/>
                  </a:lnTo>
                  <a:lnTo>
                    <a:pt x="11278" y="3391"/>
                  </a:lnTo>
                  <a:lnTo>
                    <a:pt x="11346" y="3278"/>
                  </a:lnTo>
                  <a:lnTo>
                    <a:pt x="11391" y="3120"/>
                  </a:lnTo>
                  <a:lnTo>
                    <a:pt x="11414" y="2916"/>
                  </a:lnTo>
                  <a:lnTo>
                    <a:pt x="11436" y="2713"/>
                  </a:lnTo>
                  <a:lnTo>
                    <a:pt x="11436" y="2487"/>
                  </a:lnTo>
                  <a:lnTo>
                    <a:pt x="11414" y="2238"/>
                  </a:lnTo>
                  <a:lnTo>
                    <a:pt x="11369" y="1990"/>
                  </a:lnTo>
                  <a:lnTo>
                    <a:pt x="11301" y="1741"/>
                  </a:lnTo>
                  <a:lnTo>
                    <a:pt x="11210" y="1470"/>
                  </a:lnTo>
                  <a:lnTo>
                    <a:pt x="11097" y="1221"/>
                  </a:lnTo>
                  <a:lnTo>
                    <a:pt x="10962" y="995"/>
                  </a:lnTo>
                  <a:lnTo>
                    <a:pt x="10804" y="769"/>
                  </a:lnTo>
                  <a:lnTo>
                    <a:pt x="10623" y="566"/>
                  </a:lnTo>
                  <a:lnTo>
                    <a:pt x="10419" y="385"/>
                  </a:lnTo>
                  <a:lnTo>
                    <a:pt x="10193" y="227"/>
                  </a:lnTo>
                  <a:lnTo>
                    <a:pt x="9945" y="136"/>
                  </a:lnTo>
                  <a:lnTo>
                    <a:pt x="9673" y="46"/>
                  </a:lnTo>
                  <a:lnTo>
                    <a:pt x="9402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06" name="Google Shape;1706;p16"/>
            <p:cNvSpPr/>
            <p:nvPr/>
          </p:nvSpPr>
          <p:spPr>
            <a:xfrm>
              <a:off x="5636475" y="1904000"/>
              <a:ext cx="657725" cy="506850"/>
            </a:xfrm>
            <a:custGeom>
              <a:avLst/>
              <a:gdLst/>
              <a:ahLst/>
              <a:cxnLst/>
              <a:rect l="l" t="t" r="r" b="b"/>
              <a:pathLst>
                <a:path w="26309" h="20274" extrusionOk="0">
                  <a:moveTo>
                    <a:pt x="3164" y="0"/>
                  </a:moveTo>
                  <a:lnTo>
                    <a:pt x="2758" y="23"/>
                  </a:lnTo>
                  <a:lnTo>
                    <a:pt x="2306" y="113"/>
                  </a:lnTo>
                  <a:lnTo>
                    <a:pt x="2102" y="181"/>
                  </a:lnTo>
                  <a:lnTo>
                    <a:pt x="1876" y="249"/>
                  </a:lnTo>
                  <a:lnTo>
                    <a:pt x="1673" y="339"/>
                  </a:lnTo>
                  <a:lnTo>
                    <a:pt x="1469" y="452"/>
                  </a:lnTo>
                  <a:lnTo>
                    <a:pt x="1243" y="565"/>
                  </a:lnTo>
                  <a:lnTo>
                    <a:pt x="1040" y="723"/>
                  </a:lnTo>
                  <a:lnTo>
                    <a:pt x="836" y="882"/>
                  </a:lnTo>
                  <a:lnTo>
                    <a:pt x="633" y="1062"/>
                  </a:lnTo>
                  <a:lnTo>
                    <a:pt x="452" y="1243"/>
                  </a:lnTo>
                  <a:lnTo>
                    <a:pt x="317" y="1447"/>
                  </a:lnTo>
                  <a:lnTo>
                    <a:pt x="204" y="1673"/>
                  </a:lnTo>
                  <a:lnTo>
                    <a:pt x="113" y="1876"/>
                  </a:lnTo>
                  <a:lnTo>
                    <a:pt x="45" y="2102"/>
                  </a:lnTo>
                  <a:lnTo>
                    <a:pt x="23" y="2306"/>
                  </a:lnTo>
                  <a:lnTo>
                    <a:pt x="0" y="2532"/>
                  </a:lnTo>
                  <a:lnTo>
                    <a:pt x="23" y="2758"/>
                  </a:lnTo>
                  <a:lnTo>
                    <a:pt x="45" y="2984"/>
                  </a:lnTo>
                  <a:lnTo>
                    <a:pt x="91" y="3210"/>
                  </a:lnTo>
                  <a:lnTo>
                    <a:pt x="158" y="3436"/>
                  </a:lnTo>
                  <a:lnTo>
                    <a:pt x="226" y="3662"/>
                  </a:lnTo>
                  <a:lnTo>
                    <a:pt x="430" y="4091"/>
                  </a:lnTo>
                  <a:lnTo>
                    <a:pt x="678" y="4520"/>
                  </a:lnTo>
                  <a:lnTo>
                    <a:pt x="927" y="4905"/>
                  </a:lnTo>
                  <a:lnTo>
                    <a:pt x="1198" y="5266"/>
                  </a:lnTo>
                  <a:lnTo>
                    <a:pt x="1469" y="5605"/>
                  </a:lnTo>
                  <a:lnTo>
                    <a:pt x="1718" y="5877"/>
                  </a:lnTo>
                  <a:lnTo>
                    <a:pt x="2102" y="6283"/>
                  </a:lnTo>
                  <a:lnTo>
                    <a:pt x="2260" y="6442"/>
                  </a:lnTo>
                  <a:lnTo>
                    <a:pt x="2509" y="7029"/>
                  </a:lnTo>
                  <a:lnTo>
                    <a:pt x="3164" y="8566"/>
                  </a:lnTo>
                  <a:lnTo>
                    <a:pt x="3616" y="9606"/>
                  </a:lnTo>
                  <a:lnTo>
                    <a:pt x="4159" y="10758"/>
                  </a:lnTo>
                  <a:lnTo>
                    <a:pt x="4746" y="12002"/>
                  </a:lnTo>
                  <a:lnTo>
                    <a:pt x="5379" y="13290"/>
                  </a:lnTo>
                  <a:lnTo>
                    <a:pt x="6080" y="14578"/>
                  </a:lnTo>
                  <a:lnTo>
                    <a:pt x="6781" y="15821"/>
                  </a:lnTo>
                  <a:lnTo>
                    <a:pt x="7165" y="16409"/>
                  </a:lnTo>
                  <a:lnTo>
                    <a:pt x="7526" y="16996"/>
                  </a:lnTo>
                  <a:lnTo>
                    <a:pt x="7888" y="17539"/>
                  </a:lnTo>
                  <a:lnTo>
                    <a:pt x="8272" y="18036"/>
                  </a:lnTo>
                  <a:lnTo>
                    <a:pt x="8657" y="18511"/>
                  </a:lnTo>
                  <a:lnTo>
                    <a:pt x="9018" y="18940"/>
                  </a:lnTo>
                  <a:lnTo>
                    <a:pt x="9380" y="19302"/>
                  </a:lnTo>
                  <a:lnTo>
                    <a:pt x="9741" y="19618"/>
                  </a:lnTo>
                  <a:lnTo>
                    <a:pt x="10103" y="19889"/>
                  </a:lnTo>
                  <a:lnTo>
                    <a:pt x="10284" y="20002"/>
                  </a:lnTo>
                  <a:lnTo>
                    <a:pt x="10465" y="20093"/>
                  </a:lnTo>
                  <a:lnTo>
                    <a:pt x="10623" y="20161"/>
                  </a:lnTo>
                  <a:lnTo>
                    <a:pt x="10804" y="20206"/>
                  </a:lnTo>
                  <a:lnTo>
                    <a:pt x="10962" y="20251"/>
                  </a:lnTo>
                  <a:lnTo>
                    <a:pt x="11143" y="20274"/>
                  </a:lnTo>
                  <a:lnTo>
                    <a:pt x="11911" y="20274"/>
                  </a:lnTo>
                  <a:lnTo>
                    <a:pt x="12838" y="20206"/>
                  </a:lnTo>
                  <a:lnTo>
                    <a:pt x="13877" y="20093"/>
                  </a:lnTo>
                  <a:lnTo>
                    <a:pt x="14985" y="19935"/>
                  </a:lnTo>
                  <a:lnTo>
                    <a:pt x="16160" y="19731"/>
                  </a:lnTo>
                  <a:lnTo>
                    <a:pt x="17358" y="19505"/>
                  </a:lnTo>
                  <a:lnTo>
                    <a:pt x="18579" y="19257"/>
                  </a:lnTo>
                  <a:lnTo>
                    <a:pt x="19799" y="18985"/>
                  </a:lnTo>
                  <a:lnTo>
                    <a:pt x="20952" y="18692"/>
                  </a:lnTo>
                  <a:lnTo>
                    <a:pt x="22059" y="18398"/>
                  </a:lnTo>
                  <a:lnTo>
                    <a:pt x="23076" y="18127"/>
                  </a:lnTo>
                  <a:lnTo>
                    <a:pt x="24003" y="17833"/>
                  </a:lnTo>
                  <a:lnTo>
                    <a:pt x="24771" y="17584"/>
                  </a:lnTo>
                  <a:lnTo>
                    <a:pt x="25382" y="17335"/>
                  </a:lnTo>
                  <a:lnTo>
                    <a:pt x="25608" y="17245"/>
                  </a:lnTo>
                  <a:lnTo>
                    <a:pt x="25811" y="17132"/>
                  </a:lnTo>
                  <a:lnTo>
                    <a:pt x="25947" y="17042"/>
                  </a:lnTo>
                  <a:lnTo>
                    <a:pt x="26014" y="16974"/>
                  </a:lnTo>
                  <a:lnTo>
                    <a:pt x="26082" y="16861"/>
                  </a:lnTo>
                  <a:lnTo>
                    <a:pt x="26150" y="16725"/>
                  </a:lnTo>
                  <a:lnTo>
                    <a:pt x="26240" y="16454"/>
                  </a:lnTo>
                  <a:lnTo>
                    <a:pt x="26286" y="16138"/>
                  </a:lnTo>
                  <a:lnTo>
                    <a:pt x="26308" y="15776"/>
                  </a:lnTo>
                  <a:lnTo>
                    <a:pt x="26286" y="15392"/>
                  </a:lnTo>
                  <a:lnTo>
                    <a:pt x="26263" y="14940"/>
                  </a:lnTo>
                  <a:lnTo>
                    <a:pt x="26150" y="13900"/>
                  </a:lnTo>
                  <a:lnTo>
                    <a:pt x="26150" y="13877"/>
                  </a:lnTo>
                  <a:lnTo>
                    <a:pt x="26105" y="13855"/>
                  </a:lnTo>
                  <a:lnTo>
                    <a:pt x="26014" y="13832"/>
                  </a:lnTo>
                  <a:lnTo>
                    <a:pt x="25834" y="13832"/>
                  </a:lnTo>
                  <a:lnTo>
                    <a:pt x="25608" y="13855"/>
                  </a:lnTo>
                  <a:lnTo>
                    <a:pt x="24997" y="13923"/>
                  </a:lnTo>
                  <a:lnTo>
                    <a:pt x="24184" y="14036"/>
                  </a:lnTo>
                  <a:lnTo>
                    <a:pt x="22150" y="14375"/>
                  </a:lnTo>
                  <a:lnTo>
                    <a:pt x="19776" y="14804"/>
                  </a:lnTo>
                  <a:lnTo>
                    <a:pt x="17290" y="15234"/>
                  </a:lnTo>
                  <a:lnTo>
                    <a:pt x="16115" y="15437"/>
                  </a:lnTo>
                  <a:lnTo>
                    <a:pt x="14985" y="15595"/>
                  </a:lnTo>
                  <a:lnTo>
                    <a:pt x="13968" y="15708"/>
                  </a:lnTo>
                  <a:lnTo>
                    <a:pt x="13086" y="15776"/>
                  </a:lnTo>
                  <a:lnTo>
                    <a:pt x="12386" y="15776"/>
                  </a:lnTo>
                  <a:lnTo>
                    <a:pt x="12115" y="15753"/>
                  </a:lnTo>
                  <a:lnTo>
                    <a:pt x="11889" y="15708"/>
                  </a:lnTo>
                  <a:lnTo>
                    <a:pt x="11165" y="14216"/>
                  </a:lnTo>
                  <a:lnTo>
                    <a:pt x="10600" y="13041"/>
                  </a:lnTo>
                  <a:lnTo>
                    <a:pt x="10126" y="11934"/>
                  </a:lnTo>
                  <a:lnTo>
                    <a:pt x="9606" y="10713"/>
                  </a:lnTo>
                  <a:lnTo>
                    <a:pt x="9018" y="9176"/>
                  </a:lnTo>
                  <a:lnTo>
                    <a:pt x="8227" y="7120"/>
                  </a:lnTo>
                  <a:lnTo>
                    <a:pt x="5741" y="543"/>
                  </a:lnTo>
                  <a:lnTo>
                    <a:pt x="5605" y="475"/>
                  </a:lnTo>
                  <a:lnTo>
                    <a:pt x="5221" y="339"/>
                  </a:lnTo>
                  <a:lnTo>
                    <a:pt x="4972" y="249"/>
                  </a:lnTo>
                  <a:lnTo>
                    <a:pt x="4679" y="158"/>
                  </a:lnTo>
                  <a:lnTo>
                    <a:pt x="4340" y="91"/>
                  </a:lnTo>
                  <a:lnTo>
                    <a:pt x="3978" y="23"/>
                  </a:lnTo>
                  <a:lnTo>
                    <a:pt x="3571" y="0"/>
                  </a:lnTo>
                  <a:close/>
                </a:path>
              </a:pathLst>
            </a:custGeom>
            <a:solidFill>
              <a:srgbClr val="DE36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07" name="Google Shape;1707;p16"/>
            <p:cNvSpPr/>
            <p:nvPr/>
          </p:nvSpPr>
          <p:spPr>
            <a:xfrm>
              <a:off x="1741675" y="4026250"/>
              <a:ext cx="5610825" cy="39575"/>
            </a:xfrm>
            <a:custGeom>
              <a:avLst/>
              <a:gdLst/>
              <a:ahLst/>
              <a:cxnLst/>
              <a:rect l="l" t="t" r="r" b="b"/>
              <a:pathLst>
                <a:path w="224433" h="1583" extrusionOk="0">
                  <a:moveTo>
                    <a:pt x="88214" y="1"/>
                  </a:moveTo>
                  <a:lnTo>
                    <a:pt x="67466" y="69"/>
                  </a:lnTo>
                  <a:lnTo>
                    <a:pt x="48707" y="137"/>
                  </a:lnTo>
                  <a:lnTo>
                    <a:pt x="32343" y="227"/>
                  </a:lnTo>
                  <a:lnTo>
                    <a:pt x="18850" y="340"/>
                  </a:lnTo>
                  <a:lnTo>
                    <a:pt x="13335" y="408"/>
                  </a:lnTo>
                  <a:lnTo>
                    <a:pt x="8679" y="476"/>
                  </a:lnTo>
                  <a:lnTo>
                    <a:pt x="4950" y="566"/>
                  </a:lnTo>
                  <a:lnTo>
                    <a:pt x="2238" y="634"/>
                  </a:lnTo>
                  <a:lnTo>
                    <a:pt x="565" y="702"/>
                  </a:lnTo>
                  <a:lnTo>
                    <a:pt x="136" y="747"/>
                  </a:lnTo>
                  <a:lnTo>
                    <a:pt x="23" y="769"/>
                  </a:lnTo>
                  <a:lnTo>
                    <a:pt x="0" y="792"/>
                  </a:lnTo>
                  <a:lnTo>
                    <a:pt x="110476" y="1583"/>
                  </a:lnTo>
                  <a:lnTo>
                    <a:pt x="132897" y="1560"/>
                  </a:lnTo>
                  <a:lnTo>
                    <a:pt x="154029" y="1493"/>
                  </a:lnTo>
                  <a:lnTo>
                    <a:pt x="173353" y="1402"/>
                  </a:lnTo>
                  <a:lnTo>
                    <a:pt x="190327" y="1267"/>
                  </a:lnTo>
                  <a:lnTo>
                    <a:pt x="204476" y="1131"/>
                  </a:lnTo>
                  <a:lnTo>
                    <a:pt x="210307" y="1063"/>
                  </a:lnTo>
                  <a:lnTo>
                    <a:pt x="215211" y="973"/>
                  </a:lnTo>
                  <a:lnTo>
                    <a:pt x="219144" y="882"/>
                  </a:lnTo>
                  <a:lnTo>
                    <a:pt x="222037" y="815"/>
                  </a:lnTo>
                  <a:lnTo>
                    <a:pt x="223823" y="724"/>
                  </a:lnTo>
                  <a:lnTo>
                    <a:pt x="224297" y="679"/>
                  </a:lnTo>
                  <a:lnTo>
                    <a:pt x="224410" y="656"/>
                  </a:lnTo>
                  <a:lnTo>
                    <a:pt x="224433" y="634"/>
                  </a:lnTo>
                  <a:lnTo>
                    <a:pt x="224410" y="611"/>
                  </a:lnTo>
                  <a:lnTo>
                    <a:pt x="224297" y="589"/>
                  </a:lnTo>
                  <a:lnTo>
                    <a:pt x="223823" y="566"/>
                  </a:lnTo>
                  <a:lnTo>
                    <a:pt x="222037" y="476"/>
                  </a:lnTo>
                  <a:lnTo>
                    <a:pt x="219144" y="408"/>
                  </a:lnTo>
                  <a:lnTo>
                    <a:pt x="215211" y="363"/>
                  </a:lnTo>
                  <a:lnTo>
                    <a:pt x="210307" y="295"/>
                  </a:lnTo>
                  <a:lnTo>
                    <a:pt x="204476" y="250"/>
                  </a:lnTo>
                  <a:lnTo>
                    <a:pt x="190327" y="159"/>
                  </a:lnTo>
                  <a:lnTo>
                    <a:pt x="173353" y="91"/>
                  </a:lnTo>
                  <a:lnTo>
                    <a:pt x="154029" y="24"/>
                  </a:lnTo>
                  <a:lnTo>
                    <a:pt x="132897" y="1"/>
                  </a:lnTo>
                  <a:close/>
                </a:path>
              </a:pathLst>
            </a:custGeom>
            <a:solidFill>
              <a:srgbClr val="D0D0D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08" name="Google Shape;1708;p16"/>
            <p:cNvSpPr/>
            <p:nvPr/>
          </p:nvSpPr>
          <p:spPr>
            <a:xfrm>
              <a:off x="1741675" y="4026250"/>
              <a:ext cx="5610825" cy="39575"/>
            </a:xfrm>
            <a:custGeom>
              <a:avLst/>
              <a:gdLst/>
              <a:ahLst/>
              <a:cxnLst/>
              <a:rect l="l" t="t" r="r" b="b"/>
              <a:pathLst>
                <a:path w="224433" h="1583" fill="none" extrusionOk="0">
                  <a:moveTo>
                    <a:pt x="110476" y="1"/>
                  </a:moveTo>
                  <a:lnTo>
                    <a:pt x="110476" y="1"/>
                  </a:lnTo>
                  <a:lnTo>
                    <a:pt x="88214" y="1"/>
                  </a:lnTo>
                  <a:lnTo>
                    <a:pt x="67466" y="69"/>
                  </a:lnTo>
                  <a:lnTo>
                    <a:pt x="48707" y="137"/>
                  </a:lnTo>
                  <a:lnTo>
                    <a:pt x="32343" y="227"/>
                  </a:lnTo>
                  <a:lnTo>
                    <a:pt x="18850" y="340"/>
                  </a:lnTo>
                  <a:lnTo>
                    <a:pt x="13335" y="408"/>
                  </a:lnTo>
                  <a:lnTo>
                    <a:pt x="8679" y="476"/>
                  </a:lnTo>
                  <a:lnTo>
                    <a:pt x="4950" y="566"/>
                  </a:lnTo>
                  <a:lnTo>
                    <a:pt x="2238" y="634"/>
                  </a:lnTo>
                  <a:lnTo>
                    <a:pt x="565" y="702"/>
                  </a:lnTo>
                  <a:lnTo>
                    <a:pt x="136" y="747"/>
                  </a:lnTo>
                  <a:lnTo>
                    <a:pt x="23" y="769"/>
                  </a:lnTo>
                  <a:lnTo>
                    <a:pt x="0" y="792"/>
                  </a:lnTo>
                  <a:lnTo>
                    <a:pt x="110476" y="1583"/>
                  </a:lnTo>
                  <a:lnTo>
                    <a:pt x="110476" y="1583"/>
                  </a:lnTo>
                  <a:lnTo>
                    <a:pt x="132897" y="1560"/>
                  </a:lnTo>
                  <a:lnTo>
                    <a:pt x="154029" y="1493"/>
                  </a:lnTo>
                  <a:lnTo>
                    <a:pt x="173353" y="1402"/>
                  </a:lnTo>
                  <a:lnTo>
                    <a:pt x="190327" y="1267"/>
                  </a:lnTo>
                  <a:lnTo>
                    <a:pt x="204476" y="1131"/>
                  </a:lnTo>
                  <a:lnTo>
                    <a:pt x="210307" y="1063"/>
                  </a:lnTo>
                  <a:lnTo>
                    <a:pt x="215211" y="973"/>
                  </a:lnTo>
                  <a:lnTo>
                    <a:pt x="219144" y="882"/>
                  </a:lnTo>
                  <a:lnTo>
                    <a:pt x="222037" y="815"/>
                  </a:lnTo>
                  <a:lnTo>
                    <a:pt x="223823" y="724"/>
                  </a:lnTo>
                  <a:lnTo>
                    <a:pt x="224297" y="679"/>
                  </a:lnTo>
                  <a:lnTo>
                    <a:pt x="224410" y="656"/>
                  </a:lnTo>
                  <a:lnTo>
                    <a:pt x="224433" y="634"/>
                  </a:lnTo>
                  <a:lnTo>
                    <a:pt x="224433" y="634"/>
                  </a:lnTo>
                  <a:lnTo>
                    <a:pt x="224410" y="611"/>
                  </a:lnTo>
                  <a:lnTo>
                    <a:pt x="224297" y="589"/>
                  </a:lnTo>
                  <a:lnTo>
                    <a:pt x="223823" y="566"/>
                  </a:lnTo>
                  <a:lnTo>
                    <a:pt x="222037" y="476"/>
                  </a:lnTo>
                  <a:lnTo>
                    <a:pt x="219144" y="408"/>
                  </a:lnTo>
                  <a:lnTo>
                    <a:pt x="215211" y="363"/>
                  </a:lnTo>
                  <a:lnTo>
                    <a:pt x="210307" y="295"/>
                  </a:lnTo>
                  <a:lnTo>
                    <a:pt x="204476" y="250"/>
                  </a:lnTo>
                  <a:lnTo>
                    <a:pt x="190327" y="159"/>
                  </a:lnTo>
                  <a:lnTo>
                    <a:pt x="173353" y="91"/>
                  </a:lnTo>
                  <a:lnTo>
                    <a:pt x="154029" y="24"/>
                  </a:lnTo>
                  <a:lnTo>
                    <a:pt x="132897" y="1"/>
                  </a:lnTo>
                  <a:lnTo>
                    <a:pt x="11047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09" name="Google Shape;1709;p16"/>
            <p:cNvSpPr/>
            <p:nvPr/>
          </p:nvSpPr>
          <p:spPr>
            <a:xfrm>
              <a:off x="5624025" y="3545425"/>
              <a:ext cx="130550" cy="95500"/>
            </a:xfrm>
            <a:custGeom>
              <a:avLst/>
              <a:gdLst/>
              <a:ahLst/>
              <a:cxnLst/>
              <a:rect l="l" t="t" r="r" b="b"/>
              <a:pathLst>
                <a:path w="5222" h="3820" extrusionOk="0">
                  <a:moveTo>
                    <a:pt x="702" y="0"/>
                  </a:moveTo>
                  <a:lnTo>
                    <a:pt x="566" y="23"/>
                  </a:lnTo>
                  <a:lnTo>
                    <a:pt x="430" y="68"/>
                  </a:lnTo>
                  <a:lnTo>
                    <a:pt x="317" y="136"/>
                  </a:lnTo>
                  <a:lnTo>
                    <a:pt x="204" y="226"/>
                  </a:lnTo>
                  <a:lnTo>
                    <a:pt x="114" y="339"/>
                  </a:lnTo>
                  <a:lnTo>
                    <a:pt x="46" y="475"/>
                  </a:lnTo>
                  <a:lnTo>
                    <a:pt x="24" y="610"/>
                  </a:lnTo>
                  <a:lnTo>
                    <a:pt x="1" y="746"/>
                  </a:lnTo>
                  <a:lnTo>
                    <a:pt x="24" y="882"/>
                  </a:lnTo>
                  <a:lnTo>
                    <a:pt x="69" y="1017"/>
                  </a:lnTo>
                  <a:lnTo>
                    <a:pt x="137" y="1153"/>
                  </a:lnTo>
                  <a:lnTo>
                    <a:pt x="227" y="1243"/>
                  </a:lnTo>
                  <a:lnTo>
                    <a:pt x="340" y="1334"/>
                  </a:lnTo>
                  <a:lnTo>
                    <a:pt x="4114" y="3707"/>
                  </a:lnTo>
                  <a:lnTo>
                    <a:pt x="4250" y="3775"/>
                  </a:lnTo>
                  <a:lnTo>
                    <a:pt x="4386" y="3820"/>
                  </a:lnTo>
                  <a:lnTo>
                    <a:pt x="4521" y="3820"/>
                  </a:lnTo>
                  <a:lnTo>
                    <a:pt x="4657" y="3797"/>
                  </a:lnTo>
                  <a:lnTo>
                    <a:pt x="4792" y="3752"/>
                  </a:lnTo>
                  <a:lnTo>
                    <a:pt x="4905" y="3684"/>
                  </a:lnTo>
                  <a:lnTo>
                    <a:pt x="5018" y="3594"/>
                  </a:lnTo>
                  <a:lnTo>
                    <a:pt x="5109" y="3481"/>
                  </a:lnTo>
                  <a:lnTo>
                    <a:pt x="5177" y="3345"/>
                  </a:lnTo>
                  <a:lnTo>
                    <a:pt x="5199" y="3210"/>
                  </a:lnTo>
                  <a:lnTo>
                    <a:pt x="5222" y="3074"/>
                  </a:lnTo>
                  <a:lnTo>
                    <a:pt x="5199" y="2938"/>
                  </a:lnTo>
                  <a:lnTo>
                    <a:pt x="5154" y="2803"/>
                  </a:lnTo>
                  <a:lnTo>
                    <a:pt x="5086" y="2690"/>
                  </a:lnTo>
                  <a:lnTo>
                    <a:pt x="4996" y="2577"/>
                  </a:lnTo>
                  <a:lnTo>
                    <a:pt x="4883" y="2486"/>
                  </a:lnTo>
                  <a:lnTo>
                    <a:pt x="1108" y="113"/>
                  </a:lnTo>
                  <a:lnTo>
                    <a:pt x="973" y="45"/>
                  </a:lnTo>
                  <a:lnTo>
                    <a:pt x="837" y="23"/>
                  </a:lnTo>
                  <a:lnTo>
                    <a:pt x="702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10" name="Google Shape;1710;p16"/>
            <p:cNvSpPr/>
            <p:nvPr/>
          </p:nvSpPr>
          <p:spPr>
            <a:xfrm>
              <a:off x="6105450" y="3565750"/>
              <a:ext cx="142975" cy="66150"/>
            </a:xfrm>
            <a:custGeom>
              <a:avLst/>
              <a:gdLst/>
              <a:ahLst/>
              <a:cxnLst/>
              <a:rect l="l" t="t" r="r" b="b"/>
              <a:pathLst>
                <a:path w="5719" h="2646" extrusionOk="0">
                  <a:moveTo>
                    <a:pt x="611" y="1"/>
                  </a:moveTo>
                  <a:lnTo>
                    <a:pt x="475" y="46"/>
                  </a:lnTo>
                  <a:lnTo>
                    <a:pt x="362" y="91"/>
                  </a:lnTo>
                  <a:lnTo>
                    <a:pt x="249" y="182"/>
                  </a:lnTo>
                  <a:lnTo>
                    <a:pt x="159" y="272"/>
                  </a:lnTo>
                  <a:lnTo>
                    <a:pt x="68" y="408"/>
                  </a:lnTo>
                  <a:lnTo>
                    <a:pt x="23" y="543"/>
                  </a:lnTo>
                  <a:lnTo>
                    <a:pt x="0" y="679"/>
                  </a:lnTo>
                  <a:lnTo>
                    <a:pt x="0" y="814"/>
                  </a:lnTo>
                  <a:lnTo>
                    <a:pt x="23" y="950"/>
                  </a:lnTo>
                  <a:lnTo>
                    <a:pt x="91" y="1086"/>
                  </a:lnTo>
                  <a:lnTo>
                    <a:pt x="159" y="1199"/>
                  </a:lnTo>
                  <a:lnTo>
                    <a:pt x="272" y="1289"/>
                  </a:lnTo>
                  <a:lnTo>
                    <a:pt x="385" y="1379"/>
                  </a:lnTo>
                  <a:lnTo>
                    <a:pt x="520" y="1425"/>
                  </a:lnTo>
                  <a:lnTo>
                    <a:pt x="4814" y="2600"/>
                  </a:lnTo>
                  <a:lnTo>
                    <a:pt x="4950" y="2645"/>
                  </a:lnTo>
                  <a:lnTo>
                    <a:pt x="5086" y="2623"/>
                  </a:lnTo>
                  <a:lnTo>
                    <a:pt x="5244" y="2600"/>
                  </a:lnTo>
                  <a:lnTo>
                    <a:pt x="5357" y="2532"/>
                  </a:lnTo>
                  <a:lnTo>
                    <a:pt x="5470" y="2464"/>
                  </a:lnTo>
                  <a:lnTo>
                    <a:pt x="5560" y="2374"/>
                  </a:lnTo>
                  <a:lnTo>
                    <a:pt x="5651" y="2238"/>
                  </a:lnTo>
                  <a:lnTo>
                    <a:pt x="5696" y="2103"/>
                  </a:lnTo>
                  <a:lnTo>
                    <a:pt x="5719" y="1967"/>
                  </a:lnTo>
                  <a:lnTo>
                    <a:pt x="5719" y="1832"/>
                  </a:lnTo>
                  <a:lnTo>
                    <a:pt x="5696" y="1673"/>
                  </a:lnTo>
                  <a:lnTo>
                    <a:pt x="5628" y="1560"/>
                  </a:lnTo>
                  <a:lnTo>
                    <a:pt x="5560" y="1447"/>
                  </a:lnTo>
                  <a:lnTo>
                    <a:pt x="5447" y="1357"/>
                  </a:lnTo>
                  <a:lnTo>
                    <a:pt x="5334" y="1266"/>
                  </a:lnTo>
                  <a:lnTo>
                    <a:pt x="5199" y="1221"/>
                  </a:lnTo>
                  <a:lnTo>
                    <a:pt x="904" y="23"/>
                  </a:lnTo>
                  <a:lnTo>
                    <a:pt x="769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11" name="Google Shape;1711;p16"/>
            <p:cNvSpPr/>
            <p:nvPr/>
          </p:nvSpPr>
          <p:spPr>
            <a:xfrm>
              <a:off x="4117650" y="3545425"/>
              <a:ext cx="130550" cy="95500"/>
            </a:xfrm>
            <a:custGeom>
              <a:avLst/>
              <a:gdLst/>
              <a:ahLst/>
              <a:cxnLst/>
              <a:rect l="l" t="t" r="r" b="b"/>
              <a:pathLst>
                <a:path w="5222" h="3820" extrusionOk="0">
                  <a:moveTo>
                    <a:pt x="701" y="0"/>
                  </a:moveTo>
                  <a:lnTo>
                    <a:pt x="566" y="23"/>
                  </a:lnTo>
                  <a:lnTo>
                    <a:pt x="430" y="68"/>
                  </a:lnTo>
                  <a:lnTo>
                    <a:pt x="317" y="136"/>
                  </a:lnTo>
                  <a:lnTo>
                    <a:pt x="204" y="226"/>
                  </a:lnTo>
                  <a:lnTo>
                    <a:pt x="113" y="339"/>
                  </a:lnTo>
                  <a:lnTo>
                    <a:pt x="46" y="475"/>
                  </a:lnTo>
                  <a:lnTo>
                    <a:pt x="23" y="610"/>
                  </a:lnTo>
                  <a:lnTo>
                    <a:pt x="0" y="746"/>
                  </a:lnTo>
                  <a:lnTo>
                    <a:pt x="23" y="882"/>
                  </a:lnTo>
                  <a:lnTo>
                    <a:pt x="68" y="1017"/>
                  </a:lnTo>
                  <a:lnTo>
                    <a:pt x="136" y="1153"/>
                  </a:lnTo>
                  <a:lnTo>
                    <a:pt x="227" y="1243"/>
                  </a:lnTo>
                  <a:lnTo>
                    <a:pt x="340" y="1334"/>
                  </a:lnTo>
                  <a:lnTo>
                    <a:pt x="4114" y="3707"/>
                  </a:lnTo>
                  <a:lnTo>
                    <a:pt x="4250" y="3775"/>
                  </a:lnTo>
                  <a:lnTo>
                    <a:pt x="4385" y="3820"/>
                  </a:lnTo>
                  <a:lnTo>
                    <a:pt x="4521" y="3820"/>
                  </a:lnTo>
                  <a:lnTo>
                    <a:pt x="4656" y="3797"/>
                  </a:lnTo>
                  <a:lnTo>
                    <a:pt x="4792" y="3752"/>
                  </a:lnTo>
                  <a:lnTo>
                    <a:pt x="4905" y="3684"/>
                  </a:lnTo>
                  <a:lnTo>
                    <a:pt x="5018" y="3594"/>
                  </a:lnTo>
                  <a:lnTo>
                    <a:pt x="5108" y="3481"/>
                  </a:lnTo>
                  <a:lnTo>
                    <a:pt x="5176" y="3345"/>
                  </a:lnTo>
                  <a:lnTo>
                    <a:pt x="5221" y="3210"/>
                  </a:lnTo>
                  <a:lnTo>
                    <a:pt x="5221" y="3074"/>
                  </a:lnTo>
                  <a:lnTo>
                    <a:pt x="5199" y="2938"/>
                  </a:lnTo>
                  <a:lnTo>
                    <a:pt x="5154" y="2803"/>
                  </a:lnTo>
                  <a:lnTo>
                    <a:pt x="5086" y="2690"/>
                  </a:lnTo>
                  <a:lnTo>
                    <a:pt x="4995" y="2577"/>
                  </a:lnTo>
                  <a:lnTo>
                    <a:pt x="4882" y="2486"/>
                  </a:lnTo>
                  <a:lnTo>
                    <a:pt x="1108" y="113"/>
                  </a:lnTo>
                  <a:lnTo>
                    <a:pt x="995" y="45"/>
                  </a:lnTo>
                  <a:lnTo>
                    <a:pt x="837" y="23"/>
                  </a:lnTo>
                  <a:lnTo>
                    <a:pt x="701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12" name="Google Shape;1712;p16"/>
            <p:cNvSpPr/>
            <p:nvPr/>
          </p:nvSpPr>
          <p:spPr>
            <a:xfrm>
              <a:off x="4599050" y="3565750"/>
              <a:ext cx="143000" cy="66150"/>
            </a:xfrm>
            <a:custGeom>
              <a:avLst/>
              <a:gdLst/>
              <a:ahLst/>
              <a:cxnLst/>
              <a:rect l="l" t="t" r="r" b="b"/>
              <a:pathLst>
                <a:path w="5720" h="2646" extrusionOk="0">
                  <a:moveTo>
                    <a:pt x="634" y="1"/>
                  </a:moveTo>
                  <a:lnTo>
                    <a:pt x="498" y="46"/>
                  </a:lnTo>
                  <a:lnTo>
                    <a:pt x="363" y="91"/>
                  </a:lnTo>
                  <a:lnTo>
                    <a:pt x="250" y="182"/>
                  </a:lnTo>
                  <a:lnTo>
                    <a:pt x="159" y="272"/>
                  </a:lnTo>
                  <a:lnTo>
                    <a:pt x="69" y="408"/>
                  </a:lnTo>
                  <a:lnTo>
                    <a:pt x="24" y="543"/>
                  </a:lnTo>
                  <a:lnTo>
                    <a:pt x="1" y="679"/>
                  </a:lnTo>
                  <a:lnTo>
                    <a:pt x="1" y="814"/>
                  </a:lnTo>
                  <a:lnTo>
                    <a:pt x="24" y="950"/>
                  </a:lnTo>
                  <a:lnTo>
                    <a:pt x="91" y="1086"/>
                  </a:lnTo>
                  <a:lnTo>
                    <a:pt x="159" y="1199"/>
                  </a:lnTo>
                  <a:lnTo>
                    <a:pt x="272" y="1289"/>
                  </a:lnTo>
                  <a:lnTo>
                    <a:pt x="385" y="1379"/>
                  </a:lnTo>
                  <a:lnTo>
                    <a:pt x="521" y="1425"/>
                  </a:lnTo>
                  <a:lnTo>
                    <a:pt x="4815" y="2600"/>
                  </a:lnTo>
                  <a:lnTo>
                    <a:pt x="4951" y="2645"/>
                  </a:lnTo>
                  <a:lnTo>
                    <a:pt x="5109" y="2623"/>
                  </a:lnTo>
                  <a:lnTo>
                    <a:pt x="5244" y="2600"/>
                  </a:lnTo>
                  <a:lnTo>
                    <a:pt x="5357" y="2532"/>
                  </a:lnTo>
                  <a:lnTo>
                    <a:pt x="5470" y="2464"/>
                  </a:lnTo>
                  <a:lnTo>
                    <a:pt x="5583" y="2374"/>
                  </a:lnTo>
                  <a:lnTo>
                    <a:pt x="5651" y="2238"/>
                  </a:lnTo>
                  <a:lnTo>
                    <a:pt x="5696" y="2103"/>
                  </a:lnTo>
                  <a:lnTo>
                    <a:pt x="5719" y="1967"/>
                  </a:lnTo>
                  <a:lnTo>
                    <a:pt x="5719" y="1832"/>
                  </a:lnTo>
                  <a:lnTo>
                    <a:pt x="5696" y="1673"/>
                  </a:lnTo>
                  <a:lnTo>
                    <a:pt x="5629" y="1560"/>
                  </a:lnTo>
                  <a:lnTo>
                    <a:pt x="5561" y="1447"/>
                  </a:lnTo>
                  <a:lnTo>
                    <a:pt x="5448" y="1357"/>
                  </a:lnTo>
                  <a:lnTo>
                    <a:pt x="5335" y="1266"/>
                  </a:lnTo>
                  <a:lnTo>
                    <a:pt x="5199" y="1221"/>
                  </a:lnTo>
                  <a:lnTo>
                    <a:pt x="905" y="23"/>
                  </a:lnTo>
                  <a:lnTo>
                    <a:pt x="769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13" name="Google Shape;1713;p16"/>
            <p:cNvSpPr/>
            <p:nvPr/>
          </p:nvSpPr>
          <p:spPr>
            <a:xfrm>
              <a:off x="5939325" y="2902975"/>
              <a:ext cx="636250" cy="635675"/>
            </a:xfrm>
            <a:custGeom>
              <a:avLst/>
              <a:gdLst/>
              <a:ahLst/>
              <a:cxnLst/>
              <a:rect l="l" t="t" r="r" b="b"/>
              <a:pathLst>
                <a:path w="25450" h="25427" extrusionOk="0">
                  <a:moveTo>
                    <a:pt x="24727" y="0"/>
                  </a:moveTo>
                  <a:lnTo>
                    <a:pt x="24568" y="23"/>
                  </a:lnTo>
                  <a:lnTo>
                    <a:pt x="24455" y="46"/>
                  </a:lnTo>
                  <a:lnTo>
                    <a:pt x="24320" y="113"/>
                  </a:lnTo>
                  <a:lnTo>
                    <a:pt x="24207" y="226"/>
                  </a:lnTo>
                  <a:lnTo>
                    <a:pt x="227" y="24206"/>
                  </a:lnTo>
                  <a:lnTo>
                    <a:pt x="136" y="24319"/>
                  </a:lnTo>
                  <a:lnTo>
                    <a:pt x="68" y="24432"/>
                  </a:lnTo>
                  <a:lnTo>
                    <a:pt x="23" y="24568"/>
                  </a:lnTo>
                  <a:lnTo>
                    <a:pt x="1" y="24704"/>
                  </a:lnTo>
                  <a:lnTo>
                    <a:pt x="23" y="24839"/>
                  </a:lnTo>
                  <a:lnTo>
                    <a:pt x="68" y="24975"/>
                  </a:lnTo>
                  <a:lnTo>
                    <a:pt x="136" y="25111"/>
                  </a:lnTo>
                  <a:lnTo>
                    <a:pt x="227" y="25224"/>
                  </a:lnTo>
                  <a:lnTo>
                    <a:pt x="340" y="25314"/>
                  </a:lnTo>
                  <a:lnTo>
                    <a:pt x="453" y="25382"/>
                  </a:lnTo>
                  <a:lnTo>
                    <a:pt x="588" y="25427"/>
                  </a:lnTo>
                  <a:lnTo>
                    <a:pt x="882" y="25427"/>
                  </a:lnTo>
                  <a:lnTo>
                    <a:pt x="995" y="25382"/>
                  </a:lnTo>
                  <a:lnTo>
                    <a:pt x="1131" y="25314"/>
                  </a:lnTo>
                  <a:lnTo>
                    <a:pt x="1244" y="25224"/>
                  </a:lnTo>
                  <a:lnTo>
                    <a:pt x="25224" y="1243"/>
                  </a:lnTo>
                  <a:lnTo>
                    <a:pt x="25314" y="1130"/>
                  </a:lnTo>
                  <a:lnTo>
                    <a:pt x="25382" y="995"/>
                  </a:lnTo>
                  <a:lnTo>
                    <a:pt x="25427" y="859"/>
                  </a:lnTo>
                  <a:lnTo>
                    <a:pt x="25450" y="724"/>
                  </a:lnTo>
                  <a:lnTo>
                    <a:pt x="25427" y="588"/>
                  </a:lnTo>
                  <a:lnTo>
                    <a:pt x="25382" y="452"/>
                  </a:lnTo>
                  <a:lnTo>
                    <a:pt x="25314" y="339"/>
                  </a:lnTo>
                  <a:lnTo>
                    <a:pt x="25224" y="226"/>
                  </a:lnTo>
                  <a:lnTo>
                    <a:pt x="25111" y="113"/>
                  </a:lnTo>
                  <a:lnTo>
                    <a:pt x="24998" y="46"/>
                  </a:lnTo>
                  <a:lnTo>
                    <a:pt x="24862" y="23"/>
                  </a:lnTo>
                  <a:lnTo>
                    <a:pt x="24727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14" name="Google Shape;1714;p16"/>
            <p:cNvSpPr/>
            <p:nvPr/>
          </p:nvSpPr>
          <p:spPr>
            <a:xfrm>
              <a:off x="6294175" y="2953250"/>
              <a:ext cx="1087700" cy="1088300"/>
            </a:xfrm>
            <a:custGeom>
              <a:avLst/>
              <a:gdLst/>
              <a:ahLst/>
              <a:cxnLst/>
              <a:rect l="l" t="t" r="r" b="b"/>
              <a:pathLst>
                <a:path w="43508" h="43532" extrusionOk="0">
                  <a:moveTo>
                    <a:pt x="21743" y="2464"/>
                  </a:moveTo>
                  <a:lnTo>
                    <a:pt x="22737" y="2487"/>
                  </a:lnTo>
                  <a:lnTo>
                    <a:pt x="23732" y="2555"/>
                  </a:lnTo>
                  <a:lnTo>
                    <a:pt x="24681" y="2690"/>
                  </a:lnTo>
                  <a:lnTo>
                    <a:pt x="25630" y="2849"/>
                  </a:lnTo>
                  <a:lnTo>
                    <a:pt x="26580" y="3075"/>
                  </a:lnTo>
                  <a:lnTo>
                    <a:pt x="27484" y="3323"/>
                  </a:lnTo>
                  <a:lnTo>
                    <a:pt x="28388" y="3640"/>
                  </a:lnTo>
                  <a:lnTo>
                    <a:pt x="29269" y="3979"/>
                  </a:lnTo>
                  <a:lnTo>
                    <a:pt x="30128" y="4363"/>
                  </a:lnTo>
                  <a:lnTo>
                    <a:pt x="30942" y="4792"/>
                  </a:lnTo>
                  <a:lnTo>
                    <a:pt x="31755" y="5244"/>
                  </a:lnTo>
                  <a:lnTo>
                    <a:pt x="32546" y="5764"/>
                  </a:lnTo>
                  <a:lnTo>
                    <a:pt x="33292" y="6284"/>
                  </a:lnTo>
                  <a:lnTo>
                    <a:pt x="34038" y="6872"/>
                  </a:lnTo>
                  <a:lnTo>
                    <a:pt x="34739" y="7482"/>
                  </a:lnTo>
                  <a:lnTo>
                    <a:pt x="35394" y="8115"/>
                  </a:lnTo>
                  <a:lnTo>
                    <a:pt x="36050" y="8793"/>
                  </a:lnTo>
                  <a:lnTo>
                    <a:pt x="36660" y="9494"/>
                  </a:lnTo>
                  <a:lnTo>
                    <a:pt x="37225" y="10217"/>
                  </a:lnTo>
                  <a:lnTo>
                    <a:pt x="37767" y="10963"/>
                  </a:lnTo>
                  <a:lnTo>
                    <a:pt x="38264" y="11754"/>
                  </a:lnTo>
                  <a:lnTo>
                    <a:pt x="38739" y="12567"/>
                  </a:lnTo>
                  <a:lnTo>
                    <a:pt x="39146" y="13404"/>
                  </a:lnTo>
                  <a:lnTo>
                    <a:pt x="39553" y="14262"/>
                  </a:lnTo>
                  <a:lnTo>
                    <a:pt x="39892" y="15121"/>
                  </a:lnTo>
                  <a:lnTo>
                    <a:pt x="40186" y="16025"/>
                  </a:lnTo>
                  <a:lnTo>
                    <a:pt x="40457" y="16952"/>
                  </a:lnTo>
                  <a:lnTo>
                    <a:pt x="40660" y="17879"/>
                  </a:lnTo>
                  <a:lnTo>
                    <a:pt x="40841" y="18828"/>
                  </a:lnTo>
                  <a:lnTo>
                    <a:pt x="40954" y="19800"/>
                  </a:lnTo>
                  <a:lnTo>
                    <a:pt x="41044" y="20772"/>
                  </a:lnTo>
                  <a:lnTo>
                    <a:pt x="41067" y="21766"/>
                  </a:lnTo>
                  <a:lnTo>
                    <a:pt x="41044" y="22761"/>
                  </a:lnTo>
                  <a:lnTo>
                    <a:pt x="40954" y="23755"/>
                  </a:lnTo>
                  <a:lnTo>
                    <a:pt x="40841" y="24704"/>
                  </a:lnTo>
                  <a:lnTo>
                    <a:pt x="40660" y="25653"/>
                  </a:lnTo>
                  <a:lnTo>
                    <a:pt x="40457" y="26603"/>
                  </a:lnTo>
                  <a:lnTo>
                    <a:pt x="40186" y="27507"/>
                  </a:lnTo>
                  <a:lnTo>
                    <a:pt x="39892" y="28411"/>
                  </a:lnTo>
                  <a:lnTo>
                    <a:pt x="39553" y="29292"/>
                  </a:lnTo>
                  <a:lnTo>
                    <a:pt x="39146" y="30151"/>
                  </a:lnTo>
                  <a:lnTo>
                    <a:pt x="38739" y="30965"/>
                  </a:lnTo>
                  <a:lnTo>
                    <a:pt x="38264" y="31778"/>
                  </a:lnTo>
                  <a:lnTo>
                    <a:pt x="37767" y="32569"/>
                  </a:lnTo>
                  <a:lnTo>
                    <a:pt x="37225" y="33315"/>
                  </a:lnTo>
                  <a:lnTo>
                    <a:pt x="36660" y="34061"/>
                  </a:lnTo>
                  <a:lnTo>
                    <a:pt x="36050" y="34762"/>
                  </a:lnTo>
                  <a:lnTo>
                    <a:pt x="35394" y="35417"/>
                  </a:lnTo>
                  <a:lnTo>
                    <a:pt x="34739" y="36073"/>
                  </a:lnTo>
                  <a:lnTo>
                    <a:pt x="34038" y="36660"/>
                  </a:lnTo>
                  <a:lnTo>
                    <a:pt x="33292" y="37248"/>
                  </a:lnTo>
                  <a:lnTo>
                    <a:pt x="32546" y="37790"/>
                  </a:lnTo>
                  <a:lnTo>
                    <a:pt x="31755" y="38288"/>
                  </a:lnTo>
                  <a:lnTo>
                    <a:pt x="30942" y="38740"/>
                  </a:lnTo>
                  <a:lnTo>
                    <a:pt x="30128" y="39169"/>
                  </a:lnTo>
                  <a:lnTo>
                    <a:pt x="29269" y="39553"/>
                  </a:lnTo>
                  <a:lnTo>
                    <a:pt x="28388" y="39915"/>
                  </a:lnTo>
                  <a:lnTo>
                    <a:pt x="27484" y="40209"/>
                  </a:lnTo>
                  <a:lnTo>
                    <a:pt x="26580" y="40480"/>
                  </a:lnTo>
                  <a:lnTo>
                    <a:pt x="25630" y="40683"/>
                  </a:lnTo>
                  <a:lnTo>
                    <a:pt x="24681" y="40864"/>
                  </a:lnTo>
                  <a:lnTo>
                    <a:pt x="23732" y="40977"/>
                  </a:lnTo>
                  <a:lnTo>
                    <a:pt x="22737" y="41045"/>
                  </a:lnTo>
                  <a:lnTo>
                    <a:pt x="21743" y="41090"/>
                  </a:lnTo>
                  <a:lnTo>
                    <a:pt x="20748" y="41045"/>
                  </a:lnTo>
                  <a:lnTo>
                    <a:pt x="19777" y="40977"/>
                  </a:lnTo>
                  <a:lnTo>
                    <a:pt x="18805" y="40864"/>
                  </a:lnTo>
                  <a:lnTo>
                    <a:pt x="17855" y="40683"/>
                  </a:lnTo>
                  <a:lnTo>
                    <a:pt x="16929" y="40480"/>
                  </a:lnTo>
                  <a:lnTo>
                    <a:pt x="16002" y="40209"/>
                  </a:lnTo>
                  <a:lnTo>
                    <a:pt x="15098" y="39915"/>
                  </a:lnTo>
                  <a:lnTo>
                    <a:pt x="14239" y="39553"/>
                  </a:lnTo>
                  <a:lnTo>
                    <a:pt x="13380" y="39169"/>
                  </a:lnTo>
                  <a:lnTo>
                    <a:pt x="12544" y="38740"/>
                  </a:lnTo>
                  <a:lnTo>
                    <a:pt x="11730" y="38288"/>
                  </a:lnTo>
                  <a:lnTo>
                    <a:pt x="10939" y="37790"/>
                  </a:lnTo>
                  <a:lnTo>
                    <a:pt x="10193" y="37248"/>
                  </a:lnTo>
                  <a:lnTo>
                    <a:pt x="9470" y="36660"/>
                  </a:lnTo>
                  <a:lnTo>
                    <a:pt x="8770" y="36073"/>
                  </a:lnTo>
                  <a:lnTo>
                    <a:pt x="8092" y="35417"/>
                  </a:lnTo>
                  <a:lnTo>
                    <a:pt x="7459" y="34762"/>
                  </a:lnTo>
                  <a:lnTo>
                    <a:pt x="6848" y="34061"/>
                  </a:lnTo>
                  <a:lnTo>
                    <a:pt x="6261" y="33315"/>
                  </a:lnTo>
                  <a:lnTo>
                    <a:pt x="5741" y="32569"/>
                  </a:lnTo>
                  <a:lnTo>
                    <a:pt x="5221" y="31778"/>
                  </a:lnTo>
                  <a:lnTo>
                    <a:pt x="4769" y="30965"/>
                  </a:lnTo>
                  <a:lnTo>
                    <a:pt x="4340" y="30151"/>
                  </a:lnTo>
                  <a:lnTo>
                    <a:pt x="3955" y="29292"/>
                  </a:lnTo>
                  <a:lnTo>
                    <a:pt x="3616" y="28411"/>
                  </a:lnTo>
                  <a:lnTo>
                    <a:pt x="3300" y="27507"/>
                  </a:lnTo>
                  <a:lnTo>
                    <a:pt x="3051" y="26603"/>
                  </a:lnTo>
                  <a:lnTo>
                    <a:pt x="2825" y="25653"/>
                  </a:lnTo>
                  <a:lnTo>
                    <a:pt x="2667" y="24704"/>
                  </a:lnTo>
                  <a:lnTo>
                    <a:pt x="2532" y="23755"/>
                  </a:lnTo>
                  <a:lnTo>
                    <a:pt x="2464" y="22761"/>
                  </a:lnTo>
                  <a:lnTo>
                    <a:pt x="2441" y="21766"/>
                  </a:lnTo>
                  <a:lnTo>
                    <a:pt x="2464" y="20772"/>
                  </a:lnTo>
                  <a:lnTo>
                    <a:pt x="2532" y="19800"/>
                  </a:lnTo>
                  <a:lnTo>
                    <a:pt x="2667" y="18828"/>
                  </a:lnTo>
                  <a:lnTo>
                    <a:pt x="2825" y="17879"/>
                  </a:lnTo>
                  <a:lnTo>
                    <a:pt x="3051" y="16952"/>
                  </a:lnTo>
                  <a:lnTo>
                    <a:pt x="3300" y="16025"/>
                  </a:lnTo>
                  <a:lnTo>
                    <a:pt x="3616" y="15121"/>
                  </a:lnTo>
                  <a:lnTo>
                    <a:pt x="3955" y="14262"/>
                  </a:lnTo>
                  <a:lnTo>
                    <a:pt x="4340" y="13404"/>
                  </a:lnTo>
                  <a:lnTo>
                    <a:pt x="4769" y="12567"/>
                  </a:lnTo>
                  <a:lnTo>
                    <a:pt x="5221" y="11754"/>
                  </a:lnTo>
                  <a:lnTo>
                    <a:pt x="5741" y="10963"/>
                  </a:lnTo>
                  <a:lnTo>
                    <a:pt x="6261" y="10217"/>
                  </a:lnTo>
                  <a:lnTo>
                    <a:pt x="6848" y="9494"/>
                  </a:lnTo>
                  <a:lnTo>
                    <a:pt x="7459" y="8793"/>
                  </a:lnTo>
                  <a:lnTo>
                    <a:pt x="8092" y="8115"/>
                  </a:lnTo>
                  <a:lnTo>
                    <a:pt x="8770" y="7482"/>
                  </a:lnTo>
                  <a:lnTo>
                    <a:pt x="9470" y="6872"/>
                  </a:lnTo>
                  <a:lnTo>
                    <a:pt x="10193" y="6284"/>
                  </a:lnTo>
                  <a:lnTo>
                    <a:pt x="10939" y="5764"/>
                  </a:lnTo>
                  <a:lnTo>
                    <a:pt x="11730" y="5244"/>
                  </a:lnTo>
                  <a:lnTo>
                    <a:pt x="12544" y="4792"/>
                  </a:lnTo>
                  <a:lnTo>
                    <a:pt x="13380" y="4363"/>
                  </a:lnTo>
                  <a:lnTo>
                    <a:pt x="14239" y="3979"/>
                  </a:lnTo>
                  <a:lnTo>
                    <a:pt x="15098" y="3640"/>
                  </a:lnTo>
                  <a:lnTo>
                    <a:pt x="16002" y="3323"/>
                  </a:lnTo>
                  <a:lnTo>
                    <a:pt x="16929" y="3075"/>
                  </a:lnTo>
                  <a:lnTo>
                    <a:pt x="17855" y="2849"/>
                  </a:lnTo>
                  <a:lnTo>
                    <a:pt x="18805" y="2690"/>
                  </a:lnTo>
                  <a:lnTo>
                    <a:pt x="19777" y="2555"/>
                  </a:lnTo>
                  <a:lnTo>
                    <a:pt x="20748" y="2487"/>
                  </a:lnTo>
                  <a:lnTo>
                    <a:pt x="21743" y="2464"/>
                  </a:lnTo>
                  <a:close/>
                  <a:moveTo>
                    <a:pt x="21743" y="1"/>
                  </a:moveTo>
                  <a:lnTo>
                    <a:pt x="21178" y="24"/>
                  </a:lnTo>
                  <a:lnTo>
                    <a:pt x="20635" y="46"/>
                  </a:lnTo>
                  <a:lnTo>
                    <a:pt x="20070" y="69"/>
                  </a:lnTo>
                  <a:lnTo>
                    <a:pt x="19528" y="114"/>
                  </a:lnTo>
                  <a:lnTo>
                    <a:pt x="18985" y="182"/>
                  </a:lnTo>
                  <a:lnTo>
                    <a:pt x="18443" y="272"/>
                  </a:lnTo>
                  <a:lnTo>
                    <a:pt x="17901" y="363"/>
                  </a:lnTo>
                  <a:lnTo>
                    <a:pt x="17358" y="453"/>
                  </a:lnTo>
                  <a:lnTo>
                    <a:pt x="16318" y="702"/>
                  </a:lnTo>
                  <a:lnTo>
                    <a:pt x="15279" y="995"/>
                  </a:lnTo>
                  <a:lnTo>
                    <a:pt x="14262" y="1334"/>
                  </a:lnTo>
                  <a:lnTo>
                    <a:pt x="13267" y="1719"/>
                  </a:lnTo>
                  <a:lnTo>
                    <a:pt x="12318" y="2148"/>
                  </a:lnTo>
                  <a:lnTo>
                    <a:pt x="11369" y="2645"/>
                  </a:lnTo>
                  <a:lnTo>
                    <a:pt x="10465" y="3165"/>
                  </a:lnTo>
                  <a:lnTo>
                    <a:pt x="9583" y="3730"/>
                  </a:lnTo>
                  <a:lnTo>
                    <a:pt x="8724" y="4340"/>
                  </a:lnTo>
                  <a:lnTo>
                    <a:pt x="7911" y="4973"/>
                  </a:lnTo>
                  <a:lnTo>
                    <a:pt x="7120" y="5674"/>
                  </a:lnTo>
                  <a:lnTo>
                    <a:pt x="6351" y="6375"/>
                  </a:lnTo>
                  <a:lnTo>
                    <a:pt x="5651" y="7143"/>
                  </a:lnTo>
                  <a:lnTo>
                    <a:pt x="4950" y="7934"/>
                  </a:lnTo>
                  <a:lnTo>
                    <a:pt x="4317" y="8748"/>
                  </a:lnTo>
                  <a:lnTo>
                    <a:pt x="3707" y="9607"/>
                  </a:lnTo>
                  <a:lnTo>
                    <a:pt x="3142" y="10488"/>
                  </a:lnTo>
                  <a:lnTo>
                    <a:pt x="2622" y="11392"/>
                  </a:lnTo>
                  <a:lnTo>
                    <a:pt x="2125" y="12341"/>
                  </a:lnTo>
                  <a:lnTo>
                    <a:pt x="1695" y="13291"/>
                  </a:lnTo>
                  <a:lnTo>
                    <a:pt x="1311" y="14285"/>
                  </a:lnTo>
                  <a:lnTo>
                    <a:pt x="972" y="15302"/>
                  </a:lnTo>
                  <a:lnTo>
                    <a:pt x="678" y="16342"/>
                  </a:lnTo>
                  <a:lnTo>
                    <a:pt x="430" y="17381"/>
                  </a:lnTo>
                  <a:lnTo>
                    <a:pt x="339" y="17924"/>
                  </a:lnTo>
                  <a:lnTo>
                    <a:pt x="249" y="18466"/>
                  </a:lnTo>
                  <a:lnTo>
                    <a:pt x="158" y="19009"/>
                  </a:lnTo>
                  <a:lnTo>
                    <a:pt x="91" y="19551"/>
                  </a:lnTo>
                  <a:lnTo>
                    <a:pt x="45" y="20094"/>
                  </a:lnTo>
                  <a:lnTo>
                    <a:pt x="23" y="20659"/>
                  </a:lnTo>
                  <a:lnTo>
                    <a:pt x="0" y="21201"/>
                  </a:lnTo>
                  <a:lnTo>
                    <a:pt x="0" y="21766"/>
                  </a:lnTo>
                  <a:lnTo>
                    <a:pt x="0" y="22331"/>
                  </a:lnTo>
                  <a:lnTo>
                    <a:pt x="23" y="22896"/>
                  </a:lnTo>
                  <a:lnTo>
                    <a:pt x="45" y="23439"/>
                  </a:lnTo>
                  <a:lnTo>
                    <a:pt x="91" y="24004"/>
                  </a:lnTo>
                  <a:lnTo>
                    <a:pt x="158" y="24546"/>
                  </a:lnTo>
                  <a:lnTo>
                    <a:pt x="249" y="25088"/>
                  </a:lnTo>
                  <a:lnTo>
                    <a:pt x="339" y="25631"/>
                  </a:lnTo>
                  <a:lnTo>
                    <a:pt x="430" y="26151"/>
                  </a:lnTo>
                  <a:lnTo>
                    <a:pt x="678" y="27213"/>
                  </a:lnTo>
                  <a:lnTo>
                    <a:pt x="972" y="28230"/>
                  </a:lnTo>
                  <a:lnTo>
                    <a:pt x="1311" y="29247"/>
                  </a:lnTo>
                  <a:lnTo>
                    <a:pt x="1695" y="30242"/>
                  </a:lnTo>
                  <a:lnTo>
                    <a:pt x="2125" y="31213"/>
                  </a:lnTo>
                  <a:lnTo>
                    <a:pt x="2622" y="32140"/>
                  </a:lnTo>
                  <a:lnTo>
                    <a:pt x="3142" y="33044"/>
                  </a:lnTo>
                  <a:lnTo>
                    <a:pt x="3707" y="33926"/>
                  </a:lnTo>
                  <a:lnTo>
                    <a:pt x="4317" y="34784"/>
                  </a:lnTo>
                  <a:lnTo>
                    <a:pt x="4950" y="35621"/>
                  </a:lnTo>
                  <a:lnTo>
                    <a:pt x="5651" y="36389"/>
                  </a:lnTo>
                  <a:lnTo>
                    <a:pt x="6351" y="37158"/>
                  </a:lnTo>
                  <a:lnTo>
                    <a:pt x="7120" y="37881"/>
                  </a:lnTo>
                  <a:lnTo>
                    <a:pt x="7911" y="38559"/>
                  </a:lnTo>
                  <a:lnTo>
                    <a:pt x="8724" y="39214"/>
                  </a:lnTo>
                  <a:lnTo>
                    <a:pt x="9583" y="39802"/>
                  </a:lnTo>
                  <a:lnTo>
                    <a:pt x="10465" y="40367"/>
                  </a:lnTo>
                  <a:lnTo>
                    <a:pt x="11369" y="40909"/>
                  </a:lnTo>
                  <a:lnTo>
                    <a:pt x="12318" y="41384"/>
                  </a:lnTo>
                  <a:lnTo>
                    <a:pt x="13267" y="41813"/>
                  </a:lnTo>
                  <a:lnTo>
                    <a:pt x="14262" y="42198"/>
                  </a:lnTo>
                  <a:lnTo>
                    <a:pt x="15279" y="42559"/>
                  </a:lnTo>
                  <a:lnTo>
                    <a:pt x="16318" y="42853"/>
                  </a:lnTo>
                  <a:lnTo>
                    <a:pt x="17358" y="43079"/>
                  </a:lnTo>
                  <a:lnTo>
                    <a:pt x="17901" y="43192"/>
                  </a:lnTo>
                  <a:lnTo>
                    <a:pt x="18443" y="43283"/>
                  </a:lnTo>
                  <a:lnTo>
                    <a:pt x="18985" y="43350"/>
                  </a:lnTo>
                  <a:lnTo>
                    <a:pt x="19528" y="43418"/>
                  </a:lnTo>
                  <a:lnTo>
                    <a:pt x="20070" y="43463"/>
                  </a:lnTo>
                  <a:lnTo>
                    <a:pt x="20635" y="43509"/>
                  </a:lnTo>
                  <a:lnTo>
                    <a:pt x="21178" y="43531"/>
                  </a:lnTo>
                  <a:lnTo>
                    <a:pt x="22308" y="43531"/>
                  </a:lnTo>
                  <a:lnTo>
                    <a:pt x="22873" y="43509"/>
                  </a:lnTo>
                  <a:lnTo>
                    <a:pt x="23415" y="43463"/>
                  </a:lnTo>
                  <a:lnTo>
                    <a:pt x="23980" y="43418"/>
                  </a:lnTo>
                  <a:lnTo>
                    <a:pt x="24523" y="43350"/>
                  </a:lnTo>
                  <a:lnTo>
                    <a:pt x="25065" y="43283"/>
                  </a:lnTo>
                  <a:lnTo>
                    <a:pt x="25608" y="43192"/>
                  </a:lnTo>
                  <a:lnTo>
                    <a:pt x="26128" y="43079"/>
                  </a:lnTo>
                  <a:lnTo>
                    <a:pt x="27190" y="42853"/>
                  </a:lnTo>
                  <a:lnTo>
                    <a:pt x="28207" y="42559"/>
                  </a:lnTo>
                  <a:lnTo>
                    <a:pt x="29224" y="42198"/>
                  </a:lnTo>
                  <a:lnTo>
                    <a:pt x="30218" y="41813"/>
                  </a:lnTo>
                  <a:lnTo>
                    <a:pt x="31190" y="41384"/>
                  </a:lnTo>
                  <a:lnTo>
                    <a:pt x="32117" y="40909"/>
                  </a:lnTo>
                  <a:lnTo>
                    <a:pt x="33021" y="40367"/>
                  </a:lnTo>
                  <a:lnTo>
                    <a:pt x="33902" y="39802"/>
                  </a:lnTo>
                  <a:lnTo>
                    <a:pt x="34761" y="39214"/>
                  </a:lnTo>
                  <a:lnTo>
                    <a:pt x="35598" y="38559"/>
                  </a:lnTo>
                  <a:lnTo>
                    <a:pt x="36366" y="37881"/>
                  </a:lnTo>
                  <a:lnTo>
                    <a:pt x="37134" y="37158"/>
                  </a:lnTo>
                  <a:lnTo>
                    <a:pt x="37858" y="36389"/>
                  </a:lnTo>
                  <a:lnTo>
                    <a:pt x="38536" y="35621"/>
                  </a:lnTo>
                  <a:lnTo>
                    <a:pt x="39191" y="34784"/>
                  </a:lnTo>
                  <a:lnTo>
                    <a:pt x="39779" y="33926"/>
                  </a:lnTo>
                  <a:lnTo>
                    <a:pt x="40344" y="33044"/>
                  </a:lnTo>
                  <a:lnTo>
                    <a:pt x="40886" y="32140"/>
                  </a:lnTo>
                  <a:lnTo>
                    <a:pt x="41361" y="31213"/>
                  </a:lnTo>
                  <a:lnTo>
                    <a:pt x="41790" y="30242"/>
                  </a:lnTo>
                  <a:lnTo>
                    <a:pt x="42175" y="29247"/>
                  </a:lnTo>
                  <a:lnTo>
                    <a:pt x="42536" y="28230"/>
                  </a:lnTo>
                  <a:lnTo>
                    <a:pt x="42830" y="27213"/>
                  </a:lnTo>
                  <a:lnTo>
                    <a:pt x="43056" y="26151"/>
                  </a:lnTo>
                  <a:lnTo>
                    <a:pt x="43169" y="25631"/>
                  </a:lnTo>
                  <a:lnTo>
                    <a:pt x="43259" y="25088"/>
                  </a:lnTo>
                  <a:lnTo>
                    <a:pt x="43327" y="24546"/>
                  </a:lnTo>
                  <a:lnTo>
                    <a:pt x="43395" y="24004"/>
                  </a:lnTo>
                  <a:lnTo>
                    <a:pt x="43440" y="23439"/>
                  </a:lnTo>
                  <a:lnTo>
                    <a:pt x="43485" y="22896"/>
                  </a:lnTo>
                  <a:lnTo>
                    <a:pt x="43508" y="22331"/>
                  </a:lnTo>
                  <a:lnTo>
                    <a:pt x="43508" y="21766"/>
                  </a:lnTo>
                  <a:lnTo>
                    <a:pt x="43508" y="21201"/>
                  </a:lnTo>
                  <a:lnTo>
                    <a:pt x="43485" y="20659"/>
                  </a:lnTo>
                  <a:lnTo>
                    <a:pt x="43440" y="20094"/>
                  </a:lnTo>
                  <a:lnTo>
                    <a:pt x="43395" y="19551"/>
                  </a:lnTo>
                  <a:lnTo>
                    <a:pt x="43327" y="19009"/>
                  </a:lnTo>
                  <a:lnTo>
                    <a:pt x="43259" y="18466"/>
                  </a:lnTo>
                  <a:lnTo>
                    <a:pt x="43169" y="17924"/>
                  </a:lnTo>
                  <a:lnTo>
                    <a:pt x="43056" y="17381"/>
                  </a:lnTo>
                  <a:lnTo>
                    <a:pt x="42830" y="16342"/>
                  </a:lnTo>
                  <a:lnTo>
                    <a:pt x="42536" y="15302"/>
                  </a:lnTo>
                  <a:lnTo>
                    <a:pt x="42175" y="14285"/>
                  </a:lnTo>
                  <a:lnTo>
                    <a:pt x="41790" y="13291"/>
                  </a:lnTo>
                  <a:lnTo>
                    <a:pt x="41361" y="12341"/>
                  </a:lnTo>
                  <a:lnTo>
                    <a:pt x="40886" y="11392"/>
                  </a:lnTo>
                  <a:lnTo>
                    <a:pt x="40344" y="10488"/>
                  </a:lnTo>
                  <a:lnTo>
                    <a:pt x="39779" y="9607"/>
                  </a:lnTo>
                  <a:lnTo>
                    <a:pt x="39191" y="8748"/>
                  </a:lnTo>
                  <a:lnTo>
                    <a:pt x="38536" y="7934"/>
                  </a:lnTo>
                  <a:lnTo>
                    <a:pt x="37858" y="7143"/>
                  </a:lnTo>
                  <a:lnTo>
                    <a:pt x="37134" y="6375"/>
                  </a:lnTo>
                  <a:lnTo>
                    <a:pt x="36366" y="5674"/>
                  </a:lnTo>
                  <a:lnTo>
                    <a:pt x="35598" y="4973"/>
                  </a:lnTo>
                  <a:lnTo>
                    <a:pt x="34761" y="4340"/>
                  </a:lnTo>
                  <a:lnTo>
                    <a:pt x="33902" y="3730"/>
                  </a:lnTo>
                  <a:lnTo>
                    <a:pt x="33021" y="3165"/>
                  </a:lnTo>
                  <a:lnTo>
                    <a:pt x="32117" y="2645"/>
                  </a:lnTo>
                  <a:lnTo>
                    <a:pt x="31190" y="2148"/>
                  </a:lnTo>
                  <a:lnTo>
                    <a:pt x="30218" y="1719"/>
                  </a:lnTo>
                  <a:lnTo>
                    <a:pt x="29224" y="1334"/>
                  </a:lnTo>
                  <a:lnTo>
                    <a:pt x="28207" y="995"/>
                  </a:lnTo>
                  <a:lnTo>
                    <a:pt x="27190" y="702"/>
                  </a:lnTo>
                  <a:lnTo>
                    <a:pt x="26128" y="453"/>
                  </a:lnTo>
                  <a:lnTo>
                    <a:pt x="25608" y="363"/>
                  </a:lnTo>
                  <a:lnTo>
                    <a:pt x="25065" y="272"/>
                  </a:lnTo>
                  <a:lnTo>
                    <a:pt x="24523" y="182"/>
                  </a:lnTo>
                  <a:lnTo>
                    <a:pt x="23980" y="114"/>
                  </a:lnTo>
                  <a:lnTo>
                    <a:pt x="23415" y="69"/>
                  </a:lnTo>
                  <a:lnTo>
                    <a:pt x="22873" y="46"/>
                  </a:lnTo>
                  <a:lnTo>
                    <a:pt x="22308" y="24"/>
                  </a:lnTo>
                  <a:lnTo>
                    <a:pt x="21743" y="1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15" name="Google Shape;1715;p16"/>
            <p:cNvSpPr/>
            <p:nvPr/>
          </p:nvSpPr>
          <p:spPr>
            <a:xfrm>
              <a:off x="6239925" y="2297825"/>
              <a:ext cx="146925" cy="36175"/>
            </a:xfrm>
            <a:custGeom>
              <a:avLst/>
              <a:gdLst/>
              <a:ahLst/>
              <a:cxnLst/>
              <a:rect l="l" t="t" r="r" b="b"/>
              <a:pathLst>
                <a:path w="5877" h="1447" extrusionOk="0">
                  <a:moveTo>
                    <a:pt x="724" y="0"/>
                  </a:moveTo>
                  <a:lnTo>
                    <a:pt x="566" y="23"/>
                  </a:lnTo>
                  <a:lnTo>
                    <a:pt x="430" y="68"/>
                  </a:lnTo>
                  <a:lnTo>
                    <a:pt x="317" y="113"/>
                  </a:lnTo>
                  <a:lnTo>
                    <a:pt x="204" y="204"/>
                  </a:lnTo>
                  <a:lnTo>
                    <a:pt x="114" y="317"/>
                  </a:lnTo>
                  <a:lnTo>
                    <a:pt x="46" y="452"/>
                  </a:lnTo>
                  <a:lnTo>
                    <a:pt x="0" y="588"/>
                  </a:lnTo>
                  <a:lnTo>
                    <a:pt x="0" y="724"/>
                  </a:lnTo>
                  <a:lnTo>
                    <a:pt x="0" y="859"/>
                  </a:lnTo>
                  <a:lnTo>
                    <a:pt x="46" y="995"/>
                  </a:lnTo>
                  <a:lnTo>
                    <a:pt x="114" y="1130"/>
                  </a:lnTo>
                  <a:lnTo>
                    <a:pt x="204" y="1243"/>
                  </a:lnTo>
                  <a:lnTo>
                    <a:pt x="317" y="1311"/>
                  </a:lnTo>
                  <a:lnTo>
                    <a:pt x="430" y="1379"/>
                  </a:lnTo>
                  <a:lnTo>
                    <a:pt x="566" y="1424"/>
                  </a:lnTo>
                  <a:lnTo>
                    <a:pt x="724" y="1447"/>
                  </a:lnTo>
                  <a:lnTo>
                    <a:pt x="5154" y="1447"/>
                  </a:lnTo>
                  <a:lnTo>
                    <a:pt x="5312" y="1424"/>
                  </a:lnTo>
                  <a:lnTo>
                    <a:pt x="5447" y="1379"/>
                  </a:lnTo>
                  <a:lnTo>
                    <a:pt x="5560" y="1311"/>
                  </a:lnTo>
                  <a:lnTo>
                    <a:pt x="5673" y="1243"/>
                  </a:lnTo>
                  <a:lnTo>
                    <a:pt x="5764" y="1130"/>
                  </a:lnTo>
                  <a:lnTo>
                    <a:pt x="5832" y="995"/>
                  </a:lnTo>
                  <a:lnTo>
                    <a:pt x="5877" y="859"/>
                  </a:lnTo>
                  <a:lnTo>
                    <a:pt x="5877" y="724"/>
                  </a:lnTo>
                  <a:lnTo>
                    <a:pt x="5877" y="588"/>
                  </a:lnTo>
                  <a:lnTo>
                    <a:pt x="5832" y="452"/>
                  </a:lnTo>
                  <a:lnTo>
                    <a:pt x="5764" y="317"/>
                  </a:lnTo>
                  <a:lnTo>
                    <a:pt x="5673" y="204"/>
                  </a:lnTo>
                  <a:lnTo>
                    <a:pt x="5560" y="113"/>
                  </a:lnTo>
                  <a:lnTo>
                    <a:pt x="5447" y="68"/>
                  </a:lnTo>
                  <a:lnTo>
                    <a:pt x="5312" y="23"/>
                  </a:lnTo>
                  <a:lnTo>
                    <a:pt x="5154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16" name="Google Shape;1716;p16"/>
            <p:cNvSpPr/>
            <p:nvPr/>
          </p:nvSpPr>
          <p:spPr>
            <a:xfrm>
              <a:off x="6350675" y="2305725"/>
              <a:ext cx="36175" cy="210225"/>
            </a:xfrm>
            <a:custGeom>
              <a:avLst/>
              <a:gdLst/>
              <a:ahLst/>
              <a:cxnLst/>
              <a:rect l="l" t="t" r="r" b="b"/>
              <a:pathLst>
                <a:path w="1447" h="8409" extrusionOk="0">
                  <a:moveTo>
                    <a:pt x="588" y="1"/>
                  </a:moveTo>
                  <a:lnTo>
                    <a:pt x="452" y="46"/>
                  </a:lnTo>
                  <a:lnTo>
                    <a:pt x="339" y="114"/>
                  </a:lnTo>
                  <a:lnTo>
                    <a:pt x="226" y="204"/>
                  </a:lnTo>
                  <a:lnTo>
                    <a:pt x="136" y="317"/>
                  </a:lnTo>
                  <a:lnTo>
                    <a:pt x="68" y="430"/>
                  </a:lnTo>
                  <a:lnTo>
                    <a:pt x="23" y="566"/>
                  </a:lnTo>
                  <a:lnTo>
                    <a:pt x="0" y="724"/>
                  </a:lnTo>
                  <a:lnTo>
                    <a:pt x="0" y="7685"/>
                  </a:lnTo>
                  <a:lnTo>
                    <a:pt x="23" y="7843"/>
                  </a:lnTo>
                  <a:lnTo>
                    <a:pt x="68" y="7979"/>
                  </a:lnTo>
                  <a:lnTo>
                    <a:pt x="136" y="8092"/>
                  </a:lnTo>
                  <a:lnTo>
                    <a:pt x="226" y="8205"/>
                  </a:lnTo>
                  <a:lnTo>
                    <a:pt x="339" y="8295"/>
                  </a:lnTo>
                  <a:lnTo>
                    <a:pt x="452" y="8363"/>
                  </a:lnTo>
                  <a:lnTo>
                    <a:pt x="588" y="8408"/>
                  </a:lnTo>
                  <a:lnTo>
                    <a:pt x="882" y="8408"/>
                  </a:lnTo>
                  <a:lnTo>
                    <a:pt x="1017" y="8363"/>
                  </a:lnTo>
                  <a:lnTo>
                    <a:pt x="1130" y="8295"/>
                  </a:lnTo>
                  <a:lnTo>
                    <a:pt x="1243" y="8205"/>
                  </a:lnTo>
                  <a:lnTo>
                    <a:pt x="1334" y="8092"/>
                  </a:lnTo>
                  <a:lnTo>
                    <a:pt x="1402" y="7979"/>
                  </a:lnTo>
                  <a:lnTo>
                    <a:pt x="1447" y="7843"/>
                  </a:lnTo>
                  <a:lnTo>
                    <a:pt x="1447" y="7685"/>
                  </a:lnTo>
                  <a:lnTo>
                    <a:pt x="1447" y="724"/>
                  </a:lnTo>
                  <a:lnTo>
                    <a:pt x="1447" y="566"/>
                  </a:lnTo>
                  <a:lnTo>
                    <a:pt x="1402" y="430"/>
                  </a:lnTo>
                  <a:lnTo>
                    <a:pt x="1334" y="317"/>
                  </a:lnTo>
                  <a:lnTo>
                    <a:pt x="1243" y="204"/>
                  </a:lnTo>
                  <a:lnTo>
                    <a:pt x="1130" y="114"/>
                  </a:lnTo>
                  <a:lnTo>
                    <a:pt x="1017" y="46"/>
                  </a:lnTo>
                  <a:lnTo>
                    <a:pt x="882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17" name="Google Shape;1717;p16"/>
            <p:cNvSpPr/>
            <p:nvPr/>
          </p:nvSpPr>
          <p:spPr>
            <a:xfrm>
              <a:off x="6350675" y="2485975"/>
              <a:ext cx="520425" cy="1021600"/>
            </a:xfrm>
            <a:custGeom>
              <a:avLst/>
              <a:gdLst/>
              <a:ahLst/>
              <a:cxnLst/>
              <a:rect l="l" t="t" r="r" b="b"/>
              <a:pathLst>
                <a:path w="20817" h="40864" extrusionOk="0">
                  <a:moveTo>
                    <a:pt x="701" y="1"/>
                  </a:moveTo>
                  <a:lnTo>
                    <a:pt x="543" y="23"/>
                  </a:lnTo>
                  <a:lnTo>
                    <a:pt x="407" y="68"/>
                  </a:lnTo>
                  <a:lnTo>
                    <a:pt x="294" y="136"/>
                  </a:lnTo>
                  <a:lnTo>
                    <a:pt x="181" y="249"/>
                  </a:lnTo>
                  <a:lnTo>
                    <a:pt x="113" y="362"/>
                  </a:lnTo>
                  <a:lnTo>
                    <a:pt x="46" y="475"/>
                  </a:lnTo>
                  <a:lnTo>
                    <a:pt x="23" y="611"/>
                  </a:lnTo>
                  <a:lnTo>
                    <a:pt x="0" y="769"/>
                  </a:lnTo>
                  <a:lnTo>
                    <a:pt x="23" y="905"/>
                  </a:lnTo>
                  <a:lnTo>
                    <a:pt x="91" y="1040"/>
                  </a:lnTo>
                  <a:lnTo>
                    <a:pt x="19438" y="40480"/>
                  </a:lnTo>
                  <a:lnTo>
                    <a:pt x="19528" y="40593"/>
                  </a:lnTo>
                  <a:lnTo>
                    <a:pt x="19618" y="40706"/>
                  </a:lnTo>
                  <a:lnTo>
                    <a:pt x="19731" y="40773"/>
                  </a:lnTo>
                  <a:lnTo>
                    <a:pt x="19867" y="40841"/>
                  </a:lnTo>
                  <a:lnTo>
                    <a:pt x="20003" y="40864"/>
                  </a:lnTo>
                  <a:lnTo>
                    <a:pt x="20138" y="40864"/>
                  </a:lnTo>
                  <a:lnTo>
                    <a:pt x="20274" y="40841"/>
                  </a:lnTo>
                  <a:lnTo>
                    <a:pt x="20409" y="40796"/>
                  </a:lnTo>
                  <a:lnTo>
                    <a:pt x="20545" y="40728"/>
                  </a:lnTo>
                  <a:lnTo>
                    <a:pt x="20636" y="40615"/>
                  </a:lnTo>
                  <a:lnTo>
                    <a:pt x="20726" y="40502"/>
                  </a:lnTo>
                  <a:lnTo>
                    <a:pt x="20771" y="40389"/>
                  </a:lnTo>
                  <a:lnTo>
                    <a:pt x="20816" y="40254"/>
                  </a:lnTo>
                  <a:lnTo>
                    <a:pt x="20816" y="40118"/>
                  </a:lnTo>
                  <a:lnTo>
                    <a:pt x="20794" y="39960"/>
                  </a:lnTo>
                  <a:lnTo>
                    <a:pt x="20749" y="39824"/>
                  </a:lnTo>
                  <a:lnTo>
                    <a:pt x="1379" y="407"/>
                  </a:lnTo>
                  <a:lnTo>
                    <a:pt x="1311" y="272"/>
                  </a:lnTo>
                  <a:lnTo>
                    <a:pt x="1198" y="181"/>
                  </a:lnTo>
                  <a:lnTo>
                    <a:pt x="1085" y="91"/>
                  </a:lnTo>
                  <a:lnTo>
                    <a:pt x="972" y="23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18" name="Google Shape;1718;p16"/>
            <p:cNvSpPr/>
            <p:nvPr/>
          </p:nvSpPr>
          <p:spPr>
            <a:xfrm>
              <a:off x="6329200" y="2462250"/>
              <a:ext cx="79125" cy="79125"/>
            </a:xfrm>
            <a:custGeom>
              <a:avLst/>
              <a:gdLst/>
              <a:ahLst/>
              <a:cxnLst/>
              <a:rect l="l" t="t" r="r" b="b"/>
              <a:pathLst>
                <a:path w="3165" h="3165" extrusionOk="0">
                  <a:moveTo>
                    <a:pt x="1583" y="0"/>
                  </a:moveTo>
                  <a:lnTo>
                    <a:pt x="1424" y="23"/>
                  </a:lnTo>
                  <a:lnTo>
                    <a:pt x="1266" y="46"/>
                  </a:lnTo>
                  <a:lnTo>
                    <a:pt x="1131" y="91"/>
                  </a:lnTo>
                  <a:lnTo>
                    <a:pt x="972" y="136"/>
                  </a:lnTo>
                  <a:lnTo>
                    <a:pt x="837" y="204"/>
                  </a:lnTo>
                  <a:lnTo>
                    <a:pt x="701" y="272"/>
                  </a:lnTo>
                  <a:lnTo>
                    <a:pt x="588" y="362"/>
                  </a:lnTo>
                  <a:lnTo>
                    <a:pt x="475" y="475"/>
                  </a:lnTo>
                  <a:lnTo>
                    <a:pt x="362" y="588"/>
                  </a:lnTo>
                  <a:lnTo>
                    <a:pt x="272" y="701"/>
                  </a:lnTo>
                  <a:lnTo>
                    <a:pt x="204" y="837"/>
                  </a:lnTo>
                  <a:lnTo>
                    <a:pt x="136" y="972"/>
                  </a:lnTo>
                  <a:lnTo>
                    <a:pt x="91" y="1130"/>
                  </a:lnTo>
                  <a:lnTo>
                    <a:pt x="46" y="1266"/>
                  </a:lnTo>
                  <a:lnTo>
                    <a:pt x="23" y="1424"/>
                  </a:lnTo>
                  <a:lnTo>
                    <a:pt x="1" y="1582"/>
                  </a:lnTo>
                  <a:lnTo>
                    <a:pt x="23" y="1763"/>
                  </a:lnTo>
                  <a:lnTo>
                    <a:pt x="46" y="1899"/>
                  </a:lnTo>
                  <a:lnTo>
                    <a:pt x="91" y="2057"/>
                  </a:lnTo>
                  <a:lnTo>
                    <a:pt x="136" y="2215"/>
                  </a:lnTo>
                  <a:lnTo>
                    <a:pt x="204" y="2351"/>
                  </a:lnTo>
                  <a:lnTo>
                    <a:pt x="272" y="2464"/>
                  </a:lnTo>
                  <a:lnTo>
                    <a:pt x="362" y="2600"/>
                  </a:lnTo>
                  <a:lnTo>
                    <a:pt x="475" y="2713"/>
                  </a:lnTo>
                  <a:lnTo>
                    <a:pt x="588" y="2803"/>
                  </a:lnTo>
                  <a:lnTo>
                    <a:pt x="701" y="2893"/>
                  </a:lnTo>
                  <a:lnTo>
                    <a:pt x="837" y="2984"/>
                  </a:lnTo>
                  <a:lnTo>
                    <a:pt x="972" y="3052"/>
                  </a:lnTo>
                  <a:lnTo>
                    <a:pt x="1131" y="3097"/>
                  </a:lnTo>
                  <a:lnTo>
                    <a:pt x="1266" y="3142"/>
                  </a:lnTo>
                  <a:lnTo>
                    <a:pt x="1424" y="3165"/>
                  </a:lnTo>
                  <a:lnTo>
                    <a:pt x="1763" y="3165"/>
                  </a:lnTo>
                  <a:lnTo>
                    <a:pt x="1899" y="3142"/>
                  </a:lnTo>
                  <a:lnTo>
                    <a:pt x="2057" y="3097"/>
                  </a:lnTo>
                  <a:lnTo>
                    <a:pt x="2215" y="3052"/>
                  </a:lnTo>
                  <a:lnTo>
                    <a:pt x="2351" y="2984"/>
                  </a:lnTo>
                  <a:lnTo>
                    <a:pt x="2464" y="2893"/>
                  </a:lnTo>
                  <a:lnTo>
                    <a:pt x="2600" y="2803"/>
                  </a:lnTo>
                  <a:lnTo>
                    <a:pt x="2713" y="2713"/>
                  </a:lnTo>
                  <a:lnTo>
                    <a:pt x="2803" y="2600"/>
                  </a:lnTo>
                  <a:lnTo>
                    <a:pt x="2894" y="2464"/>
                  </a:lnTo>
                  <a:lnTo>
                    <a:pt x="2984" y="2351"/>
                  </a:lnTo>
                  <a:lnTo>
                    <a:pt x="3052" y="2215"/>
                  </a:lnTo>
                  <a:lnTo>
                    <a:pt x="3097" y="2057"/>
                  </a:lnTo>
                  <a:lnTo>
                    <a:pt x="3142" y="1899"/>
                  </a:lnTo>
                  <a:lnTo>
                    <a:pt x="3165" y="1763"/>
                  </a:lnTo>
                  <a:lnTo>
                    <a:pt x="3165" y="1582"/>
                  </a:lnTo>
                  <a:lnTo>
                    <a:pt x="3165" y="1424"/>
                  </a:lnTo>
                  <a:lnTo>
                    <a:pt x="3142" y="1266"/>
                  </a:lnTo>
                  <a:lnTo>
                    <a:pt x="3097" y="1130"/>
                  </a:lnTo>
                  <a:lnTo>
                    <a:pt x="3052" y="972"/>
                  </a:lnTo>
                  <a:lnTo>
                    <a:pt x="2984" y="837"/>
                  </a:lnTo>
                  <a:lnTo>
                    <a:pt x="2894" y="701"/>
                  </a:lnTo>
                  <a:lnTo>
                    <a:pt x="2803" y="588"/>
                  </a:lnTo>
                  <a:lnTo>
                    <a:pt x="2713" y="475"/>
                  </a:lnTo>
                  <a:lnTo>
                    <a:pt x="2600" y="362"/>
                  </a:lnTo>
                  <a:lnTo>
                    <a:pt x="2464" y="272"/>
                  </a:lnTo>
                  <a:lnTo>
                    <a:pt x="2351" y="204"/>
                  </a:lnTo>
                  <a:lnTo>
                    <a:pt x="2215" y="136"/>
                  </a:lnTo>
                  <a:lnTo>
                    <a:pt x="2057" y="91"/>
                  </a:lnTo>
                  <a:lnTo>
                    <a:pt x="1899" y="46"/>
                  </a:lnTo>
                  <a:lnTo>
                    <a:pt x="1763" y="23"/>
                  </a:lnTo>
                  <a:lnTo>
                    <a:pt x="1583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19" name="Google Shape;1719;p16"/>
            <p:cNvSpPr/>
            <p:nvPr/>
          </p:nvSpPr>
          <p:spPr>
            <a:xfrm>
              <a:off x="3236750" y="2297825"/>
              <a:ext cx="147500" cy="36175"/>
            </a:xfrm>
            <a:custGeom>
              <a:avLst/>
              <a:gdLst/>
              <a:ahLst/>
              <a:cxnLst/>
              <a:rect l="l" t="t" r="r" b="b"/>
              <a:pathLst>
                <a:path w="5900" h="1447" extrusionOk="0">
                  <a:moveTo>
                    <a:pt x="724" y="0"/>
                  </a:moveTo>
                  <a:lnTo>
                    <a:pt x="588" y="23"/>
                  </a:lnTo>
                  <a:lnTo>
                    <a:pt x="453" y="68"/>
                  </a:lnTo>
                  <a:lnTo>
                    <a:pt x="317" y="113"/>
                  </a:lnTo>
                  <a:lnTo>
                    <a:pt x="227" y="204"/>
                  </a:lnTo>
                  <a:lnTo>
                    <a:pt x="136" y="317"/>
                  </a:lnTo>
                  <a:lnTo>
                    <a:pt x="69" y="452"/>
                  </a:lnTo>
                  <a:lnTo>
                    <a:pt x="23" y="588"/>
                  </a:lnTo>
                  <a:lnTo>
                    <a:pt x="1" y="724"/>
                  </a:lnTo>
                  <a:lnTo>
                    <a:pt x="23" y="859"/>
                  </a:lnTo>
                  <a:lnTo>
                    <a:pt x="69" y="995"/>
                  </a:lnTo>
                  <a:lnTo>
                    <a:pt x="136" y="1130"/>
                  </a:lnTo>
                  <a:lnTo>
                    <a:pt x="227" y="1243"/>
                  </a:lnTo>
                  <a:lnTo>
                    <a:pt x="317" y="1311"/>
                  </a:lnTo>
                  <a:lnTo>
                    <a:pt x="453" y="1379"/>
                  </a:lnTo>
                  <a:lnTo>
                    <a:pt x="588" y="1424"/>
                  </a:lnTo>
                  <a:lnTo>
                    <a:pt x="724" y="1447"/>
                  </a:lnTo>
                  <a:lnTo>
                    <a:pt x="5177" y="1447"/>
                  </a:lnTo>
                  <a:lnTo>
                    <a:pt x="5335" y="1424"/>
                  </a:lnTo>
                  <a:lnTo>
                    <a:pt x="5470" y="1379"/>
                  </a:lnTo>
                  <a:lnTo>
                    <a:pt x="5583" y="1311"/>
                  </a:lnTo>
                  <a:lnTo>
                    <a:pt x="5696" y="1243"/>
                  </a:lnTo>
                  <a:lnTo>
                    <a:pt x="5787" y="1130"/>
                  </a:lnTo>
                  <a:lnTo>
                    <a:pt x="5855" y="995"/>
                  </a:lnTo>
                  <a:lnTo>
                    <a:pt x="5877" y="859"/>
                  </a:lnTo>
                  <a:lnTo>
                    <a:pt x="5900" y="724"/>
                  </a:lnTo>
                  <a:lnTo>
                    <a:pt x="5877" y="588"/>
                  </a:lnTo>
                  <a:lnTo>
                    <a:pt x="5855" y="452"/>
                  </a:lnTo>
                  <a:lnTo>
                    <a:pt x="5787" y="317"/>
                  </a:lnTo>
                  <a:lnTo>
                    <a:pt x="5696" y="204"/>
                  </a:lnTo>
                  <a:lnTo>
                    <a:pt x="5583" y="113"/>
                  </a:lnTo>
                  <a:lnTo>
                    <a:pt x="5470" y="68"/>
                  </a:lnTo>
                  <a:lnTo>
                    <a:pt x="5335" y="23"/>
                  </a:lnTo>
                  <a:lnTo>
                    <a:pt x="5177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20" name="Google Shape;1720;p16"/>
            <p:cNvSpPr/>
            <p:nvPr/>
          </p:nvSpPr>
          <p:spPr>
            <a:xfrm>
              <a:off x="3236750" y="2297825"/>
              <a:ext cx="147500" cy="36175"/>
            </a:xfrm>
            <a:custGeom>
              <a:avLst/>
              <a:gdLst/>
              <a:ahLst/>
              <a:cxnLst/>
              <a:rect l="l" t="t" r="r" b="b"/>
              <a:pathLst>
                <a:path w="5900" h="1447" fill="none" extrusionOk="0">
                  <a:moveTo>
                    <a:pt x="724" y="0"/>
                  </a:moveTo>
                  <a:lnTo>
                    <a:pt x="5177" y="0"/>
                  </a:lnTo>
                  <a:lnTo>
                    <a:pt x="5177" y="0"/>
                  </a:lnTo>
                  <a:lnTo>
                    <a:pt x="5335" y="23"/>
                  </a:lnTo>
                  <a:lnTo>
                    <a:pt x="5470" y="68"/>
                  </a:lnTo>
                  <a:lnTo>
                    <a:pt x="5583" y="113"/>
                  </a:lnTo>
                  <a:lnTo>
                    <a:pt x="5696" y="204"/>
                  </a:lnTo>
                  <a:lnTo>
                    <a:pt x="5787" y="317"/>
                  </a:lnTo>
                  <a:lnTo>
                    <a:pt x="5855" y="452"/>
                  </a:lnTo>
                  <a:lnTo>
                    <a:pt x="5877" y="588"/>
                  </a:lnTo>
                  <a:lnTo>
                    <a:pt x="5900" y="724"/>
                  </a:lnTo>
                  <a:lnTo>
                    <a:pt x="5900" y="724"/>
                  </a:lnTo>
                  <a:lnTo>
                    <a:pt x="5877" y="859"/>
                  </a:lnTo>
                  <a:lnTo>
                    <a:pt x="5855" y="995"/>
                  </a:lnTo>
                  <a:lnTo>
                    <a:pt x="5787" y="1130"/>
                  </a:lnTo>
                  <a:lnTo>
                    <a:pt x="5696" y="1243"/>
                  </a:lnTo>
                  <a:lnTo>
                    <a:pt x="5583" y="1311"/>
                  </a:lnTo>
                  <a:lnTo>
                    <a:pt x="5470" y="1379"/>
                  </a:lnTo>
                  <a:lnTo>
                    <a:pt x="5335" y="1424"/>
                  </a:lnTo>
                  <a:lnTo>
                    <a:pt x="5177" y="1447"/>
                  </a:lnTo>
                  <a:lnTo>
                    <a:pt x="724" y="1447"/>
                  </a:lnTo>
                  <a:lnTo>
                    <a:pt x="724" y="1447"/>
                  </a:lnTo>
                  <a:lnTo>
                    <a:pt x="588" y="1424"/>
                  </a:lnTo>
                  <a:lnTo>
                    <a:pt x="453" y="1379"/>
                  </a:lnTo>
                  <a:lnTo>
                    <a:pt x="317" y="1311"/>
                  </a:lnTo>
                  <a:lnTo>
                    <a:pt x="227" y="1243"/>
                  </a:lnTo>
                  <a:lnTo>
                    <a:pt x="136" y="1130"/>
                  </a:lnTo>
                  <a:lnTo>
                    <a:pt x="69" y="995"/>
                  </a:lnTo>
                  <a:lnTo>
                    <a:pt x="23" y="859"/>
                  </a:lnTo>
                  <a:lnTo>
                    <a:pt x="1" y="724"/>
                  </a:lnTo>
                  <a:lnTo>
                    <a:pt x="1" y="724"/>
                  </a:lnTo>
                  <a:lnTo>
                    <a:pt x="23" y="588"/>
                  </a:lnTo>
                  <a:lnTo>
                    <a:pt x="69" y="452"/>
                  </a:lnTo>
                  <a:lnTo>
                    <a:pt x="136" y="317"/>
                  </a:lnTo>
                  <a:lnTo>
                    <a:pt x="227" y="204"/>
                  </a:lnTo>
                  <a:lnTo>
                    <a:pt x="317" y="113"/>
                  </a:lnTo>
                  <a:lnTo>
                    <a:pt x="453" y="68"/>
                  </a:lnTo>
                  <a:lnTo>
                    <a:pt x="588" y="23"/>
                  </a:lnTo>
                  <a:lnTo>
                    <a:pt x="72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21" name="Google Shape;1721;p16"/>
            <p:cNvSpPr/>
            <p:nvPr/>
          </p:nvSpPr>
          <p:spPr>
            <a:xfrm>
              <a:off x="3348075" y="2305725"/>
              <a:ext cx="36175" cy="210225"/>
            </a:xfrm>
            <a:custGeom>
              <a:avLst/>
              <a:gdLst/>
              <a:ahLst/>
              <a:cxnLst/>
              <a:rect l="l" t="t" r="r" b="b"/>
              <a:pathLst>
                <a:path w="1447" h="8409" extrusionOk="0">
                  <a:moveTo>
                    <a:pt x="588" y="1"/>
                  </a:moveTo>
                  <a:lnTo>
                    <a:pt x="452" y="46"/>
                  </a:lnTo>
                  <a:lnTo>
                    <a:pt x="317" y="114"/>
                  </a:lnTo>
                  <a:lnTo>
                    <a:pt x="226" y="204"/>
                  </a:lnTo>
                  <a:lnTo>
                    <a:pt x="136" y="317"/>
                  </a:lnTo>
                  <a:lnTo>
                    <a:pt x="68" y="430"/>
                  </a:lnTo>
                  <a:lnTo>
                    <a:pt x="23" y="566"/>
                  </a:lnTo>
                  <a:lnTo>
                    <a:pt x="0" y="724"/>
                  </a:lnTo>
                  <a:lnTo>
                    <a:pt x="0" y="7685"/>
                  </a:lnTo>
                  <a:lnTo>
                    <a:pt x="23" y="7843"/>
                  </a:lnTo>
                  <a:lnTo>
                    <a:pt x="68" y="7979"/>
                  </a:lnTo>
                  <a:lnTo>
                    <a:pt x="136" y="8092"/>
                  </a:lnTo>
                  <a:lnTo>
                    <a:pt x="226" y="8205"/>
                  </a:lnTo>
                  <a:lnTo>
                    <a:pt x="317" y="8295"/>
                  </a:lnTo>
                  <a:lnTo>
                    <a:pt x="452" y="8363"/>
                  </a:lnTo>
                  <a:lnTo>
                    <a:pt x="588" y="8408"/>
                  </a:lnTo>
                  <a:lnTo>
                    <a:pt x="882" y="8408"/>
                  </a:lnTo>
                  <a:lnTo>
                    <a:pt x="1017" y="8363"/>
                  </a:lnTo>
                  <a:lnTo>
                    <a:pt x="1130" y="8295"/>
                  </a:lnTo>
                  <a:lnTo>
                    <a:pt x="1243" y="8205"/>
                  </a:lnTo>
                  <a:lnTo>
                    <a:pt x="1334" y="8092"/>
                  </a:lnTo>
                  <a:lnTo>
                    <a:pt x="1402" y="7979"/>
                  </a:lnTo>
                  <a:lnTo>
                    <a:pt x="1424" y="7843"/>
                  </a:lnTo>
                  <a:lnTo>
                    <a:pt x="1447" y="7685"/>
                  </a:lnTo>
                  <a:lnTo>
                    <a:pt x="1447" y="724"/>
                  </a:lnTo>
                  <a:lnTo>
                    <a:pt x="1424" y="566"/>
                  </a:lnTo>
                  <a:lnTo>
                    <a:pt x="1402" y="430"/>
                  </a:lnTo>
                  <a:lnTo>
                    <a:pt x="1334" y="317"/>
                  </a:lnTo>
                  <a:lnTo>
                    <a:pt x="1243" y="204"/>
                  </a:lnTo>
                  <a:lnTo>
                    <a:pt x="1130" y="114"/>
                  </a:lnTo>
                  <a:lnTo>
                    <a:pt x="1017" y="46"/>
                  </a:lnTo>
                  <a:lnTo>
                    <a:pt x="882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22" name="Google Shape;1722;p16"/>
            <p:cNvSpPr/>
            <p:nvPr/>
          </p:nvSpPr>
          <p:spPr>
            <a:xfrm>
              <a:off x="3348075" y="2485975"/>
              <a:ext cx="532850" cy="1047600"/>
            </a:xfrm>
            <a:custGeom>
              <a:avLst/>
              <a:gdLst/>
              <a:ahLst/>
              <a:cxnLst/>
              <a:rect l="l" t="t" r="r" b="b"/>
              <a:pathLst>
                <a:path w="21314" h="41904" extrusionOk="0">
                  <a:moveTo>
                    <a:pt x="678" y="1"/>
                  </a:moveTo>
                  <a:lnTo>
                    <a:pt x="543" y="23"/>
                  </a:lnTo>
                  <a:lnTo>
                    <a:pt x="407" y="68"/>
                  </a:lnTo>
                  <a:lnTo>
                    <a:pt x="294" y="136"/>
                  </a:lnTo>
                  <a:lnTo>
                    <a:pt x="181" y="249"/>
                  </a:lnTo>
                  <a:lnTo>
                    <a:pt x="91" y="362"/>
                  </a:lnTo>
                  <a:lnTo>
                    <a:pt x="46" y="475"/>
                  </a:lnTo>
                  <a:lnTo>
                    <a:pt x="0" y="611"/>
                  </a:lnTo>
                  <a:lnTo>
                    <a:pt x="0" y="769"/>
                  </a:lnTo>
                  <a:lnTo>
                    <a:pt x="23" y="905"/>
                  </a:lnTo>
                  <a:lnTo>
                    <a:pt x="68" y="1040"/>
                  </a:lnTo>
                  <a:lnTo>
                    <a:pt x="19935" y="41497"/>
                  </a:lnTo>
                  <a:lnTo>
                    <a:pt x="20025" y="41632"/>
                  </a:lnTo>
                  <a:lnTo>
                    <a:pt x="20116" y="41723"/>
                  </a:lnTo>
                  <a:lnTo>
                    <a:pt x="20229" y="41813"/>
                  </a:lnTo>
                  <a:lnTo>
                    <a:pt x="20364" y="41858"/>
                  </a:lnTo>
                  <a:lnTo>
                    <a:pt x="20500" y="41904"/>
                  </a:lnTo>
                  <a:lnTo>
                    <a:pt x="20635" y="41904"/>
                  </a:lnTo>
                  <a:lnTo>
                    <a:pt x="20771" y="41881"/>
                  </a:lnTo>
                  <a:lnTo>
                    <a:pt x="20907" y="41836"/>
                  </a:lnTo>
                  <a:lnTo>
                    <a:pt x="21042" y="41745"/>
                  </a:lnTo>
                  <a:lnTo>
                    <a:pt x="21133" y="41655"/>
                  </a:lnTo>
                  <a:lnTo>
                    <a:pt x="21223" y="41542"/>
                  </a:lnTo>
                  <a:lnTo>
                    <a:pt x="21268" y="41406"/>
                  </a:lnTo>
                  <a:lnTo>
                    <a:pt x="21313" y="41293"/>
                  </a:lnTo>
                  <a:lnTo>
                    <a:pt x="21313" y="41135"/>
                  </a:lnTo>
                  <a:lnTo>
                    <a:pt x="21291" y="40999"/>
                  </a:lnTo>
                  <a:lnTo>
                    <a:pt x="21246" y="40864"/>
                  </a:lnTo>
                  <a:lnTo>
                    <a:pt x="1379" y="407"/>
                  </a:lnTo>
                  <a:lnTo>
                    <a:pt x="1289" y="272"/>
                  </a:lnTo>
                  <a:lnTo>
                    <a:pt x="1198" y="181"/>
                  </a:lnTo>
                  <a:lnTo>
                    <a:pt x="1085" y="91"/>
                  </a:lnTo>
                  <a:lnTo>
                    <a:pt x="950" y="23"/>
                  </a:lnTo>
                  <a:lnTo>
                    <a:pt x="814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23" name="Google Shape;1723;p16"/>
            <p:cNvSpPr/>
            <p:nvPr/>
          </p:nvSpPr>
          <p:spPr>
            <a:xfrm>
              <a:off x="3326600" y="2462250"/>
              <a:ext cx="79125" cy="79125"/>
            </a:xfrm>
            <a:custGeom>
              <a:avLst/>
              <a:gdLst/>
              <a:ahLst/>
              <a:cxnLst/>
              <a:rect l="l" t="t" r="r" b="b"/>
              <a:pathLst>
                <a:path w="3165" h="3165" extrusionOk="0">
                  <a:moveTo>
                    <a:pt x="1583" y="0"/>
                  </a:moveTo>
                  <a:lnTo>
                    <a:pt x="1424" y="23"/>
                  </a:lnTo>
                  <a:lnTo>
                    <a:pt x="1266" y="46"/>
                  </a:lnTo>
                  <a:lnTo>
                    <a:pt x="1108" y="91"/>
                  </a:lnTo>
                  <a:lnTo>
                    <a:pt x="972" y="136"/>
                  </a:lnTo>
                  <a:lnTo>
                    <a:pt x="837" y="204"/>
                  </a:lnTo>
                  <a:lnTo>
                    <a:pt x="701" y="272"/>
                  </a:lnTo>
                  <a:lnTo>
                    <a:pt x="588" y="362"/>
                  </a:lnTo>
                  <a:lnTo>
                    <a:pt x="475" y="475"/>
                  </a:lnTo>
                  <a:lnTo>
                    <a:pt x="362" y="588"/>
                  </a:lnTo>
                  <a:lnTo>
                    <a:pt x="272" y="701"/>
                  </a:lnTo>
                  <a:lnTo>
                    <a:pt x="204" y="837"/>
                  </a:lnTo>
                  <a:lnTo>
                    <a:pt x="136" y="972"/>
                  </a:lnTo>
                  <a:lnTo>
                    <a:pt x="68" y="1130"/>
                  </a:lnTo>
                  <a:lnTo>
                    <a:pt x="46" y="1266"/>
                  </a:lnTo>
                  <a:lnTo>
                    <a:pt x="23" y="1424"/>
                  </a:lnTo>
                  <a:lnTo>
                    <a:pt x="0" y="1582"/>
                  </a:lnTo>
                  <a:lnTo>
                    <a:pt x="23" y="1763"/>
                  </a:lnTo>
                  <a:lnTo>
                    <a:pt x="46" y="1899"/>
                  </a:lnTo>
                  <a:lnTo>
                    <a:pt x="68" y="2057"/>
                  </a:lnTo>
                  <a:lnTo>
                    <a:pt x="136" y="2215"/>
                  </a:lnTo>
                  <a:lnTo>
                    <a:pt x="204" y="2351"/>
                  </a:lnTo>
                  <a:lnTo>
                    <a:pt x="272" y="2464"/>
                  </a:lnTo>
                  <a:lnTo>
                    <a:pt x="362" y="2600"/>
                  </a:lnTo>
                  <a:lnTo>
                    <a:pt x="475" y="2713"/>
                  </a:lnTo>
                  <a:lnTo>
                    <a:pt x="588" y="2803"/>
                  </a:lnTo>
                  <a:lnTo>
                    <a:pt x="701" y="2893"/>
                  </a:lnTo>
                  <a:lnTo>
                    <a:pt x="837" y="2984"/>
                  </a:lnTo>
                  <a:lnTo>
                    <a:pt x="972" y="3052"/>
                  </a:lnTo>
                  <a:lnTo>
                    <a:pt x="1108" y="3097"/>
                  </a:lnTo>
                  <a:lnTo>
                    <a:pt x="1266" y="3142"/>
                  </a:lnTo>
                  <a:lnTo>
                    <a:pt x="1424" y="3165"/>
                  </a:lnTo>
                  <a:lnTo>
                    <a:pt x="1741" y="3165"/>
                  </a:lnTo>
                  <a:lnTo>
                    <a:pt x="1899" y="3142"/>
                  </a:lnTo>
                  <a:lnTo>
                    <a:pt x="2057" y="3097"/>
                  </a:lnTo>
                  <a:lnTo>
                    <a:pt x="2193" y="3052"/>
                  </a:lnTo>
                  <a:lnTo>
                    <a:pt x="2328" y="2984"/>
                  </a:lnTo>
                  <a:lnTo>
                    <a:pt x="2464" y="2893"/>
                  </a:lnTo>
                  <a:lnTo>
                    <a:pt x="2600" y="2803"/>
                  </a:lnTo>
                  <a:lnTo>
                    <a:pt x="2713" y="2713"/>
                  </a:lnTo>
                  <a:lnTo>
                    <a:pt x="2803" y="2600"/>
                  </a:lnTo>
                  <a:lnTo>
                    <a:pt x="2893" y="2464"/>
                  </a:lnTo>
                  <a:lnTo>
                    <a:pt x="2984" y="2351"/>
                  </a:lnTo>
                  <a:lnTo>
                    <a:pt x="3052" y="2215"/>
                  </a:lnTo>
                  <a:lnTo>
                    <a:pt x="3097" y="2057"/>
                  </a:lnTo>
                  <a:lnTo>
                    <a:pt x="3142" y="1899"/>
                  </a:lnTo>
                  <a:lnTo>
                    <a:pt x="3165" y="1763"/>
                  </a:lnTo>
                  <a:lnTo>
                    <a:pt x="3165" y="1582"/>
                  </a:lnTo>
                  <a:lnTo>
                    <a:pt x="3165" y="1424"/>
                  </a:lnTo>
                  <a:lnTo>
                    <a:pt x="3142" y="1266"/>
                  </a:lnTo>
                  <a:lnTo>
                    <a:pt x="3097" y="1130"/>
                  </a:lnTo>
                  <a:lnTo>
                    <a:pt x="3052" y="972"/>
                  </a:lnTo>
                  <a:lnTo>
                    <a:pt x="2984" y="837"/>
                  </a:lnTo>
                  <a:lnTo>
                    <a:pt x="2893" y="701"/>
                  </a:lnTo>
                  <a:lnTo>
                    <a:pt x="2803" y="588"/>
                  </a:lnTo>
                  <a:lnTo>
                    <a:pt x="2713" y="475"/>
                  </a:lnTo>
                  <a:lnTo>
                    <a:pt x="2600" y="362"/>
                  </a:lnTo>
                  <a:lnTo>
                    <a:pt x="2464" y="272"/>
                  </a:lnTo>
                  <a:lnTo>
                    <a:pt x="2328" y="204"/>
                  </a:lnTo>
                  <a:lnTo>
                    <a:pt x="2193" y="136"/>
                  </a:lnTo>
                  <a:lnTo>
                    <a:pt x="2057" y="91"/>
                  </a:lnTo>
                  <a:lnTo>
                    <a:pt x="1899" y="46"/>
                  </a:lnTo>
                  <a:lnTo>
                    <a:pt x="1741" y="23"/>
                  </a:lnTo>
                  <a:lnTo>
                    <a:pt x="1583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24" name="Google Shape;1724;p16"/>
            <p:cNvSpPr/>
            <p:nvPr/>
          </p:nvSpPr>
          <p:spPr>
            <a:xfrm>
              <a:off x="4690600" y="2297825"/>
              <a:ext cx="147500" cy="36175"/>
            </a:xfrm>
            <a:custGeom>
              <a:avLst/>
              <a:gdLst/>
              <a:ahLst/>
              <a:cxnLst/>
              <a:rect l="l" t="t" r="r" b="b"/>
              <a:pathLst>
                <a:path w="5900" h="1447" extrusionOk="0">
                  <a:moveTo>
                    <a:pt x="724" y="0"/>
                  </a:moveTo>
                  <a:lnTo>
                    <a:pt x="588" y="23"/>
                  </a:lnTo>
                  <a:lnTo>
                    <a:pt x="452" y="68"/>
                  </a:lnTo>
                  <a:lnTo>
                    <a:pt x="317" y="113"/>
                  </a:lnTo>
                  <a:lnTo>
                    <a:pt x="226" y="204"/>
                  </a:lnTo>
                  <a:lnTo>
                    <a:pt x="136" y="317"/>
                  </a:lnTo>
                  <a:lnTo>
                    <a:pt x="68" y="452"/>
                  </a:lnTo>
                  <a:lnTo>
                    <a:pt x="23" y="588"/>
                  </a:lnTo>
                  <a:lnTo>
                    <a:pt x="0" y="724"/>
                  </a:lnTo>
                  <a:lnTo>
                    <a:pt x="23" y="859"/>
                  </a:lnTo>
                  <a:lnTo>
                    <a:pt x="68" y="995"/>
                  </a:lnTo>
                  <a:lnTo>
                    <a:pt x="136" y="1130"/>
                  </a:lnTo>
                  <a:lnTo>
                    <a:pt x="226" y="1243"/>
                  </a:lnTo>
                  <a:lnTo>
                    <a:pt x="317" y="1311"/>
                  </a:lnTo>
                  <a:lnTo>
                    <a:pt x="452" y="1379"/>
                  </a:lnTo>
                  <a:lnTo>
                    <a:pt x="588" y="1424"/>
                  </a:lnTo>
                  <a:lnTo>
                    <a:pt x="724" y="1447"/>
                  </a:lnTo>
                  <a:lnTo>
                    <a:pt x="5176" y="1447"/>
                  </a:lnTo>
                  <a:lnTo>
                    <a:pt x="5334" y="1424"/>
                  </a:lnTo>
                  <a:lnTo>
                    <a:pt x="5470" y="1379"/>
                  </a:lnTo>
                  <a:lnTo>
                    <a:pt x="5583" y="1311"/>
                  </a:lnTo>
                  <a:lnTo>
                    <a:pt x="5696" y="1243"/>
                  </a:lnTo>
                  <a:lnTo>
                    <a:pt x="5786" y="1130"/>
                  </a:lnTo>
                  <a:lnTo>
                    <a:pt x="5854" y="995"/>
                  </a:lnTo>
                  <a:lnTo>
                    <a:pt x="5899" y="859"/>
                  </a:lnTo>
                  <a:lnTo>
                    <a:pt x="5899" y="724"/>
                  </a:lnTo>
                  <a:lnTo>
                    <a:pt x="5899" y="588"/>
                  </a:lnTo>
                  <a:lnTo>
                    <a:pt x="5854" y="452"/>
                  </a:lnTo>
                  <a:lnTo>
                    <a:pt x="5786" y="317"/>
                  </a:lnTo>
                  <a:lnTo>
                    <a:pt x="5696" y="204"/>
                  </a:lnTo>
                  <a:lnTo>
                    <a:pt x="5583" y="113"/>
                  </a:lnTo>
                  <a:lnTo>
                    <a:pt x="5470" y="68"/>
                  </a:lnTo>
                  <a:lnTo>
                    <a:pt x="5334" y="23"/>
                  </a:lnTo>
                  <a:lnTo>
                    <a:pt x="5176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25" name="Google Shape;1725;p16"/>
            <p:cNvSpPr/>
            <p:nvPr/>
          </p:nvSpPr>
          <p:spPr>
            <a:xfrm>
              <a:off x="4801900" y="2305725"/>
              <a:ext cx="36200" cy="210225"/>
            </a:xfrm>
            <a:custGeom>
              <a:avLst/>
              <a:gdLst/>
              <a:ahLst/>
              <a:cxnLst/>
              <a:rect l="l" t="t" r="r" b="b"/>
              <a:pathLst>
                <a:path w="1448" h="8409" extrusionOk="0">
                  <a:moveTo>
                    <a:pt x="588" y="1"/>
                  </a:moveTo>
                  <a:lnTo>
                    <a:pt x="453" y="46"/>
                  </a:lnTo>
                  <a:lnTo>
                    <a:pt x="317" y="114"/>
                  </a:lnTo>
                  <a:lnTo>
                    <a:pt x="227" y="204"/>
                  </a:lnTo>
                  <a:lnTo>
                    <a:pt x="136" y="317"/>
                  </a:lnTo>
                  <a:lnTo>
                    <a:pt x="69" y="430"/>
                  </a:lnTo>
                  <a:lnTo>
                    <a:pt x="23" y="566"/>
                  </a:lnTo>
                  <a:lnTo>
                    <a:pt x="1" y="724"/>
                  </a:lnTo>
                  <a:lnTo>
                    <a:pt x="1" y="7685"/>
                  </a:lnTo>
                  <a:lnTo>
                    <a:pt x="23" y="7843"/>
                  </a:lnTo>
                  <a:lnTo>
                    <a:pt x="69" y="7979"/>
                  </a:lnTo>
                  <a:lnTo>
                    <a:pt x="136" y="8092"/>
                  </a:lnTo>
                  <a:lnTo>
                    <a:pt x="227" y="8205"/>
                  </a:lnTo>
                  <a:lnTo>
                    <a:pt x="317" y="8295"/>
                  </a:lnTo>
                  <a:lnTo>
                    <a:pt x="453" y="8363"/>
                  </a:lnTo>
                  <a:lnTo>
                    <a:pt x="588" y="8408"/>
                  </a:lnTo>
                  <a:lnTo>
                    <a:pt x="882" y="8408"/>
                  </a:lnTo>
                  <a:lnTo>
                    <a:pt x="1018" y="8363"/>
                  </a:lnTo>
                  <a:lnTo>
                    <a:pt x="1131" y="8295"/>
                  </a:lnTo>
                  <a:lnTo>
                    <a:pt x="1244" y="8205"/>
                  </a:lnTo>
                  <a:lnTo>
                    <a:pt x="1334" y="8092"/>
                  </a:lnTo>
                  <a:lnTo>
                    <a:pt x="1402" y="7979"/>
                  </a:lnTo>
                  <a:lnTo>
                    <a:pt x="1447" y="7843"/>
                  </a:lnTo>
                  <a:lnTo>
                    <a:pt x="1447" y="7685"/>
                  </a:lnTo>
                  <a:lnTo>
                    <a:pt x="1447" y="724"/>
                  </a:lnTo>
                  <a:lnTo>
                    <a:pt x="1447" y="566"/>
                  </a:lnTo>
                  <a:lnTo>
                    <a:pt x="1402" y="430"/>
                  </a:lnTo>
                  <a:lnTo>
                    <a:pt x="1334" y="317"/>
                  </a:lnTo>
                  <a:lnTo>
                    <a:pt x="1244" y="204"/>
                  </a:lnTo>
                  <a:lnTo>
                    <a:pt x="1131" y="114"/>
                  </a:lnTo>
                  <a:lnTo>
                    <a:pt x="1018" y="46"/>
                  </a:lnTo>
                  <a:lnTo>
                    <a:pt x="882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26" name="Google Shape;1726;p16"/>
            <p:cNvSpPr/>
            <p:nvPr/>
          </p:nvSpPr>
          <p:spPr>
            <a:xfrm>
              <a:off x="4801900" y="2485975"/>
              <a:ext cx="532850" cy="1047600"/>
            </a:xfrm>
            <a:custGeom>
              <a:avLst/>
              <a:gdLst/>
              <a:ahLst/>
              <a:cxnLst/>
              <a:rect l="l" t="t" r="r" b="b"/>
              <a:pathLst>
                <a:path w="21314" h="41904" extrusionOk="0">
                  <a:moveTo>
                    <a:pt x="679" y="1"/>
                  </a:moveTo>
                  <a:lnTo>
                    <a:pt x="543" y="23"/>
                  </a:lnTo>
                  <a:lnTo>
                    <a:pt x="408" y="68"/>
                  </a:lnTo>
                  <a:lnTo>
                    <a:pt x="295" y="136"/>
                  </a:lnTo>
                  <a:lnTo>
                    <a:pt x="182" y="249"/>
                  </a:lnTo>
                  <a:lnTo>
                    <a:pt x="91" y="362"/>
                  </a:lnTo>
                  <a:lnTo>
                    <a:pt x="46" y="475"/>
                  </a:lnTo>
                  <a:lnTo>
                    <a:pt x="23" y="611"/>
                  </a:lnTo>
                  <a:lnTo>
                    <a:pt x="1" y="769"/>
                  </a:lnTo>
                  <a:lnTo>
                    <a:pt x="23" y="905"/>
                  </a:lnTo>
                  <a:lnTo>
                    <a:pt x="69" y="1040"/>
                  </a:lnTo>
                  <a:lnTo>
                    <a:pt x="19958" y="41497"/>
                  </a:lnTo>
                  <a:lnTo>
                    <a:pt x="20026" y="41632"/>
                  </a:lnTo>
                  <a:lnTo>
                    <a:pt x="20116" y="41723"/>
                  </a:lnTo>
                  <a:lnTo>
                    <a:pt x="20229" y="41813"/>
                  </a:lnTo>
                  <a:lnTo>
                    <a:pt x="20365" y="41858"/>
                  </a:lnTo>
                  <a:lnTo>
                    <a:pt x="20500" y="41904"/>
                  </a:lnTo>
                  <a:lnTo>
                    <a:pt x="20636" y="41904"/>
                  </a:lnTo>
                  <a:lnTo>
                    <a:pt x="20772" y="41881"/>
                  </a:lnTo>
                  <a:lnTo>
                    <a:pt x="20907" y="41836"/>
                  </a:lnTo>
                  <a:lnTo>
                    <a:pt x="21043" y="41745"/>
                  </a:lnTo>
                  <a:lnTo>
                    <a:pt x="21133" y="41655"/>
                  </a:lnTo>
                  <a:lnTo>
                    <a:pt x="21224" y="41542"/>
                  </a:lnTo>
                  <a:lnTo>
                    <a:pt x="21269" y="41406"/>
                  </a:lnTo>
                  <a:lnTo>
                    <a:pt x="21314" y="41293"/>
                  </a:lnTo>
                  <a:lnTo>
                    <a:pt x="21314" y="41135"/>
                  </a:lnTo>
                  <a:lnTo>
                    <a:pt x="21291" y="40999"/>
                  </a:lnTo>
                  <a:lnTo>
                    <a:pt x="21246" y="40864"/>
                  </a:lnTo>
                  <a:lnTo>
                    <a:pt x="1380" y="407"/>
                  </a:lnTo>
                  <a:lnTo>
                    <a:pt x="1289" y="272"/>
                  </a:lnTo>
                  <a:lnTo>
                    <a:pt x="1199" y="181"/>
                  </a:lnTo>
                  <a:lnTo>
                    <a:pt x="1086" y="91"/>
                  </a:lnTo>
                  <a:lnTo>
                    <a:pt x="973" y="23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27" name="Google Shape;1727;p16"/>
            <p:cNvSpPr/>
            <p:nvPr/>
          </p:nvSpPr>
          <p:spPr>
            <a:xfrm>
              <a:off x="4780425" y="2462250"/>
              <a:ext cx="79150" cy="79125"/>
            </a:xfrm>
            <a:custGeom>
              <a:avLst/>
              <a:gdLst/>
              <a:ahLst/>
              <a:cxnLst/>
              <a:rect l="l" t="t" r="r" b="b"/>
              <a:pathLst>
                <a:path w="3166" h="3165" extrusionOk="0">
                  <a:moveTo>
                    <a:pt x="1583" y="0"/>
                  </a:moveTo>
                  <a:lnTo>
                    <a:pt x="1425" y="23"/>
                  </a:lnTo>
                  <a:lnTo>
                    <a:pt x="1267" y="46"/>
                  </a:lnTo>
                  <a:lnTo>
                    <a:pt x="1108" y="91"/>
                  </a:lnTo>
                  <a:lnTo>
                    <a:pt x="973" y="136"/>
                  </a:lnTo>
                  <a:lnTo>
                    <a:pt x="837" y="204"/>
                  </a:lnTo>
                  <a:lnTo>
                    <a:pt x="702" y="272"/>
                  </a:lnTo>
                  <a:lnTo>
                    <a:pt x="589" y="362"/>
                  </a:lnTo>
                  <a:lnTo>
                    <a:pt x="476" y="475"/>
                  </a:lnTo>
                  <a:lnTo>
                    <a:pt x="363" y="588"/>
                  </a:lnTo>
                  <a:lnTo>
                    <a:pt x="272" y="701"/>
                  </a:lnTo>
                  <a:lnTo>
                    <a:pt x="204" y="837"/>
                  </a:lnTo>
                  <a:lnTo>
                    <a:pt x="137" y="972"/>
                  </a:lnTo>
                  <a:lnTo>
                    <a:pt x="69" y="1130"/>
                  </a:lnTo>
                  <a:lnTo>
                    <a:pt x="46" y="1266"/>
                  </a:lnTo>
                  <a:lnTo>
                    <a:pt x="24" y="1424"/>
                  </a:lnTo>
                  <a:lnTo>
                    <a:pt x="1" y="1582"/>
                  </a:lnTo>
                  <a:lnTo>
                    <a:pt x="24" y="1763"/>
                  </a:lnTo>
                  <a:lnTo>
                    <a:pt x="46" y="1899"/>
                  </a:lnTo>
                  <a:lnTo>
                    <a:pt x="69" y="2057"/>
                  </a:lnTo>
                  <a:lnTo>
                    <a:pt x="137" y="2215"/>
                  </a:lnTo>
                  <a:lnTo>
                    <a:pt x="204" y="2351"/>
                  </a:lnTo>
                  <a:lnTo>
                    <a:pt x="272" y="2464"/>
                  </a:lnTo>
                  <a:lnTo>
                    <a:pt x="363" y="2600"/>
                  </a:lnTo>
                  <a:lnTo>
                    <a:pt x="476" y="2713"/>
                  </a:lnTo>
                  <a:lnTo>
                    <a:pt x="589" y="2803"/>
                  </a:lnTo>
                  <a:lnTo>
                    <a:pt x="702" y="2893"/>
                  </a:lnTo>
                  <a:lnTo>
                    <a:pt x="837" y="2984"/>
                  </a:lnTo>
                  <a:lnTo>
                    <a:pt x="973" y="3052"/>
                  </a:lnTo>
                  <a:lnTo>
                    <a:pt x="1108" y="3097"/>
                  </a:lnTo>
                  <a:lnTo>
                    <a:pt x="1267" y="3142"/>
                  </a:lnTo>
                  <a:lnTo>
                    <a:pt x="1425" y="3165"/>
                  </a:lnTo>
                  <a:lnTo>
                    <a:pt x="1741" y="3165"/>
                  </a:lnTo>
                  <a:lnTo>
                    <a:pt x="1900" y="3142"/>
                  </a:lnTo>
                  <a:lnTo>
                    <a:pt x="2058" y="3097"/>
                  </a:lnTo>
                  <a:lnTo>
                    <a:pt x="2193" y="3052"/>
                  </a:lnTo>
                  <a:lnTo>
                    <a:pt x="2352" y="2984"/>
                  </a:lnTo>
                  <a:lnTo>
                    <a:pt x="2465" y="2893"/>
                  </a:lnTo>
                  <a:lnTo>
                    <a:pt x="2600" y="2803"/>
                  </a:lnTo>
                  <a:lnTo>
                    <a:pt x="2713" y="2713"/>
                  </a:lnTo>
                  <a:lnTo>
                    <a:pt x="2804" y="2600"/>
                  </a:lnTo>
                  <a:lnTo>
                    <a:pt x="2894" y="2464"/>
                  </a:lnTo>
                  <a:lnTo>
                    <a:pt x="2984" y="2351"/>
                  </a:lnTo>
                  <a:lnTo>
                    <a:pt x="3052" y="2215"/>
                  </a:lnTo>
                  <a:lnTo>
                    <a:pt x="3097" y="2057"/>
                  </a:lnTo>
                  <a:lnTo>
                    <a:pt x="3143" y="1899"/>
                  </a:lnTo>
                  <a:lnTo>
                    <a:pt x="3165" y="1763"/>
                  </a:lnTo>
                  <a:lnTo>
                    <a:pt x="3165" y="1582"/>
                  </a:lnTo>
                  <a:lnTo>
                    <a:pt x="3165" y="1424"/>
                  </a:lnTo>
                  <a:lnTo>
                    <a:pt x="3143" y="1266"/>
                  </a:lnTo>
                  <a:lnTo>
                    <a:pt x="3097" y="1130"/>
                  </a:lnTo>
                  <a:lnTo>
                    <a:pt x="3052" y="972"/>
                  </a:lnTo>
                  <a:lnTo>
                    <a:pt x="2984" y="837"/>
                  </a:lnTo>
                  <a:lnTo>
                    <a:pt x="2894" y="701"/>
                  </a:lnTo>
                  <a:lnTo>
                    <a:pt x="2804" y="588"/>
                  </a:lnTo>
                  <a:lnTo>
                    <a:pt x="2713" y="475"/>
                  </a:lnTo>
                  <a:lnTo>
                    <a:pt x="2600" y="362"/>
                  </a:lnTo>
                  <a:lnTo>
                    <a:pt x="2465" y="272"/>
                  </a:lnTo>
                  <a:lnTo>
                    <a:pt x="2352" y="204"/>
                  </a:lnTo>
                  <a:lnTo>
                    <a:pt x="2193" y="136"/>
                  </a:lnTo>
                  <a:lnTo>
                    <a:pt x="2058" y="91"/>
                  </a:lnTo>
                  <a:lnTo>
                    <a:pt x="1900" y="46"/>
                  </a:lnTo>
                  <a:lnTo>
                    <a:pt x="1741" y="23"/>
                  </a:lnTo>
                  <a:lnTo>
                    <a:pt x="1583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28" name="Google Shape;1728;p16"/>
            <p:cNvSpPr/>
            <p:nvPr/>
          </p:nvSpPr>
          <p:spPr>
            <a:xfrm>
              <a:off x="5850050" y="3429575"/>
              <a:ext cx="211350" cy="211350"/>
            </a:xfrm>
            <a:custGeom>
              <a:avLst/>
              <a:gdLst/>
              <a:ahLst/>
              <a:cxnLst/>
              <a:rect l="l" t="t" r="r" b="b"/>
              <a:pathLst>
                <a:path w="8454" h="8454" extrusionOk="0">
                  <a:moveTo>
                    <a:pt x="4227" y="1"/>
                  </a:moveTo>
                  <a:lnTo>
                    <a:pt x="3798" y="23"/>
                  </a:lnTo>
                  <a:lnTo>
                    <a:pt x="3368" y="91"/>
                  </a:lnTo>
                  <a:lnTo>
                    <a:pt x="2961" y="182"/>
                  </a:lnTo>
                  <a:lnTo>
                    <a:pt x="2577" y="340"/>
                  </a:lnTo>
                  <a:lnTo>
                    <a:pt x="2215" y="521"/>
                  </a:lnTo>
                  <a:lnTo>
                    <a:pt x="1854" y="724"/>
                  </a:lnTo>
                  <a:lnTo>
                    <a:pt x="1537" y="973"/>
                  </a:lnTo>
                  <a:lnTo>
                    <a:pt x="1221" y="1244"/>
                  </a:lnTo>
                  <a:lnTo>
                    <a:pt x="950" y="1538"/>
                  </a:lnTo>
                  <a:lnTo>
                    <a:pt x="724" y="1854"/>
                  </a:lnTo>
                  <a:lnTo>
                    <a:pt x="498" y="2216"/>
                  </a:lnTo>
                  <a:lnTo>
                    <a:pt x="317" y="2577"/>
                  </a:lnTo>
                  <a:lnTo>
                    <a:pt x="181" y="2962"/>
                  </a:lnTo>
                  <a:lnTo>
                    <a:pt x="68" y="3368"/>
                  </a:lnTo>
                  <a:lnTo>
                    <a:pt x="23" y="3798"/>
                  </a:lnTo>
                  <a:lnTo>
                    <a:pt x="1" y="4227"/>
                  </a:lnTo>
                  <a:lnTo>
                    <a:pt x="23" y="4657"/>
                  </a:lnTo>
                  <a:lnTo>
                    <a:pt x="68" y="5086"/>
                  </a:lnTo>
                  <a:lnTo>
                    <a:pt x="181" y="5493"/>
                  </a:lnTo>
                  <a:lnTo>
                    <a:pt x="317" y="5877"/>
                  </a:lnTo>
                  <a:lnTo>
                    <a:pt x="498" y="6239"/>
                  </a:lnTo>
                  <a:lnTo>
                    <a:pt x="724" y="6600"/>
                  </a:lnTo>
                  <a:lnTo>
                    <a:pt x="950" y="6917"/>
                  </a:lnTo>
                  <a:lnTo>
                    <a:pt x="1221" y="7211"/>
                  </a:lnTo>
                  <a:lnTo>
                    <a:pt x="1537" y="7482"/>
                  </a:lnTo>
                  <a:lnTo>
                    <a:pt x="1854" y="7731"/>
                  </a:lnTo>
                  <a:lnTo>
                    <a:pt x="2215" y="7957"/>
                  </a:lnTo>
                  <a:lnTo>
                    <a:pt x="2577" y="8115"/>
                  </a:lnTo>
                  <a:lnTo>
                    <a:pt x="2961" y="8273"/>
                  </a:lnTo>
                  <a:lnTo>
                    <a:pt x="3368" y="8363"/>
                  </a:lnTo>
                  <a:lnTo>
                    <a:pt x="3798" y="8431"/>
                  </a:lnTo>
                  <a:lnTo>
                    <a:pt x="4227" y="8454"/>
                  </a:lnTo>
                  <a:lnTo>
                    <a:pt x="4656" y="8431"/>
                  </a:lnTo>
                  <a:lnTo>
                    <a:pt x="5063" y="8363"/>
                  </a:lnTo>
                  <a:lnTo>
                    <a:pt x="5470" y="8273"/>
                  </a:lnTo>
                  <a:lnTo>
                    <a:pt x="5854" y="8115"/>
                  </a:lnTo>
                  <a:lnTo>
                    <a:pt x="6239" y="7957"/>
                  </a:lnTo>
                  <a:lnTo>
                    <a:pt x="6578" y="7731"/>
                  </a:lnTo>
                  <a:lnTo>
                    <a:pt x="6917" y="7482"/>
                  </a:lnTo>
                  <a:lnTo>
                    <a:pt x="7210" y="7211"/>
                  </a:lnTo>
                  <a:lnTo>
                    <a:pt x="7482" y="6917"/>
                  </a:lnTo>
                  <a:lnTo>
                    <a:pt x="7730" y="6600"/>
                  </a:lnTo>
                  <a:lnTo>
                    <a:pt x="7934" y="6239"/>
                  </a:lnTo>
                  <a:lnTo>
                    <a:pt x="8114" y="5877"/>
                  </a:lnTo>
                  <a:lnTo>
                    <a:pt x="8250" y="5493"/>
                  </a:lnTo>
                  <a:lnTo>
                    <a:pt x="8363" y="5086"/>
                  </a:lnTo>
                  <a:lnTo>
                    <a:pt x="8431" y="4657"/>
                  </a:lnTo>
                  <a:lnTo>
                    <a:pt x="8453" y="4227"/>
                  </a:lnTo>
                  <a:lnTo>
                    <a:pt x="8431" y="3798"/>
                  </a:lnTo>
                  <a:lnTo>
                    <a:pt x="8363" y="3368"/>
                  </a:lnTo>
                  <a:lnTo>
                    <a:pt x="8250" y="2962"/>
                  </a:lnTo>
                  <a:lnTo>
                    <a:pt x="8114" y="2577"/>
                  </a:lnTo>
                  <a:lnTo>
                    <a:pt x="7934" y="2216"/>
                  </a:lnTo>
                  <a:lnTo>
                    <a:pt x="7730" y="1854"/>
                  </a:lnTo>
                  <a:lnTo>
                    <a:pt x="7482" y="1538"/>
                  </a:lnTo>
                  <a:lnTo>
                    <a:pt x="7210" y="1244"/>
                  </a:lnTo>
                  <a:lnTo>
                    <a:pt x="6917" y="973"/>
                  </a:lnTo>
                  <a:lnTo>
                    <a:pt x="6578" y="724"/>
                  </a:lnTo>
                  <a:lnTo>
                    <a:pt x="6239" y="521"/>
                  </a:lnTo>
                  <a:lnTo>
                    <a:pt x="5854" y="340"/>
                  </a:lnTo>
                  <a:lnTo>
                    <a:pt x="5470" y="182"/>
                  </a:lnTo>
                  <a:lnTo>
                    <a:pt x="5063" y="91"/>
                  </a:lnTo>
                  <a:lnTo>
                    <a:pt x="4656" y="23"/>
                  </a:lnTo>
                  <a:lnTo>
                    <a:pt x="4227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29" name="Google Shape;1729;p16"/>
            <p:cNvSpPr/>
            <p:nvPr/>
          </p:nvSpPr>
          <p:spPr>
            <a:xfrm>
              <a:off x="1641100" y="2953250"/>
              <a:ext cx="1087725" cy="1088300"/>
            </a:xfrm>
            <a:custGeom>
              <a:avLst/>
              <a:gdLst/>
              <a:ahLst/>
              <a:cxnLst/>
              <a:rect l="l" t="t" r="r" b="b"/>
              <a:pathLst>
                <a:path w="43509" h="43532" extrusionOk="0">
                  <a:moveTo>
                    <a:pt x="21743" y="2464"/>
                  </a:moveTo>
                  <a:lnTo>
                    <a:pt x="22737" y="2487"/>
                  </a:lnTo>
                  <a:lnTo>
                    <a:pt x="23732" y="2555"/>
                  </a:lnTo>
                  <a:lnTo>
                    <a:pt x="24681" y="2690"/>
                  </a:lnTo>
                  <a:lnTo>
                    <a:pt x="25630" y="2849"/>
                  </a:lnTo>
                  <a:lnTo>
                    <a:pt x="26580" y="3075"/>
                  </a:lnTo>
                  <a:lnTo>
                    <a:pt x="27484" y="3323"/>
                  </a:lnTo>
                  <a:lnTo>
                    <a:pt x="28388" y="3640"/>
                  </a:lnTo>
                  <a:lnTo>
                    <a:pt x="29269" y="3979"/>
                  </a:lnTo>
                  <a:lnTo>
                    <a:pt x="30128" y="4363"/>
                  </a:lnTo>
                  <a:lnTo>
                    <a:pt x="30964" y="4792"/>
                  </a:lnTo>
                  <a:lnTo>
                    <a:pt x="31755" y="5244"/>
                  </a:lnTo>
                  <a:lnTo>
                    <a:pt x="32546" y="5764"/>
                  </a:lnTo>
                  <a:lnTo>
                    <a:pt x="33292" y="6284"/>
                  </a:lnTo>
                  <a:lnTo>
                    <a:pt x="34038" y="6872"/>
                  </a:lnTo>
                  <a:lnTo>
                    <a:pt x="34739" y="7482"/>
                  </a:lnTo>
                  <a:lnTo>
                    <a:pt x="35394" y="8115"/>
                  </a:lnTo>
                  <a:lnTo>
                    <a:pt x="36050" y="8793"/>
                  </a:lnTo>
                  <a:lnTo>
                    <a:pt x="36660" y="9494"/>
                  </a:lnTo>
                  <a:lnTo>
                    <a:pt x="37225" y="10217"/>
                  </a:lnTo>
                  <a:lnTo>
                    <a:pt x="37767" y="10963"/>
                  </a:lnTo>
                  <a:lnTo>
                    <a:pt x="38265" y="11754"/>
                  </a:lnTo>
                  <a:lnTo>
                    <a:pt x="38739" y="12567"/>
                  </a:lnTo>
                  <a:lnTo>
                    <a:pt x="39146" y="13404"/>
                  </a:lnTo>
                  <a:lnTo>
                    <a:pt x="39553" y="14262"/>
                  </a:lnTo>
                  <a:lnTo>
                    <a:pt x="39892" y="15121"/>
                  </a:lnTo>
                  <a:lnTo>
                    <a:pt x="40186" y="16025"/>
                  </a:lnTo>
                  <a:lnTo>
                    <a:pt x="40457" y="16952"/>
                  </a:lnTo>
                  <a:lnTo>
                    <a:pt x="40660" y="17879"/>
                  </a:lnTo>
                  <a:lnTo>
                    <a:pt x="40841" y="18828"/>
                  </a:lnTo>
                  <a:lnTo>
                    <a:pt x="40954" y="19800"/>
                  </a:lnTo>
                  <a:lnTo>
                    <a:pt x="41045" y="20772"/>
                  </a:lnTo>
                  <a:lnTo>
                    <a:pt x="41067" y="21766"/>
                  </a:lnTo>
                  <a:lnTo>
                    <a:pt x="41045" y="22761"/>
                  </a:lnTo>
                  <a:lnTo>
                    <a:pt x="40954" y="23755"/>
                  </a:lnTo>
                  <a:lnTo>
                    <a:pt x="40841" y="24704"/>
                  </a:lnTo>
                  <a:lnTo>
                    <a:pt x="40660" y="25653"/>
                  </a:lnTo>
                  <a:lnTo>
                    <a:pt x="40457" y="26603"/>
                  </a:lnTo>
                  <a:lnTo>
                    <a:pt x="40186" y="27507"/>
                  </a:lnTo>
                  <a:lnTo>
                    <a:pt x="39892" y="28411"/>
                  </a:lnTo>
                  <a:lnTo>
                    <a:pt x="39553" y="29292"/>
                  </a:lnTo>
                  <a:lnTo>
                    <a:pt x="39146" y="30151"/>
                  </a:lnTo>
                  <a:lnTo>
                    <a:pt x="38739" y="30965"/>
                  </a:lnTo>
                  <a:lnTo>
                    <a:pt x="38265" y="31778"/>
                  </a:lnTo>
                  <a:lnTo>
                    <a:pt x="37767" y="32569"/>
                  </a:lnTo>
                  <a:lnTo>
                    <a:pt x="37225" y="33315"/>
                  </a:lnTo>
                  <a:lnTo>
                    <a:pt x="36660" y="34061"/>
                  </a:lnTo>
                  <a:lnTo>
                    <a:pt x="36050" y="34762"/>
                  </a:lnTo>
                  <a:lnTo>
                    <a:pt x="35394" y="35417"/>
                  </a:lnTo>
                  <a:lnTo>
                    <a:pt x="34739" y="36073"/>
                  </a:lnTo>
                  <a:lnTo>
                    <a:pt x="34038" y="36660"/>
                  </a:lnTo>
                  <a:lnTo>
                    <a:pt x="33292" y="37248"/>
                  </a:lnTo>
                  <a:lnTo>
                    <a:pt x="32546" y="37790"/>
                  </a:lnTo>
                  <a:lnTo>
                    <a:pt x="31755" y="38288"/>
                  </a:lnTo>
                  <a:lnTo>
                    <a:pt x="30964" y="38740"/>
                  </a:lnTo>
                  <a:lnTo>
                    <a:pt x="30128" y="39169"/>
                  </a:lnTo>
                  <a:lnTo>
                    <a:pt x="29269" y="39553"/>
                  </a:lnTo>
                  <a:lnTo>
                    <a:pt x="28388" y="39915"/>
                  </a:lnTo>
                  <a:lnTo>
                    <a:pt x="27484" y="40209"/>
                  </a:lnTo>
                  <a:lnTo>
                    <a:pt x="26580" y="40480"/>
                  </a:lnTo>
                  <a:lnTo>
                    <a:pt x="25630" y="40683"/>
                  </a:lnTo>
                  <a:lnTo>
                    <a:pt x="24681" y="40864"/>
                  </a:lnTo>
                  <a:lnTo>
                    <a:pt x="23732" y="40977"/>
                  </a:lnTo>
                  <a:lnTo>
                    <a:pt x="22737" y="41045"/>
                  </a:lnTo>
                  <a:lnTo>
                    <a:pt x="21743" y="41090"/>
                  </a:lnTo>
                  <a:lnTo>
                    <a:pt x="20748" y="41045"/>
                  </a:lnTo>
                  <a:lnTo>
                    <a:pt x="19777" y="40977"/>
                  </a:lnTo>
                  <a:lnTo>
                    <a:pt x="18805" y="40864"/>
                  </a:lnTo>
                  <a:lnTo>
                    <a:pt x="17856" y="40683"/>
                  </a:lnTo>
                  <a:lnTo>
                    <a:pt x="16929" y="40480"/>
                  </a:lnTo>
                  <a:lnTo>
                    <a:pt x="16002" y="40209"/>
                  </a:lnTo>
                  <a:lnTo>
                    <a:pt x="15098" y="39915"/>
                  </a:lnTo>
                  <a:lnTo>
                    <a:pt x="14239" y="39553"/>
                  </a:lnTo>
                  <a:lnTo>
                    <a:pt x="13380" y="39169"/>
                  </a:lnTo>
                  <a:lnTo>
                    <a:pt x="12544" y="38740"/>
                  </a:lnTo>
                  <a:lnTo>
                    <a:pt x="11731" y="38288"/>
                  </a:lnTo>
                  <a:lnTo>
                    <a:pt x="10939" y="37790"/>
                  </a:lnTo>
                  <a:lnTo>
                    <a:pt x="10194" y="37248"/>
                  </a:lnTo>
                  <a:lnTo>
                    <a:pt x="9470" y="36660"/>
                  </a:lnTo>
                  <a:lnTo>
                    <a:pt x="8770" y="36073"/>
                  </a:lnTo>
                  <a:lnTo>
                    <a:pt x="8092" y="35417"/>
                  </a:lnTo>
                  <a:lnTo>
                    <a:pt x="7459" y="34762"/>
                  </a:lnTo>
                  <a:lnTo>
                    <a:pt x="6849" y="34061"/>
                  </a:lnTo>
                  <a:lnTo>
                    <a:pt x="6284" y="33315"/>
                  </a:lnTo>
                  <a:lnTo>
                    <a:pt x="5741" y="32569"/>
                  </a:lnTo>
                  <a:lnTo>
                    <a:pt x="5221" y="31778"/>
                  </a:lnTo>
                  <a:lnTo>
                    <a:pt x="4769" y="30965"/>
                  </a:lnTo>
                  <a:lnTo>
                    <a:pt x="4340" y="30151"/>
                  </a:lnTo>
                  <a:lnTo>
                    <a:pt x="3956" y="29292"/>
                  </a:lnTo>
                  <a:lnTo>
                    <a:pt x="3617" y="28411"/>
                  </a:lnTo>
                  <a:lnTo>
                    <a:pt x="3300" y="27507"/>
                  </a:lnTo>
                  <a:lnTo>
                    <a:pt x="3052" y="26603"/>
                  </a:lnTo>
                  <a:lnTo>
                    <a:pt x="2826" y="25653"/>
                  </a:lnTo>
                  <a:lnTo>
                    <a:pt x="2667" y="24704"/>
                  </a:lnTo>
                  <a:lnTo>
                    <a:pt x="2532" y="23755"/>
                  </a:lnTo>
                  <a:lnTo>
                    <a:pt x="2464" y="22761"/>
                  </a:lnTo>
                  <a:lnTo>
                    <a:pt x="2441" y="21766"/>
                  </a:lnTo>
                  <a:lnTo>
                    <a:pt x="2464" y="20772"/>
                  </a:lnTo>
                  <a:lnTo>
                    <a:pt x="2532" y="19800"/>
                  </a:lnTo>
                  <a:lnTo>
                    <a:pt x="2667" y="18828"/>
                  </a:lnTo>
                  <a:lnTo>
                    <a:pt x="2826" y="17879"/>
                  </a:lnTo>
                  <a:lnTo>
                    <a:pt x="3052" y="16952"/>
                  </a:lnTo>
                  <a:lnTo>
                    <a:pt x="3300" y="16025"/>
                  </a:lnTo>
                  <a:lnTo>
                    <a:pt x="3617" y="15121"/>
                  </a:lnTo>
                  <a:lnTo>
                    <a:pt x="3956" y="14262"/>
                  </a:lnTo>
                  <a:lnTo>
                    <a:pt x="4340" y="13404"/>
                  </a:lnTo>
                  <a:lnTo>
                    <a:pt x="4769" y="12567"/>
                  </a:lnTo>
                  <a:lnTo>
                    <a:pt x="5221" y="11754"/>
                  </a:lnTo>
                  <a:lnTo>
                    <a:pt x="5741" y="10963"/>
                  </a:lnTo>
                  <a:lnTo>
                    <a:pt x="6284" y="10217"/>
                  </a:lnTo>
                  <a:lnTo>
                    <a:pt x="6849" y="9494"/>
                  </a:lnTo>
                  <a:lnTo>
                    <a:pt x="7459" y="8793"/>
                  </a:lnTo>
                  <a:lnTo>
                    <a:pt x="8092" y="8115"/>
                  </a:lnTo>
                  <a:lnTo>
                    <a:pt x="8770" y="7482"/>
                  </a:lnTo>
                  <a:lnTo>
                    <a:pt x="9470" y="6872"/>
                  </a:lnTo>
                  <a:lnTo>
                    <a:pt x="10194" y="6284"/>
                  </a:lnTo>
                  <a:lnTo>
                    <a:pt x="10939" y="5764"/>
                  </a:lnTo>
                  <a:lnTo>
                    <a:pt x="11731" y="5244"/>
                  </a:lnTo>
                  <a:lnTo>
                    <a:pt x="12544" y="4792"/>
                  </a:lnTo>
                  <a:lnTo>
                    <a:pt x="13380" y="4363"/>
                  </a:lnTo>
                  <a:lnTo>
                    <a:pt x="14239" y="3979"/>
                  </a:lnTo>
                  <a:lnTo>
                    <a:pt x="15098" y="3640"/>
                  </a:lnTo>
                  <a:lnTo>
                    <a:pt x="16002" y="3323"/>
                  </a:lnTo>
                  <a:lnTo>
                    <a:pt x="16929" y="3075"/>
                  </a:lnTo>
                  <a:lnTo>
                    <a:pt x="17856" y="2849"/>
                  </a:lnTo>
                  <a:lnTo>
                    <a:pt x="18805" y="2690"/>
                  </a:lnTo>
                  <a:lnTo>
                    <a:pt x="19777" y="2555"/>
                  </a:lnTo>
                  <a:lnTo>
                    <a:pt x="20748" y="2487"/>
                  </a:lnTo>
                  <a:lnTo>
                    <a:pt x="21743" y="2464"/>
                  </a:lnTo>
                  <a:close/>
                  <a:moveTo>
                    <a:pt x="21743" y="1"/>
                  </a:moveTo>
                  <a:lnTo>
                    <a:pt x="21178" y="24"/>
                  </a:lnTo>
                  <a:lnTo>
                    <a:pt x="20635" y="46"/>
                  </a:lnTo>
                  <a:lnTo>
                    <a:pt x="20070" y="69"/>
                  </a:lnTo>
                  <a:lnTo>
                    <a:pt x="19528" y="114"/>
                  </a:lnTo>
                  <a:lnTo>
                    <a:pt x="18986" y="182"/>
                  </a:lnTo>
                  <a:lnTo>
                    <a:pt x="18443" y="272"/>
                  </a:lnTo>
                  <a:lnTo>
                    <a:pt x="17901" y="363"/>
                  </a:lnTo>
                  <a:lnTo>
                    <a:pt x="17358" y="453"/>
                  </a:lnTo>
                  <a:lnTo>
                    <a:pt x="16319" y="702"/>
                  </a:lnTo>
                  <a:lnTo>
                    <a:pt x="15279" y="995"/>
                  </a:lnTo>
                  <a:lnTo>
                    <a:pt x="14262" y="1334"/>
                  </a:lnTo>
                  <a:lnTo>
                    <a:pt x="13290" y="1719"/>
                  </a:lnTo>
                  <a:lnTo>
                    <a:pt x="12318" y="2148"/>
                  </a:lnTo>
                  <a:lnTo>
                    <a:pt x="11369" y="2645"/>
                  </a:lnTo>
                  <a:lnTo>
                    <a:pt x="10465" y="3165"/>
                  </a:lnTo>
                  <a:lnTo>
                    <a:pt x="9583" y="3730"/>
                  </a:lnTo>
                  <a:lnTo>
                    <a:pt x="8725" y="4340"/>
                  </a:lnTo>
                  <a:lnTo>
                    <a:pt x="7911" y="4973"/>
                  </a:lnTo>
                  <a:lnTo>
                    <a:pt x="7120" y="5674"/>
                  </a:lnTo>
                  <a:lnTo>
                    <a:pt x="6374" y="6375"/>
                  </a:lnTo>
                  <a:lnTo>
                    <a:pt x="5651" y="7143"/>
                  </a:lnTo>
                  <a:lnTo>
                    <a:pt x="4950" y="7934"/>
                  </a:lnTo>
                  <a:lnTo>
                    <a:pt x="4317" y="8748"/>
                  </a:lnTo>
                  <a:lnTo>
                    <a:pt x="3707" y="9607"/>
                  </a:lnTo>
                  <a:lnTo>
                    <a:pt x="3142" y="10488"/>
                  </a:lnTo>
                  <a:lnTo>
                    <a:pt x="2622" y="11392"/>
                  </a:lnTo>
                  <a:lnTo>
                    <a:pt x="2125" y="12341"/>
                  </a:lnTo>
                  <a:lnTo>
                    <a:pt x="1695" y="13291"/>
                  </a:lnTo>
                  <a:lnTo>
                    <a:pt x="1311" y="14285"/>
                  </a:lnTo>
                  <a:lnTo>
                    <a:pt x="972" y="15302"/>
                  </a:lnTo>
                  <a:lnTo>
                    <a:pt x="678" y="16342"/>
                  </a:lnTo>
                  <a:lnTo>
                    <a:pt x="430" y="17381"/>
                  </a:lnTo>
                  <a:lnTo>
                    <a:pt x="339" y="17924"/>
                  </a:lnTo>
                  <a:lnTo>
                    <a:pt x="249" y="18466"/>
                  </a:lnTo>
                  <a:lnTo>
                    <a:pt x="159" y="19009"/>
                  </a:lnTo>
                  <a:lnTo>
                    <a:pt x="113" y="19551"/>
                  </a:lnTo>
                  <a:lnTo>
                    <a:pt x="46" y="20094"/>
                  </a:lnTo>
                  <a:lnTo>
                    <a:pt x="23" y="20659"/>
                  </a:lnTo>
                  <a:lnTo>
                    <a:pt x="0" y="21201"/>
                  </a:lnTo>
                  <a:lnTo>
                    <a:pt x="0" y="21766"/>
                  </a:lnTo>
                  <a:lnTo>
                    <a:pt x="0" y="22331"/>
                  </a:lnTo>
                  <a:lnTo>
                    <a:pt x="23" y="22896"/>
                  </a:lnTo>
                  <a:lnTo>
                    <a:pt x="46" y="23439"/>
                  </a:lnTo>
                  <a:lnTo>
                    <a:pt x="113" y="24004"/>
                  </a:lnTo>
                  <a:lnTo>
                    <a:pt x="159" y="24546"/>
                  </a:lnTo>
                  <a:lnTo>
                    <a:pt x="249" y="25088"/>
                  </a:lnTo>
                  <a:lnTo>
                    <a:pt x="339" y="25631"/>
                  </a:lnTo>
                  <a:lnTo>
                    <a:pt x="430" y="26151"/>
                  </a:lnTo>
                  <a:lnTo>
                    <a:pt x="678" y="27213"/>
                  </a:lnTo>
                  <a:lnTo>
                    <a:pt x="972" y="28230"/>
                  </a:lnTo>
                  <a:lnTo>
                    <a:pt x="1311" y="29247"/>
                  </a:lnTo>
                  <a:lnTo>
                    <a:pt x="1695" y="30242"/>
                  </a:lnTo>
                  <a:lnTo>
                    <a:pt x="2125" y="31213"/>
                  </a:lnTo>
                  <a:lnTo>
                    <a:pt x="2622" y="32140"/>
                  </a:lnTo>
                  <a:lnTo>
                    <a:pt x="3142" y="33044"/>
                  </a:lnTo>
                  <a:lnTo>
                    <a:pt x="3707" y="33926"/>
                  </a:lnTo>
                  <a:lnTo>
                    <a:pt x="4317" y="34784"/>
                  </a:lnTo>
                  <a:lnTo>
                    <a:pt x="4950" y="35621"/>
                  </a:lnTo>
                  <a:lnTo>
                    <a:pt x="5651" y="36389"/>
                  </a:lnTo>
                  <a:lnTo>
                    <a:pt x="6374" y="37158"/>
                  </a:lnTo>
                  <a:lnTo>
                    <a:pt x="7120" y="37881"/>
                  </a:lnTo>
                  <a:lnTo>
                    <a:pt x="7911" y="38559"/>
                  </a:lnTo>
                  <a:lnTo>
                    <a:pt x="8725" y="39214"/>
                  </a:lnTo>
                  <a:lnTo>
                    <a:pt x="9583" y="39802"/>
                  </a:lnTo>
                  <a:lnTo>
                    <a:pt x="10465" y="40367"/>
                  </a:lnTo>
                  <a:lnTo>
                    <a:pt x="11369" y="40909"/>
                  </a:lnTo>
                  <a:lnTo>
                    <a:pt x="12318" y="41384"/>
                  </a:lnTo>
                  <a:lnTo>
                    <a:pt x="13290" y="41813"/>
                  </a:lnTo>
                  <a:lnTo>
                    <a:pt x="14262" y="42198"/>
                  </a:lnTo>
                  <a:lnTo>
                    <a:pt x="15279" y="42559"/>
                  </a:lnTo>
                  <a:lnTo>
                    <a:pt x="16319" y="42853"/>
                  </a:lnTo>
                  <a:lnTo>
                    <a:pt x="17358" y="43079"/>
                  </a:lnTo>
                  <a:lnTo>
                    <a:pt x="17901" y="43192"/>
                  </a:lnTo>
                  <a:lnTo>
                    <a:pt x="18443" y="43283"/>
                  </a:lnTo>
                  <a:lnTo>
                    <a:pt x="18986" y="43350"/>
                  </a:lnTo>
                  <a:lnTo>
                    <a:pt x="19528" y="43418"/>
                  </a:lnTo>
                  <a:lnTo>
                    <a:pt x="20070" y="43463"/>
                  </a:lnTo>
                  <a:lnTo>
                    <a:pt x="20635" y="43509"/>
                  </a:lnTo>
                  <a:lnTo>
                    <a:pt x="21178" y="43531"/>
                  </a:lnTo>
                  <a:lnTo>
                    <a:pt x="22308" y="43531"/>
                  </a:lnTo>
                  <a:lnTo>
                    <a:pt x="22873" y="43509"/>
                  </a:lnTo>
                  <a:lnTo>
                    <a:pt x="23415" y="43463"/>
                  </a:lnTo>
                  <a:lnTo>
                    <a:pt x="23981" y="43418"/>
                  </a:lnTo>
                  <a:lnTo>
                    <a:pt x="24523" y="43350"/>
                  </a:lnTo>
                  <a:lnTo>
                    <a:pt x="25065" y="43283"/>
                  </a:lnTo>
                  <a:lnTo>
                    <a:pt x="25608" y="43192"/>
                  </a:lnTo>
                  <a:lnTo>
                    <a:pt x="26128" y="43079"/>
                  </a:lnTo>
                  <a:lnTo>
                    <a:pt x="27190" y="42853"/>
                  </a:lnTo>
                  <a:lnTo>
                    <a:pt x="28207" y="42559"/>
                  </a:lnTo>
                  <a:lnTo>
                    <a:pt x="29224" y="42198"/>
                  </a:lnTo>
                  <a:lnTo>
                    <a:pt x="30219" y="41813"/>
                  </a:lnTo>
                  <a:lnTo>
                    <a:pt x="31190" y="41384"/>
                  </a:lnTo>
                  <a:lnTo>
                    <a:pt x="32117" y="40909"/>
                  </a:lnTo>
                  <a:lnTo>
                    <a:pt x="33021" y="40367"/>
                  </a:lnTo>
                  <a:lnTo>
                    <a:pt x="33903" y="39802"/>
                  </a:lnTo>
                  <a:lnTo>
                    <a:pt x="34761" y="39214"/>
                  </a:lnTo>
                  <a:lnTo>
                    <a:pt x="35598" y="38559"/>
                  </a:lnTo>
                  <a:lnTo>
                    <a:pt x="36389" y="37881"/>
                  </a:lnTo>
                  <a:lnTo>
                    <a:pt x="37135" y="37158"/>
                  </a:lnTo>
                  <a:lnTo>
                    <a:pt x="37858" y="36389"/>
                  </a:lnTo>
                  <a:lnTo>
                    <a:pt x="38536" y="35621"/>
                  </a:lnTo>
                  <a:lnTo>
                    <a:pt x="39191" y="34784"/>
                  </a:lnTo>
                  <a:lnTo>
                    <a:pt x="39779" y="33926"/>
                  </a:lnTo>
                  <a:lnTo>
                    <a:pt x="40367" y="33044"/>
                  </a:lnTo>
                  <a:lnTo>
                    <a:pt x="40886" y="32140"/>
                  </a:lnTo>
                  <a:lnTo>
                    <a:pt x="41361" y="31213"/>
                  </a:lnTo>
                  <a:lnTo>
                    <a:pt x="41790" y="30242"/>
                  </a:lnTo>
                  <a:lnTo>
                    <a:pt x="42175" y="29247"/>
                  </a:lnTo>
                  <a:lnTo>
                    <a:pt x="42536" y="28230"/>
                  </a:lnTo>
                  <a:lnTo>
                    <a:pt x="42830" y="27213"/>
                  </a:lnTo>
                  <a:lnTo>
                    <a:pt x="43056" y="26151"/>
                  </a:lnTo>
                  <a:lnTo>
                    <a:pt x="43169" y="25631"/>
                  </a:lnTo>
                  <a:lnTo>
                    <a:pt x="43260" y="25088"/>
                  </a:lnTo>
                  <a:lnTo>
                    <a:pt x="43327" y="24546"/>
                  </a:lnTo>
                  <a:lnTo>
                    <a:pt x="43395" y="24004"/>
                  </a:lnTo>
                  <a:lnTo>
                    <a:pt x="43440" y="23439"/>
                  </a:lnTo>
                  <a:lnTo>
                    <a:pt x="43486" y="22896"/>
                  </a:lnTo>
                  <a:lnTo>
                    <a:pt x="43508" y="22331"/>
                  </a:lnTo>
                  <a:lnTo>
                    <a:pt x="43508" y="21766"/>
                  </a:lnTo>
                  <a:lnTo>
                    <a:pt x="43508" y="21201"/>
                  </a:lnTo>
                  <a:lnTo>
                    <a:pt x="43486" y="20659"/>
                  </a:lnTo>
                  <a:lnTo>
                    <a:pt x="43440" y="20094"/>
                  </a:lnTo>
                  <a:lnTo>
                    <a:pt x="43395" y="19551"/>
                  </a:lnTo>
                  <a:lnTo>
                    <a:pt x="43327" y="19009"/>
                  </a:lnTo>
                  <a:lnTo>
                    <a:pt x="43260" y="18466"/>
                  </a:lnTo>
                  <a:lnTo>
                    <a:pt x="43169" y="17924"/>
                  </a:lnTo>
                  <a:lnTo>
                    <a:pt x="43056" y="17381"/>
                  </a:lnTo>
                  <a:lnTo>
                    <a:pt x="42830" y="16342"/>
                  </a:lnTo>
                  <a:lnTo>
                    <a:pt x="42536" y="15302"/>
                  </a:lnTo>
                  <a:lnTo>
                    <a:pt x="42175" y="14285"/>
                  </a:lnTo>
                  <a:lnTo>
                    <a:pt x="41790" y="13291"/>
                  </a:lnTo>
                  <a:lnTo>
                    <a:pt x="41361" y="12341"/>
                  </a:lnTo>
                  <a:lnTo>
                    <a:pt x="40886" y="11392"/>
                  </a:lnTo>
                  <a:lnTo>
                    <a:pt x="40367" y="10488"/>
                  </a:lnTo>
                  <a:lnTo>
                    <a:pt x="39779" y="9607"/>
                  </a:lnTo>
                  <a:lnTo>
                    <a:pt x="39191" y="8748"/>
                  </a:lnTo>
                  <a:lnTo>
                    <a:pt x="38536" y="7934"/>
                  </a:lnTo>
                  <a:lnTo>
                    <a:pt x="37858" y="7143"/>
                  </a:lnTo>
                  <a:lnTo>
                    <a:pt x="37135" y="6375"/>
                  </a:lnTo>
                  <a:lnTo>
                    <a:pt x="36389" y="5674"/>
                  </a:lnTo>
                  <a:lnTo>
                    <a:pt x="35598" y="4973"/>
                  </a:lnTo>
                  <a:lnTo>
                    <a:pt x="34761" y="4340"/>
                  </a:lnTo>
                  <a:lnTo>
                    <a:pt x="33903" y="3730"/>
                  </a:lnTo>
                  <a:lnTo>
                    <a:pt x="33021" y="3165"/>
                  </a:lnTo>
                  <a:lnTo>
                    <a:pt x="32117" y="2645"/>
                  </a:lnTo>
                  <a:lnTo>
                    <a:pt x="31190" y="2148"/>
                  </a:lnTo>
                  <a:lnTo>
                    <a:pt x="30219" y="1719"/>
                  </a:lnTo>
                  <a:lnTo>
                    <a:pt x="29224" y="1334"/>
                  </a:lnTo>
                  <a:lnTo>
                    <a:pt x="28207" y="995"/>
                  </a:lnTo>
                  <a:lnTo>
                    <a:pt x="27190" y="702"/>
                  </a:lnTo>
                  <a:lnTo>
                    <a:pt x="26128" y="453"/>
                  </a:lnTo>
                  <a:lnTo>
                    <a:pt x="25608" y="363"/>
                  </a:lnTo>
                  <a:lnTo>
                    <a:pt x="25065" y="272"/>
                  </a:lnTo>
                  <a:lnTo>
                    <a:pt x="24523" y="182"/>
                  </a:lnTo>
                  <a:lnTo>
                    <a:pt x="23981" y="114"/>
                  </a:lnTo>
                  <a:lnTo>
                    <a:pt x="23415" y="69"/>
                  </a:lnTo>
                  <a:lnTo>
                    <a:pt x="22873" y="46"/>
                  </a:lnTo>
                  <a:lnTo>
                    <a:pt x="22308" y="24"/>
                  </a:lnTo>
                  <a:lnTo>
                    <a:pt x="21743" y="1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30" name="Google Shape;1730;p16"/>
            <p:cNvSpPr/>
            <p:nvPr/>
          </p:nvSpPr>
          <p:spPr>
            <a:xfrm>
              <a:off x="2133250" y="3456700"/>
              <a:ext cx="102850" cy="102875"/>
            </a:xfrm>
            <a:custGeom>
              <a:avLst/>
              <a:gdLst/>
              <a:ahLst/>
              <a:cxnLst/>
              <a:rect l="l" t="t" r="r" b="b"/>
              <a:pathLst>
                <a:path w="4114" h="4115" extrusionOk="0">
                  <a:moveTo>
                    <a:pt x="1854" y="1"/>
                  </a:moveTo>
                  <a:lnTo>
                    <a:pt x="1650" y="23"/>
                  </a:lnTo>
                  <a:lnTo>
                    <a:pt x="1447" y="91"/>
                  </a:lnTo>
                  <a:lnTo>
                    <a:pt x="1266" y="159"/>
                  </a:lnTo>
                  <a:lnTo>
                    <a:pt x="1085" y="249"/>
                  </a:lnTo>
                  <a:lnTo>
                    <a:pt x="904" y="340"/>
                  </a:lnTo>
                  <a:lnTo>
                    <a:pt x="746" y="453"/>
                  </a:lnTo>
                  <a:lnTo>
                    <a:pt x="610" y="588"/>
                  </a:lnTo>
                  <a:lnTo>
                    <a:pt x="475" y="747"/>
                  </a:lnTo>
                  <a:lnTo>
                    <a:pt x="362" y="905"/>
                  </a:lnTo>
                  <a:lnTo>
                    <a:pt x="249" y="1063"/>
                  </a:lnTo>
                  <a:lnTo>
                    <a:pt x="158" y="1244"/>
                  </a:lnTo>
                  <a:lnTo>
                    <a:pt x="91" y="1447"/>
                  </a:lnTo>
                  <a:lnTo>
                    <a:pt x="45" y="1628"/>
                  </a:lnTo>
                  <a:lnTo>
                    <a:pt x="23" y="1831"/>
                  </a:lnTo>
                  <a:lnTo>
                    <a:pt x="0" y="2057"/>
                  </a:lnTo>
                  <a:lnTo>
                    <a:pt x="23" y="2261"/>
                  </a:lnTo>
                  <a:lnTo>
                    <a:pt x="45" y="2464"/>
                  </a:lnTo>
                  <a:lnTo>
                    <a:pt x="91" y="2668"/>
                  </a:lnTo>
                  <a:lnTo>
                    <a:pt x="158" y="2849"/>
                  </a:lnTo>
                  <a:lnTo>
                    <a:pt x="249" y="3029"/>
                  </a:lnTo>
                  <a:lnTo>
                    <a:pt x="362" y="3210"/>
                  </a:lnTo>
                  <a:lnTo>
                    <a:pt x="475" y="3368"/>
                  </a:lnTo>
                  <a:lnTo>
                    <a:pt x="610" y="3504"/>
                  </a:lnTo>
                  <a:lnTo>
                    <a:pt x="746" y="3640"/>
                  </a:lnTo>
                  <a:lnTo>
                    <a:pt x="904" y="3753"/>
                  </a:lnTo>
                  <a:lnTo>
                    <a:pt x="1085" y="3866"/>
                  </a:lnTo>
                  <a:lnTo>
                    <a:pt x="1266" y="3956"/>
                  </a:lnTo>
                  <a:lnTo>
                    <a:pt x="1447" y="4024"/>
                  </a:lnTo>
                  <a:lnTo>
                    <a:pt x="1650" y="4069"/>
                  </a:lnTo>
                  <a:lnTo>
                    <a:pt x="1854" y="4092"/>
                  </a:lnTo>
                  <a:lnTo>
                    <a:pt x="2057" y="4114"/>
                  </a:lnTo>
                  <a:lnTo>
                    <a:pt x="2283" y="4092"/>
                  </a:lnTo>
                  <a:lnTo>
                    <a:pt x="2486" y="4069"/>
                  </a:lnTo>
                  <a:lnTo>
                    <a:pt x="2667" y="4024"/>
                  </a:lnTo>
                  <a:lnTo>
                    <a:pt x="2871" y="3956"/>
                  </a:lnTo>
                  <a:lnTo>
                    <a:pt x="3051" y="3866"/>
                  </a:lnTo>
                  <a:lnTo>
                    <a:pt x="3210" y="3753"/>
                  </a:lnTo>
                  <a:lnTo>
                    <a:pt x="3368" y="3640"/>
                  </a:lnTo>
                  <a:lnTo>
                    <a:pt x="3526" y="3504"/>
                  </a:lnTo>
                  <a:lnTo>
                    <a:pt x="3639" y="3368"/>
                  </a:lnTo>
                  <a:lnTo>
                    <a:pt x="3775" y="3210"/>
                  </a:lnTo>
                  <a:lnTo>
                    <a:pt x="3865" y="3029"/>
                  </a:lnTo>
                  <a:lnTo>
                    <a:pt x="3955" y="2849"/>
                  </a:lnTo>
                  <a:lnTo>
                    <a:pt x="4023" y="2668"/>
                  </a:lnTo>
                  <a:lnTo>
                    <a:pt x="4068" y="2464"/>
                  </a:lnTo>
                  <a:lnTo>
                    <a:pt x="4114" y="2261"/>
                  </a:lnTo>
                  <a:lnTo>
                    <a:pt x="4114" y="2057"/>
                  </a:lnTo>
                  <a:lnTo>
                    <a:pt x="4114" y="1831"/>
                  </a:lnTo>
                  <a:lnTo>
                    <a:pt x="4068" y="1628"/>
                  </a:lnTo>
                  <a:lnTo>
                    <a:pt x="4023" y="1447"/>
                  </a:lnTo>
                  <a:lnTo>
                    <a:pt x="3955" y="1244"/>
                  </a:lnTo>
                  <a:lnTo>
                    <a:pt x="3865" y="1063"/>
                  </a:lnTo>
                  <a:lnTo>
                    <a:pt x="3775" y="905"/>
                  </a:lnTo>
                  <a:lnTo>
                    <a:pt x="3639" y="747"/>
                  </a:lnTo>
                  <a:lnTo>
                    <a:pt x="3526" y="588"/>
                  </a:lnTo>
                  <a:lnTo>
                    <a:pt x="3368" y="453"/>
                  </a:lnTo>
                  <a:lnTo>
                    <a:pt x="3210" y="340"/>
                  </a:lnTo>
                  <a:lnTo>
                    <a:pt x="3051" y="249"/>
                  </a:lnTo>
                  <a:lnTo>
                    <a:pt x="2871" y="159"/>
                  </a:lnTo>
                  <a:lnTo>
                    <a:pt x="2667" y="91"/>
                  </a:lnTo>
                  <a:lnTo>
                    <a:pt x="2486" y="23"/>
                  </a:lnTo>
                  <a:lnTo>
                    <a:pt x="2283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31" name="Google Shape;1731;p16"/>
            <p:cNvSpPr/>
            <p:nvPr/>
          </p:nvSpPr>
          <p:spPr>
            <a:xfrm>
              <a:off x="2487525" y="2579775"/>
              <a:ext cx="520425" cy="1022175"/>
            </a:xfrm>
            <a:custGeom>
              <a:avLst/>
              <a:gdLst/>
              <a:ahLst/>
              <a:cxnLst/>
              <a:rect l="l" t="t" r="r" b="b"/>
              <a:pathLst>
                <a:path w="20817" h="40887" extrusionOk="0">
                  <a:moveTo>
                    <a:pt x="701" y="0"/>
                  </a:moveTo>
                  <a:lnTo>
                    <a:pt x="543" y="23"/>
                  </a:lnTo>
                  <a:lnTo>
                    <a:pt x="407" y="91"/>
                  </a:lnTo>
                  <a:lnTo>
                    <a:pt x="294" y="159"/>
                  </a:lnTo>
                  <a:lnTo>
                    <a:pt x="181" y="249"/>
                  </a:lnTo>
                  <a:lnTo>
                    <a:pt x="113" y="362"/>
                  </a:lnTo>
                  <a:lnTo>
                    <a:pt x="46" y="498"/>
                  </a:lnTo>
                  <a:lnTo>
                    <a:pt x="23" y="633"/>
                  </a:lnTo>
                  <a:lnTo>
                    <a:pt x="0" y="769"/>
                  </a:lnTo>
                  <a:lnTo>
                    <a:pt x="23" y="904"/>
                  </a:lnTo>
                  <a:lnTo>
                    <a:pt x="91" y="1040"/>
                  </a:lnTo>
                  <a:lnTo>
                    <a:pt x="19438" y="40479"/>
                  </a:lnTo>
                  <a:lnTo>
                    <a:pt x="19528" y="40615"/>
                  </a:lnTo>
                  <a:lnTo>
                    <a:pt x="19618" y="40705"/>
                  </a:lnTo>
                  <a:lnTo>
                    <a:pt x="19731" y="40796"/>
                  </a:lnTo>
                  <a:lnTo>
                    <a:pt x="19867" y="40841"/>
                  </a:lnTo>
                  <a:lnTo>
                    <a:pt x="20003" y="40886"/>
                  </a:lnTo>
                  <a:lnTo>
                    <a:pt x="20138" y="40886"/>
                  </a:lnTo>
                  <a:lnTo>
                    <a:pt x="20274" y="40864"/>
                  </a:lnTo>
                  <a:lnTo>
                    <a:pt x="20409" y="40818"/>
                  </a:lnTo>
                  <a:lnTo>
                    <a:pt x="20545" y="40728"/>
                  </a:lnTo>
                  <a:lnTo>
                    <a:pt x="20635" y="40638"/>
                  </a:lnTo>
                  <a:lnTo>
                    <a:pt x="20726" y="40525"/>
                  </a:lnTo>
                  <a:lnTo>
                    <a:pt x="20771" y="40389"/>
                  </a:lnTo>
                  <a:lnTo>
                    <a:pt x="20816" y="40253"/>
                  </a:lnTo>
                  <a:lnTo>
                    <a:pt x="20816" y="40118"/>
                  </a:lnTo>
                  <a:lnTo>
                    <a:pt x="20794" y="39982"/>
                  </a:lnTo>
                  <a:lnTo>
                    <a:pt x="20748" y="39847"/>
                  </a:lnTo>
                  <a:lnTo>
                    <a:pt x="1379" y="407"/>
                  </a:lnTo>
                  <a:lnTo>
                    <a:pt x="1311" y="294"/>
                  </a:lnTo>
                  <a:lnTo>
                    <a:pt x="1198" y="181"/>
                  </a:lnTo>
                  <a:lnTo>
                    <a:pt x="1085" y="113"/>
                  </a:lnTo>
                  <a:lnTo>
                    <a:pt x="972" y="46"/>
                  </a:lnTo>
                  <a:lnTo>
                    <a:pt x="837" y="23"/>
                  </a:lnTo>
                  <a:lnTo>
                    <a:pt x="701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32" name="Google Shape;1732;p16"/>
            <p:cNvSpPr/>
            <p:nvPr/>
          </p:nvSpPr>
          <p:spPr>
            <a:xfrm>
              <a:off x="2154725" y="2661150"/>
              <a:ext cx="453175" cy="873000"/>
            </a:xfrm>
            <a:custGeom>
              <a:avLst/>
              <a:gdLst/>
              <a:ahLst/>
              <a:cxnLst/>
              <a:rect l="l" t="t" r="r" b="b"/>
              <a:pathLst>
                <a:path w="18127" h="34920" extrusionOk="0">
                  <a:moveTo>
                    <a:pt x="16816" y="0"/>
                  </a:moveTo>
                  <a:lnTo>
                    <a:pt x="0" y="34264"/>
                  </a:lnTo>
                  <a:lnTo>
                    <a:pt x="1288" y="34919"/>
                  </a:lnTo>
                  <a:lnTo>
                    <a:pt x="18126" y="633"/>
                  </a:lnTo>
                  <a:lnTo>
                    <a:pt x="16816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33" name="Google Shape;1733;p16"/>
            <p:cNvSpPr/>
            <p:nvPr/>
          </p:nvSpPr>
          <p:spPr>
            <a:xfrm>
              <a:off x="2645175" y="3545425"/>
              <a:ext cx="130550" cy="95500"/>
            </a:xfrm>
            <a:custGeom>
              <a:avLst/>
              <a:gdLst/>
              <a:ahLst/>
              <a:cxnLst/>
              <a:rect l="l" t="t" r="r" b="b"/>
              <a:pathLst>
                <a:path w="5222" h="3820" extrusionOk="0">
                  <a:moveTo>
                    <a:pt x="701" y="0"/>
                  </a:moveTo>
                  <a:lnTo>
                    <a:pt x="565" y="23"/>
                  </a:lnTo>
                  <a:lnTo>
                    <a:pt x="430" y="68"/>
                  </a:lnTo>
                  <a:lnTo>
                    <a:pt x="317" y="136"/>
                  </a:lnTo>
                  <a:lnTo>
                    <a:pt x="204" y="226"/>
                  </a:lnTo>
                  <a:lnTo>
                    <a:pt x="113" y="339"/>
                  </a:lnTo>
                  <a:lnTo>
                    <a:pt x="45" y="475"/>
                  </a:lnTo>
                  <a:lnTo>
                    <a:pt x="23" y="610"/>
                  </a:lnTo>
                  <a:lnTo>
                    <a:pt x="0" y="746"/>
                  </a:lnTo>
                  <a:lnTo>
                    <a:pt x="23" y="882"/>
                  </a:lnTo>
                  <a:lnTo>
                    <a:pt x="68" y="1017"/>
                  </a:lnTo>
                  <a:lnTo>
                    <a:pt x="136" y="1153"/>
                  </a:lnTo>
                  <a:lnTo>
                    <a:pt x="226" y="1243"/>
                  </a:lnTo>
                  <a:lnTo>
                    <a:pt x="339" y="1334"/>
                  </a:lnTo>
                  <a:lnTo>
                    <a:pt x="4114" y="3707"/>
                  </a:lnTo>
                  <a:lnTo>
                    <a:pt x="4249" y="3775"/>
                  </a:lnTo>
                  <a:lnTo>
                    <a:pt x="4385" y="3820"/>
                  </a:lnTo>
                  <a:lnTo>
                    <a:pt x="4520" y="3820"/>
                  </a:lnTo>
                  <a:lnTo>
                    <a:pt x="4656" y="3797"/>
                  </a:lnTo>
                  <a:lnTo>
                    <a:pt x="4792" y="3752"/>
                  </a:lnTo>
                  <a:lnTo>
                    <a:pt x="4905" y="3684"/>
                  </a:lnTo>
                  <a:lnTo>
                    <a:pt x="5018" y="3594"/>
                  </a:lnTo>
                  <a:lnTo>
                    <a:pt x="5108" y="3481"/>
                  </a:lnTo>
                  <a:lnTo>
                    <a:pt x="5176" y="3345"/>
                  </a:lnTo>
                  <a:lnTo>
                    <a:pt x="5198" y="3210"/>
                  </a:lnTo>
                  <a:lnTo>
                    <a:pt x="5221" y="3074"/>
                  </a:lnTo>
                  <a:lnTo>
                    <a:pt x="5198" y="2938"/>
                  </a:lnTo>
                  <a:lnTo>
                    <a:pt x="5153" y="2803"/>
                  </a:lnTo>
                  <a:lnTo>
                    <a:pt x="5085" y="2690"/>
                  </a:lnTo>
                  <a:lnTo>
                    <a:pt x="4995" y="2577"/>
                  </a:lnTo>
                  <a:lnTo>
                    <a:pt x="4882" y="2486"/>
                  </a:lnTo>
                  <a:lnTo>
                    <a:pt x="1108" y="113"/>
                  </a:lnTo>
                  <a:lnTo>
                    <a:pt x="972" y="45"/>
                  </a:lnTo>
                  <a:lnTo>
                    <a:pt x="836" y="23"/>
                  </a:lnTo>
                  <a:lnTo>
                    <a:pt x="701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34" name="Google Shape;1734;p16"/>
            <p:cNvSpPr/>
            <p:nvPr/>
          </p:nvSpPr>
          <p:spPr>
            <a:xfrm>
              <a:off x="3126575" y="3565750"/>
              <a:ext cx="142975" cy="66150"/>
            </a:xfrm>
            <a:custGeom>
              <a:avLst/>
              <a:gdLst/>
              <a:ahLst/>
              <a:cxnLst/>
              <a:rect l="l" t="t" r="r" b="b"/>
              <a:pathLst>
                <a:path w="5719" h="2646" extrusionOk="0">
                  <a:moveTo>
                    <a:pt x="611" y="1"/>
                  </a:moveTo>
                  <a:lnTo>
                    <a:pt x="475" y="46"/>
                  </a:lnTo>
                  <a:lnTo>
                    <a:pt x="362" y="91"/>
                  </a:lnTo>
                  <a:lnTo>
                    <a:pt x="249" y="182"/>
                  </a:lnTo>
                  <a:lnTo>
                    <a:pt x="159" y="272"/>
                  </a:lnTo>
                  <a:lnTo>
                    <a:pt x="68" y="408"/>
                  </a:lnTo>
                  <a:lnTo>
                    <a:pt x="23" y="543"/>
                  </a:lnTo>
                  <a:lnTo>
                    <a:pt x="1" y="679"/>
                  </a:lnTo>
                  <a:lnTo>
                    <a:pt x="1" y="814"/>
                  </a:lnTo>
                  <a:lnTo>
                    <a:pt x="23" y="950"/>
                  </a:lnTo>
                  <a:lnTo>
                    <a:pt x="91" y="1086"/>
                  </a:lnTo>
                  <a:lnTo>
                    <a:pt x="159" y="1199"/>
                  </a:lnTo>
                  <a:lnTo>
                    <a:pt x="272" y="1289"/>
                  </a:lnTo>
                  <a:lnTo>
                    <a:pt x="385" y="1379"/>
                  </a:lnTo>
                  <a:lnTo>
                    <a:pt x="520" y="1425"/>
                  </a:lnTo>
                  <a:lnTo>
                    <a:pt x="4815" y="2600"/>
                  </a:lnTo>
                  <a:lnTo>
                    <a:pt x="4950" y="2645"/>
                  </a:lnTo>
                  <a:lnTo>
                    <a:pt x="5086" y="2623"/>
                  </a:lnTo>
                  <a:lnTo>
                    <a:pt x="5221" y="2600"/>
                  </a:lnTo>
                  <a:lnTo>
                    <a:pt x="5357" y="2532"/>
                  </a:lnTo>
                  <a:lnTo>
                    <a:pt x="5470" y="2464"/>
                  </a:lnTo>
                  <a:lnTo>
                    <a:pt x="5561" y="2374"/>
                  </a:lnTo>
                  <a:lnTo>
                    <a:pt x="5651" y="2238"/>
                  </a:lnTo>
                  <a:lnTo>
                    <a:pt x="5696" y="2103"/>
                  </a:lnTo>
                  <a:lnTo>
                    <a:pt x="5719" y="1967"/>
                  </a:lnTo>
                  <a:lnTo>
                    <a:pt x="5719" y="1832"/>
                  </a:lnTo>
                  <a:lnTo>
                    <a:pt x="5696" y="1673"/>
                  </a:lnTo>
                  <a:lnTo>
                    <a:pt x="5628" y="1560"/>
                  </a:lnTo>
                  <a:lnTo>
                    <a:pt x="5561" y="1447"/>
                  </a:lnTo>
                  <a:lnTo>
                    <a:pt x="5448" y="1357"/>
                  </a:lnTo>
                  <a:lnTo>
                    <a:pt x="5335" y="1266"/>
                  </a:lnTo>
                  <a:lnTo>
                    <a:pt x="5199" y="1221"/>
                  </a:lnTo>
                  <a:lnTo>
                    <a:pt x="905" y="23"/>
                  </a:lnTo>
                  <a:lnTo>
                    <a:pt x="769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35" name="Google Shape;1735;p16"/>
            <p:cNvSpPr/>
            <p:nvPr/>
          </p:nvSpPr>
          <p:spPr>
            <a:xfrm>
              <a:off x="2871175" y="3429575"/>
              <a:ext cx="211350" cy="211350"/>
            </a:xfrm>
            <a:custGeom>
              <a:avLst/>
              <a:gdLst/>
              <a:ahLst/>
              <a:cxnLst/>
              <a:rect l="l" t="t" r="r" b="b"/>
              <a:pathLst>
                <a:path w="8454" h="8454" extrusionOk="0">
                  <a:moveTo>
                    <a:pt x="4227" y="1"/>
                  </a:moveTo>
                  <a:lnTo>
                    <a:pt x="3798" y="23"/>
                  </a:lnTo>
                  <a:lnTo>
                    <a:pt x="3368" y="91"/>
                  </a:lnTo>
                  <a:lnTo>
                    <a:pt x="2962" y="182"/>
                  </a:lnTo>
                  <a:lnTo>
                    <a:pt x="2577" y="340"/>
                  </a:lnTo>
                  <a:lnTo>
                    <a:pt x="2193" y="521"/>
                  </a:lnTo>
                  <a:lnTo>
                    <a:pt x="1854" y="724"/>
                  </a:lnTo>
                  <a:lnTo>
                    <a:pt x="1538" y="973"/>
                  </a:lnTo>
                  <a:lnTo>
                    <a:pt x="1221" y="1244"/>
                  </a:lnTo>
                  <a:lnTo>
                    <a:pt x="950" y="1538"/>
                  </a:lnTo>
                  <a:lnTo>
                    <a:pt x="724" y="1854"/>
                  </a:lnTo>
                  <a:lnTo>
                    <a:pt x="498" y="2216"/>
                  </a:lnTo>
                  <a:lnTo>
                    <a:pt x="317" y="2577"/>
                  </a:lnTo>
                  <a:lnTo>
                    <a:pt x="182" y="2962"/>
                  </a:lnTo>
                  <a:lnTo>
                    <a:pt x="69" y="3368"/>
                  </a:lnTo>
                  <a:lnTo>
                    <a:pt x="23" y="3798"/>
                  </a:lnTo>
                  <a:lnTo>
                    <a:pt x="1" y="4227"/>
                  </a:lnTo>
                  <a:lnTo>
                    <a:pt x="23" y="4657"/>
                  </a:lnTo>
                  <a:lnTo>
                    <a:pt x="69" y="5086"/>
                  </a:lnTo>
                  <a:lnTo>
                    <a:pt x="182" y="5493"/>
                  </a:lnTo>
                  <a:lnTo>
                    <a:pt x="317" y="5877"/>
                  </a:lnTo>
                  <a:lnTo>
                    <a:pt x="498" y="6239"/>
                  </a:lnTo>
                  <a:lnTo>
                    <a:pt x="724" y="6600"/>
                  </a:lnTo>
                  <a:lnTo>
                    <a:pt x="950" y="6917"/>
                  </a:lnTo>
                  <a:lnTo>
                    <a:pt x="1221" y="7211"/>
                  </a:lnTo>
                  <a:lnTo>
                    <a:pt x="1538" y="7482"/>
                  </a:lnTo>
                  <a:lnTo>
                    <a:pt x="1854" y="7731"/>
                  </a:lnTo>
                  <a:lnTo>
                    <a:pt x="2193" y="7957"/>
                  </a:lnTo>
                  <a:lnTo>
                    <a:pt x="2577" y="8115"/>
                  </a:lnTo>
                  <a:lnTo>
                    <a:pt x="2962" y="8273"/>
                  </a:lnTo>
                  <a:lnTo>
                    <a:pt x="3368" y="8363"/>
                  </a:lnTo>
                  <a:lnTo>
                    <a:pt x="3798" y="8431"/>
                  </a:lnTo>
                  <a:lnTo>
                    <a:pt x="4227" y="8454"/>
                  </a:lnTo>
                  <a:lnTo>
                    <a:pt x="4657" y="8431"/>
                  </a:lnTo>
                  <a:lnTo>
                    <a:pt x="5063" y="8363"/>
                  </a:lnTo>
                  <a:lnTo>
                    <a:pt x="5470" y="8273"/>
                  </a:lnTo>
                  <a:lnTo>
                    <a:pt x="5854" y="8115"/>
                  </a:lnTo>
                  <a:lnTo>
                    <a:pt x="6239" y="7957"/>
                  </a:lnTo>
                  <a:lnTo>
                    <a:pt x="6578" y="7731"/>
                  </a:lnTo>
                  <a:lnTo>
                    <a:pt x="6917" y="7482"/>
                  </a:lnTo>
                  <a:lnTo>
                    <a:pt x="7211" y="7211"/>
                  </a:lnTo>
                  <a:lnTo>
                    <a:pt x="7482" y="6917"/>
                  </a:lnTo>
                  <a:lnTo>
                    <a:pt x="7730" y="6600"/>
                  </a:lnTo>
                  <a:lnTo>
                    <a:pt x="7934" y="6239"/>
                  </a:lnTo>
                  <a:lnTo>
                    <a:pt x="8115" y="5877"/>
                  </a:lnTo>
                  <a:lnTo>
                    <a:pt x="8250" y="5493"/>
                  </a:lnTo>
                  <a:lnTo>
                    <a:pt x="8363" y="5086"/>
                  </a:lnTo>
                  <a:lnTo>
                    <a:pt x="8431" y="4657"/>
                  </a:lnTo>
                  <a:lnTo>
                    <a:pt x="8454" y="4227"/>
                  </a:lnTo>
                  <a:lnTo>
                    <a:pt x="8431" y="3798"/>
                  </a:lnTo>
                  <a:lnTo>
                    <a:pt x="8363" y="3368"/>
                  </a:lnTo>
                  <a:lnTo>
                    <a:pt x="8250" y="2962"/>
                  </a:lnTo>
                  <a:lnTo>
                    <a:pt x="8115" y="2577"/>
                  </a:lnTo>
                  <a:lnTo>
                    <a:pt x="7934" y="2216"/>
                  </a:lnTo>
                  <a:lnTo>
                    <a:pt x="7730" y="1854"/>
                  </a:lnTo>
                  <a:lnTo>
                    <a:pt x="7482" y="1538"/>
                  </a:lnTo>
                  <a:lnTo>
                    <a:pt x="7211" y="1244"/>
                  </a:lnTo>
                  <a:lnTo>
                    <a:pt x="6917" y="973"/>
                  </a:lnTo>
                  <a:lnTo>
                    <a:pt x="6578" y="724"/>
                  </a:lnTo>
                  <a:lnTo>
                    <a:pt x="6239" y="521"/>
                  </a:lnTo>
                  <a:lnTo>
                    <a:pt x="5854" y="340"/>
                  </a:lnTo>
                  <a:lnTo>
                    <a:pt x="5470" y="182"/>
                  </a:lnTo>
                  <a:lnTo>
                    <a:pt x="5063" y="91"/>
                  </a:lnTo>
                  <a:lnTo>
                    <a:pt x="4657" y="23"/>
                  </a:lnTo>
                  <a:lnTo>
                    <a:pt x="4227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36" name="Google Shape;1736;p16"/>
            <p:cNvSpPr/>
            <p:nvPr/>
          </p:nvSpPr>
          <p:spPr>
            <a:xfrm>
              <a:off x="6799875" y="3434675"/>
              <a:ext cx="102850" cy="102850"/>
            </a:xfrm>
            <a:custGeom>
              <a:avLst/>
              <a:gdLst/>
              <a:ahLst/>
              <a:cxnLst/>
              <a:rect l="l" t="t" r="r" b="b"/>
              <a:pathLst>
                <a:path w="4114" h="4114" extrusionOk="0">
                  <a:moveTo>
                    <a:pt x="1854" y="0"/>
                  </a:moveTo>
                  <a:lnTo>
                    <a:pt x="1628" y="45"/>
                  </a:lnTo>
                  <a:lnTo>
                    <a:pt x="1447" y="91"/>
                  </a:lnTo>
                  <a:lnTo>
                    <a:pt x="1244" y="159"/>
                  </a:lnTo>
                  <a:lnTo>
                    <a:pt x="1063" y="249"/>
                  </a:lnTo>
                  <a:lnTo>
                    <a:pt x="905" y="362"/>
                  </a:lnTo>
                  <a:lnTo>
                    <a:pt x="746" y="475"/>
                  </a:lnTo>
                  <a:lnTo>
                    <a:pt x="588" y="611"/>
                  </a:lnTo>
                  <a:lnTo>
                    <a:pt x="475" y="746"/>
                  </a:lnTo>
                  <a:lnTo>
                    <a:pt x="340" y="904"/>
                  </a:lnTo>
                  <a:lnTo>
                    <a:pt x="249" y="1085"/>
                  </a:lnTo>
                  <a:lnTo>
                    <a:pt x="159" y="1266"/>
                  </a:lnTo>
                  <a:lnTo>
                    <a:pt x="91" y="1447"/>
                  </a:lnTo>
                  <a:lnTo>
                    <a:pt x="46" y="1650"/>
                  </a:lnTo>
                  <a:lnTo>
                    <a:pt x="1" y="1854"/>
                  </a:lnTo>
                  <a:lnTo>
                    <a:pt x="1" y="2057"/>
                  </a:lnTo>
                  <a:lnTo>
                    <a:pt x="1" y="2260"/>
                  </a:lnTo>
                  <a:lnTo>
                    <a:pt x="46" y="2464"/>
                  </a:lnTo>
                  <a:lnTo>
                    <a:pt x="91" y="2667"/>
                  </a:lnTo>
                  <a:lnTo>
                    <a:pt x="159" y="2871"/>
                  </a:lnTo>
                  <a:lnTo>
                    <a:pt x="249" y="3029"/>
                  </a:lnTo>
                  <a:lnTo>
                    <a:pt x="340" y="3210"/>
                  </a:lnTo>
                  <a:lnTo>
                    <a:pt x="475" y="3368"/>
                  </a:lnTo>
                  <a:lnTo>
                    <a:pt x="588" y="3504"/>
                  </a:lnTo>
                  <a:lnTo>
                    <a:pt x="746" y="3639"/>
                  </a:lnTo>
                  <a:lnTo>
                    <a:pt x="905" y="3775"/>
                  </a:lnTo>
                  <a:lnTo>
                    <a:pt x="1063" y="3865"/>
                  </a:lnTo>
                  <a:lnTo>
                    <a:pt x="1244" y="3956"/>
                  </a:lnTo>
                  <a:lnTo>
                    <a:pt x="1447" y="4023"/>
                  </a:lnTo>
                  <a:lnTo>
                    <a:pt x="1628" y="4069"/>
                  </a:lnTo>
                  <a:lnTo>
                    <a:pt x="1854" y="4114"/>
                  </a:lnTo>
                  <a:lnTo>
                    <a:pt x="2261" y="4114"/>
                  </a:lnTo>
                  <a:lnTo>
                    <a:pt x="2464" y="4069"/>
                  </a:lnTo>
                  <a:lnTo>
                    <a:pt x="2668" y="4023"/>
                  </a:lnTo>
                  <a:lnTo>
                    <a:pt x="2848" y="3956"/>
                  </a:lnTo>
                  <a:lnTo>
                    <a:pt x="3029" y="3865"/>
                  </a:lnTo>
                  <a:lnTo>
                    <a:pt x="3210" y="3775"/>
                  </a:lnTo>
                  <a:lnTo>
                    <a:pt x="3368" y="3639"/>
                  </a:lnTo>
                  <a:lnTo>
                    <a:pt x="3504" y="3504"/>
                  </a:lnTo>
                  <a:lnTo>
                    <a:pt x="3639" y="3368"/>
                  </a:lnTo>
                  <a:lnTo>
                    <a:pt x="3752" y="3210"/>
                  </a:lnTo>
                  <a:lnTo>
                    <a:pt x="3865" y="3029"/>
                  </a:lnTo>
                  <a:lnTo>
                    <a:pt x="3956" y="2871"/>
                  </a:lnTo>
                  <a:lnTo>
                    <a:pt x="4024" y="2667"/>
                  </a:lnTo>
                  <a:lnTo>
                    <a:pt x="4069" y="2464"/>
                  </a:lnTo>
                  <a:lnTo>
                    <a:pt x="4091" y="2260"/>
                  </a:lnTo>
                  <a:lnTo>
                    <a:pt x="4114" y="2057"/>
                  </a:lnTo>
                  <a:lnTo>
                    <a:pt x="4091" y="1854"/>
                  </a:lnTo>
                  <a:lnTo>
                    <a:pt x="4069" y="1650"/>
                  </a:lnTo>
                  <a:lnTo>
                    <a:pt x="4024" y="1447"/>
                  </a:lnTo>
                  <a:lnTo>
                    <a:pt x="3956" y="1266"/>
                  </a:lnTo>
                  <a:lnTo>
                    <a:pt x="3865" y="1085"/>
                  </a:lnTo>
                  <a:lnTo>
                    <a:pt x="3752" y="904"/>
                  </a:lnTo>
                  <a:lnTo>
                    <a:pt x="3639" y="746"/>
                  </a:lnTo>
                  <a:lnTo>
                    <a:pt x="3504" y="611"/>
                  </a:lnTo>
                  <a:lnTo>
                    <a:pt x="3368" y="475"/>
                  </a:lnTo>
                  <a:lnTo>
                    <a:pt x="3210" y="362"/>
                  </a:lnTo>
                  <a:lnTo>
                    <a:pt x="3029" y="249"/>
                  </a:lnTo>
                  <a:lnTo>
                    <a:pt x="2848" y="159"/>
                  </a:lnTo>
                  <a:lnTo>
                    <a:pt x="2668" y="91"/>
                  </a:lnTo>
                  <a:lnTo>
                    <a:pt x="2464" y="45"/>
                  </a:lnTo>
                  <a:lnTo>
                    <a:pt x="2261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37" name="Google Shape;1737;p16"/>
            <p:cNvSpPr/>
            <p:nvPr/>
          </p:nvSpPr>
          <p:spPr>
            <a:xfrm>
              <a:off x="4609225" y="3009775"/>
              <a:ext cx="205150" cy="555450"/>
            </a:xfrm>
            <a:custGeom>
              <a:avLst/>
              <a:gdLst/>
              <a:ahLst/>
              <a:cxnLst/>
              <a:rect l="l" t="t" r="r" b="b"/>
              <a:pathLst>
                <a:path w="8206" h="22218" extrusionOk="0">
                  <a:moveTo>
                    <a:pt x="5086" y="0"/>
                  </a:moveTo>
                  <a:lnTo>
                    <a:pt x="4770" y="1424"/>
                  </a:lnTo>
                  <a:lnTo>
                    <a:pt x="4318" y="3661"/>
                  </a:lnTo>
                  <a:lnTo>
                    <a:pt x="3120" y="9493"/>
                  </a:lnTo>
                  <a:lnTo>
                    <a:pt x="2510" y="12476"/>
                  </a:lnTo>
                  <a:lnTo>
                    <a:pt x="1899" y="15120"/>
                  </a:lnTo>
                  <a:lnTo>
                    <a:pt x="1628" y="16228"/>
                  </a:lnTo>
                  <a:lnTo>
                    <a:pt x="1402" y="17132"/>
                  </a:lnTo>
                  <a:lnTo>
                    <a:pt x="1199" y="17833"/>
                  </a:lnTo>
                  <a:lnTo>
                    <a:pt x="1108" y="18081"/>
                  </a:lnTo>
                  <a:lnTo>
                    <a:pt x="1040" y="18239"/>
                  </a:lnTo>
                  <a:lnTo>
                    <a:pt x="860" y="18556"/>
                  </a:lnTo>
                  <a:lnTo>
                    <a:pt x="679" y="18850"/>
                  </a:lnTo>
                  <a:lnTo>
                    <a:pt x="295" y="19460"/>
                  </a:lnTo>
                  <a:lnTo>
                    <a:pt x="136" y="19731"/>
                  </a:lnTo>
                  <a:lnTo>
                    <a:pt x="46" y="19980"/>
                  </a:lnTo>
                  <a:lnTo>
                    <a:pt x="1" y="20093"/>
                  </a:lnTo>
                  <a:lnTo>
                    <a:pt x="1" y="20206"/>
                  </a:lnTo>
                  <a:lnTo>
                    <a:pt x="1" y="20296"/>
                  </a:lnTo>
                  <a:lnTo>
                    <a:pt x="46" y="20364"/>
                  </a:lnTo>
                  <a:lnTo>
                    <a:pt x="159" y="20522"/>
                  </a:lnTo>
                  <a:lnTo>
                    <a:pt x="272" y="20658"/>
                  </a:lnTo>
                  <a:lnTo>
                    <a:pt x="385" y="20748"/>
                  </a:lnTo>
                  <a:lnTo>
                    <a:pt x="521" y="20839"/>
                  </a:lnTo>
                  <a:lnTo>
                    <a:pt x="634" y="20884"/>
                  </a:lnTo>
                  <a:lnTo>
                    <a:pt x="769" y="20929"/>
                  </a:lnTo>
                  <a:lnTo>
                    <a:pt x="1086" y="20952"/>
                  </a:lnTo>
                  <a:lnTo>
                    <a:pt x="1447" y="20974"/>
                  </a:lnTo>
                  <a:lnTo>
                    <a:pt x="1899" y="21019"/>
                  </a:lnTo>
                  <a:lnTo>
                    <a:pt x="2148" y="21065"/>
                  </a:lnTo>
                  <a:lnTo>
                    <a:pt x="2419" y="21132"/>
                  </a:lnTo>
                  <a:lnTo>
                    <a:pt x="2736" y="21223"/>
                  </a:lnTo>
                  <a:lnTo>
                    <a:pt x="3075" y="21336"/>
                  </a:lnTo>
                  <a:lnTo>
                    <a:pt x="3798" y="21584"/>
                  </a:lnTo>
                  <a:lnTo>
                    <a:pt x="4476" y="21788"/>
                  </a:lnTo>
                  <a:lnTo>
                    <a:pt x="5109" y="21969"/>
                  </a:lnTo>
                  <a:lnTo>
                    <a:pt x="5719" y="22104"/>
                  </a:lnTo>
                  <a:lnTo>
                    <a:pt x="6284" y="22172"/>
                  </a:lnTo>
                  <a:lnTo>
                    <a:pt x="6781" y="22217"/>
                  </a:lnTo>
                  <a:lnTo>
                    <a:pt x="7030" y="22217"/>
                  </a:lnTo>
                  <a:lnTo>
                    <a:pt x="7233" y="22195"/>
                  </a:lnTo>
                  <a:lnTo>
                    <a:pt x="7459" y="22149"/>
                  </a:lnTo>
                  <a:lnTo>
                    <a:pt x="7640" y="22104"/>
                  </a:lnTo>
                  <a:lnTo>
                    <a:pt x="7843" y="21991"/>
                  </a:lnTo>
                  <a:lnTo>
                    <a:pt x="7934" y="21923"/>
                  </a:lnTo>
                  <a:lnTo>
                    <a:pt x="8024" y="21856"/>
                  </a:lnTo>
                  <a:lnTo>
                    <a:pt x="8092" y="21765"/>
                  </a:lnTo>
                  <a:lnTo>
                    <a:pt x="8137" y="21675"/>
                  </a:lnTo>
                  <a:lnTo>
                    <a:pt x="8182" y="21562"/>
                  </a:lnTo>
                  <a:lnTo>
                    <a:pt x="8205" y="21471"/>
                  </a:lnTo>
                  <a:lnTo>
                    <a:pt x="8205" y="21358"/>
                  </a:lnTo>
                  <a:lnTo>
                    <a:pt x="8182" y="21245"/>
                  </a:lnTo>
                  <a:lnTo>
                    <a:pt x="8115" y="21132"/>
                  </a:lnTo>
                  <a:lnTo>
                    <a:pt x="8024" y="21019"/>
                  </a:lnTo>
                  <a:lnTo>
                    <a:pt x="7911" y="20906"/>
                  </a:lnTo>
                  <a:lnTo>
                    <a:pt x="7753" y="20793"/>
                  </a:lnTo>
                  <a:lnTo>
                    <a:pt x="7550" y="20703"/>
                  </a:lnTo>
                  <a:lnTo>
                    <a:pt x="7301" y="20613"/>
                  </a:lnTo>
                  <a:lnTo>
                    <a:pt x="6804" y="20409"/>
                  </a:lnTo>
                  <a:lnTo>
                    <a:pt x="6307" y="20183"/>
                  </a:lnTo>
                  <a:lnTo>
                    <a:pt x="5832" y="19912"/>
                  </a:lnTo>
                  <a:lnTo>
                    <a:pt x="5425" y="19641"/>
                  </a:lnTo>
                  <a:lnTo>
                    <a:pt x="5063" y="19347"/>
                  </a:lnTo>
                  <a:lnTo>
                    <a:pt x="4905" y="19189"/>
                  </a:lnTo>
                  <a:lnTo>
                    <a:pt x="4770" y="19030"/>
                  </a:lnTo>
                  <a:lnTo>
                    <a:pt x="4657" y="18872"/>
                  </a:lnTo>
                  <a:lnTo>
                    <a:pt x="4566" y="18714"/>
                  </a:lnTo>
                  <a:lnTo>
                    <a:pt x="4498" y="18556"/>
                  </a:lnTo>
                  <a:lnTo>
                    <a:pt x="4453" y="18375"/>
                  </a:lnTo>
                  <a:lnTo>
                    <a:pt x="4431" y="18262"/>
                  </a:lnTo>
                  <a:lnTo>
                    <a:pt x="4453" y="18036"/>
                  </a:lnTo>
                  <a:lnTo>
                    <a:pt x="4521" y="17381"/>
                  </a:lnTo>
                  <a:lnTo>
                    <a:pt x="4657" y="16431"/>
                  </a:lnTo>
                  <a:lnTo>
                    <a:pt x="4837" y="15256"/>
                  </a:lnTo>
                  <a:lnTo>
                    <a:pt x="5335" y="12431"/>
                  </a:lnTo>
                  <a:lnTo>
                    <a:pt x="5900" y="9267"/>
                  </a:lnTo>
                  <a:lnTo>
                    <a:pt x="6985" y="3413"/>
                  </a:lnTo>
                  <a:lnTo>
                    <a:pt x="7504" y="791"/>
                  </a:lnTo>
                  <a:lnTo>
                    <a:pt x="5086" y="0"/>
                  </a:lnTo>
                  <a:close/>
                </a:path>
              </a:pathLst>
            </a:custGeom>
            <a:solidFill>
              <a:srgbClr val="3331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38" name="Google Shape;1738;p16"/>
            <p:cNvSpPr/>
            <p:nvPr/>
          </p:nvSpPr>
          <p:spPr>
            <a:xfrm>
              <a:off x="4609225" y="3009775"/>
              <a:ext cx="205150" cy="555450"/>
            </a:xfrm>
            <a:custGeom>
              <a:avLst/>
              <a:gdLst/>
              <a:ahLst/>
              <a:cxnLst/>
              <a:rect l="l" t="t" r="r" b="b"/>
              <a:pathLst>
                <a:path w="8206" h="22218" fill="none" extrusionOk="0">
                  <a:moveTo>
                    <a:pt x="5086" y="0"/>
                  </a:moveTo>
                  <a:lnTo>
                    <a:pt x="5086" y="0"/>
                  </a:lnTo>
                  <a:lnTo>
                    <a:pt x="4770" y="1424"/>
                  </a:lnTo>
                  <a:lnTo>
                    <a:pt x="4318" y="3661"/>
                  </a:lnTo>
                  <a:lnTo>
                    <a:pt x="3120" y="9493"/>
                  </a:lnTo>
                  <a:lnTo>
                    <a:pt x="2510" y="12476"/>
                  </a:lnTo>
                  <a:lnTo>
                    <a:pt x="1899" y="15120"/>
                  </a:lnTo>
                  <a:lnTo>
                    <a:pt x="1628" y="16228"/>
                  </a:lnTo>
                  <a:lnTo>
                    <a:pt x="1402" y="17132"/>
                  </a:lnTo>
                  <a:lnTo>
                    <a:pt x="1199" y="17833"/>
                  </a:lnTo>
                  <a:lnTo>
                    <a:pt x="1108" y="18081"/>
                  </a:lnTo>
                  <a:lnTo>
                    <a:pt x="1040" y="18239"/>
                  </a:lnTo>
                  <a:lnTo>
                    <a:pt x="1040" y="18239"/>
                  </a:lnTo>
                  <a:lnTo>
                    <a:pt x="860" y="18556"/>
                  </a:lnTo>
                  <a:lnTo>
                    <a:pt x="679" y="18850"/>
                  </a:lnTo>
                  <a:lnTo>
                    <a:pt x="295" y="19460"/>
                  </a:lnTo>
                  <a:lnTo>
                    <a:pt x="136" y="19731"/>
                  </a:lnTo>
                  <a:lnTo>
                    <a:pt x="46" y="19980"/>
                  </a:lnTo>
                  <a:lnTo>
                    <a:pt x="1" y="20093"/>
                  </a:lnTo>
                  <a:lnTo>
                    <a:pt x="1" y="20206"/>
                  </a:lnTo>
                  <a:lnTo>
                    <a:pt x="1" y="20296"/>
                  </a:lnTo>
                  <a:lnTo>
                    <a:pt x="46" y="20364"/>
                  </a:lnTo>
                  <a:lnTo>
                    <a:pt x="46" y="20364"/>
                  </a:lnTo>
                  <a:lnTo>
                    <a:pt x="159" y="20522"/>
                  </a:lnTo>
                  <a:lnTo>
                    <a:pt x="272" y="20658"/>
                  </a:lnTo>
                  <a:lnTo>
                    <a:pt x="385" y="20748"/>
                  </a:lnTo>
                  <a:lnTo>
                    <a:pt x="521" y="20839"/>
                  </a:lnTo>
                  <a:lnTo>
                    <a:pt x="634" y="20884"/>
                  </a:lnTo>
                  <a:lnTo>
                    <a:pt x="769" y="20929"/>
                  </a:lnTo>
                  <a:lnTo>
                    <a:pt x="1086" y="20952"/>
                  </a:lnTo>
                  <a:lnTo>
                    <a:pt x="1447" y="20974"/>
                  </a:lnTo>
                  <a:lnTo>
                    <a:pt x="1899" y="21019"/>
                  </a:lnTo>
                  <a:lnTo>
                    <a:pt x="2148" y="21065"/>
                  </a:lnTo>
                  <a:lnTo>
                    <a:pt x="2419" y="21132"/>
                  </a:lnTo>
                  <a:lnTo>
                    <a:pt x="2736" y="21223"/>
                  </a:lnTo>
                  <a:lnTo>
                    <a:pt x="3075" y="21336"/>
                  </a:lnTo>
                  <a:lnTo>
                    <a:pt x="3075" y="21336"/>
                  </a:lnTo>
                  <a:lnTo>
                    <a:pt x="3798" y="21584"/>
                  </a:lnTo>
                  <a:lnTo>
                    <a:pt x="4476" y="21788"/>
                  </a:lnTo>
                  <a:lnTo>
                    <a:pt x="5109" y="21969"/>
                  </a:lnTo>
                  <a:lnTo>
                    <a:pt x="5719" y="22104"/>
                  </a:lnTo>
                  <a:lnTo>
                    <a:pt x="6284" y="22172"/>
                  </a:lnTo>
                  <a:lnTo>
                    <a:pt x="6781" y="22217"/>
                  </a:lnTo>
                  <a:lnTo>
                    <a:pt x="7030" y="22217"/>
                  </a:lnTo>
                  <a:lnTo>
                    <a:pt x="7233" y="22195"/>
                  </a:lnTo>
                  <a:lnTo>
                    <a:pt x="7459" y="22149"/>
                  </a:lnTo>
                  <a:lnTo>
                    <a:pt x="7640" y="22104"/>
                  </a:lnTo>
                  <a:lnTo>
                    <a:pt x="7640" y="22104"/>
                  </a:lnTo>
                  <a:lnTo>
                    <a:pt x="7843" y="21991"/>
                  </a:lnTo>
                  <a:lnTo>
                    <a:pt x="7934" y="21923"/>
                  </a:lnTo>
                  <a:lnTo>
                    <a:pt x="8024" y="21856"/>
                  </a:lnTo>
                  <a:lnTo>
                    <a:pt x="8092" y="21765"/>
                  </a:lnTo>
                  <a:lnTo>
                    <a:pt x="8137" y="21675"/>
                  </a:lnTo>
                  <a:lnTo>
                    <a:pt x="8182" y="21562"/>
                  </a:lnTo>
                  <a:lnTo>
                    <a:pt x="8205" y="21471"/>
                  </a:lnTo>
                  <a:lnTo>
                    <a:pt x="8205" y="21358"/>
                  </a:lnTo>
                  <a:lnTo>
                    <a:pt x="8182" y="21245"/>
                  </a:lnTo>
                  <a:lnTo>
                    <a:pt x="8115" y="21132"/>
                  </a:lnTo>
                  <a:lnTo>
                    <a:pt x="8024" y="21019"/>
                  </a:lnTo>
                  <a:lnTo>
                    <a:pt x="7911" y="20906"/>
                  </a:lnTo>
                  <a:lnTo>
                    <a:pt x="7753" y="20793"/>
                  </a:lnTo>
                  <a:lnTo>
                    <a:pt x="7550" y="20703"/>
                  </a:lnTo>
                  <a:lnTo>
                    <a:pt x="7301" y="20613"/>
                  </a:lnTo>
                  <a:lnTo>
                    <a:pt x="7301" y="20613"/>
                  </a:lnTo>
                  <a:lnTo>
                    <a:pt x="6804" y="20409"/>
                  </a:lnTo>
                  <a:lnTo>
                    <a:pt x="6307" y="20183"/>
                  </a:lnTo>
                  <a:lnTo>
                    <a:pt x="5832" y="19912"/>
                  </a:lnTo>
                  <a:lnTo>
                    <a:pt x="5425" y="19641"/>
                  </a:lnTo>
                  <a:lnTo>
                    <a:pt x="5063" y="19347"/>
                  </a:lnTo>
                  <a:lnTo>
                    <a:pt x="4905" y="19189"/>
                  </a:lnTo>
                  <a:lnTo>
                    <a:pt x="4770" y="19030"/>
                  </a:lnTo>
                  <a:lnTo>
                    <a:pt x="4657" y="18872"/>
                  </a:lnTo>
                  <a:lnTo>
                    <a:pt x="4566" y="18714"/>
                  </a:lnTo>
                  <a:lnTo>
                    <a:pt x="4498" y="18556"/>
                  </a:lnTo>
                  <a:lnTo>
                    <a:pt x="4453" y="18375"/>
                  </a:lnTo>
                  <a:lnTo>
                    <a:pt x="4453" y="18375"/>
                  </a:lnTo>
                  <a:lnTo>
                    <a:pt x="4431" y="18262"/>
                  </a:lnTo>
                  <a:lnTo>
                    <a:pt x="4453" y="18036"/>
                  </a:lnTo>
                  <a:lnTo>
                    <a:pt x="4521" y="17381"/>
                  </a:lnTo>
                  <a:lnTo>
                    <a:pt x="4657" y="16431"/>
                  </a:lnTo>
                  <a:lnTo>
                    <a:pt x="4837" y="15256"/>
                  </a:lnTo>
                  <a:lnTo>
                    <a:pt x="5335" y="12431"/>
                  </a:lnTo>
                  <a:lnTo>
                    <a:pt x="5900" y="9267"/>
                  </a:lnTo>
                  <a:lnTo>
                    <a:pt x="6985" y="3413"/>
                  </a:lnTo>
                  <a:lnTo>
                    <a:pt x="7504" y="791"/>
                  </a:lnTo>
                  <a:lnTo>
                    <a:pt x="508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39" name="Google Shape;1739;p16"/>
            <p:cNvSpPr/>
            <p:nvPr/>
          </p:nvSpPr>
          <p:spPr>
            <a:xfrm>
              <a:off x="4027800" y="2458300"/>
              <a:ext cx="820475" cy="970175"/>
            </a:xfrm>
            <a:custGeom>
              <a:avLst/>
              <a:gdLst/>
              <a:ahLst/>
              <a:cxnLst/>
              <a:rect l="l" t="t" r="r" b="b"/>
              <a:pathLst>
                <a:path w="32819" h="38807" extrusionOk="0">
                  <a:moveTo>
                    <a:pt x="4996" y="0"/>
                  </a:moveTo>
                  <a:lnTo>
                    <a:pt x="4092" y="23"/>
                  </a:lnTo>
                  <a:lnTo>
                    <a:pt x="3233" y="91"/>
                  </a:lnTo>
                  <a:lnTo>
                    <a:pt x="2464" y="158"/>
                  </a:lnTo>
                  <a:lnTo>
                    <a:pt x="1651" y="226"/>
                  </a:lnTo>
                  <a:lnTo>
                    <a:pt x="950" y="294"/>
                  </a:lnTo>
                  <a:lnTo>
                    <a:pt x="408" y="317"/>
                  </a:lnTo>
                  <a:lnTo>
                    <a:pt x="182" y="294"/>
                  </a:lnTo>
                  <a:lnTo>
                    <a:pt x="1" y="271"/>
                  </a:lnTo>
                  <a:lnTo>
                    <a:pt x="204" y="1243"/>
                  </a:lnTo>
                  <a:lnTo>
                    <a:pt x="430" y="2305"/>
                  </a:lnTo>
                  <a:lnTo>
                    <a:pt x="747" y="3571"/>
                  </a:lnTo>
                  <a:lnTo>
                    <a:pt x="950" y="4272"/>
                  </a:lnTo>
                  <a:lnTo>
                    <a:pt x="1154" y="4950"/>
                  </a:lnTo>
                  <a:lnTo>
                    <a:pt x="1380" y="5650"/>
                  </a:lnTo>
                  <a:lnTo>
                    <a:pt x="1628" y="6329"/>
                  </a:lnTo>
                  <a:lnTo>
                    <a:pt x="1877" y="6984"/>
                  </a:lnTo>
                  <a:lnTo>
                    <a:pt x="2171" y="7572"/>
                  </a:lnTo>
                  <a:lnTo>
                    <a:pt x="2464" y="8114"/>
                  </a:lnTo>
                  <a:lnTo>
                    <a:pt x="2623" y="8363"/>
                  </a:lnTo>
                  <a:lnTo>
                    <a:pt x="2781" y="8589"/>
                  </a:lnTo>
                  <a:lnTo>
                    <a:pt x="2894" y="8702"/>
                  </a:lnTo>
                  <a:lnTo>
                    <a:pt x="3120" y="8860"/>
                  </a:lnTo>
                  <a:lnTo>
                    <a:pt x="3414" y="9041"/>
                  </a:lnTo>
                  <a:lnTo>
                    <a:pt x="3775" y="9267"/>
                  </a:lnTo>
                  <a:lnTo>
                    <a:pt x="4679" y="9719"/>
                  </a:lnTo>
                  <a:lnTo>
                    <a:pt x="5855" y="10261"/>
                  </a:lnTo>
                  <a:lnTo>
                    <a:pt x="7233" y="10849"/>
                  </a:lnTo>
                  <a:lnTo>
                    <a:pt x="8770" y="11482"/>
                  </a:lnTo>
                  <a:lnTo>
                    <a:pt x="10443" y="12114"/>
                  </a:lnTo>
                  <a:lnTo>
                    <a:pt x="12206" y="12747"/>
                  </a:lnTo>
                  <a:lnTo>
                    <a:pt x="14059" y="13380"/>
                  </a:lnTo>
                  <a:lnTo>
                    <a:pt x="15912" y="13968"/>
                  </a:lnTo>
                  <a:lnTo>
                    <a:pt x="17788" y="14533"/>
                  </a:lnTo>
                  <a:lnTo>
                    <a:pt x="19596" y="15007"/>
                  </a:lnTo>
                  <a:lnTo>
                    <a:pt x="20500" y="15233"/>
                  </a:lnTo>
                  <a:lnTo>
                    <a:pt x="21359" y="15437"/>
                  </a:lnTo>
                  <a:lnTo>
                    <a:pt x="22195" y="15595"/>
                  </a:lnTo>
                  <a:lnTo>
                    <a:pt x="22987" y="15753"/>
                  </a:lnTo>
                  <a:lnTo>
                    <a:pt x="23755" y="15866"/>
                  </a:lnTo>
                  <a:lnTo>
                    <a:pt x="24478" y="15957"/>
                  </a:lnTo>
                  <a:lnTo>
                    <a:pt x="25179" y="16002"/>
                  </a:lnTo>
                  <a:lnTo>
                    <a:pt x="25812" y="16025"/>
                  </a:lnTo>
                  <a:lnTo>
                    <a:pt x="26015" y="16205"/>
                  </a:lnTo>
                  <a:lnTo>
                    <a:pt x="26196" y="16431"/>
                  </a:lnTo>
                  <a:lnTo>
                    <a:pt x="26354" y="16657"/>
                  </a:lnTo>
                  <a:lnTo>
                    <a:pt x="26512" y="16883"/>
                  </a:lnTo>
                  <a:lnTo>
                    <a:pt x="26648" y="17155"/>
                  </a:lnTo>
                  <a:lnTo>
                    <a:pt x="26784" y="17426"/>
                  </a:lnTo>
                  <a:lnTo>
                    <a:pt x="26897" y="17720"/>
                  </a:lnTo>
                  <a:lnTo>
                    <a:pt x="26987" y="18036"/>
                  </a:lnTo>
                  <a:lnTo>
                    <a:pt x="27055" y="18352"/>
                  </a:lnTo>
                  <a:lnTo>
                    <a:pt x="27123" y="18691"/>
                  </a:lnTo>
                  <a:lnTo>
                    <a:pt x="27190" y="19030"/>
                  </a:lnTo>
                  <a:lnTo>
                    <a:pt x="27236" y="19392"/>
                  </a:lnTo>
                  <a:lnTo>
                    <a:pt x="27281" y="20161"/>
                  </a:lnTo>
                  <a:lnTo>
                    <a:pt x="27303" y="20974"/>
                  </a:lnTo>
                  <a:lnTo>
                    <a:pt x="27281" y="21810"/>
                  </a:lnTo>
                  <a:lnTo>
                    <a:pt x="27213" y="22669"/>
                  </a:lnTo>
                  <a:lnTo>
                    <a:pt x="27123" y="23573"/>
                  </a:lnTo>
                  <a:lnTo>
                    <a:pt x="26987" y="24477"/>
                  </a:lnTo>
                  <a:lnTo>
                    <a:pt x="26851" y="25404"/>
                  </a:lnTo>
                  <a:lnTo>
                    <a:pt x="26693" y="26353"/>
                  </a:lnTo>
                  <a:lnTo>
                    <a:pt x="26309" y="28229"/>
                  </a:lnTo>
                  <a:lnTo>
                    <a:pt x="25902" y="30083"/>
                  </a:lnTo>
                  <a:lnTo>
                    <a:pt x="25495" y="31845"/>
                  </a:lnTo>
                  <a:lnTo>
                    <a:pt x="25111" y="33495"/>
                  </a:lnTo>
                  <a:lnTo>
                    <a:pt x="24772" y="34987"/>
                  </a:lnTo>
                  <a:lnTo>
                    <a:pt x="24636" y="35665"/>
                  </a:lnTo>
                  <a:lnTo>
                    <a:pt x="24523" y="36275"/>
                  </a:lnTo>
                  <a:lnTo>
                    <a:pt x="24456" y="36840"/>
                  </a:lnTo>
                  <a:lnTo>
                    <a:pt x="24388" y="37315"/>
                  </a:lnTo>
                  <a:lnTo>
                    <a:pt x="24388" y="37744"/>
                  </a:lnTo>
                  <a:lnTo>
                    <a:pt x="24410" y="38061"/>
                  </a:lnTo>
                  <a:lnTo>
                    <a:pt x="24433" y="38196"/>
                  </a:lnTo>
                  <a:lnTo>
                    <a:pt x="24478" y="38309"/>
                  </a:lnTo>
                  <a:lnTo>
                    <a:pt x="24523" y="38400"/>
                  </a:lnTo>
                  <a:lnTo>
                    <a:pt x="24591" y="38468"/>
                  </a:lnTo>
                  <a:lnTo>
                    <a:pt x="24795" y="38513"/>
                  </a:lnTo>
                  <a:lnTo>
                    <a:pt x="25292" y="38603"/>
                  </a:lnTo>
                  <a:lnTo>
                    <a:pt x="26015" y="38716"/>
                  </a:lnTo>
                  <a:lnTo>
                    <a:pt x="26445" y="38761"/>
                  </a:lnTo>
                  <a:lnTo>
                    <a:pt x="26874" y="38807"/>
                  </a:lnTo>
                  <a:lnTo>
                    <a:pt x="27710" y="38807"/>
                  </a:lnTo>
                  <a:lnTo>
                    <a:pt x="28117" y="38761"/>
                  </a:lnTo>
                  <a:lnTo>
                    <a:pt x="28479" y="38671"/>
                  </a:lnTo>
                  <a:lnTo>
                    <a:pt x="28637" y="38626"/>
                  </a:lnTo>
                  <a:lnTo>
                    <a:pt x="28795" y="38558"/>
                  </a:lnTo>
                  <a:lnTo>
                    <a:pt x="28908" y="38490"/>
                  </a:lnTo>
                  <a:lnTo>
                    <a:pt x="29044" y="38400"/>
                  </a:lnTo>
                  <a:lnTo>
                    <a:pt x="29134" y="38309"/>
                  </a:lnTo>
                  <a:lnTo>
                    <a:pt x="29225" y="38196"/>
                  </a:lnTo>
                  <a:lnTo>
                    <a:pt x="29270" y="38061"/>
                  </a:lnTo>
                  <a:lnTo>
                    <a:pt x="29315" y="37925"/>
                  </a:lnTo>
                  <a:lnTo>
                    <a:pt x="29383" y="37609"/>
                  </a:lnTo>
                  <a:lnTo>
                    <a:pt x="29586" y="36818"/>
                  </a:lnTo>
                  <a:lnTo>
                    <a:pt x="30287" y="34083"/>
                  </a:lnTo>
                  <a:lnTo>
                    <a:pt x="30716" y="32252"/>
                  </a:lnTo>
                  <a:lnTo>
                    <a:pt x="31191" y="30218"/>
                  </a:lnTo>
                  <a:lnTo>
                    <a:pt x="31643" y="28003"/>
                  </a:lnTo>
                  <a:lnTo>
                    <a:pt x="31846" y="26851"/>
                  </a:lnTo>
                  <a:lnTo>
                    <a:pt x="32050" y="25698"/>
                  </a:lnTo>
                  <a:lnTo>
                    <a:pt x="32253" y="24523"/>
                  </a:lnTo>
                  <a:lnTo>
                    <a:pt x="32411" y="23347"/>
                  </a:lnTo>
                  <a:lnTo>
                    <a:pt x="32547" y="22195"/>
                  </a:lnTo>
                  <a:lnTo>
                    <a:pt x="32660" y="21042"/>
                  </a:lnTo>
                  <a:lnTo>
                    <a:pt x="32750" y="19889"/>
                  </a:lnTo>
                  <a:lnTo>
                    <a:pt x="32818" y="18804"/>
                  </a:lnTo>
                  <a:lnTo>
                    <a:pt x="32818" y="17720"/>
                  </a:lnTo>
                  <a:lnTo>
                    <a:pt x="32796" y="16703"/>
                  </a:lnTo>
                  <a:lnTo>
                    <a:pt x="32728" y="15731"/>
                  </a:lnTo>
                  <a:lnTo>
                    <a:pt x="32660" y="15279"/>
                  </a:lnTo>
                  <a:lnTo>
                    <a:pt x="32592" y="14827"/>
                  </a:lnTo>
                  <a:lnTo>
                    <a:pt x="32524" y="14397"/>
                  </a:lnTo>
                  <a:lnTo>
                    <a:pt x="32411" y="13968"/>
                  </a:lnTo>
                  <a:lnTo>
                    <a:pt x="32321" y="13584"/>
                  </a:lnTo>
                  <a:lnTo>
                    <a:pt x="32185" y="13199"/>
                  </a:lnTo>
                  <a:lnTo>
                    <a:pt x="32050" y="12860"/>
                  </a:lnTo>
                  <a:lnTo>
                    <a:pt x="31891" y="12521"/>
                  </a:lnTo>
                  <a:lnTo>
                    <a:pt x="31733" y="12205"/>
                  </a:lnTo>
                  <a:lnTo>
                    <a:pt x="31552" y="11911"/>
                  </a:lnTo>
                  <a:lnTo>
                    <a:pt x="31349" y="11662"/>
                  </a:lnTo>
                  <a:lnTo>
                    <a:pt x="31123" y="11414"/>
                  </a:lnTo>
                  <a:lnTo>
                    <a:pt x="30874" y="11210"/>
                  </a:lnTo>
                  <a:lnTo>
                    <a:pt x="30626" y="11030"/>
                  </a:lnTo>
                  <a:lnTo>
                    <a:pt x="30038" y="10668"/>
                  </a:lnTo>
                  <a:lnTo>
                    <a:pt x="29179" y="10171"/>
                  </a:lnTo>
                  <a:lnTo>
                    <a:pt x="26851" y="8905"/>
                  </a:lnTo>
                  <a:lnTo>
                    <a:pt x="23913" y="7368"/>
                  </a:lnTo>
                  <a:lnTo>
                    <a:pt x="20681" y="5696"/>
                  </a:lnTo>
                  <a:lnTo>
                    <a:pt x="17381" y="4068"/>
                  </a:lnTo>
                  <a:lnTo>
                    <a:pt x="14330" y="2577"/>
                  </a:lnTo>
                  <a:lnTo>
                    <a:pt x="12997" y="1944"/>
                  </a:lnTo>
                  <a:lnTo>
                    <a:pt x="11799" y="1424"/>
                  </a:lnTo>
                  <a:lnTo>
                    <a:pt x="10827" y="995"/>
                  </a:lnTo>
                  <a:lnTo>
                    <a:pt x="10081" y="723"/>
                  </a:lnTo>
                  <a:lnTo>
                    <a:pt x="9539" y="565"/>
                  </a:lnTo>
                  <a:lnTo>
                    <a:pt x="9019" y="407"/>
                  </a:lnTo>
                  <a:lnTo>
                    <a:pt x="8499" y="294"/>
                  </a:lnTo>
                  <a:lnTo>
                    <a:pt x="7979" y="204"/>
                  </a:lnTo>
                  <a:lnTo>
                    <a:pt x="7459" y="136"/>
                  </a:lnTo>
                  <a:lnTo>
                    <a:pt x="6940" y="68"/>
                  </a:lnTo>
                  <a:lnTo>
                    <a:pt x="6442" y="23"/>
                  </a:lnTo>
                  <a:lnTo>
                    <a:pt x="5945" y="0"/>
                  </a:lnTo>
                  <a:close/>
                </a:path>
              </a:pathLst>
            </a:custGeom>
            <a:solidFill>
              <a:srgbClr val="D9385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40" name="Google Shape;1740;p16"/>
            <p:cNvSpPr/>
            <p:nvPr/>
          </p:nvSpPr>
          <p:spPr>
            <a:xfrm>
              <a:off x="4027800" y="2458300"/>
              <a:ext cx="820475" cy="970175"/>
            </a:xfrm>
            <a:custGeom>
              <a:avLst/>
              <a:gdLst/>
              <a:ahLst/>
              <a:cxnLst/>
              <a:rect l="l" t="t" r="r" b="b"/>
              <a:pathLst>
                <a:path w="32819" h="38807" fill="none" extrusionOk="0">
                  <a:moveTo>
                    <a:pt x="1" y="271"/>
                  </a:moveTo>
                  <a:lnTo>
                    <a:pt x="1" y="271"/>
                  </a:lnTo>
                  <a:lnTo>
                    <a:pt x="182" y="294"/>
                  </a:lnTo>
                  <a:lnTo>
                    <a:pt x="408" y="317"/>
                  </a:lnTo>
                  <a:lnTo>
                    <a:pt x="950" y="294"/>
                  </a:lnTo>
                  <a:lnTo>
                    <a:pt x="1651" y="226"/>
                  </a:lnTo>
                  <a:lnTo>
                    <a:pt x="2464" y="158"/>
                  </a:lnTo>
                  <a:lnTo>
                    <a:pt x="2464" y="158"/>
                  </a:lnTo>
                  <a:lnTo>
                    <a:pt x="3233" y="91"/>
                  </a:lnTo>
                  <a:lnTo>
                    <a:pt x="4092" y="23"/>
                  </a:lnTo>
                  <a:lnTo>
                    <a:pt x="4996" y="0"/>
                  </a:lnTo>
                  <a:lnTo>
                    <a:pt x="5945" y="0"/>
                  </a:lnTo>
                  <a:lnTo>
                    <a:pt x="6442" y="23"/>
                  </a:lnTo>
                  <a:lnTo>
                    <a:pt x="6940" y="68"/>
                  </a:lnTo>
                  <a:lnTo>
                    <a:pt x="7459" y="136"/>
                  </a:lnTo>
                  <a:lnTo>
                    <a:pt x="7979" y="204"/>
                  </a:lnTo>
                  <a:lnTo>
                    <a:pt x="8499" y="294"/>
                  </a:lnTo>
                  <a:lnTo>
                    <a:pt x="9019" y="407"/>
                  </a:lnTo>
                  <a:lnTo>
                    <a:pt x="9539" y="565"/>
                  </a:lnTo>
                  <a:lnTo>
                    <a:pt x="10081" y="723"/>
                  </a:lnTo>
                  <a:lnTo>
                    <a:pt x="10081" y="723"/>
                  </a:lnTo>
                  <a:lnTo>
                    <a:pt x="10827" y="995"/>
                  </a:lnTo>
                  <a:lnTo>
                    <a:pt x="11799" y="1424"/>
                  </a:lnTo>
                  <a:lnTo>
                    <a:pt x="12997" y="1944"/>
                  </a:lnTo>
                  <a:lnTo>
                    <a:pt x="14330" y="2577"/>
                  </a:lnTo>
                  <a:lnTo>
                    <a:pt x="17381" y="4068"/>
                  </a:lnTo>
                  <a:lnTo>
                    <a:pt x="20681" y="5696"/>
                  </a:lnTo>
                  <a:lnTo>
                    <a:pt x="23913" y="7368"/>
                  </a:lnTo>
                  <a:lnTo>
                    <a:pt x="26851" y="8905"/>
                  </a:lnTo>
                  <a:lnTo>
                    <a:pt x="29179" y="10171"/>
                  </a:lnTo>
                  <a:lnTo>
                    <a:pt x="30038" y="10668"/>
                  </a:lnTo>
                  <a:lnTo>
                    <a:pt x="30626" y="11030"/>
                  </a:lnTo>
                  <a:lnTo>
                    <a:pt x="30626" y="11030"/>
                  </a:lnTo>
                  <a:lnTo>
                    <a:pt x="30874" y="11210"/>
                  </a:lnTo>
                  <a:lnTo>
                    <a:pt x="31123" y="11414"/>
                  </a:lnTo>
                  <a:lnTo>
                    <a:pt x="31349" y="11662"/>
                  </a:lnTo>
                  <a:lnTo>
                    <a:pt x="31552" y="11911"/>
                  </a:lnTo>
                  <a:lnTo>
                    <a:pt x="31733" y="12205"/>
                  </a:lnTo>
                  <a:lnTo>
                    <a:pt x="31891" y="12521"/>
                  </a:lnTo>
                  <a:lnTo>
                    <a:pt x="32050" y="12860"/>
                  </a:lnTo>
                  <a:lnTo>
                    <a:pt x="32185" y="13199"/>
                  </a:lnTo>
                  <a:lnTo>
                    <a:pt x="32321" y="13584"/>
                  </a:lnTo>
                  <a:lnTo>
                    <a:pt x="32411" y="13968"/>
                  </a:lnTo>
                  <a:lnTo>
                    <a:pt x="32524" y="14397"/>
                  </a:lnTo>
                  <a:lnTo>
                    <a:pt x="32592" y="14827"/>
                  </a:lnTo>
                  <a:lnTo>
                    <a:pt x="32660" y="15279"/>
                  </a:lnTo>
                  <a:lnTo>
                    <a:pt x="32728" y="15731"/>
                  </a:lnTo>
                  <a:lnTo>
                    <a:pt x="32796" y="16703"/>
                  </a:lnTo>
                  <a:lnTo>
                    <a:pt x="32818" y="17720"/>
                  </a:lnTo>
                  <a:lnTo>
                    <a:pt x="32818" y="18804"/>
                  </a:lnTo>
                  <a:lnTo>
                    <a:pt x="32750" y="19889"/>
                  </a:lnTo>
                  <a:lnTo>
                    <a:pt x="32660" y="21042"/>
                  </a:lnTo>
                  <a:lnTo>
                    <a:pt x="32547" y="22195"/>
                  </a:lnTo>
                  <a:lnTo>
                    <a:pt x="32411" y="23347"/>
                  </a:lnTo>
                  <a:lnTo>
                    <a:pt x="32253" y="24523"/>
                  </a:lnTo>
                  <a:lnTo>
                    <a:pt x="32050" y="25698"/>
                  </a:lnTo>
                  <a:lnTo>
                    <a:pt x="31846" y="26851"/>
                  </a:lnTo>
                  <a:lnTo>
                    <a:pt x="31643" y="28003"/>
                  </a:lnTo>
                  <a:lnTo>
                    <a:pt x="31191" y="30218"/>
                  </a:lnTo>
                  <a:lnTo>
                    <a:pt x="30716" y="32252"/>
                  </a:lnTo>
                  <a:lnTo>
                    <a:pt x="30287" y="34083"/>
                  </a:lnTo>
                  <a:lnTo>
                    <a:pt x="29586" y="36818"/>
                  </a:lnTo>
                  <a:lnTo>
                    <a:pt x="29383" y="37609"/>
                  </a:lnTo>
                  <a:lnTo>
                    <a:pt x="29315" y="37925"/>
                  </a:lnTo>
                  <a:lnTo>
                    <a:pt x="29315" y="37925"/>
                  </a:lnTo>
                  <a:lnTo>
                    <a:pt x="29270" y="38061"/>
                  </a:lnTo>
                  <a:lnTo>
                    <a:pt x="29225" y="38196"/>
                  </a:lnTo>
                  <a:lnTo>
                    <a:pt x="29134" y="38309"/>
                  </a:lnTo>
                  <a:lnTo>
                    <a:pt x="29044" y="38400"/>
                  </a:lnTo>
                  <a:lnTo>
                    <a:pt x="28908" y="38490"/>
                  </a:lnTo>
                  <a:lnTo>
                    <a:pt x="28795" y="38558"/>
                  </a:lnTo>
                  <a:lnTo>
                    <a:pt x="28637" y="38626"/>
                  </a:lnTo>
                  <a:lnTo>
                    <a:pt x="28479" y="38671"/>
                  </a:lnTo>
                  <a:lnTo>
                    <a:pt x="28117" y="38761"/>
                  </a:lnTo>
                  <a:lnTo>
                    <a:pt x="27710" y="38807"/>
                  </a:lnTo>
                  <a:lnTo>
                    <a:pt x="27281" y="38807"/>
                  </a:lnTo>
                  <a:lnTo>
                    <a:pt x="26874" y="38807"/>
                  </a:lnTo>
                  <a:lnTo>
                    <a:pt x="26445" y="38761"/>
                  </a:lnTo>
                  <a:lnTo>
                    <a:pt x="26015" y="38716"/>
                  </a:lnTo>
                  <a:lnTo>
                    <a:pt x="25292" y="38603"/>
                  </a:lnTo>
                  <a:lnTo>
                    <a:pt x="24795" y="38513"/>
                  </a:lnTo>
                  <a:lnTo>
                    <a:pt x="24591" y="38468"/>
                  </a:lnTo>
                  <a:lnTo>
                    <a:pt x="24591" y="38468"/>
                  </a:lnTo>
                  <a:lnTo>
                    <a:pt x="24523" y="38400"/>
                  </a:lnTo>
                  <a:lnTo>
                    <a:pt x="24478" y="38309"/>
                  </a:lnTo>
                  <a:lnTo>
                    <a:pt x="24433" y="38196"/>
                  </a:lnTo>
                  <a:lnTo>
                    <a:pt x="24410" y="38061"/>
                  </a:lnTo>
                  <a:lnTo>
                    <a:pt x="24388" y="37744"/>
                  </a:lnTo>
                  <a:lnTo>
                    <a:pt x="24388" y="37315"/>
                  </a:lnTo>
                  <a:lnTo>
                    <a:pt x="24456" y="36840"/>
                  </a:lnTo>
                  <a:lnTo>
                    <a:pt x="24523" y="36275"/>
                  </a:lnTo>
                  <a:lnTo>
                    <a:pt x="24636" y="35665"/>
                  </a:lnTo>
                  <a:lnTo>
                    <a:pt x="24772" y="34987"/>
                  </a:lnTo>
                  <a:lnTo>
                    <a:pt x="25111" y="33495"/>
                  </a:lnTo>
                  <a:lnTo>
                    <a:pt x="25495" y="31845"/>
                  </a:lnTo>
                  <a:lnTo>
                    <a:pt x="25902" y="30083"/>
                  </a:lnTo>
                  <a:lnTo>
                    <a:pt x="26309" y="28229"/>
                  </a:lnTo>
                  <a:lnTo>
                    <a:pt x="26693" y="26353"/>
                  </a:lnTo>
                  <a:lnTo>
                    <a:pt x="26851" y="25404"/>
                  </a:lnTo>
                  <a:lnTo>
                    <a:pt x="26987" y="24477"/>
                  </a:lnTo>
                  <a:lnTo>
                    <a:pt x="27123" y="23573"/>
                  </a:lnTo>
                  <a:lnTo>
                    <a:pt x="27213" y="22669"/>
                  </a:lnTo>
                  <a:lnTo>
                    <a:pt x="27281" y="21810"/>
                  </a:lnTo>
                  <a:lnTo>
                    <a:pt x="27303" y="20974"/>
                  </a:lnTo>
                  <a:lnTo>
                    <a:pt x="27281" y="20161"/>
                  </a:lnTo>
                  <a:lnTo>
                    <a:pt x="27236" y="19392"/>
                  </a:lnTo>
                  <a:lnTo>
                    <a:pt x="27190" y="19030"/>
                  </a:lnTo>
                  <a:lnTo>
                    <a:pt x="27123" y="18691"/>
                  </a:lnTo>
                  <a:lnTo>
                    <a:pt x="27055" y="18352"/>
                  </a:lnTo>
                  <a:lnTo>
                    <a:pt x="26987" y="18036"/>
                  </a:lnTo>
                  <a:lnTo>
                    <a:pt x="26897" y="17720"/>
                  </a:lnTo>
                  <a:lnTo>
                    <a:pt x="26784" y="17426"/>
                  </a:lnTo>
                  <a:lnTo>
                    <a:pt x="26648" y="17155"/>
                  </a:lnTo>
                  <a:lnTo>
                    <a:pt x="26512" y="16883"/>
                  </a:lnTo>
                  <a:lnTo>
                    <a:pt x="26354" y="16657"/>
                  </a:lnTo>
                  <a:lnTo>
                    <a:pt x="26196" y="16431"/>
                  </a:lnTo>
                  <a:lnTo>
                    <a:pt x="26015" y="16205"/>
                  </a:lnTo>
                  <a:lnTo>
                    <a:pt x="25812" y="16025"/>
                  </a:lnTo>
                  <a:lnTo>
                    <a:pt x="25812" y="16025"/>
                  </a:lnTo>
                  <a:lnTo>
                    <a:pt x="25179" y="16002"/>
                  </a:lnTo>
                  <a:lnTo>
                    <a:pt x="24478" y="15957"/>
                  </a:lnTo>
                  <a:lnTo>
                    <a:pt x="23755" y="15866"/>
                  </a:lnTo>
                  <a:lnTo>
                    <a:pt x="22987" y="15753"/>
                  </a:lnTo>
                  <a:lnTo>
                    <a:pt x="22195" y="15595"/>
                  </a:lnTo>
                  <a:lnTo>
                    <a:pt x="21359" y="15437"/>
                  </a:lnTo>
                  <a:lnTo>
                    <a:pt x="20500" y="15233"/>
                  </a:lnTo>
                  <a:lnTo>
                    <a:pt x="19596" y="15007"/>
                  </a:lnTo>
                  <a:lnTo>
                    <a:pt x="17788" y="14533"/>
                  </a:lnTo>
                  <a:lnTo>
                    <a:pt x="15912" y="13968"/>
                  </a:lnTo>
                  <a:lnTo>
                    <a:pt x="14059" y="13380"/>
                  </a:lnTo>
                  <a:lnTo>
                    <a:pt x="12206" y="12747"/>
                  </a:lnTo>
                  <a:lnTo>
                    <a:pt x="10443" y="12114"/>
                  </a:lnTo>
                  <a:lnTo>
                    <a:pt x="8770" y="11482"/>
                  </a:lnTo>
                  <a:lnTo>
                    <a:pt x="7233" y="10849"/>
                  </a:lnTo>
                  <a:lnTo>
                    <a:pt x="5855" y="10261"/>
                  </a:lnTo>
                  <a:lnTo>
                    <a:pt x="4679" y="9719"/>
                  </a:lnTo>
                  <a:lnTo>
                    <a:pt x="3775" y="9267"/>
                  </a:lnTo>
                  <a:lnTo>
                    <a:pt x="3414" y="9041"/>
                  </a:lnTo>
                  <a:lnTo>
                    <a:pt x="3120" y="8860"/>
                  </a:lnTo>
                  <a:lnTo>
                    <a:pt x="2894" y="8702"/>
                  </a:lnTo>
                  <a:lnTo>
                    <a:pt x="2781" y="8589"/>
                  </a:lnTo>
                  <a:lnTo>
                    <a:pt x="2781" y="8589"/>
                  </a:lnTo>
                  <a:lnTo>
                    <a:pt x="2623" y="8363"/>
                  </a:lnTo>
                  <a:lnTo>
                    <a:pt x="2464" y="8114"/>
                  </a:lnTo>
                  <a:lnTo>
                    <a:pt x="2171" y="7572"/>
                  </a:lnTo>
                  <a:lnTo>
                    <a:pt x="1877" y="6984"/>
                  </a:lnTo>
                  <a:lnTo>
                    <a:pt x="1628" y="6329"/>
                  </a:lnTo>
                  <a:lnTo>
                    <a:pt x="1380" y="5650"/>
                  </a:lnTo>
                  <a:lnTo>
                    <a:pt x="1154" y="4950"/>
                  </a:lnTo>
                  <a:lnTo>
                    <a:pt x="950" y="4272"/>
                  </a:lnTo>
                  <a:lnTo>
                    <a:pt x="747" y="3571"/>
                  </a:lnTo>
                  <a:lnTo>
                    <a:pt x="430" y="2305"/>
                  </a:lnTo>
                  <a:lnTo>
                    <a:pt x="204" y="1243"/>
                  </a:lnTo>
                  <a:lnTo>
                    <a:pt x="1" y="27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41" name="Google Shape;1741;p16"/>
            <p:cNvSpPr/>
            <p:nvPr/>
          </p:nvSpPr>
          <p:spPr>
            <a:xfrm>
              <a:off x="4029500" y="2461675"/>
              <a:ext cx="818775" cy="966800"/>
            </a:xfrm>
            <a:custGeom>
              <a:avLst/>
              <a:gdLst/>
              <a:ahLst/>
              <a:cxnLst/>
              <a:rect l="l" t="t" r="r" b="b"/>
              <a:pathLst>
                <a:path w="32751" h="38672" extrusionOk="0">
                  <a:moveTo>
                    <a:pt x="2532" y="1"/>
                  </a:moveTo>
                  <a:lnTo>
                    <a:pt x="2396" y="23"/>
                  </a:lnTo>
                  <a:lnTo>
                    <a:pt x="1628" y="91"/>
                  </a:lnTo>
                  <a:lnTo>
                    <a:pt x="1221" y="159"/>
                  </a:lnTo>
                  <a:lnTo>
                    <a:pt x="792" y="249"/>
                  </a:lnTo>
                  <a:lnTo>
                    <a:pt x="1" y="430"/>
                  </a:lnTo>
                  <a:lnTo>
                    <a:pt x="114" y="1040"/>
                  </a:lnTo>
                  <a:lnTo>
                    <a:pt x="317" y="1922"/>
                  </a:lnTo>
                  <a:lnTo>
                    <a:pt x="566" y="3007"/>
                  </a:lnTo>
                  <a:lnTo>
                    <a:pt x="882" y="4182"/>
                  </a:lnTo>
                  <a:lnTo>
                    <a:pt x="1063" y="4770"/>
                  </a:lnTo>
                  <a:lnTo>
                    <a:pt x="1266" y="5380"/>
                  </a:lnTo>
                  <a:lnTo>
                    <a:pt x="1470" y="5968"/>
                  </a:lnTo>
                  <a:lnTo>
                    <a:pt x="1696" y="6533"/>
                  </a:lnTo>
                  <a:lnTo>
                    <a:pt x="1922" y="7098"/>
                  </a:lnTo>
                  <a:lnTo>
                    <a:pt x="2170" y="7595"/>
                  </a:lnTo>
                  <a:lnTo>
                    <a:pt x="2442" y="8047"/>
                  </a:lnTo>
                  <a:lnTo>
                    <a:pt x="2713" y="8454"/>
                  </a:lnTo>
                  <a:lnTo>
                    <a:pt x="2826" y="8567"/>
                  </a:lnTo>
                  <a:lnTo>
                    <a:pt x="3052" y="8725"/>
                  </a:lnTo>
                  <a:lnTo>
                    <a:pt x="3346" y="8906"/>
                  </a:lnTo>
                  <a:lnTo>
                    <a:pt x="3707" y="9132"/>
                  </a:lnTo>
                  <a:lnTo>
                    <a:pt x="4611" y="9584"/>
                  </a:lnTo>
                  <a:lnTo>
                    <a:pt x="5787" y="10126"/>
                  </a:lnTo>
                  <a:lnTo>
                    <a:pt x="7165" y="10714"/>
                  </a:lnTo>
                  <a:lnTo>
                    <a:pt x="8702" y="11347"/>
                  </a:lnTo>
                  <a:lnTo>
                    <a:pt x="10375" y="11979"/>
                  </a:lnTo>
                  <a:lnTo>
                    <a:pt x="12138" y="12612"/>
                  </a:lnTo>
                  <a:lnTo>
                    <a:pt x="13991" y="13245"/>
                  </a:lnTo>
                  <a:lnTo>
                    <a:pt x="15844" y="13833"/>
                  </a:lnTo>
                  <a:lnTo>
                    <a:pt x="17720" y="14398"/>
                  </a:lnTo>
                  <a:lnTo>
                    <a:pt x="19528" y="14872"/>
                  </a:lnTo>
                  <a:lnTo>
                    <a:pt x="20432" y="15098"/>
                  </a:lnTo>
                  <a:lnTo>
                    <a:pt x="21291" y="15302"/>
                  </a:lnTo>
                  <a:lnTo>
                    <a:pt x="22127" y="15460"/>
                  </a:lnTo>
                  <a:lnTo>
                    <a:pt x="22919" y="15618"/>
                  </a:lnTo>
                  <a:lnTo>
                    <a:pt x="23687" y="15731"/>
                  </a:lnTo>
                  <a:lnTo>
                    <a:pt x="24410" y="15822"/>
                  </a:lnTo>
                  <a:lnTo>
                    <a:pt x="25111" y="15867"/>
                  </a:lnTo>
                  <a:lnTo>
                    <a:pt x="25744" y="15890"/>
                  </a:lnTo>
                  <a:lnTo>
                    <a:pt x="25925" y="16070"/>
                  </a:lnTo>
                  <a:lnTo>
                    <a:pt x="26105" y="16274"/>
                  </a:lnTo>
                  <a:lnTo>
                    <a:pt x="26286" y="16500"/>
                  </a:lnTo>
                  <a:lnTo>
                    <a:pt x="26422" y="16726"/>
                  </a:lnTo>
                  <a:lnTo>
                    <a:pt x="26580" y="16974"/>
                  </a:lnTo>
                  <a:lnTo>
                    <a:pt x="26693" y="17246"/>
                  </a:lnTo>
                  <a:lnTo>
                    <a:pt x="26806" y="17539"/>
                  </a:lnTo>
                  <a:lnTo>
                    <a:pt x="26896" y="17833"/>
                  </a:lnTo>
                  <a:lnTo>
                    <a:pt x="26987" y="18150"/>
                  </a:lnTo>
                  <a:lnTo>
                    <a:pt x="27055" y="18466"/>
                  </a:lnTo>
                  <a:lnTo>
                    <a:pt x="27145" y="19144"/>
                  </a:lnTo>
                  <a:lnTo>
                    <a:pt x="27213" y="19890"/>
                  </a:lnTo>
                  <a:lnTo>
                    <a:pt x="27235" y="20658"/>
                  </a:lnTo>
                  <a:lnTo>
                    <a:pt x="27213" y="21201"/>
                  </a:lnTo>
                  <a:lnTo>
                    <a:pt x="27190" y="21766"/>
                  </a:lnTo>
                  <a:lnTo>
                    <a:pt x="27100" y="22919"/>
                  </a:lnTo>
                  <a:lnTo>
                    <a:pt x="26964" y="24094"/>
                  </a:lnTo>
                  <a:lnTo>
                    <a:pt x="26783" y="25314"/>
                  </a:lnTo>
                  <a:lnTo>
                    <a:pt x="26557" y="26557"/>
                  </a:lnTo>
                  <a:lnTo>
                    <a:pt x="26309" y="27800"/>
                  </a:lnTo>
                  <a:lnTo>
                    <a:pt x="26038" y="29021"/>
                  </a:lnTo>
                  <a:lnTo>
                    <a:pt x="25766" y="30219"/>
                  </a:lnTo>
                  <a:lnTo>
                    <a:pt x="25246" y="32502"/>
                  </a:lnTo>
                  <a:lnTo>
                    <a:pt x="24772" y="34558"/>
                  </a:lnTo>
                  <a:lnTo>
                    <a:pt x="24591" y="35462"/>
                  </a:lnTo>
                  <a:lnTo>
                    <a:pt x="24433" y="36276"/>
                  </a:lnTo>
                  <a:lnTo>
                    <a:pt x="24342" y="36954"/>
                  </a:lnTo>
                  <a:lnTo>
                    <a:pt x="24320" y="37270"/>
                  </a:lnTo>
                  <a:lnTo>
                    <a:pt x="24320" y="37542"/>
                  </a:lnTo>
                  <a:lnTo>
                    <a:pt x="24320" y="37813"/>
                  </a:lnTo>
                  <a:lnTo>
                    <a:pt x="24365" y="38039"/>
                  </a:lnTo>
                  <a:lnTo>
                    <a:pt x="24433" y="38220"/>
                  </a:lnTo>
                  <a:lnTo>
                    <a:pt x="24478" y="38287"/>
                  </a:lnTo>
                  <a:lnTo>
                    <a:pt x="24523" y="38333"/>
                  </a:lnTo>
                  <a:lnTo>
                    <a:pt x="24772" y="38400"/>
                  </a:lnTo>
                  <a:lnTo>
                    <a:pt x="25405" y="38513"/>
                  </a:lnTo>
                  <a:lnTo>
                    <a:pt x="25834" y="38559"/>
                  </a:lnTo>
                  <a:lnTo>
                    <a:pt x="26286" y="38626"/>
                  </a:lnTo>
                  <a:lnTo>
                    <a:pt x="26761" y="38649"/>
                  </a:lnTo>
                  <a:lnTo>
                    <a:pt x="27258" y="38672"/>
                  </a:lnTo>
                  <a:lnTo>
                    <a:pt x="27620" y="38672"/>
                  </a:lnTo>
                  <a:lnTo>
                    <a:pt x="27959" y="38626"/>
                  </a:lnTo>
                  <a:lnTo>
                    <a:pt x="28275" y="38581"/>
                  </a:lnTo>
                  <a:lnTo>
                    <a:pt x="28569" y="38491"/>
                  </a:lnTo>
                  <a:lnTo>
                    <a:pt x="28818" y="38378"/>
                  </a:lnTo>
                  <a:lnTo>
                    <a:pt x="28931" y="38287"/>
                  </a:lnTo>
                  <a:lnTo>
                    <a:pt x="29021" y="38220"/>
                  </a:lnTo>
                  <a:lnTo>
                    <a:pt x="29111" y="38129"/>
                  </a:lnTo>
                  <a:lnTo>
                    <a:pt x="29157" y="38016"/>
                  </a:lnTo>
                  <a:lnTo>
                    <a:pt x="29224" y="37903"/>
                  </a:lnTo>
                  <a:lnTo>
                    <a:pt x="29247" y="37790"/>
                  </a:lnTo>
                  <a:lnTo>
                    <a:pt x="29247" y="37768"/>
                  </a:lnTo>
                  <a:lnTo>
                    <a:pt x="29292" y="37564"/>
                  </a:lnTo>
                  <a:lnTo>
                    <a:pt x="29383" y="37112"/>
                  </a:lnTo>
                  <a:lnTo>
                    <a:pt x="29789" y="35598"/>
                  </a:lnTo>
                  <a:lnTo>
                    <a:pt x="30354" y="33360"/>
                  </a:lnTo>
                  <a:lnTo>
                    <a:pt x="30671" y="32049"/>
                  </a:lnTo>
                  <a:lnTo>
                    <a:pt x="30987" y="30603"/>
                  </a:lnTo>
                  <a:lnTo>
                    <a:pt x="31326" y="29089"/>
                  </a:lnTo>
                  <a:lnTo>
                    <a:pt x="31643" y="27484"/>
                  </a:lnTo>
                  <a:lnTo>
                    <a:pt x="31937" y="25857"/>
                  </a:lnTo>
                  <a:lnTo>
                    <a:pt x="32208" y="24207"/>
                  </a:lnTo>
                  <a:lnTo>
                    <a:pt x="32434" y="22534"/>
                  </a:lnTo>
                  <a:lnTo>
                    <a:pt x="32592" y="20907"/>
                  </a:lnTo>
                  <a:lnTo>
                    <a:pt x="32660" y="20093"/>
                  </a:lnTo>
                  <a:lnTo>
                    <a:pt x="32705" y="19302"/>
                  </a:lnTo>
                  <a:lnTo>
                    <a:pt x="32750" y="18534"/>
                  </a:lnTo>
                  <a:lnTo>
                    <a:pt x="32750" y="17765"/>
                  </a:lnTo>
                  <a:lnTo>
                    <a:pt x="32728" y="16771"/>
                  </a:lnTo>
                  <a:lnTo>
                    <a:pt x="32660" y="15799"/>
                  </a:lnTo>
                  <a:lnTo>
                    <a:pt x="32615" y="15347"/>
                  </a:lnTo>
                  <a:lnTo>
                    <a:pt x="32569" y="14895"/>
                  </a:lnTo>
                  <a:lnTo>
                    <a:pt x="32502" y="14466"/>
                  </a:lnTo>
                  <a:lnTo>
                    <a:pt x="32411" y="14059"/>
                  </a:lnTo>
                  <a:lnTo>
                    <a:pt x="32298" y="13675"/>
                  </a:lnTo>
                  <a:lnTo>
                    <a:pt x="32208" y="13313"/>
                  </a:lnTo>
                  <a:lnTo>
                    <a:pt x="32072" y="12951"/>
                  </a:lnTo>
                  <a:lnTo>
                    <a:pt x="31937" y="12612"/>
                  </a:lnTo>
                  <a:lnTo>
                    <a:pt x="31801" y="12341"/>
                  </a:lnTo>
                  <a:lnTo>
                    <a:pt x="31665" y="12092"/>
                  </a:lnTo>
                  <a:lnTo>
                    <a:pt x="31507" y="11844"/>
                  </a:lnTo>
                  <a:lnTo>
                    <a:pt x="31349" y="11618"/>
                  </a:lnTo>
                  <a:lnTo>
                    <a:pt x="31168" y="11414"/>
                  </a:lnTo>
                  <a:lnTo>
                    <a:pt x="30987" y="11211"/>
                  </a:lnTo>
                  <a:lnTo>
                    <a:pt x="30784" y="11053"/>
                  </a:lnTo>
                  <a:lnTo>
                    <a:pt x="30558" y="10895"/>
                  </a:lnTo>
                  <a:lnTo>
                    <a:pt x="29970" y="10533"/>
                  </a:lnTo>
                  <a:lnTo>
                    <a:pt x="29111" y="10036"/>
                  </a:lnTo>
                  <a:lnTo>
                    <a:pt x="26783" y="8770"/>
                  </a:lnTo>
                  <a:lnTo>
                    <a:pt x="23845" y="7233"/>
                  </a:lnTo>
                  <a:lnTo>
                    <a:pt x="20613" y="5561"/>
                  </a:lnTo>
                  <a:lnTo>
                    <a:pt x="17313" y="3933"/>
                  </a:lnTo>
                  <a:lnTo>
                    <a:pt x="14262" y="2442"/>
                  </a:lnTo>
                  <a:lnTo>
                    <a:pt x="12929" y="1809"/>
                  </a:lnTo>
                  <a:lnTo>
                    <a:pt x="11731" y="1289"/>
                  </a:lnTo>
                  <a:lnTo>
                    <a:pt x="10759" y="860"/>
                  </a:lnTo>
                  <a:lnTo>
                    <a:pt x="10013" y="588"/>
                  </a:lnTo>
                  <a:lnTo>
                    <a:pt x="9651" y="475"/>
                  </a:lnTo>
                  <a:lnTo>
                    <a:pt x="8521" y="340"/>
                  </a:lnTo>
                  <a:lnTo>
                    <a:pt x="7482" y="227"/>
                  </a:lnTo>
                  <a:lnTo>
                    <a:pt x="6555" y="159"/>
                  </a:lnTo>
                  <a:lnTo>
                    <a:pt x="5719" y="91"/>
                  </a:lnTo>
                  <a:lnTo>
                    <a:pt x="4295" y="23"/>
                  </a:lnTo>
                  <a:lnTo>
                    <a:pt x="3165" y="1"/>
                  </a:lnTo>
                  <a:close/>
                </a:path>
              </a:pathLst>
            </a:custGeom>
            <a:solidFill>
              <a:srgbClr val="C8375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42" name="Google Shape;1742;p16"/>
            <p:cNvSpPr/>
            <p:nvPr/>
          </p:nvSpPr>
          <p:spPr>
            <a:xfrm>
              <a:off x="4029500" y="2461675"/>
              <a:ext cx="818775" cy="966800"/>
            </a:xfrm>
            <a:custGeom>
              <a:avLst/>
              <a:gdLst/>
              <a:ahLst/>
              <a:cxnLst/>
              <a:rect l="l" t="t" r="r" b="b"/>
              <a:pathLst>
                <a:path w="32751" h="38672" fill="none" extrusionOk="0">
                  <a:moveTo>
                    <a:pt x="3165" y="1"/>
                  </a:moveTo>
                  <a:lnTo>
                    <a:pt x="3165" y="1"/>
                  </a:lnTo>
                  <a:lnTo>
                    <a:pt x="2645" y="1"/>
                  </a:lnTo>
                  <a:lnTo>
                    <a:pt x="2645" y="1"/>
                  </a:lnTo>
                  <a:lnTo>
                    <a:pt x="2532" y="1"/>
                  </a:lnTo>
                  <a:lnTo>
                    <a:pt x="2532" y="1"/>
                  </a:lnTo>
                  <a:lnTo>
                    <a:pt x="2396" y="23"/>
                  </a:lnTo>
                  <a:lnTo>
                    <a:pt x="2396" y="23"/>
                  </a:lnTo>
                  <a:lnTo>
                    <a:pt x="1628" y="91"/>
                  </a:lnTo>
                  <a:lnTo>
                    <a:pt x="1628" y="91"/>
                  </a:lnTo>
                  <a:lnTo>
                    <a:pt x="1221" y="159"/>
                  </a:lnTo>
                  <a:lnTo>
                    <a:pt x="792" y="249"/>
                  </a:lnTo>
                  <a:lnTo>
                    <a:pt x="1" y="430"/>
                  </a:lnTo>
                  <a:lnTo>
                    <a:pt x="1" y="430"/>
                  </a:lnTo>
                  <a:lnTo>
                    <a:pt x="114" y="1040"/>
                  </a:lnTo>
                  <a:lnTo>
                    <a:pt x="317" y="1922"/>
                  </a:lnTo>
                  <a:lnTo>
                    <a:pt x="566" y="3007"/>
                  </a:lnTo>
                  <a:lnTo>
                    <a:pt x="882" y="4182"/>
                  </a:lnTo>
                  <a:lnTo>
                    <a:pt x="1063" y="4770"/>
                  </a:lnTo>
                  <a:lnTo>
                    <a:pt x="1266" y="5380"/>
                  </a:lnTo>
                  <a:lnTo>
                    <a:pt x="1470" y="5968"/>
                  </a:lnTo>
                  <a:lnTo>
                    <a:pt x="1696" y="6533"/>
                  </a:lnTo>
                  <a:lnTo>
                    <a:pt x="1922" y="7098"/>
                  </a:lnTo>
                  <a:lnTo>
                    <a:pt x="2170" y="7595"/>
                  </a:lnTo>
                  <a:lnTo>
                    <a:pt x="2442" y="8047"/>
                  </a:lnTo>
                  <a:lnTo>
                    <a:pt x="2713" y="8454"/>
                  </a:lnTo>
                  <a:lnTo>
                    <a:pt x="2713" y="8454"/>
                  </a:lnTo>
                  <a:lnTo>
                    <a:pt x="2826" y="8567"/>
                  </a:lnTo>
                  <a:lnTo>
                    <a:pt x="3052" y="8725"/>
                  </a:lnTo>
                  <a:lnTo>
                    <a:pt x="3346" y="8906"/>
                  </a:lnTo>
                  <a:lnTo>
                    <a:pt x="3707" y="9132"/>
                  </a:lnTo>
                  <a:lnTo>
                    <a:pt x="4611" y="9584"/>
                  </a:lnTo>
                  <a:lnTo>
                    <a:pt x="5787" y="10126"/>
                  </a:lnTo>
                  <a:lnTo>
                    <a:pt x="7165" y="10714"/>
                  </a:lnTo>
                  <a:lnTo>
                    <a:pt x="8702" y="11347"/>
                  </a:lnTo>
                  <a:lnTo>
                    <a:pt x="10375" y="11979"/>
                  </a:lnTo>
                  <a:lnTo>
                    <a:pt x="12138" y="12612"/>
                  </a:lnTo>
                  <a:lnTo>
                    <a:pt x="13991" y="13245"/>
                  </a:lnTo>
                  <a:lnTo>
                    <a:pt x="15844" y="13833"/>
                  </a:lnTo>
                  <a:lnTo>
                    <a:pt x="17720" y="14398"/>
                  </a:lnTo>
                  <a:lnTo>
                    <a:pt x="19528" y="14872"/>
                  </a:lnTo>
                  <a:lnTo>
                    <a:pt x="20432" y="15098"/>
                  </a:lnTo>
                  <a:lnTo>
                    <a:pt x="21291" y="15302"/>
                  </a:lnTo>
                  <a:lnTo>
                    <a:pt x="22127" y="15460"/>
                  </a:lnTo>
                  <a:lnTo>
                    <a:pt x="22919" y="15618"/>
                  </a:lnTo>
                  <a:lnTo>
                    <a:pt x="23687" y="15731"/>
                  </a:lnTo>
                  <a:lnTo>
                    <a:pt x="24410" y="15822"/>
                  </a:lnTo>
                  <a:lnTo>
                    <a:pt x="25111" y="15867"/>
                  </a:lnTo>
                  <a:lnTo>
                    <a:pt x="25744" y="15890"/>
                  </a:lnTo>
                  <a:lnTo>
                    <a:pt x="25744" y="15890"/>
                  </a:lnTo>
                  <a:lnTo>
                    <a:pt x="25925" y="16070"/>
                  </a:lnTo>
                  <a:lnTo>
                    <a:pt x="26105" y="16274"/>
                  </a:lnTo>
                  <a:lnTo>
                    <a:pt x="26286" y="16500"/>
                  </a:lnTo>
                  <a:lnTo>
                    <a:pt x="26422" y="16726"/>
                  </a:lnTo>
                  <a:lnTo>
                    <a:pt x="26580" y="16974"/>
                  </a:lnTo>
                  <a:lnTo>
                    <a:pt x="26693" y="17246"/>
                  </a:lnTo>
                  <a:lnTo>
                    <a:pt x="26806" y="17539"/>
                  </a:lnTo>
                  <a:lnTo>
                    <a:pt x="26896" y="17833"/>
                  </a:lnTo>
                  <a:lnTo>
                    <a:pt x="26987" y="18150"/>
                  </a:lnTo>
                  <a:lnTo>
                    <a:pt x="27055" y="18466"/>
                  </a:lnTo>
                  <a:lnTo>
                    <a:pt x="27145" y="19144"/>
                  </a:lnTo>
                  <a:lnTo>
                    <a:pt x="27213" y="19890"/>
                  </a:lnTo>
                  <a:lnTo>
                    <a:pt x="27235" y="20658"/>
                  </a:lnTo>
                  <a:lnTo>
                    <a:pt x="27235" y="20658"/>
                  </a:lnTo>
                  <a:lnTo>
                    <a:pt x="27213" y="21201"/>
                  </a:lnTo>
                  <a:lnTo>
                    <a:pt x="27190" y="21766"/>
                  </a:lnTo>
                  <a:lnTo>
                    <a:pt x="27100" y="22919"/>
                  </a:lnTo>
                  <a:lnTo>
                    <a:pt x="26964" y="24094"/>
                  </a:lnTo>
                  <a:lnTo>
                    <a:pt x="26783" y="25314"/>
                  </a:lnTo>
                  <a:lnTo>
                    <a:pt x="26557" y="26557"/>
                  </a:lnTo>
                  <a:lnTo>
                    <a:pt x="26309" y="27800"/>
                  </a:lnTo>
                  <a:lnTo>
                    <a:pt x="26038" y="29021"/>
                  </a:lnTo>
                  <a:lnTo>
                    <a:pt x="25766" y="30219"/>
                  </a:lnTo>
                  <a:lnTo>
                    <a:pt x="25246" y="32502"/>
                  </a:lnTo>
                  <a:lnTo>
                    <a:pt x="24772" y="34558"/>
                  </a:lnTo>
                  <a:lnTo>
                    <a:pt x="24591" y="35462"/>
                  </a:lnTo>
                  <a:lnTo>
                    <a:pt x="24433" y="36276"/>
                  </a:lnTo>
                  <a:lnTo>
                    <a:pt x="24342" y="36954"/>
                  </a:lnTo>
                  <a:lnTo>
                    <a:pt x="24320" y="37270"/>
                  </a:lnTo>
                  <a:lnTo>
                    <a:pt x="24320" y="37542"/>
                  </a:lnTo>
                  <a:lnTo>
                    <a:pt x="24320" y="37542"/>
                  </a:lnTo>
                  <a:lnTo>
                    <a:pt x="24320" y="37813"/>
                  </a:lnTo>
                  <a:lnTo>
                    <a:pt x="24365" y="38039"/>
                  </a:lnTo>
                  <a:lnTo>
                    <a:pt x="24433" y="38220"/>
                  </a:lnTo>
                  <a:lnTo>
                    <a:pt x="24478" y="38287"/>
                  </a:lnTo>
                  <a:lnTo>
                    <a:pt x="24523" y="38333"/>
                  </a:lnTo>
                  <a:lnTo>
                    <a:pt x="24523" y="38333"/>
                  </a:lnTo>
                  <a:lnTo>
                    <a:pt x="24772" y="38400"/>
                  </a:lnTo>
                  <a:lnTo>
                    <a:pt x="25405" y="38513"/>
                  </a:lnTo>
                  <a:lnTo>
                    <a:pt x="25834" y="38559"/>
                  </a:lnTo>
                  <a:lnTo>
                    <a:pt x="26286" y="38626"/>
                  </a:lnTo>
                  <a:lnTo>
                    <a:pt x="26761" y="38649"/>
                  </a:lnTo>
                  <a:lnTo>
                    <a:pt x="27258" y="38672"/>
                  </a:lnTo>
                  <a:lnTo>
                    <a:pt x="27258" y="38672"/>
                  </a:lnTo>
                  <a:lnTo>
                    <a:pt x="27620" y="38672"/>
                  </a:lnTo>
                  <a:lnTo>
                    <a:pt x="27959" y="38626"/>
                  </a:lnTo>
                  <a:lnTo>
                    <a:pt x="28275" y="38581"/>
                  </a:lnTo>
                  <a:lnTo>
                    <a:pt x="28569" y="38491"/>
                  </a:lnTo>
                  <a:lnTo>
                    <a:pt x="28818" y="38378"/>
                  </a:lnTo>
                  <a:lnTo>
                    <a:pt x="28931" y="38287"/>
                  </a:lnTo>
                  <a:lnTo>
                    <a:pt x="29021" y="38220"/>
                  </a:lnTo>
                  <a:lnTo>
                    <a:pt x="29111" y="38129"/>
                  </a:lnTo>
                  <a:lnTo>
                    <a:pt x="29157" y="38016"/>
                  </a:lnTo>
                  <a:lnTo>
                    <a:pt x="29224" y="37903"/>
                  </a:lnTo>
                  <a:lnTo>
                    <a:pt x="29247" y="37790"/>
                  </a:lnTo>
                  <a:lnTo>
                    <a:pt x="29247" y="37790"/>
                  </a:lnTo>
                  <a:lnTo>
                    <a:pt x="29247" y="37768"/>
                  </a:lnTo>
                  <a:lnTo>
                    <a:pt x="29247" y="37768"/>
                  </a:lnTo>
                  <a:lnTo>
                    <a:pt x="29292" y="37564"/>
                  </a:lnTo>
                  <a:lnTo>
                    <a:pt x="29383" y="37112"/>
                  </a:lnTo>
                  <a:lnTo>
                    <a:pt x="29789" y="35598"/>
                  </a:lnTo>
                  <a:lnTo>
                    <a:pt x="30354" y="33360"/>
                  </a:lnTo>
                  <a:lnTo>
                    <a:pt x="30671" y="32049"/>
                  </a:lnTo>
                  <a:lnTo>
                    <a:pt x="30987" y="30603"/>
                  </a:lnTo>
                  <a:lnTo>
                    <a:pt x="31326" y="29089"/>
                  </a:lnTo>
                  <a:lnTo>
                    <a:pt x="31643" y="27484"/>
                  </a:lnTo>
                  <a:lnTo>
                    <a:pt x="31937" y="25857"/>
                  </a:lnTo>
                  <a:lnTo>
                    <a:pt x="32208" y="24207"/>
                  </a:lnTo>
                  <a:lnTo>
                    <a:pt x="32434" y="22534"/>
                  </a:lnTo>
                  <a:lnTo>
                    <a:pt x="32592" y="20907"/>
                  </a:lnTo>
                  <a:lnTo>
                    <a:pt x="32660" y="20093"/>
                  </a:lnTo>
                  <a:lnTo>
                    <a:pt x="32705" y="19302"/>
                  </a:lnTo>
                  <a:lnTo>
                    <a:pt x="32750" y="18534"/>
                  </a:lnTo>
                  <a:lnTo>
                    <a:pt x="32750" y="17765"/>
                  </a:lnTo>
                  <a:lnTo>
                    <a:pt x="32750" y="17765"/>
                  </a:lnTo>
                  <a:lnTo>
                    <a:pt x="32728" y="16771"/>
                  </a:lnTo>
                  <a:lnTo>
                    <a:pt x="32660" y="15799"/>
                  </a:lnTo>
                  <a:lnTo>
                    <a:pt x="32615" y="15347"/>
                  </a:lnTo>
                  <a:lnTo>
                    <a:pt x="32569" y="14895"/>
                  </a:lnTo>
                  <a:lnTo>
                    <a:pt x="32502" y="14466"/>
                  </a:lnTo>
                  <a:lnTo>
                    <a:pt x="32411" y="14059"/>
                  </a:lnTo>
                  <a:lnTo>
                    <a:pt x="32411" y="14059"/>
                  </a:lnTo>
                  <a:lnTo>
                    <a:pt x="32298" y="13675"/>
                  </a:lnTo>
                  <a:lnTo>
                    <a:pt x="32208" y="13313"/>
                  </a:lnTo>
                  <a:lnTo>
                    <a:pt x="32072" y="12951"/>
                  </a:lnTo>
                  <a:lnTo>
                    <a:pt x="31937" y="12612"/>
                  </a:lnTo>
                  <a:lnTo>
                    <a:pt x="31937" y="12612"/>
                  </a:lnTo>
                  <a:lnTo>
                    <a:pt x="31801" y="12341"/>
                  </a:lnTo>
                  <a:lnTo>
                    <a:pt x="31665" y="12092"/>
                  </a:lnTo>
                  <a:lnTo>
                    <a:pt x="31507" y="11844"/>
                  </a:lnTo>
                  <a:lnTo>
                    <a:pt x="31349" y="11618"/>
                  </a:lnTo>
                  <a:lnTo>
                    <a:pt x="31168" y="11414"/>
                  </a:lnTo>
                  <a:lnTo>
                    <a:pt x="30987" y="11211"/>
                  </a:lnTo>
                  <a:lnTo>
                    <a:pt x="30784" y="11053"/>
                  </a:lnTo>
                  <a:lnTo>
                    <a:pt x="30558" y="10895"/>
                  </a:lnTo>
                  <a:lnTo>
                    <a:pt x="30558" y="10895"/>
                  </a:lnTo>
                  <a:lnTo>
                    <a:pt x="29970" y="10533"/>
                  </a:lnTo>
                  <a:lnTo>
                    <a:pt x="29111" y="10036"/>
                  </a:lnTo>
                  <a:lnTo>
                    <a:pt x="26783" y="8770"/>
                  </a:lnTo>
                  <a:lnTo>
                    <a:pt x="23845" y="7233"/>
                  </a:lnTo>
                  <a:lnTo>
                    <a:pt x="20613" y="5561"/>
                  </a:lnTo>
                  <a:lnTo>
                    <a:pt x="17313" y="3933"/>
                  </a:lnTo>
                  <a:lnTo>
                    <a:pt x="14262" y="2442"/>
                  </a:lnTo>
                  <a:lnTo>
                    <a:pt x="12929" y="1809"/>
                  </a:lnTo>
                  <a:lnTo>
                    <a:pt x="11731" y="1289"/>
                  </a:lnTo>
                  <a:lnTo>
                    <a:pt x="10759" y="860"/>
                  </a:lnTo>
                  <a:lnTo>
                    <a:pt x="10013" y="588"/>
                  </a:lnTo>
                  <a:lnTo>
                    <a:pt x="10013" y="588"/>
                  </a:lnTo>
                  <a:lnTo>
                    <a:pt x="9651" y="475"/>
                  </a:lnTo>
                  <a:lnTo>
                    <a:pt x="9651" y="475"/>
                  </a:lnTo>
                  <a:lnTo>
                    <a:pt x="8521" y="340"/>
                  </a:lnTo>
                  <a:lnTo>
                    <a:pt x="7482" y="227"/>
                  </a:lnTo>
                  <a:lnTo>
                    <a:pt x="6555" y="159"/>
                  </a:lnTo>
                  <a:lnTo>
                    <a:pt x="5719" y="91"/>
                  </a:lnTo>
                  <a:lnTo>
                    <a:pt x="4295" y="23"/>
                  </a:lnTo>
                  <a:lnTo>
                    <a:pt x="316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43" name="Google Shape;1743;p16"/>
            <p:cNvSpPr/>
            <p:nvPr/>
          </p:nvSpPr>
          <p:spPr>
            <a:xfrm>
              <a:off x="4217650" y="1934500"/>
              <a:ext cx="649825" cy="139600"/>
            </a:xfrm>
            <a:custGeom>
              <a:avLst/>
              <a:gdLst/>
              <a:ahLst/>
              <a:cxnLst/>
              <a:rect l="l" t="t" r="r" b="b"/>
              <a:pathLst>
                <a:path w="25993" h="5584" extrusionOk="0">
                  <a:moveTo>
                    <a:pt x="23529" y="1"/>
                  </a:moveTo>
                  <a:lnTo>
                    <a:pt x="23439" y="46"/>
                  </a:lnTo>
                  <a:lnTo>
                    <a:pt x="23371" y="136"/>
                  </a:lnTo>
                  <a:lnTo>
                    <a:pt x="23280" y="249"/>
                  </a:lnTo>
                  <a:lnTo>
                    <a:pt x="23190" y="408"/>
                  </a:lnTo>
                  <a:lnTo>
                    <a:pt x="23032" y="792"/>
                  </a:lnTo>
                  <a:lnTo>
                    <a:pt x="22851" y="1244"/>
                  </a:lnTo>
                  <a:lnTo>
                    <a:pt x="22648" y="1673"/>
                  </a:lnTo>
                  <a:lnTo>
                    <a:pt x="22557" y="1877"/>
                  </a:lnTo>
                  <a:lnTo>
                    <a:pt x="22444" y="2035"/>
                  </a:lnTo>
                  <a:lnTo>
                    <a:pt x="22354" y="2193"/>
                  </a:lnTo>
                  <a:lnTo>
                    <a:pt x="22241" y="2306"/>
                  </a:lnTo>
                  <a:lnTo>
                    <a:pt x="22128" y="2396"/>
                  </a:lnTo>
                  <a:lnTo>
                    <a:pt x="21992" y="2419"/>
                  </a:lnTo>
                  <a:lnTo>
                    <a:pt x="17201" y="2419"/>
                  </a:lnTo>
                  <a:lnTo>
                    <a:pt x="15641" y="2442"/>
                  </a:lnTo>
                  <a:lnTo>
                    <a:pt x="14127" y="2509"/>
                  </a:lnTo>
                  <a:lnTo>
                    <a:pt x="12793" y="2577"/>
                  </a:lnTo>
                  <a:lnTo>
                    <a:pt x="12206" y="2622"/>
                  </a:lnTo>
                  <a:lnTo>
                    <a:pt x="11708" y="2690"/>
                  </a:lnTo>
                  <a:lnTo>
                    <a:pt x="11143" y="2622"/>
                  </a:lnTo>
                  <a:lnTo>
                    <a:pt x="9946" y="2464"/>
                  </a:lnTo>
                  <a:lnTo>
                    <a:pt x="6397" y="1899"/>
                  </a:lnTo>
                  <a:lnTo>
                    <a:pt x="4431" y="1583"/>
                  </a:lnTo>
                  <a:lnTo>
                    <a:pt x="2578" y="1244"/>
                  </a:lnTo>
                  <a:lnTo>
                    <a:pt x="1041" y="950"/>
                  </a:lnTo>
                  <a:lnTo>
                    <a:pt x="430" y="837"/>
                  </a:lnTo>
                  <a:lnTo>
                    <a:pt x="1" y="724"/>
                  </a:lnTo>
                  <a:lnTo>
                    <a:pt x="1" y="1289"/>
                  </a:lnTo>
                  <a:lnTo>
                    <a:pt x="24" y="1877"/>
                  </a:lnTo>
                  <a:lnTo>
                    <a:pt x="69" y="2532"/>
                  </a:lnTo>
                  <a:lnTo>
                    <a:pt x="159" y="3233"/>
                  </a:lnTo>
                  <a:lnTo>
                    <a:pt x="204" y="3549"/>
                  </a:lnTo>
                  <a:lnTo>
                    <a:pt x="250" y="3843"/>
                  </a:lnTo>
                  <a:lnTo>
                    <a:pt x="317" y="4114"/>
                  </a:lnTo>
                  <a:lnTo>
                    <a:pt x="385" y="4340"/>
                  </a:lnTo>
                  <a:lnTo>
                    <a:pt x="476" y="4498"/>
                  </a:lnTo>
                  <a:lnTo>
                    <a:pt x="521" y="4544"/>
                  </a:lnTo>
                  <a:lnTo>
                    <a:pt x="589" y="4589"/>
                  </a:lnTo>
                  <a:lnTo>
                    <a:pt x="792" y="4657"/>
                  </a:lnTo>
                  <a:lnTo>
                    <a:pt x="1221" y="4724"/>
                  </a:lnTo>
                  <a:lnTo>
                    <a:pt x="2532" y="4883"/>
                  </a:lnTo>
                  <a:lnTo>
                    <a:pt x="4318" y="5063"/>
                  </a:lnTo>
                  <a:lnTo>
                    <a:pt x="6329" y="5222"/>
                  </a:lnTo>
                  <a:lnTo>
                    <a:pt x="8341" y="5380"/>
                  </a:lnTo>
                  <a:lnTo>
                    <a:pt x="10104" y="5493"/>
                  </a:lnTo>
                  <a:lnTo>
                    <a:pt x="11392" y="5561"/>
                  </a:lnTo>
                  <a:lnTo>
                    <a:pt x="11980" y="5583"/>
                  </a:lnTo>
                  <a:lnTo>
                    <a:pt x="13449" y="5357"/>
                  </a:lnTo>
                  <a:lnTo>
                    <a:pt x="15054" y="5131"/>
                  </a:lnTo>
                  <a:lnTo>
                    <a:pt x="16726" y="4928"/>
                  </a:lnTo>
                  <a:lnTo>
                    <a:pt x="18353" y="4747"/>
                  </a:lnTo>
                  <a:lnTo>
                    <a:pt x="19868" y="4611"/>
                  </a:lnTo>
                  <a:lnTo>
                    <a:pt x="21178" y="4498"/>
                  </a:lnTo>
                  <a:lnTo>
                    <a:pt x="22241" y="4453"/>
                  </a:lnTo>
                  <a:lnTo>
                    <a:pt x="22625" y="4453"/>
                  </a:lnTo>
                  <a:lnTo>
                    <a:pt x="22919" y="4476"/>
                  </a:lnTo>
                  <a:lnTo>
                    <a:pt x="23439" y="4544"/>
                  </a:lnTo>
                  <a:lnTo>
                    <a:pt x="23891" y="4589"/>
                  </a:lnTo>
                  <a:lnTo>
                    <a:pt x="24297" y="4611"/>
                  </a:lnTo>
                  <a:lnTo>
                    <a:pt x="24659" y="4589"/>
                  </a:lnTo>
                  <a:lnTo>
                    <a:pt x="24953" y="4566"/>
                  </a:lnTo>
                  <a:lnTo>
                    <a:pt x="25202" y="4521"/>
                  </a:lnTo>
                  <a:lnTo>
                    <a:pt x="25405" y="4453"/>
                  </a:lnTo>
                  <a:lnTo>
                    <a:pt x="25563" y="4363"/>
                  </a:lnTo>
                  <a:lnTo>
                    <a:pt x="25699" y="4250"/>
                  </a:lnTo>
                  <a:lnTo>
                    <a:pt x="25789" y="4114"/>
                  </a:lnTo>
                  <a:lnTo>
                    <a:pt x="25880" y="3979"/>
                  </a:lnTo>
                  <a:lnTo>
                    <a:pt x="25925" y="3820"/>
                  </a:lnTo>
                  <a:lnTo>
                    <a:pt x="25947" y="3640"/>
                  </a:lnTo>
                  <a:lnTo>
                    <a:pt x="25970" y="3459"/>
                  </a:lnTo>
                  <a:lnTo>
                    <a:pt x="25993" y="3052"/>
                  </a:lnTo>
                  <a:lnTo>
                    <a:pt x="25970" y="2826"/>
                  </a:lnTo>
                  <a:lnTo>
                    <a:pt x="25925" y="2622"/>
                  </a:lnTo>
                  <a:lnTo>
                    <a:pt x="25880" y="2464"/>
                  </a:lnTo>
                  <a:lnTo>
                    <a:pt x="25789" y="2306"/>
                  </a:lnTo>
                  <a:lnTo>
                    <a:pt x="25699" y="2170"/>
                  </a:lnTo>
                  <a:lnTo>
                    <a:pt x="25586" y="2035"/>
                  </a:lnTo>
                  <a:lnTo>
                    <a:pt x="25473" y="1944"/>
                  </a:lnTo>
                  <a:lnTo>
                    <a:pt x="25337" y="1854"/>
                  </a:lnTo>
                  <a:lnTo>
                    <a:pt x="25224" y="1786"/>
                  </a:lnTo>
                  <a:lnTo>
                    <a:pt x="25089" y="1718"/>
                  </a:lnTo>
                  <a:lnTo>
                    <a:pt x="24817" y="1651"/>
                  </a:lnTo>
                  <a:lnTo>
                    <a:pt x="24569" y="1628"/>
                  </a:lnTo>
                  <a:lnTo>
                    <a:pt x="24365" y="1651"/>
                  </a:lnTo>
                  <a:lnTo>
                    <a:pt x="24297" y="1628"/>
                  </a:lnTo>
                  <a:lnTo>
                    <a:pt x="24252" y="1583"/>
                  </a:lnTo>
                  <a:lnTo>
                    <a:pt x="24207" y="1515"/>
                  </a:lnTo>
                  <a:lnTo>
                    <a:pt x="24162" y="1402"/>
                  </a:lnTo>
                  <a:lnTo>
                    <a:pt x="24094" y="1131"/>
                  </a:lnTo>
                  <a:lnTo>
                    <a:pt x="24026" y="792"/>
                  </a:lnTo>
                  <a:lnTo>
                    <a:pt x="23936" y="475"/>
                  </a:lnTo>
                  <a:lnTo>
                    <a:pt x="23845" y="227"/>
                  </a:lnTo>
                  <a:lnTo>
                    <a:pt x="23778" y="114"/>
                  </a:lnTo>
                  <a:lnTo>
                    <a:pt x="23710" y="46"/>
                  </a:lnTo>
                  <a:lnTo>
                    <a:pt x="23619" y="1"/>
                  </a:lnTo>
                  <a:close/>
                </a:path>
              </a:pathLst>
            </a:custGeom>
            <a:solidFill>
              <a:srgbClr val="F4B0B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44" name="Google Shape;1744;p16"/>
            <p:cNvSpPr/>
            <p:nvPr/>
          </p:nvSpPr>
          <p:spPr>
            <a:xfrm>
              <a:off x="3979775" y="1910775"/>
              <a:ext cx="359400" cy="566750"/>
            </a:xfrm>
            <a:custGeom>
              <a:avLst/>
              <a:gdLst/>
              <a:ahLst/>
              <a:cxnLst/>
              <a:rect l="l" t="t" r="r" b="b"/>
              <a:pathLst>
                <a:path w="14376" h="22670" extrusionOk="0">
                  <a:moveTo>
                    <a:pt x="4272" y="0"/>
                  </a:moveTo>
                  <a:lnTo>
                    <a:pt x="4137" y="136"/>
                  </a:lnTo>
                  <a:lnTo>
                    <a:pt x="3753" y="520"/>
                  </a:lnTo>
                  <a:lnTo>
                    <a:pt x="3233" y="1108"/>
                  </a:lnTo>
                  <a:lnTo>
                    <a:pt x="2939" y="1470"/>
                  </a:lnTo>
                  <a:lnTo>
                    <a:pt x="2623" y="1854"/>
                  </a:lnTo>
                  <a:lnTo>
                    <a:pt x="2329" y="2283"/>
                  </a:lnTo>
                  <a:lnTo>
                    <a:pt x="2035" y="2735"/>
                  </a:lnTo>
                  <a:lnTo>
                    <a:pt x="1764" y="3187"/>
                  </a:lnTo>
                  <a:lnTo>
                    <a:pt x="1515" y="3684"/>
                  </a:lnTo>
                  <a:lnTo>
                    <a:pt x="1312" y="4159"/>
                  </a:lnTo>
                  <a:lnTo>
                    <a:pt x="1244" y="4408"/>
                  </a:lnTo>
                  <a:lnTo>
                    <a:pt x="1176" y="4656"/>
                  </a:lnTo>
                  <a:lnTo>
                    <a:pt x="1131" y="4905"/>
                  </a:lnTo>
                  <a:lnTo>
                    <a:pt x="1086" y="5154"/>
                  </a:lnTo>
                  <a:lnTo>
                    <a:pt x="1063" y="5380"/>
                  </a:lnTo>
                  <a:lnTo>
                    <a:pt x="1086" y="5628"/>
                  </a:lnTo>
                  <a:lnTo>
                    <a:pt x="1108" y="5877"/>
                  </a:lnTo>
                  <a:lnTo>
                    <a:pt x="1131" y="6125"/>
                  </a:lnTo>
                  <a:lnTo>
                    <a:pt x="1266" y="6713"/>
                  </a:lnTo>
                  <a:lnTo>
                    <a:pt x="1470" y="7323"/>
                  </a:lnTo>
                  <a:lnTo>
                    <a:pt x="1696" y="8001"/>
                  </a:lnTo>
                  <a:lnTo>
                    <a:pt x="1944" y="8725"/>
                  </a:lnTo>
                  <a:lnTo>
                    <a:pt x="2193" y="9516"/>
                  </a:lnTo>
                  <a:lnTo>
                    <a:pt x="2419" y="10329"/>
                  </a:lnTo>
                  <a:lnTo>
                    <a:pt x="2623" y="11188"/>
                  </a:lnTo>
                  <a:lnTo>
                    <a:pt x="2713" y="11640"/>
                  </a:lnTo>
                  <a:lnTo>
                    <a:pt x="2781" y="12092"/>
                  </a:lnTo>
                  <a:lnTo>
                    <a:pt x="2849" y="12567"/>
                  </a:lnTo>
                  <a:lnTo>
                    <a:pt x="2894" y="13041"/>
                  </a:lnTo>
                  <a:lnTo>
                    <a:pt x="2916" y="13539"/>
                  </a:lnTo>
                  <a:lnTo>
                    <a:pt x="2916" y="14013"/>
                  </a:lnTo>
                  <a:lnTo>
                    <a:pt x="2894" y="14533"/>
                  </a:lnTo>
                  <a:lnTo>
                    <a:pt x="2826" y="15030"/>
                  </a:lnTo>
                  <a:lnTo>
                    <a:pt x="2758" y="15550"/>
                  </a:lnTo>
                  <a:lnTo>
                    <a:pt x="2645" y="16070"/>
                  </a:lnTo>
                  <a:lnTo>
                    <a:pt x="2510" y="16612"/>
                  </a:lnTo>
                  <a:lnTo>
                    <a:pt x="2351" y="17155"/>
                  </a:lnTo>
                  <a:lnTo>
                    <a:pt x="2148" y="17697"/>
                  </a:lnTo>
                  <a:lnTo>
                    <a:pt x="1899" y="18240"/>
                  </a:lnTo>
                  <a:lnTo>
                    <a:pt x="1605" y="18782"/>
                  </a:lnTo>
                  <a:lnTo>
                    <a:pt x="1289" y="19347"/>
                  </a:lnTo>
                  <a:lnTo>
                    <a:pt x="747" y="20251"/>
                  </a:lnTo>
                  <a:lnTo>
                    <a:pt x="362" y="20974"/>
                  </a:lnTo>
                  <a:lnTo>
                    <a:pt x="227" y="21268"/>
                  </a:lnTo>
                  <a:lnTo>
                    <a:pt x="136" y="21540"/>
                  </a:lnTo>
                  <a:lnTo>
                    <a:pt x="46" y="21788"/>
                  </a:lnTo>
                  <a:lnTo>
                    <a:pt x="23" y="21992"/>
                  </a:lnTo>
                  <a:lnTo>
                    <a:pt x="1" y="22150"/>
                  </a:lnTo>
                  <a:lnTo>
                    <a:pt x="23" y="22308"/>
                  </a:lnTo>
                  <a:lnTo>
                    <a:pt x="46" y="22421"/>
                  </a:lnTo>
                  <a:lnTo>
                    <a:pt x="114" y="22511"/>
                  </a:lnTo>
                  <a:lnTo>
                    <a:pt x="204" y="22579"/>
                  </a:lnTo>
                  <a:lnTo>
                    <a:pt x="317" y="22624"/>
                  </a:lnTo>
                  <a:lnTo>
                    <a:pt x="453" y="22670"/>
                  </a:lnTo>
                  <a:lnTo>
                    <a:pt x="611" y="22670"/>
                  </a:lnTo>
                  <a:lnTo>
                    <a:pt x="973" y="22647"/>
                  </a:lnTo>
                  <a:lnTo>
                    <a:pt x="1402" y="22579"/>
                  </a:lnTo>
                  <a:lnTo>
                    <a:pt x="2374" y="22376"/>
                  </a:lnTo>
                  <a:lnTo>
                    <a:pt x="2939" y="22263"/>
                  </a:lnTo>
                  <a:lnTo>
                    <a:pt x="3504" y="22150"/>
                  </a:lnTo>
                  <a:lnTo>
                    <a:pt x="4069" y="22082"/>
                  </a:lnTo>
                  <a:lnTo>
                    <a:pt x="4634" y="22037"/>
                  </a:lnTo>
                  <a:lnTo>
                    <a:pt x="5787" y="22037"/>
                  </a:lnTo>
                  <a:lnTo>
                    <a:pt x="6487" y="22059"/>
                  </a:lnTo>
                  <a:lnTo>
                    <a:pt x="7278" y="22105"/>
                  </a:lnTo>
                  <a:lnTo>
                    <a:pt x="8182" y="22150"/>
                  </a:lnTo>
                  <a:lnTo>
                    <a:pt x="9222" y="22240"/>
                  </a:lnTo>
                  <a:lnTo>
                    <a:pt x="10375" y="22353"/>
                  </a:lnTo>
                  <a:lnTo>
                    <a:pt x="11663" y="22511"/>
                  </a:lnTo>
                  <a:lnTo>
                    <a:pt x="11369" y="22263"/>
                  </a:lnTo>
                  <a:lnTo>
                    <a:pt x="11098" y="21992"/>
                  </a:lnTo>
                  <a:lnTo>
                    <a:pt x="10872" y="21698"/>
                  </a:lnTo>
                  <a:lnTo>
                    <a:pt x="10669" y="21404"/>
                  </a:lnTo>
                  <a:lnTo>
                    <a:pt x="10510" y="21087"/>
                  </a:lnTo>
                  <a:lnTo>
                    <a:pt x="10375" y="20748"/>
                  </a:lnTo>
                  <a:lnTo>
                    <a:pt x="10284" y="20409"/>
                  </a:lnTo>
                  <a:lnTo>
                    <a:pt x="10217" y="20048"/>
                  </a:lnTo>
                  <a:lnTo>
                    <a:pt x="10171" y="19686"/>
                  </a:lnTo>
                  <a:lnTo>
                    <a:pt x="10149" y="19302"/>
                  </a:lnTo>
                  <a:lnTo>
                    <a:pt x="10149" y="18940"/>
                  </a:lnTo>
                  <a:lnTo>
                    <a:pt x="10171" y="18556"/>
                  </a:lnTo>
                  <a:lnTo>
                    <a:pt x="10217" y="18172"/>
                  </a:lnTo>
                  <a:lnTo>
                    <a:pt x="10262" y="17765"/>
                  </a:lnTo>
                  <a:lnTo>
                    <a:pt x="10420" y="16997"/>
                  </a:lnTo>
                  <a:lnTo>
                    <a:pt x="10601" y="16228"/>
                  </a:lnTo>
                  <a:lnTo>
                    <a:pt x="10827" y="15505"/>
                  </a:lnTo>
                  <a:lnTo>
                    <a:pt x="11279" y="14126"/>
                  </a:lnTo>
                  <a:lnTo>
                    <a:pt x="11482" y="13516"/>
                  </a:lnTo>
                  <a:lnTo>
                    <a:pt x="11640" y="12974"/>
                  </a:lnTo>
                  <a:lnTo>
                    <a:pt x="11776" y="12522"/>
                  </a:lnTo>
                  <a:lnTo>
                    <a:pt x="11799" y="12341"/>
                  </a:lnTo>
                  <a:lnTo>
                    <a:pt x="11821" y="12160"/>
                  </a:lnTo>
                  <a:lnTo>
                    <a:pt x="11844" y="11866"/>
                  </a:lnTo>
                  <a:lnTo>
                    <a:pt x="11934" y="11550"/>
                  </a:lnTo>
                  <a:lnTo>
                    <a:pt x="12047" y="11279"/>
                  </a:lnTo>
                  <a:lnTo>
                    <a:pt x="12183" y="11007"/>
                  </a:lnTo>
                  <a:lnTo>
                    <a:pt x="12341" y="10736"/>
                  </a:lnTo>
                  <a:lnTo>
                    <a:pt x="12522" y="10487"/>
                  </a:lnTo>
                  <a:lnTo>
                    <a:pt x="12951" y="9968"/>
                  </a:lnTo>
                  <a:lnTo>
                    <a:pt x="13381" y="9470"/>
                  </a:lnTo>
                  <a:lnTo>
                    <a:pt x="13765" y="8973"/>
                  </a:lnTo>
                  <a:lnTo>
                    <a:pt x="13946" y="8725"/>
                  </a:lnTo>
                  <a:lnTo>
                    <a:pt x="14104" y="8453"/>
                  </a:lnTo>
                  <a:lnTo>
                    <a:pt x="14240" y="8182"/>
                  </a:lnTo>
                  <a:lnTo>
                    <a:pt x="14330" y="7888"/>
                  </a:lnTo>
                  <a:lnTo>
                    <a:pt x="14375" y="7753"/>
                  </a:lnTo>
                  <a:lnTo>
                    <a:pt x="14375" y="7617"/>
                  </a:lnTo>
                  <a:lnTo>
                    <a:pt x="14375" y="7459"/>
                  </a:lnTo>
                  <a:lnTo>
                    <a:pt x="14375" y="7323"/>
                  </a:lnTo>
                  <a:lnTo>
                    <a:pt x="14307" y="7052"/>
                  </a:lnTo>
                  <a:lnTo>
                    <a:pt x="14194" y="6758"/>
                  </a:lnTo>
                  <a:lnTo>
                    <a:pt x="14059" y="6487"/>
                  </a:lnTo>
                  <a:lnTo>
                    <a:pt x="13878" y="6216"/>
                  </a:lnTo>
                  <a:lnTo>
                    <a:pt x="13675" y="5945"/>
                  </a:lnTo>
                  <a:lnTo>
                    <a:pt x="13471" y="5673"/>
                  </a:lnTo>
                  <a:lnTo>
                    <a:pt x="12997" y="5131"/>
                  </a:lnTo>
                  <a:lnTo>
                    <a:pt x="12567" y="4566"/>
                  </a:lnTo>
                  <a:lnTo>
                    <a:pt x="12386" y="4295"/>
                  </a:lnTo>
                  <a:lnTo>
                    <a:pt x="12228" y="4001"/>
                  </a:lnTo>
                  <a:lnTo>
                    <a:pt x="12093" y="3707"/>
                  </a:lnTo>
                  <a:lnTo>
                    <a:pt x="12002" y="3413"/>
                  </a:lnTo>
                  <a:lnTo>
                    <a:pt x="11912" y="3142"/>
                  </a:lnTo>
                  <a:lnTo>
                    <a:pt x="11821" y="2871"/>
                  </a:lnTo>
                  <a:lnTo>
                    <a:pt x="11686" y="2645"/>
                  </a:lnTo>
                  <a:lnTo>
                    <a:pt x="11550" y="2419"/>
                  </a:lnTo>
                  <a:lnTo>
                    <a:pt x="11392" y="2215"/>
                  </a:lnTo>
                  <a:lnTo>
                    <a:pt x="11211" y="2035"/>
                  </a:lnTo>
                  <a:lnTo>
                    <a:pt x="11008" y="1854"/>
                  </a:lnTo>
                  <a:lnTo>
                    <a:pt x="10782" y="1696"/>
                  </a:lnTo>
                  <a:lnTo>
                    <a:pt x="10556" y="1537"/>
                  </a:lnTo>
                  <a:lnTo>
                    <a:pt x="10284" y="1379"/>
                  </a:lnTo>
                  <a:lnTo>
                    <a:pt x="9719" y="1108"/>
                  </a:lnTo>
                  <a:lnTo>
                    <a:pt x="9087" y="837"/>
                  </a:lnTo>
                  <a:lnTo>
                    <a:pt x="8363" y="565"/>
                  </a:lnTo>
                  <a:lnTo>
                    <a:pt x="4272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45" name="Google Shape;1745;p16"/>
            <p:cNvSpPr/>
            <p:nvPr/>
          </p:nvSpPr>
          <p:spPr>
            <a:xfrm>
              <a:off x="3979775" y="1910775"/>
              <a:ext cx="359400" cy="566750"/>
            </a:xfrm>
            <a:custGeom>
              <a:avLst/>
              <a:gdLst/>
              <a:ahLst/>
              <a:cxnLst/>
              <a:rect l="l" t="t" r="r" b="b"/>
              <a:pathLst>
                <a:path w="14376" h="22670" fill="none" extrusionOk="0">
                  <a:moveTo>
                    <a:pt x="8363" y="565"/>
                  </a:moveTo>
                  <a:lnTo>
                    <a:pt x="8363" y="565"/>
                  </a:lnTo>
                  <a:lnTo>
                    <a:pt x="9087" y="837"/>
                  </a:lnTo>
                  <a:lnTo>
                    <a:pt x="9719" y="1108"/>
                  </a:lnTo>
                  <a:lnTo>
                    <a:pt x="10284" y="1379"/>
                  </a:lnTo>
                  <a:lnTo>
                    <a:pt x="10556" y="1537"/>
                  </a:lnTo>
                  <a:lnTo>
                    <a:pt x="10782" y="1696"/>
                  </a:lnTo>
                  <a:lnTo>
                    <a:pt x="11008" y="1854"/>
                  </a:lnTo>
                  <a:lnTo>
                    <a:pt x="11211" y="2035"/>
                  </a:lnTo>
                  <a:lnTo>
                    <a:pt x="11392" y="2215"/>
                  </a:lnTo>
                  <a:lnTo>
                    <a:pt x="11550" y="2419"/>
                  </a:lnTo>
                  <a:lnTo>
                    <a:pt x="11686" y="2645"/>
                  </a:lnTo>
                  <a:lnTo>
                    <a:pt x="11821" y="2871"/>
                  </a:lnTo>
                  <a:lnTo>
                    <a:pt x="11912" y="3142"/>
                  </a:lnTo>
                  <a:lnTo>
                    <a:pt x="12002" y="3413"/>
                  </a:lnTo>
                  <a:lnTo>
                    <a:pt x="12002" y="3413"/>
                  </a:lnTo>
                  <a:lnTo>
                    <a:pt x="12093" y="3707"/>
                  </a:lnTo>
                  <a:lnTo>
                    <a:pt x="12228" y="4001"/>
                  </a:lnTo>
                  <a:lnTo>
                    <a:pt x="12386" y="4295"/>
                  </a:lnTo>
                  <a:lnTo>
                    <a:pt x="12567" y="4566"/>
                  </a:lnTo>
                  <a:lnTo>
                    <a:pt x="12997" y="5131"/>
                  </a:lnTo>
                  <a:lnTo>
                    <a:pt x="13471" y="5673"/>
                  </a:lnTo>
                  <a:lnTo>
                    <a:pt x="13675" y="5945"/>
                  </a:lnTo>
                  <a:lnTo>
                    <a:pt x="13878" y="6216"/>
                  </a:lnTo>
                  <a:lnTo>
                    <a:pt x="14059" y="6487"/>
                  </a:lnTo>
                  <a:lnTo>
                    <a:pt x="14194" y="6758"/>
                  </a:lnTo>
                  <a:lnTo>
                    <a:pt x="14307" y="7052"/>
                  </a:lnTo>
                  <a:lnTo>
                    <a:pt x="14375" y="7323"/>
                  </a:lnTo>
                  <a:lnTo>
                    <a:pt x="14375" y="7459"/>
                  </a:lnTo>
                  <a:lnTo>
                    <a:pt x="14375" y="7617"/>
                  </a:lnTo>
                  <a:lnTo>
                    <a:pt x="14375" y="7753"/>
                  </a:lnTo>
                  <a:lnTo>
                    <a:pt x="14330" y="7888"/>
                  </a:lnTo>
                  <a:lnTo>
                    <a:pt x="14330" y="7888"/>
                  </a:lnTo>
                  <a:lnTo>
                    <a:pt x="14240" y="8182"/>
                  </a:lnTo>
                  <a:lnTo>
                    <a:pt x="14104" y="8453"/>
                  </a:lnTo>
                  <a:lnTo>
                    <a:pt x="13946" y="8725"/>
                  </a:lnTo>
                  <a:lnTo>
                    <a:pt x="13765" y="8973"/>
                  </a:lnTo>
                  <a:lnTo>
                    <a:pt x="13381" y="9470"/>
                  </a:lnTo>
                  <a:lnTo>
                    <a:pt x="12951" y="9968"/>
                  </a:lnTo>
                  <a:lnTo>
                    <a:pt x="12522" y="10487"/>
                  </a:lnTo>
                  <a:lnTo>
                    <a:pt x="12341" y="10736"/>
                  </a:lnTo>
                  <a:lnTo>
                    <a:pt x="12183" y="11007"/>
                  </a:lnTo>
                  <a:lnTo>
                    <a:pt x="12047" y="11279"/>
                  </a:lnTo>
                  <a:lnTo>
                    <a:pt x="11934" y="11550"/>
                  </a:lnTo>
                  <a:lnTo>
                    <a:pt x="11844" y="11866"/>
                  </a:lnTo>
                  <a:lnTo>
                    <a:pt x="11821" y="12160"/>
                  </a:lnTo>
                  <a:lnTo>
                    <a:pt x="11821" y="12160"/>
                  </a:lnTo>
                  <a:lnTo>
                    <a:pt x="11799" y="12341"/>
                  </a:lnTo>
                  <a:lnTo>
                    <a:pt x="11776" y="12522"/>
                  </a:lnTo>
                  <a:lnTo>
                    <a:pt x="11640" y="12974"/>
                  </a:lnTo>
                  <a:lnTo>
                    <a:pt x="11482" y="13516"/>
                  </a:lnTo>
                  <a:lnTo>
                    <a:pt x="11279" y="14126"/>
                  </a:lnTo>
                  <a:lnTo>
                    <a:pt x="10827" y="15505"/>
                  </a:lnTo>
                  <a:lnTo>
                    <a:pt x="10601" y="16228"/>
                  </a:lnTo>
                  <a:lnTo>
                    <a:pt x="10420" y="16997"/>
                  </a:lnTo>
                  <a:lnTo>
                    <a:pt x="10262" y="17765"/>
                  </a:lnTo>
                  <a:lnTo>
                    <a:pt x="10217" y="18172"/>
                  </a:lnTo>
                  <a:lnTo>
                    <a:pt x="10171" y="18556"/>
                  </a:lnTo>
                  <a:lnTo>
                    <a:pt x="10149" y="18940"/>
                  </a:lnTo>
                  <a:lnTo>
                    <a:pt x="10149" y="19302"/>
                  </a:lnTo>
                  <a:lnTo>
                    <a:pt x="10171" y="19686"/>
                  </a:lnTo>
                  <a:lnTo>
                    <a:pt x="10217" y="20048"/>
                  </a:lnTo>
                  <a:lnTo>
                    <a:pt x="10284" y="20409"/>
                  </a:lnTo>
                  <a:lnTo>
                    <a:pt x="10375" y="20748"/>
                  </a:lnTo>
                  <a:lnTo>
                    <a:pt x="10510" y="21087"/>
                  </a:lnTo>
                  <a:lnTo>
                    <a:pt x="10669" y="21404"/>
                  </a:lnTo>
                  <a:lnTo>
                    <a:pt x="10872" y="21698"/>
                  </a:lnTo>
                  <a:lnTo>
                    <a:pt x="11098" y="21992"/>
                  </a:lnTo>
                  <a:lnTo>
                    <a:pt x="11369" y="22263"/>
                  </a:lnTo>
                  <a:lnTo>
                    <a:pt x="11663" y="22511"/>
                  </a:lnTo>
                  <a:lnTo>
                    <a:pt x="11663" y="22511"/>
                  </a:lnTo>
                  <a:lnTo>
                    <a:pt x="10375" y="22353"/>
                  </a:lnTo>
                  <a:lnTo>
                    <a:pt x="9222" y="22240"/>
                  </a:lnTo>
                  <a:lnTo>
                    <a:pt x="8182" y="22150"/>
                  </a:lnTo>
                  <a:lnTo>
                    <a:pt x="7278" y="22105"/>
                  </a:lnTo>
                  <a:lnTo>
                    <a:pt x="6487" y="22059"/>
                  </a:lnTo>
                  <a:lnTo>
                    <a:pt x="5787" y="22037"/>
                  </a:lnTo>
                  <a:lnTo>
                    <a:pt x="4634" y="22037"/>
                  </a:lnTo>
                  <a:lnTo>
                    <a:pt x="4634" y="22037"/>
                  </a:lnTo>
                  <a:lnTo>
                    <a:pt x="4069" y="22082"/>
                  </a:lnTo>
                  <a:lnTo>
                    <a:pt x="3504" y="22150"/>
                  </a:lnTo>
                  <a:lnTo>
                    <a:pt x="2939" y="22263"/>
                  </a:lnTo>
                  <a:lnTo>
                    <a:pt x="2374" y="22376"/>
                  </a:lnTo>
                  <a:lnTo>
                    <a:pt x="1402" y="22579"/>
                  </a:lnTo>
                  <a:lnTo>
                    <a:pt x="973" y="22647"/>
                  </a:lnTo>
                  <a:lnTo>
                    <a:pt x="611" y="22670"/>
                  </a:lnTo>
                  <a:lnTo>
                    <a:pt x="453" y="22670"/>
                  </a:lnTo>
                  <a:lnTo>
                    <a:pt x="317" y="22624"/>
                  </a:lnTo>
                  <a:lnTo>
                    <a:pt x="204" y="22579"/>
                  </a:lnTo>
                  <a:lnTo>
                    <a:pt x="114" y="22511"/>
                  </a:lnTo>
                  <a:lnTo>
                    <a:pt x="46" y="22421"/>
                  </a:lnTo>
                  <a:lnTo>
                    <a:pt x="23" y="22308"/>
                  </a:lnTo>
                  <a:lnTo>
                    <a:pt x="1" y="22150"/>
                  </a:lnTo>
                  <a:lnTo>
                    <a:pt x="23" y="21992"/>
                  </a:lnTo>
                  <a:lnTo>
                    <a:pt x="46" y="21788"/>
                  </a:lnTo>
                  <a:lnTo>
                    <a:pt x="136" y="21540"/>
                  </a:lnTo>
                  <a:lnTo>
                    <a:pt x="227" y="21268"/>
                  </a:lnTo>
                  <a:lnTo>
                    <a:pt x="362" y="20974"/>
                  </a:lnTo>
                  <a:lnTo>
                    <a:pt x="747" y="20251"/>
                  </a:lnTo>
                  <a:lnTo>
                    <a:pt x="1289" y="19347"/>
                  </a:lnTo>
                  <a:lnTo>
                    <a:pt x="1289" y="19347"/>
                  </a:lnTo>
                  <a:lnTo>
                    <a:pt x="1605" y="18782"/>
                  </a:lnTo>
                  <a:lnTo>
                    <a:pt x="1899" y="18240"/>
                  </a:lnTo>
                  <a:lnTo>
                    <a:pt x="2148" y="17697"/>
                  </a:lnTo>
                  <a:lnTo>
                    <a:pt x="2351" y="17155"/>
                  </a:lnTo>
                  <a:lnTo>
                    <a:pt x="2510" y="16612"/>
                  </a:lnTo>
                  <a:lnTo>
                    <a:pt x="2645" y="16070"/>
                  </a:lnTo>
                  <a:lnTo>
                    <a:pt x="2758" y="15550"/>
                  </a:lnTo>
                  <a:lnTo>
                    <a:pt x="2826" y="15030"/>
                  </a:lnTo>
                  <a:lnTo>
                    <a:pt x="2894" y="14533"/>
                  </a:lnTo>
                  <a:lnTo>
                    <a:pt x="2916" y="14013"/>
                  </a:lnTo>
                  <a:lnTo>
                    <a:pt x="2916" y="13539"/>
                  </a:lnTo>
                  <a:lnTo>
                    <a:pt x="2894" y="13041"/>
                  </a:lnTo>
                  <a:lnTo>
                    <a:pt x="2849" y="12567"/>
                  </a:lnTo>
                  <a:lnTo>
                    <a:pt x="2781" y="12092"/>
                  </a:lnTo>
                  <a:lnTo>
                    <a:pt x="2713" y="11640"/>
                  </a:lnTo>
                  <a:lnTo>
                    <a:pt x="2623" y="11188"/>
                  </a:lnTo>
                  <a:lnTo>
                    <a:pt x="2419" y="10329"/>
                  </a:lnTo>
                  <a:lnTo>
                    <a:pt x="2193" y="9516"/>
                  </a:lnTo>
                  <a:lnTo>
                    <a:pt x="1944" y="8725"/>
                  </a:lnTo>
                  <a:lnTo>
                    <a:pt x="1696" y="8001"/>
                  </a:lnTo>
                  <a:lnTo>
                    <a:pt x="1470" y="7323"/>
                  </a:lnTo>
                  <a:lnTo>
                    <a:pt x="1266" y="6713"/>
                  </a:lnTo>
                  <a:lnTo>
                    <a:pt x="1131" y="6125"/>
                  </a:lnTo>
                  <a:lnTo>
                    <a:pt x="1108" y="5877"/>
                  </a:lnTo>
                  <a:lnTo>
                    <a:pt x="1086" y="5628"/>
                  </a:lnTo>
                  <a:lnTo>
                    <a:pt x="1086" y="5628"/>
                  </a:lnTo>
                  <a:lnTo>
                    <a:pt x="1063" y="5380"/>
                  </a:lnTo>
                  <a:lnTo>
                    <a:pt x="1086" y="5154"/>
                  </a:lnTo>
                  <a:lnTo>
                    <a:pt x="1131" y="4905"/>
                  </a:lnTo>
                  <a:lnTo>
                    <a:pt x="1176" y="4656"/>
                  </a:lnTo>
                  <a:lnTo>
                    <a:pt x="1244" y="4408"/>
                  </a:lnTo>
                  <a:lnTo>
                    <a:pt x="1312" y="4159"/>
                  </a:lnTo>
                  <a:lnTo>
                    <a:pt x="1515" y="3684"/>
                  </a:lnTo>
                  <a:lnTo>
                    <a:pt x="1764" y="3187"/>
                  </a:lnTo>
                  <a:lnTo>
                    <a:pt x="2035" y="2735"/>
                  </a:lnTo>
                  <a:lnTo>
                    <a:pt x="2329" y="2283"/>
                  </a:lnTo>
                  <a:lnTo>
                    <a:pt x="2623" y="1854"/>
                  </a:lnTo>
                  <a:lnTo>
                    <a:pt x="2939" y="1470"/>
                  </a:lnTo>
                  <a:lnTo>
                    <a:pt x="3233" y="1108"/>
                  </a:lnTo>
                  <a:lnTo>
                    <a:pt x="3753" y="520"/>
                  </a:lnTo>
                  <a:lnTo>
                    <a:pt x="4137" y="136"/>
                  </a:lnTo>
                  <a:lnTo>
                    <a:pt x="4272" y="0"/>
                  </a:lnTo>
                  <a:lnTo>
                    <a:pt x="8363" y="56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46" name="Google Shape;1746;p16"/>
            <p:cNvSpPr/>
            <p:nvPr/>
          </p:nvSpPr>
          <p:spPr>
            <a:xfrm>
              <a:off x="4081475" y="1785900"/>
              <a:ext cx="111350" cy="171800"/>
            </a:xfrm>
            <a:custGeom>
              <a:avLst/>
              <a:gdLst/>
              <a:ahLst/>
              <a:cxnLst/>
              <a:rect l="l" t="t" r="r" b="b"/>
              <a:pathLst>
                <a:path w="4454" h="6872" extrusionOk="0">
                  <a:moveTo>
                    <a:pt x="882" y="1"/>
                  </a:moveTo>
                  <a:lnTo>
                    <a:pt x="815" y="23"/>
                  </a:lnTo>
                  <a:lnTo>
                    <a:pt x="747" y="68"/>
                  </a:lnTo>
                  <a:lnTo>
                    <a:pt x="679" y="159"/>
                  </a:lnTo>
                  <a:lnTo>
                    <a:pt x="634" y="249"/>
                  </a:lnTo>
                  <a:lnTo>
                    <a:pt x="589" y="385"/>
                  </a:lnTo>
                  <a:lnTo>
                    <a:pt x="543" y="543"/>
                  </a:lnTo>
                  <a:lnTo>
                    <a:pt x="521" y="724"/>
                  </a:lnTo>
                  <a:lnTo>
                    <a:pt x="476" y="1537"/>
                  </a:lnTo>
                  <a:lnTo>
                    <a:pt x="453" y="2328"/>
                  </a:lnTo>
                  <a:lnTo>
                    <a:pt x="476" y="3752"/>
                  </a:lnTo>
                  <a:lnTo>
                    <a:pt x="453" y="4408"/>
                  </a:lnTo>
                  <a:lnTo>
                    <a:pt x="430" y="4724"/>
                  </a:lnTo>
                  <a:lnTo>
                    <a:pt x="385" y="5018"/>
                  </a:lnTo>
                  <a:lnTo>
                    <a:pt x="317" y="5289"/>
                  </a:lnTo>
                  <a:lnTo>
                    <a:pt x="250" y="5538"/>
                  </a:lnTo>
                  <a:lnTo>
                    <a:pt x="159" y="5786"/>
                  </a:lnTo>
                  <a:lnTo>
                    <a:pt x="46" y="6012"/>
                  </a:lnTo>
                  <a:lnTo>
                    <a:pt x="1" y="6103"/>
                  </a:lnTo>
                  <a:lnTo>
                    <a:pt x="1" y="6148"/>
                  </a:lnTo>
                  <a:lnTo>
                    <a:pt x="1" y="6216"/>
                  </a:lnTo>
                  <a:lnTo>
                    <a:pt x="24" y="6261"/>
                  </a:lnTo>
                  <a:lnTo>
                    <a:pt x="69" y="6306"/>
                  </a:lnTo>
                  <a:lnTo>
                    <a:pt x="114" y="6329"/>
                  </a:lnTo>
                  <a:lnTo>
                    <a:pt x="272" y="6374"/>
                  </a:lnTo>
                  <a:lnTo>
                    <a:pt x="724" y="6465"/>
                  </a:lnTo>
                  <a:lnTo>
                    <a:pt x="973" y="6510"/>
                  </a:lnTo>
                  <a:lnTo>
                    <a:pt x="1267" y="6578"/>
                  </a:lnTo>
                  <a:lnTo>
                    <a:pt x="1606" y="6668"/>
                  </a:lnTo>
                  <a:lnTo>
                    <a:pt x="2013" y="6736"/>
                  </a:lnTo>
                  <a:lnTo>
                    <a:pt x="2465" y="6781"/>
                  </a:lnTo>
                  <a:lnTo>
                    <a:pt x="2939" y="6826"/>
                  </a:lnTo>
                  <a:lnTo>
                    <a:pt x="3753" y="6871"/>
                  </a:lnTo>
                  <a:lnTo>
                    <a:pt x="4069" y="6871"/>
                  </a:lnTo>
                  <a:lnTo>
                    <a:pt x="4250" y="6849"/>
                  </a:lnTo>
                  <a:lnTo>
                    <a:pt x="4340" y="6804"/>
                  </a:lnTo>
                  <a:lnTo>
                    <a:pt x="4408" y="6736"/>
                  </a:lnTo>
                  <a:lnTo>
                    <a:pt x="4431" y="6668"/>
                  </a:lnTo>
                  <a:lnTo>
                    <a:pt x="4453" y="6555"/>
                  </a:lnTo>
                  <a:lnTo>
                    <a:pt x="4431" y="6465"/>
                  </a:lnTo>
                  <a:lnTo>
                    <a:pt x="4408" y="6352"/>
                  </a:lnTo>
                  <a:lnTo>
                    <a:pt x="4318" y="6103"/>
                  </a:lnTo>
                  <a:lnTo>
                    <a:pt x="4160" y="5832"/>
                  </a:lnTo>
                  <a:lnTo>
                    <a:pt x="3979" y="5583"/>
                  </a:lnTo>
                  <a:lnTo>
                    <a:pt x="3775" y="5357"/>
                  </a:lnTo>
                  <a:lnTo>
                    <a:pt x="3595" y="5176"/>
                  </a:lnTo>
                  <a:lnTo>
                    <a:pt x="3459" y="5063"/>
                  </a:lnTo>
                  <a:lnTo>
                    <a:pt x="3346" y="4882"/>
                  </a:lnTo>
                  <a:lnTo>
                    <a:pt x="3278" y="4679"/>
                  </a:lnTo>
                  <a:lnTo>
                    <a:pt x="3188" y="4453"/>
                  </a:lnTo>
                  <a:lnTo>
                    <a:pt x="3120" y="4114"/>
                  </a:lnTo>
                  <a:lnTo>
                    <a:pt x="3075" y="3707"/>
                  </a:lnTo>
                  <a:lnTo>
                    <a:pt x="2939" y="2690"/>
                  </a:lnTo>
                  <a:lnTo>
                    <a:pt x="2849" y="2035"/>
                  </a:lnTo>
                  <a:lnTo>
                    <a:pt x="2510" y="1537"/>
                  </a:lnTo>
                  <a:lnTo>
                    <a:pt x="2171" y="1040"/>
                  </a:lnTo>
                  <a:lnTo>
                    <a:pt x="1967" y="792"/>
                  </a:lnTo>
                  <a:lnTo>
                    <a:pt x="1764" y="566"/>
                  </a:lnTo>
                  <a:lnTo>
                    <a:pt x="1560" y="340"/>
                  </a:lnTo>
                  <a:lnTo>
                    <a:pt x="1357" y="181"/>
                  </a:lnTo>
                  <a:lnTo>
                    <a:pt x="1154" y="46"/>
                  </a:lnTo>
                  <a:lnTo>
                    <a:pt x="1063" y="23"/>
                  </a:lnTo>
                  <a:lnTo>
                    <a:pt x="973" y="1"/>
                  </a:lnTo>
                  <a:close/>
                </a:path>
              </a:pathLst>
            </a:custGeom>
            <a:solidFill>
              <a:srgbClr val="F4B0B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47" name="Google Shape;1747;p16"/>
            <p:cNvSpPr/>
            <p:nvPr/>
          </p:nvSpPr>
          <p:spPr>
            <a:xfrm>
              <a:off x="4081475" y="1785900"/>
              <a:ext cx="111350" cy="171800"/>
            </a:xfrm>
            <a:custGeom>
              <a:avLst/>
              <a:gdLst/>
              <a:ahLst/>
              <a:cxnLst/>
              <a:rect l="l" t="t" r="r" b="b"/>
              <a:pathLst>
                <a:path w="4454" h="6872" fill="none" extrusionOk="0">
                  <a:moveTo>
                    <a:pt x="46" y="6012"/>
                  </a:moveTo>
                  <a:lnTo>
                    <a:pt x="46" y="6012"/>
                  </a:lnTo>
                  <a:lnTo>
                    <a:pt x="1" y="6103"/>
                  </a:lnTo>
                  <a:lnTo>
                    <a:pt x="1" y="6148"/>
                  </a:lnTo>
                  <a:lnTo>
                    <a:pt x="1" y="6216"/>
                  </a:lnTo>
                  <a:lnTo>
                    <a:pt x="24" y="6261"/>
                  </a:lnTo>
                  <a:lnTo>
                    <a:pt x="69" y="6306"/>
                  </a:lnTo>
                  <a:lnTo>
                    <a:pt x="114" y="6329"/>
                  </a:lnTo>
                  <a:lnTo>
                    <a:pt x="272" y="6374"/>
                  </a:lnTo>
                  <a:lnTo>
                    <a:pt x="724" y="6465"/>
                  </a:lnTo>
                  <a:lnTo>
                    <a:pt x="973" y="6510"/>
                  </a:lnTo>
                  <a:lnTo>
                    <a:pt x="1267" y="6578"/>
                  </a:lnTo>
                  <a:lnTo>
                    <a:pt x="1267" y="6578"/>
                  </a:lnTo>
                  <a:lnTo>
                    <a:pt x="1606" y="6668"/>
                  </a:lnTo>
                  <a:lnTo>
                    <a:pt x="2013" y="6736"/>
                  </a:lnTo>
                  <a:lnTo>
                    <a:pt x="2465" y="6781"/>
                  </a:lnTo>
                  <a:lnTo>
                    <a:pt x="2939" y="6826"/>
                  </a:lnTo>
                  <a:lnTo>
                    <a:pt x="3753" y="6871"/>
                  </a:lnTo>
                  <a:lnTo>
                    <a:pt x="4069" y="6871"/>
                  </a:lnTo>
                  <a:lnTo>
                    <a:pt x="4250" y="6849"/>
                  </a:lnTo>
                  <a:lnTo>
                    <a:pt x="4250" y="6849"/>
                  </a:lnTo>
                  <a:lnTo>
                    <a:pt x="4340" y="6804"/>
                  </a:lnTo>
                  <a:lnTo>
                    <a:pt x="4408" y="6736"/>
                  </a:lnTo>
                  <a:lnTo>
                    <a:pt x="4431" y="6668"/>
                  </a:lnTo>
                  <a:lnTo>
                    <a:pt x="4453" y="6555"/>
                  </a:lnTo>
                  <a:lnTo>
                    <a:pt x="4431" y="6465"/>
                  </a:lnTo>
                  <a:lnTo>
                    <a:pt x="4408" y="6352"/>
                  </a:lnTo>
                  <a:lnTo>
                    <a:pt x="4318" y="6103"/>
                  </a:lnTo>
                  <a:lnTo>
                    <a:pt x="4160" y="5832"/>
                  </a:lnTo>
                  <a:lnTo>
                    <a:pt x="3979" y="5583"/>
                  </a:lnTo>
                  <a:lnTo>
                    <a:pt x="3775" y="5357"/>
                  </a:lnTo>
                  <a:lnTo>
                    <a:pt x="3595" y="5176"/>
                  </a:lnTo>
                  <a:lnTo>
                    <a:pt x="3595" y="5176"/>
                  </a:lnTo>
                  <a:lnTo>
                    <a:pt x="3459" y="5063"/>
                  </a:lnTo>
                  <a:lnTo>
                    <a:pt x="3346" y="4882"/>
                  </a:lnTo>
                  <a:lnTo>
                    <a:pt x="3278" y="4679"/>
                  </a:lnTo>
                  <a:lnTo>
                    <a:pt x="3188" y="4453"/>
                  </a:lnTo>
                  <a:lnTo>
                    <a:pt x="3188" y="4453"/>
                  </a:lnTo>
                  <a:lnTo>
                    <a:pt x="3120" y="4114"/>
                  </a:lnTo>
                  <a:lnTo>
                    <a:pt x="3075" y="3707"/>
                  </a:lnTo>
                  <a:lnTo>
                    <a:pt x="2939" y="2690"/>
                  </a:lnTo>
                  <a:lnTo>
                    <a:pt x="2939" y="2690"/>
                  </a:lnTo>
                  <a:lnTo>
                    <a:pt x="2849" y="2035"/>
                  </a:lnTo>
                  <a:lnTo>
                    <a:pt x="2849" y="2035"/>
                  </a:lnTo>
                  <a:lnTo>
                    <a:pt x="2510" y="1537"/>
                  </a:lnTo>
                  <a:lnTo>
                    <a:pt x="2171" y="1040"/>
                  </a:lnTo>
                  <a:lnTo>
                    <a:pt x="1967" y="792"/>
                  </a:lnTo>
                  <a:lnTo>
                    <a:pt x="1764" y="566"/>
                  </a:lnTo>
                  <a:lnTo>
                    <a:pt x="1560" y="340"/>
                  </a:lnTo>
                  <a:lnTo>
                    <a:pt x="1357" y="181"/>
                  </a:lnTo>
                  <a:lnTo>
                    <a:pt x="1154" y="46"/>
                  </a:lnTo>
                  <a:lnTo>
                    <a:pt x="1063" y="23"/>
                  </a:lnTo>
                  <a:lnTo>
                    <a:pt x="973" y="1"/>
                  </a:lnTo>
                  <a:lnTo>
                    <a:pt x="882" y="1"/>
                  </a:lnTo>
                  <a:lnTo>
                    <a:pt x="815" y="23"/>
                  </a:lnTo>
                  <a:lnTo>
                    <a:pt x="747" y="68"/>
                  </a:lnTo>
                  <a:lnTo>
                    <a:pt x="679" y="159"/>
                  </a:lnTo>
                  <a:lnTo>
                    <a:pt x="634" y="249"/>
                  </a:lnTo>
                  <a:lnTo>
                    <a:pt x="589" y="385"/>
                  </a:lnTo>
                  <a:lnTo>
                    <a:pt x="543" y="543"/>
                  </a:lnTo>
                  <a:lnTo>
                    <a:pt x="521" y="724"/>
                  </a:lnTo>
                  <a:lnTo>
                    <a:pt x="521" y="724"/>
                  </a:lnTo>
                  <a:lnTo>
                    <a:pt x="476" y="1537"/>
                  </a:lnTo>
                  <a:lnTo>
                    <a:pt x="453" y="2328"/>
                  </a:lnTo>
                  <a:lnTo>
                    <a:pt x="476" y="3752"/>
                  </a:lnTo>
                  <a:lnTo>
                    <a:pt x="453" y="4408"/>
                  </a:lnTo>
                  <a:lnTo>
                    <a:pt x="430" y="4724"/>
                  </a:lnTo>
                  <a:lnTo>
                    <a:pt x="385" y="5018"/>
                  </a:lnTo>
                  <a:lnTo>
                    <a:pt x="317" y="5289"/>
                  </a:lnTo>
                  <a:lnTo>
                    <a:pt x="250" y="5538"/>
                  </a:lnTo>
                  <a:lnTo>
                    <a:pt x="159" y="5786"/>
                  </a:lnTo>
                  <a:lnTo>
                    <a:pt x="46" y="6012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48" name="Google Shape;1748;p16"/>
            <p:cNvSpPr/>
            <p:nvPr/>
          </p:nvSpPr>
          <p:spPr>
            <a:xfrm>
              <a:off x="4121050" y="1870100"/>
              <a:ext cx="45225" cy="48600"/>
            </a:xfrm>
            <a:custGeom>
              <a:avLst/>
              <a:gdLst/>
              <a:ahLst/>
              <a:cxnLst/>
              <a:rect l="l" t="t" r="r" b="b"/>
              <a:pathLst>
                <a:path w="1809" h="1944" extrusionOk="0">
                  <a:moveTo>
                    <a:pt x="543" y="0"/>
                  </a:moveTo>
                  <a:lnTo>
                    <a:pt x="384" y="45"/>
                  </a:lnTo>
                  <a:lnTo>
                    <a:pt x="249" y="68"/>
                  </a:lnTo>
                  <a:lnTo>
                    <a:pt x="136" y="136"/>
                  </a:lnTo>
                  <a:lnTo>
                    <a:pt x="68" y="204"/>
                  </a:lnTo>
                  <a:lnTo>
                    <a:pt x="0" y="271"/>
                  </a:lnTo>
                  <a:lnTo>
                    <a:pt x="0" y="384"/>
                  </a:lnTo>
                  <a:lnTo>
                    <a:pt x="23" y="475"/>
                  </a:lnTo>
                  <a:lnTo>
                    <a:pt x="158" y="746"/>
                  </a:lnTo>
                  <a:lnTo>
                    <a:pt x="294" y="972"/>
                  </a:lnTo>
                  <a:lnTo>
                    <a:pt x="452" y="1198"/>
                  </a:lnTo>
                  <a:lnTo>
                    <a:pt x="656" y="1401"/>
                  </a:lnTo>
                  <a:lnTo>
                    <a:pt x="882" y="1582"/>
                  </a:lnTo>
                  <a:lnTo>
                    <a:pt x="1130" y="1718"/>
                  </a:lnTo>
                  <a:lnTo>
                    <a:pt x="1447" y="1831"/>
                  </a:lnTo>
                  <a:lnTo>
                    <a:pt x="1808" y="1944"/>
                  </a:lnTo>
                  <a:lnTo>
                    <a:pt x="1695" y="1650"/>
                  </a:lnTo>
                  <a:lnTo>
                    <a:pt x="1605" y="1288"/>
                  </a:lnTo>
                  <a:lnTo>
                    <a:pt x="1537" y="814"/>
                  </a:lnTo>
                  <a:lnTo>
                    <a:pt x="1469" y="204"/>
                  </a:lnTo>
                  <a:lnTo>
                    <a:pt x="1288" y="113"/>
                  </a:lnTo>
                  <a:lnTo>
                    <a:pt x="1108" y="45"/>
                  </a:lnTo>
                  <a:lnTo>
                    <a:pt x="904" y="23"/>
                  </a:lnTo>
                  <a:lnTo>
                    <a:pt x="701" y="0"/>
                  </a:lnTo>
                  <a:close/>
                </a:path>
              </a:pathLst>
            </a:custGeom>
            <a:solidFill>
              <a:srgbClr val="C4909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49" name="Google Shape;1749;p16"/>
            <p:cNvSpPr/>
            <p:nvPr/>
          </p:nvSpPr>
          <p:spPr>
            <a:xfrm>
              <a:off x="4121050" y="1870100"/>
              <a:ext cx="45225" cy="48600"/>
            </a:xfrm>
            <a:custGeom>
              <a:avLst/>
              <a:gdLst/>
              <a:ahLst/>
              <a:cxnLst/>
              <a:rect l="l" t="t" r="r" b="b"/>
              <a:pathLst>
                <a:path w="1809" h="1944" fill="none" extrusionOk="0">
                  <a:moveTo>
                    <a:pt x="701" y="0"/>
                  </a:moveTo>
                  <a:lnTo>
                    <a:pt x="701" y="0"/>
                  </a:lnTo>
                  <a:lnTo>
                    <a:pt x="543" y="0"/>
                  </a:lnTo>
                  <a:lnTo>
                    <a:pt x="384" y="45"/>
                  </a:lnTo>
                  <a:lnTo>
                    <a:pt x="249" y="68"/>
                  </a:lnTo>
                  <a:lnTo>
                    <a:pt x="136" y="136"/>
                  </a:lnTo>
                  <a:lnTo>
                    <a:pt x="68" y="204"/>
                  </a:lnTo>
                  <a:lnTo>
                    <a:pt x="0" y="271"/>
                  </a:lnTo>
                  <a:lnTo>
                    <a:pt x="0" y="384"/>
                  </a:lnTo>
                  <a:lnTo>
                    <a:pt x="23" y="475"/>
                  </a:lnTo>
                  <a:lnTo>
                    <a:pt x="23" y="475"/>
                  </a:lnTo>
                  <a:lnTo>
                    <a:pt x="158" y="746"/>
                  </a:lnTo>
                  <a:lnTo>
                    <a:pt x="294" y="972"/>
                  </a:lnTo>
                  <a:lnTo>
                    <a:pt x="452" y="1198"/>
                  </a:lnTo>
                  <a:lnTo>
                    <a:pt x="656" y="1401"/>
                  </a:lnTo>
                  <a:lnTo>
                    <a:pt x="882" y="1582"/>
                  </a:lnTo>
                  <a:lnTo>
                    <a:pt x="1130" y="1718"/>
                  </a:lnTo>
                  <a:lnTo>
                    <a:pt x="1447" y="1831"/>
                  </a:lnTo>
                  <a:lnTo>
                    <a:pt x="1808" y="1944"/>
                  </a:lnTo>
                  <a:lnTo>
                    <a:pt x="1808" y="1944"/>
                  </a:lnTo>
                  <a:lnTo>
                    <a:pt x="1695" y="1650"/>
                  </a:lnTo>
                  <a:lnTo>
                    <a:pt x="1605" y="1288"/>
                  </a:lnTo>
                  <a:lnTo>
                    <a:pt x="1537" y="814"/>
                  </a:lnTo>
                  <a:lnTo>
                    <a:pt x="1469" y="204"/>
                  </a:lnTo>
                  <a:lnTo>
                    <a:pt x="1469" y="204"/>
                  </a:lnTo>
                  <a:lnTo>
                    <a:pt x="1288" y="113"/>
                  </a:lnTo>
                  <a:lnTo>
                    <a:pt x="1108" y="45"/>
                  </a:lnTo>
                  <a:lnTo>
                    <a:pt x="904" y="23"/>
                  </a:lnTo>
                  <a:lnTo>
                    <a:pt x="70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50" name="Google Shape;1750;p16"/>
            <p:cNvSpPr/>
            <p:nvPr/>
          </p:nvSpPr>
          <p:spPr>
            <a:xfrm>
              <a:off x="4109750" y="1732800"/>
              <a:ext cx="100600" cy="142975"/>
            </a:xfrm>
            <a:custGeom>
              <a:avLst/>
              <a:gdLst/>
              <a:ahLst/>
              <a:cxnLst/>
              <a:rect l="l" t="t" r="r" b="b"/>
              <a:pathLst>
                <a:path w="4024" h="5719" extrusionOk="0">
                  <a:moveTo>
                    <a:pt x="0" y="0"/>
                  </a:moveTo>
                  <a:lnTo>
                    <a:pt x="23" y="701"/>
                  </a:lnTo>
                  <a:lnTo>
                    <a:pt x="23" y="2622"/>
                  </a:lnTo>
                  <a:lnTo>
                    <a:pt x="23" y="2916"/>
                  </a:lnTo>
                  <a:lnTo>
                    <a:pt x="68" y="3209"/>
                  </a:lnTo>
                  <a:lnTo>
                    <a:pt x="136" y="3458"/>
                  </a:lnTo>
                  <a:lnTo>
                    <a:pt x="226" y="3729"/>
                  </a:lnTo>
                  <a:lnTo>
                    <a:pt x="316" y="3955"/>
                  </a:lnTo>
                  <a:lnTo>
                    <a:pt x="452" y="4181"/>
                  </a:lnTo>
                  <a:lnTo>
                    <a:pt x="610" y="4385"/>
                  </a:lnTo>
                  <a:lnTo>
                    <a:pt x="769" y="4565"/>
                  </a:lnTo>
                  <a:lnTo>
                    <a:pt x="972" y="4746"/>
                  </a:lnTo>
                  <a:lnTo>
                    <a:pt x="1153" y="4904"/>
                  </a:lnTo>
                  <a:lnTo>
                    <a:pt x="1379" y="5063"/>
                  </a:lnTo>
                  <a:lnTo>
                    <a:pt x="1605" y="5198"/>
                  </a:lnTo>
                  <a:lnTo>
                    <a:pt x="1853" y="5334"/>
                  </a:lnTo>
                  <a:lnTo>
                    <a:pt x="2102" y="5447"/>
                  </a:lnTo>
                  <a:lnTo>
                    <a:pt x="2622" y="5673"/>
                  </a:lnTo>
                  <a:lnTo>
                    <a:pt x="2757" y="5696"/>
                  </a:lnTo>
                  <a:lnTo>
                    <a:pt x="2870" y="5718"/>
                  </a:lnTo>
                  <a:lnTo>
                    <a:pt x="2983" y="5718"/>
                  </a:lnTo>
                  <a:lnTo>
                    <a:pt x="3074" y="5696"/>
                  </a:lnTo>
                  <a:lnTo>
                    <a:pt x="3164" y="5673"/>
                  </a:lnTo>
                  <a:lnTo>
                    <a:pt x="3255" y="5605"/>
                  </a:lnTo>
                  <a:lnTo>
                    <a:pt x="3322" y="5560"/>
                  </a:lnTo>
                  <a:lnTo>
                    <a:pt x="3368" y="5470"/>
                  </a:lnTo>
                  <a:lnTo>
                    <a:pt x="3481" y="5289"/>
                  </a:lnTo>
                  <a:lnTo>
                    <a:pt x="3548" y="5063"/>
                  </a:lnTo>
                  <a:lnTo>
                    <a:pt x="3594" y="4814"/>
                  </a:lnTo>
                  <a:lnTo>
                    <a:pt x="3616" y="4543"/>
                  </a:lnTo>
                  <a:lnTo>
                    <a:pt x="3662" y="3978"/>
                  </a:lnTo>
                  <a:lnTo>
                    <a:pt x="3684" y="3481"/>
                  </a:lnTo>
                  <a:lnTo>
                    <a:pt x="3707" y="3277"/>
                  </a:lnTo>
                  <a:lnTo>
                    <a:pt x="3729" y="3119"/>
                  </a:lnTo>
                  <a:lnTo>
                    <a:pt x="3775" y="3006"/>
                  </a:lnTo>
                  <a:lnTo>
                    <a:pt x="3797" y="2983"/>
                  </a:lnTo>
                  <a:lnTo>
                    <a:pt x="3842" y="2961"/>
                  </a:lnTo>
                  <a:lnTo>
                    <a:pt x="3910" y="2938"/>
                  </a:lnTo>
                  <a:lnTo>
                    <a:pt x="3978" y="2893"/>
                  </a:lnTo>
                  <a:lnTo>
                    <a:pt x="4023" y="2848"/>
                  </a:lnTo>
                  <a:lnTo>
                    <a:pt x="4023" y="2757"/>
                  </a:lnTo>
                  <a:lnTo>
                    <a:pt x="4023" y="2690"/>
                  </a:lnTo>
                  <a:lnTo>
                    <a:pt x="4001" y="2577"/>
                  </a:lnTo>
                  <a:lnTo>
                    <a:pt x="3888" y="2328"/>
                  </a:lnTo>
                  <a:lnTo>
                    <a:pt x="3616" y="1605"/>
                  </a:lnTo>
                  <a:lnTo>
                    <a:pt x="3435" y="1153"/>
                  </a:lnTo>
                  <a:lnTo>
                    <a:pt x="3300" y="6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B0B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51" name="Google Shape;1751;p16"/>
            <p:cNvSpPr/>
            <p:nvPr/>
          </p:nvSpPr>
          <p:spPr>
            <a:xfrm>
              <a:off x="3586525" y="1680800"/>
              <a:ext cx="613650" cy="279150"/>
            </a:xfrm>
            <a:custGeom>
              <a:avLst/>
              <a:gdLst/>
              <a:ahLst/>
              <a:cxnLst/>
              <a:rect l="l" t="t" r="r" b="b"/>
              <a:pathLst>
                <a:path w="24546" h="11166" extrusionOk="0">
                  <a:moveTo>
                    <a:pt x="20929" y="1"/>
                  </a:moveTo>
                  <a:lnTo>
                    <a:pt x="20500" y="68"/>
                  </a:lnTo>
                  <a:lnTo>
                    <a:pt x="20115" y="136"/>
                  </a:lnTo>
                  <a:lnTo>
                    <a:pt x="19731" y="204"/>
                  </a:lnTo>
                  <a:lnTo>
                    <a:pt x="19370" y="294"/>
                  </a:lnTo>
                  <a:lnTo>
                    <a:pt x="19031" y="408"/>
                  </a:lnTo>
                  <a:lnTo>
                    <a:pt x="18714" y="521"/>
                  </a:lnTo>
                  <a:lnTo>
                    <a:pt x="18398" y="656"/>
                  </a:lnTo>
                  <a:lnTo>
                    <a:pt x="18126" y="792"/>
                  </a:lnTo>
                  <a:lnTo>
                    <a:pt x="17855" y="950"/>
                  </a:lnTo>
                  <a:lnTo>
                    <a:pt x="17584" y="1108"/>
                  </a:lnTo>
                  <a:lnTo>
                    <a:pt x="17132" y="1425"/>
                  </a:lnTo>
                  <a:lnTo>
                    <a:pt x="16725" y="1764"/>
                  </a:lnTo>
                  <a:lnTo>
                    <a:pt x="16341" y="2125"/>
                  </a:lnTo>
                  <a:lnTo>
                    <a:pt x="16025" y="2464"/>
                  </a:lnTo>
                  <a:lnTo>
                    <a:pt x="15708" y="2803"/>
                  </a:lnTo>
                  <a:lnTo>
                    <a:pt x="15188" y="3436"/>
                  </a:lnTo>
                  <a:lnTo>
                    <a:pt x="14940" y="3707"/>
                  </a:lnTo>
                  <a:lnTo>
                    <a:pt x="14691" y="3911"/>
                  </a:lnTo>
                  <a:lnTo>
                    <a:pt x="14442" y="4092"/>
                  </a:lnTo>
                  <a:lnTo>
                    <a:pt x="14329" y="4159"/>
                  </a:lnTo>
                  <a:lnTo>
                    <a:pt x="14194" y="4205"/>
                  </a:lnTo>
                  <a:lnTo>
                    <a:pt x="13742" y="4318"/>
                  </a:lnTo>
                  <a:lnTo>
                    <a:pt x="13358" y="4385"/>
                  </a:lnTo>
                  <a:lnTo>
                    <a:pt x="12996" y="4431"/>
                  </a:lnTo>
                  <a:lnTo>
                    <a:pt x="12657" y="4431"/>
                  </a:lnTo>
                  <a:lnTo>
                    <a:pt x="12341" y="4408"/>
                  </a:lnTo>
                  <a:lnTo>
                    <a:pt x="12047" y="4363"/>
                  </a:lnTo>
                  <a:lnTo>
                    <a:pt x="11504" y="4227"/>
                  </a:lnTo>
                  <a:lnTo>
                    <a:pt x="10962" y="4114"/>
                  </a:lnTo>
                  <a:lnTo>
                    <a:pt x="10668" y="4069"/>
                  </a:lnTo>
                  <a:lnTo>
                    <a:pt x="10374" y="4024"/>
                  </a:lnTo>
                  <a:lnTo>
                    <a:pt x="10035" y="4024"/>
                  </a:lnTo>
                  <a:lnTo>
                    <a:pt x="9696" y="4046"/>
                  </a:lnTo>
                  <a:lnTo>
                    <a:pt x="9312" y="4114"/>
                  </a:lnTo>
                  <a:lnTo>
                    <a:pt x="8883" y="4205"/>
                  </a:lnTo>
                  <a:lnTo>
                    <a:pt x="8724" y="4250"/>
                  </a:lnTo>
                  <a:lnTo>
                    <a:pt x="8589" y="4318"/>
                  </a:lnTo>
                  <a:lnTo>
                    <a:pt x="8340" y="4453"/>
                  </a:lnTo>
                  <a:lnTo>
                    <a:pt x="8114" y="4657"/>
                  </a:lnTo>
                  <a:lnTo>
                    <a:pt x="7911" y="4860"/>
                  </a:lnTo>
                  <a:lnTo>
                    <a:pt x="7730" y="5109"/>
                  </a:lnTo>
                  <a:lnTo>
                    <a:pt x="7572" y="5357"/>
                  </a:lnTo>
                  <a:lnTo>
                    <a:pt x="7255" y="5877"/>
                  </a:lnTo>
                  <a:lnTo>
                    <a:pt x="6961" y="6397"/>
                  </a:lnTo>
                  <a:lnTo>
                    <a:pt x="6803" y="6623"/>
                  </a:lnTo>
                  <a:lnTo>
                    <a:pt x="6645" y="6826"/>
                  </a:lnTo>
                  <a:lnTo>
                    <a:pt x="6442" y="7007"/>
                  </a:lnTo>
                  <a:lnTo>
                    <a:pt x="6238" y="7165"/>
                  </a:lnTo>
                  <a:lnTo>
                    <a:pt x="6125" y="7211"/>
                  </a:lnTo>
                  <a:lnTo>
                    <a:pt x="6012" y="7256"/>
                  </a:lnTo>
                  <a:lnTo>
                    <a:pt x="5877" y="7278"/>
                  </a:lnTo>
                  <a:lnTo>
                    <a:pt x="5741" y="7301"/>
                  </a:lnTo>
                  <a:lnTo>
                    <a:pt x="4950" y="7301"/>
                  </a:lnTo>
                  <a:lnTo>
                    <a:pt x="4520" y="7256"/>
                  </a:lnTo>
                  <a:lnTo>
                    <a:pt x="4091" y="7188"/>
                  </a:lnTo>
                  <a:lnTo>
                    <a:pt x="3210" y="7075"/>
                  </a:lnTo>
                  <a:lnTo>
                    <a:pt x="2351" y="6984"/>
                  </a:lnTo>
                  <a:lnTo>
                    <a:pt x="1944" y="6962"/>
                  </a:lnTo>
                  <a:lnTo>
                    <a:pt x="1582" y="6962"/>
                  </a:lnTo>
                  <a:lnTo>
                    <a:pt x="1221" y="6984"/>
                  </a:lnTo>
                  <a:lnTo>
                    <a:pt x="904" y="7075"/>
                  </a:lnTo>
                  <a:lnTo>
                    <a:pt x="746" y="7120"/>
                  </a:lnTo>
                  <a:lnTo>
                    <a:pt x="610" y="7188"/>
                  </a:lnTo>
                  <a:lnTo>
                    <a:pt x="497" y="7278"/>
                  </a:lnTo>
                  <a:lnTo>
                    <a:pt x="384" y="7369"/>
                  </a:lnTo>
                  <a:lnTo>
                    <a:pt x="294" y="7482"/>
                  </a:lnTo>
                  <a:lnTo>
                    <a:pt x="204" y="7595"/>
                  </a:lnTo>
                  <a:lnTo>
                    <a:pt x="136" y="7753"/>
                  </a:lnTo>
                  <a:lnTo>
                    <a:pt x="68" y="7911"/>
                  </a:lnTo>
                  <a:lnTo>
                    <a:pt x="23" y="8137"/>
                  </a:lnTo>
                  <a:lnTo>
                    <a:pt x="0" y="8386"/>
                  </a:lnTo>
                  <a:lnTo>
                    <a:pt x="0" y="8589"/>
                  </a:lnTo>
                  <a:lnTo>
                    <a:pt x="45" y="8793"/>
                  </a:lnTo>
                  <a:lnTo>
                    <a:pt x="113" y="8996"/>
                  </a:lnTo>
                  <a:lnTo>
                    <a:pt x="204" y="9177"/>
                  </a:lnTo>
                  <a:lnTo>
                    <a:pt x="317" y="9335"/>
                  </a:lnTo>
                  <a:lnTo>
                    <a:pt x="452" y="9493"/>
                  </a:lnTo>
                  <a:lnTo>
                    <a:pt x="610" y="9651"/>
                  </a:lnTo>
                  <a:lnTo>
                    <a:pt x="791" y="9787"/>
                  </a:lnTo>
                  <a:lnTo>
                    <a:pt x="972" y="9900"/>
                  </a:lnTo>
                  <a:lnTo>
                    <a:pt x="1198" y="10013"/>
                  </a:lnTo>
                  <a:lnTo>
                    <a:pt x="1650" y="10216"/>
                  </a:lnTo>
                  <a:lnTo>
                    <a:pt x="2147" y="10397"/>
                  </a:lnTo>
                  <a:lnTo>
                    <a:pt x="2645" y="10533"/>
                  </a:lnTo>
                  <a:lnTo>
                    <a:pt x="3187" y="10669"/>
                  </a:lnTo>
                  <a:lnTo>
                    <a:pt x="3707" y="10759"/>
                  </a:lnTo>
                  <a:lnTo>
                    <a:pt x="4204" y="10849"/>
                  </a:lnTo>
                  <a:lnTo>
                    <a:pt x="5063" y="10962"/>
                  </a:lnTo>
                  <a:lnTo>
                    <a:pt x="5696" y="11053"/>
                  </a:lnTo>
                  <a:lnTo>
                    <a:pt x="5877" y="11098"/>
                  </a:lnTo>
                  <a:lnTo>
                    <a:pt x="6080" y="11121"/>
                  </a:lnTo>
                  <a:lnTo>
                    <a:pt x="6261" y="11121"/>
                  </a:lnTo>
                  <a:lnTo>
                    <a:pt x="6442" y="11098"/>
                  </a:lnTo>
                  <a:lnTo>
                    <a:pt x="6803" y="11053"/>
                  </a:lnTo>
                  <a:lnTo>
                    <a:pt x="7142" y="10962"/>
                  </a:lnTo>
                  <a:lnTo>
                    <a:pt x="7459" y="10827"/>
                  </a:lnTo>
                  <a:lnTo>
                    <a:pt x="7775" y="10669"/>
                  </a:lnTo>
                  <a:lnTo>
                    <a:pt x="8069" y="10488"/>
                  </a:lnTo>
                  <a:lnTo>
                    <a:pt x="8363" y="10284"/>
                  </a:lnTo>
                  <a:lnTo>
                    <a:pt x="8905" y="9900"/>
                  </a:lnTo>
                  <a:lnTo>
                    <a:pt x="9425" y="9538"/>
                  </a:lnTo>
                  <a:lnTo>
                    <a:pt x="9674" y="9403"/>
                  </a:lnTo>
                  <a:lnTo>
                    <a:pt x="9922" y="9290"/>
                  </a:lnTo>
                  <a:lnTo>
                    <a:pt x="10171" y="9222"/>
                  </a:lnTo>
                  <a:lnTo>
                    <a:pt x="10419" y="9199"/>
                  </a:lnTo>
                  <a:lnTo>
                    <a:pt x="10871" y="9222"/>
                  </a:lnTo>
                  <a:lnTo>
                    <a:pt x="11301" y="9290"/>
                  </a:lnTo>
                  <a:lnTo>
                    <a:pt x="11685" y="9403"/>
                  </a:lnTo>
                  <a:lnTo>
                    <a:pt x="12047" y="9538"/>
                  </a:lnTo>
                  <a:lnTo>
                    <a:pt x="12408" y="9697"/>
                  </a:lnTo>
                  <a:lnTo>
                    <a:pt x="12770" y="9877"/>
                  </a:lnTo>
                  <a:lnTo>
                    <a:pt x="13448" y="10262"/>
                  </a:lnTo>
                  <a:lnTo>
                    <a:pt x="13810" y="10465"/>
                  </a:lnTo>
                  <a:lnTo>
                    <a:pt x="14171" y="10646"/>
                  </a:lnTo>
                  <a:lnTo>
                    <a:pt x="14555" y="10804"/>
                  </a:lnTo>
                  <a:lnTo>
                    <a:pt x="14962" y="10940"/>
                  </a:lnTo>
                  <a:lnTo>
                    <a:pt x="15392" y="11053"/>
                  </a:lnTo>
                  <a:lnTo>
                    <a:pt x="15866" y="11143"/>
                  </a:lnTo>
                  <a:lnTo>
                    <a:pt x="16386" y="11166"/>
                  </a:lnTo>
                  <a:lnTo>
                    <a:pt x="16951" y="11143"/>
                  </a:lnTo>
                  <a:lnTo>
                    <a:pt x="17494" y="10985"/>
                  </a:lnTo>
                  <a:lnTo>
                    <a:pt x="17968" y="10804"/>
                  </a:lnTo>
                  <a:lnTo>
                    <a:pt x="18420" y="10578"/>
                  </a:lnTo>
                  <a:lnTo>
                    <a:pt x="18805" y="10352"/>
                  </a:lnTo>
                  <a:lnTo>
                    <a:pt x="19144" y="10081"/>
                  </a:lnTo>
                  <a:lnTo>
                    <a:pt x="19437" y="9787"/>
                  </a:lnTo>
                  <a:lnTo>
                    <a:pt x="19709" y="9493"/>
                  </a:lnTo>
                  <a:lnTo>
                    <a:pt x="19935" y="9177"/>
                  </a:lnTo>
                  <a:lnTo>
                    <a:pt x="20138" y="8838"/>
                  </a:lnTo>
                  <a:lnTo>
                    <a:pt x="20296" y="8499"/>
                  </a:lnTo>
                  <a:lnTo>
                    <a:pt x="20432" y="8160"/>
                  </a:lnTo>
                  <a:lnTo>
                    <a:pt x="20545" y="7821"/>
                  </a:lnTo>
                  <a:lnTo>
                    <a:pt x="20635" y="7482"/>
                  </a:lnTo>
                  <a:lnTo>
                    <a:pt x="20703" y="7143"/>
                  </a:lnTo>
                  <a:lnTo>
                    <a:pt x="20816" y="6487"/>
                  </a:lnTo>
                  <a:lnTo>
                    <a:pt x="20861" y="6193"/>
                  </a:lnTo>
                  <a:lnTo>
                    <a:pt x="20906" y="5900"/>
                  </a:lnTo>
                  <a:lnTo>
                    <a:pt x="20974" y="5651"/>
                  </a:lnTo>
                  <a:lnTo>
                    <a:pt x="21042" y="5402"/>
                  </a:lnTo>
                  <a:lnTo>
                    <a:pt x="21223" y="4973"/>
                  </a:lnTo>
                  <a:lnTo>
                    <a:pt x="21426" y="4611"/>
                  </a:lnTo>
                  <a:lnTo>
                    <a:pt x="21630" y="4295"/>
                  </a:lnTo>
                  <a:lnTo>
                    <a:pt x="21878" y="4024"/>
                  </a:lnTo>
                  <a:lnTo>
                    <a:pt x="22127" y="3820"/>
                  </a:lnTo>
                  <a:lnTo>
                    <a:pt x="22398" y="3639"/>
                  </a:lnTo>
                  <a:lnTo>
                    <a:pt x="22647" y="3481"/>
                  </a:lnTo>
                  <a:lnTo>
                    <a:pt x="22918" y="3346"/>
                  </a:lnTo>
                  <a:lnTo>
                    <a:pt x="23415" y="3142"/>
                  </a:lnTo>
                  <a:lnTo>
                    <a:pt x="23822" y="2984"/>
                  </a:lnTo>
                  <a:lnTo>
                    <a:pt x="23980" y="2871"/>
                  </a:lnTo>
                  <a:lnTo>
                    <a:pt x="24116" y="2781"/>
                  </a:lnTo>
                  <a:lnTo>
                    <a:pt x="24274" y="2600"/>
                  </a:lnTo>
                  <a:lnTo>
                    <a:pt x="24342" y="2509"/>
                  </a:lnTo>
                  <a:lnTo>
                    <a:pt x="24432" y="2374"/>
                  </a:lnTo>
                  <a:lnTo>
                    <a:pt x="24477" y="2261"/>
                  </a:lnTo>
                  <a:lnTo>
                    <a:pt x="24523" y="2103"/>
                  </a:lnTo>
                  <a:lnTo>
                    <a:pt x="24545" y="1944"/>
                  </a:lnTo>
                  <a:lnTo>
                    <a:pt x="24545" y="1764"/>
                  </a:lnTo>
                  <a:lnTo>
                    <a:pt x="24523" y="1628"/>
                  </a:lnTo>
                  <a:lnTo>
                    <a:pt x="24477" y="1492"/>
                  </a:lnTo>
                  <a:lnTo>
                    <a:pt x="24410" y="1379"/>
                  </a:lnTo>
                  <a:lnTo>
                    <a:pt x="24297" y="1266"/>
                  </a:lnTo>
                  <a:lnTo>
                    <a:pt x="24184" y="1153"/>
                  </a:lnTo>
                  <a:lnTo>
                    <a:pt x="24071" y="1086"/>
                  </a:lnTo>
                  <a:lnTo>
                    <a:pt x="23935" y="1040"/>
                  </a:lnTo>
                  <a:lnTo>
                    <a:pt x="23777" y="1018"/>
                  </a:lnTo>
                  <a:lnTo>
                    <a:pt x="23664" y="995"/>
                  </a:lnTo>
                  <a:lnTo>
                    <a:pt x="23528" y="973"/>
                  </a:lnTo>
                  <a:lnTo>
                    <a:pt x="23234" y="837"/>
                  </a:lnTo>
                  <a:lnTo>
                    <a:pt x="22579" y="475"/>
                  </a:lnTo>
                  <a:lnTo>
                    <a:pt x="22195" y="272"/>
                  </a:lnTo>
                  <a:lnTo>
                    <a:pt x="22014" y="181"/>
                  </a:lnTo>
                  <a:lnTo>
                    <a:pt x="21811" y="114"/>
                  </a:lnTo>
                  <a:lnTo>
                    <a:pt x="21585" y="68"/>
                  </a:lnTo>
                  <a:lnTo>
                    <a:pt x="21381" y="23"/>
                  </a:lnTo>
                  <a:lnTo>
                    <a:pt x="21155" y="1"/>
                  </a:lnTo>
                  <a:close/>
                </a:path>
              </a:pathLst>
            </a:custGeom>
            <a:solidFill>
              <a:srgbClr val="3331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52" name="Google Shape;1752;p16"/>
            <p:cNvSpPr/>
            <p:nvPr/>
          </p:nvSpPr>
          <p:spPr>
            <a:xfrm>
              <a:off x="4244225" y="2315350"/>
              <a:ext cx="1150" cy="3400"/>
            </a:xfrm>
            <a:custGeom>
              <a:avLst/>
              <a:gdLst/>
              <a:ahLst/>
              <a:cxnLst/>
              <a:rect l="l" t="t" r="r" b="b"/>
              <a:pathLst>
                <a:path w="46" h="136" extrusionOk="0">
                  <a:moveTo>
                    <a:pt x="45" y="0"/>
                  </a:moveTo>
                  <a:lnTo>
                    <a:pt x="45" y="0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53" name="Google Shape;1753;p16"/>
            <p:cNvSpPr/>
            <p:nvPr/>
          </p:nvSpPr>
          <p:spPr>
            <a:xfrm>
              <a:off x="4244225" y="2315350"/>
              <a:ext cx="1150" cy="3400"/>
            </a:xfrm>
            <a:custGeom>
              <a:avLst/>
              <a:gdLst/>
              <a:ahLst/>
              <a:cxnLst/>
              <a:rect l="l" t="t" r="r" b="b"/>
              <a:pathLst>
                <a:path w="46" h="136" fill="none" extrusionOk="0">
                  <a:moveTo>
                    <a:pt x="45" y="0"/>
                  </a:moveTo>
                  <a:lnTo>
                    <a:pt x="45" y="0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4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54" name="Google Shape;1754;p16"/>
            <p:cNvSpPr/>
            <p:nvPr/>
          </p:nvSpPr>
          <p:spPr>
            <a:xfrm>
              <a:off x="4066800" y="2080275"/>
              <a:ext cx="208525" cy="238475"/>
            </a:xfrm>
            <a:custGeom>
              <a:avLst/>
              <a:gdLst/>
              <a:ahLst/>
              <a:cxnLst/>
              <a:rect l="l" t="t" r="r" b="b"/>
              <a:pathLst>
                <a:path w="8341" h="9539" extrusionOk="0">
                  <a:moveTo>
                    <a:pt x="7459" y="4951"/>
                  </a:moveTo>
                  <a:lnTo>
                    <a:pt x="7436" y="5018"/>
                  </a:lnTo>
                  <a:lnTo>
                    <a:pt x="7414" y="5064"/>
                  </a:lnTo>
                  <a:lnTo>
                    <a:pt x="7459" y="5041"/>
                  </a:lnTo>
                  <a:lnTo>
                    <a:pt x="7481" y="5018"/>
                  </a:lnTo>
                  <a:lnTo>
                    <a:pt x="7481" y="4996"/>
                  </a:lnTo>
                  <a:lnTo>
                    <a:pt x="7459" y="4951"/>
                  </a:lnTo>
                  <a:close/>
                  <a:moveTo>
                    <a:pt x="0" y="1"/>
                  </a:moveTo>
                  <a:lnTo>
                    <a:pt x="1311" y="1628"/>
                  </a:lnTo>
                  <a:lnTo>
                    <a:pt x="2509" y="3142"/>
                  </a:lnTo>
                  <a:lnTo>
                    <a:pt x="3617" y="4544"/>
                  </a:lnTo>
                  <a:lnTo>
                    <a:pt x="4588" y="5832"/>
                  </a:lnTo>
                  <a:lnTo>
                    <a:pt x="5447" y="6985"/>
                  </a:lnTo>
                  <a:lnTo>
                    <a:pt x="6148" y="8002"/>
                  </a:lnTo>
                  <a:lnTo>
                    <a:pt x="6713" y="8861"/>
                  </a:lnTo>
                  <a:lnTo>
                    <a:pt x="6916" y="9222"/>
                  </a:lnTo>
                  <a:lnTo>
                    <a:pt x="7097" y="9539"/>
                  </a:lnTo>
                  <a:lnTo>
                    <a:pt x="7142" y="9403"/>
                  </a:lnTo>
                  <a:lnTo>
                    <a:pt x="7323" y="8725"/>
                  </a:lnTo>
                  <a:lnTo>
                    <a:pt x="7527" y="8092"/>
                  </a:lnTo>
                  <a:lnTo>
                    <a:pt x="7911" y="6917"/>
                  </a:lnTo>
                  <a:lnTo>
                    <a:pt x="8205" y="6013"/>
                  </a:lnTo>
                  <a:lnTo>
                    <a:pt x="8295" y="5651"/>
                  </a:lnTo>
                  <a:lnTo>
                    <a:pt x="8340" y="5380"/>
                  </a:lnTo>
                  <a:lnTo>
                    <a:pt x="8340" y="5312"/>
                  </a:lnTo>
                  <a:lnTo>
                    <a:pt x="8295" y="5244"/>
                  </a:lnTo>
                  <a:lnTo>
                    <a:pt x="8272" y="5199"/>
                  </a:lnTo>
                  <a:lnTo>
                    <a:pt x="8205" y="5177"/>
                  </a:lnTo>
                  <a:lnTo>
                    <a:pt x="8069" y="5131"/>
                  </a:lnTo>
                  <a:lnTo>
                    <a:pt x="7481" y="5131"/>
                  </a:lnTo>
                  <a:lnTo>
                    <a:pt x="7436" y="5109"/>
                  </a:lnTo>
                  <a:lnTo>
                    <a:pt x="7414" y="5064"/>
                  </a:lnTo>
                  <a:lnTo>
                    <a:pt x="7278" y="5041"/>
                  </a:lnTo>
                  <a:lnTo>
                    <a:pt x="7120" y="4996"/>
                  </a:lnTo>
                  <a:lnTo>
                    <a:pt x="6645" y="4792"/>
                  </a:lnTo>
                  <a:lnTo>
                    <a:pt x="6058" y="4544"/>
                  </a:lnTo>
                  <a:lnTo>
                    <a:pt x="5425" y="4227"/>
                  </a:lnTo>
                  <a:lnTo>
                    <a:pt x="4317" y="3685"/>
                  </a:lnTo>
                  <a:lnTo>
                    <a:pt x="3843" y="3414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3D3C3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55" name="Google Shape;1755;p16"/>
            <p:cNvSpPr/>
            <p:nvPr/>
          </p:nvSpPr>
          <p:spPr>
            <a:xfrm>
              <a:off x="4252125" y="2204025"/>
              <a:ext cx="1725" cy="2850"/>
            </a:xfrm>
            <a:custGeom>
              <a:avLst/>
              <a:gdLst/>
              <a:ahLst/>
              <a:cxnLst/>
              <a:rect l="l" t="t" r="r" b="b"/>
              <a:pathLst>
                <a:path w="69" h="114" fill="none" extrusionOk="0">
                  <a:moveTo>
                    <a:pt x="46" y="1"/>
                  </a:moveTo>
                  <a:lnTo>
                    <a:pt x="46" y="1"/>
                  </a:lnTo>
                  <a:lnTo>
                    <a:pt x="23" y="68"/>
                  </a:lnTo>
                  <a:lnTo>
                    <a:pt x="1" y="114"/>
                  </a:lnTo>
                  <a:lnTo>
                    <a:pt x="1" y="114"/>
                  </a:lnTo>
                  <a:lnTo>
                    <a:pt x="46" y="91"/>
                  </a:lnTo>
                  <a:lnTo>
                    <a:pt x="68" y="68"/>
                  </a:lnTo>
                  <a:lnTo>
                    <a:pt x="68" y="46"/>
                  </a:lnTo>
                  <a:lnTo>
                    <a:pt x="4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56" name="Google Shape;1756;p16"/>
            <p:cNvSpPr/>
            <p:nvPr/>
          </p:nvSpPr>
          <p:spPr>
            <a:xfrm>
              <a:off x="4066800" y="2080275"/>
              <a:ext cx="208525" cy="238475"/>
            </a:xfrm>
            <a:custGeom>
              <a:avLst/>
              <a:gdLst/>
              <a:ahLst/>
              <a:cxnLst/>
              <a:rect l="l" t="t" r="r" b="b"/>
              <a:pathLst>
                <a:path w="8341" h="9539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1311" y="1628"/>
                  </a:lnTo>
                  <a:lnTo>
                    <a:pt x="2509" y="3142"/>
                  </a:lnTo>
                  <a:lnTo>
                    <a:pt x="3617" y="4544"/>
                  </a:lnTo>
                  <a:lnTo>
                    <a:pt x="4588" y="5832"/>
                  </a:lnTo>
                  <a:lnTo>
                    <a:pt x="5447" y="6985"/>
                  </a:lnTo>
                  <a:lnTo>
                    <a:pt x="6148" y="8002"/>
                  </a:lnTo>
                  <a:lnTo>
                    <a:pt x="6713" y="8861"/>
                  </a:lnTo>
                  <a:lnTo>
                    <a:pt x="6916" y="9222"/>
                  </a:lnTo>
                  <a:lnTo>
                    <a:pt x="7097" y="9539"/>
                  </a:lnTo>
                  <a:lnTo>
                    <a:pt x="7097" y="9539"/>
                  </a:lnTo>
                  <a:lnTo>
                    <a:pt x="7142" y="9403"/>
                  </a:lnTo>
                  <a:lnTo>
                    <a:pt x="7142" y="9403"/>
                  </a:lnTo>
                  <a:lnTo>
                    <a:pt x="7323" y="8725"/>
                  </a:lnTo>
                  <a:lnTo>
                    <a:pt x="7527" y="8092"/>
                  </a:lnTo>
                  <a:lnTo>
                    <a:pt x="7911" y="6917"/>
                  </a:lnTo>
                  <a:lnTo>
                    <a:pt x="8205" y="6013"/>
                  </a:lnTo>
                  <a:lnTo>
                    <a:pt x="8295" y="5651"/>
                  </a:lnTo>
                  <a:lnTo>
                    <a:pt x="8340" y="5380"/>
                  </a:lnTo>
                  <a:lnTo>
                    <a:pt x="8340" y="5380"/>
                  </a:lnTo>
                  <a:lnTo>
                    <a:pt x="8340" y="5312"/>
                  </a:lnTo>
                  <a:lnTo>
                    <a:pt x="8295" y="5244"/>
                  </a:lnTo>
                  <a:lnTo>
                    <a:pt x="8272" y="5199"/>
                  </a:lnTo>
                  <a:lnTo>
                    <a:pt x="8205" y="5177"/>
                  </a:lnTo>
                  <a:lnTo>
                    <a:pt x="8069" y="5131"/>
                  </a:lnTo>
                  <a:lnTo>
                    <a:pt x="7911" y="5131"/>
                  </a:lnTo>
                  <a:lnTo>
                    <a:pt x="7911" y="5131"/>
                  </a:lnTo>
                  <a:lnTo>
                    <a:pt x="7775" y="5131"/>
                  </a:lnTo>
                  <a:lnTo>
                    <a:pt x="7775" y="5131"/>
                  </a:lnTo>
                  <a:lnTo>
                    <a:pt x="7640" y="5131"/>
                  </a:lnTo>
                  <a:lnTo>
                    <a:pt x="7640" y="5131"/>
                  </a:lnTo>
                  <a:lnTo>
                    <a:pt x="7481" y="5131"/>
                  </a:lnTo>
                  <a:lnTo>
                    <a:pt x="7436" y="5109"/>
                  </a:lnTo>
                  <a:lnTo>
                    <a:pt x="7414" y="5064"/>
                  </a:lnTo>
                  <a:lnTo>
                    <a:pt x="7414" y="5064"/>
                  </a:lnTo>
                  <a:lnTo>
                    <a:pt x="7414" y="5064"/>
                  </a:lnTo>
                  <a:lnTo>
                    <a:pt x="7414" y="5064"/>
                  </a:lnTo>
                  <a:lnTo>
                    <a:pt x="7278" y="5041"/>
                  </a:lnTo>
                  <a:lnTo>
                    <a:pt x="7120" y="4996"/>
                  </a:lnTo>
                  <a:lnTo>
                    <a:pt x="6645" y="4792"/>
                  </a:lnTo>
                  <a:lnTo>
                    <a:pt x="6058" y="4544"/>
                  </a:lnTo>
                  <a:lnTo>
                    <a:pt x="5425" y="4227"/>
                  </a:lnTo>
                  <a:lnTo>
                    <a:pt x="4317" y="3685"/>
                  </a:lnTo>
                  <a:lnTo>
                    <a:pt x="3843" y="3414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57" name="Google Shape;1757;p16"/>
            <p:cNvSpPr/>
            <p:nvPr/>
          </p:nvSpPr>
          <p:spPr>
            <a:xfrm>
              <a:off x="4148150" y="3222775"/>
              <a:ext cx="281425" cy="395000"/>
            </a:xfrm>
            <a:custGeom>
              <a:avLst/>
              <a:gdLst/>
              <a:ahLst/>
              <a:cxnLst/>
              <a:rect l="l" t="t" r="r" b="b"/>
              <a:pathLst>
                <a:path w="11257" h="15800" extrusionOk="0">
                  <a:moveTo>
                    <a:pt x="9652" y="1"/>
                  </a:moveTo>
                  <a:lnTo>
                    <a:pt x="9268" y="362"/>
                  </a:lnTo>
                  <a:lnTo>
                    <a:pt x="8838" y="837"/>
                  </a:lnTo>
                  <a:lnTo>
                    <a:pt x="8364" y="1357"/>
                  </a:lnTo>
                  <a:lnTo>
                    <a:pt x="7866" y="1944"/>
                  </a:lnTo>
                  <a:lnTo>
                    <a:pt x="6827" y="3210"/>
                  </a:lnTo>
                  <a:lnTo>
                    <a:pt x="5742" y="4566"/>
                  </a:lnTo>
                  <a:lnTo>
                    <a:pt x="4679" y="5855"/>
                  </a:lnTo>
                  <a:lnTo>
                    <a:pt x="4182" y="6442"/>
                  </a:lnTo>
                  <a:lnTo>
                    <a:pt x="3685" y="7007"/>
                  </a:lnTo>
                  <a:lnTo>
                    <a:pt x="3256" y="7482"/>
                  </a:lnTo>
                  <a:lnTo>
                    <a:pt x="2826" y="7889"/>
                  </a:lnTo>
                  <a:lnTo>
                    <a:pt x="2465" y="8205"/>
                  </a:lnTo>
                  <a:lnTo>
                    <a:pt x="2284" y="8318"/>
                  </a:lnTo>
                  <a:lnTo>
                    <a:pt x="2148" y="8408"/>
                  </a:lnTo>
                  <a:lnTo>
                    <a:pt x="1809" y="8567"/>
                  </a:lnTo>
                  <a:lnTo>
                    <a:pt x="1470" y="8702"/>
                  </a:lnTo>
                  <a:lnTo>
                    <a:pt x="769" y="8996"/>
                  </a:lnTo>
                  <a:lnTo>
                    <a:pt x="476" y="9154"/>
                  </a:lnTo>
                  <a:lnTo>
                    <a:pt x="227" y="9313"/>
                  </a:lnTo>
                  <a:lnTo>
                    <a:pt x="137" y="9380"/>
                  </a:lnTo>
                  <a:lnTo>
                    <a:pt x="69" y="9471"/>
                  </a:lnTo>
                  <a:lnTo>
                    <a:pt x="24" y="9561"/>
                  </a:lnTo>
                  <a:lnTo>
                    <a:pt x="1" y="9629"/>
                  </a:lnTo>
                  <a:lnTo>
                    <a:pt x="1" y="9855"/>
                  </a:lnTo>
                  <a:lnTo>
                    <a:pt x="24" y="10036"/>
                  </a:lnTo>
                  <a:lnTo>
                    <a:pt x="69" y="10194"/>
                  </a:lnTo>
                  <a:lnTo>
                    <a:pt x="137" y="10330"/>
                  </a:lnTo>
                  <a:lnTo>
                    <a:pt x="227" y="10443"/>
                  </a:lnTo>
                  <a:lnTo>
                    <a:pt x="340" y="10556"/>
                  </a:lnTo>
                  <a:lnTo>
                    <a:pt x="611" y="10759"/>
                  </a:lnTo>
                  <a:lnTo>
                    <a:pt x="928" y="11008"/>
                  </a:lnTo>
                  <a:lnTo>
                    <a:pt x="1312" y="11301"/>
                  </a:lnTo>
                  <a:lnTo>
                    <a:pt x="1515" y="11505"/>
                  </a:lnTo>
                  <a:lnTo>
                    <a:pt x="1719" y="11731"/>
                  </a:lnTo>
                  <a:lnTo>
                    <a:pt x="1945" y="11980"/>
                  </a:lnTo>
                  <a:lnTo>
                    <a:pt x="2171" y="12296"/>
                  </a:lnTo>
                  <a:lnTo>
                    <a:pt x="2623" y="12929"/>
                  </a:lnTo>
                  <a:lnTo>
                    <a:pt x="3075" y="13539"/>
                  </a:lnTo>
                  <a:lnTo>
                    <a:pt x="3482" y="14081"/>
                  </a:lnTo>
                  <a:lnTo>
                    <a:pt x="3911" y="14579"/>
                  </a:lnTo>
                  <a:lnTo>
                    <a:pt x="4318" y="14985"/>
                  </a:lnTo>
                  <a:lnTo>
                    <a:pt x="4499" y="15166"/>
                  </a:lnTo>
                  <a:lnTo>
                    <a:pt x="4702" y="15325"/>
                  </a:lnTo>
                  <a:lnTo>
                    <a:pt x="4905" y="15483"/>
                  </a:lnTo>
                  <a:lnTo>
                    <a:pt x="5109" y="15596"/>
                  </a:lnTo>
                  <a:lnTo>
                    <a:pt x="5290" y="15686"/>
                  </a:lnTo>
                  <a:lnTo>
                    <a:pt x="5493" y="15754"/>
                  </a:lnTo>
                  <a:lnTo>
                    <a:pt x="5606" y="15777"/>
                  </a:lnTo>
                  <a:lnTo>
                    <a:pt x="5719" y="15799"/>
                  </a:lnTo>
                  <a:lnTo>
                    <a:pt x="5855" y="15799"/>
                  </a:lnTo>
                  <a:lnTo>
                    <a:pt x="5968" y="15777"/>
                  </a:lnTo>
                  <a:lnTo>
                    <a:pt x="6081" y="15731"/>
                  </a:lnTo>
                  <a:lnTo>
                    <a:pt x="6194" y="15686"/>
                  </a:lnTo>
                  <a:lnTo>
                    <a:pt x="6284" y="15641"/>
                  </a:lnTo>
                  <a:lnTo>
                    <a:pt x="6375" y="15551"/>
                  </a:lnTo>
                  <a:lnTo>
                    <a:pt x="6442" y="15460"/>
                  </a:lnTo>
                  <a:lnTo>
                    <a:pt x="6465" y="15347"/>
                  </a:lnTo>
                  <a:lnTo>
                    <a:pt x="6488" y="15211"/>
                  </a:lnTo>
                  <a:lnTo>
                    <a:pt x="6488" y="15053"/>
                  </a:lnTo>
                  <a:lnTo>
                    <a:pt x="6442" y="14895"/>
                  </a:lnTo>
                  <a:lnTo>
                    <a:pt x="6375" y="14714"/>
                  </a:lnTo>
                  <a:lnTo>
                    <a:pt x="6262" y="14488"/>
                  </a:lnTo>
                  <a:lnTo>
                    <a:pt x="6126" y="14262"/>
                  </a:lnTo>
                  <a:lnTo>
                    <a:pt x="5787" y="13788"/>
                  </a:lnTo>
                  <a:lnTo>
                    <a:pt x="5516" y="13290"/>
                  </a:lnTo>
                  <a:lnTo>
                    <a:pt x="5267" y="12771"/>
                  </a:lnTo>
                  <a:lnTo>
                    <a:pt x="5086" y="12296"/>
                  </a:lnTo>
                  <a:lnTo>
                    <a:pt x="5018" y="12047"/>
                  </a:lnTo>
                  <a:lnTo>
                    <a:pt x="4951" y="11821"/>
                  </a:lnTo>
                  <a:lnTo>
                    <a:pt x="4905" y="11595"/>
                  </a:lnTo>
                  <a:lnTo>
                    <a:pt x="4905" y="11369"/>
                  </a:lnTo>
                  <a:lnTo>
                    <a:pt x="4883" y="11166"/>
                  </a:lnTo>
                  <a:lnTo>
                    <a:pt x="4905" y="10962"/>
                  </a:lnTo>
                  <a:lnTo>
                    <a:pt x="4951" y="10782"/>
                  </a:lnTo>
                  <a:lnTo>
                    <a:pt x="4996" y="10601"/>
                  </a:lnTo>
                  <a:lnTo>
                    <a:pt x="5131" y="10375"/>
                  </a:lnTo>
                  <a:lnTo>
                    <a:pt x="5380" y="9991"/>
                  </a:lnTo>
                  <a:lnTo>
                    <a:pt x="6126" y="8906"/>
                  </a:lnTo>
                  <a:lnTo>
                    <a:pt x="7143" y="7550"/>
                  </a:lnTo>
                  <a:lnTo>
                    <a:pt x="8273" y="6058"/>
                  </a:lnTo>
                  <a:lnTo>
                    <a:pt x="10330" y="3346"/>
                  </a:lnTo>
                  <a:lnTo>
                    <a:pt x="11256" y="2148"/>
                  </a:lnTo>
                  <a:lnTo>
                    <a:pt x="9652" y="1"/>
                  </a:lnTo>
                  <a:close/>
                </a:path>
              </a:pathLst>
            </a:custGeom>
            <a:solidFill>
              <a:srgbClr val="3331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58" name="Google Shape;1758;p16"/>
            <p:cNvSpPr/>
            <p:nvPr/>
          </p:nvSpPr>
          <p:spPr>
            <a:xfrm>
              <a:off x="3965100" y="2458300"/>
              <a:ext cx="782025" cy="990525"/>
            </a:xfrm>
            <a:custGeom>
              <a:avLst/>
              <a:gdLst/>
              <a:ahLst/>
              <a:cxnLst/>
              <a:rect l="l" t="t" r="r" b="b"/>
              <a:pathLst>
                <a:path w="31281" h="39621" extrusionOk="0">
                  <a:moveTo>
                    <a:pt x="610" y="0"/>
                  </a:moveTo>
                  <a:lnTo>
                    <a:pt x="407" y="746"/>
                  </a:lnTo>
                  <a:lnTo>
                    <a:pt x="204" y="1469"/>
                  </a:lnTo>
                  <a:lnTo>
                    <a:pt x="113" y="1808"/>
                  </a:lnTo>
                  <a:lnTo>
                    <a:pt x="45" y="2170"/>
                  </a:lnTo>
                  <a:lnTo>
                    <a:pt x="23" y="2509"/>
                  </a:lnTo>
                  <a:lnTo>
                    <a:pt x="0" y="2871"/>
                  </a:lnTo>
                  <a:lnTo>
                    <a:pt x="0" y="3255"/>
                  </a:lnTo>
                  <a:lnTo>
                    <a:pt x="45" y="3662"/>
                  </a:lnTo>
                  <a:lnTo>
                    <a:pt x="136" y="4068"/>
                  </a:lnTo>
                  <a:lnTo>
                    <a:pt x="249" y="4520"/>
                  </a:lnTo>
                  <a:lnTo>
                    <a:pt x="430" y="4995"/>
                  </a:lnTo>
                  <a:lnTo>
                    <a:pt x="633" y="5515"/>
                  </a:lnTo>
                  <a:lnTo>
                    <a:pt x="904" y="6080"/>
                  </a:lnTo>
                  <a:lnTo>
                    <a:pt x="1243" y="6690"/>
                  </a:lnTo>
                  <a:lnTo>
                    <a:pt x="1447" y="6984"/>
                  </a:lnTo>
                  <a:lnTo>
                    <a:pt x="1740" y="7323"/>
                  </a:lnTo>
                  <a:lnTo>
                    <a:pt x="2079" y="7662"/>
                  </a:lnTo>
                  <a:lnTo>
                    <a:pt x="2486" y="8024"/>
                  </a:lnTo>
                  <a:lnTo>
                    <a:pt x="2961" y="8385"/>
                  </a:lnTo>
                  <a:lnTo>
                    <a:pt x="3503" y="8747"/>
                  </a:lnTo>
                  <a:lnTo>
                    <a:pt x="4068" y="9131"/>
                  </a:lnTo>
                  <a:lnTo>
                    <a:pt x="4701" y="9538"/>
                  </a:lnTo>
                  <a:lnTo>
                    <a:pt x="5379" y="9922"/>
                  </a:lnTo>
                  <a:lnTo>
                    <a:pt x="6102" y="10329"/>
                  </a:lnTo>
                  <a:lnTo>
                    <a:pt x="6848" y="10736"/>
                  </a:lnTo>
                  <a:lnTo>
                    <a:pt x="7639" y="11143"/>
                  </a:lnTo>
                  <a:lnTo>
                    <a:pt x="9312" y="11979"/>
                  </a:lnTo>
                  <a:lnTo>
                    <a:pt x="11075" y="12793"/>
                  </a:lnTo>
                  <a:lnTo>
                    <a:pt x="12906" y="13606"/>
                  </a:lnTo>
                  <a:lnTo>
                    <a:pt x="14781" y="14375"/>
                  </a:lnTo>
                  <a:lnTo>
                    <a:pt x="16657" y="15143"/>
                  </a:lnTo>
                  <a:lnTo>
                    <a:pt x="18511" y="15844"/>
                  </a:lnTo>
                  <a:lnTo>
                    <a:pt x="20319" y="16499"/>
                  </a:lnTo>
                  <a:lnTo>
                    <a:pt x="22059" y="17087"/>
                  </a:lnTo>
                  <a:lnTo>
                    <a:pt x="23664" y="17607"/>
                  </a:lnTo>
                  <a:lnTo>
                    <a:pt x="25156" y="18059"/>
                  </a:lnTo>
                  <a:lnTo>
                    <a:pt x="23641" y="20341"/>
                  </a:lnTo>
                  <a:lnTo>
                    <a:pt x="21991" y="22805"/>
                  </a:lnTo>
                  <a:lnTo>
                    <a:pt x="20251" y="25359"/>
                  </a:lnTo>
                  <a:lnTo>
                    <a:pt x="19347" y="26625"/>
                  </a:lnTo>
                  <a:lnTo>
                    <a:pt x="18420" y="27913"/>
                  </a:lnTo>
                  <a:lnTo>
                    <a:pt x="17516" y="29156"/>
                  </a:lnTo>
                  <a:lnTo>
                    <a:pt x="16590" y="30354"/>
                  </a:lnTo>
                  <a:lnTo>
                    <a:pt x="15663" y="31529"/>
                  </a:lnTo>
                  <a:lnTo>
                    <a:pt x="14736" y="32637"/>
                  </a:lnTo>
                  <a:lnTo>
                    <a:pt x="13832" y="33676"/>
                  </a:lnTo>
                  <a:lnTo>
                    <a:pt x="12951" y="34648"/>
                  </a:lnTo>
                  <a:lnTo>
                    <a:pt x="12069" y="35529"/>
                  </a:lnTo>
                  <a:lnTo>
                    <a:pt x="11640" y="35936"/>
                  </a:lnTo>
                  <a:lnTo>
                    <a:pt x="11210" y="36298"/>
                  </a:lnTo>
                  <a:lnTo>
                    <a:pt x="11346" y="36795"/>
                  </a:lnTo>
                  <a:lnTo>
                    <a:pt x="11459" y="37202"/>
                  </a:lnTo>
                  <a:lnTo>
                    <a:pt x="11595" y="37541"/>
                  </a:lnTo>
                  <a:lnTo>
                    <a:pt x="11708" y="37835"/>
                  </a:lnTo>
                  <a:lnTo>
                    <a:pt x="11843" y="38061"/>
                  </a:lnTo>
                  <a:lnTo>
                    <a:pt x="11956" y="38242"/>
                  </a:lnTo>
                  <a:lnTo>
                    <a:pt x="12092" y="38400"/>
                  </a:lnTo>
                  <a:lnTo>
                    <a:pt x="12250" y="38513"/>
                  </a:lnTo>
                  <a:lnTo>
                    <a:pt x="12386" y="38626"/>
                  </a:lnTo>
                  <a:lnTo>
                    <a:pt x="12567" y="38716"/>
                  </a:lnTo>
                  <a:lnTo>
                    <a:pt x="12951" y="38920"/>
                  </a:lnTo>
                  <a:lnTo>
                    <a:pt x="13154" y="39055"/>
                  </a:lnTo>
                  <a:lnTo>
                    <a:pt x="13403" y="39214"/>
                  </a:lnTo>
                  <a:lnTo>
                    <a:pt x="13651" y="39394"/>
                  </a:lnTo>
                  <a:lnTo>
                    <a:pt x="13923" y="39620"/>
                  </a:lnTo>
                  <a:lnTo>
                    <a:pt x="14194" y="39304"/>
                  </a:lnTo>
                  <a:lnTo>
                    <a:pt x="14533" y="38920"/>
                  </a:lnTo>
                  <a:lnTo>
                    <a:pt x="15346" y="38016"/>
                  </a:lnTo>
                  <a:lnTo>
                    <a:pt x="16364" y="36953"/>
                  </a:lnTo>
                  <a:lnTo>
                    <a:pt x="17516" y="35733"/>
                  </a:lnTo>
                  <a:lnTo>
                    <a:pt x="20206" y="32976"/>
                  </a:lnTo>
                  <a:lnTo>
                    <a:pt x="21630" y="31461"/>
                  </a:lnTo>
                  <a:lnTo>
                    <a:pt x="23099" y="29879"/>
                  </a:lnTo>
                  <a:lnTo>
                    <a:pt x="24523" y="28252"/>
                  </a:lnTo>
                  <a:lnTo>
                    <a:pt x="25223" y="27438"/>
                  </a:lnTo>
                  <a:lnTo>
                    <a:pt x="25924" y="26625"/>
                  </a:lnTo>
                  <a:lnTo>
                    <a:pt x="26579" y="25788"/>
                  </a:lnTo>
                  <a:lnTo>
                    <a:pt x="27212" y="24975"/>
                  </a:lnTo>
                  <a:lnTo>
                    <a:pt x="27822" y="24161"/>
                  </a:lnTo>
                  <a:lnTo>
                    <a:pt x="28410" y="23347"/>
                  </a:lnTo>
                  <a:lnTo>
                    <a:pt x="28930" y="22556"/>
                  </a:lnTo>
                  <a:lnTo>
                    <a:pt x="29427" y="21765"/>
                  </a:lnTo>
                  <a:lnTo>
                    <a:pt x="29879" y="20997"/>
                  </a:lnTo>
                  <a:lnTo>
                    <a:pt x="30286" y="20251"/>
                  </a:lnTo>
                  <a:lnTo>
                    <a:pt x="30625" y="19505"/>
                  </a:lnTo>
                  <a:lnTo>
                    <a:pt x="30896" y="18782"/>
                  </a:lnTo>
                  <a:lnTo>
                    <a:pt x="31009" y="18443"/>
                  </a:lnTo>
                  <a:lnTo>
                    <a:pt x="31100" y="18104"/>
                  </a:lnTo>
                  <a:lnTo>
                    <a:pt x="31190" y="17765"/>
                  </a:lnTo>
                  <a:lnTo>
                    <a:pt x="31258" y="17448"/>
                  </a:lnTo>
                  <a:lnTo>
                    <a:pt x="31280" y="17200"/>
                  </a:lnTo>
                  <a:lnTo>
                    <a:pt x="31280" y="16951"/>
                  </a:lnTo>
                  <a:lnTo>
                    <a:pt x="31258" y="16703"/>
                  </a:lnTo>
                  <a:lnTo>
                    <a:pt x="31190" y="16431"/>
                  </a:lnTo>
                  <a:lnTo>
                    <a:pt x="31122" y="16183"/>
                  </a:lnTo>
                  <a:lnTo>
                    <a:pt x="31032" y="15912"/>
                  </a:lnTo>
                  <a:lnTo>
                    <a:pt x="30896" y="15640"/>
                  </a:lnTo>
                  <a:lnTo>
                    <a:pt x="30761" y="15369"/>
                  </a:lnTo>
                  <a:lnTo>
                    <a:pt x="30580" y="15098"/>
                  </a:lnTo>
                  <a:lnTo>
                    <a:pt x="30399" y="14827"/>
                  </a:lnTo>
                  <a:lnTo>
                    <a:pt x="30196" y="14555"/>
                  </a:lnTo>
                  <a:lnTo>
                    <a:pt x="29970" y="14284"/>
                  </a:lnTo>
                  <a:lnTo>
                    <a:pt x="29450" y="13719"/>
                  </a:lnTo>
                  <a:lnTo>
                    <a:pt x="28862" y="13132"/>
                  </a:lnTo>
                  <a:lnTo>
                    <a:pt x="28229" y="12566"/>
                  </a:lnTo>
                  <a:lnTo>
                    <a:pt x="27551" y="11979"/>
                  </a:lnTo>
                  <a:lnTo>
                    <a:pt x="26805" y="11414"/>
                  </a:lnTo>
                  <a:lnTo>
                    <a:pt x="26014" y="10826"/>
                  </a:lnTo>
                  <a:lnTo>
                    <a:pt x="25201" y="10261"/>
                  </a:lnTo>
                  <a:lnTo>
                    <a:pt x="24364" y="9674"/>
                  </a:lnTo>
                  <a:lnTo>
                    <a:pt x="23506" y="9108"/>
                  </a:lnTo>
                  <a:lnTo>
                    <a:pt x="22624" y="8543"/>
                  </a:lnTo>
                  <a:lnTo>
                    <a:pt x="20861" y="7459"/>
                  </a:lnTo>
                  <a:lnTo>
                    <a:pt x="19098" y="6419"/>
                  </a:lnTo>
                  <a:lnTo>
                    <a:pt x="15844" y="4566"/>
                  </a:lnTo>
                  <a:lnTo>
                    <a:pt x="14465" y="3752"/>
                  </a:lnTo>
                  <a:lnTo>
                    <a:pt x="13290" y="3051"/>
                  </a:lnTo>
                  <a:lnTo>
                    <a:pt x="12815" y="2735"/>
                  </a:lnTo>
                  <a:lnTo>
                    <a:pt x="12408" y="2464"/>
                  </a:lnTo>
                  <a:lnTo>
                    <a:pt x="12069" y="2215"/>
                  </a:lnTo>
                  <a:lnTo>
                    <a:pt x="11843" y="2012"/>
                  </a:lnTo>
                  <a:lnTo>
                    <a:pt x="11549" y="1740"/>
                  </a:lnTo>
                  <a:lnTo>
                    <a:pt x="11233" y="1492"/>
                  </a:lnTo>
                  <a:lnTo>
                    <a:pt x="10894" y="1266"/>
                  </a:lnTo>
                  <a:lnTo>
                    <a:pt x="10532" y="1062"/>
                  </a:lnTo>
                  <a:lnTo>
                    <a:pt x="10171" y="882"/>
                  </a:lnTo>
                  <a:lnTo>
                    <a:pt x="9764" y="723"/>
                  </a:lnTo>
                  <a:lnTo>
                    <a:pt x="9357" y="588"/>
                  </a:lnTo>
                  <a:lnTo>
                    <a:pt x="8950" y="475"/>
                  </a:lnTo>
                  <a:lnTo>
                    <a:pt x="8521" y="362"/>
                  </a:lnTo>
                  <a:lnTo>
                    <a:pt x="8091" y="271"/>
                  </a:lnTo>
                  <a:lnTo>
                    <a:pt x="7639" y="204"/>
                  </a:lnTo>
                  <a:lnTo>
                    <a:pt x="7210" y="136"/>
                  </a:lnTo>
                  <a:lnTo>
                    <a:pt x="6306" y="68"/>
                  </a:lnTo>
                  <a:lnTo>
                    <a:pt x="5424" y="23"/>
                  </a:lnTo>
                  <a:lnTo>
                    <a:pt x="4588" y="0"/>
                  </a:lnTo>
                  <a:lnTo>
                    <a:pt x="3775" y="23"/>
                  </a:lnTo>
                  <a:lnTo>
                    <a:pt x="2328" y="68"/>
                  </a:lnTo>
                  <a:lnTo>
                    <a:pt x="1718" y="91"/>
                  </a:lnTo>
                  <a:lnTo>
                    <a:pt x="1221" y="91"/>
                  </a:lnTo>
                  <a:lnTo>
                    <a:pt x="859" y="45"/>
                  </a:lnTo>
                  <a:lnTo>
                    <a:pt x="723" y="23"/>
                  </a:lnTo>
                  <a:lnTo>
                    <a:pt x="610" y="0"/>
                  </a:lnTo>
                  <a:close/>
                </a:path>
              </a:pathLst>
            </a:custGeom>
            <a:solidFill>
              <a:srgbClr val="D9385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59" name="Google Shape;1759;p16"/>
            <p:cNvSpPr/>
            <p:nvPr/>
          </p:nvSpPr>
          <p:spPr>
            <a:xfrm>
              <a:off x="4110875" y="2030000"/>
              <a:ext cx="696700" cy="294975"/>
            </a:xfrm>
            <a:custGeom>
              <a:avLst/>
              <a:gdLst/>
              <a:ahLst/>
              <a:cxnLst/>
              <a:rect l="l" t="t" r="r" b="b"/>
              <a:pathLst>
                <a:path w="27868" h="11799" extrusionOk="0">
                  <a:moveTo>
                    <a:pt x="1537" y="0"/>
                  </a:moveTo>
                  <a:lnTo>
                    <a:pt x="1243" y="475"/>
                  </a:lnTo>
                  <a:lnTo>
                    <a:pt x="972" y="995"/>
                  </a:lnTo>
                  <a:lnTo>
                    <a:pt x="656" y="1582"/>
                  </a:lnTo>
                  <a:lnTo>
                    <a:pt x="362" y="2215"/>
                  </a:lnTo>
                  <a:lnTo>
                    <a:pt x="249" y="2509"/>
                  </a:lnTo>
                  <a:lnTo>
                    <a:pt x="136" y="2803"/>
                  </a:lnTo>
                  <a:lnTo>
                    <a:pt x="45" y="3052"/>
                  </a:lnTo>
                  <a:lnTo>
                    <a:pt x="0" y="3278"/>
                  </a:lnTo>
                  <a:lnTo>
                    <a:pt x="0" y="3458"/>
                  </a:lnTo>
                  <a:lnTo>
                    <a:pt x="0" y="3549"/>
                  </a:lnTo>
                  <a:lnTo>
                    <a:pt x="23" y="3594"/>
                  </a:lnTo>
                  <a:lnTo>
                    <a:pt x="181" y="3775"/>
                  </a:lnTo>
                  <a:lnTo>
                    <a:pt x="520" y="4091"/>
                  </a:lnTo>
                  <a:lnTo>
                    <a:pt x="1605" y="5040"/>
                  </a:lnTo>
                  <a:lnTo>
                    <a:pt x="3097" y="6283"/>
                  </a:lnTo>
                  <a:lnTo>
                    <a:pt x="4792" y="7662"/>
                  </a:lnTo>
                  <a:lnTo>
                    <a:pt x="6509" y="9041"/>
                  </a:lnTo>
                  <a:lnTo>
                    <a:pt x="8001" y="10216"/>
                  </a:lnTo>
                  <a:lnTo>
                    <a:pt x="9109" y="11075"/>
                  </a:lnTo>
                  <a:lnTo>
                    <a:pt x="9448" y="11324"/>
                  </a:lnTo>
                  <a:lnTo>
                    <a:pt x="9606" y="11437"/>
                  </a:lnTo>
                  <a:lnTo>
                    <a:pt x="9945" y="11550"/>
                  </a:lnTo>
                  <a:lnTo>
                    <a:pt x="10329" y="11640"/>
                  </a:lnTo>
                  <a:lnTo>
                    <a:pt x="10736" y="11730"/>
                  </a:lnTo>
                  <a:lnTo>
                    <a:pt x="11165" y="11776"/>
                  </a:lnTo>
                  <a:lnTo>
                    <a:pt x="11617" y="11798"/>
                  </a:lnTo>
                  <a:lnTo>
                    <a:pt x="12589" y="11798"/>
                  </a:lnTo>
                  <a:lnTo>
                    <a:pt x="13109" y="11776"/>
                  </a:lnTo>
                  <a:lnTo>
                    <a:pt x="14171" y="11685"/>
                  </a:lnTo>
                  <a:lnTo>
                    <a:pt x="15279" y="11550"/>
                  </a:lnTo>
                  <a:lnTo>
                    <a:pt x="16409" y="11369"/>
                  </a:lnTo>
                  <a:lnTo>
                    <a:pt x="17516" y="11188"/>
                  </a:lnTo>
                  <a:lnTo>
                    <a:pt x="19641" y="10804"/>
                  </a:lnTo>
                  <a:lnTo>
                    <a:pt x="20590" y="10623"/>
                  </a:lnTo>
                  <a:lnTo>
                    <a:pt x="21472" y="10487"/>
                  </a:lnTo>
                  <a:lnTo>
                    <a:pt x="22217" y="10397"/>
                  </a:lnTo>
                  <a:lnTo>
                    <a:pt x="22850" y="10352"/>
                  </a:lnTo>
                  <a:lnTo>
                    <a:pt x="23099" y="10352"/>
                  </a:lnTo>
                  <a:lnTo>
                    <a:pt x="23302" y="10374"/>
                  </a:lnTo>
                  <a:lnTo>
                    <a:pt x="23461" y="10420"/>
                  </a:lnTo>
                  <a:lnTo>
                    <a:pt x="23574" y="10465"/>
                  </a:lnTo>
                  <a:lnTo>
                    <a:pt x="24026" y="10804"/>
                  </a:lnTo>
                  <a:lnTo>
                    <a:pt x="24432" y="11052"/>
                  </a:lnTo>
                  <a:lnTo>
                    <a:pt x="24862" y="11233"/>
                  </a:lnTo>
                  <a:lnTo>
                    <a:pt x="25269" y="11369"/>
                  </a:lnTo>
                  <a:lnTo>
                    <a:pt x="25653" y="11459"/>
                  </a:lnTo>
                  <a:lnTo>
                    <a:pt x="26015" y="11482"/>
                  </a:lnTo>
                  <a:lnTo>
                    <a:pt x="26354" y="11482"/>
                  </a:lnTo>
                  <a:lnTo>
                    <a:pt x="26670" y="11437"/>
                  </a:lnTo>
                  <a:lnTo>
                    <a:pt x="26941" y="11369"/>
                  </a:lnTo>
                  <a:lnTo>
                    <a:pt x="27190" y="11278"/>
                  </a:lnTo>
                  <a:lnTo>
                    <a:pt x="27416" y="11165"/>
                  </a:lnTo>
                  <a:lnTo>
                    <a:pt x="27597" y="11030"/>
                  </a:lnTo>
                  <a:lnTo>
                    <a:pt x="27732" y="10894"/>
                  </a:lnTo>
                  <a:lnTo>
                    <a:pt x="27823" y="10736"/>
                  </a:lnTo>
                  <a:lnTo>
                    <a:pt x="27868" y="10600"/>
                  </a:lnTo>
                  <a:lnTo>
                    <a:pt x="27868" y="10465"/>
                  </a:lnTo>
                  <a:lnTo>
                    <a:pt x="27823" y="10261"/>
                  </a:lnTo>
                  <a:lnTo>
                    <a:pt x="27732" y="10081"/>
                  </a:lnTo>
                  <a:lnTo>
                    <a:pt x="27619" y="9945"/>
                  </a:lnTo>
                  <a:lnTo>
                    <a:pt x="27484" y="9809"/>
                  </a:lnTo>
                  <a:lnTo>
                    <a:pt x="27325" y="9696"/>
                  </a:lnTo>
                  <a:lnTo>
                    <a:pt x="27122" y="9606"/>
                  </a:lnTo>
                  <a:lnTo>
                    <a:pt x="26693" y="9448"/>
                  </a:lnTo>
                  <a:lnTo>
                    <a:pt x="26150" y="9267"/>
                  </a:lnTo>
                  <a:lnTo>
                    <a:pt x="25540" y="9063"/>
                  </a:lnTo>
                  <a:lnTo>
                    <a:pt x="25201" y="8928"/>
                  </a:lnTo>
                  <a:lnTo>
                    <a:pt x="24839" y="8770"/>
                  </a:lnTo>
                  <a:lnTo>
                    <a:pt x="24432" y="8566"/>
                  </a:lnTo>
                  <a:lnTo>
                    <a:pt x="24026" y="8340"/>
                  </a:lnTo>
                  <a:lnTo>
                    <a:pt x="23890" y="8272"/>
                  </a:lnTo>
                  <a:lnTo>
                    <a:pt x="23687" y="8227"/>
                  </a:lnTo>
                  <a:lnTo>
                    <a:pt x="23461" y="8205"/>
                  </a:lnTo>
                  <a:lnTo>
                    <a:pt x="23189" y="8182"/>
                  </a:lnTo>
                  <a:lnTo>
                    <a:pt x="22534" y="8182"/>
                  </a:lnTo>
                  <a:lnTo>
                    <a:pt x="21765" y="8205"/>
                  </a:lnTo>
                  <a:lnTo>
                    <a:pt x="20884" y="8272"/>
                  </a:lnTo>
                  <a:lnTo>
                    <a:pt x="19935" y="8363"/>
                  </a:lnTo>
                  <a:lnTo>
                    <a:pt x="17878" y="8589"/>
                  </a:lnTo>
                  <a:lnTo>
                    <a:pt x="15776" y="8815"/>
                  </a:lnTo>
                  <a:lnTo>
                    <a:pt x="14759" y="8883"/>
                  </a:lnTo>
                  <a:lnTo>
                    <a:pt x="13810" y="8928"/>
                  </a:lnTo>
                  <a:lnTo>
                    <a:pt x="12928" y="8950"/>
                  </a:lnTo>
                  <a:lnTo>
                    <a:pt x="12544" y="8950"/>
                  </a:lnTo>
                  <a:lnTo>
                    <a:pt x="12160" y="8928"/>
                  </a:lnTo>
                  <a:lnTo>
                    <a:pt x="11821" y="8883"/>
                  </a:lnTo>
                  <a:lnTo>
                    <a:pt x="11504" y="8837"/>
                  </a:lnTo>
                  <a:lnTo>
                    <a:pt x="11233" y="8770"/>
                  </a:lnTo>
                  <a:lnTo>
                    <a:pt x="11007" y="8702"/>
                  </a:lnTo>
                  <a:lnTo>
                    <a:pt x="10849" y="8566"/>
                  </a:lnTo>
                  <a:lnTo>
                    <a:pt x="10533" y="8318"/>
                  </a:lnTo>
                  <a:lnTo>
                    <a:pt x="9538" y="7436"/>
                  </a:lnTo>
                  <a:lnTo>
                    <a:pt x="6622" y="4792"/>
                  </a:lnTo>
                  <a:lnTo>
                    <a:pt x="3526" y="1921"/>
                  </a:lnTo>
                  <a:lnTo>
                    <a:pt x="2328" y="769"/>
                  </a:lnTo>
                  <a:lnTo>
                    <a:pt x="1537" y="0"/>
                  </a:lnTo>
                  <a:close/>
                </a:path>
              </a:pathLst>
            </a:custGeom>
            <a:solidFill>
              <a:srgbClr val="F4B0B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60" name="Google Shape;1760;p16"/>
            <p:cNvSpPr/>
            <p:nvPr/>
          </p:nvSpPr>
          <p:spPr>
            <a:xfrm>
              <a:off x="1297550" y="3669150"/>
              <a:ext cx="659425" cy="10775"/>
            </a:xfrm>
            <a:custGeom>
              <a:avLst/>
              <a:gdLst/>
              <a:ahLst/>
              <a:cxnLst/>
              <a:rect l="l" t="t" r="r" b="b"/>
              <a:pathLst>
                <a:path w="26377" h="431" extrusionOk="0">
                  <a:moveTo>
                    <a:pt x="1" y="430"/>
                  </a:moveTo>
                  <a:lnTo>
                    <a:pt x="26377" y="1"/>
                  </a:lnTo>
                  <a:close/>
                </a:path>
              </a:pathLst>
            </a:custGeom>
            <a:solidFill>
              <a:srgbClr val="EED6C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61" name="Google Shape;1761;p16"/>
            <p:cNvSpPr/>
            <p:nvPr/>
          </p:nvSpPr>
          <p:spPr>
            <a:xfrm>
              <a:off x="1297550" y="3669150"/>
              <a:ext cx="659425" cy="10775"/>
            </a:xfrm>
            <a:custGeom>
              <a:avLst/>
              <a:gdLst/>
              <a:ahLst/>
              <a:cxnLst/>
              <a:rect l="l" t="t" r="r" b="b"/>
              <a:pathLst>
                <a:path w="26377" h="431" fill="none" extrusionOk="0">
                  <a:moveTo>
                    <a:pt x="1" y="430"/>
                  </a:moveTo>
                  <a:lnTo>
                    <a:pt x="2637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62" name="Google Shape;1762;p16"/>
            <p:cNvSpPr/>
            <p:nvPr/>
          </p:nvSpPr>
          <p:spPr>
            <a:xfrm>
              <a:off x="1291350" y="3664075"/>
              <a:ext cx="671850" cy="20925"/>
            </a:xfrm>
            <a:custGeom>
              <a:avLst/>
              <a:gdLst/>
              <a:ahLst/>
              <a:cxnLst/>
              <a:rect l="l" t="t" r="r" b="b"/>
              <a:pathLst>
                <a:path w="26874" h="837" extrusionOk="0">
                  <a:moveTo>
                    <a:pt x="26647" y="0"/>
                  </a:moveTo>
                  <a:lnTo>
                    <a:pt x="271" y="430"/>
                  </a:lnTo>
                  <a:lnTo>
                    <a:pt x="158" y="452"/>
                  </a:lnTo>
                  <a:lnTo>
                    <a:pt x="90" y="498"/>
                  </a:lnTo>
                  <a:lnTo>
                    <a:pt x="23" y="565"/>
                  </a:lnTo>
                  <a:lnTo>
                    <a:pt x="0" y="633"/>
                  </a:lnTo>
                  <a:lnTo>
                    <a:pt x="0" y="701"/>
                  </a:lnTo>
                  <a:lnTo>
                    <a:pt x="45" y="769"/>
                  </a:lnTo>
                  <a:lnTo>
                    <a:pt x="113" y="814"/>
                  </a:lnTo>
                  <a:lnTo>
                    <a:pt x="203" y="837"/>
                  </a:lnTo>
                  <a:lnTo>
                    <a:pt x="26602" y="385"/>
                  </a:lnTo>
                  <a:lnTo>
                    <a:pt x="26715" y="362"/>
                  </a:lnTo>
                  <a:lnTo>
                    <a:pt x="26783" y="339"/>
                  </a:lnTo>
                  <a:lnTo>
                    <a:pt x="26851" y="272"/>
                  </a:lnTo>
                  <a:lnTo>
                    <a:pt x="26873" y="181"/>
                  </a:lnTo>
                  <a:lnTo>
                    <a:pt x="26873" y="136"/>
                  </a:lnTo>
                  <a:lnTo>
                    <a:pt x="26851" y="91"/>
                  </a:lnTo>
                  <a:lnTo>
                    <a:pt x="26805" y="46"/>
                  </a:lnTo>
                  <a:lnTo>
                    <a:pt x="26738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63" name="Google Shape;1763;p16"/>
            <p:cNvSpPr/>
            <p:nvPr/>
          </p:nvSpPr>
          <p:spPr>
            <a:xfrm>
              <a:off x="1397000" y="3761250"/>
              <a:ext cx="618750" cy="1725"/>
            </a:xfrm>
            <a:custGeom>
              <a:avLst/>
              <a:gdLst/>
              <a:ahLst/>
              <a:cxnLst/>
              <a:rect l="l" t="t" r="r" b="b"/>
              <a:pathLst>
                <a:path w="24750" h="69" extrusionOk="0">
                  <a:moveTo>
                    <a:pt x="1" y="69"/>
                  </a:moveTo>
                  <a:lnTo>
                    <a:pt x="24749" y="1"/>
                  </a:lnTo>
                  <a:close/>
                </a:path>
              </a:pathLst>
            </a:custGeom>
            <a:solidFill>
              <a:srgbClr val="EED6C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64" name="Google Shape;1764;p16"/>
            <p:cNvSpPr/>
            <p:nvPr/>
          </p:nvSpPr>
          <p:spPr>
            <a:xfrm>
              <a:off x="1397000" y="3761250"/>
              <a:ext cx="618750" cy="1725"/>
            </a:xfrm>
            <a:custGeom>
              <a:avLst/>
              <a:gdLst/>
              <a:ahLst/>
              <a:cxnLst/>
              <a:rect l="l" t="t" r="r" b="b"/>
              <a:pathLst>
                <a:path w="24750" h="69" fill="none" extrusionOk="0">
                  <a:moveTo>
                    <a:pt x="1" y="69"/>
                  </a:moveTo>
                  <a:lnTo>
                    <a:pt x="24749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65" name="Google Shape;1765;p16"/>
            <p:cNvSpPr/>
            <p:nvPr/>
          </p:nvSpPr>
          <p:spPr>
            <a:xfrm>
              <a:off x="1390775" y="3756175"/>
              <a:ext cx="630625" cy="11325"/>
            </a:xfrm>
            <a:custGeom>
              <a:avLst/>
              <a:gdLst/>
              <a:ahLst/>
              <a:cxnLst/>
              <a:rect l="l" t="t" r="r" b="b"/>
              <a:pathLst>
                <a:path w="25225" h="453" extrusionOk="0">
                  <a:moveTo>
                    <a:pt x="25021" y="0"/>
                  </a:moveTo>
                  <a:lnTo>
                    <a:pt x="272" y="68"/>
                  </a:lnTo>
                  <a:lnTo>
                    <a:pt x="182" y="91"/>
                  </a:lnTo>
                  <a:lnTo>
                    <a:pt x="91" y="136"/>
                  </a:lnTo>
                  <a:lnTo>
                    <a:pt x="24" y="181"/>
                  </a:lnTo>
                  <a:lnTo>
                    <a:pt x="1" y="272"/>
                  </a:lnTo>
                  <a:lnTo>
                    <a:pt x="24" y="339"/>
                  </a:lnTo>
                  <a:lnTo>
                    <a:pt x="69" y="407"/>
                  </a:lnTo>
                  <a:lnTo>
                    <a:pt x="137" y="452"/>
                  </a:lnTo>
                  <a:lnTo>
                    <a:pt x="227" y="452"/>
                  </a:lnTo>
                  <a:lnTo>
                    <a:pt x="24976" y="407"/>
                  </a:lnTo>
                  <a:lnTo>
                    <a:pt x="25066" y="385"/>
                  </a:lnTo>
                  <a:lnTo>
                    <a:pt x="25156" y="339"/>
                  </a:lnTo>
                  <a:lnTo>
                    <a:pt x="25202" y="272"/>
                  </a:lnTo>
                  <a:lnTo>
                    <a:pt x="25224" y="204"/>
                  </a:lnTo>
                  <a:lnTo>
                    <a:pt x="25224" y="159"/>
                  </a:lnTo>
                  <a:lnTo>
                    <a:pt x="25202" y="91"/>
                  </a:lnTo>
                  <a:lnTo>
                    <a:pt x="25156" y="46"/>
                  </a:lnTo>
                  <a:lnTo>
                    <a:pt x="25089" y="23"/>
                  </a:lnTo>
                  <a:lnTo>
                    <a:pt x="25021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66" name="Google Shape;1766;p16"/>
            <p:cNvSpPr/>
            <p:nvPr/>
          </p:nvSpPr>
          <p:spPr>
            <a:xfrm>
              <a:off x="1607750" y="3707025"/>
              <a:ext cx="246950" cy="4525"/>
            </a:xfrm>
            <a:custGeom>
              <a:avLst/>
              <a:gdLst/>
              <a:ahLst/>
              <a:cxnLst/>
              <a:rect l="l" t="t" r="r" b="b"/>
              <a:pathLst>
                <a:path w="9878" h="181" extrusionOk="0">
                  <a:moveTo>
                    <a:pt x="1" y="181"/>
                  </a:moveTo>
                  <a:lnTo>
                    <a:pt x="9878" y="0"/>
                  </a:lnTo>
                  <a:close/>
                </a:path>
              </a:pathLst>
            </a:custGeom>
            <a:solidFill>
              <a:srgbClr val="EED6C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67" name="Google Shape;1767;p16"/>
            <p:cNvSpPr/>
            <p:nvPr/>
          </p:nvSpPr>
          <p:spPr>
            <a:xfrm>
              <a:off x="1607750" y="3707025"/>
              <a:ext cx="246950" cy="4525"/>
            </a:xfrm>
            <a:custGeom>
              <a:avLst/>
              <a:gdLst/>
              <a:ahLst/>
              <a:cxnLst/>
              <a:rect l="l" t="t" r="r" b="b"/>
              <a:pathLst>
                <a:path w="9878" h="181" fill="none" extrusionOk="0">
                  <a:moveTo>
                    <a:pt x="1" y="181"/>
                  </a:moveTo>
                  <a:lnTo>
                    <a:pt x="987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68" name="Google Shape;1768;p16"/>
            <p:cNvSpPr/>
            <p:nvPr/>
          </p:nvSpPr>
          <p:spPr>
            <a:xfrm>
              <a:off x="1601550" y="3702500"/>
              <a:ext cx="259375" cy="13575"/>
            </a:xfrm>
            <a:custGeom>
              <a:avLst/>
              <a:gdLst/>
              <a:ahLst/>
              <a:cxnLst/>
              <a:rect l="l" t="t" r="r" b="b"/>
              <a:pathLst>
                <a:path w="10375" h="543" extrusionOk="0">
                  <a:moveTo>
                    <a:pt x="10148" y="0"/>
                  </a:moveTo>
                  <a:lnTo>
                    <a:pt x="271" y="159"/>
                  </a:lnTo>
                  <a:lnTo>
                    <a:pt x="181" y="181"/>
                  </a:lnTo>
                  <a:lnTo>
                    <a:pt x="91" y="226"/>
                  </a:lnTo>
                  <a:lnTo>
                    <a:pt x="23" y="272"/>
                  </a:lnTo>
                  <a:lnTo>
                    <a:pt x="0" y="362"/>
                  </a:lnTo>
                  <a:lnTo>
                    <a:pt x="0" y="430"/>
                  </a:lnTo>
                  <a:lnTo>
                    <a:pt x="45" y="498"/>
                  </a:lnTo>
                  <a:lnTo>
                    <a:pt x="136" y="543"/>
                  </a:lnTo>
                  <a:lnTo>
                    <a:pt x="226" y="543"/>
                  </a:lnTo>
                  <a:lnTo>
                    <a:pt x="10103" y="385"/>
                  </a:lnTo>
                  <a:lnTo>
                    <a:pt x="10194" y="362"/>
                  </a:lnTo>
                  <a:lnTo>
                    <a:pt x="10284" y="317"/>
                  </a:lnTo>
                  <a:lnTo>
                    <a:pt x="10352" y="272"/>
                  </a:lnTo>
                  <a:lnTo>
                    <a:pt x="10374" y="181"/>
                  </a:lnTo>
                  <a:lnTo>
                    <a:pt x="10374" y="136"/>
                  </a:lnTo>
                  <a:lnTo>
                    <a:pt x="10352" y="68"/>
                  </a:lnTo>
                  <a:lnTo>
                    <a:pt x="10307" y="23"/>
                  </a:lnTo>
                  <a:lnTo>
                    <a:pt x="10239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69" name="Google Shape;1769;p16"/>
            <p:cNvSpPr/>
            <p:nvPr/>
          </p:nvSpPr>
          <p:spPr>
            <a:xfrm>
              <a:off x="1790275" y="3603625"/>
              <a:ext cx="246925" cy="3975"/>
            </a:xfrm>
            <a:custGeom>
              <a:avLst/>
              <a:gdLst/>
              <a:ahLst/>
              <a:cxnLst/>
              <a:rect l="l" t="t" r="r" b="b"/>
              <a:pathLst>
                <a:path w="9877" h="159" extrusionOk="0">
                  <a:moveTo>
                    <a:pt x="0" y="158"/>
                  </a:moveTo>
                  <a:lnTo>
                    <a:pt x="9877" y="0"/>
                  </a:lnTo>
                  <a:close/>
                </a:path>
              </a:pathLst>
            </a:custGeom>
            <a:solidFill>
              <a:srgbClr val="EED6C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70" name="Google Shape;1770;p16"/>
            <p:cNvSpPr/>
            <p:nvPr/>
          </p:nvSpPr>
          <p:spPr>
            <a:xfrm>
              <a:off x="1790275" y="3603625"/>
              <a:ext cx="246925" cy="3975"/>
            </a:xfrm>
            <a:custGeom>
              <a:avLst/>
              <a:gdLst/>
              <a:ahLst/>
              <a:cxnLst/>
              <a:rect l="l" t="t" r="r" b="b"/>
              <a:pathLst>
                <a:path w="9877" h="159" fill="none" extrusionOk="0">
                  <a:moveTo>
                    <a:pt x="0" y="158"/>
                  </a:moveTo>
                  <a:lnTo>
                    <a:pt x="987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71" name="Google Shape;1771;p16"/>
            <p:cNvSpPr/>
            <p:nvPr/>
          </p:nvSpPr>
          <p:spPr>
            <a:xfrm>
              <a:off x="1784050" y="3598525"/>
              <a:ext cx="259375" cy="14150"/>
            </a:xfrm>
            <a:custGeom>
              <a:avLst/>
              <a:gdLst/>
              <a:ahLst/>
              <a:cxnLst/>
              <a:rect l="l" t="t" r="r" b="b"/>
              <a:pathLst>
                <a:path w="10375" h="566" extrusionOk="0">
                  <a:moveTo>
                    <a:pt x="10149" y="1"/>
                  </a:moveTo>
                  <a:lnTo>
                    <a:pt x="272" y="181"/>
                  </a:lnTo>
                  <a:lnTo>
                    <a:pt x="181" y="181"/>
                  </a:lnTo>
                  <a:lnTo>
                    <a:pt x="91" y="227"/>
                  </a:lnTo>
                  <a:lnTo>
                    <a:pt x="23" y="295"/>
                  </a:lnTo>
                  <a:lnTo>
                    <a:pt x="1" y="362"/>
                  </a:lnTo>
                  <a:lnTo>
                    <a:pt x="23" y="453"/>
                  </a:lnTo>
                  <a:lnTo>
                    <a:pt x="68" y="521"/>
                  </a:lnTo>
                  <a:lnTo>
                    <a:pt x="136" y="543"/>
                  </a:lnTo>
                  <a:lnTo>
                    <a:pt x="227" y="566"/>
                  </a:lnTo>
                  <a:lnTo>
                    <a:pt x="10103" y="408"/>
                  </a:lnTo>
                  <a:lnTo>
                    <a:pt x="10216" y="385"/>
                  </a:lnTo>
                  <a:lnTo>
                    <a:pt x="10284" y="340"/>
                  </a:lnTo>
                  <a:lnTo>
                    <a:pt x="10352" y="272"/>
                  </a:lnTo>
                  <a:lnTo>
                    <a:pt x="10375" y="204"/>
                  </a:lnTo>
                  <a:lnTo>
                    <a:pt x="10375" y="159"/>
                  </a:lnTo>
                  <a:lnTo>
                    <a:pt x="10352" y="91"/>
                  </a:lnTo>
                  <a:lnTo>
                    <a:pt x="10307" y="46"/>
                  </a:lnTo>
                  <a:lnTo>
                    <a:pt x="10239" y="23"/>
                  </a:lnTo>
                  <a:lnTo>
                    <a:pt x="10149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72" name="Google Shape;1772;p16"/>
            <p:cNvSpPr/>
            <p:nvPr/>
          </p:nvSpPr>
          <p:spPr>
            <a:xfrm>
              <a:off x="4942025" y="3742050"/>
              <a:ext cx="659425" cy="10750"/>
            </a:xfrm>
            <a:custGeom>
              <a:avLst/>
              <a:gdLst/>
              <a:ahLst/>
              <a:cxnLst/>
              <a:rect l="l" t="t" r="r" b="b"/>
              <a:pathLst>
                <a:path w="26377" h="430" extrusionOk="0">
                  <a:moveTo>
                    <a:pt x="1" y="430"/>
                  </a:moveTo>
                  <a:lnTo>
                    <a:pt x="26377" y="0"/>
                  </a:lnTo>
                  <a:close/>
                </a:path>
              </a:pathLst>
            </a:custGeom>
            <a:solidFill>
              <a:srgbClr val="EED6C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73" name="Google Shape;1773;p16"/>
            <p:cNvSpPr/>
            <p:nvPr/>
          </p:nvSpPr>
          <p:spPr>
            <a:xfrm>
              <a:off x="4942025" y="3742050"/>
              <a:ext cx="659425" cy="10750"/>
            </a:xfrm>
            <a:custGeom>
              <a:avLst/>
              <a:gdLst/>
              <a:ahLst/>
              <a:cxnLst/>
              <a:rect l="l" t="t" r="r" b="b"/>
              <a:pathLst>
                <a:path w="26377" h="430" fill="none" extrusionOk="0">
                  <a:moveTo>
                    <a:pt x="1" y="430"/>
                  </a:moveTo>
                  <a:lnTo>
                    <a:pt x="2637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74" name="Google Shape;1774;p16"/>
            <p:cNvSpPr/>
            <p:nvPr/>
          </p:nvSpPr>
          <p:spPr>
            <a:xfrm>
              <a:off x="4935825" y="3736975"/>
              <a:ext cx="671850" cy="20925"/>
            </a:xfrm>
            <a:custGeom>
              <a:avLst/>
              <a:gdLst/>
              <a:ahLst/>
              <a:cxnLst/>
              <a:rect l="l" t="t" r="r" b="b"/>
              <a:pathLst>
                <a:path w="26874" h="837" extrusionOk="0">
                  <a:moveTo>
                    <a:pt x="26670" y="0"/>
                  </a:moveTo>
                  <a:lnTo>
                    <a:pt x="272" y="452"/>
                  </a:lnTo>
                  <a:lnTo>
                    <a:pt x="159" y="452"/>
                  </a:lnTo>
                  <a:lnTo>
                    <a:pt x="91" y="497"/>
                  </a:lnTo>
                  <a:lnTo>
                    <a:pt x="23" y="565"/>
                  </a:lnTo>
                  <a:lnTo>
                    <a:pt x="0" y="655"/>
                  </a:lnTo>
                  <a:lnTo>
                    <a:pt x="0" y="723"/>
                  </a:lnTo>
                  <a:lnTo>
                    <a:pt x="46" y="791"/>
                  </a:lnTo>
                  <a:lnTo>
                    <a:pt x="113" y="814"/>
                  </a:lnTo>
                  <a:lnTo>
                    <a:pt x="226" y="836"/>
                  </a:lnTo>
                  <a:lnTo>
                    <a:pt x="26602" y="407"/>
                  </a:lnTo>
                  <a:lnTo>
                    <a:pt x="26715" y="384"/>
                  </a:lnTo>
                  <a:lnTo>
                    <a:pt x="26783" y="339"/>
                  </a:lnTo>
                  <a:lnTo>
                    <a:pt x="26851" y="271"/>
                  </a:lnTo>
                  <a:lnTo>
                    <a:pt x="26873" y="203"/>
                  </a:lnTo>
                  <a:lnTo>
                    <a:pt x="26873" y="158"/>
                  </a:lnTo>
                  <a:lnTo>
                    <a:pt x="26851" y="90"/>
                  </a:lnTo>
                  <a:lnTo>
                    <a:pt x="26806" y="45"/>
                  </a:lnTo>
                  <a:lnTo>
                    <a:pt x="26738" y="23"/>
                  </a:lnTo>
                  <a:lnTo>
                    <a:pt x="26670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75" name="Google Shape;1775;p16"/>
            <p:cNvSpPr/>
            <p:nvPr/>
          </p:nvSpPr>
          <p:spPr>
            <a:xfrm>
              <a:off x="5041475" y="3834150"/>
              <a:ext cx="618750" cy="1725"/>
            </a:xfrm>
            <a:custGeom>
              <a:avLst/>
              <a:gdLst/>
              <a:ahLst/>
              <a:cxnLst/>
              <a:rect l="l" t="t" r="r" b="b"/>
              <a:pathLst>
                <a:path w="24750" h="69" extrusionOk="0">
                  <a:moveTo>
                    <a:pt x="1" y="68"/>
                  </a:moveTo>
                  <a:lnTo>
                    <a:pt x="24749" y="0"/>
                  </a:lnTo>
                  <a:close/>
                </a:path>
              </a:pathLst>
            </a:custGeom>
            <a:solidFill>
              <a:srgbClr val="EED6C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76" name="Google Shape;1776;p16"/>
            <p:cNvSpPr/>
            <p:nvPr/>
          </p:nvSpPr>
          <p:spPr>
            <a:xfrm>
              <a:off x="5041475" y="3834150"/>
              <a:ext cx="618750" cy="1725"/>
            </a:xfrm>
            <a:custGeom>
              <a:avLst/>
              <a:gdLst/>
              <a:ahLst/>
              <a:cxnLst/>
              <a:rect l="l" t="t" r="r" b="b"/>
              <a:pathLst>
                <a:path w="24750" h="69" fill="none" extrusionOk="0">
                  <a:moveTo>
                    <a:pt x="1" y="68"/>
                  </a:moveTo>
                  <a:lnTo>
                    <a:pt x="24749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77" name="Google Shape;1777;p16"/>
            <p:cNvSpPr/>
            <p:nvPr/>
          </p:nvSpPr>
          <p:spPr>
            <a:xfrm>
              <a:off x="5035275" y="3829625"/>
              <a:ext cx="630600" cy="11325"/>
            </a:xfrm>
            <a:custGeom>
              <a:avLst/>
              <a:gdLst/>
              <a:ahLst/>
              <a:cxnLst/>
              <a:rect l="l" t="t" r="r" b="b"/>
              <a:pathLst>
                <a:path w="25224" h="453" extrusionOk="0">
                  <a:moveTo>
                    <a:pt x="25020" y="1"/>
                  </a:moveTo>
                  <a:lnTo>
                    <a:pt x="271" y="68"/>
                  </a:lnTo>
                  <a:lnTo>
                    <a:pt x="181" y="68"/>
                  </a:lnTo>
                  <a:lnTo>
                    <a:pt x="91" y="114"/>
                  </a:lnTo>
                  <a:lnTo>
                    <a:pt x="45" y="181"/>
                  </a:lnTo>
                  <a:lnTo>
                    <a:pt x="0" y="249"/>
                  </a:lnTo>
                  <a:lnTo>
                    <a:pt x="23" y="340"/>
                  </a:lnTo>
                  <a:lnTo>
                    <a:pt x="68" y="385"/>
                  </a:lnTo>
                  <a:lnTo>
                    <a:pt x="136" y="430"/>
                  </a:lnTo>
                  <a:lnTo>
                    <a:pt x="226" y="453"/>
                  </a:lnTo>
                  <a:lnTo>
                    <a:pt x="24975" y="385"/>
                  </a:lnTo>
                  <a:lnTo>
                    <a:pt x="25065" y="362"/>
                  </a:lnTo>
                  <a:lnTo>
                    <a:pt x="25156" y="317"/>
                  </a:lnTo>
                  <a:lnTo>
                    <a:pt x="25201" y="272"/>
                  </a:lnTo>
                  <a:lnTo>
                    <a:pt x="25223" y="181"/>
                  </a:lnTo>
                  <a:lnTo>
                    <a:pt x="25223" y="136"/>
                  </a:lnTo>
                  <a:lnTo>
                    <a:pt x="25201" y="68"/>
                  </a:lnTo>
                  <a:lnTo>
                    <a:pt x="25156" y="46"/>
                  </a:lnTo>
                  <a:lnTo>
                    <a:pt x="25088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78" name="Google Shape;1778;p16"/>
            <p:cNvSpPr/>
            <p:nvPr/>
          </p:nvSpPr>
          <p:spPr>
            <a:xfrm>
              <a:off x="5252250" y="3780475"/>
              <a:ext cx="246925" cy="3975"/>
            </a:xfrm>
            <a:custGeom>
              <a:avLst/>
              <a:gdLst/>
              <a:ahLst/>
              <a:cxnLst/>
              <a:rect l="l" t="t" r="r" b="b"/>
              <a:pathLst>
                <a:path w="9877" h="159" extrusionOk="0">
                  <a:moveTo>
                    <a:pt x="0" y="159"/>
                  </a:moveTo>
                  <a:lnTo>
                    <a:pt x="9877" y="0"/>
                  </a:lnTo>
                  <a:close/>
                </a:path>
              </a:pathLst>
            </a:custGeom>
            <a:solidFill>
              <a:srgbClr val="EED6C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79" name="Google Shape;1779;p16"/>
            <p:cNvSpPr/>
            <p:nvPr/>
          </p:nvSpPr>
          <p:spPr>
            <a:xfrm>
              <a:off x="5252250" y="3780475"/>
              <a:ext cx="246925" cy="3975"/>
            </a:xfrm>
            <a:custGeom>
              <a:avLst/>
              <a:gdLst/>
              <a:ahLst/>
              <a:cxnLst/>
              <a:rect l="l" t="t" r="r" b="b"/>
              <a:pathLst>
                <a:path w="9877" h="159" fill="none" extrusionOk="0">
                  <a:moveTo>
                    <a:pt x="0" y="159"/>
                  </a:moveTo>
                  <a:lnTo>
                    <a:pt x="987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80" name="Google Shape;1780;p16"/>
            <p:cNvSpPr/>
            <p:nvPr/>
          </p:nvSpPr>
          <p:spPr>
            <a:xfrm>
              <a:off x="5246025" y="3775375"/>
              <a:ext cx="259375" cy="14150"/>
            </a:xfrm>
            <a:custGeom>
              <a:avLst/>
              <a:gdLst/>
              <a:ahLst/>
              <a:cxnLst/>
              <a:rect l="l" t="t" r="r" b="b"/>
              <a:pathLst>
                <a:path w="10375" h="566" extrusionOk="0">
                  <a:moveTo>
                    <a:pt x="10149" y="1"/>
                  </a:moveTo>
                  <a:lnTo>
                    <a:pt x="272" y="159"/>
                  </a:lnTo>
                  <a:lnTo>
                    <a:pt x="181" y="182"/>
                  </a:lnTo>
                  <a:lnTo>
                    <a:pt x="91" y="227"/>
                  </a:lnTo>
                  <a:lnTo>
                    <a:pt x="23" y="295"/>
                  </a:lnTo>
                  <a:lnTo>
                    <a:pt x="1" y="363"/>
                  </a:lnTo>
                  <a:lnTo>
                    <a:pt x="23" y="453"/>
                  </a:lnTo>
                  <a:lnTo>
                    <a:pt x="68" y="498"/>
                  </a:lnTo>
                  <a:lnTo>
                    <a:pt x="136" y="543"/>
                  </a:lnTo>
                  <a:lnTo>
                    <a:pt x="227" y="566"/>
                  </a:lnTo>
                  <a:lnTo>
                    <a:pt x="10103" y="408"/>
                  </a:lnTo>
                  <a:lnTo>
                    <a:pt x="10216" y="385"/>
                  </a:lnTo>
                  <a:lnTo>
                    <a:pt x="10284" y="340"/>
                  </a:lnTo>
                  <a:lnTo>
                    <a:pt x="10352" y="272"/>
                  </a:lnTo>
                  <a:lnTo>
                    <a:pt x="10375" y="204"/>
                  </a:lnTo>
                  <a:lnTo>
                    <a:pt x="10375" y="137"/>
                  </a:lnTo>
                  <a:lnTo>
                    <a:pt x="10352" y="91"/>
                  </a:lnTo>
                  <a:lnTo>
                    <a:pt x="10307" y="46"/>
                  </a:lnTo>
                  <a:lnTo>
                    <a:pt x="10239" y="24"/>
                  </a:lnTo>
                  <a:lnTo>
                    <a:pt x="10149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81" name="Google Shape;1781;p16"/>
            <p:cNvSpPr/>
            <p:nvPr/>
          </p:nvSpPr>
          <p:spPr>
            <a:xfrm>
              <a:off x="5434750" y="3676500"/>
              <a:ext cx="246950" cy="4550"/>
            </a:xfrm>
            <a:custGeom>
              <a:avLst/>
              <a:gdLst/>
              <a:ahLst/>
              <a:cxnLst/>
              <a:rect l="l" t="t" r="r" b="b"/>
              <a:pathLst>
                <a:path w="9878" h="182" extrusionOk="0">
                  <a:moveTo>
                    <a:pt x="0" y="181"/>
                  </a:moveTo>
                  <a:lnTo>
                    <a:pt x="9877" y="1"/>
                  </a:lnTo>
                  <a:close/>
                </a:path>
              </a:pathLst>
            </a:custGeom>
            <a:solidFill>
              <a:srgbClr val="EED6C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82" name="Google Shape;1782;p16"/>
            <p:cNvSpPr/>
            <p:nvPr/>
          </p:nvSpPr>
          <p:spPr>
            <a:xfrm>
              <a:off x="5434750" y="3676500"/>
              <a:ext cx="246950" cy="4550"/>
            </a:xfrm>
            <a:custGeom>
              <a:avLst/>
              <a:gdLst/>
              <a:ahLst/>
              <a:cxnLst/>
              <a:rect l="l" t="t" r="r" b="b"/>
              <a:pathLst>
                <a:path w="9878" h="182" fill="none" extrusionOk="0">
                  <a:moveTo>
                    <a:pt x="0" y="181"/>
                  </a:moveTo>
                  <a:lnTo>
                    <a:pt x="987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83" name="Google Shape;1783;p16"/>
            <p:cNvSpPr/>
            <p:nvPr/>
          </p:nvSpPr>
          <p:spPr>
            <a:xfrm>
              <a:off x="5428525" y="3671975"/>
              <a:ext cx="259950" cy="13600"/>
            </a:xfrm>
            <a:custGeom>
              <a:avLst/>
              <a:gdLst/>
              <a:ahLst/>
              <a:cxnLst/>
              <a:rect l="l" t="t" r="r" b="b"/>
              <a:pathLst>
                <a:path w="10398" h="544" extrusionOk="0">
                  <a:moveTo>
                    <a:pt x="10171" y="1"/>
                  </a:moveTo>
                  <a:lnTo>
                    <a:pt x="295" y="159"/>
                  </a:lnTo>
                  <a:lnTo>
                    <a:pt x="182" y="182"/>
                  </a:lnTo>
                  <a:lnTo>
                    <a:pt x="91" y="227"/>
                  </a:lnTo>
                  <a:lnTo>
                    <a:pt x="46" y="295"/>
                  </a:lnTo>
                  <a:lnTo>
                    <a:pt x="1" y="362"/>
                  </a:lnTo>
                  <a:lnTo>
                    <a:pt x="23" y="430"/>
                  </a:lnTo>
                  <a:lnTo>
                    <a:pt x="69" y="498"/>
                  </a:lnTo>
                  <a:lnTo>
                    <a:pt x="136" y="543"/>
                  </a:lnTo>
                  <a:lnTo>
                    <a:pt x="227" y="543"/>
                  </a:lnTo>
                  <a:lnTo>
                    <a:pt x="10104" y="385"/>
                  </a:lnTo>
                  <a:lnTo>
                    <a:pt x="10217" y="362"/>
                  </a:lnTo>
                  <a:lnTo>
                    <a:pt x="10284" y="317"/>
                  </a:lnTo>
                  <a:lnTo>
                    <a:pt x="10352" y="272"/>
                  </a:lnTo>
                  <a:lnTo>
                    <a:pt x="10397" y="182"/>
                  </a:lnTo>
                  <a:lnTo>
                    <a:pt x="10375" y="136"/>
                  </a:lnTo>
                  <a:lnTo>
                    <a:pt x="10352" y="69"/>
                  </a:lnTo>
                  <a:lnTo>
                    <a:pt x="10307" y="46"/>
                  </a:lnTo>
                  <a:lnTo>
                    <a:pt x="10239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84" name="Google Shape;1784;p16"/>
            <p:cNvSpPr/>
            <p:nvPr/>
          </p:nvSpPr>
          <p:spPr>
            <a:xfrm>
              <a:off x="238675" y="3646550"/>
              <a:ext cx="174625" cy="148625"/>
            </a:xfrm>
            <a:custGeom>
              <a:avLst/>
              <a:gdLst/>
              <a:ahLst/>
              <a:cxnLst/>
              <a:rect l="l" t="t" r="r" b="b"/>
              <a:pathLst>
                <a:path w="6985" h="5945" extrusionOk="0">
                  <a:moveTo>
                    <a:pt x="46" y="1"/>
                  </a:moveTo>
                  <a:lnTo>
                    <a:pt x="1" y="46"/>
                  </a:lnTo>
                  <a:lnTo>
                    <a:pt x="1" y="114"/>
                  </a:lnTo>
                  <a:lnTo>
                    <a:pt x="1" y="340"/>
                  </a:lnTo>
                  <a:lnTo>
                    <a:pt x="46" y="634"/>
                  </a:lnTo>
                  <a:lnTo>
                    <a:pt x="114" y="995"/>
                  </a:lnTo>
                  <a:lnTo>
                    <a:pt x="249" y="1425"/>
                  </a:lnTo>
                  <a:lnTo>
                    <a:pt x="407" y="1877"/>
                  </a:lnTo>
                  <a:lnTo>
                    <a:pt x="588" y="2374"/>
                  </a:lnTo>
                  <a:lnTo>
                    <a:pt x="814" y="2894"/>
                  </a:lnTo>
                  <a:lnTo>
                    <a:pt x="1063" y="3391"/>
                  </a:lnTo>
                  <a:lnTo>
                    <a:pt x="1334" y="3888"/>
                  </a:lnTo>
                  <a:lnTo>
                    <a:pt x="1628" y="4340"/>
                  </a:lnTo>
                  <a:lnTo>
                    <a:pt x="1944" y="4747"/>
                  </a:lnTo>
                  <a:lnTo>
                    <a:pt x="2103" y="4928"/>
                  </a:lnTo>
                  <a:lnTo>
                    <a:pt x="2261" y="5109"/>
                  </a:lnTo>
                  <a:lnTo>
                    <a:pt x="2442" y="5244"/>
                  </a:lnTo>
                  <a:lnTo>
                    <a:pt x="2600" y="5380"/>
                  </a:lnTo>
                  <a:lnTo>
                    <a:pt x="2781" y="5493"/>
                  </a:lnTo>
                  <a:lnTo>
                    <a:pt x="2961" y="5561"/>
                  </a:lnTo>
                  <a:lnTo>
                    <a:pt x="3300" y="5696"/>
                  </a:lnTo>
                  <a:lnTo>
                    <a:pt x="3662" y="5787"/>
                  </a:lnTo>
                  <a:lnTo>
                    <a:pt x="4024" y="5855"/>
                  </a:lnTo>
                  <a:lnTo>
                    <a:pt x="4385" y="5922"/>
                  </a:lnTo>
                  <a:lnTo>
                    <a:pt x="4724" y="5945"/>
                  </a:lnTo>
                  <a:lnTo>
                    <a:pt x="5674" y="5945"/>
                  </a:lnTo>
                  <a:lnTo>
                    <a:pt x="6216" y="5900"/>
                  </a:lnTo>
                  <a:lnTo>
                    <a:pt x="6623" y="5832"/>
                  </a:lnTo>
                  <a:lnTo>
                    <a:pt x="6984" y="5742"/>
                  </a:lnTo>
                  <a:lnTo>
                    <a:pt x="6894" y="5448"/>
                  </a:lnTo>
                  <a:lnTo>
                    <a:pt x="6758" y="5154"/>
                  </a:lnTo>
                  <a:lnTo>
                    <a:pt x="6600" y="4860"/>
                  </a:lnTo>
                  <a:lnTo>
                    <a:pt x="6419" y="4566"/>
                  </a:lnTo>
                  <a:lnTo>
                    <a:pt x="6239" y="4295"/>
                  </a:lnTo>
                  <a:lnTo>
                    <a:pt x="6035" y="4024"/>
                  </a:lnTo>
                  <a:lnTo>
                    <a:pt x="5809" y="3753"/>
                  </a:lnTo>
                  <a:lnTo>
                    <a:pt x="5583" y="3504"/>
                  </a:lnTo>
                  <a:lnTo>
                    <a:pt x="5086" y="3029"/>
                  </a:lnTo>
                  <a:lnTo>
                    <a:pt x="4543" y="2577"/>
                  </a:lnTo>
                  <a:lnTo>
                    <a:pt x="3978" y="2148"/>
                  </a:lnTo>
                  <a:lnTo>
                    <a:pt x="3413" y="1764"/>
                  </a:lnTo>
                  <a:lnTo>
                    <a:pt x="2871" y="1425"/>
                  </a:lnTo>
                  <a:lnTo>
                    <a:pt x="2329" y="1108"/>
                  </a:lnTo>
                  <a:lnTo>
                    <a:pt x="1809" y="837"/>
                  </a:lnTo>
                  <a:lnTo>
                    <a:pt x="1334" y="588"/>
                  </a:lnTo>
                  <a:lnTo>
                    <a:pt x="588" y="227"/>
                  </a:lnTo>
                  <a:lnTo>
                    <a:pt x="136" y="23"/>
                  </a:lnTo>
                  <a:lnTo>
                    <a:pt x="91" y="1"/>
                  </a:lnTo>
                  <a:close/>
                </a:path>
              </a:pathLst>
            </a:custGeom>
            <a:solidFill>
              <a:srgbClr val="41998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85" name="Google Shape;1785;p16"/>
            <p:cNvSpPr/>
            <p:nvPr/>
          </p:nvSpPr>
          <p:spPr>
            <a:xfrm>
              <a:off x="238675" y="3646550"/>
              <a:ext cx="174625" cy="148625"/>
            </a:xfrm>
            <a:custGeom>
              <a:avLst/>
              <a:gdLst/>
              <a:ahLst/>
              <a:cxnLst/>
              <a:rect l="l" t="t" r="r" b="b"/>
              <a:pathLst>
                <a:path w="6985" h="5945" fill="none" extrusionOk="0">
                  <a:moveTo>
                    <a:pt x="6984" y="5742"/>
                  </a:moveTo>
                  <a:lnTo>
                    <a:pt x="6984" y="5742"/>
                  </a:lnTo>
                  <a:lnTo>
                    <a:pt x="6894" y="5448"/>
                  </a:lnTo>
                  <a:lnTo>
                    <a:pt x="6758" y="5154"/>
                  </a:lnTo>
                  <a:lnTo>
                    <a:pt x="6600" y="4860"/>
                  </a:lnTo>
                  <a:lnTo>
                    <a:pt x="6419" y="4566"/>
                  </a:lnTo>
                  <a:lnTo>
                    <a:pt x="6239" y="4295"/>
                  </a:lnTo>
                  <a:lnTo>
                    <a:pt x="6035" y="4024"/>
                  </a:lnTo>
                  <a:lnTo>
                    <a:pt x="5809" y="3753"/>
                  </a:lnTo>
                  <a:lnTo>
                    <a:pt x="5583" y="3504"/>
                  </a:lnTo>
                  <a:lnTo>
                    <a:pt x="5086" y="3029"/>
                  </a:lnTo>
                  <a:lnTo>
                    <a:pt x="4543" y="2577"/>
                  </a:lnTo>
                  <a:lnTo>
                    <a:pt x="3978" y="2148"/>
                  </a:lnTo>
                  <a:lnTo>
                    <a:pt x="3413" y="1764"/>
                  </a:lnTo>
                  <a:lnTo>
                    <a:pt x="2871" y="1425"/>
                  </a:lnTo>
                  <a:lnTo>
                    <a:pt x="2329" y="1108"/>
                  </a:lnTo>
                  <a:lnTo>
                    <a:pt x="1809" y="837"/>
                  </a:lnTo>
                  <a:lnTo>
                    <a:pt x="1334" y="588"/>
                  </a:lnTo>
                  <a:lnTo>
                    <a:pt x="588" y="227"/>
                  </a:lnTo>
                  <a:lnTo>
                    <a:pt x="136" y="23"/>
                  </a:lnTo>
                  <a:lnTo>
                    <a:pt x="136" y="23"/>
                  </a:lnTo>
                  <a:lnTo>
                    <a:pt x="91" y="1"/>
                  </a:lnTo>
                  <a:lnTo>
                    <a:pt x="46" y="1"/>
                  </a:lnTo>
                  <a:lnTo>
                    <a:pt x="1" y="46"/>
                  </a:lnTo>
                  <a:lnTo>
                    <a:pt x="1" y="114"/>
                  </a:lnTo>
                  <a:lnTo>
                    <a:pt x="1" y="340"/>
                  </a:lnTo>
                  <a:lnTo>
                    <a:pt x="46" y="634"/>
                  </a:lnTo>
                  <a:lnTo>
                    <a:pt x="114" y="995"/>
                  </a:lnTo>
                  <a:lnTo>
                    <a:pt x="249" y="1425"/>
                  </a:lnTo>
                  <a:lnTo>
                    <a:pt x="407" y="1877"/>
                  </a:lnTo>
                  <a:lnTo>
                    <a:pt x="588" y="2374"/>
                  </a:lnTo>
                  <a:lnTo>
                    <a:pt x="814" y="2894"/>
                  </a:lnTo>
                  <a:lnTo>
                    <a:pt x="1063" y="3391"/>
                  </a:lnTo>
                  <a:lnTo>
                    <a:pt x="1334" y="3888"/>
                  </a:lnTo>
                  <a:lnTo>
                    <a:pt x="1628" y="4340"/>
                  </a:lnTo>
                  <a:lnTo>
                    <a:pt x="1944" y="4747"/>
                  </a:lnTo>
                  <a:lnTo>
                    <a:pt x="2103" y="4928"/>
                  </a:lnTo>
                  <a:lnTo>
                    <a:pt x="2261" y="5109"/>
                  </a:lnTo>
                  <a:lnTo>
                    <a:pt x="2442" y="5244"/>
                  </a:lnTo>
                  <a:lnTo>
                    <a:pt x="2600" y="5380"/>
                  </a:lnTo>
                  <a:lnTo>
                    <a:pt x="2781" y="5493"/>
                  </a:lnTo>
                  <a:lnTo>
                    <a:pt x="2961" y="5561"/>
                  </a:lnTo>
                  <a:lnTo>
                    <a:pt x="2961" y="5561"/>
                  </a:lnTo>
                  <a:lnTo>
                    <a:pt x="3300" y="5696"/>
                  </a:lnTo>
                  <a:lnTo>
                    <a:pt x="3662" y="5787"/>
                  </a:lnTo>
                  <a:lnTo>
                    <a:pt x="4024" y="5855"/>
                  </a:lnTo>
                  <a:lnTo>
                    <a:pt x="4385" y="5922"/>
                  </a:lnTo>
                  <a:lnTo>
                    <a:pt x="4724" y="5945"/>
                  </a:lnTo>
                  <a:lnTo>
                    <a:pt x="5063" y="5945"/>
                  </a:lnTo>
                  <a:lnTo>
                    <a:pt x="5674" y="5945"/>
                  </a:lnTo>
                  <a:lnTo>
                    <a:pt x="6216" y="5900"/>
                  </a:lnTo>
                  <a:lnTo>
                    <a:pt x="6623" y="5832"/>
                  </a:lnTo>
                  <a:lnTo>
                    <a:pt x="6984" y="5742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86" name="Google Shape;1786;p16"/>
            <p:cNvSpPr/>
            <p:nvPr/>
          </p:nvSpPr>
          <p:spPr>
            <a:xfrm>
              <a:off x="434175" y="3733575"/>
              <a:ext cx="418150" cy="176875"/>
            </a:xfrm>
            <a:custGeom>
              <a:avLst/>
              <a:gdLst/>
              <a:ahLst/>
              <a:cxnLst/>
              <a:rect l="l" t="t" r="r" b="b"/>
              <a:pathLst>
                <a:path w="16726" h="7075" extrusionOk="0">
                  <a:moveTo>
                    <a:pt x="7617" y="452"/>
                  </a:moveTo>
                  <a:lnTo>
                    <a:pt x="7956" y="475"/>
                  </a:lnTo>
                  <a:lnTo>
                    <a:pt x="8137" y="520"/>
                  </a:lnTo>
                  <a:lnTo>
                    <a:pt x="8295" y="588"/>
                  </a:lnTo>
                  <a:lnTo>
                    <a:pt x="8454" y="678"/>
                  </a:lnTo>
                  <a:lnTo>
                    <a:pt x="8612" y="769"/>
                  </a:lnTo>
                  <a:lnTo>
                    <a:pt x="8838" y="972"/>
                  </a:lnTo>
                  <a:lnTo>
                    <a:pt x="9064" y="1198"/>
                  </a:lnTo>
                  <a:lnTo>
                    <a:pt x="9245" y="1469"/>
                  </a:lnTo>
                  <a:lnTo>
                    <a:pt x="9380" y="1741"/>
                  </a:lnTo>
                  <a:lnTo>
                    <a:pt x="9516" y="2057"/>
                  </a:lnTo>
                  <a:lnTo>
                    <a:pt x="9606" y="2351"/>
                  </a:lnTo>
                  <a:lnTo>
                    <a:pt x="9652" y="2645"/>
                  </a:lnTo>
                  <a:lnTo>
                    <a:pt x="9674" y="2916"/>
                  </a:lnTo>
                  <a:lnTo>
                    <a:pt x="9652" y="3142"/>
                  </a:lnTo>
                  <a:lnTo>
                    <a:pt x="9629" y="3300"/>
                  </a:lnTo>
                  <a:lnTo>
                    <a:pt x="9584" y="3458"/>
                  </a:lnTo>
                  <a:lnTo>
                    <a:pt x="9539" y="3594"/>
                  </a:lnTo>
                  <a:lnTo>
                    <a:pt x="9471" y="3730"/>
                  </a:lnTo>
                  <a:lnTo>
                    <a:pt x="9312" y="3933"/>
                  </a:lnTo>
                  <a:lnTo>
                    <a:pt x="9132" y="4136"/>
                  </a:lnTo>
                  <a:lnTo>
                    <a:pt x="8928" y="4317"/>
                  </a:lnTo>
                  <a:lnTo>
                    <a:pt x="8680" y="4498"/>
                  </a:lnTo>
                  <a:lnTo>
                    <a:pt x="8499" y="4611"/>
                  </a:lnTo>
                  <a:lnTo>
                    <a:pt x="8273" y="4701"/>
                  </a:lnTo>
                  <a:lnTo>
                    <a:pt x="7821" y="4882"/>
                  </a:lnTo>
                  <a:lnTo>
                    <a:pt x="7324" y="5041"/>
                  </a:lnTo>
                  <a:lnTo>
                    <a:pt x="7259" y="5055"/>
                  </a:lnTo>
                  <a:lnTo>
                    <a:pt x="7259" y="5055"/>
                  </a:lnTo>
                  <a:lnTo>
                    <a:pt x="7233" y="5041"/>
                  </a:lnTo>
                  <a:lnTo>
                    <a:pt x="6985" y="4882"/>
                  </a:lnTo>
                  <a:lnTo>
                    <a:pt x="6759" y="4724"/>
                  </a:lnTo>
                  <a:lnTo>
                    <a:pt x="6555" y="4566"/>
                  </a:lnTo>
                  <a:lnTo>
                    <a:pt x="6352" y="4385"/>
                  </a:lnTo>
                  <a:lnTo>
                    <a:pt x="6193" y="4204"/>
                  </a:lnTo>
                  <a:lnTo>
                    <a:pt x="6035" y="4023"/>
                  </a:lnTo>
                  <a:lnTo>
                    <a:pt x="5900" y="3843"/>
                  </a:lnTo>
                  <a:lnTo>
                    <a:pt x="5809" y="3662"/>
                  </a:lnTo>
                  <a:lnTo>
                    <a:pt x="5719" y="3458"/>
                  </a:lnTo>
                  <a:lnTo>
                    <a:pt x="5651" y="3255"/>
                  </a:lnTo>
                  <a:lnTo>
                    <a:pt x="5628" y="3052"/>
                  </a:lnTo>
                  <a:lnTo>
                    <a:pt x="5606" y="2848"/>
                  </a:lnTo>
                  <a:lnTo>
                    <a:pt x="5606" y="2803"/>
                  </a:lnTo>
                  <a:lnTo>
                    <a:pt x="5606" y="2532"/>
                  </a:lnTo>
                  <a:lnTo>
                    <a:pt x="5651" y="2261"/>
                  </a:lnTo>
                  <a:lnTo>
                    <a:pt x="5696" y="2012"/>
                  </a:lnTo>
                  <a:lnTo>
                    <a:pt x="5764" y="1786"/>
                  </a:lnTo>
                  <a:lnTo>
                    <a:pt x="5854" y="1583"/>
                  </a:lnTo>
                  <a:lnTo>
                    <a:pt x="5945" y="1402"/>
                  </a:lnTo>
                  <a:lnTo>
                    <a:pt x="6058" y="1221"/>
                  </a:lnTo>
                  <a:lnTo>
                    <a:pt x="6193" y="1063"/>
                  </a:lnTo>
                  <a:lnTo>
                    <a:pt x="6329" y="927"/>
                  </a:lnTo>
                  <a:lnTo>
                    <a:pt x="6487" y="814"/>
                  </a:lnTo>
                  <a:lnTo>
                    <a:pt x="6668" y="701"/>
                  </a:lnTo>
                  <a:lnTo>
                    <a:pt x="6826" y="611"/>
                  </a:lnTo>
                  <a:lnTo>
                    <a:pt x="7007" y="543"/>
                  </a:lnTo>
                  <a:lnTo>
                    <a:pt x="7211" y="498"/>
                  </a:lnTo>
                  <a:lnTo>
                    <a:pt x="7414" y="475"/>
                  </a:lnTo>
                  <a:lnTo>
                    <a:pt x="7617" y="452"/>
                  </a:lnTo>
                  <a:close/>
                  <a:moveTo>
                    <a:pt x="7617" y="0"/>
                  </a:moveTo>
                  <a:lnTo>
                    <a:pt x="7369" y="23"/>
                  </a:lnTo>
                  <a:lnTo>
                    <a:pt x="7120" y="46"/>
                  </a:lnTo>
                  <a:lnTo>
                    <a:pt x="6894" y="113"/>
                  </a:lnTo>
                  <a:lnTo>
                    <a:pt x="6646" y="204"/>
                  </a:lnTo>
                  <a:lnTo>
                    <a:pt x="6442" y="317"/>
                  </a:lnTo>
                  <a:lnTo>
                    <a:pt x="6239" y="430"/>
                  </a:lnTo>
                  <a:lnTo>
                    <a:pt x="6035" y="588"/>
                  </a:lnTo>
                  <a:lnTo>
                    <a:pt x="5854" y="746"/>
                  </a:lnTo>
                  <a:lnTo>
                    <a:pt x="5696" y="950"/>
                  </a:lnTo>
                  <a:lnTo>
                    <a:pt x="5561" y="1153"/>
                  </a:lnTo>
                  <a:lnTo>
                    <a:pt x="5448" y="1402"/>
                  </a:lnTo>
                  <a:lnTo>
                    <a:pt x="5335" y="1650"/>
                  </a:lnTo>
                  <a:lnTo>
                    <a:pt x="5267" y="1899"/>
                  </a:lnTo>
                  <a:lnTo>
                    <a:pt x="5199" y="2193"/>
                  </a:lnTo>
                  <a:lnTo>
                    <a:pt x="5176" y="2487"/>
                  </a:lnTo>
                  <a:lnTo>
                    <a:pt x="5154" y="2803"/>
                  </a:lnTo>
                  <a:lnTo>
                    <a:pt x="5154" y="2848"/>
                  </a:lnTo>
                  <a:lnTo>
                    <a:pt x="5176" y="3119"/>
                  </a:lnTo>
                  <a:lnTo>
                    <a:pt x="5222" y="3368"/>
                  </a:lnTo>
                  <a:lnTo>
                    <a:pt x="5289" y="3617"/>
                  </a:lnTo>
                  <a:lnTo>
                    <a:pt x="5402" y="3843"/>
                  </a:lnTo>
                  <a:lnTo>
                    <a:pt x="5515" y="4046"/>
                  </a:lnTo>
                  <a:lnTo>
                    <a:pt x="5628" y="4249"/>
                  </a:lnTo>
                  <a:lnTo>
                    <a:pt x="5787" y="4430"/>
                  </a:lnTo>
                  <a:lnTo>
                    <a:pt x="5945" y="4611"/>
                  </a:lnTo>
                  <a:lnTo>
                    <a:pt x="6126" y="4792"/>
                  </a:lnTo>
                  <a:lnTo>
                    <a:pt x="6307" y="4950"/>
                  </a:lnTo>
                  <a:lnTo>
                    <a:pt x="6616" y="5178"/>
                  </a:lnTo>
                  <a:lnTo>
                    <a:pt x="6616" y="5178"/>
                  </a:lnTo>
                  <a:lnTo>
                    <a:pt x="6284" y="5221"/>
                  </a:lnTo>
                  <a:lnTo>
                    <a:pt x="5764" y="5289"/>
                  </a:lnTo>
                  <a:lnTo>
                    <a:pt x="5244" y="5312"/>
                  </a:lnTo>
                  <a:lnTo>
                    <a:pt x="4747" y="5312"/>
                  </a:lnTo>
                  <a:lnTo>
                    <a:pt x="4092" y="5289"/>
                  </a:lnTo>
                  <a:lnTo>
                    <a:pt x="3549" y="5267"/>
                  </a:lnTo>
                  <a:lnTo>
                    <a:pt x="3188" y="5199"/>
                  </a:lnTo>
                  <a:lnTo>
                    <a:pt x="2826" y="5131"/>
                  </a:lnTo>
                  <a:lnTo>
                    <a:pt x="2509" y="5018"/>
                  </a:lnTo>
                  <a:lnTo>
                    <a:pt x="2193" y="4905"/>
                  </a:lnTo>
                  <a:lnTo>
                    <a:pt x="1922" y="4769"/>
                  </a:lnTo>
                  <a:lnTo>
                    <a:pt x="1651" y="4656"/>
                  </a:lnTo>
                  <a:lnTo>
                    <a:pt x="1425" y="4498"/>
                  </a:lnTo>
                  <a:lnTo>
                    <a:pt x="1199" y="4362"/>
                  </a:lnTo>
                  <a:lnTo>
                    <a:pt x="860" y="4091"/>
                  </a:lnTo>
                  <a:lnTo>
                    <a:pt x="611" y="3865"/>
                  </a:lnTo>
                  <a:lnTo>
                    <a:pt x="453" y="3707"/>
                  </a:lnTo>
                  <a:lnTo>
                    <a:pt x="408" y="3662"/>
                  </a:lnTo>
                  <a:lnTo>
                    <a:pt x="340" y="3594"/>
                  </a:lnTo>
                  <a:lnTo>
                    <a:pt x="249" y="3571"/>
                  </a:lnTo>
                  <a:lnTo>
                    <a:pt x="159" y="3594"/>
                  </a:lnTo>
                  <a:lnTo>
                    <a:pt x="91" y="3617"/>
                  </a:lnTo>
                  <a:lnTo>
                    <a:pt x="23" y="3684"/>
                  </a:lnTo>
                  <a:lnTo>
                    <a:pt x="1" y="3775"/>
                  </a:lnTo>
                  <a:lnTo>
                    <a:pt x="1" y="3865"/>
                  </a:lnTo>
                  <a:lnTo>
                    <a:pt x="46" y="3933"/>
                  </a:lnTo>
                  <a:lnTo>
                    <a:pt x="114" y="4023"/>
                  </a:lnTo>
                  <a:lnTo>
                    <a:pt x="295" y="4182"/>
                  </a:lnTo>
                  <a:lnTo>
                    <a:pt x="566" y="4430"/>
                  </a:lnTo>
                  <a:lnTo>
                    <a:pt x="950" y="4724"/>
                  </a:lnTo>
                  <a:lnTo>
                    <a:pt x="1176" y="4882"/>
                  </a:lnTo>
                  <a:lnTo>
                    <a:pt x="1425" y="5041"/>
                  </a:lnTo>
                  <a:lnTo>
                    <a:pt x="1718" y="5176"/>
                  </a:lnTo>
                  <a:lnTo>
                    <a:pt x="2012" y="5334"/>
                  </a:lnTo>
                  <a:lnTo>
                    <a:pt x="2351" y="5447"/>
                  </a:lnTo>
                  <a:lnTo>
                    <a:pt x="2713" y="5560"/>
                  </a:lnTo>
                  <a:lnTo>
                    <a:pt x="3097" y="5651"/>
                  </a:lnTo>
                  <a:lnTo>
                    <a:pt x="3504" y="5696"/>
                  </a:lnTo>
                  <a:lnTo>
                    <a:pt x="4069" y="5741"/>
                  </a:lnTo>
                  <a:lnTo>
                    <a:pt x="4747" y="5764"/>
                  </a:lnTo>
                  <a:lnTo>
                    <a:pt x="5538" y="5741"/>
                  </a:lnTo>
                  <a:lnTo>
                    <a:pt x="5945" y="5719"/>
                  </a:lnTo>
                  <a:lnTo>
                    <a:pt x="6374" y="5673"/>
                  </a:lnTo>
                  <a:lnTo>
                    <a:pt x="6781" y="5606"/>
                  </a:lnTo>
                  <a:lnTo>
                    <a:pt x="7175" y="5523"/>
                  </a:lnTo>
                  <a:lnTo>
                    <a:pt x="7175" y="5523"/>
                  </a:lnTo>
                  <a:lnTo>
                    <a:pt x="7459" y="5673"/>
                  </a:lnTo>
                  <a:lnTo>
                    <a:pt x="7866" y="5877"/>
                  </a:lnTo>
                  <a:lnTo>
                    <a:pt x="8273" y="6035"/>
                  </a:lnTo>
                  <a:lnTo>
                    <a:pt x="8702" y="6216"/>
                  </a:lnTo>
                  <a:lnTo>
                    <a:pt x="9154" y="6351"/>
                  </a:lnTo>
                  <a:lnTo>
                    <a:pt x="9629" y="6487"/>
                  </a:lnTo>
                  <a:lnTo>
                    <a:pt x="10104" y="6600"/>
                  </a:lnTo>
                  <a:lnTo>
                    <a:pt x="10601" y="6713"/>
                  </a:lnTo>
                  <a:lnTo>
                    <a:pt x="11098" y="6803"/>
                  </a:lnTo>
                  <a:lnTo>
                    <a:pt x="11595" y="6894"/>
                  </a:lnTo>
                  <a:lnTo>
                    <a:pt x="12092" y="6962"/>
                  </a:lnTo>
                  <a:lnTo>
                    <a:pt x="12612" y="7007"/>
                  </a:lnTo>
                  <a:lnTo>
                    <a:pt x="13110" y="7029"/>
                  </a:lnTo>
                  <a:lnTo>
                    <a:pt x="13607" y="7052"/>
                  </a:lnTo>
                  <a:lnTo>
                    <a:pt x="14104" y="7075"/>
                  </a:lnTo>
                  <a:lnTo>
                    <a:pt x="14759" y="7052"/>
                  </a:lnTo>
                  <a:lnTo>
                    <a:pt x="15370" y="7007"/>
                  </a:lnTo>
                  <a:lnTo>
                    <a:pt x="15980" y="6939"/>
                  </a:lnTo>
                  <a:lnTo>
                    <a:pt x="16545" y="6849"/>
                  </a:lnTo>
                  <a:lnTo>
                    <a:pt x="16635" y="6826"/>
                  </a:lnTo>
                  <a:lnTo>
                    <a:pt x="16703" y="6758"/>
                  </a:lnTo>
                  <a:lnTo>
                    <a:pt x="16726" y="6668"/>
                  </a:lnTo>
                  <a:lnTo>
                    <a:pt x="16726" y="6577"/>
                  </a:lnTo>
                  <a:lnTo>
                    <a:pt x="16703" y="6510"/>
                  </a:lnTo>
                  <a:lnTo>
                    <a:pt x="16635" y="6442"/>
                  </a:lnTo>
                  <a:lnTo>
                    <a:pt x="16568" y="6419"/>
                  </a:lnTo>
                  <a:lnTo>
                    <a:pt x="16477" y="6397"/>
                  </a:lnTo>
                  <a:lnTo>
                    <a:pt x="15912" y="6510"/>
                  </a:lnTo>
                  <a:lnTo>
                    <a:pt x="15347" y="6555"/>
                  </a:lnTo>
                  <a:lnTo>
                    <a:pt x="14737" y="6600"/>
                  </a:lnTo>
                  <a:lnTo>
                    <a:pt x="14104" y="6623"/>
                  </a:lnTo>
                  <a:lnTo>
                    <a:pt x="13358" y="6600"/>
                  </a:lnTo>
                  <a:lnTo>
                    <a:pt x="12612" y="6555"/>
                  </a:lnTo>
                  <a:lnTo>
                    <a:pt x="11866" y="6464"/>
                  </a:lnTo>
                  <a:lnTo>
                    <a:pt x="11121" y="6351"/>
                  </a:lnTo>
                  <a:lnTo>
                    <a:pt x="10397" y="6216"/>
                  </a:lnTo>
                  <a:lnTo>
                    <a:pt x="9674" y="6035"/>
                  </a:lnTo>
                  <a:lnTo>
                    <a:pt x="8996" y="5832"/>
                  </a:lnTo>
                  <a:lnTo>
                    <a:pt x="8363" y="5583"/>
                  </a:lnTo>
                  <a:lnTo>
                    <a:pt x="7825" y="5355"/>
                  </a:lnTo>
                  <a:lnTo>
                    <a:pt x="7825" y="5355"/>
                  </a:lnTo>
                  <a:lnTo>
                    <a:pt x="8024" y="5289"/>
                  </a:lnTo>
                  <a:lnTo>
                    <a:pt x="8408" y="5154"/>
                  </a:lnTo>
                  <a:lnTo>
                    <a:pt x="8747" y="4973"/>
                  </a:lnTo>
                  <a:lnTo>
                    <a:pt x="9086" y="4769"/>
                  </a:lnTo>
                  <a:lnTo>
                    <a:pt x="9380" y="4521"/>
                  </a:lnTo>
                  <a:lnTo>
                    <a:pt x="9516" y="4408"/>
                  </a:lnTo>
                  <a:lnTo>
                    <a:pt x="9652" y="4249"/>
                  </a:lnTo>
                  <a:lnTo>
                    <a:pt x="9765" y="4114"/>
                  </a:lnTo>
                  <a:lnTo>
                    <a:pt x="9855" y="3956"/>
                  </a:lnTo>
                  <a:lnTo>
                    <a:pt x="9945" y="3775"/>
                  </a:lnTo>
                  <a:lnTo>
                    <a:pt x="10013" y="3594"/>
                  </a:lnTo>
                  <a:lnTo>
                    <a:pt x="10058" y="3413"/>
                  </a:lnTo>
                  <a:lnTo>
                    <a:pt x="10104" y="3210"/>
                  </a:lnTo>
                  <a:lnTo>
                    <a:pt x="10126" y="2916"/>
                  </a:lnTo>
                  <a:lnTo>
                    <a:pt x="10126" y="2690"/>
                  </a:lnTo>
                  <a:lnTo>
                    <a:pt x="10081" y="2464"/>
                  </a:lnTo>
                  <a:lnTo>
                    <a:pt x="10036" y="2238"/>
                  </a:lnTo>
                  <a:lnTo>
                    <a:pt x="9968" y="2012"/>
                  </a:lnTo>
                  <a:lnTo>
                    <a:pt x="9855" y="1673"/>
                  </a:lnTo>
                  <a:lnTo>
                    <a:pt x="9674" y="1334"/>
                  </a:lnTo>
                  <a:lnTo>
                    <a:pt x="9493" y="1017"/>
                  </a:lnTo>
                  <a:lnTo>
                    <a:pt x="9245" y="746"/>
                  </a:lnTo>
                  <a:lnTo>
                    <a:pt x="8996" y="498"/>
                  </a:lnTo>
                  <a:lnTo>
                    <a:pt x="8838" y="385"/>
                  </a:lnTo>
                  <a:lnTo>
                    <a:pt x="8702" y="272"/>
                  </a:lnTo>
                  <a:lnTo>
                    <a:pt x="8544" y="204"/>
                  </a:lnTo>
                  <a:lnTo>
                    <a:pt x="8363" y="113"/>
                  </a:lnTo>
                  <a:lnTo>
                    <a:pt x="8205" y="68"/>
                  </a:lnTo>
                  <a:lnTo>
                    <a:pt x="8024" y="46"/>
                  </a:lnTo>
                  <a:lnTo>
                    <a:pt x="7821" y="23"/>
                  </a:lnTo>
                  <a:lnTo>
                    <a:pt x="7617" y="0"/>
                  </a:ln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87" name="Google Shape;1787;p16"/>
            <p:cNvSpPr/>
            <p:nvPr/>
          </p:nvSpPr>
          <p:spPr>
            <a:xfrm>
              <a:off x="2632725" y="2736300"/>
              <a:ext cx="600" cy="1150"/>
            </a:xfrm>
            <a:custGeom>
              <a:avLst/>
              <a:gdLst/>
              <a:ahLst/>
              <a:cxnLst/>
              <a:rect l="l" t="t" r="r" b="b"/>
              <a:pathLst>
                <a:path w="24" h="46" extrusionOk="0">
                  <a:moveTo>
                    <a:pt x="24" y="0"/>
                  </a:moveTo>
                  <a:lnTo>
                    <a:pt x="1" y="23"/>
                  </a:lnTo>
                  <a:lnTo>
                    <a:pt x="1" y="45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A1A0A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88" name="Google Shape;1788;p16"/>
            <p:cNvSpPr/>
            <p:nvPr/>
          </p:nvSpPr>
          <p:spPr>
            <a:xfrm>
              <a:off x="2632725" y="2736300"/>
              <a:ext cx="600" cy="1150"/>
            </a:xfrm>
            <a:custGeom>
              <a:avLst/>
              <a:gdLst/>
              <a:ahLst/>
              <a:cxnLst/>
              <a:rect l="l" t="t" r="r" b="b"/>
              <a:pathLst>
                <a:path w="24" h="46" fill="none" extrusionOk="0">
                  <a:moveTo>
                    <a:pt x="24" y="0"/>
                  </a:moveTo>
                  <a:lnTo>
                    <a:pt x="1" y="23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2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89" name="Google Shape;1789;p16"/>
            <p:cNvSpPr/>
            <p:nvPr/>
          </p:nvSpPr>
          <p:spPr>
            <a:xfrm>
              <a:off x="3120350" y="3324500"/>
              <a:ext cx="118700" cy="196650"/>
            </a:xfrm>
            <a:custGeom>
              <a:avLst/>
              <a:gdLst/>
              <a:ahLst/>
              <a:cxnLst/>
              <a:rect l="l" t="t" r="r" b="b"/>
              <a:pathLst>
                <a:path w="4748" h="7866" extrusionOk="0">
                  <a:moveTo>
                    <a:pt x="905" y="0"/>
                  </a:moveTo>
                  <a:lnTo>
                    <a:pt x="1" y="5583"/>
                  </a:lnTo>
                  <a:lnTo>
                    <a:pt x="2193" y="7865"/>
                  </a:lnTo>
                  <a:lnTo>
                    <a:pt x="3662" y="6057"/>
                  </a:lnTo>
                  <a:lnTo>
                    <a:pt x="3843" y="5424"/>
                  </a:lnTo>
                  <a:lnTo>
                    <a:pt x="4024" y="4656"/>
                  </a:lnTo>
                  <a:lnTo>
                    <a:pt x="4363" y="2961"/>
                  </a:lnTo>
                  <a:lnTo>
                    <a:pt x="4634" y="1514"/>
                  </a:lnTo>
                  <a:lnTo>
                    <a:pt x="4747" y="927"/>
                  </a:lnTo>
                  <a:lnTo>
                    <a:pt x="905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90" name="Google Shape;1790;p16"/>
            <p:cNvSpPr/>
            <p:nvPr/>
          </p:nvSpPr>
          <p:spPr>
            <a:xfrm>
              <a:off x="3120350" y="3324500"/>
              <a:ext cx="118700" cy="196650"/>
            </a:xfrm>
            <a:custGeom>
              <a:avLst/>
              <a:gdLst/>
              <a:ahLst/>
              <a:cxnLst/>
              <a:rect l="l" t="t" r="r" b="b"/>
              <a:pathLst>
                <a:path w="4748" h="7866" fill="none" extrusionOk="0">
                  <a:moveTo>
                    <a:pt x="3662" y="6057"/>
                  </a:moveTo>
                  <a:lnTo>
                    <a:pt x="3662" y="6057"/>
                  </a:lnTo>
                  <a:lnTo>
                    <a:pt x="3843" y="5424"/>
                  </a:lnTo>
                  <a:lnTo>
                    <a:pt x="4024" y="4656"/>
                  </a:lnTo>
                  <a:lnTo>
                    <a:pt x="4363" y="2961"/>
                  </a:lnTo>
                  <a:lnTo>
                    <a:pt x="4634" y="1514"/>
                  </a:lnTo>
                  <a:lnTo>
                    <a:pt x="4747" y="927"/>
                  </a:lnTo>
                  <a:lnTo>
                    <a:pt x="905" y="0"/>
                  </a:lnTo>
                  <a:lnTo>
                    <a:pt x="1" y="5583"/>
                  </a:lnTo>
                  <a:lnTo>
                    <a:pt x="2193" y="7865"/>
                  </a:lnTo>
                  <a:lnTo>
                    <a:pt x="3662" y="605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91" name="Google Shape;1791;p16"/>
            <p:cNvSpPr/>
            <p:nvPr/>
          </p:nvSpPr>
          <p:spPr>
            <a:xfrm>
              <a:off x="3094375" y="3448225"/>
              <a:ext cx="281975" cy="163325"/>
            </a:xfrm>
            <a:custGeom>
              <a:avLst/>
              <a:gdLst/>
              <a:ahLst/>
              <a:cxnLst/>
              <a:rect l="l" t="t" r="r" b="b"/>
              <a:pathLst>
                <a:path w="11279" h="6533" extrusionOk="0">
                  <a:moveTo>
                    <a:pt x="1040" y="1"/>
                  </a:moveTo>
                  <a:lnTo>
                    <a:pt x="927" y="69"/>
                  </a:lnTo>
                  <a:lnTo>
                    <a:pt x="837" y="159"/>
                  </a:lnTo>
                  <a:lnTo>
                    <a:pt x="724" y="295"/>
                  </a:lnTo>
                  <a:lnTo>
                    <a:pt x="633" y="475"/>
                  </a:lnTo>
                  <a:lnTo>
                    <a:pt x="543" y="656"/>
                  </a:lnTo>
                  <a:lnTo>
                    <a:pt x="362" y="1131"/>
                  </a:lnTo>
                  <a:lnTo>
                    <a:pt x="226" y="1673"/>
                  </a:lnTo>
                  <a:lnTo>
                    <a:pt x="113" y="2261"/>
                  </a:lnTo>
                  <a:lnTo>
                    <a:pt x="23" y="2848"/>
                  </a:lnTo>
                  <a:lnTo>
                    <a:pt x="0" y="3391"/>
                  </a:lnTo>
                  <a:lnTo>
                    <a:pt x="23" y="3549"/>
                  </a:lnTo>
                  <a:lnTo>
                    <a:pt x="45" y="3685"/>
                  </a:lnTo>
                  <a:lnTo>
                    <a:pt x="113" y="3820"/>
                  </a:lnTo>
                  <a:lnTo>
                    <a:pt x="204" y="3933"/>
                  </a:lnTo>
                  <a:lnTo>
                    <a:pt x="294" y="4024"/>
                  </a:lnTo>
                  <a:lnTo>
                    <a:pt x="407" y="4114"/>
                  </a:lnTo>
                  <a:lnTo>
                    <a:pt x="520" y="4182"/>
                  </a:lnTo>
                  <a:lnTo>
                    <a:pt x="678" y="4250"/>
                  </a:lnTo>
                  <a:lnTo>
                    <a:pt x="5199" y="5380"/>
                  </a:lnTo>
                  <a:lnTo>
                    <a:pt x="9606" y="6465"/>
                  </a:lnTo>
                  <a:lnTo>
                    <a:pt x="9968" y="6533"/>
                  </a:lnTo>
                  <a:lnTo>
                    <a:pt x="10261" y="6533"/>
                  </a:lnTo>
                  <a:lnTo>
                    <a:pt x="10510" y="6487"/>
                  </a:lnTo>
                  <a:lnTo>
                    <a:pt x="10713" y="6397"/>
                  </a:lnTo>
                  <a:lnTo>
                    <a:pt x="10894" y="6284"/>
                  </a:lnTo>
                  <a:lnTo>
                    <a:pt x="11030" y="6126"/>
                  </a:lnTo>
                  <a:lnTo>
                    <a:pt x="11143" y="5967"/>
                  </a:lnTo>
                  <a:lnTo>
                    <a:pt x="11211" y="5787"/>
                  </a:lnTo>
                  <a:lnTo>
                    <a:pt x="11256" y="5583"/>
                  </a:lnTo>
                  <a:lnTo>
                    <a:pt x="11278" y="5402"/>
                  </a:lnTo>
                  <a:lnTo>
                    <a:pt x="11278" y="5199"/>
                  </a:lnTo>
                  <a:lnTo>
                    <a:pt x="11256" y="5041"/>
                  </a:lnTo>
                  <a:lnTo>
                    <a:pt x="11233" y="4883"/>
                  </a:lnTo>
                  <a:lnTo>
                    <a:pt x="11188" y="4747"/>
                  </a:lnTo>
                  <a:lnTo>
                    <a:pt x="11120" y="4657"/>
                  </a:lnTo>
                  <a:lnTo>
                    <a:pt x="11052" y="4611"/>
                  </a:lnTo>
                  <a:lnTo>
                    <a:pt x="10600" y="4431"/>
                  </a:lnTo>
                  <a:lnTo>
                    <a:pt x="9855" y="4205"/>
                  </a:lnTo>
                  <a:lnTo>
                    <a:pt x="8905" y="3888"/>
                  </a:lnTo>
                  <a:lnTo>
                    <a:pt x="7911" y="3504"/>
                  </a:lnTo>
                  <a:lnTo>
                    <a:pt x="7391" y="3301"/>
                  </a:lnTo>
                  <a:lnTo>
                    <a:pt x="6916" y="3075"/>
                  </a:lnTo>
                  <a:lnTo>
                    <a:pt x="6487" y="2848"/>
                  </a:lnTo>
                  <a:lnTo>
                    <a:pt x="6080" y="2600"/>
                  </a:lnTo>
                  <a:lnTo>
                    <a:pt x="5764" y="2351"/>
                  </a:lnTo>
                  <a:lnTo>
                    <a:pt x="5628" y="2216"/>
                  </a:lnTo>
                  <a:lnTo>
                    <a:pt x="5515" y="2080"/>
                  </a:lnTo>
                  <a:lnTo>
                    <a:pt x="5425" y="1944"/>
                  </a:lnTo>
                  <a:lnTo>
                    <a:pt x="5357" y="1809"/>
                  </a:lnTo>
                  <a:lnTo>
                    <a:pt x="5312" y="1673"/>
                  </a:lnTo>
                  <a:lnTo>
                    <a:pt x="5289" y="1538"/>
                  </a:lnTo>
                  <a:lnTo>
                    <a:pt x="5312" y="1312"/>
                  </a:lnTo>
                  <a:lnTo>
                    <a:pt x="5334" y="1108"/>
                  </a:lnTo>
                  <a:lnTo>
                    <a:pt x="5379" y="814"/>
                  </a:lnTo>
                  <a:lnTo>
                    <a:pt x="5357" y="701"/>
                  </a:lnTo>
                  <a:lnTo>
                    <a:pt x="5334" y="611"/>
                  </a:lnTo>
                  <a:lnTo>
                    <a:pt x="5266" y="566"/>
                  </a:lnTo>
                  <a:lnTo>
                    <a:pt x="5131" y="566"/>
                  </a:lnTo>
                  <a:lnTo>
                    <a:pt x="4475" y="521"/>
                  </a:lnTo>
                  <a:lnTo>
                    <a:pt x="3865" y="453"/>
                  </a:lnTo>
                  <a:lnTo>
                    <a:pt x="3300" y="362"/>
                  </a:lnTo>
                  <a:lnTo>
                    <a:pt x="2780" y="249"/>
                  </a:lnTo>
                  <a:lnTo>
                    <a:pt x="1854" y="69"/>
                  </a:lnTo>
                  <a:lnTo>
                    <a:pt x="1469" y="1"/>
                  </a:lnTo>
                  <a:close/>
                </a:path>
              </a:pathLst>
            </a:custGeom>
            <a:solidFill>
              <a:srgbClr val="3331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92" name="Google Shape;1792;p16"/>
            <p:cNvSpPr/>
            <p:nvPr/>
          </p:nvSpPr>
          <p:spPr>
            <a:xfrm>
              <a:off x="2646850" y="2417050"/>
              <a:ext cx="723275" cy="1003525"/>
            </a:xfrm>
            <a:custGeom>
              <a:avLst/>
              <a:gdLst/>
              <a:ahLst/>
              <a:cxnLst/>
              <a:rect l="l" t="t" r="r" b="b"/>
              <a:pathLst>
                <a:path w="28931" h="40141" extrusionOk="0">
                  <a:moveTo>
                    <a:pt x="476" y="0"/>
                  </a:moveTo>
                  <a:lnTo>
                    <a:pt x="227" y="23"/>
                  </a:lnTo>
                  <a:lnTo>
                    <a:pt x="1" y="45"/>
                  </a:lnTo>
                  <a:lnTo>
                    <a:pt x="272" y="565"/>
                  </a:lnTo>
                  <a:lnTo>
                    <a:pt x="1018" y="1944"/>
                  </a:lnTo>
                  <a:lnTo>
                    <a:pt x="1560" y="2893"/>
                  </a:lnTo>
                  <a:lnTo>
                    <a:pt x="2193" y="3955"/>
                  </a:lnTo>
                  <a:lnTo>
                    <a:pt x="2917" y="5108"/>
                  </a:lnTo>
                  <a:lnTo>
                    <a:pt x="3708" y="6351"/>
                  </a:lnTo>
                  <a:lnTo>
                    <a:pt x="3956" y="6668"/>
                  </a:lnTo>
                  <a:lnTo>
                    <a:pt x="4273" y="7007"/>
                  </a:lnTo>
                  <a:lnTo>
                    <a:pt x="4679" y="7368"/>
                  </a:lnTo>
                  <a:lnTo>
                    <a:pt x="5131" y="7730"/>
                  </a:lnTo>
                  <a:lnTo>
                    <a:pt x="5629" y="8092"/>
                  </a:lnTo>
                  <a:lnTo>
                    <a:pt x="6194" y="8476"/>
                  </a:lnTo>
                  <a:lnTo>
                    <a:pt x="6804" y="8883"/>
                  </a:lnTo>
                  <a:lnTo>
                    <a:pt x="7459" y="9289"/>
                  </a:lnTo>
                  <a:lnTo>
                    <a:pt x="8861" y="10103"/>
                  </a:lnTo>
                  <a:lnTo>
                    <a:pt x="10375" y="10939"/>
                  </a:lnTo>
                  <a:lnTo>
                    <a:pt x="11935" y="11753"/>
                  </a:lnTo>
                  <a:lnTo>
                    <a:pt x="13539" y="12589"/>
                  </a:lnTo>
                  <a:lnTo>
                    <a:pt x="16636" y="14126"/>
                  </a:lnTo>
                  <a:lnTo>
                    <a:pt x="19303" y="15460"/>
                  </a:lnTo>
                  <a:lnTo>
                    <a:pt x="20387" y="16025"/>
                  </a:lnTo>
                  <a:lnTo>
                    <a:pt x="21224" y="16499"/>
                  </a:lnTo>
                  <a:lnTo>
                    <a:pt x="21563" y="16703"/>
                  </a:lnTo>
                  <a:lnTo>
                    <a:pt x="21811" y="16883"/>
                  </a:lnTo>
                  <a:lnTo>
                    <a:pt x="21992" y="17042"/>
                  </a:lnTo>
                  <a:lnTo>
                    <a:pt x="22083" y="17155"/>
                  </a:lnTo>
                  <a:lnTo>
                    <a:pt x="22105" y="17313"/>
                  </a:lnTo>
                  <a:lnTo>
                    <a:pt x="22128" y="17584"/>
                  </a:lnTo>
                  <a:lnTo>
                    <a:pt x="22105" y="17946"/>
                  </a:lnTo>
                  <a:lnTo>
                    <a:pt x="22060" y="18420"/>
                  </a:lnTo>
                  <a:lnTo>
                    <a:pt x="21902" y="19573"/>
                  </a:lnTo>
                  <a:lnTo>
                    <a:pt x="21676" y="21020"/>
                  </a:lnTo>
                  <a:lnTo>
                    <a:pt x="21382" y="22692"/>
                  </a:lnTo>
                  <a:lnTo>
                    <a:pt x="21043" y="24545"/>
                  </a:lnTo>
                  <a:lnTo>
                    <a:pt x="20252" y="28501"/>
                  </a:lnTo>
                  <a:lnTo>
                    <a:pt x="19461" y="32433"/>
                  </a:lnTo>
                  <a:lnTo>
                    <a:pt x="18738" y="35914"/>
                  </a:lnTo>
                  <a:lnTo>
                    <a:pt x="18218" y="38445"/>
                  </a:lnTo>
                  <a:lnTo>
                    <a:pt x="18059" y="39214"/>
                  </a:lnTo>
                  <a:lnTo>
                    <a:pt x="17992" y="39598"/>
                  </a:lnTo>
                  <a:lnTo>
                    <a:pt x="17992" y="39666"/>
                  </a:lnTo>
                  <a:lnTo>
                    <a:pt x="18037" y="39733"/>
                  </a:lnTo>
                  <a:lnTo>
                    <a:pt x="18127" y="39801"/>
                  </a:lnTo>
                  <a:lnTo>
                    <a:pt x="18218" y="39846"/>
                  </a:lnTo>
                  <a:lnTo>
                    <a:pt x="18534" y="39937"/>
                  </a:lnTo>
                  <a:lnTo>
                    <a:pt x="18918" y="40005"/>
                  </a:lnTo>
                  <a:lnTo>
                    <a:pt x="19370" y="40072"/>
                  </a:lnTo>
                  <a:lnTo>
                    <a:pt x="19890" y="40095"/>
                  </a:lnTo>
                  <a:lnTo>
                    <a:pt x="21020" y="40140"/>
                  </a:lnTo>
                  <a:lnTo>
                    <a:pt x="22150" y="40140"/>
                  </a:lnTo>
                  <a:lnTo>
                    <a:pt x="23145" y="40118"/>
                  </a:lnTo>
                  <a:lnTo>
                    <a:pt x="24117" y="40072"/>
                  </a:lnTo>
                  <a:lnTo>
                    <a:pt x="24410" y="39033"/>
                  </a:lnTo>
                  <a:lnTo>
                    <a:pt x="25134" y="36275"/>
                  </a:lnTo>
                  <a:lnTo>
                    <a:pt x="25586" y="34422"/>
                  </a:lnTo>
                  <a:lnTo>
                    <a:pt x="26106" y="32320"/>
                  </a:lnTo>
                  <a:lnTo>
                    <a:pt x="26625" y="30060"/>
                  </a:lnTo>
                  <a:lnTo>
                    <a:pt x="27145" y="27687"/>
                  </a:lnTo>
                  <a:lnTo>
                    <a:pt x="27643" y="25291"/>
                  </a:lnTo>
                  <a:lnTo>
                    <a:pt x="28095" y="22895"/>
                  </a:lnTo>
                  <a:lnTo>
                    <a:pt x="28298" y="21743"/>
                  </a:lnTo>
                  <a:lnTo>
                    <a:pt x="28479" y="20613"/>
                  </a:lnTo>
                  <a:lnTo>
                    <a:pt x="28614" y="19528"/>
                  </a:lnTo>
                  <a:lnTo>
                    <a:pt x="28750" y="18488"/>
                  </a:lnTo>
                  <a:lnTo>
                    <a:pt x="28840" y="17494"/>
                  </a:lnTo>
                  <a:lnTo>
                    <a:pt x="28908" y="16567"/>
                  </a:lnTo>
                  <a:lnTo>
                    <a:pt x="28931" y="15708"/>
                  </a:lnTo>
                  <a:lnTo>
                    <a:pt x="28931" y="14940"/>
                  </a:lnTo>
                  <a:lnTo>
                    <a:pt x="28886" y="14262"/>
                  </a:lnTo>
                  <a:lnTo>
                    <a:pt x="28840" y="13945"/>
                  </a:lnTo>
                  <a:lnTo>
                    <a:pt x="28795" y="13674"/>
                  </a:lnTo>
                  <a:lnTo>
                    <a:pt x="28727" y="13403"/>
                  </a:lnTo>
                  <a:lnTo>
                    <a:pt x="28660" y="13177"/>
                  </a:lnTo>
                  <a:lnTo>
                    <a:pt x="28569" y="12973"/>
                  </a:lnTo>
                  <a:lnTo>
                    <a:pt x="28456" y="12815"/>
                  </a:lnTo>
                  <a:lnTo>
                    <a:pt x="28388" y="12702"/>
                  </a:lnTo>
                  <a:lnTo>
                    <a:pt x="28253" y="12567"/>
                  </a:lnTo>
                  <a:lnTo>
                    <a:pt x="27959" y="12295"/>
                  </a:lnTo>
                  <a:lnTo>
                    <a:pt x="27529" y="11979"/>
                  </a:lnTo>
                  <a:lnTo>
                    <a:pt x="27010" y="11595"/>
                  </a:lnTo>
                  <a:lnTo>
                    <a:pt x="26377" y="11188"/>
                  </a:lnTo>
                  <a:lnTo>
                    <a:pt x="25676" y="10758"/>
                  </a:lnTo>
                  <a:lnTo>
                    <a:pt x="24885" y="10284"/>
                  </a:lnTo>
                  <a:lnTo>
                    <a:pt x="24026" y="9787"/>
                  </a:lnTo>
                  <a:lnTo>
                    <a:pt x="22128" y="8724"/>
                  </a:lnTo>
                  <a:lnTo>
                    <a:pt x="20003" y="7617"/>
                  </a:lnTo>
                  <a:lnTo>
                    <a:pt x="17743" y="6464"/>
                  </a:lnTo>
                  <a:lnTo>
                    <a:pt x="15393" y="5312"/>
                  </a:lnTo>
                  <a:lnTo>
                    <a:pt x="12997" y="4204"/>
                  </a:lnTo>
                  <a:lnTo>
                    <a:pt x="11799" y="3662"/>
                  </a:lnTo>
                  <a:lnTo>
                    <a:pt x="10624" y="3164"/>
                  </a:lnTo>
                  <a:lnTo>
                    <a:pt x="9471" y="2667"/>
                  </a:lnTo>
                  <a:lnTo>
                    <a:pt x="8318" y="2215"/>
                  </a:lnTo>
                  <a:lnTo>
                    <a:pt x="7233" y="1786"/>
                  </a:lnTo>
                  <a:lnTo>
                    <a:pt x="6171" y="1402"/>
                  </a:lnTo>
                  <a:lnTo>
                    <a:pt x="5154" y="1040"/>
                  </a:lnTo>
                  <a:lnTo>
                    <a:pt x="4205" y="746"/>
                  </a:lnTo>
                  <a:lnTo>
                    <a:pt x="3301" y="475"/>
                  </a:lnTo>
                  <a:lnTo>
                    <a:pt x="2464" y="271"/>
                  </a:lnTo>
                  <a:lnTo>
                    <a:pt x="1719" y="113"/>
                  </a:lnTo>
                  <a:lnTo>
                    <a:pt x="1063" y="23"/>
                  </a:lnTo>
                  <a:lnTo>
                    <a:pt x="747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93" name="Google Shape;1793;p16"/>
            <p:cNvSpPr/>
            <p:nvPr/>
          </p:nvSpPr>
          <p:spPr>
            <a:xfrm>
              <a:off x="2646850" y="2417050"/>
              <a:ext cx="723275" cy="1003525"/>
            </a:xfrm>
            <a:custGeom>
              <a:avLst/>
              <a:gdLst/>
              <a:ahLst/>
              <a:cxnLst/>
              <a:rect l="l" t="t" r="r" b="b"/>
              <a:pathLst>
                <a:path w="28931" h="40141" fill="none" extrusionOk="0">
                  <a:moveTo>
                    <a:pt x="1" y="45"/>
                  </a:moveTo>
                  <a:lnTo>
                    <a:pt x="1" y="45"/>
                  </a:lnTo>
                  <a:lnTo>
                    <a:pt x="227" y="23"/>
                  </a:lnTo>
                  <a:lnTo>
                    <a:pt x="476" y="0"/>
                  </a:lnTo>
                  <a:lnTo>
                    <a:pt x="747" y="0"/>
                  </a:lnTo>
                  <a:lnTo>
                    <a:pt x="1063" y="23"/>
                  </a:lnTo>
                  <a:lnTo>
                    <a:pt x="1719" y="113"/>
                  </a:lnTo>
                  <a:lnTo>
                    <a:pt x="2464" y="271"/>
                  </a:lnTo>
                  <a:lnTo>
                    <a:pt x="3301" y="475"/>
                  </a:lnTo>
                  <a:lnTo>
                    <a:pt x="4205" y="746"/>
                  </a:lnTo>
                  <a:lnTo>
                    <a:pt x="5154" y="1040"/>
                  </a:lnTo>
                  <a:lnTo>
                    <a:pt x="6171" y="1402"/>
                  </a:lnTo>
                  <a:lnTo>
                    <a:pt x="7233" y="1786"/>
                  </a:lnTo>
                  <a:lnTo>
                    <a:pt x="8318" y="2215"/>
                  </a:lnTo>
                  <a:lnTo>
                    <a:pt x="9471" y="2667"/>
                  </a:lnTo>
                  <a:lnTo>
                    <a:pt x="10624" y="3164"/>
                  </a:lnTo>
                  <a:lnTo>
                    <a:pt x="11799" y="3662"/>
                  </a:lnTo>
                  <a:lnTo>
                    <a:pt x="12997" y="4204"/>
                  </a:lnTo>
                  <a:lnTo>
                    <a:pt x="15393" y="5312"/>
                  </a:lnTo>
                  <a:lnTo>
                    <a:pt x="17743" y="6464"/>
                  </a:lnTo>
                  <a:lnTo>
                    <a:pt x="20003" y="7617"/>
                  </a:lnTo>
                  <a:lnTo>
                    <a:pt x="22128" y="8724"/>
                  </a:lnTo>
                  <a:lnTo>
                    <a:pt x="24026" y="9787"/>
                  </a:lnTo>
                  <a:lnTo>
                    <a:pt x="24885" y="10284"/>
                  </a:lnTo>
                  <a:lnTo>
                    <a:pt x="25676" y="10758"/>
                  </a:lnTo>
                  <a:lnTo>
                    <a:pt x="26377" y="11188"/>
                  </a:lnTo>
                  <a:lnTo>
                    <a:pt x="27010" y="11595"/>
                  </a:lnTo>
                  <a:lnTo>
                    <a:pt x="27529" y="11979"/>
                  </a:lnTo>
                  <a:lnTo>
                    <a:pt x="27959" y="12295"/>
                  </a:lnTo>
                  <a:lnTo>
                    <a:pt x="28253" y="12567"/>
                  </a:lnTo>
                  <a:lnTo>
                    <a:pt x="28388" y="12702"/>
                  </a:lnTo>
                  <a:lnTo>
                    <a:pt x="28456" y="12815"/>
                  </a:lnTo>
                  <a:lnTo>
                    <a:pt x="28456" y="12815"/>
                  </a:lnTo>
                  <a:lnTo>
                    <a:pt x="28569" y="12973"/>
                  </a:lnTo>
                  <a:lnTo>
                    <a:pt x="28660" y="13177"/>
                  </a:lnTo>
                  <a:lnTo>
                    <a:pt x="28727" y="13403"/>
                  </a:lnTo>
                  <a:lnTo>
                    <a:pt x="28795" y="13674"/>
                  </a:lnTo>
                  <a:lnTo>
                    <a:pt x="28840" y="13945"/>
                  </a:lnTo>
                  <a:lnTo>
                    <a:pt x="28886" y="14262"/>
                  </a:lnTo>
                  <a:lnTo>
                    <a:pt x="28931" y="14940"/>
                  </a:lnTo>
                  <a:lnTo>
                    <a:pt x="28931" y="15708"/>
                  </a:lnTo>
                  <a:lnTo>
                    <a:pt x="28908" y="16567"/>
                  </a:lnTo>
                  <a:lnTo>
                    <a:pt x="28840" y="17494"/>
                  </a:lnTo>
                  <a:lnTo>
                    <a:pt x="28750" y="18488"/>
                  </a:lnTo>
                  <a:lnTo>
                    <a:pt x="28614" y="19528"/>
                  </a:lnTo>
                  <a:lnTo>
                    <a:pt x="28479" y="20613"/>
                  </a:lnTo>
                  <a:lnTo>
                    <a:pt x="28298" y="21743"/>
                  </a:lnTo>
                  <a:lnTo>
                    <a:pt x="28095" y="22895"/>
                  </a:lnTo>
                  <a:lnTo>
                    <a:pt x="27643" y="25291"/>
                  </a:lnTo>
                  <a:lnTo>
                    <a:pt x="27145" y="27687"/>
                  </a:lnTo>
                  <a:lnTo>
                    <a:pt x="26625" y="30060"/>
                  </a:lnTo>
                  <a:lnTo>
                    <a:pt x="26106" y="32320"/>
                  </a:lnTo>
                  <a:lnTo>
                    <a:pt x="25586" y="34422"/>
                  </a:lnTo>
                  <a:lnTo>
                    <a:pt x="25134" y="36275"/>
                  </a:lnTo>
                  <a:lnTo>
                    <a:pt x="24410" y="39033"/>
                  </a:lnTo>
                  <a:lnTo>
                    <a:pt x="24117" y="40072"/>
                  </a:lnTo>
                  <a:lnTo>
                    <a:pt x="24117" y="40072"/>
                  </a:lnTo>
                  <a:lnTo>
                    <a:pt x="23145" y="40118"/>
                  </a:lnTo>
                  <a:lnTo>
                    <a:pt x="22150" y="40140"/>
                  </a:lnTo>
                  <a:lnTo>
                    <a:pt x="21020" y="40140"/>
                  </a:lnTo>
                  <a:lnTo>
                    <a:pt x="19890" y="40095"/>
                  </a:lnTo>
                  <a:lnTo>
                    <a:pt x="19370" y="40072"/>
                  </a:lnTo>
                  <a:lnTo>
                    <a:pt x="18918" y="40005"/>
                  </a:lnTo>
                  <a:lnTo>
                    <a:pt x="18534" y="39937"/>
                  </a:lnTo>
                  <a:lnTo>
                    <a:pt x="18218" y="39846"/>
                  </a:lnTo>
                  <a:lnTo>
                    <a:pt x="18127" y="39801"/>
                  </a:lnTo>
                  <a:lnTo>
                    <a:pt x="18037" y="39733"/>
                  </a:lnTo>
                  <a:lnTo>
                    <a:pt x="17992" y="39666"/>
                  </a:lnTo>
                  <a:lnTo>
                    <a:pt x="17992" y="39598"/>
                  </a:lnTo>
                  <a:lnTo>
                    <a:pt x="17992" y="39598"/>
                  </a:lnTo>
                  <a:lnTo>
                    <a:pt x="18059" y="39214"/>
                  </a:lnTo>
                  <a:lnTo>
                    <a:pt x="18218" y="38445"/>
                  </a:lnTo>
                  <a:lnTo>
                    <a:pt x="18738" y="35914"/>
                  </a:lnTo>
                  <a:lnTo>
                    <a:pt x="19461" y="32433"/>
                  </a:lnTo>
                  <a:lnTo>
                    <a:pt x="20252" y="28501"/>
                  </a:lnTo>
                  <a:lnTo>
                    <a:pt x="21043" y="24545"/>
                  </a:lnTo>
                  <a:lnTo>
                    <a:pt x="21382" y="22692"/>
                  </a:lnTo>
                  <a:lnTo>
                    <a:pt x="21676" y="21020"/>
                  </a:lnTo>
                  <a:lnTo>
                    <a:pt x="21902" y="19573"/>
                  </a:lnTo>
                  <a:lnTo>
                    <a:pt x="22060" y="18420"/>
                  </a:lnTo>
                  <a:lnTo>
                    <a:pt x="22105" y="17946"/>
                  </a:lnTo>
                  <a:lnTo>
                    <a:pt x="22128" y="17584"/>
                  </a:lnTo>
                  <a:lnTo>
                    <a:pt x="22105" y="17313"/>
                  </a:lnTo>
                  <a:lnTo>
                    <a:pt x="22083" y="17155"/>
                  </a:lnTo>
                  <a:lnTo>
                    <a:pt x="22083" y="17155"/>
                  </a:lnTo>
                  <a:lnTo>
                    <a:pt x="21992" y="17042"/>
                  </a:lnTo>
                  <a:lnTo>
                    <a:pt x="21811" y="16883"/>
                  </a:lnTo>
                  <a:lnTo>
                    <a:pt x="21563" y="16703"/>
                  </a:lnTo>
                  <a:lnTo>
                    <a:pt x="21224" y="16499"/>
                  </a:lnTo>
                  <a:lnTo>
                    <a:pt x="20387" y="16025"/>
                  </a:lnTo>
                  <a:lnTo>
                    <a:pt x="19303" y="15460"/>
                  </a:lnTo>
                  <a:lnTo>
                    <a:pt x="16636" y="14126"/>
                  </a:lnTo>
                  <a:lnTo>
                    <a:pt x="13539" y="12589"/>
                  </a:lnTo>
                  <a:lnTo>
                    <a:pt x="11935" y="11753"/>
                  </a:lnTo>
                  <a:lnTo>
                    <a:pt x="10375" y="10939"/>
                  </a:lnTo>
                  <a:lnTo>
                    <a:pt x="8861" y="10103"/>
                  </a:lnTo>
                  <a:lnTo>
                    <a:pt x="7459" y="9289"/>
                  </a:lnTo>
                  <a:lnTo>
                    <a:pt x="6804" y="8883"/>
                  </a:lnTo>
                  <a:lnTo>
                    <a:pt x="6194" y="8476"/>
                  </a:lnTo>
                  <a:lnTo>
                    <a:pt x="5629" y="8092"/>
                  </a:lnTo>
                  <a:lnTo>
                    <a:pt x="5131" y="7730"/>
                  </a:lnTo>
                  <a:lnTo>
                    <a:pt x="4679" y="7368"/>
                  </a:lnTo>
                  <a:lnTo>
                    <a:pt x="4273" y="7007"/>
                  </a:lnTo>
                  <a:lnTo>
                    <a:pt x="3956" y="6668"/>
                  </a:lnTo>
                  <a:lnTo>
                    <a:pt x="3708" y="6351"/>
                  </a:lnTo>
                  <a:lnTo>
                    <a:pt x="3708" y="6351"/>
                  </a:lnTo>
                  <a:lnTo>
                    <a:pt x="2917" y="5108"/>
                  </a:lnTo>
                  <a:lnTo>
                    <a:pt x="2193" y="3955"/>
                  </a:lnTo>
                  <a:lnTo>
                    <a:pt x="1560" y="2893"/>
                  </a:lnTo>
                  <a:lnTo>
                    <a:pt x="1018" y="1944"/>
                  </a:lnTo>
                  <a:lnTo>
                    <a:pt x="272" y="565"/>
                  </a:lnTo>
                  <a:lnTo>
                    <a:pt x="1" y="4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94" name="Google Shape;1794;p16"/>
            <p:cNvSpPr/>
            <p:nvPr/>
          </p:nvSpPr>
          <p:spPr>
            <a:xfrm>
              <a:off x="2779075" y="2468450"/>
              <a:ext cx="591625" cy="952125"/>
            </a:xfrm>
            <a:custGeom>
              <a:avLst/>
              <a:gdLst/>
              <a:ahLst/>
              <a:cxnLst/>
              <a:rect l="l" t="t" r="r" b="b"/>
              <a:pathLst>
                <a:path w="23665" h="38085" extrusionOk="0">
                  <a:moveTo>
                    <a:pt x="2600" y="1"/>
                  </a:moveTo>
                  <a:lnTo>
                    <a:pt x="2509" y="46"/>
                  </a:lnTo>
                  <a:lnTo>
                    <a:pt x="2419" y="46"/>
                  </a:lnTo>
                  <a:lnTo>
                    <a:pt x="2193" y="91"/>
                  </a:lnTo>
                  <a:lnTo>
                    <a:pt x="1922" y="137"/>
                  </a:lnTo>
                  <a:lnTo>
                    <a:pt x="1334" y="295"/>
                  </a:lnTo>
                  <a:lnTo>
                    <a:pt x="1" y="702"/>
                  </a:lnTo>
                  <a:lnTo>
                    <a:pt x="294" y="1108"/>
                  </a:lnTo>
                  <a:lnTo>
                    <a:pt x="634" y="1538"/>
                  </a:lnTo>
                  <a:lnTo>
                    <a:pt x="995" y="1967"/>
                  </a:lnTo>
                  <a:lnTo>
                    <a:pt x="1447" y="2397"/>
                  </a:lnTo>
                  <a:lnTo>
                    <a:pt x="1718" y="2668"/>
                  </a:lnTo>
                  <a:lnTo>
                    <a:pt x="2035" y="2917"/>
                  </a:lnTo>
                  <a:lnTo>
                    <a:pt x="2781" y="3482"/>
                  </a:lnTo>
                  <a:lnTo>
                    <a:pt x="3662" y="4092"/>
                  </a:lnTo>
                  <a:lnTo>
                    <a:pt x="4611" y="4747"/>
                  </a:lnTo>
                  <a:lnTo>
                    <a:pt x="6781" y="6149"/>
                  </a:lnTo>
                  <a:lnTo>
                    <a:pt x="7911" y="6917"/>
                  </a:lnTo>
                  <a:lnTo>
                    <a:pt x="9086" y="7708"/>
                  </a:lnTo>
                  <a:lnTo>
                    <a:pt x="10239" y="8522"/>
                  </a:lnTo>
                  <a:lnTo>
                    <a:pt x="11369" y="9358"/>
                  </a:lnTo>
                  <a:lnTo>
                    <a:pt x="12477" y="10217"/>
                  </a:lnTo>
                  <a:lnTo>
                    <a:pt x="12997" y="10669"/>
                  </a:lnTo>
                  <a:lnTo>
                    <a:pt x="13494" y="11121"/>
                  </a:lnTo>
                  <a:lnTo>
                    <a:pt x="13968" y="11573"/>
                  </a:lnTo>
                  <a:lnTo>
                    <a:pt x="14420" y="12025"/>
                  </a:lnTo>
                  <a:lnTo>
                    <a:pt x="14850" y="12477"/>
                  </a:lnTo>
                  <a:lnTo>
                    <a:pt x="15257" y="12952"/>
                  </a:lnTo>
                  <a:lnTo>
                    <a:pt x="15618" y="13404"/>
                  </a:lnTo>
                  <a:lnTo>
                    <a:pt x="15957" y="13878"/>
                  </a:lnTo>
                  <a:lnTo>
                    <a:pt x="16251" y="14353"/>
                  </a:lnTo>
                  <a:lnTo>
                    <a:pt x="16522" y="14827"/>
                  </a:lnTo>
                  <a:lnTo>
                    <a:pt x="16703" y="14986"/>
                  </a:lnTo>
                  <a:lnTo>
                    <a:pt x="16794" y="15099"/>
                  </a:lnTo>
                  <a:lnTo>
                    <a:pt x="16816" y="15234"/>
                  </a:lnTo>
                  <a:lnTo>
                    <a:pt x="16839" y="15460"/>
                  </a:lnTo>
                  <a:lnTo>
                    <a:pt x="16839" y="15573"/>
                  </a:lnTo>
                  <a:lnTo>
                    <a:pt x="16952" y="16003"/>
                  </a:lnTo>
                  <a:lnTo>
                    <a:pt x="17042" y="16432"/>
                  </a:lnTo>
                  <a:lnTo>
                    <a:pt x="17087" y="16862"/>
                  </a:lnTo>
                  <a:lnTo>
                    <a:pt x="17110" y="17291"/>
                  </a:lnTo>
                  <a:lnTo>
                    <a:pt x="17087" y="17607"/>
                  </a:lnTo>
                  <a:lnTo>
                    <a:pt x="17020" y="17969"/>
                  </a:lnTo>
                  <a:lnTo>
                    <a:pt x="16929" y="18331"/>
                  </a:lnTo>
                  <a:lnTo>
                    <a:pt x="16816" y="18737"/>
                  </a:lnTo>
                  <a:lnTo>
                    <a:pt x="16681" y="19122"/>
                  </a:lnTo>
                  <a:lnTo>
                    <a:pt x="16522" y="19551"/>
                  </a:lnTo>
                  <a:lnTo>
                    <a:pt x="16342" y="19981"/>
                  </a:lnTo>
                  <a:lnTo>
                    <a:pt x="16138" y="20433"/>
                  </a:lnTo>
                  <a:lnTo>
                    <a:pt x="15709" y="22670"/>
                  </a:lnTo>
                  <a:lnTo>
                    <a:pt x="15257" y="25066"/>
                  </a:lnTo>
                  <a:lnTo>
                    <a:pt x="14262" y="29925"/>
                  </a:lnTo>
                  <a:lnTo>
                    <a:pt x="13381" y="34152"/>
                  </a:lnTo>
                  <a:lnTo>
                    <a:pt x="12816" y="36932"/>
                  </a:lnTo>
                  <a:lnTo>
                    <a:pt x="12703" y="37542"/>
                  </a:lnTo>
                  <a:lnTo>
                    <a:pt x="12725" y="37632"/>
                  </a:lnTo>
                  <a:lnTo>
                    <a:pt x="12770" y="37700"/>
                  </a:lnTo>
                  <a:lnTo>
                    <a:pt x="12883" y="37768"/>
                  </a:lnTo>
                  <a:lnTo>
                    <a:pt x="13019" y="37813"/>
                  </a:lnTo>
                  <a:lnTo>
                    <a:pt x="13381" y="37903"/>
                  </a:lnTo>
                  <a:lnTo>
                    <a:pt x="13833" y="37971"/>
                  </a:lnTo>
                  <a:lnTo>
                    <a:pt x="14375" y="38039"/>
                  </a:lnTo>
                  <a:lnTo>
                    <a:pt x="14963" y="38062"/>
                  </a:lnTo>
                  <a:lnTo>
                    <a:pt x="16229" y="38084"/>
                  </a:lnTo>
                  <a:lnTo>
                    <a:pt x="17223" y="38084"/>
                  </a:lnTo>
                  <a:lnTo>
                    <a:pt x="18037" y="38062"/>
                  </a:lnTo>
                  <a:lnTo>
                    <a:pt x="18828" y="38016"/>
                  </a:lnTo>
                  <a:lnTo>
                    <a:pt x="19031" y="37248"/>
                  </a:lnTo>
                  <a:lnTo>
                    <a:pt x="19596" y="35191"/>
                  </a:lnTo>
                  <a:lnTo>
                    <a:pt x="20365" y="32140"/>
                  </a:lnTo>
                  <a:lnTo>
                    <a:pt x="20794" y="30355"/>
                  </a:lnTo>
                  <a:lnTo>
                    <a:pt x="21246" y="28433"/>
                  </a:lnTo>
                  <a:lnTo>
                    <a:pt x="21698" y="26422"/>
                  </a:lnTo>
                  <a:lnTo>
                    <a:pt x="22127" y="24365"/>
                  </a:lnTo>
                  <a:lnTo>
                    <a:pt x="22534" y="22331"/>
                  </a:lnTo>
                  <a:lnTo>
                    <a:pt x="22896" y="20320"/>
                  </a:lnTo>
                  <a:lnTo>
                    <a:pt x="23212" y="18376"/>
                  </a:lnTo>
                  <a:lnTo>
                    <a:pt x="23348" y="17449"/>
                  </a:lnTo>
                  <a:lnTo>
                    <a:pt x="23438" y="16545"/>
                  </a:lnTo>
                  <a:lnTo>
                    <a:pt x="23529" y="15709"/>
                  </a:lnTo>
                  <a:lnTo>
                    <a:pt x="23597" y="14895"/>
                  </a:lnTo>
                  <a:lnTo>
                    <a:pt x="23642" y="14127"/>
                  </a:lnTo>
                  <a:lnTo>
                    <a:pt x="23664" y="13426"/>
                  </a:lnTo>
                  <a:lnTo>
                    <a:pt x="23642" y="12861"/>
                  </a:lnTo>
                  <a:lnTo>
                    <a:pt x="23619" y="12341"/>
                  </a:lnTo>
                  <a:lnTo>
                    <a:pt x="23551" y="11844"/>
                  </a:lnTo>
                  <a:lnTo>
                    <a:pt x="23461" y="11415"/>
                  </a:lnTo>
                  <a:lnTo>
                    <a:pt x="23325" y="11030"/>
                  </a:lnTo>
                  <a:lnTo>
                    <a:pt x="23258" y="10895"/>
                  </a:lnTo>
                  <a:lnTo>
                    <a:pt x="23167" y="10759"/>
                  </a:lnTo>
                  <a:lnTo>
                    <a:pt x="23054" y="10601"/>
                  </a:lnTo>
                  <a:lnTo>
                    <a:pt x="22873" y="10420"/>
                  </a:lnTo>
                  <a:lnTo>
                    <a:pt x="22625" y="10217"/>
                  </a:lnTo>
                  <a:lnTo>
                    <a:pt x="22331" y="9991"/>
                  </a:lnTo>
                  <a:lnTo>
                    <a:pt x="21608" y="9471"/>
                  </a:lnTo>
                  <a:lnTo>
                    <a:pt x="20681" y="8883"/>
                  </a:lnTo>
                  <a:lnTo>
                    <a:pt x="19619" y="8228"/>
                  </a:lnTo>
                  <a:lnTo>
                    <a:pt x="18398" y="7527"/>
                  </a:lnTo>
                  <a:lnTo>
                    <a:pt x="17042" y="6781"/>
                  </a:lnTo>
                  <a:lnTo>
                    <a:pt x="15596" y="6013"/>
                  </a:lnTo>
                  <a:lnTo>
                    <a:pt x="14059" y="5222"/>
                  </a:lnTo>
                  <a:lnTo>
                    <a:pt x="12477" y="4408"/>
                  </a:lnTo>
                  <a:lnTo>
                    <a:pt x="10827" y="3617"/>
                  </a:lnTo>
                  <a:lnTo>
                    <a:pt x="9154" y="2826"/>
                  </a:lnTo>
                  <a:lnTo>
                    <a:pt x="7482" y="2058"/>
                  </a:lnTo>
                  <a:lnTo>
                    <a:pt x="5809" y="1312"/>
                  </a:lnTo>
                  <a:lnTo>
                    <a:pt x="4182" y="634"/>
                  </a:lnTo>
                  <a:lnTo>
                    <a:pt x="2600" y="1"/>
                  </a:lnTo>
                  <a:close/>
                </a:path>
              </a:pathLst>
            </a:custGeom>
            <a:solidFill>
              <a:srgbClr val="3B3A3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95" name="Google Shape;1795;p16"/>
            <p:cNvSpPr/>
            <p:nvPr/>
          </p:nvSpPr>
          <p:spPr>
            <a:xfrm>
              <a:off x="2779075" y="2468450"/>
              <a:ext cx="591625" cy="952125"/>
            </a:xfrm>
            <a:custGeom>
              <a:avLst/>
              <a:gdLst/>
              <a:ahLst/>
              <a:cxnLst/>
              <a:rect l="l" t="t" r="r" b="b"/>
              <a:pathLst>
                <a:path w="23665" h="38085" fill="none" extrusionOk="0">
                  <a:moveTo>
                    <a:pt x="2600" y="1"/>
                  </a:moveTo>
                  <a:lnTo>
                    <a:pt x="2600" y="1"/>
                  </a:lnTo>
                  <a:lnTo>
                    <a:pt x="2509" y="46"/>
                  </a:lnTo>
                  <a:lnTo>
                    <a:pt x="2419" y="46"/>
                  </a:lnTo>
                  <a:lnTo>
                    <a:pt x="2419" y="46"/>
                  </a:lnTo>
                  <a:lnTo>
                    <a:pt x="2193" y="91"/>
                  </a:lnTo>
                  <a:lnTo>
                    <a:pt x="1922" y="137"/>
                  </a:lnTo>
                  <a:lnTo>
                    <a:pt x="1334" y="295"/>
                  </a:lnTo>
                  <a:lnTo>
                    <a:pt x="1" y="702"/>
                  </a:lnTo>
                  <a:lnTo>
                    <a:pt x="1" y="702"/>
                  </a:lnTo>
                  <a:lnTo>
                    <a:pt x="294" y="1108"/>
                  </a:lnTo>
                  <a:lnTo>
                    <a:pt x="634" y="1538"/>
                  </a:lnTo>
                  <a:lnTo>
                    <a:pt x="995" y="1967"/>
                  </a:lnTo>
                  <a:lnTo>
                    <a:pt x="1447" y="2397"/>
                  </a:lnTo>
                  <a:lnTo>
                    <a:pt x="1447" y="2397"/>
                  </a:lnTo>
                  <a:lnTo>
                    <a:pt x="1718" y="2668"/>
                  </a:lnTo>
                  <a:lnTo>
                    <a:pt x="2035" y="2917"/>
                  </a:lnTo>
                  <a:lnTo>
                    <a:pt x="2781" y="3482"/>
                  </a:lnTo>
                  <a:lnTo>
                    <a:pt x="3662" y="4092"/>
                  </a:lnTo>
                  <a:lnTo>
                    <a:pt x="4611" y="4747"/>
                  </a:lnTo>
                  <a:lnTo>
                    <a:pt x="6781" y="6149"/>
                  </a:lnTo>
                  <a:lnTo>
                    <a:pt x="7911" y="6917"/>
                  </a:lnTo>
                  <a:lnTo>
                    <a:pt x="9086" y="7708"/>
                  </a:lnTo>
                  <a:lnTo>
                    <a:pt x="10239" y="8522"/>
                  </a:lnTo>
                  <a:lnTo>
                    <a:pt x="11369" y="9358"/>
                  </a:lnTo>
                  <a:lnTo>
                    <a:pt x="12477" y="10217"/>
                  </a:lnTo>
                  <a:lnTo>
                    <a:pt x="12997" y="10669"/>
                  </a:lnTo>
                  <a:lnTo>
                    <a:pt x="13494" y="11121"/>
                  </a:lnTo>
                  <a:lnTo>
                    <a:pt x="13968" y="11573"/>
                  </a:lnTo>
                  <a:lnTo>
                    <a:pt x="14420" y="12025"/>
                  </a:lnTo>
                  <a:lnTo>
                    <a:pt x="14850" y="12477"/>
                  </a:lnTo>
                  <a:lnTo>
                    <a:pt x="15257" y="12952"/>
                  </a:lnTo>
                  <a:lnTo>
                    <a:pt x="15618" y="13404"/>
                  </a:lnTo>
                  <a:lnTo>
                    <a:pt x="15957" y="13878"/>
                  </a:lnTo>
                  <a:lnTo>
                    <a:pt x="16251" y="14353"/>
                  </a:lnTo>
                  <a:lnTo>
                    <a:pt x="16522" y="14827"/>
                  </a:lnTo>
                  <a:lnTo>
                    <a:pt x="16522" y="14827"/>
                  </a:lnTo>
                  <a:lnTo>
                    <a:pt x="16703" y="14986"/>
                  </a:lnTo>
                  <a:lnTo>
                    <a:pt x="16794" y="15099"/>
                  </a:lnTo>
                  <a:lnTo>
                    <a:pt x="16794" y="15099"/>
                  </a:lnTo>
                  <a:lnTo>
                    <a:pt x="16794" y="15099"/>
                  </a:lnTo>
                  <a:lnTo>
                    <a:pt x="16816" y="15234"/>
                  </a:lnTo>
                  <a:lnTo>
                    <a:pt x="16839" y="15460"/>
                  </a:lnTo>
                  <a:lnTo>
                    <a:pt x="16839" y="15460"/>
                  </a:lnTo>
                  <a:lnTo>
                    <a:pt x="16839" y="15460"/>
                  </a:lnTo>
                  <a:lnTo>
                    <a:pt x="16839" y="15573"/>
                  </a:lnTo>
                  <a:lnTo>
                    <a:pt x="16839" y="15573"/>
                  </a:lnTo>
                  <a:lnTo>
                    <a:pt x="16952" y="16003"/>
                  </a:lnTo>
                  <a:lnTo>
                    <a:pt x="17042" y="16432"/>
                  </a:lnTo>
                  <a:lnTo>
                    <a:pt x="17087" y="16862"/>
                  </a:lnTo>
                  <a:lnTo>
                    <a:pt x="17110" y="17291"/>
                  </a:lnTo>
                  <a:lnTo>
                    <a:pt x="17110" y="17291"/>
                  </a:lnTo>
                  <a:lnTo>
                    <a:pt x="17087" y="17607"/>
                  </a:lnTo>
                  <a:lnTo>
                    <a:pt x="17020" y="17969"/>
                  </a:lnTo>
                  <a:lnTo>
                    <a:pt x="16929" y="18331"/>
                  </a:lnTo>
                  <a:lnTo>
                    <a:pt x="16816" y="18737"/>
                  </a:lnTo>
                  <a:lnTo>
                    <a:pt x="16681" y="19122"/>
                  </a:lnTo>
                  <a:lnTo>
                    <a:pt x="16522" y="19551"/>
                  </a:lnTo>
                  <a:lnTo>
                    <a:pt x="16342" y="19981"/>
                  </a:lnTo>
                  <a:lnTo>
                    <a:pt x="16138" y="20433"/>
                  </a:lnTo>
                  <a:lnTo>
                    <a:pt x="16138" y="20433"/>
                  </a:lnTo>
                  <a:lnTo>
                    <a:pt x="15709" y="22670"/>
                  </a:lnTo>
                  <a:lnTo>
                    <a:pt x="15257" y="25066"/>
                  </a:lnTo>
                  <a:lnTo>
                    <a:pt x="14262" y="29925"/>
                  </a:lnTo>
                  <a:lnTo>
                    <a:pt x="13381" y="34152"/>
                  </a:lnTo>
                  <a:lnTo>
                    <a:pt x="12816" y="36932"/>
                  </a:lnTo>
                  <a:lnTo>
                    <a:pt x="12703" y="37542"/>
                  </a:lnTo>
                  <a:lnTo>
                    <a:pt x="12703" y="37542"/>
                  </a:lnTo>
                  <a:lnTo>
                    <a:pt x="12703" y="37542"/>
                  </a:lnTo>
                  <a:lnTo>
                    <a:pt x="12703" y="37542"/>
                  </a:lnTo>
                  <a:lnTo>
                    <a:pt x="12703" y="37542"/>
                  </a:lnTo>
                  <a:lnTo>
                    <a:pt x="12725" y="37632"/>
                  </a:lnTo>
                  <a:lnTo>
                    <a:pt x="12770" y="37700"/>
                  </a:lnTo>
                  <a:lnTo>
                    <a:pt x="12883" y="37768"/>
                  </a:lnTo>
                  <a:lnTo>
                    <a:pt x="13019" y="37813"/>
                  </a:lnTo>
                  <a:lnTo>
                    <a:pt x="13381" y="37903"/>
                  </a:lnTo>
                  <a:lnTo>
                    <a:pt x="13833" y="37971"/>
                  </a:lnTo>
                  <a:lnTo>
                    <a:pt x="14375" y="38039"/>
                  </a:lnTo>
                  <a:lnTo>
                    <a:pt x="14963" y="38062"/>
                  </a:lnTo>
                  <a:lnTo>
                    <a:pt x="16229" y="38084"/>
                  </a:lnTo>
                  <a:lnTo>
                    <a:pt x="16229" y="38084"/>
                  </a:lnTo>
                  <a:lnTo>
                    <a:pt x="17223" y="38084"/>
                  </a:lnTo>
                  <a:lnTo>
                    <a:pt x="18037" y="38062"/>
                  </a:lnTo>
                  <a:lnTo>
                    <a:pt x="18828" y="38016"/>
                  </a:lnTo>
                  <a:lnTo>
                    <a:pt x="18828" y="38016"/>
                  </a:lnTo>
                  <a:lnTo>
                    <a:pt x="19031" y="37248"/>
                  </a:lnTo>
                  <a:lnTo>
                    <a:pt x="19596" y="35191"/>
                  </a:lnTo>
                  <a:lnTo>
                    <a:pt x="20365" y="32140"/>
                  </a:lnTo>
                  <a:lnTo>
                    <a:pt x="20794" y="30355"/>
                  </a:lnTo>
                  <a:lnTo>
                    <a:pt x="21246" y="28433"/>
                  </a:lnTo>
                  <a:lnTo>
                    <a:pt x="21698" y="26422"/>
                  </a:lnTo>
                  <a:lnTo>
                    <a:pt x="22127" y="24365"/>
                  </a:lnTo>
                  <a:lnTo>
                    <a:pt x="22534" y="22331"/>
                  </a:lnTo>
                  <a:lnTo>
                    <a:pt x="22896" y="20320"/>
                  </a:lnTo>
                  <a:lnTo>
                    <a:pt x="23212" y="18376"/>
                  </a:lnTo>
                  <a:lnTo>
                    <a:pt x="23348" y="17449"/>
                  </a:lnTo>
                  <a:lnTo>
                    <a:pt x="23438" y="16545"/>
                  </a:lnTo>
                  <a:lnTo>
                    <a:pt x="23529" y="15709"/>
                  </a:lnTo>
                  <a:lnTo>
                    <a:pt x="23597" y="14895"/>
                  </a:lnTo>
                  <a:lnTo>
                    <a:pt x="23642" y="14127"/>
                  </a:lnTo>
                  <a:lnTo>
                    <a:pt x="23664" y="13426"/>
                  </a:lnTo>
                  <a:lnTo>
                    <a:pt x="23664" y="13426"/>
                  </a:lnTo>
                  <a:lnTo>
                    <a:pt x="23642" y="12861"/>
                  </a:lnTo>
                  <a:lnTo>
                    <a:pt x="23619" y="12341"/>
                  </a:lnTo>
                  <a:lnTo>
                    <a:pt x="23619" y="12341"/>
                  </a:lnTo>
                  <a:lnTo>
                    <a:pt x="23551" y="11844"/>
                  </a:lnTo>
                  <a:lnTo>
                    <a:pt x="23461" y="11415"/>
                  </a:lnTo>
                  <a:lnTo>
                    <a:pt x="23325" y="11030"/>
                  </a:lnTo>
                  <a:lnTo>
                    <a:pt x="23258" y="10895"/>
                  </a:lnTo>
                  <a:lnTo>
                    <a:pt x="23167" y="10759"/>
                  </a:lnTo>
                  <a:lnTo>
                    <a:pt x="23167" y="10759"/>
                  </a:lnTo>
                  <a:lnTo>
                    <a:pt x="23054" y="10601"/>
                  </a:lnTo>
                  <a:lnTo>
                    <a:pt x="22873" y="10420"/>
                  </a:lnTo>
                  <a:lnTo>
                    <a:pt x="22625" y="10217"/>
                  </a:lnTo>
                  <a:lnTo>
                    <a:pt x="22331" y="9991"/>
                  </a:lnTo>
                  <a:lnTo>
                    <a:pt x="21608" y="9471"/>
                  </a:lnTo>
                  <a:lnTo>
                    <a:pt x="20681" y="8883"/>
                  </a:lnTo>
                  <a:lnTo>
                    <a:pt x="19619" y="8228"/>
                  </a:lnTo>
                  <a:lnTo>
                    <a:pt x="18398" y="7527"/>
                  </a:lnTo>
                  <a:lnTo>
                    <a:pt x="17042" y="6781"/>
                  </a:lnTo>
                  <a:lnTo>
                    <a:pt x="15596" y="6013"/>
                  </a:lnTo>
                  <a:lnTo>
                    <a:pt x="14059" y="5222"/>
                  </a:lnTo>
                  <a:lnTo>
                    <a:pt x="12477" y="4408"/>
                  </a:lnTo>
                  <a:lnTo>
                    <a:pt x="10827" y="3617"/>
                  </a:lnTo>
                  <a:lnTo>
                    <a:pt x="9154" y="2826"/>
                  </a:lnTo>
                  <a:lnTo>
                    <a:pt x="7482" y="2058"/>
                  </a:lnTo>
                  <a:lnTo>
                    <a:pt x="5809" y="1312"/>
                  </a:lnTo>
                  <a:lnTo>
                    <a:pt x="4182" y="634"/>
                  </a:lnTo>
                  <a:lnTo>
                    <a:pt x="260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96" name="Google Shape;1796;p16"/>
            <p:cNvSpPr/>
            <p:nvPr/>
          </p:nvSpPr>
          <p:spPr>
            <a:xfrm>
              <a:off x="3099450" y="2845900"/>
              <a:ext cx="100600" cy="545850"/>
            </a:xfrm>
            <a:custGeom>
              <a:avLst/>
              <a:gdLst/>
              <a:ahLst/>
              <a:cxnLst/>
              <a:rect l="l" t="t" r="r" b="b"/>
              <a:pathLst>
                <a:path w="4024" h="21834" extrusionOk="0">
                  <a:moveTo>
                    <a:pt x="3979" y="1"/>
                  </a:moveTo>
                  <a:lnTo>
                    <a:pt x="3933" y="249"/>
                  </a:lnTo>
                  <a:lnTo>
                    <a:pt x="4024" y="475"/>
                  </a:lnTo>
                  <a:lnTo>
                    <a:pt x="4024" y="362"/>
                  </a:lnTo>
                  <a:lnTo>
                    <a:pt x="4001" y="136"/>
                  </a:lnTo>
                  <a:lnTo>
                    <a:pt x="3979" y="1"/>
                  </a:lnTo>
                  <a:close/>
                  <a:moveTo>
                    <a:pt x="3323" y="5335"/>
                  </a:moveTo>
                  <a:lnTo>
                    <a:pt x="2826" y="6239"/>
                  </a:lnTo>
                  <a:lnTo>
                    <a:pt x="1" y="21834"/>
                  </a:lnTo>
                  <a:lnTo>
                    <a:pt x="566" y="19054"/>
                  </a:lnTo>
                  <a:lnTo>
                    <a:pt x="1447" y="14827"/>
                  </a:lnTo>
                  <a:lnTo>
                    <a:pt x="2442" y="9968"/>
                  </a:lnTo>
                  <a:lnTo>
                    <a:pt x="2894" y="7572"/>
                  </a:lnTo>
                  <a:lnTo>
                    <a:pt x="3323" y="5335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97" name="Google Shape;1797;p16"/>
            <p:cNvSpPr/>
            <p:nvPr/>
          </p:nvSpPr>
          <p:spPr>
            <a:xfrm>
              <a:off x="3099450" y="2979250"/>
              <a:ext cx="83100" cy="412500"/>
            </a:xfrm>
            <a:custGeom>
              <a:avLst/>
              <a:gdLst/>
              <a:ahLst/>
              <a:cxnLst/>
              <a:rect l="l" t="t" r="r" b="b"/>
              <a:pathLst>
                <a:path w="3324" h="16500" fill="none" extrusionOk="0">
                  <a:moveTo>
                    <a:pt x="3323" y="1"/>
                  </a:moveTo>
                  <a:lnTo>
                    <a:pt x="3323" y="1"/>
                  </a:lnTo>
                  <a:lnTo>
                    <a:pt x="2826" y="905"/>
                  </a:lnTo>
                  <a:lnTo>
                    <a:pt x="1" y="16500"/>
                  </a:lnTo>
                  <a:lnTo>
                    <a:pt x="1" y="16500"/>
                  </a:lnTo>
                  <a:lnTo>
                    <a:pt x="566" y="13720"/>
                  </a:lnTo>
                  <a:lnTo>
                    <a:pt x="1447" y="9493"/>
                  </a:lnTo>
                  <a:lnTo>
                    <a:pt x="2442" y="4634"/>
                  </a:lnTo>
                  <a:lnTo>
                    <a:pt x="2894" y="2238"/>
                  </a:lnTo>
                  <a:lnTo>
                    <a:pt x="3323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98" name="Google Shape;1798;p16"/>
            <p:cNvSpPr/>
            <p:nvPr/>
          </p:nvSpPr>
          <p:spPr>
            <a:xfrm>
              <a:off x="3197775" y="2845900"/>
              <a:ext cx="2275" cy="11900"/>
            </a:xfrm>
            <a:custGeom>
              <a:avLst/>
              <a:gdLst/>
              <a:ahLst/>
              <a:cxnLst/>
              <a:rect l="l" t="t" r="r" b="b"/>
              <a:pathLst>
                <a:path w="91" h="476" fill="none" extrusionOk="0">
                  <a:moveTo>
                    <a:pt x="46" y="1"/>
                  </a:moveTo>
                  <a:lnTo>
                    <a:pt x="0" y="249"/>
                  </a:lnTo>
                  <a:lnTo>
                    <a:pt x="0" y="249"/>
                  </a:lnTo>
                  <a:lnTo>
                    <a:pt x="91" y="475"/>
                  </a:lnTo>
                  <a:lnTo>
                    <a:pt x="91" y="475"/>
                  </a:lnTo>
                  <a:lnTo>
                    <a:pt x="91" y="362"/>
                  </a:lnTo>
                  <a:lnTo>
                    <a:pt x="91" y="362"/>
                  </a:lnTo>
                  <a:lnTo>
                    <a:pt x="68" y="136"/>
                  </a:lnTo>
                  <a:lnTo>
                    <a:pt x="46" y="1"/>
                  </a:lnTo>
                  <a:lnTo>
                    <a:pt x="4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99" name="Google Shape;1799;p16"/>
            <p:cNvSpPr/>
            <p:nvPr/>
          </p:nvSpPr>
          <p:spPr>
            <a:xfrm>
              <a:off x="3096625" y="3391725"/>
              <a:ext cx="2850" cy="15275"/>
            </a:xfrm>
            <a:custGeom>
              <a:avLst/>
              <a:gdLst/>
              <a:ahLst/>
              <a:cxnLst/>
              <a:rect l="l" t="t" r="r" b="b"/>
              <a:pathLst>
                <a:path w="114" h="611" extrusionOk="0">
                  <a:moveTo>
                    <a:pt x="114" y="1"/>
                  </a:moveTo>
                  <a:lnTo>
                    <a:pt x="114" y="1"/>
                  </a:lnTo>
                  <a:lnTo>
                    <a:pt x="1" y="611"/>
                  </a:lnTo>
                  <a:lnTo>
                    <a:pt x="114" y="1"/>
                  </a:lnTo>
                  <a:close/>
                </a:path>
              </a:pathLst>
            </a:custGeom>
            <a:solidFill>
              <a:srgbClr val="3A393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00" name="Google Shape;1800;p16"/>
            <p:cNvSpPr/>
            <p:nvPr/>
          </p:nvSpPr>
          <p:spPr>
            <a:xfrm>
              <a:off x="3096625" y="3391725"/>
              <a:ext cx="2850" cy="15275"/>
            </a:xfrm>
            <a:custGeom>
              <a:avLst/>
              <a:gdLst/>
              <a:ahLst/>
              <a:cxnLst/>
              <a:rect l="l" t="t" r="r" b="b"/>
              <a:pathLst>
                <a:path w="114" h="611" fill="none" extrusionOk="0">
                  <a:moveTo>
                    <a:pt x="114" y="1"/>
                  </a:moveTo>
                  <a:lnTo>
                    <a:pt x="114" y="1"/>
                  </a:lnTo>
                  <a:lnTo>
                    <a:pt x="1" y="611"/>
                  </a:lnTo>
                  <a:lnTo>
                    <a:pt x="114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01" name="Google Shape;1801;p16"/>
            <p:cNvSpPr/>
            <p:nvPr/>
          </p:nvSpPr>
          <p:spPr>
            <a:xfrm>
              <a:off x="2839550" y="2114175"/>
              <a:ext cx="453725" cy="255425"/>
            </a:xfrm>
            <a:custGeom>
              <a:avLst/>
              <a:gdLst/>
              <a:ahLst/>
              <a:cxnLst/>
              <a:rect l="l" t="t" r="r" b="b"/>
              <a:pathLst>
                <a:path w="18149" h="10217" extrusionOk="0">
                  <a:moveTo>
                    <a:pt x="3707" y="1"/>
                  </a:moveTo>
                  <a:lnTo>
                    <a:pt x="0" y="2532"/>
                  </a:lnTo>
                  <a:lnTo>
                    <a:pt x="407" y="3662"/>
                  </a:lnTo>
                  <a:lnTo>
                    <a:pt x="836" y="4838"/>
                  </a:lnTo>
                  <a:lnTo>
                    <a:pt x="1401" y="6194"/>
                  </a:lnTo>
                  <a:lnTo>
                    <a:pt x="1695" y="6872"/>
                  </a:lnTo>
                  <a:lnTo>
                    <a:pt x="2012" y="7550"/>
                  </a:lnTo>
                  <a:lnTo>
                    <a:pt x="2328" y="8205"/>
                  </a:lnTo>
                  <a:lnTo>
                    <a:pt x="2667" y="8793"/>
                  </a:lnTo>
                  <a:lnTo>
                    <a:pt x="2983" y="9290"/>
                  </a:lnTo>
                  <a:lnTo>
                    <a:pt x="3142" y="9516"/>
                  </a:lnTo>
                  <a:lnTo>
                    <a:pt x="3300" y="9720"/>
                  </a:lnTo>
                  <a:lnTo>
                    <a:pt x="3458" y="9878"/>
                  </a:lnTo>
                  <a:lnTo>
                    <a:pt x="3594" y="10013"/>
                  </a:lnTo>
                  <a:lnTo>
                    <a:pt x="3752" y="10104"/>
                  </a:lnTo>
                  <a:lnTo>
                    <a:pt x="3887" y="10172"/>
                  </a:lnTo>
                  <a:lnTo>
                    <a:pt x="4046" y="10194"/>
                  </a:lnTo>
                  <a:lnTo>
                    <a:pt x="4272" y="10217"/>
                  </a:lnTo>
                  <a:lnTo>
                    <a:pt x="4837" y="10217"/>
                  </a:lnTo>
                  <a:lnTo>
                    <a:pt x="5560" y="10149"/>
                  </a:lnTo>
                  <a:lnTo>
                    <a:pt x="6419" y="10059"/>
                  </a:lnTo>
                  <a:lnTo>
                    <a:pt x="7368" y="9900"/>
                  </a:lnTo>
                  <a:lnTo>
                    <a:pt x="8385" y="9742"/>
                  </a:lnTo>
                  <a:lnTo>
                    <a:pt x="10555" y="9358"/>
                  </a:lnTo>
                  <a:lnTo>
                    <a:pt x="12679" y="8928"/>
                  </a:lnTo>
                  <a:lnTo>
                    <a:pt x="14510" y="8544"/>
                  </a:lnTo>
                  <a:lnTo>
                    <a:pt x="15866" y="8273"/>
                  </a:lnTo>
                  <a:lnTo>
                    <a:pt x="16476" y="8160"/>
                  </a:lnTo>
                  <a:lnTo>
                    <a:pt x="16589" y="8137"/>
                  </a:lnTo>
                  <a:lnTo>
                    <a:pt x="16702" y="8047"/>
                  </a:lnTo>
                  <a:lnTo>
                    <a:pt x="16838" y="7934"/>
                  </a:lnTo>
                  <a:lnTo>
                    <a:pt x="16974" y="7798"/>
                  </a:lnTo>
                  <a:lnTo>
                    <a:pt x="17290" y="7437"/>
                  </a:lnTo>
                  <a:lnTo>
                    <a:pt x="17584" y="7007"/>
                  </a:lnTo>
                  <a:lnTo>
                    <a:pt x="17855" y="6578"/>
                  </a:lnTo>
                  <a:lnTo>
                    <a:pt x="17968" y="6352"/>
                  </a:lnTo>
                  <a:lnTo>
                    <a:pt x="18059" y="6148"/>
                  </a:lnTo>
                  <a:lnTo>
                    <a:pt x="18104" y="5968"/>
                  </a:lnTo>
                  <a:lnTo>
                    <a:pt x="18149" y="5809"/>
                  </a:lnTo>
                  <a:lnTo>
                    <a:pt x="18149" y="5674"/>
                  </a:lnTo>
                  <a:lnTo>
                    <a:pt x="18104" y="5583"/>
                  </a:lnTo>
                  <a:lnTo>
                    <a:pt x="18036" y="5561"/>
                  </a:lnTo>
                  <a:lnTo>
                    <a:pt x="17878" y="5538"/>
                  </a:lnTo>
                  <a:lnTo>
                    <a:pt x="17335" y="5516"/>
                  </a:lnTo>
                  <a:lnTo>
                    <a:pt x="16544" y="5538"/>
                  </a:lnTo>
                  <a:lnTo>
                    <a:pt x="15550" y="5606"/>
                  </a:lnTo>
                  <a:lnTo>
                    <a:pt x="13131" y="5787"/>
                  </a:lnTo>
                  <a:lnTo>
                    <a:pt x="10487" y="6013"/>
                  </a:lnTo>
                  <a:lnTo>
                    <a:pt x="6735" y="6375"/>
                  </a:lnTo>
                  <a:lnTo>
                    <a:pt x="5447" y="6488"/>
                  </a:lnTo>
                  <a:lnTo>
                    <a:pt x="4814" y="6533"/>
                  </a:lnTo>
                  <a:lnTo>
                    <a:pt x="4746" y="6510"/>
                  </a:lnTo>
                  <a:lnTo>
                    <a:pt x="4679" y="6465"/>
                  </a:lnTo>
                  <a:lnTo>
                    <a:pt x="4633" y="6397"/>
                  </a:lnTo>
                  <a:lnTo>
                    <a:pt x="4566" y="6307"/>
                  </a:lnTo>
                  <a:lnTo>
                    <a:pt x="4475" y="6058"/>
                  </a:lnTo>
                  <a:lnTo>
                    <a:pt x="4407" y="5719"/>
                  </a:lnTo>
                  <a:lnTo>
                    <a:pt x="4340" y="5335"/>
                  </a:lnTo>
                  <a:lnTo>
                    <a:pt x="4272" y="4883"/>
                  </a:lnTo>
                  <a:lnTo>
                    <a:pt x="4181" y="3866"/>
                  </a:lnTo>
                  <a:lnTo>
                    <a:pt x="4091" y="2781"/>
                  </a:lnTo>
                  <a:lnTo>
                    <a:pt x="4000" y="1696"/>
                  </a:lnTo>
                  <a:lnTo>
                    <a:pt x="3955" y="1199"/>
                  </a:lnTo>
                  <a:lnTo>
                    <a:pt x="3865" y="747"/>
                  </a:lnTo>
                  <a:lnTo>
                    <a:pt x="3797" y="340"/>
                  </a:lnTo>
                  <a:lnTo>
                    <a:pt x="3707" y="1"/>
                  </a:lnTo>
                  <a:close/>
                </a:path>
              </a:pathLst>
            </a:custGeom>
            <a:solidFill>
              <a:srgbClr val="DE36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02" name="Google Shape;1802;p16"/>
            <p:cNvSpPr/>
            <p:nvPr/>
          </p:nvSpPr>
          <p:spPr>
            <a:xfrm>
              <a:off x="2839550" y="2114175"/>
              <a:ext cx="453725" cy="255425"/>
            </a:xfrm>
            <a:custGeom>
              <a:avLst/>
              <a:gdLst/>
              <a:ahLst/>
              <a:cxnLst/>
              <a:rect l="l" t="t" r="r" b="b"/>
              <a:pathLst>
                <a:path w="18149" h="10217" fill="none" extrusionOk="0">
                  <a:moveTo>
                    <a:pt x="3707" y="1"/>
                  </a:moveTo>
                  <a:lnTo>
                    <a:pt x="3707" y="1"/>
                  </a:lnTo>
                  <a:lnTo>
                    <a:pt x="3797" y="340"/>
                  </a:lnTo>
                  <a:lnTo>
                    <a:pt x="3865" y="747"/>
                  </a:lnTo>
                  <a:lnTo>
                    <a:pt x="3955" y="1199"/>
                  </a:lnTo>
                  <a:lnTo>
                    <a:pt x="4000" y="1696"/>
                  </a:lnTo>
                  <a:lnTo>
                    <a:pt x="4091" y="2781"/>
                  </a:lnTo>
                  <a:lnTo>
                    <a:pt x="4181" y="3866"/>
                  </a:lnTo>
                  <a:lnTo>
                    <a:pt x="4272" y="4883"/>
                  </a:lnTo>
                  <a:lnTo>
                    <a:pt x="4340" y="5335"/>
                  </a:lnTo>
                  <a:lnTo>
                    <a:pt x="4407" y="5719"/>
                  </a:lnTo>
                  <a:lnTo>
                    <a:pt x="4475" y="6058"/>
                  </a:lnTo>
                  <a:lnTo>
                    <a:pt x="4566" y="6307"/>
                  </a:lnTo>
                  <a:lnTo>
                    <a:pt x="4633" y="6397"/>
                  </a:lnTo>
                  <a:lnTo>
                    <a:pt x="4679" y="6465"/>
                  </a:lnTo>
                  <a:lnTo>
                    <a:pt x="4746" y="6510"/>
                  </a:lnTo>
                  <a:lnTo>
                    <a:pt x="4814" y="6533"/>
                  </a:lnTo>
                  <a:lnTo>
                    <a:pt x="4814" y="6533"/>
                  </a:lnTo>
                  <a:lnTo>
                    <a:pt x="5447" y="6488"/>
                  </a:lnTo>
                  <a:lnTo>
                    <a:pt x="6735" y="6375"/>
                  </a:lnTo>
                  <a:lnTo>
                    <a:pt x="10487" y="6013"/>
                  </a:lnTo>
                  <a:lnTo>
                    <a:pt x="10487" y="6013"/>
                  </a:lnTo>
                  <a:lnTo>
                    <a:pt x="13131" y="5787"/>
                  </a:lnTo>
                  <a:lnTo>
                    <a:pt x="15550" y="5606"/>
                  </a:lnTo>
                  <a:lnTo>
                    <a:pt x="16544" y="5538"/>
                  </a:lnTo>
                  <a:lnTo>
                    <a:pt x="17335" y="5516"/>
                  </a:lnTo>
                  <a:lnTo>
                    <a:pt x="17878" y="5538"/>
                  </a:lnTo>
                  <a:lnTo>
                    <a:pt x="18036" y="5561"/>
                  </a:lnTo>
                  <a:lnTo>
                    <a:pt x="18104" y="5583"/>
                  </a:lnTo>
                  <a:lnTo>
                    <a:pt x="18104" y="5583"/>
                  </a:lnTo>
                  <a:lnTo>
                    <a:pt x="18149" y="5674"/>
                  </a:lnTo>
                  <a:lnTo>
                    <a:pt x="18149" y="5809"/>
                  </a:lnTo>
                  <a:lnTo>
                    <a:pt x="18104" y="5968"/>
                  </a:lnTo>
                  <a:lnTo>
                    <a:pt x="18059" y="6148"/>
                  </a:lnTo>
                  <a:lnTo>
                    <a:pt x="17968" y="6352"/>
                  </a:lnTo>
                  <a:lnTo>
                    <a:pt x="17855" y="6578"/>
                  </a:lnTo>
                  <a:lnTo>
                    <a:pt x="17584" y="7007"/>
                  </a:lnTo>
                  <a:lnTo>
                    <a:pt x="17290" y="7437"/>
                  </a:lnTo>
                  <a:lnTo>
                    <a:pt x="16974" y="7798"/>
                  </a:lnTo>
                  <a:lnTo>
                    <a:pt x="16838" y="7934"/>
                  </a:lnTo>
                  <a:lnTo>
                    <a:pt x="16702" y="8047"/>
                  </a:lnTo>
                  <a:lnTo>
                    <a:pt x="16589" y="8137"/>
                  </a:lnTo>
                  <a:lnTo>
                    <a:pt x="16476" y="8160"/>
                  </a:lnTo>
                  <a:lnTo>
                    <a:pt x="16476" y="8160"/>
                  </a:lnTo>
                  <a:lnTo>
                    <a:pt x="15866" y="8273"/>
                  </a:lnTo>
                  <a:lnTo>
                    <a:pt x="14510" y="8544"/>
                  </a:lnTo>
                  <a:lnTo>
                    <a:pt x="12679" y="8928"/>
                  </a:lnTo>
                  <a:lnTo>
                    <a:pt x="10555" y="9358"/>
                  </a:lnTo>
                  <a:lnTo>
                    <a:pt x="8385" y="9742"/>
                  </a:lnTo>
                  <a:lnTo>
                    <a:pt x="7368" y="9900"/>
                  </a:lnTo>
                  <a:lnTo>
                    <a:pt x="6419" y="10059"/>
                  </a:lnTo>
                  <a:lnTo>
                    <a:pt x="5560" y="10149"/>
                  </a:lnTo>
                  <a:lnTo>
                    <a:pt x="4837" y="10217"/>
                  </a:lnTo>
                  <a:lnTo>
                    <a:pt x="4272" y="10217"/>
                  </a:lnTo>
                  <a:lnTo>
                    <a:pt x="4046" y="10194"/>
                  </a:lnTo>
                  <a:lnTo>
                    <a:pt x="3887" y="10172"/>
                  </a:lnTo>
                  <a:lnTo>
                    <a:pt x="3887" y="10172"/>
                  </a:lnTo>
                  <a:lnTo>
                    <a:pt x="3752" y="10104"/>
                  </a:lnTo>
                  <a:lnTo>
                    <a:pt x="3594" y="10013"/>
                  </a:lnTo>
                  <a:lnTo>
                    <a:pt x="3458" y="9878"/>
                  </a:lnTo>
                  <a:lnTo>
                    <a:pt x="3300" y="9720"/>
                  </a:lnTo>
                  <a:lnTo>
                    <a:pt x="3142" y="9516"/>
                  </a:lnTo>
                  <a:lnTo>
                    <a:pt x="2983" y="9290"/>
                  </a:lnTo>
                  <a:lnTo>
                    <a:pt x="2667" y="8793"/>
                  </a:lnTo>
                  <a:lnTo>
                    <a:pt x="2328" y="8205"/>
                  </a:lnTo>
                  <a:lnTo>
                    <a:pt x="2012" y="7550"/>
                  </a:lnTo>
                  <a:lnTo>
                    <a:pt x="1695" y="6872"/>
                  </a:lnTo>
                  <a:lnTo>
                    <a:pt x="1401" y="6194"/>
                  </a:lnTo>
                  <a:lnTo>
                    <a:pt x="836" y="4838"/>
                  </a:lnTo>
                  <a:lnTo>
                    <a:pt x="407" y="3662"/>
                  </a:lnTo>
                  <a:lnTo>
                    <a:pt x="0" y="2532"/>
                  </a:lnTo>
                  <a:lnTo>
                    <a:pt x="370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03" name="Google Shape;1803;p16"/>
            <p:cNvSpPr/>
            <p:nvPr/>
          </p:nvSpPr>
          <p:spPr>
            <a:xfrm>
              <a:off x="2839550" y="2114175"/>
              <a:ext cx="453725" cy="255425"/>
            </a:xfrm>
            <a:custGeom>
              <a:avLst/>
              <a:gdLst/>
              <a:ahLst/>
              <a:cxnLst/>
              <a:rect l="l" t="t" r="r" b="b"/>
              <a:pathLst>
                <a:path w="18149" h="10217" extrusionOk="0">
                  <a:moveTo>
                    <a:pt x="3707" y="1"/>
                  </a:moveTo>
                  <a:lnTo>
                    <a:pt x="0" y="2532"/>
                  </a:lnTo>
                  <a:lnTo>
                    <a:pt x="407" y="3662"/>
                  </a:lnTo>
                  <a:lnTo>
                    <a:pt x="836" y="4838"/>
                  </a:lnTo>
                  <a:lnTo>
                    <a:pt x="1401" y="6194"/>
                  </a:lnTo>
                  <a:lnTo>
                    <a:pt x="1695" y="6872"/>
                  </a:lnTo>
                  <a:lnTo>
                    <a:pt x="2012" y="7550"/>
                  </a:lnTo>
                  <a:lnTo>
                    <a:pt x="2328" y="8205"/>
                  </a:lnTo>
                  <a:lnTo>
                    <a:pt x="2667" y="8793"/>
                  </a:lnTo>
                  <a:lnTo>
                    <a:pt x="2983" y="9290"/>
                  </a:lnTo>
                  <a:lnTo>
                    <a:pt x="3142" y="9516"/>
                  </a:lnTo>
                  <a:lnTo>
                    <a:pt x="3300" y="9720"/>
                  </a:lnTo>
                  <a:lnTo>
                    <a:pt x="3458" y="9878"/>
                  </a:lnTo>
                  <a:lnTo>
                    <a:pt x="3594" y="10013"/>
                  </a:lnTo>
                  <a:lnTo>
                    <a:pt x="3752" y="10104"/>
                  </a:lnTo>
                  <a:lnTo>
                    <a:pt x="3887" y="10172"/>
                  </a:lnTo>
                  <a:lnTo>
                    <a:pt x="4046" y="10194"/>
                  </a:lnTo>
                  <a:lnTo>
                    <a:pt x="4272" y="10217"/>
                  </a:lnTo>
                  <a:lnTo>
                    <a:pt x="4837" y="10217"/>
                  </a:lnTo>
                  <a:lnTo>
                    <a:pt x="5560" y="10149"/>
                  </a:lnTo>
                  <a:lnTo>
                    <a:pt x="6419" y="10059"/>
                  </a:lnTo>
                  <a:lnTo>
                    <a:pt x="7368" y="9900"/>
                  </a:lnTo>
                  <a:lnTo>
                    <a:pt x="8385" y="9742"/>
                  </a:lnTo>
                  <a:lnTo>
                    <a:pt x="10555" y="9358"/>
                  </a:lnTo>
                  <a:lnTo>
                    <a:pt x="12679" y="8928"/>
                  </a:lnTo>
                  <a:lnTo>
                    <a:pt x="14510" y="8544"/>
                  </a:lnTo>
                  <a:lnTo>
                    <a:pt x="15866" y="8273"/>
                  </a:lnTo>
                  <a:lnTo>
                    <a:pt x="16476" y="8160"/>
                  </a:lnTo>
                  <a:lnTo>
                    <a:pt x="16589" y="8137"/>
                  </a:lnTo>
                  <a:lnTo>
                    <a:pt x="16702" y="8047"/>
                  </a:lnTo>
                  <a:lnTo>
                    <a:pt x="16838" y="7934"/>
                  </a:lnTo>
                  <a:lnTo>
                    <a:pt x="16974" y="7798"/>
                  </a:lnTo>
                  <a:lnTo>
                    <a:pt x="17290" y="7437"/>
                  </a:lnTo>
                  <a:lnTo>
                    <a:pt x="17584" y="7007"/>
                  </a:lnTo>
                  <a:lnTo>
                    <a:pt x="17855" y="6578"/>
                  </a:lnTo>
                  <a:lnTo>
                    <a:pt x="17968" y="6352"/>
                  </a:lnTo>
                  <a:lnTo>
                    <a:pt x="18059" y="6148"/>
                  </a:lnTo>
                  <a:lnTo>
                    <a:pt x="18104" y="5968"/>
                  </a:lnTo>
                  <a:lnTo>
                    <a:pt x="18149" y="5809"/>
                  </a:lnTo>
                  <a:lnTo>
                    <a:pt x="18149" y="5674"/>
                  </a:lnTo>
                  <a:lnTo>
                    <a:pt x="18104" y="5583"/>
                  </a:lnTo>
                  <a:lnTo>
                    <a:pt x="18036" y="5561"/>
                  </a:lnTo>
                  <a:lnTo>
                    <a:pt x="17878" y="5538"/>
                  </a:lnTo>
                  <a:lnTo>
                    <a:pt x="17335" y="5516"/>
                  </a:lnTo>
                  <a:lnTo>
                    <a:pt x="16544" y="5538"/>
                  </a:lnTo>
                  <a:lnTo>
                    <a:pt x="15550" y="5606"/>
                  </a:lnTo>
                  <a:lnTo>
                    <a:pt x="13131" y="5787"/>
                  </a:lnTo>
                  <a:lnTo>
                    <a:pt x="10487" y="6013"/>
                  </a:lnTo>
                  <a:lnTo>
                    <a:pt x="6735" y="6375"/>
                  </a:lnTo>
                  <a:lnTo>
                    <a:pt x="5447" y="6488"/>
                  </a:lnTo>
                  <a:lnTo>
                    <a:pt x="4814" y="6533"/>
                  </a:lnTo>
                  <a:lnTo>
                    <a:pt x="4746" y="6510"/>
                  </a:lnTo>
                  <a:lnTo>
                    <a:pt x="4679" y="6465"/>
                  </a:lnTo>
                  <a:lnTo>
                    <a:pt x="4633" y="6397"/>
                  </a:lnTo>
                  <a:lnTo>
                    <a:pt x="4566" y="6307"/>
                  </a:lnTo>
                  <a:lnTo>
                    <a:pt x="4475" y="6058"/>
                  </a:lnTo>
                  <a:lnTo>
                    <a:pt x="4407" y="5719"/>
                  </a:lnTo>
                  <a:lnTo>
                    <a:pt x="4340" y="5335"/>
                  </a:lnTo>
                  <a:lnTo>
                    <a:pt x="4272" y="4883"/>
                  </a:lnTo>
                  <a:lnTo>
                    <a:pt x="4181" y="3866"/>
                  </a:lnTo>
                  <a:lnTo>
                    <a:pt x="4091" y="2781"/>
                  </a:lnTo>
                  <a:lnTo>
                    <a:pt x="4000" y="1696"/>
                  </a:lnTo>
                  <a:lnTo>
                    <a:pt x="3955" y="1199"/>
                  </a:lnTo>
                  <a:lnTo>
                    <a:pt x="3865" y="747"/>
                  </a:lnTo>
                  <a:lnTo>
                    <a:pt x="3797" y="340"/>
                  </a:lnTo>
                  <a:lnTo>
                    <a:pt x="3707" y="1"/>
                  </a:lnTo>
                  <a:close/>
                </a:path>
              </a:pathLst>
            </a:custGeom>
            <a:solidFill>
              <a:srgbClr val="E98B2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04" name="Google Shape;1804;p16"/>
            <p:cNvSpPr/>
            <p:nvPr/>
          </p:nvSpPr>
          <p:spPr>
            <a:xfrm>
              <a:off x="2839550" y="2114175"/>
              <a:ext cx="453725" cy="255425"/>
            </a:xfrm>
            <a:custGeom>
              <a:avLst/>
              <a:gdLst/>
              <a:ahLst/>
              <a:cxnLst/>
              <a:rect l="l" t="t" r="r" b="b"/>
              <a:pathLst>
                <a:path w="18149" h="10217" fill="none" extrusionOk="0">
                  <a:moveTo>
                    <a:pt x="3707" y="1"/>
                  </a:moveTo>
                  <a:lnTo>
                    <a:pt x="3707" y="1"/>
                  </a:lnTo>
                  <a:lnTo>
                    <a:pt x="3797" y="340"/>
                  </a:lnTo>
                  <a:lnTo>
                    <a:pt x="3865" y="747"/>
                  </a:lnTo>
                  <a:lnTo>
                    <a:pt x="3955" y="1199"/>
                  </a:lnTo>
                  <a:lnTo>
                    <a:pt x="4000" y="1696"/>
                  </a:lnTo>
                  <a:lnTo>
                    <a:pt x="4091" y="2781"/>
                  </a:lnTo>
                  <a:lnTo>
                    <a:pt x="4181" y="3866"/>
                  </a:lnTo>
                  <a:lnTo>
                    <a:pt x="4272" y="4883"/>
                  </a:lnTo>
                  <a:lnTo>
                    <a:pt x="4340" y="5335"/>
                  </a:lnTo>
                  <a:lnTo>
                    <a:pt x="4407" y="5719"/>
                  </a:lnTo>
                  <a:lnTo>
                    <a:pt x="4475" y="6058"/>
                  </a:lnTo>
                  <a:lnTo>
                    <a:pt x="4566" y="6307"/>
                  </a:lnTo>
                  <a:lnTo>
                    <a:pt x="4633" y="6397"/>
                  </a:lnTo>
                  <a:lnTo>
                    <a:pt x="4679" y="6465"/>
                  </a:lnTo>
                  <a:lnTo>
                    <a:pt x="4746" y="6510"/>
                  </a:lnTo>
                  <a:lnTo>
                    <a:pt x="4814" y="6533"/>
                  </a:lnTo>
                  <a:lnTo>
                    <a:pt x="4814" y="6533"/>
                  </a:lnTo>
                  <a:lnTo>
                    <a:pt x="5447" y="6488"/>
                  </a:lnTo>
                  <a:lnTo>
                    <a:pt x="6735" y="6375"/>
                  </a:lnTo>
                  <a:lnTo>
                    <a:pt x="10487" y="6013"/>
                  </a:lnTo>
                  <a:lnTo>
                    <a:pt x="10487" y="6013"/>
                  </a:lnTo>
                  <a:lnTo>
                    <a:pt x="13131" y="5787"/>
                  </a:lnTo>
                  <a:lnTo>
                    <a:pt x="15550" y="5606"/>
                  </a:lnTo>
                  <a:lnTo>
                    <a:pt x="16544" y="5538"/>
                  </a:lnTo>
                  <a:lnTo>
                    <a:pt x="17335" y="5516"/>
                  </a:lnTo>
                  <a:lnTo>
                    <a:pt x="17878" y="5538"/>
                  </a:lnTo>
                  <a:lnTo>
                    <a:pt x="18036" y="5561"/>
                  </a:lnTo>
                  <a:lnTo>
                    <a:pt x="18104" y="5583"/>
                  </a:lnTo>
                  <a:lnTo>
                    <a:pt x="18104" y="5583"/>
                  </a:lnTo>
                  <a:lnTo>
                    <a:pt x="18149" y="5674"/>
                  </a:lnTo>
                  <a:lnTo>
                    <a:pt x="18149" y="5809"/>
                  </a:lnTo>
                  <a:lnTo>
                    <a:pt x="18104" y="5968"/>
                  </a:lnTo>
                  <a:lnTo>
                    <a:pt x="18059" y="6148"/>
                  </a:lnTo>
                  <a:lnTo>
                    <a:pt x="17968" y="6352"/>
                  </a:lnTo>
                  <a:lnTo>
                    <a:pt x="17855" y="6578"/>
                  </a:lnTo>
                  <a:lnTo>
                    <a:pt x="17584" y="7007"/>
                  </a:lnTo>
                  <a:lnTo>
                    <a:pt x="17290" y="7437"/>
                  </a:lnTo>
                  <a:lnTo>
                    <a:pt x="16974" y="7798"/>
                  </a:lnTo>
                  <a:lnTo>
                    <a:pt x="16838" y="7934"/>
                  </a:lnTo>
                  <a:lnTo>
                    <a:pt x="16702" y="8047"/>
                  </a:lnTo>
                  <a:lnTo>
                    <a:pt x="16589" y="8137"/>
                  </a:lnTo>
                  <a:lnTo>
                    <a:pt x="16476" y="8160"/>
                  </a:lnTo>
                  <a:lnTo>
                    <a:pt x="16476" y="8160"/>
                  </a:lnTo>
                  <a:lnTo>
                    <a:pt x="15866" y="8273"/>
                  </a:lnTo>
                  <a:lnTo>
                    <a:pt x="14510" y="8544"/>
                  </a:lnTo>
                  <a:lnTo>
                    <a:pt x="12679" y="8928"/>
                  </a:lnTo>
                  <a:lnTo>
                    <a:pt x="10555" y="9358"/>
                  </a:lnTo>
                  <a:lnTo>
                    <a:pt x="8385" y="9742"/>
                  </a:lnTo>
                  <a:lnTo>
                    <a:pt x="7368" y="9900"/>
                  </a:lnTo>
                  <a:lnTo>
                    <a:pt x="6419" y="10059"/>
                  </a:lnTo>
                  <a:lnTo>
                    <a:pt x="5560" y="10149"/>
                  </a:lnTo>
                  <a:lnTo>
                    <a:pt x="4837" y="10217"/>
                  </a:lnTo>
                  <a:lnTo>
                    <a:pt x="4272" y="10217"/>
                  </a:lnTo>
                  <a:lnTo>
                    <a:pt x="4046" y="10194"/>
                  </a:lnTo>
                  <a:lnTo>
                    <a:pt x="3887" y="10172"/>
                  </a:lnTo>
                  <a:lnTo>
                    <a:pt x="3887" y="10172"/>
                  </a:lnTo>
                  <a:lnTo>
                    <a:pt x="3752" y="10104"/>
                  </a:lnTo>
                  <a:lnTo>
                    <a:pt x="3594" y="10013"/>
                  </a:lnTo>
                  <a:lnTo>
                    <a:pt x="3458" y="9878"/>
                  </a:lnTo>
                  <a:lnTo>
                    <a:pt x="3300" y="9720"/>
                  </a:lnTo>
                  <a:lnTo>
                    <a:pt x="3142" y="9516"/>
                  </a:lnTo>
                  <a:lnTo>
                    <a:pt x="2983" y="9290"/>
                  </a:lnTo>
                  <a:lnTo>
                    <a:pt x="2667" y="8793"/>
                  </a:lnTo>
                  <a:lnTo>
                    <a:pt x="2328" y="8205"/>
                  </a:lnTo>
                  <a:lnTo>
                    <a:pt x="2012" y="7550"/>
                  </a:lnTo>
                  <a:lnTo>
                    <a:pt x="1695" y="6872"/>
                  </a:lnTo>
                  <a:lnTo>
                    <a:pt x="1401" y="6194"/>
                  </a:lnTo>
                  <a:lnTo>
                    <a:pt x="836" y="4838"/>
                  </a:lnTo>
                  <a:lnTo>
                    <a:pt x="407" y="3662"/>
                  </a:lnTo>
                  <a:lnTo>
                    <a:pt x="0" y="2532"/>
                  </a:lnTo>
                  <a:lnTo>
                    <a:pt x="370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05" name="Google Shape;1805;p16"/>
            <p:cNvSpPr/>
            <p:nvPr/>
          </p:nvSpPr>
          <p:spPr>
            <a:xfrm>
              <a:off x="2942950" y="2252050"/>
              <a:ext cx="349775" cy="50325"/>
            </a:xfrm>
            <a:custGeom>
              <a:avLst/>
              <a:gdLst/>
              <a:ahLst/>
              <a:cxnLst/>
              <a:rect l="l" t="t" r="r" b="b"/>
              <a:pathLst>
                <a:path w="13991" h="2013" extrusionOk="0">
                  <a:moveTo>
                    <a:pt x="12747" y="1"/>
                  </a:moveTo>
                  <a:lnTo>
                    <a:pt x="12047" y="46"/>
                  </a:lnTo>
                  <a:lnTo>
                    <a:pt x="10352" y="159"/>
                  </a:lnTo>
                  <a:lnTo>
                    <a:pt x="8408" y="317"/>
                  </a:lnTo>
                  <a:lnTo>
                    <a:pt x="6351" y="498"/>
                  </a:lnTo>
                  <a:lnTo>
                    <a:pt x="2644" y="860"/>
                  </a:lnTo>
                  <a:lnTo>
                    <a:pt x="1379" y="973"/>
                  </a:lnTo>
                  <a:lnTo>
                    <a:pt x="701" y="1018"/>
                  </a:lnTo>
                  <a:lnTo>
                    <a:pt x="678" y="1018"/>
                  </a:lnTo>
                  <a:lnTo>
                    <a:pt x="610" y="995"/>
                  </a:lnTo>
                  <a:lnTo>
                    <a:pt x="543" y="950"/>
                  </a:lnTo>
                  <a:lnTo>
                    <a:pt x="497" y="882"/>
                  </a:lnTo>
                  <a:lnTo>
                    <a:pt x="430" y="792"/>
                  </a:lnTo>
                  <a:lnTo>
                    <a:pt x="339" y="520"/>
                  </a:lnTo>
                  <a:lnTo>
                    <a:pt x="271" y="181"/>
                  </a:lnTo>
                  <a:lnTo>
                    <a:pt x="0" y="769"/>
                  </a:lnTo>
                  <a:lnTo>
                    <a:pt x="543" y="1944"/>
                  </a:lnTo>
                  <a:lnTo>
                    <a:pt x="701" y="1967"/>
                  </a:lnTo>
                  <a:lnTo>
                    <a:pt x="882" y="1990"/>
                  </a:lnTo>
                  <a:lnTo>
                    <a:pt x="1311" y="2012"/>
                  </a:lnTo>
                  <a:lnTo>
                    <a:pt x="1944" y="1990"/>
                  </a:lnTo>
                  <a:lnTo>
                    <a:pt x="2690" y="1922"/>
                  </a:lnTo>
                  <a:lnTo>
                    <a:pt x="3503" y="1831"/>
                  </a:lnTo>
                  <a:lnTo>
                    <a:pt x="4430" y="1718"/>
                  </a:lnTo>
                  <a:lnTo>
                    <a:pt x="6396" y="1402"/>
                  </a:lnTo>
                  <a:lnTo>
                    <a:pt x="8430" y="1040"/>
                  </a:lnTo>
                  <a:lnTo>
                    <a:pt x="11640" y="475"/>
                  </a:lnTo>
                  <a:lnTo>
                    <a:pt x="12973" y="249"/>
                  </a:lnTo>
                  <a:lnTo>
                    <a:pt x="13990" y="114"/>
                  </a:lnTo>
                  <a:lnTo>
                    <a:pt x="13968" y="68"/>
                  </a:lnTo>
                  <a:lnTo>
                    <a:pt x="13900" y="46"/>
                  </a:lnTo>
                  <a:lnTo>
                    <a:pt x="13764" y="23"/>
                  </a:lnTo>
                  <a:lnTo>
                    <a:pt x="13312" y="1"/>
                  </a:lnTo>
                  <a:close/>
                </a:path>
              </a:pathLst>
            </a:custGeom>
            <a:solidFill>
              <a:srgbClr val="CA7C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06" name="Google Shape;1806;p16"/>
            <p:cNvSpPr/>
            <p:nvPr/>
          </p:nvSpPr>
          <p:spPr>
            <a:xfrm>
              <a:off x="2942950" y="2252050"/>
              <a:ext cx="349775" cy="50325"/>
            </a:xfrm>
            <a:custGeom>
              <a:avLst/>
              <a:gdLst/>
              <a:ahLst/>
              <a:cxnLst/>
              <a:rect l="l" t="t" r="r" b="b"/>
              <a:pathLst>
                <a:path w="13991" h="2013" fill="none" extrusionOk="0">
                  <a:moveTo>
                    <a:pt x="13312" y="1"/>
                  </a:moveTo>
                  <a:lnTo>
                    <a:pt x="13312" y="1"/>
                  </a:lnTo>
                  <a:lnTo>
                    <a:pt x="12747" y="1"/>
                  </a:lnTo>
                  <a:lnTo>
                    <a:pt x="12047" y="46"/>
                  </a:lnTo>
                  <a:lnTo>
                    <a:pt x="10352" y="159"/>
                  </a:lnTo>
                  <a:lnTo>
                    <a:pt x="8408" y="317"/>
                  </a:lnTo>
                  <a:lnTo>
                    <a:pt x="6351" y="498"/>
                  </a:lnTo>
                  <a:lnTo>
                    <a:pt x="6351" y="498"/>
                  </a:lnTo>
                  <a:lnTo>
                    <a:pt x="2644" y="860"/>
                  </a:lnTo>
                  <a:lnTo>
                    <a:pt x="1379" y="973"/>
                  </a:lnTo>
                  <a:lnTo>
                    <a:pt x="701" y="1018"/>
                  </a:lnTo>
                  <a:lnTo>
                    <a:pt x="701" y="1018"/>
                  </a:lnTo>
                  <a:lnTo>
                    <a:pt x="678" y="1018"/>
                  </a:lnTo>
                  <a:lnTo>
                    <a:pt x="678" y="1018"/>
                  </a:lnTo>
                  <a:lnTo>
                    <a:pt x="610" y="995"/>
                  </a:lnTo>
                  <a:lnTo>
                    <a:pt x="543" y="950"/>
                  </a:lnTo>
                  <a:lnTo>
                    <a:pt x="497" y="882"/>
                  </a:lnTo>
                  <a:lnTo>
                    <a:pt x="430" y="792"/>
                  </a:lnTo>
                  <a:lnTo>
                    <a:pt x="339" y="520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0" y="769"/>
                  </a:lnTo>
                  <a:lnTo>
                    <a:pt x="0" y="769"/>
                  </a:lnTo>
                  <a:lnTo>
                    <a:pt x="543" y="1944"/>
                  </a:lnTo>
                  <a:lnTo>
                    <a:pt x="543" y="1944"/>
                  </a:lnTo>
                  <a:lnTo>
                    <a:pt x="701" y="1967"/>
                  </a:lnTo>
                  <a:lnTo>
                    <a:pt x="882" y="1990"/>
                  </a:lnTo>
                  <a:lnTo>
                    <a:pt x="1311" y="2012"/>
                  </a:lnTo>
                  <a:lnTo>
                    <a:pt x="1311" y="2012"/>
                  </a:lnTo>
                  <a:lnTo>
                    <a:pt x="1944" y="1990"/>
                  </a:lnTo>
                  <a:lnTo>
                    <a:pt x="2690" y="1922"/>
                  </a:lnTo>
                  <a:lnTo>
                    <a:pt x="3503" y="1831"/>
                  </a:lnTo>
                  <a:lnTo>
                    <a:pt x="4430" y="1718"/>
                  </a:lnTo>
                  <a:lnTo>
                    <a:pt x="6396" y="1402"/>
                  </a:lnTo>
                  <a:lnTo>
                    <a:pt x="8430" y="1040"/>
                  </a:lnTo>
                  <a:lnTo>
                    <a:pt x="8430" y="1040"/>
                  </a:lnTo>
                  <a:lnTo>
                    <a:pt x="11640" y="475"/>
                  </a:lnTo>
                  <a:lnTo>
                    <a:pt x="12973" y="249"/>
                  </a:lnTo>
                  <a:lnTo>
                    <a:pt x="13990" y="114"/>
                  </a:lnTo>
                  <a:lnTo>
                    <a:pt x="13990" y="114"/>
                  </a:lnTo>
                  <a:lnTo>
                    <a:pt x="13968" y="68"/>
                  </a:lnTo>
                  <a:lnTo>
                    <a:pt x="13968" y="68"/>
                  </a:lnTo>
                  <a:lnTo>
                    <a:pt x="13900" y="46"/>
                  </a:lnTo>
                  <a:lnTo>
                    <a:pt x="13764" y="23"/>
                  </a:lnTo>
                  <a:lnTo>
                    <a:pt x="13312" y="1"/>
                  </a:lnTo>
                </a:path>
              </a:pathLst>
            </a:custGeom>
            <a:solidFill>
              <a:srgbClr val="98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07" name="Google Shape;1807;p16"/>
            <p:cNvSpPr/>
            <p:nvPr/>
          </p:nvSpPr>
          <p:spPr>
            <a:xfrm>
              <a:off x="2340600" y="2520450"/>
              <a:ext cx="502925" cy="217550"/>
            </a:xfrm>
            <a:custGeom>
              <a:avLst/>
              <a:gdLst/>
              <a:ahLst/>
              <a:cxnLst/>
              <a:rect l="l" t="t" r="r" b="b"/>
              <a:pathLst>
                <a:path w="20117" h="8702" extrusionOk="0">
                  <a:moveTo>
                    <a:pt x="1425" y="0"/>
                  </a:moveTo>
                  <a:lnTo>
                    <a:pt x="1289" y="23"/>
                  </a:lnTo>
                  <a:lnTo>
                    <a:pt x="1131" y="68"/>
                  </a:lnTo>
                  <a:lnTo>
                    <a:pt x="995" y="113"/>
                  </a:lnTo>
                  <a:lnTo>
                    <a:pt x="860" y="204"/>
                  </a:lnTo>
                  <a:lnTo>
                    <a:pt x="724" y="317"/>
                  </a:lnTo>
                  <a:lnTo>
                    <a:pt x="589" y="452"/>
                  </a:lnTo>
                  <a:lnTo>
                    <a:pt x="453" y="611"/>
                  </a:lnTo>
                  <a:lnTo>
                    <a:pt x="363" y="769"/>
                  </a:lnTo>
                  <a:lnTo>
                    <a:pt x="272" y="927"/>
                  </a:lnTo>
                  <a:lnTo>
                    <a:pt x="182" y="1130"/>
                  </a:lnTo>
                  <a:lnTo>
                    <a:pt x="137" y="1334"/>
                  </a:lnTo>
                  <a:lnTo>
                    <a:pt x="69" y="1537"/>
                  </a:lnTo>
                  <a:lnTo>
                    <a:pt x="46" y="1763"/>
                  </a:lnTo>
                  <a:lnTo>
                    <a:pt x="1" y="2260"/>
                  </a:lnTo>
                  <a:lnTo>
                    <a:pt x="24" y="2780"/>
                  </a:lnTo>
                  <a:lnTo>
                    <a:pt x="91" y="3300"/>
                  </a:lnTo>
                  <a:lnTo>
                    <a:pt x="204" y="3843"/>
                  </a:lnTo>
                  <a:lnTo>
                    <a:pt x="340" y="4408"/>
                  </a:lnTo>
                  <a:lnTo>
                    <a:pt x="543" y="4927"/>
                  </a:lnTo>
                  <a:lnTo>
                    <a:pt x="769" y="5447"/>
                  </a:lnTo>
                  <a:lnTo>
                    <a:pt x="1018" y="5944"/>
                  </a:lnTo>
                  <a:lnTo>
                    <a:pt x="1312" y="6396"/>
                  </a:lnTo>
                  <a:lnTo>
                    <a:pt x="1470" y="6600"/>
                  </a:lnTo>
                  <a:lnTo>
                    <a:pt x="1651" y="6781"/>
                  </a:lnTo>
                  <a:lnTo>
                    <a:pt x="1832" y="6962"/>
                  </a:lnTo>
                  <a:lnTo>
                    <a:pt x="2012" y="7120"/>
                  </a:lnTo>
                  <a:lnTo>
                    <a:pt x="2193" y="7278"/>
                  </a:lnTo>
                  <a:lnTo>
                    <a:pt x="2374" y="7391"/>
                  </a:lnTo>
                  <a:lnTo>
                    <a:pt x="2578" y="7504"/>
                  </a:lnTo>
                  <a:lnTo>
                    <a:pt x="2781" y="7594"/>
                  </a:lnTo>
                  <a:lnTo>
                    <a:pt x="3030" y="7662"/>
                  </a:lnTo>
                  <a:lnTo>
                    <a:pt x="3323" y="7730"/>
                  </a:lnTo>
                  <a:lnTo>
                    <a:pt x="4069" y="7888"/>
                  </a:lnTo>
                  <a:lnTo>
                    <a:pt x="4996" y="8024"/>
                  </a:lnTo>
                  <a:lnTo>
                    <a:pt x="6058" y="8182"/>
                  </a:lnTo>
                  <a:lnTo>
                    <a:pt x="7256" y="8295"/>
                  </a:lnTo>
                  <a:lnTo>
                    <a:pt x="8544" y="8431"/>
                  </a:lnTo>
                  <a:lnTo>
                    <a:pt x="9855" y="8521"/>
                  </a:lnTo>
                  <a:lnTo>
                    <a:pt x="11211" y="8611"/>
                  </a:lnTo>
                  <a:lnTo>
                    <a:pt x="12567" y="8657"/>
                  </a:lnTo>
                  <a:lnTo>
                    <a:pt x="13878" y="8702"/>
                  </a:lnTo>
                  <a:lnTo>
                    <a:pt x="15099" y="8702"/>
                  </a:lnTo>
                  <a:lnTo>
                    <a:pt x="16229" y="8657"/>
                  </a:lnTo>
                  <a:lnTo>
                    <a:pt x="17246" y="8589"/>
                  </a:lnTo>
                  <a:lnTo>
                    <a:pt x="17675" y="8544"/>
                  </a:lnTo>
                  <a:lnTo>
                    <a:pt x="18060" y="8498"/>
                  </a:lnTo>
                  <a:lnTo>
                    <a:pt x="18421" y="8431"/>
                  </a:lnTo>
                  <a:lnTo>
                    <a:pt x="18692" y="8340"/>
                  </a:lnTo>
                  <a:lnTo>
                    <a:pt x="18941" y="8250"/>
                  </a:lnTo>
                  <a:lnTo>
                    <a:pt x="19099" y="8137"/>
                  </a:lnTo>
                  <a:lnTo>
                    <a:pt x="19235" y="8046"/>
                  </a:lnTo>
                  <a:lnTo>
                    <a:pt x="19348" y="7911"/>
                  </a:lnTo>
                  <a:lnTo>
                    <a:pt x="19461" y="7775"/>
                  </a:lnTo>
                  <a:lnTo>
                    <a:pt x="19551" y="7617"/>
                  </a:lnTo>
                  <a:lnTo>
                    <a:pt x="19732" y="7301"/>
                  </a:lnTo>
                  <a:lnTo>
                    <a:pt x="19890" y="6916"/>
                  </a:lnTo>
                  <a:lnTo>
                    <a:pt x="20003" y="6509"/>
                  </a:lnTo>
                  <a:lnTo>
                    <a:pt x="20071" y="6080"/>
                  </a:lnTo>
                  <a:lnTo>
                    <a:pt x="20116" y="5651"/>
                  </a:lnTo>
                  <a:lnTo>
                    <a:pt x="20116" y="5199"/>
                  </a:lnTo>
                  <a:lnTo>
                    <a:pt x="20094" y="4769"/>
                  </a:lnTo>
                  <a:lnTo>
                    <a:pt x="20026" y="4340"/>
                  </a:lnTo>
                  <a:lnTo>
                    <a:pt x="19935" y="3933"/>
                  </a:lnTo>
                  <a:lnTo>
                    <a:pt x="19777" y="3549"/>
                  </a:lnTo>
                  <a:lnTo>
                    <a:pt x="19709" y="3368"/>
                  </a:lnTo>
                  <a:lnTo>
                    <a:pt x="19596" y="3210"/>
                  </a:lnTo>
                  <a:lnTo>
                    <a:pt x="19506" y="3051"/>
                  </a:lnTo>
                  <a:lnTo>
                    <a:pt x="19393" y="2916"/>
                  </a:lnTo>
                  <a:lnTo>
                    <a:pt x="19257" y="2803"/>
                  </a:lnTo>
                  <a:lnTo>
                    <a:pt x="19122" y="2690"/>
                  </a:lnTo>
                  <a:lnTo>
                    <a:pt x="18986" y="2577"/>
                  </a:lnTo>
                  <a:lnTo>
                    <a:pt x="18828" y="2509"/>
                  </a:lnTo>
                  <a:lnTo>
                    <a:pt x="18557" y="2396"/>
                  </a:lnTo>
                  <a:lnTo>
                    <a:pt x="18263" y="2306"/>
                  </a:lnTo>
                  <a:lnTo>
                    <a:pt x="17924" y="2215"/>
                  </a:lnTo>
                  <a:lnTo>
                    <a:pt x="17585" y="2147"/>
                  </a:lnTo>
                  <a:lnTo>
                    <a:pt x="16794" y="2034"/>
                  </a:lnTo>
                  <a:lnTo>
                    <a:pt x="15935" y="1967"/>
                  </a:lnTo>
                  <a:lnTo>
                    <a:pt x="14986" y="1921"/>
                  </a:lnTo>
                  <a:lnTo>
                    <a:pt x="14014" y="1899"/>
                  </a:lnTo>
                  <a:lnTo>
                    <a:pt x="12002" y="1899"/>
                  </a:lnTo>
                  <a:lnTo>
                    <a:pt x="9991" y="1967"/>
                  </a:lnTo>
                  <a:lnTo>
                    <a:pt x="8183" y="2034"/>
                  </a:lnTo>
                  <a:lnTo>
                    <a:pt x="7392" y="2057"/>
                  </a:lnTo>
                  <a:lnTo>
                    <a:pt x="6691" y="2057"/>
                  </a:lnTo>
                  <a:lnTo>
                    <a:pt x="6103" y="2034"/>
                  </a:lnTo>
                  <a:lnTo>
                    <a:pt x="5651" y="2012"/>
                  </a:lnTo>
                  <a:lnTo>
                    <a:pt x="5471" y="1967"/>
                  </a:lnTo>
                  <a:lnTo>
                    <a:pt x="5290" y="1921"/>
                  </a:lnTo>
                  <a:lnTo>
                    <a:pt x="4905" y="1786"/>
                  </a:lnTo>
                  <a:lnTo>
                    <a:pt x="4544" y="1628"/>
                  </a:lnTo>
                  <a:lnTo>
                    <a:pt x="4205" y="1424"/>
                  </a:lnTo>
                  <a:lnTo>
                    <a:pt x="3504" y="950"/>
                  </a:lnTo>
                  <a:lnTo>
                    <a:pt x="2826" y="520"/>
                  </a:lnTo>
                  <a:lnTo>
                    <a:pt x="2510" y="317"/>
                  </a:lnTo>
                  <a:lnTo>
                    <a:pt x="2193" y="159"/>
                  </a:lnTo>
                  <a:lnTo>
                    <a:pt x="1877" y="45"/>
                  </a:lnTo>
                  <a:lnTo>
                    <a:pt x="1719" y="23"/>
                  </a:lnTo>
                  <a:lnTo>
                    <a:pt x="1583" y="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08" name="Google Shape;1808;p16"/>
            <p:cNvSpPr/>
            <p:nvPr/>
          </p:nvSpPr>
          <p:spPr>
            <a:xfrm>
              <a:off x="2687550" y="3305850"/>
              <a:ext cx="152025" cy="195525"/>
            </a:xfrm>
            <a:custGeom>
              <a:avLst/>
              <a:gdLst/>
              <a:ahLst/>
              <a:cxnLst/>
              <a:rect l="l" t="t" r="r" b="b"/>
              <a:pathLst>
                <a:path w="6081" h="7821" extrusionOk="0">
                  <a:moveTo>
                    <a:pt x="2825" y="0"/>
                  </a:moveTo>
                  <a:lnTo>
                    <a:pt x="0" y="4927"/>
                  </a:lnTo>
                  <a:lnTo>
                    <a:pt x="1266" y="7820"/>
                  </a:lnTo>
                  <a:lnTo>
                    <a:pt x="3277" y="6645"/>
                  </a:lnTo>
                  <a:lnTo>
                    <a:pt x="3639" y="6125"/>
                  </a:lnTo>
                  <a:lnTo>
                    <a:pt x="4091" y="5470"/>
                  </a:lnTo>
                  <a:lnTo>
                    <a:pt x="5018" y="4001"/>
                  </a:lnTo>
                  <a:lnTo>
                    <a:pt x="5764" y="2758"/>
                  </a:lnTo>
                  <a:lnTo>
                    <a:pt x="6080" y="2215"/>
                  </a:lnTo>
                  <a:lnTo>
                    <a:pt x="2825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09" name="Google Shape;1809;p16"/>
            <p:cNvSpPr/>
            <p:nvPr/>
          </p:nvSpPr>
          <p:spPr>
            <a:xfrm>
              <a:off x="2637825" y="3414325"/>
              <a:ext cx="250900" cy="235075"/>
            </a:xfrm>
            <a:custGeom>
              <a:avLst/>
              <a:gdLst/>
              <a:ahLst/>
              <a:cxnLst/>
              <a:rect l="l" t="t" r="r" b="b"/>
              <a:pathLst>
                <a:path w="10036" h="9403" extrusionOk="0">
                  <a:moveTo>
                    <a:pt x="2215" y="1"/>
                  </a:moveTo>
                  <a:lnTo>
                    <a:pt x="2102" y="23"/>
                  </a:lnTo>
                  <a:lnTo>
                    <a:pt x="1967" y="68"/>
                  </a:lnTo>
                  <a:lnTo>
                    <a:pt x="1831" y="159"/>
                  </a:lnTo>
                  <a:lnTo>
                    <a:pt x="1673" y="294"/>
                  </a:lnTo>
                  <a:lnTo>
                    <a:pt x="1515" y="430"/>
                  </a:lnTo>
                  <a:lnTo>
                    <a:pt x="1198" y="814"/>
                  </a:lnTo>
                  <a:lnTo>
                    <a:pt x="859" y="1266"/>
                  </a:lnTo>
                  <a:lnTo>
                    <a:pt x="543" y="1786"/>
                  </a:lnTo>
                  <a:lnTo>
                    <a:pt x="272" y="2306"/>
                  </a:lnTo>
                  <a:lnTo>
                    <a:pt x="46" y="2803"/>
                  </a:lnTo>
                  <a:lnTo>
                    <a:pt x="23" y="2961"/>
                  </a:lnTo>
                  <a:lnTo>
                    <a:pt x="0" y="3097"/>
                  </a:lnTo>
                  <a:lnTo>
                    <a:pt x="0" y="3233"/>
                  </a:lnTo>
                  <a:lnTo>
                    <a:pt x="46" y="3368"/>
                  </a:lnTo>
                  <a:lnTo>
                    <a:pt x="91" y="3504"/>
                  </a:lnTo>
                  <a:lnTo>
                    <a:pt x="181" y="3617"/>
                  </a:lnTo>
                  <a:lnTo>
                    <a:pt x="272" y="3730"/>
                  </a:lnTo>
                  <a:lnTo>
                    <a:pt x="385" y="3820"/>
                  </a:lnTo>
                  <a:lnTo>
                    <a:pt x="4227" y="6487"/>
                  </a:lnTo>
                  <a:lnTo>
                    <a:pt x="7956" y="9064"/>
                  </a:lnTo>
                  <a:lnTo>
                    <a:pt x="8272" y="9245"/>
                  </a:lnTo>
                  <a:lnTo>
                    <a:pt x="8544" y="9358"/>
                  </a:lnTo>
                  <a:lnTo>
                    <a:pt x="8792" y="9403"/>
                  </a:lnTo>
                  <a:lnTo>
                    <a:pt x="9018" y="9403"/>
                  </a:lnTo>
                  <a:lnTo>
                    <a:pt x="9222" y="9335"/>
                  </a:lnTo>
                  <a:lnTo>
                    <a:pt x="9403" y="9245"/>
                  </a:lnTo>
                  <a:lnTo>
                    <a:pt x="9561" y="9132"/>
                  </a:lnTo>
                  <a:lnTo>
                    <a:pt x="9696" y="8973"/>
                  </a:lnTo>
                  <a:lnTo>
                    <a:pt x="9809" y="8815"/>
                  </a:lnTo>
                  <a:lnTo>
                    <a:pt x="9900" y="8634"/>
                  </a:lnTo>
                  <a:lnTo>
                    <a:pt x="9968" y="8476"/>
                  </a:lnTo>
                  <a:lnTo>
                    <a:pt x="10013" y="8295"/>
                  </a:lnTo>
                  <a:lnTo>
                    <a:pt x="10035" y="8137"/>
                  </a:lnTo>
                  <a:lnTo>
                    <a:pt x="10035" y="8002"/>
                  </a:lnTo>
                  <a:lnTo>
                    <a:pt x="10013" y="7911"/>
                  </a:lnTo>
                  <a:lnTo>
                    <a:pt x="9968" y="7821"/>
                  </a:lnTo>
                  <a:lnTo>
                    <a:pt x="9606" y="7504"/>
                  </a:lnTo>
                  <a:lnTo>
                    <a:pt x="8996" y="7030"/>
                  </a:lnTo>
                  <a:lnTo>
                    <a:pt x="8227" y="6397"/>
                  </a:lnTo>
                  <a:lnTo>
                    <a:pt x="7414" y="5696"/>
                  </a:lnTo>
                  <a:lnTo>
                    <a:pt x="7007" y="5312"/>
                  </a:lnTo>
                  <a:lnTo>
                    <a:pt x="6645" y="4950"/>
                  </a:lnTo>
                  <a:lnTo>
                    <a:pt x="6306" y="4566"/>
                  </a:lnTo>
                  <a:lnTo>
                    <a:pt x="6035" y="4204"/>
                  </a:lnTo>
                  <a:lnTo>
                    <a:pt x="5809" y="3843"/>
                  </a:lnTo>
                  <a:lnTo>
                    <a:pt x="5741" y="3685"/>
                  </a:lnTo>
                  <a:lnTo>
                    <a:pt x="5673" y="3504"/>
                  </a:lnTo>
                  <a:lnTo>
                    <a:pt x="5628" y="3368"/>
                  </a:lnTo>
                  <a:lnTo>
                    <a:pt x="5605" y="3210"/>
                  </a:lnTo>
                  <a:lnTo>
                    <a:pt x="5628" y="3074"/>
                  </a:lnTo>
                  <a:lnTo>
                    <a:pt x="5651" y="2939"/>
                  </a:lnTo>
                  <a:lnTo>
                    <a:pt x="5741" y="2713"/>
                  </a:lnTo>
                  <a:lnTo>
                    <a:pt x="5831" y="2555"/>
                  </a:lnTo>
                  <a:lnTo>
                    <a:pt x="5990" y="2283"/>
                  </a:lnTo>
                  <a:lnTo>
                    <a:pt x="6012" y="2170"/>
                  </a:lnTo>
                  <a:lnTo>
                    <a:pt x="6012" y="2080"/>
                  </a:lnTo>
                  <a:lnTo>
                    <a:pt x="5967" y="2012"/>
                  </a:lnTo>
                  <a:lnTo>
                    <a:pt x="5854" y="1944"/>
                  </a:lnTo>
                  <a:lnTo>
                    <a:pt x="5266" y="1696"/>
                  </a:lnTo>
                  <a:lnTo>
                    <a:pt x="4701" y="1425"/>
                  </a:lnTo>
                  <a:lnTo>
                    <a:pt x="4204" y="1131"/>
                  </a:lnTo>
                  <a:lnTo>
                    <a:pt x="3752" y="837"/>
                  </a:lnTo>
                  <a:lnTo>
                    <a:pt x="2961" y="340"/>
                  </a:lnTo>
                  <a:lnTo>
                    <a:pt x="2622" y="159"/>
                  </a:lnTo>
                  <a:lnTo>
                    <a:pt x="2464" y="91"/>
                  </a:lnTo>
                  <a:lnTo>
                    <a:pt x="2306" y="23"/>
                  </a:lnTo>
                  <a:lnTo>
                    <a:pt x="2215" y="1"/>
                  </a:lnTo>
                  <a:close/>
                </a:path>
              </a:pathLst>
            </a:custGeom>
            <a:solidFill>
              <a:srgbClr val="3331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10" name="Google Shape;1810;p16"/>
            <p:cNvSpPr/>
            <p:nvPr/>
          </p:nvSpPr>
          <p:spPr>
            <a:xfrm>
              <a:off x="2507300" y="2319850"/>
              <a:ext cx="699525" cy="1122750"/>
            </a:xfrm>
            <a:custGeom>
              <a:avLst/>
              <a:gdLst/>
              <a:ahLst/>
              <a:cxnLst/>
              <a:rect l="l" t="t" r="r" b="b"/>
              <a:pathLst>
                <a:path w="27981" h="44910" extrusionOk="0">
                  <a:moveTo>
                    <a:pt x="3752" y="1"/>
                  </a:moveTo>
                  <a:lnTo>
                    <a:pt x="3549" y="23"/>
                  </a:lnTo>
                  <a:lnTo>
                    <a:pt x="3368" y="46"/>
                  </a:lnTo>
                  <a:lnTo>
                    <a:pt x="3187" y="91"/>
                  </a:lnTo>
                  <a:lnTo>
                    <a:pt x="3029" y="136"/>
                  </a:lnTo>
                  <a:lnTo>
                    <a:pt x="2848" y="227"/>
                  </a:lnTo>
                  <a:lnTo>
                    <a:pt x="2690" y="295"/>
                  </a:lnTo>
                  <a:lnTo>
                    <a:pt x="2396" y="498"/>
                  </a:lnTo>
                  <a:lnTo>
                    <a:pt x="2125" y="724"/>
                  </a:lnTo>
                  <a:lnTo>
                    <a:pt x="1899" y="973"/>
                  </a:lnTo>
                  <a:lnTo>
                    <a:pt x="1673" y="1244"/>
                  </a:lnTo>
                  <a:lnTo>
                    <a:pt x="1469" y="1515"/>
                  </a:lnTo>
                  <a:lnTo>
                    <a:pt x="1311" y="1786"/>
                  </a:lnTo>
                  <a:lnTo>
                    <a:pt x="1040" y="2306"/>
                  </a:lnTo>
                  <a:lnTo>
                    <a:pt x="837" y="2690"/>
                  </a:lnTo>
                  <a:lnTo>
                    <a:pt x="588" y="3255"/>
                  </a:lnTo>
                  <a:lnTo>
                    <a:pt x="407" y="3820"/>
                  </a:lnTo>
                  <a:lnTo>
                    <a:pt x="249" y="4363"/>
                  </a:lnTo>
                  <a:lnTo>
                    <a:pt x="113" y="4883"/>
                  </a:lnTo>
                  <a:lnTo>
                    <a:pt x="46" y="5403"/>
                  </a:lnTo>
                  <a:lnTo>
                    <a:pt x="0" y="5922"/>
                  </a:lnTo>
                  <a:lnTo>
                    <a:pt x="0" y="6420"/>
                  </a:lnTo>
                  <a:lnTo>
                    <a:pt x="23" y="6917"/>
                  </a:lnTo>
                  <a:lnTo>
                    <a:pt x="91" y="7414"/>
                  </a:lnTo>
                  <a:lnTo>
                    <a:pt x="204" y="7889"/>
                  </a:lnTo>
                  <a:lnTo>
                    <a:pt x="339" y="8341"/>
                  </a:lnTo>
                  <a:lnTo>
                    <a:pt x="498" y="8815"/>
                  </a:lnTo>
                  <a:lnTo>
                    <a:pt x="678" y="9245"/>
                  </a:lnTo>
                  <a:lnTo>
                    <a:pt x="904" y="9697"/>
                  </a:lnTo>
                  <a:lnTo>
                    <a:pt x="1153" y="10126"/>
                  </a:lnTo>
                  <a:lnTo>
                    <a:pt x="1424" y="10533"/>
                  </a:lnTo>
                  <a:lnTo>
                    <a:pt x="1741" y="10962"/>
                  </a:lnTo>
                  <a:lnTo>
                    <a:pt x="2057" y="11369"/>
                  </a:lnTo>
                  <a:lnTo>
                    <a:pt x="2396" y="11754"/>
                  </a:lnTo>
                  <a:lnTo>
                    <a:pt x="2758" y="12160"/>
                  </a:lnTo>
                  <a:lnTo>
                    <a:pt x="3142" y="12522"/>
                  </a:lnTo>
                  <a:lnTo>
                    <a:pt x="3549" y="12906"/>
                  </a:lnTo>
                  <a:lnTo>
                    <a:pt x="3978" y="13268"/>
                  </a:lnTo>
                  <a:lnTo>
                    <a:pt x="4408" y="13629"/>
                  </a:lnTo>
                  <a:lnTo>
                    <a:pt x="4860" y="13991"/>
                  </a:lnTo>
                  <a:lnTo>
                    <a:pt x="5334" y="14330"/>
                  </a:lnTo>
                  <a:lnTo>
                    <a:pt x="6306" y="14986"/>
                  </a:lnTo>
                  <a:lnTo>
                    <a:pt x="7301" y="15641"/>
                  </a:lnTo>
                  <a:lnTo>
                    <a:pt x="8340" y="16251"/>
                  </a:lnTo>
                  <a:lnTo>
                    <a:pt x="9403" y="16839"/>
                  </a:lnTo>
                  <a:lnTo>
                    <a:pt x="10465" y="17426"/>
                  </a:lnTo>
                  <a:lnTo>
                    <a:pt x="11527" y="17969"/>
                  </a:lnTo>
                  <a:lnTo>
                    <a:pt x="12567" y="18489"/>
                  </a:lnTo>
                  <a:lnTo>
                    <a:pt x="14601" y="19483"/>
                  </a:lnTo>
                  <a:lnTo>
                    <a:pt x="16477" y="20410"/>
                  </a:lnTo>
                  <a:lnTo>
                    <a:pt x="17336" y="20862"/>
                  </a:lnTo>
                  <a:lnTo>
                    <a:pt x="18127" y="21291"/>
                  </a:lnTo>
                  <a:lnTo>
                    <a:pt x="18827" y="21698"/>
                  </a:lnTo>
                  <a:lnTo>
                    <a:pt x="19438" y="22105"/>
                  </a:lnTo>
                  <a:lnTo>
                    <a:pt x="19709" y="22286"/>
                  </a:lnTo>
                  <a:lnTo>
                    <a:pt x="19935" y="22489"/>
                  </a:lnTo>
                  <a:lnTo>
                    <a:pt x="20161" y="22670"/>
                  </a:lnTo>
                  <a:lnTo>
                    <a:pt x="20342" y="22873"/>
                  </a:lnTo>
                  <a:lnTo>
                    <a:pt x="20500" y="23054"/>
                  </a:lnTo>
                  <a:lnTo>
                    <a:pt x="20635" y="23235"/>
                  </a:lnTo>
                  <a:lnTo>
                    <a:pt x="20726" y="23438"/>
                  </a:lnTo>
                  <a:lnTo>
                    <a:pt x="20794" y="23619"/>
                  </a:lnTo>
                  <a:lnTo>
                    <a:pt x="20816" y="23777"/>
                  </a:lnTo>
                  <a:lnTo>
                    <a:pt x="20839" y="23981"/>
                  </a:lnTo>
                  <a:lnTo>
                    <a:pt x="20816" y="24162"/>
                  </a:lnTo>
                  <a:lnTo>
                    <a:pt x="20794" y="24365"/>
                  </a:lnTo>
                  <a:lnTo>
                    <a:pt x="20749" y="24591"/>
                  </a:lnTo>
                  <a:lnTo>
                    <a:pt x="20681" y="24817"/>
                  </a:lnTo>
                  <a:lnTo>
                    <a:pt x="20522" y="25269"/>
                  </a:lnTo>
                  <a:lnTo>
                    <a:pt x="20274" y="25789"/>
                  </a:lnTo>
                  <a:lnTo>
                    <a:pt x="20003" y="26331"/>
                  </a:lnTo>
                  <a:lnTo>
                    <a:pt x="19641" y="26896"/>
                  </a:lnTo>
                  <a:lnTo>
                    <a:pt x="19257" y="27484"/>
                  </a:lnTo>
                  <a:lnTo>
                    <a:pt x="18827" y="28094"/>
                  </a:lnTo>
                  <a:lnTo>
                    <a:pt x="18353" y="28727"/>
                  </a:lnTo>
                  <a:lnTo>
                    <a:pt x="17856" y="29383"/>
                  </a:lnTo>
                  <a:lnTo>
                    <a:pt x="17313" y="30038"/>
                  </a:lnTo>
                  <a:lnTo>
                    <a:pt x="16183" y="31394"/>
                  </a:lnTo>
                  <a:lnTo>
                    <a:pt x="14963" y="32773"/>
                  </a:lnTo>
                  <a:lnTo>
                    <a:pt x="12522" y="35508"/>
                  </a:lnTo>
                  <a:lnTo>
                    <a:pt x="11346" y="36796"/>
                  </a:lnTo>
                  <a:lnTo>
                    <a:pt x="10261" y="38016"/>
                  </a:lnTo>
                  <a:lnTo>
                    <a:pt x="9290" y="39169"/>
                  </a:lnTo>
                  <a:lnTo>
                    <a:pt x="8860" y="39689"/>
                  </a:lnTo>
                  <a:lnTo>
                    <a:pt x="8476" y="40186"/>
                  </a:lnTo>
                  <a:lnTo>
                    <a:pt x="8137" y="40638"/>
                  </a:lnTo>
                  <a:lnTo>
                    <a:pt x="7843" y="41045"/>
                  </a:lnTo>
                  <a:lnTo>
                    <a:pt x="7617" y="41429"/>
                  </a:lnTo>
                  <a:lnTo>
                    <a:pt x="7459" y="41768"/>
                  </a:lnTo>
                  <a:lnTo>
                    <a:pt x="7617" y="42085"/>
                  </a:lnTo>
                  <a:lnTo>
                    <a:pt x="7866" y="42559"/>
                  </a:lnTo>
                  <a:lnTo>
                    <a:pt x="8024" y="42830"/>
                  </a:lnTo>
                  <a:lnTo>
                    <a:pt x="8227" y="43124"/>
                  </a:lnTo>
                  <a:lnTo>
                    <a:pt x="8453" y="43418"/>
                  </a:lnTo>
                  <a:lnTo>
                    <a:pt x="8702" y="43712"/>
                  </a:lnTo>
                  <a:lnTo>
                    <a:pt x="8996" y="43983"/>
                  </a:lnTo>
                  <a:lnTo>
                    <a:pt x="9312" y="44232"/>
                  </a:lnTo>
                  <a:lnTo>
                    <a:pt x="9696" y="44458"/>
                  </a:lnTo>
                  <a:lnTo>
                    <a:pt x="9877" y="44571"/>
                  </a:lnTo>
                  <a:lnTo>
                    <a:pt x="10103" y="44661"/>
                  </a:lnTo>
                  <a:lnTo>
                    <a:pt x="10307" y="44729"/>
                  </a:lnTo>
                  <a:lnTo>
                    <a:pt x="10533" y="44797"/>
                  </a:lnTo>
                  <a:lnTo>
                    <a:pt x="10781" y="44842"/>
                  </a:lnTo>
                  <a:lnTo>
                    <a:pt x="11030" y="44887"/>
                  </a:lnTo>
                  <a:lnTo>
                    <a:pt x="11279" y="44910"/>
                  </a:lnTo>
                  <a:lnTo>
                    <a:pt x="11844" y="44910"/>
                  </a:lnTo>
                  <a:lnTo>
                    <a:pt x="12137" y="44865"/>
                  </a:lnTo>
                  <a:lnTo>
                    <a:pt x="12815" y="44186"/>
                  </a:lnTo>
                  <a:lnTo>
                    <a:pt x="14578" y="42333"/>
                  </a:lnTo>
                  <a:lnTo>
                    <a:pt x="15776" y="41045"/>
                  </a:lnTo>
                  <a:lnTo>
                    <a:pt x="17087" y="39598"/>
                  </a:lnTo>
                  <a:lnTo>
                    <a:pt x="18511" y="37994"/>
                  </a:lnTo>
                  <a:lnTo>
                    <a:pt x="19980" y="36299"/>
                  </a:lnTo>
                  <a:lnTo>
                    <a:pt x="21449" y="34513"/>
                  </a:lnTo>
                  <a:lnTo>
                    <a:pt x="22172" y="33609"/>
                  </a:lnTo>
                  <a:lnTo>
                    <a:pt x="22873" y="32705"/>
                  </a:lnTo>
                  <a:lnTo>
                    <a:pt x="23551" y="31801"/>
                  </a:lnTo>
                  <a:lnTo>
                    <a:pt x="24207" y="30897"/>
                  </a:lnTo>
                  <a:lnTo>
                    <a:pt x="24839" y="29993"/>
                  </a:lnTo>
                  <a:lnTo>
                    <a:pt x="25404" y="29134"/>
                  </a:lnTo>
                  <a:lnTo>
                    <a:pt x="25947" y="28275"/>
                  </a:lnTo>
                  <a:lnTo>
                    <a:pt x="26444" y="27439"/>
                  </a:lnTo>
                  <a:lnTo>
                    <a:pt x="26873" y="26648"/>
                  </a:lnTo>
                  <a:lnTo>
                    <a:pt x="27235" y="25879"/>
                  </a:lnTo>
                  <a:lnTo>
                    <a:pt x="27529" y="25134"/>
                  </a:lnTo>
                  <a:lnTo>
                    <a:pt x="27665" y="24795"/>
                  </a:lnTo>
                  <a:lnTo>
                    <a:pt x="27755" y="24455"/>
                  </a:lnTo>
                  <a:lnTo>
                    <a:pt x="27845" y="24116"/>
                  </a:lnTo>
                  <a:lnTo>
                    <a:pt x="27913" y="23823"/>
                  </a:lnTo>
                  <a:lnTo>
                    <a:pt x="27958" y="23506"/>
                  </a:lnTo>
                  <a:lnTo>
                    <a:pt x="27981" y="23235"/>
                  </a:lnTo>
                  <a:lnTo>
                    <a:pt x="27981" y="22941"/>
                  </a:lnTo>
                  <a:lnTo>
                    <a:pt x="27958" y="22670"/>
                  </a:lnTo>
                  <a:lnTo>
                    <a:pt x="27913" y="22376"/>
                  </a:lnTo>
                  <a:lnTo>
                    <a:pt x="27868" y="22105"/>
                  </a:lnTo>
                  <a:lnTo>
                    <a:pt x="27800" y="21834"/>
                  </a:lnTo>
                  <a:lnTo>
                    <a:pt x="27710" y="21540"/>
                  </a:lnTo>
                  <a:lnTo>
                    <a:pt x="27619" y="21269"/>
                  </a:lnTo>
                  <a:lnTo>
                    <a:pt x="27484" y="20997"/>
                  </a:lnTo>
                  <a:lnTo>
                    <a:pt x="27213" y="20455"/>
                  </a:lnTo>
                  <a:lnTo>
                    <a:pt x="26873" y="19890"/>
                  </a:lnTo>
                  <a:lnTo>
                    <a:pt x="26489" y="19348"/>
                  </a:lnTo>
                  <a:lnTo>
                    <a:pt x="26060" y="18805"/>
                  </a:lnTo>
                  <a:lnTo>
                    <a:pt x="25585" y="18285"/>
                  </a:lnTo>
                  <a:lnTo>
                    <a:pt x="25088" y="17743"/>
                  </a:lnTo>
                  <a:lnTo>
                    <a:pt x="24546" y="17223"/>
                  </a:lnTo>
                  <a:lnTo>
                    <a:pt x="23958" y="16703"/>
                  </a:lnTo>
                  <a:lnTo>
                    <a:pt x="23348" y="16183"/>
                  </a:lnTo>
                  <a:lnTo>
                    <a:pt x="22737" y="15686"/>
                  </a:lnTo>
                  <a:lnTo>
                    <a:pt x="22082" y="15189"/>
                  </a:lnTo>
                  <a:lnTo>
                    <a:pt x="21427" y="14692"/>
                  </a:lnTo>
                  <a:lnTo>
                    <a:pt x="20093" y="13742"/>
                  </a:lnTo>
                  <a:lnTo>
                    <a:pt x="18737" y="12816"/>
                  </a:lnTo>
                  <a:lnTo>
                    <a:pt x="16160" y="11121"/>
                  </a:lnTo>
                  <a:lnTo>
                    <a:pt x="14985" y="10352"/>
                  </a:lnTo>
                  <a:lnTo>
                    <a:pt x="13923" y="9629"/>
                  </a:lnTo>
                  <a:lnTo>
                    <a:pt x="13448" y="9290"/>
                  </a:lnTo>
                  <a:lnTo>
                    <a:pt x="13019" y="8951"/>
                  </a:lnTo>
                  <a:lnTo>
                    <a:pt x="12635" y="8635"/>
                  </a:lnTo>
                  <a:lnTo>
                    <a:pt x="12318" y="8341"/>
                  </a:lnTo>
                  <a:lnTo>
                    <a:pt x="12024" y="8069"/>
                  </a:lnTo>
                  <a:lnTo>
                    <a:pt x="11753" y="7776"/>
                  </a:lnTo>
                  <a:lnTo>
                    <a:pt x="11505" y="7504"/>
                  </a:lnTo>
                  <a:lnTo>
                    <a:pt x="11301" y="7233"/>
                  </a:lnTo>
                  <a:lnTo>
                    <a:pt x="10894" y="6691"/>
                  </a:lnTo>
                  <a:lnTo>
                    <a:pt x="10578" y="6171"/>
                  </a:lnTo>
                  <a:lnTo>
                    <a:pt x="10284" y="5651"/>
                  </a:lnTo>
                  <a:lnTo>
                    <a:pt x="10013" y="5131"/>
                  </a:lnTo>
                  <a:lnTo>
                    <a:pt x="9764" y="4634"/>
                  </a:lnTo>
                  <a:lnTo>
                    <a:pt x="9493" y="4137"/>
                  </a:lnTo>
                  <a:lnTo>
                    <a:pt x="9199" y="3662"/>
                  </a:lnTo>
                  <a:lnTo>
                    <a:pt x="8860" y="3165"/>
                  </a:lnTo>
                  <a:lnTo>
                    <a:pt x="8679" y="2939"/>
                  </a:lnTo>
                  <a:lnTo>
                    <a:pt x="8476" y="2690"/>
                  </a:lnTo>
                  <a:lnTo>
                    <a:pt x="8250" y="2464"/>
                  </a:lnTo>
                  <a:lnTo>
                    <a:pt x="8001" y="2216"/>
                  </a:lnTo>
                  <a:lnTo>
                    <a:pt x="7730" y="1990"/>
                  </a:lnTo>
                  <a:lnTo>
                    <a:pt x="7459" y="1741"/>
                  </a:lnTo>
                  <a:lnTo>
                    <a:pt x="7120" y="1515"/>
                  </a:lnTo>
                  <a:lnTo>
                    <a:pt x="6781" y="1266"/>
                  </a:lnTo>
                  <a:lnTo>
                    <a:pt x="6397" y="1018"/>
                  </a:lnTo>
                  <a:lnTo>
                    <a:pt x="5990" y="792"/>
                  </a:lnTo>
                  <a:lnTo>
                    <a:pt x="5538" y="543"/>
                  </a:lnTo>
                  <a:lnTo>
                    <a:pt x="5063" y="317"/>
                  </a:lnTo>
                  <a:lnTo>
                    <a:pt x="4814" y="204"/>
                  </a:lnTo>
                  <a:lnTo>
                    <a:pt x="4588" y="114"/>
                  </a:lnTo>
                  <a:lnTo>
                    <a:pt x="4362" y="69"/>
                  </a:lnTo>
                  <a:lnTo>
                    <a:pt x="4159" y="23"/>
                  </a:lnTo>
                  <a:lnTo>
                    <a:pt x="3956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11" name="Google Shape;1811;p16"/>
            <p:cNvSpPr/>
            <p:nvPr/>
          </p:nvSpPr>
          <p:spPr>
            <a:xfrm>
              <a:off x="2507300" y="2319850"/>
              <a:ext cx="699525" cy="1122750"/>
            </a:xfrm>
            <a:custGeom>
              <a:avLst/>
              <a:gdLst/>
              <a:ahLst/>
              <a:cxnLst/>
              <a:rect l="l" t="t" r="r" b="b"/>
              <a:pathLst>
                <a:path w="27981" h="44910" fill="none" extrusionOk="0">
                  <a:moveTo>
                    <a:pt x="12318" y="8341"/>
                  </a:moveTo>
                  <a:lnTo>
                    <a:pt x="12318" y="8341"/>
                  </a:lnTo>
                  <a:lnTo>
                    <a:pt x="12635" y="8635"/>
                  </a:lnTo>
                  <a:lnTo>
                    <a:pt x="13019" y="8951"/>
                  </a:lnTo>
                  <a:lnTo>
                    <a:pt x="13448" y="9290"/>
                  </a:lnTo>
                  <a:lnTo>
                    <a:pt x="13923" y="9629"/>
                  </a:lnTo>
                  <a:lnTo>
                    <a:pt x="14985" y="10352"/>
                  </a:lnTo>
                  <a:lnTo>
                    <a:pt x="16160" y="11121"/>
                  </a:lnTo>
                  <a:lnTo>
                    <a:pt x="18737" y="12816"/>
                  </a:lnTo>
                  <a:lnTo>
                    <a:pt x="20093" y="13742"/>
                  </a:lnTo>
                  <a:lnTo>
                    <a:pt x="21427" y="14692"/>
                  </a:lnTo>
                  <a:lnTo>
                    <a:pt x="22082" y="15189"/>
                  </a:lnTo>
                  <a:lnTo>
                    <a:pt x="22737" y="15686"/>
                  </a:lnTo>
                  <a:lnTo>
                    <a:pt x="23348" y="16183"/>
                  </a:lnTo>
                  <a:lnTo>
                    <a:pt x="23958" y="16703"/>
                  </a:lnTo>
                  <a:lnTo>
                    <a:pt x="24546" y="17223"/>
                  </a:lnTo>
                  <a:lnTo>
                    <a:pt x="25088" y="17743"/>
                  </a:lnTo>
                  <a:lnTo>
                    <a:pt x="25585" y="18285"/>
                  </a:lnTo>
                  <a:lnTo>
                    <a:pt x="26060" y="18805"/>
                  </a:lnTo>
                  <a:lnTo>
                    <a:pt x="26489" y="19348"/>
                  </a:lnTo>
                  <a:lnTo>
                    <a:pt x="26873" y="19890"/>
                  </a:lnTo>
                  <a:lnTo>
                    <a:pt x="27213" y="20455"/>
                  </a:lnTo>
                  <a:lnTo>
                    <a:pt x="27484" y="20997"/>
                  </a:lnTo>
                  <a:lnTo>
                    <a:pt x="27619" y="21269"/>
                  </a:lnTo>
                  <a:lnTo>
                    <a:pt x="27710" y="21540"/>
                  </a:lnTo>
                  <a:lnTo>
                    <a:pt x="27800" y="21834"/>
                  </a:lnTo>
                  <a:lnTo>
                    <a:pt x="27868" y="22105"/>
                  </a:lnTo>
                  <a:lnTo>
                    <a:pt x="27913" y="22376"/>
                  </a:lnTo>
                  <a:lnTo>
                    <a:pt x="27958" y="22670"/>
                  </a:lnTo>
                  <a:lnTo>
                    <a:pt x="27981" y="22941"/>
                  </a:lnTo>
                  <a:lnTo>
                    <a:pt x="27981" y="23235"/>
                  </a:lnTo>
                  <a:lnTo>
                    <a:pt x="27981" y="23235"/>
                  </a:lnTo>
                  <a:lnTo>
                    <a:pt x="27958" y="23506"/>
                  </a:lnTo>
                  <a:lnTo>
                    <a:pt x="27913" y="23823"/>
                  </a:lnTo>
                  <a:lnTo>
                    <a:pt x="27845" y="24116"/>
                  </a:lnTo>
                  <a:lnTo>
                    <a:pt x="27755" y="24455"/>
                  </a:lnTo>
                  <a:lnTo>
                    <a:pt x="27665" y="24795"/>
                  </a:lnTo>
                  <a:lnTo>
                    <a:pt x="27529" y="25134"/>
                  </a:lnTo>
                  <a:lnTo>
                    <a:pt x="27235" y="25879"/>
                  </a:lnTo>
                  <a:lnTo>
                    <a:pt x="26873" y="26648"/>
                  </a:lnTo>
                  <a:lnTo>
                    <a:pt x="26444" y="27439"/>
                  </a:lnTo>
                  <a:lnTo>
                    <a:pt x="25947" y="28275"/>
                  </a:lnTo>
                  <a:lnTo>
                    <a:pt x="25404" y="29134"/>
                  </a:lnTo>
                  <a:lnTo>
                    <a:pt x="24839" y="29993"/>
                  </a:lnTo>
                  <a:lnTo>
                    <a:pt x="24207" y="30897"/>
                  </a:lnTo>
                  <a:lnTo>
                    <a:pt x="23551" y="31801"/>
                  </a:lnTo>
                  <a:lnTo>
                    <a:pt x="22873" y="32705"/>
                  </a:lnTo>
                  <a:lnTo>
                    <a:pt x="22172" y="33609"/>
                  </a:lnTo>
                  <a:lnTo>
                    <a:pt x="21449" y="34513"/>
                  </a:lnTo>
                  <a:lnTo>
                    <a:pt x="19980" y="36299"/>
                  </a:lnTo>
                  <a:lnTo>
                    <a:pt x="18511" y="37994"/>
                  </a:lnTo>
                  <a:lnTo>
                    <a:pt x="17087" y="39598"/>
                  </a:lnTo>
                  <a:lnTo>
                    <a:pt x="15776" y="41045"/>
                  </a:lnTo>
                  <a:lnTo>
                    <a:pt x="14578" y="42333"/>
                  </a:lnTo>
                  <a:lnTo>
                    <a:pt x="12815" y="44186"/>
                  </a:lnTo>
                  <a:lnTo>
                    <a:pt x="12137" y="44865"/>
                  </a:lnTo>
                  <a:lnTo>
                    <a:pt x="12137" y="44865"/>
                  </a:lnTo>
                  <a:lnTo>
                    <a:pt x="11844" y="44910"/>
                  </a:lnTo>
                  <a:lnTo>
                    <a:pt x="11572" y="44910"/>
                  </a:lnTo>
                  <a:lnTo>
                    <a:pt x="11279" y="44910"/>
                  </a:lnTo>
                  <a:lnTo>
                    <a:pt x="11030" y="44887"/>
                  </a:lnTo>
                  <a:lnTo>
                    <a:pt x="10781" y="44842"/>
                  </a:lnTo>
                  <a:lnTo>
                    <a:pt x="10533" y="44797"/>
                  </a:lnTo>
                  <a:lnTo>
                    <a:pt x="10307" y="44729"/>
                  </a:lnTo>
                  <a:lnTo>
                    <a:pt x="10103" y="44661"/>
                  </a:lnTo>
                  <a:lnTo>
                    <a:pt x="9877" y="44571"/>
                  </a:lnTo>
                  <a:lnTo>
                    <a:pt x="9696" y="44458"/>
                  </a:lnTo>
                  <a:lnTo>
                    <a:pt x="9312" y="44232"/>
                  </a:lnTo>
                  <a:lnTo>
                    <a:pt x="8996" y="43983"/>
                  </a:lnTo>
                  <a:lnTo>
                    <a:pt x="8702" y="43712"/>
                  </a:lnTo>
                  <a:lnTo>
                    <a:pt x="8453" y="43418"/>
                  </a:lnTo>
                  <a:lnTo>
                    <a:pt x="8227" y="43124"/>
                  </a:lnTo>
                  <a:lnTo>
                    <a:pt x="8024" y="42830"/>
                  </a:lnTo>
                  <a:lnTo>
                    <a:pt x="7866" y="42559"/>
                  </a:lnTo>
                  <a:lnTo>
                    <a:pt x="7617" y="42085"/>
                  </a:lnTo>
                  <a:lnTo>
                    <a:pt x="7459" y="41768"/>
                  </a:lnTo>
                  <a:lnTo>
                    <a:pt x="7459" y="41768"/>
                  </a:lnTo>
                  <a:lnTo>
                    <a:pt x="7617" y="41429"/>
                  </a:lnTo>
                  <a:lnTo>
                    <a:pt x="7843" y="41045"/>
                  </a:lnTo>
                  <a:lnTo>
                    <a:pt x="8137" y="40638"/>
                  </a:lnTo>
                  <a:lnTo>
                    <a:pt x="8476" y="40186"/>
                  </a:lnTo>
                  <a:lnTo>
                    <a:pt x="8860" y="39689"/>
                  </a:lnTo>
                  <a:lnTo>
                    <a:pt x="9290" y="39169"/>
                  </a:lnTo>
                  <a:lnTo>
                    <a:pt x="10261" y="38016"/>
                  </a:lnTo>
                  <a:lnTo>
                    <a:pt x="11346" y="36796"/>
                  </a:lnTo>
                  <a:lnTo>
                    <a:pt x="12522" y="35508"/>
                  </a:lnTo>
                  <a:lnTo>
                    <a:pt x="14963" y="32773"/>
                  </a:lnTo>
                  <a:lnTo>
                    <a:pt x="16183" y="31394"/>
                  </a:lnTo>
                  <a:lnTo>
                    <a:pt x="17313" y="30038"/>
                  </a:lnTo>
                  <a:lnTo>
                    <a:pt x="17856" y="29383"/>
                  </a:lnTo>
                  <a:lnTo>
                    <a:pt x="18353" y="28727"/>
                  </a:lnTo>
                  <a:lnTo>
                    <a:pt x="18827" y="28094"/>
                  </a:lnTo>
                  <a:lnTo>
                    <a:pt x="19257" y="27484"/>
                  </a:lnTo>
                  <a:lnTo>
                    <a:pt x="19641" y="26896"/>
                  </a:lnTo>
                  <a:lnTo>
                    <a:pt x="20003" y="26331"/>
                  </a:lnTo>
                  <a:lnTo>
                    <a:pt x="20274" y="25789"/>
                  </a:lnTo>
                  <a:lnTo>
                    <a:pt x="20522" y="25269"/>
                  </a:lnTo>
                  <a:lnTo>
                    <a:pt x="20681" y="24817"/>
                  </a:lnTo>
                  <a:lnTo>
                    <a:pt x="20749" y="24591"/>
                  </a:lnTo>
                  <a:lnTo>
                    <a:pt x="20794" y="24365"/>
                  </a:lnTo>
                  <a:lnTo>
                    <a:pt x="20816" y="24162"/>
                  </a:lnTo>
                  <a:lnTo>
                    <a:pt x="20839" y="23981"/>
                  </a:lnTo>
                  <a:lnTo>
                    <a:pt x="20816" y="23777"/>
                  </a:lnTo>
                  <a:lnTo>
                    <a:pt x="20794" y="23619"/>
                  </a:lnTo>
                  <a:lnTo>
                    <a:pt x="20794" y="23619"/>
                  </a:lnTo>
                  <a:lnTo>
                    <a:pt x="20726" y="23438"/>
                  </a:lnTo>
                  <a:lnTo>
                    <a:pt x="20635" y="23235"/>
                  </a:lnTo>
                  <a:lnTo>
                    <a:pt x="20500" y="23054"/>
                  </a:lnTo>
                  <a:lnTo>
                    <a:pt x="20342" y="22873"/>
                  </a:lnTo>
                  <a:lnTo>
                    <a:pt x="20161" y="22670"/>
                  </a:lnTo>
                  <a:lnTo>
                    <a:pt x="19935" y="22489"/>
                  </a:lnTo>
                  <a:lnTo>
                    <a:pt x="19709" y="22286"/>
                  </a:lnTo>
                  <a:lnTo>
                    <a:pt x="19438" y="22105"/>
                  </a:lnTo>
                  <a:lnTo>
                    <a:pt x="18827" y="21698"/>
                  </a:lnTo>
                  <a:lnTo>
                    <a:pt x="18127" y="21291"/>
                  </a:lnTo>
                  <a:lnTo>
                    <a:pt x="17336" y="20862"/>
                  </a:lnTo>
                  <a:lnTo>
                    <a:pt x="16477" y="20410"/>
                  </a:lnTo>
                  <a:lnTo>
                    <a:pt x="14601" y="19483"/>
                  </a:lnTo>
                  <a:lnTo>
                    <a:pt x="12567" y="18489"/>
                  </a:lnTo>
                  <a:lnTo>
                    <a:pt x="11527" y="17969"/>
                  </a:lnTo>
                  <a:lnTo>
                    <a:pt x="10465" y="17426"/>
                  </a:lnTo>
                  <a:lnTo>
                    <a:pt x="9403" y="16839"/>
                  </a:lnTo>
                  <a:lnTo>
                    <a:pt x="8340" y="16251"/>
                  </a:lnTo>
                  <a:lnTo>
                    <a:pt x="7301" y="15641"/>
                  </a:lnTo>
                  <a:lnTo>
                    <a:pt x="6306" y="14986"/>
                  </a:lnTo>
                  <a:lnTo>
                    <a:pt x="5334" y="14330"/>
                  </a:lnTo>
                  <a:lnTo>
                    <a:pt x="4860" y="13991"/>
                  </a:lnTo>
                  <a:lnTo>
                    <a:pt x="4408" y="13629"/>
                  </a:lnTo>
                  <a:lnTo>
                    <a:pt x="3978" y="13268"/>
                  </a:lnTo>
                  <a:lnTo>
                    <a:pt x="3549" y="12906"/>
                  </a:lnTo>
                  <a:lnTo>
                    <a:pt x="3142" y="12522"/>
                  </a:lnTo>
                  <a:lnTo>
                    <a:pt x="2758" y="12160"/>
                  </a:lnTo>
                  <a:lnTo>
                    <a:pt x="2396" y="11754"/>
                  </a:lnTo>
                  <a:lnTo>
                    <a:pt x="2057" y="11369"/>
                  </a:lnTo>
                  <a:lnTo>
                    <a:pt x="1741" y="10962"/>
                  </a:lnTo>
                  <a:lnTo>
                    <a:pt x="1424" y="10533"/>
                  </a:lnTo>
                  <a:lnTo>
                    <a:pt x="1153" y="10126"/>
                  </a:lnTo>
                  <a:lnTo>
                    <a:pt x="904" y="9697"/>
                  </a:lnTo>
                  <a:lnTo>
                    <a:pt x="678" y="9245"/>
                  </a:lnTo>
                  <a:lnTo>
                    <a:pt x="498" y="8815"/>
                  </a:lnTo>
                  <a:lnTo>
                    <a:pt x="339" y="8341"/>
                  </a:lnTo>
                  <a:lnTo>
                    <a:pt x="204" y="7889"/>
                  </a:lnTo>
                  <a:lnTo>
                    <a:pt x="91" y="7414"/>
                  </a:lnTo>
                  <a:lnTo>
                    <a:pt x="23" y="6917"/>
                  </a:lnTo>
                  <a:lnTo>
                    <a:pt x="0" y="6420"/>
                  </a:lnTo>
                  <a:lnTo>
                    <a:pt x="0" y="5922"/>
                  </a:lnTo>
                  <a:lnTo>
                    <a:pt x="46" y="5403"/>
                  </a:lnTo>
                  <a:lnTo>
                    <a:pt x="113" y="4883"/>
                  </a:lnTo>
                  <a:lnTo>
                    <a:pt x="249" y="4363"/>
                  </a:lnTo>
                  <a:lnTo>
                    <a:pt x="407" y="3820"/>
                  </a:lnTo>
                  <a:lnTo>
                    <a:pt x="588" y="3255"/>
                  </a:lnTo>
                  <a:lnTo>
                    <a:pt x="837" y="2690"/>
                  </a:lnTo>
                  <a:lnTo>
                    <a:pt x="837" y="2690"/>
                  </a:lnTo>
                  <a:lnTo>
                    <a:pt x="1040" y="2306"/>
                  </a:lnTo>
                  <a:lnTo>
                    <a:pt x="1311" y="1786"/>
                  </a:lnTo>
                  <a:lnTo>
                    <a:pt x="1469" y="1515"/>
                  </a:lnTo>
                  <a:lnTo>
                    <a:pt x="1673" y="1244"/>
                  </a:lnTo>
                  <a:lnTo>
                    <a:pt x="1899" y="973"/>
                  </a:lnTo>
                  <a:lnTo>
                    <a:pt x="2125" y="724"/>
                  </a:lnTo>
                  <a:lnTo>
                    <a:pt x="2396" y="498"/>
                  </a:lnTo>
                  <a:lnTo>
                    <a:pt x="2690" y="295"/>
                  </a:lnTo>
                  <a:lnTo>
                    <a:pt x="2848" y="227"/>
                  </a:lnTo>
                  <a:lnTo>
                    <a:pt x="3029" y="136"/>
                  </a:lnTo>
                  <a:lnTo>
                    <a:pt x="3187" y="91"/>
                  </a:lnTo>
                  <a:lnTo>
                    <a:pt x="3368" y="46"/>
                  </a:lnTo>
                  <a:lnTo>
                    <a:pt x="3549" y="23"/>
                  </a:lnTo>
                  <a:lnTo>
                    <a:pt x="3752" y="1"/>
                  </a:lnTo>
                  <a:lnTo>
                    <a:pt x="3956" y="1"/>
                  </a:lnTo>
                  <a:lnTo>
                    <a:pt x="4159" y="23"/>
                  </a:lnTo>
                  <a:lnTo>
                    <a:pt x="4362" y="69"/>
                  </a:lnTo>
                  <a:lnTo>
                    <a:pt x="4588" y="114"/>
                  </a:lnTo>
                  <a:lnTo>
                    <a:pt x="4814" y="204"/>
                  </a:lnTo>
                  <a:lnTo>
                    <a:pt x="5063" y="317"/>
                  </a:lnTo>
                  <a:lnTo>
                    <a:pt x="5063" y="317"/>
                  </a:lnTo>
                  <a:lnTo>
                    <a:pt x="5538" y="543"/>
                  </a:lnTo>
                  <a:lnTo>
                    <a:pt x="5990" y="792"/>
                  </a:lnTo>
                  <a:lnTo>
                    <a:pt x="6397" y="1018"/>
                  </a:lnTo>
                  <a:lnTo>
                    <a:pt x="6781" y="1266"/>
                  </a:lnTo>
                  <a:lnTo>
                    <a:pt x="7120" y="1515"/>
                  </a:lnTo>
                  <a:lnTo>
                    <a:pt x="7459" y="1741"/>
                  </a:lnTo>
                  <a:lnTo>
                    <a:pt x="7730" y="1990"/>
                  </a:lnTo>
                  <a:lnTo>
                    <a:pt x="8001" y="2216"/>
                  </a:lnTo>
                  <a:lnTo>
                    <a:pt x="8250" y="2464"/>
                  </a:lnTo>
                  <a:lnTo>
                    <a:pt x="8476" y="2690"/>
                  </a:lnTo>
                  <a:lnTo>
                    <a:pt x="8679" y="2939"/>
                  </a:lnTo>
                  <a:lnTo>
                    <a:pt x="8860" y="3165"/>
                  </a:lnTo>
                  <a:lnTo>
                    <a:pt x="9199" y="3662"/>
                  </a:lnTo>
                  <a:lnTo>
                    <a:pt x="9493" y="4137"/>
                  </a:lnTo>
                  <a:lnTo>
                    <a:pt x="9764" y="4634"/>
                  </a:lnTo>
                  <a:lnTo>
                    <a:pt x="10013" y="5131"/>
                  </a:lnTo>
                  <a:lnTo>
                    <a:pt x="10284" y="5651"/>
                  </a:lnTo>
                  <a:lnTo>
                    <a:pt x="10578" y="6171"/>
                  </a:lnTo>
                  <a:lnTo>
                    <a:pt x="10894" y="6691"/>
                  </a:lnTo>
                  <a:lnTo>
                    <a:pt x="11301" y="7233"/>
                  </a:lnTo>
                  <a:lnTo>
                    <a:pt x="11505" y="7504"/>
                  </a:lnTo>
                  <a:lnTo>
                    <a:pt x="11753" y="7776"/>
                  </a:lnTo>
                  <a:lnTo>
                    <a:pt x="12024" y="8069"/>
                  </a:lnTo>
                  <a:lnTo>
                    <a:pt x="12318" y="834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12" name="Google Shape;1812;p16"/>
            <p:cNvSpPr/>
            <p:nvPr/>
          </p:nvSpPr>
          <p:spPr>
            <a:xfrm>
              <a:off x="2726525" y="1952025"/>
              <a:ext cx="305150" cy="541325"/>
            </a:xfrm>
            <a:custGeom>
              <a:avLst/>
              <a:gdLst/>
              <a:ahLst/>
              <a:cxnLst/>
              <a:rect l="l" t="t" r="r" b="b"/>
              <a:pathLst>
                <a:path w="12206" h="21653" extrusionOk="0">
                  <a:moveTo>
                    <a:pt x="11686" y="0"/>
                  </a:moveTo>
                  <a:lnTo>
                    <a:pt x="11618" y="23"/>
                  </a:lnTo>
                  <a:lnTo>
                    <a:pt x="11550" y="46"/>
                  </a:lnTo>
                  <a:lnTo>
                    <a:pt x="11505" y="113"/>
                  </a:lnTo>
                  <a:lnTo>
                    <a:pt x="11437" y="204"/>
                  </a:lnTo>
                  <a:lnTo>
                    <a:pt x="11414" y="317"/>
                  </a:lnTo>
                  <a:lnTo>
                    <a:pt x="11369" y="475"/>
                  </a:lnTo>
                  <a:lnTo>
                    <a:pt x="11369" y="678"/>
                  </a:lnTo>
                  <a:lnTo>
                    <a:pt x="11324" y="837"/>
                  </a:lnTo>
                  <a:lnTo>
                    <a:pt x="11234" y="1085"/>
                  </a:lnTo>
                  <a:lnTo>
                    <a:pt x="10849" y="1854"/>
                  </a:lnTo>
                  <a:lnTo>
                    <a:pt x="10284" y="2916"/>
                  </a:lnTo>
                  <a:lnTo>
                    <a:pt x="9561" y="4227"/>
                  </a:lnTo>
                  <a:lnTo>
                    <a:pt x="7753" y="7436"/>
                  </a:lnTo>
                  <a:lnTo>
                    <a:pt x="5674" y="11030"/>
                  </a:lnTo>
                  <a:lnTo>
                    <a:pt x="3594" y="14623"/>
                  </a:lnTo>
                  <a:lnTo>
                    <a:pt x="1786" y="17788"/>
                  </a:lnTo>
                  <a:lnTo>
                    <a:pt x="1063" y="19098"/>
                  </a:lnTo>
                  <a:lnTo>
                    <a:pt x="498" y="20161"/>
                  </a:lnTo>
                  <a:lnTo>
                    <a:pt x="136" y="20907"/>
                  </a:lnTo>
                  <a:lnTo>
                    <a:pt x="46" y="21155"/>
                  </a:lnTo>
                  <a:lnTo>
                    <a:pt x="1" y="21291"/>
                  </a:lnTo>
                  <a:lnTo>
                    <a:pt x="23" y="21381"/>
                  </a:lnTo>
                  <a:lnTo>
                    <a:pt x="46" y="21449"/>
                  </a:lnTo>
                  <a:lnTo>
                    <a:pt x="91" y="21517"/>
                  </a:lnTo>
                  <a:lnTo>
                    <a:pt x="159" y="21562"/>
                  </a:lnTo>
                  <a:lnTo>
                    <a:pt x="227" y="21607"/>
                  </a:lnTo>
                  <a:lnTo>
                    <a:pt x="317" y="21630"/>
                  </a:lnTo>
                  <a:lnTo>
                    <a:pt x="543" y="21652"/>
                  </a:lnTo>
                  <a:lnTo>
                    <a:pt x="792" y="21652"/>
                  </a:lnTo>
                  <a:lnTo>
                    <a:pt x="1108" y="21607"/>
                  </a:lnTo>
                  <a:lnTo>
                    <a:pt x="1447" y="21539"/>
                  </a:lnTo>
                  <a:lnTo>
                    <a:pt x="1786" y="21449"/>
                  </a:lnTo>
                  <a:lnTo>
                    <a:pt x="2532" y="21223"/>
                  </a:lnTo>
                  <a:lnTo>
                    <a:pt x="3278" y="20997"/>
                  </a:lnTo>
                  <a:lnTo>
                    <a:pt x="3956" y="20816"/>
                  </a:lnTo>
                  <a:lnTo>
                    <a:pt x="4272" y="20748"/>
                  </a:lnTo>
                  <a:lnTo>
                    <a:pt x="4521" y="20703"/>
                  </a:lnTo>
                  <a:lnTo>
                    <a:pt x="4657" y="20681"/>
                  </a:lnTo>
                  <a:lnTo>
                    <a:pt x="4770" y="20613"/>
                  </a:lnTo>
                  <a:lnTo>
                    <a:pt x="4905" y="20500"/>
                  </a:lnTo>
                  <a:lnTo>
                    <a:pt x="5063" y="20342"/>
                  </a:lnTo>
                  <a:lnTo>
                    <a:pt x="5199" y="20161"/>
                  </a:lnTo>
                  <a:lnTo>
                    <a:pt x="5357" y="19935"/>
                  </a:lnTo>
                  <a:lnTo>
                    <a:pt x="5674" y="19392"/>
                  </a:lnTo>
                  <a:lnTo>
                    <a:pt x="6013" y="18759"/>
                  </a:lnTo>
                  <a:lnTo>
                    <a:pt x="6352" y="18036"/>
                  </a:lnTo>
                  <a:lnTo>
                    <a:pt x="6736" y="17245"/>
                  </a:lnTo>
                  <a:lnTo>
                    <a:pt x="7098" y="16386"/>
                  </a:lnTo>
                  <a:lnTo>
                    <a:pt x="7866" y="14578"/>
                  </a:lnTo>
                  <a:lnTo>
                    <a:pt x="8657" y="12747"/>
                  </a:lnTo>
                  <a:lnTo>
                    <a:pt x="9064" y="11889"/>
                  </a:lnTo>
                  <a:lnTo>
                    <a:pt x="9448" y="11052"/>
                  </a:lnTo>
                  <a:lnTo>
                    <a:pt x="9832" y="10284"/>
                  </a:lnTo>
                  <a:lnTo>
                    <a:pt x="10217" y="9606"/>
                  </a:lnTo>
                  <a:lnTo>
                    <a:pt x="10397" y="9244"/>
                  </a:lnTo>
                  <a:lnTo>
                    <a:pt x="10601" y="8815"/>
                  </a:lnTo>
                  <a:lnTo>
                    <a:pt x="10804" y="8272"/>
                  </a:lnTo>
                  <a:lnTo>
                    <a:pt x="11008" y="7685"/>
                  </a:lnTo>
                  <a:lnTo>
                    <a:pt x="11188" y="7052"/>
                  </a:lnTo>
                  <a:lnTo>
                    <a:pt x="11369" y="6374"/>
                  </a:lnTo>
                  <a:lnTo>
                    <a:pt x="11550" y="5673"/>
                  </a:lnTo>
                  <a:lnTo>
                    <a:pt x="11708" y="4973"/>
                  </a:lnTo>
                  <a:lnTo>
                    <a:pt x="11866" y="4249"/>
                  </a:lnTo>
                  <a:lnTo>
                    <a:pt x="11980" y="3549"/>
                  </a:lnTo>
                  <a:lnTo>
                    <a:pt x="12093" y="2871"/>
                  </a:lnTo>
                  <a:lnTo>
                    <a:pt x="12160" y="2215"/>
                  </a:lnTo>
                  <a:lnTo>
                    <a:pt x="12206" y="1605"/>
                  </a:lnTo>
                  <a:lnTo>
                    <a:pt x="12206" y="1063"/>
                  </a:lnTo>
                  <a:lnTo>
                    <a:pt x="12160" y="588"/>
                  </a:lnTo>
                  <a:lnTo>
                    <a:pt x="12138" y="385"/>
                  </a:lnTo>
                  <a:lnTo>
                    <a:pt x="12093" y="204"/>
                  </a:lnTo>
                  <a:lnTo>
                    <a:pt x="11980" y="113"/>
                  </a:lnTo>
                  <a:lnTo>
                    <a:pt x="11866" y="46"/>
                  </a:lnTo>
                  <a:lnTo>
                    <a:pt x="11731" y="0"/>
                  </a:lnTo>
                  <a:close/>
                </a:path>
              </a:pathLst>
            </a:custGeom>
            <a:solidFill>
              <a:srgbClr val="E98B2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13" name="Google Shape;1813;p16"/>
            <p:cNvSpPr/>
            <p:nvPr/>
          </p:nvSpPr>
          <p:spPr>
            <a:xfrm>
              <a:off x="2726525" y="1952025"/>
              <a:ext cx="305150" cy="541325"/>
            </a:xfrm>
            <a:custGeom>
              <a:avLst/>
              <a:gdLst/>
              <a:ahLst/>
              <a:cxnLst/>
              <a:rect l="l" t="t" r="r" b="b"/>
              <a:pathLst>
                <a:path w="12206" h="21653" fill="none" extrusionOk="0">
                  <a:moveTo>
                    <a:pt x="12093" y="204"/>
                  </a:moveTo>
                  <a:lnTo>
                    <a:pt x="12093" y="204"/>
                  </a:lnTo>
                  <a:lnTo>
                    <a:pt x="12138" y="385"/>
                  </a:lnTo>
                  <a:lnTo>
                    <a:pt x="12160" y="588"/>
                  </a:lnTo>
                  <a:lnTo>
                    <a:pt x="12206" y="1063"/>
                  </a:lnTo>
                  <a:lnTo>
                    <a:pt x="12206" y="1605"/>
                  </a:lnTo>
                  <a:lnTo>
                    <a:pt x="12160" y="2215"/>
                  </a:lnTo>
                  <a:lnTo>
                    <a:pt x="12093" y="2871"/>
                  </a:lnTo>
                  <a:lnTo>
                    <a:pt x="11980" y="3549"/>
                  </a:lnTo>
                  <a:lnTo>
                    <a:pt x="11866" y="4249"/>
                  </a:lnTo>
                  <a:lnTo>
                    <a:pt x="11708" y="4973"/>
                  </a:lnTo>
                  <a:lnTo>
                    <a:pt x="11550" y="5673"/>
                  </a:lnTo>
                  <a:lnTo>
                    <a:pt x="11369" y="6374"/>
                  </a:lnTo>
                  <a:lnTo>
                    <a:pt x="11188" y="7052"/>
                  </a:lnTo>
                  <a:lnTo>
                    <a:pt x="11008" y="7685"/>
                  </a:lnTo>
                  <a:lnTo>
                    <a:pt x="10804" y="8272"/>
                  </a:lnTo>
                  <a:lnTo>
                    <a:pt x="10601" y="8815"/>
                  </a:lnTo>
                  <a:lnTo>
                    <a:pt x="10397" y="9244"/>
                  </a:lnTo>
                  <a:lnTo>
                    <a:pt x="10217" y="9606"/>
                  </a:lnTo>
                  <a:lnTo>
                    <a:pt x="10217" y="9606"/>
                  </a:lnTo>
                  <a:lnTo>
                    <a:pt x="9832" y="10284"/>
                  </a:lnTo>
                  <a:lnTo>
                    <a:pt x="9448" y="11052"/>
                  </a:lnTo>
                  <a:lnTo>
                    <a:pt x="9064" y="11889"/>
                  </a:lnTo>
                  <a:lnTo>
                    <a:pt x="8657" y="12747"/>
                  </a:lnTo>
                  <a:lnTo>
                    <a:pt x="7866" y="14578"/>
                  </a:lnTo>
                  <a:lnTo>
                    <a:pt x="7098" y="16386"/>
                  </a:lnTo>
                  <a:lnTo>
                    <a:pt x="6736" y="17245"/>
                  </a:lnTo>
                  <a:lnTo>
                    <a:pt x="6352" y="18036"/>
                  </a:lnTo>
                  <a:lnTo>
                    <a:pt x="6013" y="18759"/>
                  </a:lnTo>
                  <a:lnTo>
                    <a:pt x="5674" y="19392"/>
                  </a:lnTo>
                  <a:lnTo>
                    <a:pt x="5357" y="19935"/>
                  </a:lnTo>
                  <a:lnTo>
                    <a:pt x="5199" y="20161"/>
                  </a:lnTo>
                  <a:lnTo>
                    <a:pt x="5063" y="20342"/>
                  </a:lnTo>
                  <a:lnTo>
                    <a:pt x="4905" y="20500"/>
                  </a:lnTo>
                  <a:lnTo>
                    <a:pt x="4770" y="20613"/>
                  </a:lnTo>
                  <a:lnTo>
                    <a:pt x="4657" y="20681"/>
                  </a:lnTo>
                  <a:lnTo>
                    <a:pt x="4521" y="20703"/>
                  </a:lnTo>
                  <a:lnTo>
                    <a:pt x="4521" y="20703"/>
                  </a:lnTo>
                  <a:lnTo>
                    <a:pt x="4272" y="20748"/>
                  </a:lnTo>
                  <a:lnTo>
                    <a:pt x="3956" y="20816"/>
                  </a:lnTo>
                  <a:lnTo>
                    <a:pt x="3278" y="20997"/>
                  </a:lnTo>
                  <a:lnTo>
                    <a:pt x="2532" y="21223"/>
                  </a:lnTo>
                  <a:lnTo>
                    <a:pt x="1786" y="21449"/>
                  </a:lnTo>
                  <a:lnTo>
                    <a:pt x="1447" y="21539"/>
                  </a:lnTo>
                  <a:lnTo>
                    <a:pt x="1108" y="21607"/>
                  </a:lnTo>
                  <a:lnTo>
                    <a:pt x="792" y="21652"/>
                  </a:lnTo>
                  <a:lnTo>
                    <a:pt x="543" y="21652"/>
                  </a:lnTo>
                  <a:lnTo>
                    <a:pt x="317" y="21630"/>
                  </a:lnTo>
                  <a:lnTo>
                    <a:pt x="227" y="21607"/>
                  </a:lnTo>
                  <a:lnTo>
                    <a:pt x="159" y="21562"/>
                  </a:lnTo>
                  <a:lnTo>
                    <a:pt x="91" y="21517"/>
                  </a:lnTo>
                  <a:lnTo>
                    <a:pt x="46" y="21449"/>
                  </a:lnTo>
                  <a:lnTo>
                    <a:pt x="23" y="21381"/>
                  </a:lnTo>
                  <a:lnTo>
                    <a:pt x="1" y="21291"/>
                  </a:lnTo>
                  <a:lnTo>
                    <a:pt x="1" y="21291"/>
                  </a:lnTo>
                  <a:lnTo>
                    <a:pt x="46" y="21155"/>
                  </a:lnTo>
                  <a:lnTo>
                    <a:pt x="136" y="20907"/>
                  </a:lnTo>
                  <a:lnTo>
                    <a:pt x="498" y="20161"/>
                  </a:lnTo>
                  <a:lnTo>
                    <a:pt x="1063" y="19098"/>
                  </a:lnTo>
                  <a:lnTo>
                    <a:pt x="1786" y="17788"/>
                  </a:lnTo>
                  <a:lnTo>
                    <a:pt x="3594" y="14623"/>
                  </a:lnTo>
                  <a:lnTo>
                    <a:pt x="5674" y="11030"/>
                  </a:lnTo>
                  <a:lnTo>
                    <a:pt x="7753" y="7436"/>
                  </a:lnTo>
                  <a:lnTo>
                    <a:pt x="9561" y="4227"/>
                  </a:lnTo>
                  <a:lnTo>
                    <a:pt x="10284" y="2916"/>
                  </a:lnTo>
                  <a:lnTo>
                    <a:pt x="10849" y="1854"/>
                  </a:lnTo>
                  <a:lnTo>
                    <a:pt x="11234" y="1085"/>
                  </a:lnTo>
                  <a:lnTo>
                    <a:pt x="11324" y="837"/>
                  </a:lnTo>
                  <a:lnTo>
                    <a:pt x="11369" y="678"/>
                  </a:lnTo>
                  <a:lnTo>
                    <a:pt x="11369" y="678"/>
                  </a:lnTo>
                  <a:lnTo>
                    <a:pt x="11369" y="475"/>
                  </a:lnTo>
                  <a:lnTo>
                    <a:pt x="11414" y="317"/>
                  </a:lnTo>
                  <a:lnTo>
                    <a:pt x="11437" y="204"/>
                  </a:lnTo>
                  <a:lnTo>
                    <a:pt x="11505" y="113"/>
                  </a:lnTo>
                  <a:lnTo>
                    <a:pt x="11550" y="46"/>
                  </a:lnTo>
                  <a:lnTo>
                    <a:pt x="11618" y="23"/>
                  </a:lnTo>
                  <a:lnTo>
                    <a:pt x="11686" y="0"/>
                  </a:lnTo>
                  <a:lnTo>
                    <a:pt x="11731" y="0"/>
                  </a:lnTo>
                  <a:lnTo>
                    <a:pt x="11866" y="46"/>
                  </a:lnTo>
                  <a:lnTo>
                    <a:pt x="11980" y="113"/>
                  </a:lnTo>
                  <a:lnTo>
                    <a:pt x="12093" y="20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14" name="Google Shape;1814;p16"/>
            <p:cNvSpPr/>
            <p:nvPr/>
          </p:nvSpPr>
          <p:spPr>
            <a:xfrm>
              <a:off x="2726525" y="1953150"/>
              <a:ext cx="305150" cy="540200"/>
            </a:xfrm>
            <a:custGeom>
              <a:avLst/>
              <a:gdLst/>
              <a:ahLst/>
              <a:cxnLst/>
              <a:rect l="l" t="t" r="r" b="b"/>
              <a:pathLst>
                <a:path w="12206" h="21608" extrusionOk="0">
                  <a:moveTo>
                    <a:pt x="11866" y="1"/>
                  </a:moveTo>
                  <a:lnTo>
                    <a:pt x="11866" y="68"/>
                  </a:lnTo>
                  <a:lnTo>
                    <a:pt x="11866" y="159"/>
                  </a:lnTo>
                  <a:lnTo>
                    <a:pt x="11753" y="792"/>
                  </a:lnTo>
                  <a:lnTo>
                    <a:pt x="11640" y="1424"/>
                  </a:lnTo>
                  <a:lnTo>
                    <a:pt x="11482" y="2057"/>
                  </a:lnTo>
                  <a:lnTo>
                    <a:pt x="11301" y="2713"/>
                  </a:lnTo>
                  <a:lnTo>
                    <a:pt x="11121" y="3346"/>
                  </a:lnTo>
                  <a:lnTo>
                    <a:pt x="10895" y="4001"/>
                  </a:lnTo>
                  <a:lnTo>
                    <a:pt x="10669" y="4634"/>
                  </a:lnTo>
                  <a:lnTo>
                    <a:pt x="10420" y="5289"/>
                  </a:lnTo>
                  <a:lnTo>
                    <a:pt x="10149" y="5922"/>
                  </a:lnTo>
                  <a:lnTo>
                    <a:pt x="9855" y="6555"/>
                  </a:lnTo>
                  <a:lnTo>
                    <a:pt x="9561" y="7188"/>
                  </a:lnTo>
                  <a:lnTo>
                    <a:pt x="9245" y="7798"/>
                  </a:lnTo>
                  <a:lnTo>
                    <a:pt x="8589" y="9041"/>
                  </a:lnTo>
                  <a:lnTo>
                    <a:pt x="7911" y="10239"/>
                  </a:lnTo>
                  <a:lnTo>
                    <a:pt x="8002" y="10804"/>
                  </a:lnTo>
                  <a:lnTo>
                    <a:pt x="8137" y="11369"/>
                  </a:lnTo>
                  <a:lnTo>
                    <a:pt x="8341" y="12002"/>
                  </a:lnTo>
                  <a:lnTo>
                    <a:pt x="8657" y="12725"/>
                  </a:lnTo>
                  <a:lnTo>
                    <a:pt x="9041" y="11844"/>
                  </a:lnTo>
                  <a:lnTo>
                    <a:pt x="9448" y="11030"/>
                  </a:lnTo>
                  <a:lnTo>
                    <a:pt x="9832" y="10262"/>
                  </a:lnTo>
                  <a:lnTo>
                    <a:pt x="10217" y="9561"/>
                  </a:lnTo>
                  <a:lnTo>
                    <a:pt x="10375" y="9267"/>
                  </a:lnTo>
                  <a:lnTo>
                    <a:pt x="10533" y="8905"/>
                  </a:lnTo>
                  <a:lnTo>
                    <a:pt x="10714" y="8476"/>
                  </a:lnTo>
                  <a:lnTo>
                    <a:pt x="10872" y="8001"/>
                  </a:lnTo>
                  <a:lnTo>
                    <a:pt x="11211" y="6962"/>
                  </a:lnTo>
                  <a:lnTo>
                    <a:pt x="11527" y="5786"/>
                  </a:lnTo>
                  <a:lnTo>
                    <a:pt x="11799" y="4566"/>
                  </a:lnTo>
                  <a:lnTo>
                    <a:pt x="11912" y="3978"/>
                  </a:lnTo>
                  <a:lnTo>
                    <a:pt x="12002" y="3368"/>
                  </a:lnTo>
                  <a:lnTo>
                    <a:pt x="12093" y="2803"/>
                  </a:lnTo>
                  <a:lnTo>
                    <a:pt x="12160" y="2238"/>
                  </a:lnTo>
                  <a:lnTo>
                    <a:pt x="12183" y="1718"/>
                  </a:lnTo>
                  <a:lnTo>
                    <a:pt x="12206" y="1244"/>
                  </a:lnTo>
                  <a:lnTo>
                    <a:pt x="12183" y="927"/>
                  </a:lnTo>
                  <a:lnTo>
                    <a:pt x="12183" y="633"/>
                  </a:lnTo>
                  <a:lnTo>
                    <a:pt x="12138" y="385"/>
                  </a:lnTo>
                  <a:lnTo>
                    <a:pt x="12093" y="159"/>
                  </a:lnTo>
                  <a:lnTo>
                    <a:pt x="12025" y="114"/>
                  </a:lnTo>
                  <a:lnTo>
                    <a:pt x="11866" y="1"/>
                  </a:lnTo>
                  <a:close/>
                  <a:moveTo>
                    <a:pt x="4837" y="14850"/>
                  </a:moveTo>
                  <a:lnTo>
                    <a:pt x="4114" y="15821"/>
                  </a:lnTo>
                  <a:lnTo>
                    <a:pt x="3414" y="16703"/>
                  </a:lnTo>
                  <a:lnTo>
                    <a:pt x="2781" y="17494"/>
                  </a:lnTo>
                  <a:lnTo>
                    <a:pt x="2193" y="18195"/>
                  </a:lnTo>
                  <a:lnTo>
                    <a:pt x="1673" y="18782"/>
                  </a:lnTo>
                  <a:lnTo>
                    <a:pt x="1244" y="19234"/>
                  </a:lnTo>
                  <a:lnTo>
                    <a:pt x="882" y="19596"/>
                  </a:lnTo>
                  <a:lnTo>
                    <a:pt x="656" y="19799"/>
                  </a:lnTo>
                  <a:lnTo>
                    <a:pt x="385" y="20342"/>
                  </a:lnTo>
                  <a:lnTo>
                    <a:pt x="182" y="20771"/>
                  </a:lnTo>
                  <a:lnTo>
                    <a:pt x="46" y="21065"/>
                  </a:lnTo>
                  <a:lnTo>
                    <a:pt x="1" y="21246"/>
                  </a:lnTo>
                  <a:lnTo>
                    <a:pt x="23" y="21336"/>
                  </a:lnTo>
                  <a:lnTo>
                    <a:pt x="46" y="21427"/>
                  </a:lnTo>
                  <a:lnTo>
                    <a:pt x="91" y="21472"/>
                  </a:lnTo>
                  <a:lnTo>
                    <a:pt x="159" y="21540"/>
                  </a:lnTo>
                  <a:lnTo>
                    <a:pt x="249" y="21562"/>
                  </a:lnTo>
                  <a:lnTo>
                    <a:pt x="340" y="21585"/>
                  </a:lnTo>
                  <a:lnTo>
                    <a:pt x="566" y="21607"/>
                  </a:lnTo>
                  <a:lnTo>
                    <a:pt x="747" y="21607"/>
                  </a:lnTo>
                  <a:lnTo>
                    <a:pt x="973" y="21585"/>
                  </a:lnTo>
                  <a:lnTo>
                    <a:pt x="1470" y="21472"/>
                  </a:lnTo>
                  <a:lnTo>
                    <a:pt x="1990" y="21336"/>
                  </a:lnTo>
                  <a:lnTo>
                    <a:pt x="2555" y="21178"/>
                  </a:lnTo>
                  <a:lnTo>
                    <a:pt x="3640" y="20862"/>
                  </a:lnTo>
                  <a:lnTo>
                    <a:pt x="4114" y="20749"/>
                  </a:lnTo>
                  <a:lnTo>
                    <a:pt x="4521" y="20658"/>
                  </a:lnTo>
                  <a:lnTo>
                    <a:pt x="4634" y="20636"/>
                  </a:lnTo>
                  <a:lnTo>
                    <a:pt x="4724" y="20590"/>
                  </a:lnTo>
                  <a:lnTo>
                    <a:pt x="4837" y="20500"/>
                  </a:lnTo>
                  <a:lnTo>
                    <a:pt x="4950" y="20387"/>
                  </a:lnTo>
                  <a:lnTo>
                    <a:pt x="5199" y="20093"/>
                  </a:lnTo>
                  <a:lnTo>
                    <a:pt x="5470" y="19709"/>
                  </a:lnTo>
                  <a:lnTo>
                    <a:pt x="5742" y="19234"/>
                  </a:lnTo>
                  <a:lnTo>
                    <a:pt x="6013" y="18692"/>
                  </a:lnTo>
                  <a:lnTo>
                    <a:pt x="6307" y="18082"/>
                  </a:lnTo>
                  <a:lnTo>
                    <a:pt x="6623" y="17426"/>
                  </a:lnTo>
                  <a:lnTo>
                    <a:pt x="6397" y="17155"/>
                  </a:lnTo>
                  <a:lnTo>
                    <a:pt x="6171" y="16884"/>
                  </a:lnTo>
                  <a:lnTo>
                    <a:pt x="5922" y="16590"/>
                  </a:lnTo>
                  <a:lnTo>
                    <a:pt x="5719" y="16274"/>
                  </a:lnTo>
                  <a:lnTo>
                    <a:pt x="5267" y="15595"/>
                  </a:lnTo>
                  <a:lnTo>
                    <a:pt x="4837" y="14850"/>
                  </a:lnTo>
                  <a:close/>
                </a:path>
              </a:pathLst>
            </a:custGeom>
            <a:solidFill>
              <a:srgbClr val="98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15" name="Google Shape;1815;p16"/>
            <p:cNvSpPr/>
            <p:nvPr/>
          </p:nvSpPr>
          <p:spPr>
            <a:xfrm>
              <a:off x="2726525" y="2324375"/>
              <a:ext cx="165575" cy="168975"/>
            </a:xfrm>
            <a:custGeom>
              <a:avLst/>
              <a:gdLst/>
              <a:ahLst/>
              <a:cxnLst/>
              <a:rect l="l" t="t" r="r" b="b"/>
              <a:pathLst>
                <a:path w="6623" h="6759" fill="none" extrusionOk="0">
                  <a:moveTo>
                    <a:pt x="4837" y="1"/>
                  </a:moveTo>
                  <a:lnTo>
                    <a:pt x="4837" y="1"/>
                  </a:lnTo>
                  <a:lnTo>
                    <a:pt x="4114" y="972"/>
                  </a:lnTo>
                  <a:lnTo>
                    <a:pt x="3414" y="1854"/>
                  </a:lnTo>
                  <a:lnTo>
                    <a:pt x="2781" y="2645"/>
                  </a:lnTo>
                  <a:lnTo>
                    <a:pt x="2193" y="3346"/>
                  </a:lnTo>
                  <a:lnTo>
                    <a:pt x="1673" y="3933"/>
                  </a:lnTo>
                  <a:lnTo>
                    <a:pt x="1244" y="4385"/>
                  </a:lnTo>
                  <a:lnTo>
                    <a:pt x="882" y="4747"/>
                  </a:lnTo>
                  <a:lnTo>
                    <a:pt x="656" y="4950"/>
                  </a:lnTo>
                  <a:lnTo>
                    <a:pt x="656" y="4950"/>
                  </a:lnTo>
                  <a:lnTo>
                    <a:pt x="385" y="5493"/>
                  </a:lnTo>
                  <a:lnTo>
                    <a:pt x="182" y="5922"/>
                  </a:lnTo>
                  <a:lnTo>
                    <a:pt x="46" y="6216"/>
                  </a:lnTo>
                  <a:lnTo>
                    <a:pt x="1" y="6397"/>
                  </a:lnTo>
                  <a:lnTo>
                    <a:pt x="1" y="6397"/>
                  </a:lnTo>
                  <a:lnTo>
                    <a:pt x="23" y="6487"/>
                  </a:lnTo>
                  <a:lnTo>
                    <a:pt x="46" y="6578"/>
                  </a:lnTo>
                  <a:lnTo>
                    <a:pt x="91" y="6623"/>
                  </a:lnTo>
                  <a:lnTo>
                    <a:pt x="159" y="6691"/>
                  </a:lnTo>
                  <a:lnTo>
                    <a:pt x="249" y="6713"/>
                  </a:lnTo>
                  <a:lnTo>
                    <a:pt x="340" y="6736"/>
                  </a:lnTo>
                  <a:lnTo>
                    <a:pt x="566" y="6758"/>
                  </a:lnTo>
                  <a:lnTo>
                    <a:pt x="566" y="6758"/>
                  </a:lnTo>
                  <a:lnTo>
                    <a:pt x="747" y="6758"/>
                  </a:lnTo>
                  <a:lnTo>
                    <a:pt x="973" y="6736"/>
                  </a:lnTo>
                  <a:lnTo>
                    <a:pt x="1470" y="6623"/>
                  </a:lnTo>
                  <a:lnTo>
                    <a:pt x="1990" y="6487"/>
                  </a:lnTo>
                  <a:lnTo>
                    <a:pt x="2555" y="6329"/>
                  </a:lnTo>
                  <a:lnTo>
                    <a:pt x="3640" y="6013"/>
                  </a:lnTo>
                  <a:lnTo>
                    <a:pt x="4114" y="5900"/>
                  </a:lnTo>
                  <a:lnTo>
                    <a:pt x="4521" y="5809"/>
                  </a:lnTo>
                  <a:lnTo>
                    <a:pt x="4521" y="5809"/>
                  </a:lnTo>
                  <a:lnTo>
                    <a:pt x="4634" y="5787"/>
                  </a:lnTo>
                  <a:lnTo>
                    <a:pt x="4724" y="5741"/>
                  </a:lnTo>
                  <a:lnTo>
                    <a:pt x="4837" y="5651"/>
                  </a:lnTo>
                  <a:lnTo>
                    <a:pt x="4950" y="5538"/>
                  </a:lnTo>
                  <a:lnTo>
                    <a:pt x="5199" y="5244"/>
                  </a:lnTo>
                  <a:lnTo>
                    <a:pt x="5470" y="4860"/>
                  </a:lnTo>
                  <a:lnTo>
                    <a:pt x="5742" y="4385"/>
                  </a:lnTo>
                  <a:lnTo>
                    <a:pt x="6013" y="3843"/>
                  </a:lnTo>
                  <a:lnTo>
                    <a:pt x="6307" y="3233"/>
                  </a:lnTo>
                  <a:lnTo>
                    <a:pt x="6623" y="2577"/>
                  </a:lnTo>
                  <a:lnTo>
                    <a:pt x="6623" y="2577"/>
                  </a:lnTo>
                  <a:lnTo>
                    <a:pt x="6397" y="2306"/>
                  </a:lnTo>
                  <a:lnTo>
                    <a:pt x="6171" y="2035"/>
                  </a:lnTo>
                  <a:lnTo>
                    <a:pt x="5922" y="1741"/>
                  </a:lnTo>
                  <a:lnTo>
                    <a:pt x="5719" y="1425"/>
                  </a:lnTo>
                  <a:lnTo>
                    <a:pt x="5267" y="746"/>
                  </a:lnTo>
                  <a:lnTo>
                    <a:pt x="483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16" name="Google Shape;1816;p16"/>
            <p:cNvSpPr/>
            <p:nvPr/>
          </p:nvSpPr>
          <p:spPr>
            <a:xfrm>
              <a:off x="2924300" y="1953150"/>
              <a:ext cx="107375" cy="318150"/>
            </a:xfrm>
            <a:custGeom>
              <a:avLst/>
              <a:gdLst/>
              <a:ahLst/>
              <a:cxnLst/>
              <a:rect l="l" t="t" r="r" b="b"/>
              <a:pathLst>
                <a:path w="4295" h="12726" fill="none" extrusionOk="0">
                  <a:moveTo>
                    <a:pt x="3955" y="1"/>
                  </a:moveTo>
                  <a:lnTo>
                    <a:pt x="3955" y="1"/>
                  </a:lnTo>
                  <a:lnTo>
                    <a:pt x="3955" y="68"/>
                  </a:lnTo>
                  <a:lnTo>
                    <a:pt x="3955" y="159"/>
                  </a:lnTo>
                  <a:lnTo>
                    <a:pt x="3955" y="159"/>
                  </a:lnTo>
                  <a:lnTo>
                    <a:pt x="3842" y="792"/>
                  </a:lnTo>
                  <a:lnTo>
                    <a:pt x="3729" y="1424"/>
                  </a:lnTo>
                  <a:lnTo>
                    <a:pt x="3571" y="2057"/>
                  </a:lnTo>
                  <a:lnTo>
                    <a:pt x="3390" y="2713"/>
                  </a:lnTo>
                  <a:lnTo>
                    <a:pt x="3210" y="3346"/>
                  </a:lnTo>
                  <a:lnTo>
                    <a:pt x="2984" y="4001"/>
                  </a:lnTo>
                  <a:lnTo>
                    <a:pt x="2758" y="4634"/>
                  </a:lnTo>
                  <a:lnTo>
                    <a:pt x="2509" y="5289"/>
                  </a:lnTo>
                  <a:lnTo>
                    <a:pt x="2238" y="5922"/>
                  </a:lnTo>
                  <a:lnTo>
                    <a:pt x="1944" y="6555"/>
                  </a:lnTo>
                  <a:lnTo>
                    <a:pt x="1650" y="7188"/>
                  </a:lnTo>
                  <a:lnTo>
                    <a:pt x="1334" y="7798"/>
                  </a:lnTo>
                  <a:lnTo>
                    <a:pt x="678" y="9041"/>
                  </a:lnTo>
                  <a:lnTo>
                    <a:pt x="0" y="10239"/>
                  </a:lnTo>
                  <a:lnTo>
                    <a:pt x="0" y="10239"/>
                  </a:lnTo>
                  <a:lnTo>
                    <a:pt x="91" y="10804"/>
                  </a:lnTo>
                  <a:lnTo>
                    <a:pt x="226" y="11369"/>
                  </a:lnTo>
                  <a:lnTo>
                    <a:pt x="430" y="12002"/>
                  </a:lnTo>
                  <a:lnTo>
                    <a:pt x="746" y="12725"/>
                  </a:lnTo>
                  <a:lnTo>
                    <a:pt x="746" y="12725"/>
                  </a:lnTo>
                  <a:lnTo>
                    <a:pt x="1130" y="11844"/>
                  </a:lnTo>
                  <a:lnTo>
                    <a:pt x="1537" y="11030"/>
                  </a:lnTo>
                  <a:lnTo>
                    <a:pt x="1921" y="10262"/>
                  </a:lnTo>
                  <a:lnTo>
                    <a:pt x="2306" y="9561"/>
                  </a:lnTo>
                  <a:lnTo>
                    <a:pt x="2306" y="9561"/>
                  </a:lnTo>
                  <a:lnTo>
                    <a:pt x="2464" y="9267"/>
                  </a:lnTo>
                  <a:lnTo>
                    <a:pt x="2622" y="8905"/>
                  </a:lnTo>
                  <a:lnTo>
                    <a:pt x="2803" y="8476"/>
                  </a:lnTo>
                  <a:lnTo>
                    <a:pt x="2961" y="8001"/>
                  </a:lnTo>
                  <a:lnTo>
                    <a:pt x="3300" y="6962"/>
                  </a:lnTo>
                  <a:lnTo>
                    <a:pt x="3616" y="5786"/>
                  </a:lnTo>
                  <a:lnTo>
                    <a:pt x="3888" y="4566"/>
                  </a:lnTo>
                  <a:lnTo>
                    <a:pt x="4001" y="3978"/>
                  </a:lnTo>
                  <a:lnTo>
                    <a:pt x="4091" y="3368"/>
                  </a:lnTo>
                  <a:lnTo>
                    <a:pt x="4182" y="2803"/>
                  </a:lnTo>
                  <a:lnTo>
                    <a:pt x="4249" y="2238"/>
                  </a:lnTo>
                  <a:lnTo>
                    <a:pt x="4272" y="1718"/>
                  </a:lnTo>
                  <a:lnTo>
                    <a:pt x="4295" y="1244"/>
                  </a:lnTo>
                  <a:lnTo>
                    <a:pt x="4295" y="1244"/>
                  </a:lnTo>
                  <a:lnTo>
                    <a:pt x="4272" y="927"/>
                  </a:lnTo>
                  <a:lnTo>
                    <a:pt x="4272" y="633"/>
                  </a:lnTo>
                  <a:lnTo>
                    <a:pt x="4227" y="385"/>
                  </a:lnTo>
                  <a:lnTo>
                    <a:pt x="4182" y="159"/>
                  </a:lnTo>
                  <a:lnTo>
                    <a:pt x="4182" y="159"/>
                  </a:lnTo>
                  <a:lnTo>
                    <a:pt x="4114" y="114"/>
                  </a:lnTo>
                  <a:lnTo>
                    <a:pt x="395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17" name="Google Shape;1817;p16"/>
            <p:cNvSpPr/>
            <p:nvPr/>
          </p:nvSpPr>
          <p:spPr>
            <a:xfrm>
              <a:off x="2936150" y="1829975"/>
              <a:ext cx="115300" cy="164450"/>
            </a:xfrm>
            <a:custGeom>
              <a:avLst/>
              <a:gdLst/>
              <a:ahLst/>
              <a:cxnLst/>
              <a:rect l="l" t="t" r="r" b="b"/>
              <a:pathLst>
                <a:path w="4612" h="6578" extrusionOk="0">
                  <a:moveTo>
                    <a:pt x="3504" y="0"/>
                  </a:moveTo>
                  <a:lnTo>
                    <a:pt x="3436" y="46"/>
                  </a:lnTo>
                  <a:lnTo>
                    <a:pt x="3120" y="249"/>
                  </a:lnTo>
                  <a:lnTo>
                    <a:pt x="2555" y="678"/>
                  </a:lnTo>
                  <a:lnTo>
                    <a:pt x="2397" y="837"/>
                  </a:lnTo>
                  <a:lnTo>
                    <a:pt x="2216" y="1017"/>
                  </a:lnTo>
                  <a:lnTo>
                    <a:pt x="1854" y="1447"/>
                  </a:lnTo>
                  <a:lnTo>
                    <a:pt x="1470" y="1922"/>
                  </a:lnTo>
                  <a:lnTo>
                    <a:pt x="1108" y="2464"/>
                  </a:lnTo>
                  <a:lnTo>
                    <a:pt x="769" y="3029"/>
                  </a:lnTo>
                  <a:lnTo>
                    <a:pt x="476" y="3571"/>
                  </a:lnTo>
                  <a:lnTo>
                    <a:pt x="249" y="4091"/>
                  </a:lnTo>
                  <a:lnTo>
                    <a:pt x="182" y="4340"/>
                  </a:lnTo>
                  <a:lnTo>
                    <a:pt x="114" y="4543"/>
                  </a:lnTo>
                  <a:lnTo>
                    <a:pt x="46" y="4724"/>
                  </a:lnTo>
                  <a:lnTo>
                    <a:pt x="1" y="4905"/>
                  </a:lnTo>
                  <a:lnTo>
                    <a:pt x="1" y="5154"/>
                  </a:lnTo>
                  <a:lnTo>
                    <a:pt x="1" y="5289"/>
                  </a:lnTo>
                  <a:lnTo>
                    <a:pt x="46" y="5447"/>
                  </a:lnTo>
                  <a:lnTo>
                    <a:pt x="91" y="5606"/>
                  </a:lnTo>
                  <a:lnTo>
                    <a:pt x="159" y="5786"/>
                  </a:lnTo>
                  <a:lnTo>
                    <a:pt x="249" y="5967"/>
                  </a:lnTo>
                  <a:lnTo>
                    <a:pt x="363" y="6171"/>
                  </a:lnTo>
                  <a:lnTo>
                    <a:pt x="521" y="6374"/>
                  </a:lnTo>
                  <a:lnTo>
                    <a:pt x="702" y="6577"/>
                  </a:lnTo>
                  <a:lnTo>
                    <a:pt x="1154" y="6464"/>
                  </a:lnTo>
                  <a:lnTo>
                    <a:pt x="1583" y="6374"/>
                  </a:lnTo>
                  <a:lnTo>
                    <a:pt x="2012" y="6306"/>
                  </a:lnTo>
                  <a:lnTo>
                    <a:pt x="2397" y="6216"/>
                  </a:lnTo>
                  <a:lnTo>
                    <a:pt x="2758" y="6103"/>
                  </a:lnTo>
                  <a:lnTo>
                    <a:pt x="2894" y="6035"/>
                  </a:lnTo>
                  <a:lnTo>
                    <a:pt x="3029" y="5967"/>
                  </a:lnTo>
                  <a:lnTo>
                    <a:pt x="3120" y="5877"/>
                  </a:lnTo>
                  <a:lnTo>
                    <a:pt x="3210" y="5786"/>
                  </a:lnTo>
                  <a:lnTo>
                    <a:pt x="3255" y="5651"/>
                  </a:lnTo>
                  <a:lnTo>
                    <a:pt x="3301" y="5515"/>
                  </a:lnTo>
                  <a:lnTo>
                    <a:pt x="3346" y="5176"/>
                  </a:lnTo>
                  <a:lnTo>
                    <a:pt x="3391" y="4950"/>
                  </a:lnTo>
                  <a:lnTo>
                    <a:pt x="3436" y="4792"/>
                  </a:lnTo>
                  <a:lnTo>
                    <a:pt x="3504" y="4679"/>
                  </a:lnTo>
                  <a:lnTo>
                    <a:pt x="3640" y="4498"/>
                  </a:lnTo>
                  <a:lnTo>
                    <a:pt x="3730" y="4362"/>
                  </a:lnTo>
                  <a:lnTo>
                    <a:pt x="3821" y="4204"/>
                  </a:lnTo>
                  <a:lnTo>
                    <a:pt x="3979" y="3933"/>
                  </a:lnTo>
                  <a:lnTo>
                    <a:pt x="4114" y="3707"/>
                  </a:lnTo>
                  <a:lnTo>
                    <a:pt x="4250" y="3504"/>
                  </a:lnTo>
                  <a:lnTo>
                    <a:pt x="4363" y="3368"/>
                  </a:lnTo>
                  <a:lnTo>
                    <a:pt x="4544" y="3165"/>
                  </a:lnTo>
                  <a:lnTo>
                    <a:pt x="4612" y="3097"/>
                  </a:lnTo>
                  <a:lnTo>
                    <a:pt x="4295" y="2102"/>
                  </a:lnTo>
                  <a:lnTo>
                    <a:pt x="3572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18" name="Google Shape;1818;p16"/>
            <p:cNvSpPr/>
            <p:nvPr/>
          </p:nvSpPr>
          <p:spPr>
            <a:xfrm>
              <a:off x="2936150" y="1829975"/>
              <a:ext cx="115300" cy="164450"/>
            </a:xfrm>
            <a:custGeom>
              <a:avLst/>
              <a:gdLst/>
              <a:ahLst/>
              <a:cxnLst/>
              <a:rect l="l" t="t" r="r" b="b"/>
              <a:pathLst>
                <a:path w="4612" h="6578" fill="none" extrusionOk="0">
                  <a:moveTo>
                    <a:pt x="702" y="6577"/>
                  </a:moveTo>
                  <a:lnTo>
                    <a:pt x="702" y="6577"/>
                  </a:lnTo>
                  <a:lnTo>
                    <a:pt x="521" y="6374"/>
                  </a:lnTo>
                  <a:lnTo>
                    <a:pt x="363" y="6171"/>
                  </a:lnTo>
                  <a:lnTo>
                    <a:pt x="249" y="5967"/>
                  </a:lnTo>
                  <a:lnTo>
                    <a:pt x="159" y="5786"/>
                  </a:lnTo>
                  <a:lnTo>
                    <a:pt x="91" y="5606"/>
                  </a:lnTo>
                  <a:lnTo>
                    <a:pt x="46" y="5447"/>
                  </a:lnTo>
                  <a:lnTo>
                    <a:pt x="1" y="5289"/>
                  </a:lnTo>
                  <a:lnTo>
                    <a:pt x="1" y="5154"/>
                  </a:lnTo>
                  <a:lnTo>
                    <a:pt x="1" y="4905"/>
                  </a:lnTo>
                  <a:lnTo>
                    <a:pt x="46" y="4724"/>
                  </a:lnTo>
                  <a:lnTo>
                    <a:pt x="114" y="4543"/>
                  </a:lnTo>
                  <a:lnTo>
                    <a:pt x="114" y="4543"/>
                  </a:lnTo>
                  <a:lnTo>
                    <a:pt x="182" y="4340"/>
                  </a:lnTo>
                  <a:lnTo>
                    <a:pt x="249" y="4091"/>
                  </a:lnTo>
                  <a:lnTo>
                    <a:pt x="476" y="3571"/>
                  </a:lnTo>
                  <a:lnTo>
                    <a:pt x="769" y="3029"/>
                  </a:lnTo>
                  <a:lnTo>
                    <a:pt x="1108" y="2464"/>
                  </a:lnTo>
                  <a:lnTo>
                    <a:pt x="1470" y="1922"/>
                  </a:lnTo>
                  <a:lnTo>
                    <a:pt x="1854" y="1447"/>
                  </a:lnTo>
                  <a:lnTo>
                    <a:pt x="2216" y="1017"/>
                  </a:lnTo>
                  <a:lnTo>
                    <a:pt x="2397" y="837"/>
                  </a:lnTo>
                  <a:lnTo>
                    <a:pt x="2555" y="678"/>
                  </a:lnTo>
                  <a:lnTo>
                    <a:pt x="2555" y="678"/>
                  </a:lnTo>
                  <a:lnTo>
                    <a:pt x="3120" y="249"/>
                  </a:lnTo>
                  <a:lnTo>
                    <a:pt x="3436" y="46"/>
                  </a:lnTo>
                  <a:lnTo>
                    <a:pt x="3504" y="0"/>
                  </a:lnTo>
                  <a:lnTo>
                    <a:pt x="3549" y="0"/>
                  </a:lnTo>
                  <a:lnTo>
                    <a:pt x="3572" y="0"/>
                  </a:lnTo>
                  <a:lnTo>
                    <a:pt x="4295" y="2102"/>
                  </a:lnTo>
                  <a:lnTo>
                    <a:pt x="4612" y="3097"/>
                  </a:lnTo>
                  <a:lnTo>
                    <a:pt x="4612" y="3097"/>
                  </a:lnTo>
                  <a:lnTo>
                    <a:pt x="4544" y="3165"/>
                  </a:lnTo>
                  <a:lnTo>
                    <a:pt x="4363" y="3368"/>
                  </a:lnTo>
                  <a:lnTo>
                    <a:pt x="4250" y="3504"/>
                  </a:lnTo>
                  <a:lnTo>
                    <a:pt x="4114" y="3707"/>
                  </a:lnTo>
                  <a:lnTo>
                    <a:pt x="3979" y="3933"/>
                  </a:lnTo>
                  <a:lnTo>
                    <a:pt x="3821" y="4204"/>
                  </a:lnTo>
                  <a:lnTo>
                    <a:pt x="3821" y="4204"/>
                  </a:lnTo>
                  <a:lnTo>
                    <a:pt x="3730" y="4362"/>
                  </a:lnTo>
                  <a:lnTo>
                    <a:pt x="3640" y="4498"/>
                  </a:lnTo>
                  <a:lnTo>
                    <a:pt x="3504" y="4679"/>
                  </a:lnTo>
                  <a:lnTo>
                    <a:pt x="3436" y="4792"/>
                  </a:lnTo>
                  <a:lnTo>
                    <a:pt x="3391" y="4950"/>
                  </a:lnTo>
                  <a:lnTo>
                    <a:pt x="3346" y="5176"/>
                  </a:lnTo>
                  <a:lnTo>
                    <a:pt x="3301" y="5515"/>
                  </a:lnTo>
                  <a:lnTo>
                    <a:pt x="3301" y="5515"/>
                  </a:lnTo>
                  <a:lnTo>
                    <a:pt x="3255" y="5651"/>
                  </a:lnTo>
                  <a:lnTo>
                    <a:pt x="3210" y="5786"/>
                  </a:lnTo>
                  <a:lnTo>
                    <a:pt x="3120" y="5877"/>
                  </a:lnTo>
                  <a:lnTo>
                    <a:pt x="3029" y="5967"/>
                  </a:lnTo>
                  <a:lnTo>
                    <a:pt x="2894" y="6035"/>
                  </a:lnTo>
                  <a:lnTo>
                    <a:pt x="2758" y="6103"/>
                  </a:lnTo>
                  <a:lnTo>
                    <a:pt x="2397" y="6216"/>
                  </a:lnTo>
                  <a:lnTo>
                    <a:pt x="2012" y="6306"/>
                  </a:lnTo>
                  <a:lnTo>
                    <a:pt x="1583" y="6374"/>
                  </a:lnTo>
                  <a:lnTo>
                    <a:pt x="1154" y="6464"/>
                  </a:lnTo>
                  <a:lnTo>
                    <a:pt x="702" y="657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19" name="Google Shape;1819;p16"/>
            <p:cNvSpPr/>
            <p:nvPr/>
          </p:nvSpPr>
          <p:spPr>
            <a:xfrm>
              <a:off x="3029950" y="1907375"/>
              <a:ext cx="21500" cy="30550"/>
            </a:xfrm>
            <a:custGeom>
              <a:avLst/>
              <a:gdLst/>
              <a:ahLst/>
              <a:cxnLst/>
              <a:rect l="l" t="t" r="r" b="b"/>
              <a:pathLst>
                <a:path w="860" h="1222" extrusionOk="0">
                  <a:moveTo>
                    <a:pt x="860" y="1"/>
                  </a:moveTo>
                  <a:lnTo>
                    <a:pt x="792" y="69"/>
                  </a:lnTo>
                  <a:lnTo>
                    <a:pt x="611" y="272"/>
                  </a:lnTo>
                  <a:lnTo>
                    <a:pt x="498" y="408"/>
                  </a:lnTo>
                  <a:lnTo>
                    <a:pt x="362" y="611"/>
                  </a:lnTo>
                  <a:lnTo>
                    <a:pt x="227" y="837"/>
                  </a:lnTo>
                  <a:lnTo>
                    <a:pt x="182" y="915"/>
                  </a:lnTo>
                  <a:lnTo>
                    <a:pt x="317" y="701"/>
                  </a:lnTo>
                  <a:lnTo>
                    <a:pt x="588" y="317"/>
                  </a:lnTo>
                  <a:lnTo>
                    <a:pt x="792" y="91"/>
                  </a:lnTo>
                  <a:lnTo>
                    <a:pt x="860" y="1"/>
                  </a:lnTo>
                  <a:close/>
                  <a:moveTo>
                    <a:pt x="182" y="915"/>
                  </a:moveTo>
                  <a:lnTo>
                    <a:pt x="159" y="950"/>
                  </a:lnTo>
                  <a:lnTo>
                    <a:pt x="148" y="973"/>
                  </a:lnTo>
                  <a:lnTo>
                    <a:pt x="148" y="973"/>
                  </a:lnTo>
                  <a:lnTo>
                    <a:pt x="182" y="915"/>
                  </a:lnTo>
                  <a:close/>
                  <a:moveTo>
                    <a:pt x="148" y="973"/>
                  </a:moveTo>
                  <a:lnTo>
                    <a:pt x="69" y="1108"/>
                  </a:lnTo>
                  <a:lnTo>
                    <a:pt x="1" y="1221"/>
                  </a:lnTo>
                  <a:lnTo>
                    <a:pt x="23" y="1221"/>
                  </a:lnTo>
                  <a:lnTo>
                    <a:pt x="148" y="973"/>
                  </a:lnTo>
                  <a:close/>
                </a:path>
              </a:pathLst>
            </a:custGeom>
            <a:solidFill>
              <a:srgbClr val="E2E2E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20" name="Google Shape;1820;p16"/>
            <p:cNvSpPr/>
            <p:nvPr/>
          </p:nvSpPr>
          <p:spPr>
            <a:xfrm>
              <a:off x="3029950" y="1907375"/>
              <a:ext cx="21500" cy="30550"/>
            </a:xfrm>
            <a:custGeom>
              <a:avLst/>
              <a:gdLst/>
              <a:ahLst/>
              <a:cxnLst/>
              <a:rect l="l" t="t" r="r" b="b"/>
              <a:pathLst>
                <a:path w="860" h="1222" fill="none" extrusionOk="0">
                  <a:moveTo>
                    <a:pt x="860" y="1"/>
                  </a:moveTo>
                  <a:lnTo>
                    <a:pt x="860" y="1"/>
                  </a:lnTo>
                  <a:lnTo>
                    <a:pt x="792" y="69"/>
                  </a:lnTo>
                  <a:lnTo>
                    <a:pt x="611" y="272"/>
                  </a:lnTo>
                  <a:lnTo>
                    <a:pt x="498" y="408"/>
                  </a:lnTo>
                  <a:lnTo>
                    <a:pt x="362" y="611"/>
                  </a:lnTo>
                  <a:lnTo>
                    <a:pt x="227" y="837"/>
                  </a:lnTo>
                  <a:lnTo>
                    <a:pt x="69" y="1108"/>
                  </a:lnTo>
                  <a:lnTo>
                    <a:pt x="69" y="1108"/>
                  </a:lnTo>
                  <a:lnTo>
                    <a:pt x="1" y="1221"/>
                  </a:lnTo>
                  <a:lnTo>
                    <a:pt x="1" y="1221"/>
                  </a:lnTo>
                  <a:lnTo>
                    <a:pt x="23" y="1221"/>
                  </a:lnTo>
                  <a:lnTo>
                    <a:pt x="23" y="1221"/>
                  </a:lnTo>
                  <a:lnTo>
                    <a:pt x="159" y="950"/>
                  </a:lnTo>
                  <a:lnTo>
                    <a:pt x="317" y="701"/>
                  </a:lnTo>
                  <a:lnTo>
                    <a:pt x="588" y="317"/>
                  </a:lnTo>
                  <a:lnTo>
                    <a:pt x="792" y="91"/>
                  </a:lnTo>
                  <a:lnTo>
                    <a:pt x="86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21" name="Google Shape;1821;p16"/>
            <p:cNvSpPr/>
            <p:nvPr/>
          </p:nvSpPr>
          <p:spPr>
            <a:xfrm>
              <a:off x="2992675" y="1881400"/>
              <a:ext cx="58775" cy="56525"/>
            </a:xfrm>
            <a:custGeom>
              <a:avLst/>
              <a:gdLst/>
              <a:ahLst/>
              <a:cxnLst/>
              <a:rect l="l" t="t" r="r" b="b"/>
              <a:pathLst>
                <a:path w="2351" h="2261" extrusionOk="0">
                  <a:moveTo>
                    <a:pt x="791" y="0"/>
                  </a:moveTo>
                  <a:lnTo>
                    <a:pt x="407" y="23"/>
                  </a:lnTo>
                  <a:lnTo>
                    <a:pt x="294" y="45"/>
                  </a:lnTo>
                  <a:lnTo>
                    <a:pt x="203" y="113"/>
                  </a:lnTo>
                  <a:lnTo>
                    <a:pt x="136" y="204"/>
                  </a:lnTo>
                  <a:lnTo>
                    <a:pt x="68" y="339"/>
                  </a:lnTo>
                  <a:lnTo>
                    <a:pt x="23" y="475"/>
                  </a:lnTo>
                  <a:lnTo>
                    <a:pt x="0" y="633"/>
                  </a:lnTo>
                  <a:lnTo>
                    <a:pt x="0" y="791"/>
                  </a:lnTo>
                  <a:lnTo>
                    <a:pt x="45" y="972"/>
                  </a:lnTo>
                  <a:lnTo>
                    <a:pt x="113" y="1153"/>
                  </a:lnTo>
                  <a:lnTo>
                    <a:pt x="203" y="1356"/>
                  </a:lnTo>
                  <a:lnTo>
                    <a:pt x="316" y="1537"/>
                  </a:lnTo>
                  <a:lnTo>
                    <a:pt x="475" y="1695"/>
                  </a:lnTo>
                  <a:lnTo>
                    <a:pt x="678" y="1876"/>
                  </a:lnTo>
                  <a:lnTo>
                    <a:pt x="904" y="2012"/>
                  </a:lnTo>
                  <a:lnTo>
                    <a:pt x="1175" y="2147"/>
                  </a:lnTo>
                  <a:lnTo>
                    <a:pt x="1492" y="2260"/>
                  </a:lnTo>
                  <a:lnTo>
                    <a:pt x="1560" y="2147"/>
                  </a:lnTo>
                  <a:lnTo>
                    <a:pt x="1718" y="1876"/>
                  </a:lnTo>
                  <a:lnTo>
                    <a:pt x="1853" y="1650"/>
                  </a:lnTo>
                  <a:lnTo>
                    <a:pt x="1989" y="1447"/>
                  </a:lnTo>
                  <a:lnTo>
                    <a:pt x="2102" y="1311"/>
                  </a:lnTo>
                  <a:lnTo>
                    <a:pt x="2283" y="1108"/>
                  </a:lnTo>
                  <a:lnTo>
                    <a:pt x="2351" y="1040"/>
                  </a:lnTo>
                  <a:lnTo>
                    <a:pt x="2034" y="45"/>
                  </a:lnTo>
                  <a:lnTo>
                    <a:pt x="1605" y="23"/>
                  </a:lnTo>
                  <a:lnTo>
                    <a:pt x="1198" y="0"/>
                  </a:lnTo>
                  <a:close/>
                </a:path>
              </a:pathLst>
            </a:custGeom>
            <a:solidFill>
              <a:srgbClr val="D49C9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22" name="Google Shape;1822;p16"/>
            <p:cNvSpPr/>
            <p:nvPr/>
          </p:nvSpPr>
          <p:spPr>
            <a:xfrm>
              <a:off x="2992675" y="1881400"/>
              <a:ext cx="58775" cy="56525"/>
            </a:xfrm>
            <a:custGeom>
              <a:avLst/>
              <a:gdLst/>
              <a:ahLst/>
              <a:cxnLst/>
              <a:rect l="l" t="t" r="r" b="b"/>
              <a:pathLst>
                <a:path w="2351" h="2261" fill="none" extrusionOk="0">
                  <a:moveTo>
                    <a:pt x="791" y="0"/>
                  </a:moveTo>
                  <a:lnTo>
                    <a:pt x="791" y="0"/>
                  </a:lnTo>
                  <a:lnTo>
                    <a:pt x="407" y="23"/>
                  </a:lnTo>
                  <a:lnTo>
                    <a:pt x="407" y="23"/>
                  </a:lnTo>
                  <a:lnTo>
                    <a:pt x="294" y="45"/>
                  </a:lnTo>
                  <a:lnTo>
                    <a:pt x="203" y="113"/>
                  </a:lnTo>
                  <a:lnTo>
                    <a:pt x="136" y="204"/>
                  </a:lnTo>
                  <a:lnTo>
                    <a:pt x="68" y="339"/>
                  </a:lnTo>
                  <a:lnTo>
                    <a:pt x="23" y="475"/>
                  </a:lnTo>
                  <a:lnTo>
                    <a:pt x="0" y="633"/>
                  </a:lnTo>
                  <a:lnTo>
                    <a:pt x="0" y="791"/>
                  </a:lnTo>
                  <a:lnTo>
                    <a:pt x="45" y="972"/>
                  </a:lnTo>
                  <a:lnTo>
                    <a:pt x="113" y="1153"/>
                  </a:lnTo>
                  <a:lnTo>
                    <a:pt x="203" y="1356"/>
                  </a:lnTo>
                  <a:lnTo>
                    <a:pt x="316" y="1537"/>
                  </a:lnTo>
                  <a:lnTo>
                    <a:pt x="475" y="1695"/>
                  </a:lnTo>
                  <a:lnTo>
                    <a:pt x="678" y="1876"/>
                  </a:lnTo>
                  <a:lnTo>
                    <a:pt x="904" y="2012"/>
                  </a:lnTo>
                  <a:lnTo>
                    <a:pt x="1175" y="2147"/>
                  </a:lnTo>
                  <a:lnTo>
                    <a:pt x="1492" y="2260"/>
                  </a:lnTo>
                  <a:lnTo>
                    <a:pt x="1492" y="2260"/>
                  </a:lnTo>
                  <a:lnTo>
                    <a:pt x="1560" y="2147"/>
                  </a:lnTo>
                  <a:lnTo>
                    <a:pt x="1560" y="2147"/>
                  </a:lnTo>
                  <a:lnTo>
                    <a:pt x="1718" y="1876"/>
                  </a:lnTo>
                  <a:lnTo>
                    <a:pt x="1853" y="1650"/>
                  </a:lnTo>
                  <a:lnTo>
                    <a:pt x="1989" y="1447"/>
                  </a:lnTo>
                  <a:lnTo>
                    <a:pt x="2102" y="1311"/>
                  </a:lnTo>
                  <a:lnTo>
                    <a:pt x="2283" y="1108"/>
                  </a:lnTo>
                  <a:lnTo>
                    <a:pt x="2351" y="1040"/>
                  </a:lnTo>
                  <a:lnTo>
                    <a:pt x="2351" y="1040"/>
                  </a:lnTo>
                  <a:lnTo>
                    <a:pt x="2034" y="45"/>
                  </a:lnTo>
                  <a:lnTo>
                    <a:pt x="2034" y="45"/>
                  </a:lnTo>
                  <a:lnTo>
                    <a:pt x="1605" y="23"/>
                  </a:lnTo>
                  <a:lnTo>
                    <a:pt x="1198" y="0"/>
                  </a:lnTo>
                  <a:lnTo>
                    <a:pt x="79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23" name="Google Shape;1823;p16"/>
            <p:cNvSpPr/>
            <p:nvPr/>
          </p:nvSpPr>
          <p:spPr>
            <a:xfrm>
              <a:off x="2990400" y="1778000"/>
              <a:ext cx="130550" cy="166125"/>
            </a:xfrm>
            <a:custGeom>
              <a:avLst/>
              <a:gdLst/>
              <a:ahLst/>
              <a:cxnLst/>
              <a:rect l="l" t="t" r="r" b="b"/>
              <a:pathLst>
                <a:path w="5222" h="6645" extrusionOk="0">
                  <a:moveTo>
                    <a:pt x="1244" y="0"/>
                  </a:moveTo>
                  <a:lnTo>
                    <a:pt x="1063" y="362"/>
                  </a:lnTo>
                  <a:lnTo>
                    <a:pt x="656" y="1221"/>
                  </a:lnTo>
                  <a:lnTo>
                    <a:pt x="453" y="1740"/>
                  </a:lnTo>
                  <a:lnTo>
                    <a:pt x="249" y="2260"/>
                  </a:lnTo>
                  <a:lnTo>
                    <a:pt x="91" y="2735"/>
                  </a:lnTo>
                  <a:lnTo>
                    <a:pt x="23" y="2938"/>
                  </a:lnTo>
                  <a:lnTo>
                    <a:pt x="1" y="3142"/>
                  </a:lnTo>
                  <a:lnTo>
                    <a:pt x="1" y="3323"/>
                  </a:lnTo>
                  <a:lnTo>
                    <a:pt x="23" y="3526"/>
                  </a:lnTo>
                  <a:lnTo>
                    <a:pt x="91" y="3729"/>
                  </a:lnTo>
                  <a:lnTo>
                    <a:pt x="181" y="3978"/>
                  </a:lnTo>
                  <a:lnTo>
                    <a:pt x="294" y="4204"/>
                  </a:lnTo>
                  <a:lnTo>
                    <a:pt x="453" y="4453"/>
                  </a:lnTo>
                  <a:lnTo>
                    <a:pt x="633" y="4724"/>
                  </a:lnTo>
                  <a:lnTo>
                    <a:pt x="837" y="4972"/>
                  </a:lnTo>
                  <a:lnTo>
                    <a:pt x="1063" y="5221"/>
                  </a:lnTo>
                  <a:lnTo>
                    <a:pt x="1289" y="5470"/>
                  </a:lnTo>
                  <a:lnTo>
                    <a:pt x="1560" y="5696"/>
                  </a:lnTo>
                  <a:lnTo>
                    <a:pt x="1831" y="5922"/>
                  </a:lnTo>
                  <a:lnTo>
                    <a:pt x="2125" y="6125"/>
                  </a:lnTo>
                  <a:lnTo>
                    <a:pt x="2419" y="6328"/>
                  </a:lnTo>
                  <a:lnTo>
                    <a:pt x="2735" y="6487"/>
                  </a:lnTo>
                  <a:lnTo>
                    <a:pt x="3052" y="6622"/>
                  </a:lnTo>
                  <a:lnTo>
                    <a:pt x="3120" y="6645"/>
                  </a:lnTo>
                  <a:lnTo>
                    <a:pt x="3187" y="6645"/>
                  </a:lnTo>
                  <a:lnTo>
                    <a:pt x="3300" y="6622"/>
                  </a:lnTo>
                  <a:lnTo>
                    <a:pt x="3391" y="6532"/>
                  </a:lnTo>
                  <a:lnTo>
                    <a:pt x="3481" y="6419"/>
                  </a:lnTo>
                  <a:lnTo>
                    <a:pt x="3572" y="6261"/>
                  </a:lnTo>
                  <a:lnTo>
                    <a:pt x="3639" y="6102"/>
                  </a:lnTo>
                  <a:lnTo>
                    <a:pt x="3775" y="5696"/>
                  </a:lnTo>
                  <a:lnTo>
                    <a:pt x="3933" y="5311"/>
                  </a:lnTo>
                  <a:lnTo>
                    <a:pt x="4001" y="5153"/>
                  </a:lnTo>
                  <a:lnTo>
                    <a:pt x="4069" y="4995"/>
                  </a:lnTo>
                  <a:lnTo>
                    <a:pt x="4159" y="4882"/>
                  </a:lnTo>
                  <a:lnTo>
                    <a:pt x="4250" y="4792"/>
                  </a:lnTo>
                  <a:lnTo>
                    <a:pt x="4363" y="4769"/>
                  </a:lnTo>
                  <a:lnTo>
                    <a:pt x="4408" y="4769"/>
                  </a:lnTo>
                  <a:lnTo>
                    <a:pt x="4476" y="4792"/>
                  </a:lnTo>
                  <a:lnTo>
                    <a:pt x="4589" y="4814"/>
                  </a:lnTo>
                  <a:lnTo>
                    <a:pt x="4634" y="4792"/>
                  </a:lnTo>
                  <a:lnTo>
                    <a:pt x="4679" y="4769"/>
                  </a:lnTo>
                  <a:lnTo>
                    <a:pt x="4747" y="4701"/>
                  </a:lnTo>
                  <a:lnTo>
                    <a:pt x="4815" y="4566"/>
                  </a:lnTo>
                  <a:lnTo>
                    <a:pt x="4860" y="4407"/>
                  </a:lnTo>
                  <a:lnTo>
                    <a:pt x="4905" y="4227"/>
                  </a:lnTo>
                  <a:lnTo>
                    <a:pt x="4973" y="3752"/>
                  </a:lnTo>
                  <a:lnTo>
                    <a:pt x="5063" y="2690"/>
                  </a:lnTo>
                  <a:lnTo>
                    <a:pt x="5109" y="2192"/>
                  </a:lnTo>
                  <a:lnTo>
                    <a:pt x="5154" y="1966"/>
                  </a:lnTo>
                  <a:lnTo>
                    <a:pt x="5222" y="1763"/>
                  </a:lnTo>
                  <a:lnTo>
                    <a:pt x="1244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24" name="Google Shape;1824;p16"/>
            <p:cNvSpPr/>
            <p:nvPr/>
          </p:nvSpPr>
          <p:spPr>
            <a:xfrm>
              <a:off x="2961025" y="1723750"/>
              <a:ext cx="190450" cy="135625"/>
            </a:xfrm>
            <a:custGeom>
              <a:avLst/>
              <a:gdLst/>
              <a:ahLst/>
              <a:cxnLst/>
              <a:rect l="l" t="t" r="r" b="b"/>
              <a:pathLst>
                <a:path w="7618" h="5425" extrusionOk="0">
                  <a:moveTo>
                    <a:pt x="2464" y="0"/>
                  </a:moveTo>
                  <a:lnTo>
                    <a:pt x="2328" y="23"/>
                  </a:lnTo>
                  <a:lnTo>
                    <a:pt x="2102" y="91"/>
                  </a:lnTo>
                  <a:lnTo>
                    <a:pt x="1921" y="181"/>
                  </a:lnTo>
                  <a:lnTo>
                    <a:pt x="1763" y="272"/>
                  </a:lnTo>
                  <a:lnTo>
                    <a:pt x="1628" y="362"/>
                  </a:lnTo>
                  <a:lnTo>
                    <a:pt x="1515" y="475"/>
                  </a:lnTo>
                  <a:lnTo>
                    <a:pt x="1424" y="611"/>
                  </a:lnTo>
                  <a:lnTo>
                    <a:pt x="1266" y="859"/>
                  </a:lnTo>
                  <a:lnTo>
                    <a:pt x="1153" y="1153"/>
                  </a:lnTo>
                  <a:lnTo>
                    <a:pt x="995" y="1447"/>
                  </a:lnTo>
                  <a:lnTo>
                    <a:pt x="882" y="1582"/>
                  </a:lnTo>
                  <a:lnTo>
                    <a:pt x="769" y="1741"/>
                  </a:lnTo>
                  <a:lnTo>
                    <a:pt x="633" y="1876"/>
                  </a:lnTo>
                  <a:lnTo>
                    <a:pt x="452" y="2035"/>
                  </a:lnTo>
                  <a:lnTo>
                    <a:pt x="339" y="2125"/>
                  </a:lnTo>
                  <a:lnTo>
                    <a:pt x="249" y="2215"/>
                  </a:lnTo>
                  <a:lnTo>
                    <a:pt x="181" y="2328"/>
                  </a:lnTo>
                  <a:lnTo>
                    <a:pt x="136" y="2441"/>
                  </a:lnTo>
                  <a:lnTo>
                    <a:pt x="68" y="2554"/>
                  </a:lnTo>
                  <a:lnTo>
                    <a:pt x="46" y="2690"/>
                  </a:lnTo>
                  <a:lnTo>
                    <a:pt x="0" y="2961"/>
                  </a:lnTo>
                  <a:lnTo>
                    <a:pt x="23" y="3255"/>
                  </a:lnTo>
                  <a:lnTo>
                    <a:pt x="46" y="3526"/>
                  </a:lnTo>
                  <a:lnTo>
                    <a:pt x="136" y="3820"/>
                  </a:lnTo>
                  <a:lnTo>
                    <a:pt x="226" y="4114"/>
                  </a:lnTo>
                  <a:lnTo>
                    <a:pt x="339" y="4385"/>
                  </a:lnTo>
                  <a:lnTo>
                    <a:pt x="452" y="4656"/>
                  </a:lnTo>
                  <a:lnTo>
                    <a:pt x="588" y="4882"/>
                  </a:lnTo>
                  <a:lnTo>
                    <a:pt x="724" y="5086"/>
                  </a:lnTo>
                  <a:lnTo>
                    <a:pt x="859" y="5244"/>
                  </a:lnTo>
                  <a:lnTo>
                    <a:pt x="972" y="5357"/>
                  </a:lnTo>
                  <a:lnTo>
                    <a:pt x="1085" y="5425"/>
                  </a:lnTo>
                  <a:lnTo>
                    <a:pt x="1153" y="5425"/>
                  </a:lnTo>
                  <a:lnTo>
                    <a:pt x="1243" y="5380"/>
                  </a:lnTo>
                  <a:lnTo>
                    <a:pt x="1311" y="5312"/>
                  </a:lnTo>
                  <a:lnTo>
                    <a:pt x="1356" y="5244"/>
                  </a:lnTo>
                  <a:lnTo>
                    <a:pt x="1402" y="5153"/>
                  </a:lnTo>
                  <a:lnTo>
                    <a:pt x="1492" y="4927"/>
                  </a:lnTo>
                  <a:lnTo>
                    <a:pt x="1582" y="4679"/>
                  </a:lnTo>
                  <a:lnTo>
                    <a:pt x="1650" y="4453"/>
                  </a:lnTo>
                  <a:lnTo>
                    <a:pt x="1741" y="4227"/>
                  </a:lnTo>
                  <a:lnTo>
                    <a:pt x="1786" y="4136"/>
                  </a:lnTo>
                  <a:lnTo>
                    <a:pt x="1831" y="4069"/>
                  </a:lnTo>
                  <a:lnTo>
                    <a:pt x="1899" y="4023"/>
                  </a:lnTo>
                  <a:lnTo>
                    <a:pt x="1967" y="3978"/>
                  </a:lnTo>
                  <a:lnTo>
                    <a:pt x="2170" y="3956"/>
                  </a:lnTo>
                  <a:lnTo>
                    <a:pt x="2306" y="3978"/>
                  </a:lnTo>
                  <a:lnTo>
                    <a:pt x="2373" y="4001"/>
                  </a:lnTo>
                  <a:lnTo>
                    <a:pt x="2419" y="4023"/>
                  </a:lnTo>
                  <a:lnTo>
                    <a:pt x="2486" y="4136"/>
                  </a:lnTo>
                  <a:lnTo>
                    <a:pt x="2532" y="4249"/>
                  </a:lnTo>
                  <a:lnTo>
                    <a:pt x="2577" y="4408"/>
                  </a:lnTo>
                  <a:lnTo>
                    <a:pt x="2622" y="4588"/>
                  </a:lnTo>
                  <a:lnTo>
                    <a:pt x="2713" y="4792"/>
                  </a:lnTo>
                  <a:lnTo>
                    <a:pt x="2826" y="4995"/>
                  </a:lnTo>
                  <a:lnTo>
                    <a:pt x="2961" y="5153"/>
                  </a:lnTo>
                  <a:lnTo>
                    <a:pt x="3119" y="5266"/>
                  </a:lnTo>
                  <a:lnTo>
                    <a:pt x="3187" y="5312"/>
                  </a:lnTo>
                  <a:lnTo>
                    <a:pt x="3278" y="5334"/>
                  </a:lnTo>
                  <a:lnTo>
                    <a:pt x="3413" y="5334"/>
                  </a:lnTo>
                  <a:lnTo>
                    <a:pt x="3458" y="5289"/>
                  </a:lnTo>
                  <a:lnTo>
                    <a:pt x="3504" y="5244"/>
                  </a:lnTo>
                  <a:lnTo>
                    <a:pt x="3526" y="5153"/>
                  </a:lnTo>
                  <a:lnTo>
                    <a:pt x="3549" y="5040"/>
                  </a:lnTo>
                  <a:lnTo>
                    <a:pt x="3549" y="4905"/>
                  </a:lnTo>
                  <a:lnTo>
                    <a:pt x="3526" y="4747"/>
                  </a:lnTo>
                  <a:lnTo>
                    <a:pt x="3504" y="4430"/>
                  </a:lnTo>
                  <a:lnTo>
                    <a:pt x="3504" y="4204"/>
                  </a:lnTo>
                  <a:lnTo>
                    <a:pt x="3526" y="4114"/>
                  </a:lnTo>
                  <a:lnTo>
                    <a:pt x="3571" y="4046"/>
                  </a:lnTo>
                  <a:lnTo>
                    <a:pt x="3617" y="4001"/>
                  </a:lnTo>
                  <a:lnTo>
                    <a:pt x="3662" y="3956"/>
                  </a:lnTo>
                  <a:lnTo>
                    <a:pt x="3707" y="3933"/>
                  </a:lnTo>
                  <a:lnTo>
                    <a:pt x="3775" y="3933"/>
                  </a:lnTo>
                  <a:lnTo>
                    <a:pt x="3933" y="3956"/>
                  </a:lnTo>
                  <a:lnTo>
                    <a:pt x="4091" y="4023"/>
                  </a:lnTo>
                  <a:lnTo>
                    <a:pt x="4249" y="4114"/>
                  </a:lnTo>
                  <a:lnTo>
                    <a:pt x="4543" y="4295"/>
                  </a:lnTo>
                  <a:lnTo>
                    <a:pt x="4724" y="4430"/>
                  </a:lnTo>
                  <a:lnTo>
                    <a:pt x="4814" y="4475"/>
                  </a:lnTo>
                  <a:lnTo>
                    <a:pt x="4905" y="4498"/>
                  </a:lnTo>
                  <a:lnTo>
                    <a:pt x="5018" y="4521"/>
                  </a:lnTo>
                  <a:lnTo>
                    <a:pt x="5176" y="4521"/>
                  </a:lnTo>
                  <a:lnTo>
                    <a:pt x="5244" y="4498"/>
                  </a:lnTo>
                  <a:lnTo>
                    <a:pt x="5312" y="4475"/>
                  </a:lnTo>
                  <a:lnTo>
                    <a:pt x="5357" y="4430"/>
                  </a:lnTo>
                  <a:lnTo>
                    <a:pt x="5379" y="4362"/>
                  </a:lnTo>
                  <a:lnTo>
                    <a:pt x="5425" y="4249"/>
                  </a:lnTo>
                  <a:lnTo>
                    <a:pt x="5447" y="4091"/>
                  </a:lnTo>
                  <a:lnTo>
                    <a:pt x="5492" y="3978"/>
                  </a:lnTo>
                  <a:lnTo>
                    <a:pt x="5538" y="3910"/>
                  </a:lnTo>
                  <a:lnTo>
                    <a:pt x="5583" y="3888"/>
                  </a:lnTo>
                  <a:lnTo>
                    <a:pt x="5651" y="3843"/>
                  </a:lnTo>
                  <a:lnTo>
                    <a:pt x="5832" y="3843"/>
                  </a:lnTo>
                  <a:lnTo>
                    <a:pt x="5945" y="3888"/>
                  </a:lnTo>
                  <a:lnTo>
                    <a:pt x="6216" y="3956"/>
                  </a:lnTo>
                  <a:lnTo>
                    <a:pt x="6374" y="3978"/>
                  </a:lnTo>
                  <a:lnTo>
                    <a:pt x="6510" y="3978"/>
                  </a:lnTo>
                  <a:lnTo>
                    <a:pt x="6668" y="3956"/>
                  </a:lnTo>
                  <a:lnTo>
                    <a:pt x="6803" y="3933"/>
                  </a:lnTo>
                  <a:lnTo>
                    <a:pt x="6939" y="3888"/>
                  </a:lnTo>
                  <a:lnTo>
                    <a:pt x="7075" y="3820"/>
                  </a:lnTo>
                  <a:lnTo>
                    <a:pt x="7188" y="3752"/>
                  </a:lnTo>
                  <a:lnTo>
                    <a:pt x="7301" y="3639"/>
                  </a:lnTo>
                  <a:lnTo>
                    <a:pt x="7391" y="3526"/>
                  </a:lnTo>
                  <a:lnTo>
                    <a:pt x="7481" y="3368"/>
                  </a:lnTo>
                  <a:lnTo>
                    <a:pt x="7549" y="3210"/>
                  </a:lnTo>
                  <a:lnTo>
                    <a:pt x="7594" y="3006"/>
                  </a:lnTo>
                  <a:lnTo>
                    <a:pt x="7617" y="2780"/>
                  </a:lnTo>
                  <a:lnTo>
                    <a:pt x="7617" y="2532"/>
                  </a:lnTo>
                  <a:lnTo>
                    <a:pt x="7594" y="2328"/>
                  </a:lnTo>
                  <a:lnTo>
                    <a:pt x="7549" y="2148"/>
                  </a:lnTo>
                  <a:lnTo>
                    <a:pt x="7504" y="2012"/>
                  </a:lnTo>
                  <a:lnTo>
                    <a:pt x="7459" y="1921"/>
                  </a:lnTo>
                  <a:lnTo>
                    <a:pt x="7391" y="1854"/>
                  </a:lnTo>
                  <a:lnTo>
                    <a:pt x="7301" y="1831"/>
                  </a:lnTo>
                  <a:lnTo>
                    <a:pt x="7210" y="1808"/>
                  </a:lnTo>
                  <a:lnTo>
                    <a:pt x="7120" y="1808"/>
                  </a:lnTo>
                  <a:lnTo>
                    <a:pt x="6894" y="1854"/>
                  </a:lnTo>
                  <a:lnTo>
                    <a:pt x="6645" y="1921"/>
                  </a:lnTo>
                  <a:lnTo>
                    <a:pt x="6397" y="1967"/>
                  </a:lnTo>
                  <a:lnTo>
                    <a:pt x="6284" y="1967"/>
                  </a:lnTo>
                  <a:lnTo>
                    <a:pt x="6148" y="1944"/>
                  </a:lnTo>
                  <a:lnTo>
                    <a:pt x="6080" y="1921"/>
                  </a:lnTo>
                  <a:lnTo>
                    <a:pt x="6035" y="1899"/>
                  </a:lnTo>
                  <a:lnTo>
                    <a:pt x="6012" y="1831"/>
                  </a:lnTo>
                  <a:lnTo>
                    <a:pt x="6012" y="1763"/>
                  </a:lnTo>
                  <a:lnTo>
                    <a:pt x="6035" y="1628"/>
                  </a:lnTo>
                  <a:lnTo>
                    <a:pt x="6080" y="1447"/>
                  </a:lnTo>
                  <a:lnTo>
                    <a:pt x="6103" y="1243"/>
                  </a:lnTo>
                  <a:lnTo>
                    <a:pt x="6103" y="1153"/>
                  </a:lnTo>
                  <a:lnTo>
                    <a:pt x="6080" y="1063"/>
                  </a:lnTo>
                  <a:lnTo>
                    <a:pt x="6035" y="972"/>
                  </a:lnTo>
                  <a:lnTo>
                    <a:pt x="5967" y="904"/>
                  </a:lnTo>
                  <a:lnTo>
                    <a:pt x="5854" y="814"/>
                  </a:lnTo>
                  <a:lnTo>
                    <a:pt x="5719" y="769"/>
                  </a:lnTo>
                  <a:lnTo>
                    <a:pt x="5492" y="701"/>
                  </a:lnTo>
                  <a:lnTo>
                    <a:pt x="5312" y="678"/>
                  </a:lnTo>
                  <a:lnTo>
                    <a:pt x="5176" y="678"/>
                  </a:lnTo>
                  <a:lnTo>
                    <a:pt x="5040" y="724"/>
                  </a:lnTo>
                  <a:lnTo>
                    <a:pt x="4905" y="746"/>
                  </a:lnTo>
                  <a:lnTo>
                    <a:pt x="4769" y="769"/>
                  </a:lnTo>
                  <a:lnTo>
                    <a:pt x="4588" y="769"/>
                  </a:lnTo>
                  <a:lnTo>
                    <a:pt x="4385" y="724"/>
                  </a:lnTo>
                  <a:lnTo>
                    <a:pt x="4227" y="656"/>
                  </a:lnTo>
                  <a:lnTo>
                    <a:pt x="4023" y="543"/>
                  </a:lnTo>
                  <a:lnTo>
                    <a:pt x="3504" y="249"/>
                  </a:lnTo>
                  <a:lnTo>
                    <a:pt x="3210" y="136"/>
                  </a:lnTo>
                  <a:lnTo>
                    <a:pt x="2916" y="46"/>
                  </a:lnTo>
                  <a:lnTo>
                    <a:pt x="2758" y="0"/>
                  </a:lnTo>
                  <a:close/>
                </a:path>
              </a:pathLst>
            </a:custGeom>
            <a:solidFill>
              <a:srgbClr val="3331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25" name="Google Shape;1825;p16"/>
            <p:cNvSpPr/>
            <p:nvPr/>
          </p:nvSpPr>
          <p:spPr>
            <a:xfrm>
              <a:off x="2521425" y="1892125"/>
              <a:ext cx="501775" cy="558275"/>
            </a:xfrm>
            <a:custGeom>
              <a:avLst/>
              <a:gdLst/>
              <a:ahLst/>
              <a:cxnLst/>
              <a:rect l="l" t="t" r="r" b="b"/>
              <a:pathLst>
                <a:path w="20071" h="22331" extrusionOk="0">
                  <a:moveTo>
                    <a:pt x="17065" y="1"/>
                  </a:moveTo>
                  <a:lnTo>
                    <a:pt x="16590" y="114"/>
                  </a:lnTo>
                  <a:lnTo>
                    <a:pt x="16138" y="227"/>
                  </a:lnTo>
                  <a:lnTo>
                    <a:pt x="15324" y="475"/>
                  </a:lnTo>
                  <a:lnTo>
                    <a:pt x="14624" y="746"/>
                  </a:lnTo>
                  <a:lnTo>
                    <a:pt x="14059" y="995"/>
                  </a:lnTo>
                  <a:lnTo>
                    <a:pt x="13606" y="1221"/>
                  </a:lnTo>
                  <a:lnTo>
                    <a:pt x="13267" y="1379"/>
                  </a:lnTo>
                  <a:lnTo>
                    <a:pt x="12996" y="1537"/>
                  </a:lnTo>
                  <a:lnTo>
                    <a:pt x="7459" y="8567"/>
                  </a:lnTo>
                  <a:lnTo>
                    <a:pt x="3165" y="13968"/>
                  </a:lnTo>
                  <a:lnTo>
                    <a:pt x="1379" y="16183"/>
                  </a:lnTo>
                  <a:lnTo>
                    <a:pt x="159" y="17675"/>
                  </a:lnTo>
                  <a:lnTo>
                    <a:pt x="68" y="17810"/>
                  </a:lnTo>
                  <a:lnTo>
                    <a:pt x="0" y="17946"/>
                  </a:lnTo>
                  <a:lnTo>
                    <a:pt x="0" y="18059"/>
                  </a:lnTo>
                  <a:lnTo>
                    <a:pt x="23" y="18172"/>
                  </a:lnTo>
                  <a:lnTo>
                    <a:pt x="91" y="18285"/>
                  </a:lnTo>
                  <a:lnTo>
                    <a:pt x="204" y="18398"/>
                  </a:lnTo>
                  <a:lnTo>
                    <a:pt x="339" y="18511"/>
                  </a:lnTo>
                  <a:lnTo>
                    <a:pt x="475" y="18624"/>
                  </a:lnTo>
                  <a:lnTo>
                    <a:pt x="859" y="18873"/>
                  </a:lnTo>
                  <a:lnTo>
                    <a:pt x="1289" y="19167"/>
                  </a:lnTo>
                  <a:lnTo>
                    <a:pt x="1786" y="19528"/>
                  </a:lnTo>
                  <a:lnTo>
                    <a:pt x="2035" y="19709"/>
                  </a:lnTo>
                  <a:lnTo>
                    <a:pt x="2283" y="19935"/>
                  </a:lnTo>
                  <a:lnTo>
                    <a:pt x="2826" y="20387"/>
                  </a:lnTo>
                  <a:lnTo>
                    <a:pt x="3368" y="20771"/>
                  </a:lnTo>
                  <a:lnTo>
                    <a:pt x="3910" y="21110"/>
                  </a:lnTo>
                  <a:lnTo>
                    <a:pt x="4453" y="21404"/>
                  </a:lnTo>
                  <a:lnTo>
                    <a:pt x="4973" y="21630"/>
                  </a:lnTo>
                  <a:lnTo>
                    <a:pt x="5493" y="21833"/>
                  </a:lnTo>
                  <a:lnTo>
                    <a:pt x="5990" y="21992"/>
                  </a:lnTo>
                  <a:lnTo>
                    <a:pt x="6442" y="22105"/>
                  </a:lnTo>
                  <a:lnTo>
                    <a:pt x="6871" y="22195"/>
                  </a:lnTo>
                  <a:lnTo>
                    <a:pt x="7278" y="22263"/>
                  </a:lnTo>
                  <a:lnTo>
                    <a:pt x="7640" y="22308"/>
                  </a:lnTo>
                  <a:lnTo>
                    <a:pt x="7979" y="22331"/>
                  </a:lnTo>
                  <a:lnTo>
                    <a:pt x="8725" y="22331"/>
                  </a:lnTo>
                  <a:lnTo>
                    <a:pt x="8792" y="22286"/>
                  </a:lnTo>
                  <a:lnTo>
                    <a:pt x="8905" y="22195"/>
                  </a:lnTo>
                  <a:lnTo>
                    <a:pt x="9267" y="21856"/>
                  </a:lnTo>
                  <a:lnTo>
                    <a:pt x="9809" y="21291"/>
                  </a:lnTo>
                  <a:lnTo>
                    <a:pt x="10487" y="20523"/>
                  </a:lnTo>
                  <a:lnTo>
                    <a:pt x="11279" y="19573"/>
                  </a:lnTo>
                  <a:lnTo>
                    <a:pt x="12137" y="18488"/>
                  </a:lnTo>
                  <a:lnTo>
                    <a:pt x="13087" y="17245"/>
                  </a:lnTo>
                  <a:lnTo>
                    <a:pt x="14059" y="15867"/>
                  </a:lnTo>
                  <a:lnTo>
                    <a:pt x="14556" y="15143"/>
                  </a:lnTo>
                  <a:lnTo>
                    <a:pt x="15053" y="14398"/>
                  </a:lnTo>
                  <a:lnTo>
                    <a:pt x="15528" y="13629"/>
                  </a:lnTo>
                  <a:lnTo>
                    <a:pt x="16025" y="12838"/>
                  </a:lnTo>
                  <a:lnTo>
                    <a:pt x="16477" y="12047"/>
                  </a:lnTo>
                  <a:lnTo>
                    <a:pt x="16952" y="11211"/>
                  </a:lnTo>
                  <a:lnTo>
                    <a:pt x="17381" y="10375"/>
                  </a:lnTo>
                  <a:lnTo>
                    <a:pt x="17810" y="9538"/>
                  </a:lnTo>
                  <a:lnTo>
                    <a:pt x="18217" y="8680"/>
                  </a:lnTo>
                  <a:lnTo>
                    <a:pt x="18579" y="7798"/>
                  </a:lnTo>
                  <a:lnTo>
                    <a:pt x="18918" y="6939"/>
                  </a:lnTo>
                  <a:lnTo>
                    <a:pt x="19234" y="6058"/>
                  </a:lnTo>
                  <a:lnTo>
                    <a:pt x="19505" y="5199"/>
                  </a:lnTo>
                  <a:lnTo>
                    <a:pt x="19731" y="4317"/>
                  </a:lnTo>
                  <a:lnTo>
                    <a:pt x="19935" y="3459"/>
                  </a:lnTo>
                  <a:lnTo>
                    <a:pt x="20070" y="2600"/>
                  </a:lnTo>
                  <a:lnTo>
                    <a:pt x="20070" y="2464"/>
                  </a:lnTo>
                  <a:lnTo>
                    <a:pt x="20048" y="2419"/>
                  </a:lnTo>
                  <a:lnTo>
                    <a:pt x="20025" y="2396"/>
                  </a:lnTo>
                  <a:lnTo>
                    <a:pt x="19957" y="2396"/>
                  </a:lnTo>
                  <a:lnTo>
                    <a:pt x="19867" y="2487"/>
                  </a:lnTo>
                  <a:lnTo>
                    <a:pt x="19754" y="2600"/>
                  </a:lnTo>
                  <a:lnTo>
                    <a:pt x="19664" y="2735"/>
                  </a:lnTo>
                  <a:lnTo>
                    <a:pt x="19596" y="2894"/>
                  </a:lnTo>
                  <a:lnTo>
                    <a:pt x="19573" y="3074"/>
                  </a:lnTo>
                  <a:lnTo>
                    <a:pt x="19528" y="3233"/>
                  </a:lnTo>
                  <a:lnTo>
                    <a:pt x="19483" y="3368"/>
                  </a:lnTo>
                  <a:lnTo>
                    <a:pt x="19438" y="3504"/>
                  </a:lnTo>
                  <a:lnTo>
                    <a:pt x="19347" y="3617"/>
                  </a:lnTo>
                  <a:lnTo>
                    <a:pt x="19234" y="3685"/>
                  </a:lnTo>
                  <a:lnTo>
                    <a:pt x="19166" y="3707"/>
                  </a:lnTo>
                  <a:lnTo>
                    <a:pt x="19031" y="3707"/>
                  </a:lnTo>
                  <a:lnTo>
                    <a:pt x="18940" y="3685"/>
                  </a:lnTo>
                  <a:lnTo>
                    <a:pt x="18760" y="3572"/>
                  </a:lnTo>
                  <a:lnTo>
                    <a:pt x="18601" y="3436"/>
                  </a:lnTo>
                  <a:lnTo>
                    <a:pt x="18488" y="3255"/>
                  </a:lnTo>
                  <a:lnTo>
                    <a:pt x="18398" y="3052"/>
                  </a:lnTo>
                  <a:lnTo>
                    <a:pt x="18308" y="2803"/>
                  </a:lnTo>
                  <a:lnTo>
                    <a:pt x="18240" y="2555"/>
                  </a:lnTo>
                  <a:lnTo>
                    <a:pt x="18195" y="2261"/>
                  </a:lnTo>
                  <a:lnTo>
                    <a:pt x="18082" y="1696"/>
                  </a:lnTo>
                  <a:lnTo>
                    <a:pt x="18014" y="1402"/>
                  </a:lnTo>
                  <a:lnTo>
                    <a:pt x="17946" y="1108"/>
                  </a:lnTo>
                  <a:lnTo>
                    <a:pt x="17856" y="859"/>
                  </a:lnTo>
                  <a:lnTo>
                    <a:pt x="17765" y="611"/>
                  </a:lnTo>
                  <a:lnTo>
                    <a:pt x="17630" y="407"/>
                  </a:lnTo>
                  <a:lnTo>
                    <a:pt x="17471" y="227"/>
                  </a:lnTo>
                  <a:lnTo>
                    <a:pt x="17381" y="159"/>
                  </a:lnTo>
                  <a:lnTo>
                    <a:pt x="17291" y="91"/>
                  </a:lnTo>
                  <a:lnTo>
                    <a:pt x="17178" y="23"/>
                  </a:lnTo>
                  <a:lnTo>
                    <a:pt x="1706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26" name="Google Shape;1826;p16"/>
            <p:cNvSpPr/>
            <p:nvPr/>
          </p:nvSpPr>
          <p:spPr>
            <a:xfrm>
              <a:off x="2521425" y="1892125"/>
              <a:ext cx="501775" cy="558275"/>
            </a:xfrm>
            <a:custGeom>
              <a:avLst/>
              <a:gdLst/>
              <a:ahLst/>
              <a:cxnLst/>
              <a:rect l="l" t="t" r="r" b="b"/>
              <a:pathLst>
                <a:path w="20071" h="22331" fill="none" extrusionOk="0">
                  <a:moveTo>
                    <a:pt x="17065" y="1"/>
                  </a:moveTo>
                  <a:lnTo>
                    <a:pt x="17065" y="1"/>
                  </a:lnTo>
                  <a:lnTo>
                    <a:pt x="17178" y="23"/>
                  </a:lnTo>
                  <a:lnTo>
                    <a:pt x="17291" y="91"/>
                  </a:lnTo>
                  <a:lnTo>
                    <a:pt x="17381" y="159"/>
                  </a:lnTo>
                  <a:lnTo>
                    <a:pt x="17471" y="227"/>
                  </a:lnTo>
                  <a:lnTo>
                    <a:pt x="17630" y="407"/>
                  </a:lnTo>
                  <a:lnTo>
                    <a:pt x="17765" y="611"/>
                  </a:lnTo>
                  <a:lnTo>
                    <a:pt x="17856" y="859"/>
                  </a:lnTo>
                  <a:lnTo>
                    <a:pt x="17946" y="1108"/>
                  </a:lnTo>
                  <a:lnTo>
                    <a:pt x="18014" y="1402"/>
                  </a:lnTo>
                  <a:lnTo>
                    <a:pt x="18082" y="1696"/>
                  </a:lnTo>
                  <a:lnTo>
                    <a:pt x="18195" y="2261"/>
                  </a:lnTo>
                  <a:lnTo>
                    <a:pt x="18240" y="2555"/>
                  </a:lnTo>
                  <a:lnTo>
                    <a:pt x="18308" y="2803"/>
                  </a:lnTo>
                  <a:lnTo>
                    <a:pt x="18398" y="3052"/>
                  </a:lnTo>
                  <a:lnTo>
                    <a:pt x="18488" y="3255"/>
                  </a:lnTo>
                  <a:lnTo>
                    <a:pt x="18601" y="3436"/>
                  </a:lnTo>
                  <a:lnTo>
                    <a:pt x="18760" y="3572"/>
                  </a:lnTo>
                  <a:lnTo>
                    <a:pt x="18760" y="3572"/>
                  </a:lnTo>
                  <a:lnTo>
                    <a:pt x="18940" y="3685"/>
                  </a:lnTo>
                  <a:lnTo>
                    <a:pt x="19031" y="3707"/>
                  </a:lnTo>
                  <a:lnTo>
                    <a:pt x="19099" y="3707"/>
                  </a:lnTo>
                  <a:lnTo>
                    <a:pt x="19166" y="3707"/>
                  </a:lnTo>
                  <a:lnTo>
                    <a:pt x="19234" y="3685"/>
                  </a:lnTo>
                  <a:lnTo>
                    <a:pt x="19347" y="3617"/>
                  </a:lnTo>
                  <a:lnTo>
                    <a:pt x="19438" y="3504"/>
                  </a:lnTo>
                  <a:lnTo>
                    <a:pt x="19483" y="3368"/>
                  </a:lnTo>
                  <a:lnTo>
                    <a:pt x="19528" y="3233"/>
                  </a:lnTo>
                  <a:lnTo>
                    <a:pt x="19573" y="3074"/>
                  </a:lnTo>
                  <a:lnTo>
                    <a:pt x="19573" y="3074"/>
                  </a:lnTo>
                  <a:lnTo>
                    <a:pt x="19596" y="2894"/>
                  </a:lnTo>
                  <a:lnTo>
                    <a:pt x="19664" y="2735"/>
                  </a:lnTo>
                  <a:lnTo>
                    <a:pt x="19754" y="2600"/>
                  </a:lnTo>
                  <a:lnTo>
                    <a:pt x="19867" y="2487"/>
                  </a:lnTo>
                  <a:lnTo>
                    <a:pt x="19957" y="2396"/>
                  </a:lnTo>
                  <a:lnTo>
                    <a:pt x="20003" y="2396"/>
                  </a:lnTo>
                  <a:lnTo>
                    <a:pt x="20025" y="2396"/>
                  </a:lnTo>
                  <a:lnTo>
                    <a:pt x="20048" y="2419"/>
                  </a:lnTo>
                  <a:lnTo>
                    <a:pt x="20070" y="2464"/>
                  </a:lnTo>
                  <a:lnTo>
                    <a:pt x="20070" y="2600"/>
                  </a:lnTo>
                  <a:lnTo>
                    <a:pt x="20070" y="2600"/>
                  </a:lnTo>
                  <a:lnTo>
                    <a:pt x="19935" y="3459"/>
                  </a:lnTo>
                  <a:lnTo>
                    <a:pt x="19731" y="4317"/>
                  </a:lnTo>
                  <a:lnTo>
                    <a:pt x="19505" y="5199"/>
                  </a:lnTo>
                  <a:lnTo>
                    <a:pt x="19234" y="6058"/>
                  </a:lnTo>
                  <a:lnTo>
                    <a:pt x="18918" y="6939"/>
                  </a:lnTo>
                  <a:lnTo>
                    <a:pt x="18579" y="7798"/>
                  </a:lnTo>
                  <a:lnTo>
                    <a:pt x="18217" y="8680"/>
                  </a:lnTo>
                  <a:lnTo>
                    <a:pt x="17810" y="9538"/>
                  </a:lnTo>
                  <a:lnTo>
                    <a:pt x="17381" y="10375"/>
                  </a:lnTo>
                  <a:lnTo>
                    <a:pt x="16952" y="11211"/>
                  </a:lnTo>
                  <a:lnTo>
                    <a:pt x="16477" y="12047"/>
                  </a:lnTo>
                  <a:lnTo>
                    <a:pt x="16025" y="12838"/>
                  </a:lnTo>
                  <a:lnTo>
                    <a:pt x="15528" y="13629"/>
                  </a:lnTo>
                  <a:lnTo>
                    <a:pt x="15053" y="14398"/>
                  </a:lnTo>
                  <a:lnTo>
                    <a:pt x="14556" y="15143"/>
                  </a:lnTo>
                  <a:lnTo>
                    <a:pt x="14059" y="15867"/>
                  </a:lnTo>
                  <a:lnTo>
                    <a:pt x="13087" y="17245"/>
                  </a:lnTo>
                  <a:lnTo>
                    <a:pt x="12137" y="18488"/>
                  </a:lnTo>
                  <a:lnTo>
                    <a:pt x="11279" y="19573"/>
                  </a:lnTo>
                  <a:lnTo>
                    <a:pt x="10487" y="20523"/>
                  </a:lnTo>
                  <a:lnTo>
                    <a:pt x="9809" y="21291"/>
                  </a:lnTo>
                  <a:lnTo>
                    <a:pt x="9267" y="21856"/>
                  </a:lnTo>
                  <a:lnTo>
                    <a:pt x="8905" y="22195"/>
                  </a:lnTo>
                  <a:lnTo>
                    <a:pt x="8792" y="22286"/>
                  </a:lnTo>
                  <a:lnTo>
                    <a:pt x="8725" y="22331"/>
                  </a:lnTo>
                  <a:lnTo>
                    <a:pt x="8725" y="22331"/>
                  </a:lnTo>
                  <a:lnTo>
                    <a:pt x="8476" y="22331"/>
                  </a:lnTo>
                  <a:lnTo>
                    <a:pt x="7979" y="22331"/>
                  </a:lnTo>
                  <a:lnTo>
                    <a:pt x="7640" y="22308"/>
                  </a:lnTo>
                  <a:lnTo>
                    <a:pt x="7278" y="22263"/>
                  </a:lnTo>
                  <a:lnTo>
                    <a:pt x="6871" y="22195"/>
                  </a:lnTo>
                  <a:lnTo>
                    <a:pt x="6442" y="22105"/>
                  </a:lnTo>
                  <a:lnTo>
                    <a:pt x="5990" y="21992"/>
                  </a:lnTo>
                  <a:lnTo>
                    <a:pt x="5493" y="21833"/>
                  </a:lnTo>
                  <a:lnTo>
                    <a:pt x="4973" y="21630"/>
                  </a:lnTo>
                  <a:lnTo>
                    <a:pt x="4453" y="21404"/>
                  </a:lnTo>
                  <a:lnTo>
                    <a:pt x="3910" y="21110"/>
                  </a:lnTo>
                  <a:lnTo>
                    <a:pt x="3368" y="20771"/>
                  </a:lnTo>
                  <a:lnTo>
                    <a:pt x="2826" y="20387"/>
                  </a:lnTo>
                  <a:lnTo>
                    <a:pt x="2283" y="19935"/>
                  </a:lnTo>
                  <a:lnTo>
                    <a:pt x="2283" y="19935"/>
                  </a:lnTo>
                  <a:lnTo>
                    <a:pt x="2035" y="19709"/>
                  </a:lnTo>
                  <a:lnTo>
                    <a:pt x="1786" y="19528"/>
                  </a:lnTo>
                  <a:lnTo>
                    <a:pt x="1289" y="19167"/>
                  </a:lnTo>
                  <a:lnTo>
                    <a:pt x="859" y="18873"/>
                  </a:lnTo>
                  <a:lnTo>
                    <a:pt x="475" y="18624"/>
                  </a:lnTo>
                  <a:lnTo>
                    <a:pt x="339" y="18511"/>
                  </a:lnTo>
                  <a:lnTo>
                    <a:pt x="204" y="18398"/>
                  </a:lnTo>
                  <a:lnTo>
                    <a:pt x="91" y="18285"/>
                  </a:lnTo>
                  <a:lnTo>
                    <a:pt x="23" y="18172"/>
                  </a:lnTo>
                  <a:lnTo>
                    <a:pt x="0" y="18059"/>
                  </a:lnTo>
                  <a:lnTo>
                    <a:pt x="0" y="17946"/>
                  </a:lnTo>
                  <a:lnTo>
                    <a:pt x="68" y="17810"/>
                  </a:lnTo>
                  <a:lnTo>
                    <a:pt x="159" y="17675"/>
                  </a:lnTo>
                  <a:lnTo>
                    <a:pt x="159" y="17675"/>
                  </a:lnTo>
                  <a:lnTo>
                    <a:pt x="1379" y="16183"/>
                  </a:lnTo>
                  <a:lnTo>
                    <a:pt x="3165" y="13968"/>
                  </a:lnTo>
                  <a:lnTo>
                    <a:pt x="7459" y="8567"/>
                  </a:lnTo>
                  <a:lnTo>
                    <a:pt x="12996" y="1537"/>
                  </a:lnTo>
                  <a:lnTo>
                    <a:pt x="12996" y="1537"/>
                  </a:lnTo>
                  <a:lnTo>
                    <a:pt x="13267" y="1379"/>
                  </a:lnTo>
                  <a:lnTo>
                    <a:pt x="13606" y="1221"/>
                  </a:lnTo>
                  <a:lnTo>
                    <a:pt x="14059" y="995"/>
                  </a:lnTo>
                  <a:lnTo>
                    <a:pt x="14624" y="746"/>
                  </a:lnTo>
                  <a:lnTo>
                    <a:pt x="15324" y="475"/>
                  </a:lnTo>
                  <a:lnTo>
                    <a:pt x="16138" y="227"/>
                  </a:lnTo>
                  <a:lnTo>
                    <a:pt x="16590" y="114"/>
                  </a:lnTo>
                  <a:lnTo>
                    <a:pt x="1706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27" name="Google Shape;1827;p16"/>
            <p:cNvSpPr/>
            <p:nvPr/>
          </p:nvSpPr>
          <p:spPr>
            <a:xfrm>
              <a:off x="2374525" y="1891550"/>
              <a:ext cx="572400" cy="683725"/>
            </a:xfrm>
            <a:custGeom>
              <a:avLst/>
              <a:gdLst/>
              <a:ahLst/>
              <a:cxnLst/>
              <a:rect l="l" t="t" r="r" b="b"/>
              <a:pathLst>
                <a:path w="22896" h="27349" extrusionOk="0">
                  <a:moveTo>
                    <a:pt x="22647" y="1"/>
                  </a:moveTo>
                  <a:lnTo>
                    <a:pt x="22353" y="24"/>
                  </a:lnTo>
                  <a:lnTo>
                    <a:pt x="21878" y="69"/>
                  </a:lnTo>
                  <a:lnTo>
                    <a:pt x="21268" y="159"/>
                  </a:lnTo>
                  <a:lnTo>
                    <a:pt x="20454" y="317"/>
                  </a:lnTo>
                  <a:lnTo>
                    <a:pt x="19437" y="566"/>
                  </a:lnTo>
                  <a:lnTo>
                    <a:pt x="18217" y="928"/>
                  </a:lnTo>
                  <a:lnTo>
                    <a:pt x="17629" y="1108"/>
                  </a:lnTo>
                  <a:lnTo>
                    <a:pt x="16996" y="1357"/>
                  </a:lnTo>
                  <a:lnTo>
                    <a:pt x="16318" y="1651"/>
                  </a:lnTo>
                  <a:lnTo>
                    <a:pt x="15979" y="1832"/>
                  </a:lnTo>
                  <a:lnTo>
                    <a:pt x="15640" y="2013"/>
                  </a:lnTo>
                  <a:lnTo>
                    <a:pt x="15279" y="2216"/>
                  </a:lnTo>
                  <a:lnTo>
                    <a:pt x="14962" y="2442"/>
                  </a:lnTo>
                  <a:lnTo>
                    <a:pt x="14623" y="2691"/>
                  </a:lnTo>
                  <a:lnTo>
                    <a:pt x="14307" y="2962"/>
                  </a:lnTo>
                  <a:lnTo>
                    <a:pt x="13990" y="3256"/>
                  </a:lnTo>
                  <a:lnTo>
                    <a:pt x="13697" y="3572"/>
                  </a:lnTo>
                  <a:lnTo>
                    <a:pt x="13425" y="3911"/>
                  </a:lnTo>
                  <a:lnTo>
                    <a:pt x="13177" y="4273"/>
                  </a:lnTo>
                  <a:lnTo>
                    <a:pt x="12792" y="4883"/>
                  </a:lnTo>
                  <a:lnTo>
                    <a:pt x="12453" y="5471"/>
                  </a:lnTo>
                  <a:lnTo>
                    <a:pt x="12137" y="6036"/>
                  </a:lnTo>
                  <a:lnTo>
                    <a:pt x="11821" y="6623"/>
                  </a:lnTo>
                  <a:lnTo>
                    <a:pt x="11278" y="7731"/>
                  </a:lnTo>
                  <a:lnTo>
                    <a:pt x="10781" y="8793"/>
                  </a:lnTo>
                  <a:lnTo>
                    <a:pt x="10329" y="9787"/>
                  </a:lnTo>
                  <a:lnTo>
                    <a:pt x="9899" y="10759"/>
                  </a:lnTo>
                  <a:lnTo>
                    <a:pt x="9447" y="11641"/>
                  </a:lnTo>
                  <a:lnTo>
                    <a:pt x="9199" y="12070"/>
                  </a:lnTo>
                  <a:lnTo>
                    <a:pt x="8950" y="12477"/>
                  </a:lnTo>
                  <a:lnTo>
                    <a:pt x="8702" y="12884"/>
                  </a:lnTo>
                  <a:lnTo>
                    <a:pt x="8453" y="13313"/>
                  </a:lnTo>
                  <a:lnTo>
                    <a:pt x="7956" y="14262"/>
                  </a:lnTo>
                  <a:lnTo>
                    <a:pt x="7413" y="15234"/>
                  </a:lnTo>
                  <a:lnTo>
                    <a:pt x="7120" y="15732"/>
                  </a:lnTo>
                  <a:lnTo>
                    <a:pt x="6803" y="16229"/>
                  </a:lnTo>
                  <a:lnTo>
                    <a:pt x="6487" y="16703"/>
                  </a:lnTo>
                  <a:lnTo>
                    <a:pt x="6125" y="17178"/>
                  </a:lnTo>
                  <a:lnTo>
                    <a:pt x="5763" y="17653"/>
                  </a:lnTo>
                  <a:lnTo>
                    <a:pt x="5357" y="18082"/>
                  </a:lnTo>
                  <a:lnTo>
                    <a:pt x="4950" y="18511"/>
                  </a:lnTo>
                  <a:lnTo>
                    <a:pt x="4475" y="18896"/>
                  </a:lnTo>
                  <a:lnTo>
                    <a:pt x="3978" y="19257"/>
                  </a:lnTo>
                  <a:lnTo>
                    <a:pt x="3729" y="19416"/>
                  </a:lnTo>
                  <a:lnTo>
                    <a:pt x="3458" y="19551"/>
                  </a:lnTo>
                  <a:lnTo>
                    <a:pt x="2870" y="19890"/>
                  </a:lnTo>
                  <a:lnTo>
                    <a:pt x="2351" y="20229"/>
                  </a:lnTo>
                  <a:lnTo>
                    <a:pt x="1853" y="20568"/>
                  </a:lnTo>
                  <a:lnTo>
                    <a:pt x="1424" y="20930"/>
                  </a:lnTo>
                  <a:lnTo>
                    <a:pt x="1062" y="21291"/>
                  </a:lnTo>
                  <a:lnTo>
                    <a:pt x="723" y="21653"/>
                  </a:lnTo>
                  <a:lnTo>
                    <a:pt x="452" y="22037"/>
                  </a:lnTo>
                  <a:lnTo>
                    <a:pt x="362" y="22218"/>
                  </a:lnTo>
                  <a:lnTo>
                    <a:pt x="249" y="22422"/>
                  </a:lnTo>
                  <a:lnTo>
                    <a:pt x="181" y="22625"/>
                  </a:lnTo>
                  <a:lnTo>
                    <a:pt x="113" y="22806"/>
                  </a:lnTo>
                  <a:lnTo>
                    <a:pt x="68" y="23009"/>
                  </a:lnTo>
                  <a:lnTo>
                    <a:pt x="23" y="23190"/>
                  </a:lnTo>
                  <a:lnTo>
                    <a:pt x="0" y="23393"/>
                  </a:lnTo>
                  <a:lnTo>
                    <a:pt x="0" y="23597"/>
                  </a:lnTo>
                  <a:lnTo>
                    <a:pt x="23" y="23800"/>
                  </a:lnTo>
                  <a:lnTo>
                    <a:pt x="45" y="23981"/>
                  </a:lnTo>
                  <a:lnTo>
                    <a:pt x="90" y="24184"/>
                  </a:lnTo>
                  <a:lnTo>
                    <a:pt x="158" y="24388"/>
                  </a:lnTo>
                  <a:lnTo>
                    <a:pt x="249" y="24591"/>
                  </a:lnTo>
                  <a:lnTo>
                    <a:pt x="362" y="24795"/>
                  </a:lnTo>
                  <a:lnTo>
                    <a:pt x="475" y="24998"/>
                  </a:lnTo>
                  <a:lnTo>
                    <a:pt x="610" y="25201"/>
                  </a:lnTo>
                  <a:lnTo>
                    <a:pt x="768" y="25382"/>
                  </a:lnTo>
                  <a:lnTo>
                    <a:pt x="949" y="25586"/>
                  </a:lnTo>
                  <a:lnTo>
                    <a:pt x="1198" y="25857"/>
                  </a:lnTo>
                  <a:lnTo>
                    <a:pt x="1469" y="26106"/>
                  </a:lnTo>
                  <a:lnTo>
                    <a:pt x="1763" y="26332"/>
                  </a:lnTo>
                  <a:lnTo>
                    <a:pt x="2034" y="26512"/>
                  </a:lnTo>
                  <a:lnTo>
                    <a:pt x="2328" y="26693"/>
                  </a:lnTo>
                  <a:lnTo>
                    <a:pt x="2622" y="26851"/>
                  </a:lnTo>
                  <a:lnTo>
                    <a:pt x="2916" y="26964"/>
                  </a:lnTo>
                  <a:lnTo>
                    <a:pt x="3209" y="27077"/>
                  </a:lnTo>
                  <a:lnTo>
                    <a:pt x="3503" y="27168"/>
                  </a:lnTo>
                  <a:lnTo>
                    <a:pt x="3797" y="27236"/>
                  </a:lnTo>
                  <a:lnTo>
                    <a:pt x="4091" y="27281"/>
                  </a:lnTo>
                  <a:lnTo>
                    <a:pt x="4407" y="27326"/>
                  </a:lnTo>
                  <a:lnTo>
                    <a:pt x="4701" y="27349"/>
                  </a:lnTo>
                  <a:lnTo>
                    <a:pt x="4995" y="27349"/>
                  </a:lnTo>
                  <a:lnTo>
                    <a:pt x="5583" y="27326"/>
                  </a:lnTo>
                  <a:lnTo>
                    <a:pt x="6170" y="27258"/>
                  </a:lnTo>
                  <a:lnTo>
                    <a:pt x="6758" y="27145"/>
                  </a:lnTo>
                  <a:lnTo>
                    <a:pt x="7300" y="27032"/>
                  </a:lnTo>
                  <a:lnTo>
                    <a:pt x="7843" y="26874"/>
                  </a:lnTo>
                  <a:lnTo>
                    <a:pt x="8837" y="26558"/>
                  </a:lnTo>
                  <a:lnTo>
                    <a:pt x="9696" y="26286"/>
                  </a:lnTo>
                  <a:lnTo>
                    <a:pt x="9922" y="26219"/>
                  </a:lnTo>
                  <a:lnTo>
                    <a:pt x="10125" y="26128"/>
                  </a:lnTo>
                  <a:lnTo>
                    <a:pt x="10306" y="26015"/>
                  </a:lnTo>
                  <a:lnTo>
                    <a:pt x="10465" y="25925"/>
                  </a:lnTo>
                  <a:lnTo>
                    <a:pt x="10623" y="25789"/>
                  </a:lnTo>
                  <a:lnTo>
                    <a:pt x="10758" y="25676"/>
                  </a:lnTo>
                  <a:lnTo>
                    <a:pt x="10871" y="25541"/>
                  </a:lnTo>
                  <a:lnTo>
                    <a:pt x="10984" y="25382"/>
                  </a:lnTo>
                  <a:lnTo>
                    <a:pt x="11188" y="25066"/>
                  </a:lnTo>
                  <a:lnTo>
                    <a:pt x="11346" y="24704"/>
                  </a:lnTo>
                  <a:lnTo>
                    <a:pt x="11504" y="24297"/>
                  </a:lnTo>
                  <a:lnTo>
                    <a:pt x="11662" y="23891"/>
                  </a:lnTo>
                  <a:lnTo>
                    <a:pt x="11821" y="23439"/>
                  </a:lnTo>
                  <a:lnTo>
                    <a:pt x="12024" y="22941"/>
                  </a:lnTo>
                  <a:lnTo>
                    <a:pt x="12250" y="22444"/>
                  </a:lnTo>
                  <a:lnTo>
                    <a:pt x="12521" y="21902"/>
                  </a:lnTo>
                  <a:lnTo>
                    <a:pt x="12860" y="21359"/>
                  </a:lnTo>
                  <a:lnTo>
                    <a:pt x="13064" y="21065"/>
                  </a:lnTo>
                  <a:lnTo>
                    <a:pt x="13290" y="20794"/>
                  </a:lnTo>
                  <a:lnTo>
                    <a:pt x="13538" y="20500"/>
                  </a:lnTo>
                  <a:lnTo>
                    <a:pt x="13787" y="20207"/>
                  </a:lnTo>
                  <a:lnTo>
                    <a:pt x="14081" y="19890"/>
                  </a:lnTo>
                  <a:lnTo>
                    <a:pt x="14397" y="19596"/>
                  </a:lnTo>
                  <a:lnTo>
                    <a:pt x="14691" y="19303"/>
                  </a:lnTo>
                  <a:lnTo>
                    <a:pt x="14962" y="18986"/>
                  </a:lnTo>
                  <a:lnTo>
                    <a:pt x="15211" y="18625"/>
                  </a:lnTo>
                  <a:lnTo>
                    <a:pt x="15482" y="18263"/>
                  </a:lnTo>
                  <a:lnTo>
                    <a:pt x="15731" y="17856"/>
                  </a:lnTo>
                  <a:lnTo>
                    <a:pt x="15979" y="17427"/>
                  </a:lnTo>
                  <a:lnTo>
                    <a:pt x="16454" y="16545"/>
                  </a:lnTo>
                  <a:lnTo>
                    <a:pt x="17403" y="14714"/>
                  </a:lnTo>
                  <a:lnTo>
                    <a:pt x="17900" y="13810"/>
                  </a:lnTo>
                  <a:lnTo>
                    <a:pt x="18149" y="13404"/>
                  </a:lnTo>
                  <a:lnTo>
                    <a:pt x="18420" y="12997"/>
                  </a:lnTo>
                  <a:lnTo>
                    <a:pt x="18691" y="12590"/>
                  </a:lnTo>
                  <a:lnTo>
                    <a:pt x="18963" y="12161"/>
                  </a:lnTo>
                  <a:lnTo>
                    <a:pt x="19211" y="11708"/>
                  </a:lnTo>
                  <a:lnTo>
                    <a:pt x="19460" y="11256"/>
                  </a:lnTo>
                  <a:lnTo>
                    <a:pt x="19686" y="10782"/>
                  </a:lnTo>
                  <a:lnTo>
                    <a:pt x="19889" y="10307"/>
                  </a:lnTo>
                  <a:lnTo>
                    <a:pt x="20296" y="9335"/>
                  </a:lnTo>
                  <a:lnTo>
                    <a:pt x="20658" y="8341"/>
                  </a:lnTo>
                  <a:lnTo>
                    <a:pt x="20974" y="7324"/>
                  </a:lnTo>
                  <a:lnTo>
                    <a:pt x="21268" y="6352"/>
                  </a:lnTo>
                  <a:lnTo>
                    <a:pt x="21539" y="5380"/>
                  </a:lnTo>
                  <a:lnTo>
                    <a:pt x="21765" y="4453"/>
                  </a:lnTo>
                  <a:lnTo>
                    <a:pt x="21991" y="3572"/>
                  </a:lnTo>
                  <a:lnTo>
                    <a:pt x="22330" y="2013"/>
                  </a:lnTo>
                  <a:lnTo>
                    <a:pt x="22624" y="792"/>
                  </a:lnTo>
                  <a:lnTo>
                    <a:pt x="22760" y="340"/>
                  </a:lnTo>
                  <a:lnTo>
                    <a:pt x="22895" y="24"/>
                  </a:lnTo>
                  <a:lnTo>
                    <a:pt x="22647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28" name="Google Shape;1828;p16"/>
            <p:cNvSpPr/>
            <p:nvPr/>
          </p:nvSpPr>
          <p:spPr>
            <a:xfrm>
              <a:off x="2374525" y="1891550"/>
              <a:ext cx="572400" cy="683725"/>
            </a:xfrm>
            <a:custGeom>
              <a:avLst/>
              <a:gdLst/>
              <a:ahLst/>
              <a:cxnLst/>
              <a:rect l="l" t="t" r="r" b="b"/>
              <a:pathLst>
                <a:path w="22896" h="27349" fill="none" extrusionOk="0">
                  <a:moveTo>
                    <a:pt x="18420" y="12997"/>
                  </a:moveTo>
                  <a:lnTo>
                    <a:pt x="18420" y="12997"/>
                  </a:lnTo>
                  <a:lnTo>
                    <a:pt x="18149" y="13404"/>
                  </a:lnTo>
                  <a:lnTo>
                    <a:pt x="17900" y="13810"/>
                  </a:lnTo>
                  <a:lnTo>
                    <a:pt x="17403" y="14714"/>
                  </a:lnTo>
                  <a:lnTo>
                    <a:pt x="16454" y="16545"/>
                  </a:lnTo>
                  <a:lnTo>
                    <a:pt x="15979" y="17427"/>
                  </a:lnTo>
                  <a:lnTo>
                    <a:pt x="15731" y="17856"/>
                  </a:lnTo>
                  <a:lnTo>
                    <a:pt x="15482" y="18263"/>
                  </a:lnTo>
                  <a:lnTo>
                    <a:pt x="15211" y="18625"/>
                  </a:lnTo>
                  <a:lnTo>
                    <a:pt x="14962" y="18986"/>
                  </a:lnTo>
                  <a:lnTo>
                    <a:pt x="14691" y="19303"/>
                  </a:lnTo>
                  <a:lnTo>
                    <a:pt x="14397" y="19596"/>
                  </a:lnTo>
                  <a:lnTo>
                    <a:pt x="14397" y="19596"/>
                  </a:lnTo>
                  <a:lnTo>
                    <a:pt x="14081" y="19890"/>
                  </a:lnTo>
                  <a:lnTo>
                    <a:pt x="13787" y="20207"/>
                  </a:lnTo>
                  <a:lnTo>
                    <a:pt x="13538" y="20500"/>
                  </a:lnTo>
                  <a:lnTo>
                    <a:pt x="13290" y="20794"/>
                  </a:lnTo>
                  <a:lnTo>
                    <a:pt x="13064" y="21065"/>
                  </a:lnTo>
                  <a:lnTo>
                    <a:pt x="12860" y="21359"/>
                  </a:lnTo>
                  <a:lnTo>
                    <a:pt x="12521" y="21902"/>
                  </a:lnTo>
                  <a:lnTo>
                    <a:pt x="12250" y="22444"/>
                  </a:lnTo>
                  <a:lnTo>
                    <a:pt x="12024" y="22941"/>
                  </a:lnTo>
                  <a:lnTo>
                    <a:pt x="11821" y="23439"/>
                  </a:lnTo>
                  <a:lnTo>
                    <a:pt x="11662" y="23891"/>
                  </a:lnTo>
                  <a:lnTo>
                    <a:pt x="11504" y="24297"/>
                  </a:lnTo>
                  <a:lnTo>
                    <a:pt x="11346" y="24704"/>
                  </a:lnTo>
                  <a:lnTo>
                    <a:pt x="11188" y="25066"/>
                  </a:lnTo>
                  <a:lnTo>
                    <a:pt x="10984" y="25382"/>
                  </a:lnTo>
                  <a:lnTo>
                    <a:pt x="10871" y="25541"/>
                  </a:lnTo>
                  <a:lnTo>
                    <a:pt x="10758" y="25676"/>
                  </a:lnTo>
                  <a:lnTo>
                    <a:pt x="10623" y="25789"/>
                  </a:lnTo>
                  <a:lnTo>
                    <a:pt x="10465" y="25925"/>
                  </a:lnTo>
                  <a:lnTo>
                    <a:pt x="10306" y="26015"/>
                  </a:lnTo>
                  <a:lnTo>
                    <a:pt x="10125" y="26128"/>
                  </a:lnTo>
                  <a:lnTo>
                    <a:pt x="9922" y="26219"/>
                  </a:lnTo>
                  <a:lnTo>
                    <a:pt x="9696" y="26286"/>
                  </a:lnTo>
                  <a:lnTo>
                    <a:pt x="9696" y="26286"/>
                  </a:lnTo>
                  <a:lnTo>
                    <a:pt x="8837" y="26558"/>
                  </a:lnTo>
                  <a:lnTo>
                    <a:pt x="7843" y="26874"/>
                  </a:lnTo>
                  <a:lnTo>
                    <a:pt x="7300" y="27032"/>
                  </a:lnTo>
                  <a:lnTo>
                    <a:pt x="6758" y="27145"/>
                  </a:lnTo>
                  <a:lnTo>
                    <a:pt x="6170" y="27258"/>
                  </a:lnTo>
                  <a:lnTo>
                    <a:pt x="5583" y="27326"/>
                  </a:lnTo>
                  <a:lnTo>
                    <a:pt x="4995" y="27349"/>
                  </a:lnTo>
                  <a:lnTo>
                    <a:pt x="4701" y="27349"/>
                  </a:lnTo>
                  <a:lnTo>
                    <a:pt x="4407" y="27326"/>
                  </a:lnTo>
                  <a:lnTo>
                    <a:pt x="4091" y="27281"/>
                  </a:lnTo>
                  <a:lnTo>
                    <a:pt x="3797" y="27236"/>
                  </a:lnTo>
                  <a:lnTo>
                    <a:pt x="3503" y="27168"/>
                  </a:lnTo>
                  <a:lnTo>
                    <a:pt x="3209" y="27077"/>
                  </a:lnTo>
                  <a:lnTo>
                    <a:pt x="2916" y="26964"/>
                  </a:lnTo>
                  <a:lnTo>
                    <a:pt x="2622" y="26851"/>
                  </a:lnTo>
                  <a:lnTo>
                    <a:pt x="2328" y="26693"/>
                  </a:lnTo>
                  <a:lnTo>
                    <a:pt x="2034" y="26512"/>
                  </a:lnTo>
                  <a:lnTo>
                    <a:pt x="1763" y="26332"/>
                  </a:lnTo>
                  <a:lnTo>
                    <a:pt x="1469" y="26106"/>
                  </a:lnTo>
                  <a:lnTo>
                    <a:pt x="1198" y="25857"/>
                  </a:lnTo>
                  <a:lnTo>
                    <a:pt x="949" y="25586"/>
                  </a:lnTo>
                  <a:lnTo>
                    <a:pt x="949" y="25586"/>
                  </a:lnTo>
                  <a:lnTo>
                    <a:pt x="768" y="25382"/>
                  </a:lnTo>
                  <a:lnTo>
                    <a:pt x="610" y="25201"/>
                  </a:lnTo>
                  <a:lnTo>
                    <a:pt x="475" y="24998"/>
                  </a:lnTo>
                  <a:lnTo>
                    <a:pt x="362" y="24795"/>
                  </a:lnTo>
                  <a:lnTo>
                    <a:pt x="249" y="24591"/>
                  </a:lnTo>
                  <a:lnTo>
                    <a:pt x="158" y="24388"/>
                  </a:lnTo>
                  <a:lnTo>
                    <a:pt x="90" y="24184"/>
                  </a:lnTo>
                  <a:lnTo>
                    <a:pt x="45" y="23981"/>
                  </a:lnTo>
                  <a:lnTo>
                    <a:pt x="23" y="23800"/>
                  </a:lnTo>
                  <a:lnTo>
                    <a:pt x="0" y="23597"/>
                  </a:lnTo>
                  <a:lnTo>
                    <a:pt x="0" y="23393"/>
                  </a:lnTo>
                  <a:lnTo>
                    <a:pt x="23" y="23190"/>
                  </a:lnTo>
                  <a:lnTo>
                    <a:pt x="68" y="23009"/>
                  </a:lnTo>
                  <a:lnTo>
                    <a:pt x="113" y="22806"/>
                  </a:lnTo>
                  <a:lnTo>
                    <a:pt x="181" y="22625"/>
                  </a:lnTo>
                  <a:lnTo>
                    <a:pt x="249" y="22422"/>
                  </a:lnTo>
                  <a:lnTo>
                    <a:pt x="362" y="22218"/>
                  </a:lnTo>
                  <a:lnTo>
                    <a:pt x="452" y="22037"/>
                  </a:lnTo>
                  <a:lnTo>
                    <a:pt x="723" y="21653"/>
                  </a:lnTo>
                  <a:lnTo>
                    <a:pt x="1062" y="21291"/>
                  </a:lnTo>
                  <a:lnTo>
                    <a:pt x="1424" y="20930"/>
                  </a:lnTo>
                  <a:lnTo>
                    <a:pt x="1853" y="20568"/>
                  </a:lnTo>
                  <a:lnTo>
                    <a:pt x="2351" y="20229"/>
                  </a:lnTo>
                  <a:lnTo>
                    <a:pt x="2870" y="19890"/>
                  </a:lnTo>
                  <a:lnTo>
                    <a:pt x="3458" y="19551"/>
                  </a:lnTo>
                  <a:lnTo>
                    <a:pt x="3458" y="19551"/>
                  </a:lnTo>
                  <a:lnTo>
                    <a:pt x="3729" y="19416"/>
                  </a:lnTo>
                  <a:lnTo>
                    <a:pt x="3978" y="19257"/>
                  </a:lnTo>
                  <a:lnTo>
                    <a:pt x="4475" y="18896"/>
                  </a:lnTo>
                  <a:lnTo>
                    <a:pt x="4950" y="18511"/>
                  </a:lnTo>
                  <a:lnTo>
                    <a:pt x="5357" y="18082"/>
                  </a:lnTo>
                  <a:lnTo>
                    <a:pt x="5763" y="17653"/>
                  </a:lnTo>
                  <a:lnTo>
                    <a:pt x="6125" y="17178"/>
                  </a:lnTo>
                  <a:lnTo>
                    <a:pt x="6487" y="16703"/>
                  </a:lnTo>
                  <a:lnTo>
                    <a:pt x="6803" y="16229"/>
                  </a:lnTo>
                  <a:lnTo>
                    <a:pt x="7120" y="15732"/>
                  </a:lnTo>
                  <a:lnTo>
                    <a:pt x="7413" y="15234"/>
                  </a:lnTo>
                  <a:lnTo>
                    <a:pt x="7956" y="14262"/>
                  </a:lnTo>
                  <a:lnTo>
                    <a:pt x="8453" y="13313"/>
                  </a:lnTo>
                  <a:lnTo>
                    <a:pt x="8702" y="12884"/>
                  </a:lnTo>
                  <a:lnTo>
                    <a:pt x="8950" y="12477"/>
                  </a:lnTo>
                  <a:lnTo>
                    <a:pt x="8950" y="12477"/>
                  </a:lnTo>
                  <a:lnTo>
                    <a:pt x="9199" y="12070"/>
                  </a:lnTo>
                  <a:lnTo>
                    <a:pt x="9447" y="11641"/>
                  </a:lnTo>
                  <a:lnTo>
                    <a:pt x="9899" y="10759"/>
                  </a:lnTo>
                  <a:lnTo>
                    <a:pt x="10329" y="9787"/>
                  </a:lnTo>
                  <a:lnTo>
                    <a:pt x="10781" y="8793"/>
                  </a:lnTo>
                  <a:lnTo>
                    <a:pt x="11278" y="7731"/>
                  </a:lnTo>
                  <a:lnTo>
                    <a:pt x="11821" y="6623"/>
                  </a:lnTo>
                  <a:lnTo>
                    <a:pt x="12137" y="6036"/>
                  </a:lnTo>
                  <a:lnTo>
                    <a:pt x="12453" y="5471"/>
                  </a:lnTo>
                  <a:lnTo>
                    <a:pt x="12792" y="4883"/>
                  </a:lnTo>
                  <a:lnTo>
                    <a:pt x="13177" y="4273"/>
                  </a:lnTo>
                  <a:lnTo>
                    <a:pt x="13177" y="4273"/>
                  </a:lnTo>
                  <a:lnTo>
                    <a:pt x="13425" y="3911"/>
                  </a:lnTo>
                  <a:lnTo>
                    <a:pt x="13697" y="3572"/>
                  </a:lnTo>
                  <a:lnTo>
                    <a:pt x="13990" y="3256"/>
                  </a:lnTo>
                  <a:lnTo>
                    <a:pt x="14307" y="2962"/>
                  </a:lnTo>
                  <a:lnTo>
                    <a:pt x="14623" y="2691"/>
                  </a:lnTo>
                  <a:lnTo>
                    <a:pt x="14962" y="2442"/>
                  </a:lnTo>
                  <a:lnTo>
                    <a:pt x="15279" y="2216"/>
                  </a:lnTo>
                  <a:lnTo>
                    <a:pt x="15640" y="2013"/>
                  </a:lnTo>
                  <a:lnTo>
                    <a:pt x="15979" y="1832"/>
                  </a:lnTo>
                  <a:lnTo>
                    <a:pt x="16318" y="1651"/>
                  </a:lnTo>
                  <a:lnTo>
                    <a:pt x="16996" y="1357"/>
                  </a:lnTo>
                  <a:lnTo>
                    <a:pt x="17629" y="1108"/>
                  </a:lnTo>
                  <a:lnTo>
                    <a:pt x="18217" y="928"/>
                  </a:lnTo>
                  <a:lnTo>
                    <a:pt x="18217" y="928"/>
                  </a:lnTo>
                  <a:lnTo>
                    <a:pt x="19437" y="566"/>
                  </a:lnTo>
                  <a:lnTo>
                    <a:pt x="20454" y="317"/>
                  </a:lnTo>
                  <a:lnTo>
                    <a:pt x="21268" y="159"/>
                  </a:lnTo>
                  <a:lnTo>
                    <a:pt x="21878" y="69"/>
                  </a:lnTo>
                  <a:lnTo>
                    <a:pt x="22353" y="24"/>
                  </a:lnTo>
                  <a:lnTo>
                    <a:pt x="22647" y="1"/>
                  </a:lnTo>
                  <a:lnTo>
                    <a:pt x="22895" y="24"/>
                  </a:lnTo>
                  <a:lnTo>
                    <a:pt x="22895" y="24"/>
                  </a:lnTo>
                  <a:lnTo>
                    <a:pt x="22760" y="340"/>
                  </a:lnTo>
                  <a:lnTo>
                    <a:pt x="22624" y="792"/>
                  </a:lnTo>
                  <a:lnTo>
                    <a:pt x="22330" y="2013"/>
                  </a:lnTo>
                  <a:lnTo>
                    <a:pt x="21991" y="3572"/>
                  </a:lnTo>
                  <a:lnTo>
                    <a:pt x="21765" y="4453"/>
                  </a:lnTo>
                  <a:lnTo>
                    <a:pt x="21539" y="5380"/>
                  </a:lnTo>
                  <a:lnTo>
                    <a:pt x="21268" y="6352"/>
                  </a:lnTo>
                  <a:lnTo>
                    <a:pt x="20974" y="7324"/>
                  </a:lnTo>
                  <a:lnTo>
                    <a:pt x="20658" y="8341"/>
                  </a:lnTo>
                  <a:lnTo>
                    <a:pt x="20296" y="9335"/>
                  </a:lnTo>
                  <a:lnTo>
                    <a:pt x="19889" y="10307"/>
                  </a:lnTo>
                  <a:lnTo>
                    <a:pt x="19686" y="10782"/>
                  </a:lnTo>
                  <a:lnTo>
                    <a:pt x="19460" y="11256"/>
                  </a:lnTo>
                  <a:lnTo>
                    <a:pt x="19211" y="11708"/>
                  </a:lnTo>
                  <a:lnTo>
                    <a:pt x="18963" y="12161"/>
                  </a:lnTo>
                  <a:lnTo>
                    <a:pt x="18691" y="12590"/>
                  </a:lnTo>
                  <a:lnTo>
                    <a:pt x="18420" y="1299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29" name="Google Shape;1829;p16"/>
            <p:cNvSpPr/>
            <p:nvPr/>
          </p:nvSpPr>
          <p:spPr>
            <a:xfrm>
              <a:off x="2709025" y="2252625"/>
              <a:ext cx="104550" cy="155975"/>
            </a:xfrm>
            <a:custGeom>
              <a:avLst/>
              <a:gdLst/>
              <a:ahLst/>
              <a:cxnLst/>
              <a:rect l="l" t="t" r="r" b="b"/>
              <a:pathLst>
                <a:path w="4182" h="6239" extrusionOk="0">
                  <a:moveTo>
                    <a:pt x="4181" y="0"/>
                  </a:moveTo>
                  <a:lnTo>
                    <a:pt x="3797" y="701"/>
                  </a:lnTo>
                  <a:lnTo>
                    <a:pt x="3413" y="1424"/>
                  </a:lnTo>
                  <a:lnTo>
                    <a:pt x="3029" y="2147"/>
                  </a:lnTo>
                  <a:lnTo>
                    <a:pt x="2667" y="2848"/>
                  </a:lnTo>
                  <a:lnTo>
                    <a:pt x="2283" y="3526"/>
                  </a:lnTo>
                  <a:lnTo>
                    <a:pt x="1876" y="4136"/>
                  </a:lnTo>
                  <a:lnTo>
                    <a:pt x="1673" y="4430"/>
                  </a:lnTo>
                  <a:lnTo>
                    <a:pt x="1469" y="4679"/>
                  </a:lnTo>
                  <a:lnTo>
                    <a:pt x="1243" y="4927"/>
                  </a:lnTo>
                  <a:lnTo>
                    <a:pt x="1017" y="5153"/>
                  </a:lnTo>
                  <a:lnTo>
                    <a:pt x="723" y="5425"/>
                  </a:lnTo>
                  <a:lnTo>
                    <a:pt x="475" y="5696"/>
                  </a:lnTo>
                  <a:lnTo>
                    <a:pt x="0" y="6238"/>
                  </a:lnTo>
                  <a:lnTo>
                    <a:pt x="407" y="5877"/>
                  </a:lnTo>
                  <a:lnTo>
                    <a:pt x="769" y="5492"/>
                  </a:lnTo>
                  <a:lnTo>
                    <a:pt x="1130" y="5108"/>
                  </a:lnTo>
                  <a:lnTo>
                    <a:pt x="1447" y="4724"/>
                  </a:lnTo>
                  <a:lnTo>
                    <a:pt x="1763" y="4340"/>
                  </a:lnTo>
                  <a:lnTo>
                    <a:pt x="2034" y="3933"/>
                  </a:lnTo>
                  <a:lnTo>
                    <a:pt x="2305" y="3526"/>
                  </a:lnTo>
                  <a:lnTo>
                    <a:pt x="2554" y="3142"/>
                  </a:lnTo>
                  <a:lnTo>
                    <a:pt x="3006" y="2328"/>
                  </a:lnTo>
                  <a:lnTo>
                    <a:pt x="3436" y="1537"/>
                  </a:lnTo>
                  <a:lnTo>
                    <a:pt x="4181" y="23"/>
                  </a:lnTo>
                  <a:lnTo>
                    <a:pt x="4181" y="0"/>
                  </a:lnTo>
                  <a:close/>
                </a:path>
              </a:pathLst>
            </a:custGeom>
            <a:solidFill>
              <a:srgbClr val="DDDCD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30" name="Google Shape;1830;p16"/>
            <p:cNvSpPr/>
            <p:nvPr/>
          </p:nvSpPr>
          <p:spPr>
            <a:xfrm>
              <a:off x="2709025" y="2252625"/>
              <a:ext cx="104550" cy="155975"/>
            </a:xfrm>
            <a:custGeom>
              <a:avLst/>
              <a:gdLst/>
              <a:ahLst/>
              <a:cxnLst/>
              <a:rect l="l" t="t" r="r" b="b"/>
              <a:pathLst>
                <a:path w="4182" h="6239" fill="none" extrusionOk="0">
                  <a:moveTo>
                    <a:pt x="4181" y="0"/>
                  </a:moveTo>
                  <a:lnTo>
                    <a:pt x="4181" y="0"/>
                  </a:lnTo>
                  <a:lnTo>
                    <a:pt x="3797" y="701"/>
                  </a:lnTo>
                  <a:lnTo>
                    <a:pt x="3413" y="1424"/>
                  </a:lnTo>
                  <a:lnTo>
                    <a:pt x="3029" y="2147"/>
                  </a:lnTo>
                  <a:lnTo>
                    <a:pt x="2667" y="2848"/>
                  </a:lnTo>
                  <a:lnTo>
                    <a:pt x="2283" y="3526"/>
                  </a:lnTo>
                  <a:lnTo>
                    <a:pt x="1876" y="4136"/>
                  </a:lnTo>
                  <a:lnTo>
                    <a:pt x="1673" y="4430"/>
                  </a:lnTo>
                  <a:lnTo>
                    <a:pt x="1469" y="4679"/>
                  </a:lnTo>
                  <a:lnTo>
                    <a:pt x="1243" y="4927"/>
                  </a:lnTo>
                  <a:lnTo>
                    <a:pt x="1017" y="5153"/>
                  </a:lnTo>
                  <a:lnTo>
                    <a:pt x="1017" y="5153"/>
                  </a:lnTo>
                  <a:lnTo>
                    <a:pt x="723" y="5425"/>
                  </a:lnTo>
                  <a:lnTo>
                    <a:pt x="475" y="5696"/>
                  </a:lnTo>
                  <a:lnTo>
                    <a:pt x="0" y="6238"/>
                  </a:lnTo>
                  <a:lnTo>
                    <a:pt x="0" y="6238"/>
                  </a:lnTo>
                  <a:lnTo>
                    <a:pt x="0" y="6238"/>
                  </a:lnTo>
                  <a:lnTo>
                    <a:pt x="0" y="6238"/>
                  </a:lnTo>
                  <a:lnTo>
                    <a:pt x="407" y="5877"/>
                  </a:lnTo>
                  <a:lnTo>
                    <a:pt x="769" y="5492"/>
                  </a:lnTo>
                  <a:lnTo>
                    <a:pt x="1130" y="5108"/>
                  </a:lnTo>
                  <a:lnTo>
                    <a:pt x="1447" y="4724"/>
                  </a:lnTo>
                  <a:lnTo>
                    <a:pt x="1763" y="4340"/>
                  </a:lnTo>
                  <a:lnTo>
                    <a:pt x="2034" y="3933"/>
                  </a:lnTo>
                  <a:lnTo>
                    <a:pt x="2305" y="3526"/>
                  </a:lnTo>
                  <a:lnTo>
                    <a:pt x="2554" y="3142"/>
                  </a:lnTo>
                  <a:lnTo>
                    <a:pt x="3006" y="2328"/>
                  </a:lnTo>
                  <a:lnTo>
                    <a:pt x="3436" y="1537"/>
                  </a:lnTo>
                  <a:lnTo>
                    <a:pt x="4181" y="23"/>
                  </a:lnTo>
                  <a:lnTo>
                    <a:pt x="4181" y="23"/>
                  </a:lnTo>
                  <a:lnTo>
                    <a:pt x="418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31" name="Google Shape;1831;p16"/>
            <p:cNvSpPr/>
            <p:nvPr/>
          </p:nvSpPr>
          <p:spPr>
            <a:xfrm>
              <a:off x="2709025" y="2152050"/>
              <a:ext cx="104550" cy="256550"/>
            </a:xfrm>
            <a:custGeom>
              <a:avLst/>
              <a:gdLst/>
              <a:ahLst/>
              <a:cxnLst/>
              <a:rect l="l" t="t" r="r" b="b"/>
              <a:pathLst>
                <a:path w="4182" h="10262" extrusionOk="0">
                  <a:moveTo>
                    <a:pt x="2667" y="0"/>
                  </a:moveTo>
                  <a:lnTo>
                    <a:pt x="2531" y="769"/>
                  </a:lnTo>
                  <a:lnTo>
                    <a:pt x="2373" y="1560"/>
                  </a:lnTo>
                  <a:lnTo>
                    <a:pt x="2170" y="2328"/>
                  </a:lnTo>
                  <a:lnTo>
                    <a:pt x="1966" y="3119"/>
                  </a:lnTo>
                  <a:lnTo>
                    <a:pt x="1537" y="4656"/>
                  </a:lnTo>
                  <a:lnTo>
                    <a:pt x="1085" y="6148"/>
                  </a:lnTo>
                  <a:lnTo>
                    <a:pt x="678" y="7481"/>
                  </a:lnTo>
                  <a:lnTo>
                    <a:pt x="317" y="8657"/>
                  </a:lnTo>
                  <a:lnTo>
                    <a:pt x="181" y="9154"/>
                  </a:lnTo>
                  <a:lnTo>
                    <a:pt x="91" y="9583"/>
                  </a:lnTo>
                  <a:lnTo>
                    <a:pt x="23" y="9967"/>
                  </a:lnTo>
                  <a:lnTo>
                    <a:pt x="0" y="10261"/>
                  </a:lnTo>
                  <a:lnTo>
                    <a:pt x="0" y="10261"/>
                  </a:lnTo>
                  <a:lnTo>
                    <a:pt x="475" y="9719"/>
                  </a:lnTo>
                  <a:lnTo>
                    <a:pt x="723" y="9448"/>
                  </a:lnTo>
                  <a:lnTo>
                    <a:pt x="1017" y="9176"/>
                  </a:lnTo>
                  <a:lnTo>
                    <a:pt x="1243" y="8950"/>
                  </a:lnTo>
                  <a:lnTo>
                    <a:pt x="1469" y="8702"/>
                  </a:lnTo>
                  <a:lnTo>
                    <a:pt x="1673" y="8453"/>
                  </a:lnTo>
                  <a:lnTo>
                    <a:pt x="1876" y="8159"/>
                  </a:lnTo>
                  <a:lnTo>
                    <a:pt x="2283" y="7549"/>
                  </a:lnTo>
                  <a:lnTo>
                    <a:pt x="2667" y="6871"/>
                  </a:lnTo>
                  <a:lnTo>
                    <a:pt x="3029" y="6170"/>
                  </a:lnTo>
                  <a:lnTo>
                    <a:pt x="3413" y="5447"/>
                  </a:lnTo>
                  <a:lnTo>
                    <a:pt x="3797" y="4724"/>
                  </a:lnTo>
                  <a:lnTo>
                    <a:pt x="4181" y="4023"/>
                  </a:lnTo>
                  <a:lnTo>
                    <a:pt x="3707" y="2916"/>
                  </a:lnTo>
                  <a:lnTo>
                    <a:pt x="3323" y="1854"/>
                  </a:lnTo>
                  <a:lnTo>
                    <a:pt x="2961" y="859"/>
                  </a:lnTo>
                  <a:lnTo>
                    <a:pt x="2667" y="0"/>
                  </a:lnTo>
                  <a:close/>
                </a:path>
              </a:pathLst>
            </a:custGeom>
            <a:solidFill>
              <a:srgbClr val="98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32" name="Google Shape;1832;p16"/>
            <p:cNvSpPr/>
            <p:nvPr/>
          </p:nvSpPr>
          <p:spPr>
            <a:xfrm>
              <a:off x="2709025" y="2152050"/>
              <a:ext cx="104550" cy="256550"/>
            </a:xfrm>
            <a:custGeom>
              <a:avLst/>
              <a:gdLst/>
              <a:ahLst/>
              <a:cxnLst/>
              <a:rect l="l" t="t" r="r" b="b"/>
              <a:pathLst>
                <a:path w="4182" h="10262" fill="none" extrusionOk="0">
                  <a:moveTo>
                    <a:pt x="2667" y="0"/>
                  </a:moveTo>
                  <a:lnTo>
                    <a:pt x="2667" y="0"/>
                  </a:lnTo>
                  <a:lnTo>
                    <a:pt x="2531" y="769"/>
                  </a:lnTo>
                  <a:lnTo>
                    <a:pt x="2373" y="1560"/>
                  </a:lnTo>
                  <a:lnTo>
                    <a:pt x="2170" y="2328"/>
                  </a:lnTo>
                  <a:lnTo>
                    <a:pt x="1966" y="3119"/>
                  </a:lnTo>
                  <a:lnTo>
                    <a:pt x="1537" y="4656"/>
                  </a:lnTo>
                  <a:lnTo>
                    <a:pt x="1085" y="6148"/>
                  </a:lnTo>
                  <a:lnTo>
                    <a:pt x="678" y="7481"/>
                  </a:lnTo>
                  <a:lnTo>
                    <a:pt x="317" y="8657"/>
                  </a:lnTo>
                  <a:lnTo>
                    <a:pt x="181" y="9154"/>
                  </a:lnTo>
                  <a:lnTo>
                    <a:pt x="91" y="9583"/>
                  </a:lnTo>
                  <a:lnTo>
                    <a:pt x="23" y="9967"/>
                  </a:lnTo>
                  <a:lnTo>
                    <a:pt x="0" y="10261"/>
                  </a:lnTo>
                  <a:lnTo>
                    <a:pt x="0" y="10261"/>
                  </a:lnTo>
                  <a:lnTo>
                    <a:pt x="475" y="9719"/>
                  </a:lnTo>
                  <a:lnTo>
                    <a:pt x="723" y="9448"/>
                  </a:lnTo>
                  <a:lnTo>
                    <a:pt x="1017" y="9176"/>
                  </a:lnTo>
                  <a:lnTo>
                    <a:pt x="1017" y="9176"/>
                  </a:lnTo>
                  <a:lnTo>
                    <a:pt x="1243" y="8950"/>
                  </a:lnTo>
                  <a:lnTo>
                    <a:pt x="1469" y="8702"/>
                  </a:lnTo>
                  <a:lnTo>
                    <a:pt x="1673" y="8453"/>
                  </a:lnTo>
                  <a:lnTo>
                    <a:pt x="1876" y="8159"/>
                  </a:lnTo>
                  <a:lnTo>
                    <a:pt x="2283" y="7549"/>
                  </a:lnTo>
                  <a:lnTo>
                    <a:pt x="2667" y="6871"/>
                  </a:lnTo>
                  <a:lnTo>
                    <a:pt x="3029" y="6170"/>
                  </a:lnTo>
                  <a:lnTo>
                    <a:pt x="3413" y="5447"/>
                  </a:lnTo>
                  <a:lnTo>
                    <a:pt x="3797" y="4724"/>
                  </a:lnTo>
                  <a:lnTo>
                    <a:pt x="4181" y="4023"/>
                  </a:lnTo>
                  <a:lnTo>
                    <a:pt x="4181" y="4023"/>
                  </a:lnTo>
                  <a:lnTo>
                    <a:pt x="3707" y="2916"/>
                  </a:lnTo>
                  <a:lnTo>
                    <a:pt x="3323" y="1854"/>
                  </a:lnTo>
                  <a:lnTo>
                    <a:pt x="2961" y="859"/>
                  </a:lnTo>
                  <a:lnTo>
                    <a:pt x="2667" y="0"/>
                  </a:lnTo>
                </a:path>
              </a:pathLst>
            </a:custGeom>
            <a:solidFill>
              <a:srgbClr val="98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33" name="Google Shape;1833;p16"/>
            <p:cNvSpPr/>
            <p:nvPr/>
          </p:nvSpPr>
          <p:spPr>
            <a:xfrm>
              <a:off x="3151450" y="2244700"/>
              <a:ext cx="285925" cy="118125"/>
            </a:xfrm>
            <a:custGeom>
              <a:avLst/>
              <a:gdLst/>
              <a:ahLst/>
              <a:cxnLst/>
              <a:rect l="l" t="t" r="r" b="b"/>
              <a:pathLst>
                <a:path w="11437" h="4725" extrusionOk="0">
                  <a:moveTo>
                    <a:pt x="8769" y="1"/>
                  </a:moveTo>
                  <a:lnTo>
                    <a:pt x="8408" y="46"/>
                  </a:lnTo>
                  <a:lnTo>
                    <a:pt x="8046" y="114"/>
                  </a:lnTo>
                  <a:lnTo>
                    <a:pt x="7639" y="182"/>
                  </a:lnTo>
                  <a:lnTo>
                    <a:pt x="6826" y="362"/>
                  </a:lnTo>
                  <a:lnTo>
                    <a:pt x="5944" y="566"/>
                  </a:lnTo>
                  <a:lnTo>
                    <a:pt x="5198" y="747"/>
                  </a:lnTo>
                  <a:lnTo>
                    <a:pt x="4724" y="860"/>
                  </a:lnTo>
                  <a:lnTo>
                    <a:pt x="4453" y="905"/>
                  </a:lnTo>
                  <a:lnTo>
                    <a:pt x="4204" y="927"/>
                  </a:lnTo>
                  <a:lnTo>
                    <a:pt x="3729" y="927"/>
                  </a:lnTo>
                  <a:lnTo>
                    <a:pt x="3322" y="905"/>
                  </a:lnTo>
                  <a:lnTo>
                    <a:pt x="2870" y="927"/>
                  </a:lnTo>
                  <a:lnTo>
                    <a:pt x="2622" y="950"/>
                  </a:lnTo>
                  <a:lnTo>
                    <a:pt x="2351" y="995"/>
                  </a:lnTo>
                  <a:lnTo>
                    <a:pt x="2057" y="1063"/>
                  </a:lnTo>
                  <a:lnTo>
                    <a:pt x="1740" y="1154"/>
                  </a:lnTo>
                  <a:lnTo>
                    <a:pt x="1379" y="1289"/>
                  </a:lnTo>
                  <a:lnTo>
                    <a:pt x="972" y="1470"/>
                  </a:lnTo>
                  <a:lnTo>
                    <a:pt x="520" y="1673"/>
                  </a:lnTo>
                  <a:lnTo>
                    <a:pt x="0" y="1945"/>
                  </a:lnTo>
                  <a:lnTo>
                    <a:pt x="0" y="2080"/>
                  </a:lnTo>
                  <a:lnTo>
                    <a:pt x="0" y="2487"/>
                  </a:lnTo>
                  <a:lnTo>
                    <a:pt x="23" y="2736"/>
                  </a:lnTo>
                  <a:lnTo>
                    <a:pt x="68" y="3029"/>
                  </a:lnTo>
                  <a:lnTo>
                    <a:pt x="113" y="3323"/>
                  </a:lnTo>
                  <a:lnTo>
                    <a:pt x="203" y="3617"/>
                  </a:lnTo>
                  <a:lnTo>
                    <a:pt x="316" y="3911"/>
                  </a:lnTo>
                  <a:lnTo>
                    <a:pt x="452" y="4159"/>
                  </a:lnTo>
                  <a:lnTo>
                    <a:pt x="542" y="4272"/>
                  </a:lnTo>
                  <a:lnTo>
                    <a:pt x="633" y="4385"/>
                  </a:lnTo>
                  <a:lnTo>
                    <a:pt x="746" y="4476"/>
                  </a:lnTo>
                  <a:lnTo>
                    <a:pt x="859" y="4566"/>
                  </a:lnTo>
                  <a:lnTo>
                    <a:pt x="994" y="4634"/>
                  </a:lnTo>
                  <a:lnTo>
                    <a:pt x="1130" y="4679"/>
                  </a:lnTo>
                  <a:lnTo>
                    <a:pt x="1288" y="4702"/>
                  </a:lnTo>
                  <a:lnTo>
                    <a:pt x="1469" y="4725"/>
                  </a:lnTo>
                  <a:lnTo>
                    <a:pt x="1650" y="4702"/>
                  </a:lnTo>
                  <a:lnTo>
                    <a:pt x="1831" y="4679"/>
                  </a:lnTo>
                  <a:lnTo>
                    <a:pt x="2057" y="4612"/>
                  </a:lnTo>
                  <a:lnTo>
                    <a:pt x="2283" y="4544"/>
                  </a:lnTo>
                  <a:lnTo>
                    <a:pt x="3232" y="4182"/>
                  </a:lnTo>
                  <a:lnTo>
                    <a:pt x="4068" y="3888"/>
                  </a:lnTo>
                  <a:lnTo>
                    <a:pt x="4859" y="3617"/>
                  </a:lnTo>
                  <a:lnTo>
                    <a:pt x="5221" y="3459"/>
                  </a:lnTo>
                  <a:lnTo>
                    <a:pt x="5605" y="3323"/>
                  </a:lnTo>
                  <a:lnTo>
                    <a:pt x="6690" y="2849"/>
                  </a:lnTo>
                  <a:lnTo>
                    <a:pt x="7187" y="2645"/>
                  </a:lnTo>
                  <a:lnTo>
                    <a:pt x="7662" y="2487"/>
                  </a:lnTo>
                  <a:lnTo>
                    <a:pt x="8114" y="2351"/>
                  </a:lnTo>
                  <a:lnTo>
                    <a:pt x="8521" y="2261"/>
                  </a:lnTo>
                  <a:lnTo>
                    <a:pt x="8905" y="2193"/>
                  </a:lnTo>
                  <a:lnTo>
                    <a:pt x="9267" y="2171"/>
                  </a:lnTo>
                  <a:lnTo>
                    <a:pt x="9515" y="2216"/>
                  </a:lnTo>
                  <a:lnTo>
                    <a:pt x="9741" y="2284"/>
                  </a:lnTo>
                  <a:lnTo>
                    <a:pt x="9899" y="2374"/>
                  </a:lnTo>
                  <a:lnTo>
                    <a:pt x="10035" y="2510"/>
                  </a:lnTo>
                  <a:lnTo>
                    <a:pt x="10148" y="2645"/>
                  </a:lnTo>
                  <a:lnTo>
                    <a:pt x="10238" y="2803"/>
                  </a:lnTo>
                  <a:lnTo>
                    <a:pt x="10351" y="3120"/>
                  </a:lnTo>
                  <a:lnTo>
                    <a:pt x="10464" y="3391"/>
                  </a:lnTo>
                  <a:lnTo>
                    <a:pt x="10532" y="3504"/>
                  </a:lnTo>
                  <a:lnTo>
                    <a:pt x="10623" y="3594"/>
                  </a:lnTo>
                  <a:lnTo>
                    <a:pt x="10713" y="3640"/>
                  </a:lnTo>
                  <a:lnTo>
                    <a:pt x="10826" y="3617"/>
                  </a:lnTo>
                  <a:lnTo>
                    <a:pt x="10984" y="3572"/>
                  </a:lnTo>
                  <a:lnTo>
                    <a:pt x="11188" y="3459"/>
                  </a:lnTo>
                  <a:lnTo>
                    <a:pt x="11278" y="3391"/>
                  </a:lnTo>
                  <a:lnTo>
                    <a:pt x="11346" y="3255"/>
                  </a:lnTo>
                  <a:lnTo>
                    <a:pt x="11391" y="3120"/>
                  </a:lnTo>
                  <a:lnTo>
                    <a:pt x="11414" y="2916"/>
                  </a:lnTo>
                  <a:lnTo>
                    <a:pt x="11436" y="2713"/>
                  </a:lnTo>
                  <a:lnTo>
                    <a:pt x="11436" y="2487"/>
                  </a:lnTo>
                  <a:lnTo>
                    <a:pt x="11391" y="2238"/>
                  </a:lnTo>
                  <a:lnTo>
                    <a:pt x="11346" y="1990"/>
                  </a:lnTo>
                  <a:lnTo>
                    <a:pt x="11278" y="1741"/>
                  </a:lnTo>
                  <a:lnTo>
                    <a:pt x="11210" y="1470"/>
                  </a:lnTo>
                  <a:lnTo>
                    <a:pt x="11097" y="1221"/>
                  </a:lnTo>
                  <a:lnTo>
                    <a:pt x="10962" y="995"/>
                  </a:lnTo>
                  <a:lnTo>
                    <a:pt x="10804" y="769"/>
                  </a:lnTo>
                  <a:lnTo>
                    <a:pt x="10623" y="566"/>
                  </a:lnTo>
                  <a:lnTo>
                    <a:pt x="10419" y="385"/>
                  </a:lnTo>
                  <a:lnTo>
                    <a:pt x="10193" y="227"/>
                  </a:lnTo>
                  <a:lnTo>
                    <a:pt x="9945" y="114"/>
                  </a:lnTo>
                  <a:lnTo>
                    <a:pt x="9673" y="46"/>
                  </a:lnTo>
                  <a:lnTo>
                    <a:pt x="9380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34" name="Google Shape;1834;p16"/>
            <p:cNvSpPr/>
            <p:nvPr/>
          </p:nvSpPr>
          <p:spPr>
            <a:xfrm>
              <a:off x="2751950" y="1931675"/>
              <a:ext cx="564500" cy="483125"/>
            </a:xfrm>
            <a:custGeom>
              <a:avLst/>
              <a:gdLst/>
              <a:ahLst/>
              <a:cxnLst/>
              <a:rect l="l" t="t" r="r" b="b"/>
              <a:pathLst>
                <a:path w="22580" h="19325" extrusionOk="0">
                  <a:moveTo>
                    <a:pt x="2803" y="1"/>
                  </a:moveTo>
                  <a:lnTo>
                    <a:pt x="2623" y="23"/>
                  </a:lnTo>
                  <a:lnTo>
                    <a:pt x="2464" y="46"/>
                  </a:lnTo>
                  <a:lnTo>
                    <a:pt x="2284" y="91"/>
                  </a:lnTo>
                  <a:lnTo>
                    <a:pt x="2103" y="159"/>
                  </a:lnTo>
                  <a:lnTo>
                    <a:pt x="1899" y="249"/>
                  </a:lnTo>
                  <a:lnTo>
                    <a:pt x="1719" y="362"/>
                  </a:lnTo>
                  <a:lnTo>
                    <a:pt x="1538" y="475"/>
                  </a:lnTo>
                  <a:lnTo>
                    <a:pt x="1334" y="634"/>
                  </a:lnTo>
                  <a:lnTo>
                    <a:pt x="1153" y="814"/>
                  </a:lnTo>
                  <a:lnTo>
                    <a:pt x="950" y="1018"/>
                  </a:lnTo>
                  <a:lnTo>
                    <a:pt x="792" y="1221"/>
                  </a:lnTo>
                  <a:lnTo>
                    <a:pt x="634" y="1447"/>
                  </a:lnTo>
                  <a:lnTo>
                    <a:pt x="521" y="1696"/>
                  </a:lnTo>
                  <a:lnTo>
                    <a:pt x="408" y="1922"/>
                  </a:lnTo>
                  <a:lnTo>
                    <a:pt x="295" y="2170"/>
                  </a:lnTo>
                  <a:lnTo>
                    <a:pt x="227" y="2442"/>
                  </a:lnTo>
                  <a:lnTo>
                    <a:pt x="159" y="2690"/>
                  </a:lnTo>
                  <a:lnTo>
                    <a:pt x="69" y="3233"/>
                  </a:lnTo>
                  <a:lnTo>
                    <a:pt x="1" y="3775"/>
                  </a:lnTo>
                  <a:lnTo>
                    <a:pt x="1" y="4295"/>
                  </a:lnTo>
                  <a:lnTo>
                    <a:pt x="23" y="4815"/>
                  </a:lnTo>
                  <a:lnTo>
                    <a:pt x="69" y="5312"/>
                  </a:lnTo>
                  <a:lnTo>
                    <a:pt x="136" y="5787"/>
                  </a:lnTo>
                  <a:lnTo>
                    <a:pt x="204" y="6193"/>
                  </a:lnTo>
                  <a:lnTo>
                    <a:pt x="272" y="6578"/>
                  </a:lnTo>
                  <a:lnTo>
                    <a:pt x="408" y="7098"/>
                  </a:lnTo>
                  <a:lnTo>
                    <a:pt x="475" y="7301"/>
                  </a:lnTo>
                  <a:lnTo>
                    <a:pt x="611" y="7798"/>
                  </a:lnTo>
                  <a:lnTo>
                    <a:pt x="1063" y="9154"/>
                  </a:lnTo>
                  <a:lnTo>
                    <a:pt x="1379" y="10058"/>
                  </a:lnTo>
                  <a:lnTo>
                    <a:pt x="1741" y="11053"/>
                  </a:lnTo>
                  <a:lnTo>
                    <a:pt x="2171" y="12138"/>
                  </a:lnTo>
                  <a:lnTo>
                    <a:pt x="2623" y="13245"/>
                  </a:lnTo>
                  <a:lnTo>
                    <a:pt x="3142" y="14353"/>
                  </a:lnTo>
                  <a:lnTo>
                    <a:pt x="3414" y="14918"/>
                  </a:lnTo>
                  <a:lnTo>
                    <a:pt x="3685" y="15437"/>
                  </a:lnTo>
                  <a:lnTo>
                    <a:pt x="3979" y="15957"/>
                  </a:lnTo>
                  <a:lnTo>
                    <a:pt x="4250" y="16454"/>
                  </a:lnTo>
                  <a:lnTo>
                    <a:pt x="4566" y="16929"/>
                  </a:lnTo>
                  <a:lnTo>
                    <a:pt x="4860" y="17381"/>
                  </a:lnTo>
                  <a:lnTo>
                    <a:pt x="5177" y="17788"/>
                  </a:lnTo>
                  <a:lnTo>
                    <a:pt x="5493" y="18150"/>
                  </a:lnTo>
                  <a:lnTo>
                    <a:pt x="5809" y="18466"/>
                  </a:lnTo>
                  <a:lnTo>
                    <a:pt x="6126" y="18760"/>
                  </a:lnTo>
                  <a:lnTo>
                    <a:pt x="6442" y="18986"/>
                  </a:lnTo>
                  <a:lnTo>
                    <a:pt x="6781" y="19167"/>
                  </a:lnTo>
                  <a:lnTo>
                    <a:pt x="6939" y="19212"/>
                  </a:lnTo>
                  <a:lnTo>
                    <a:pt x="7098" y="19280"/>
                  </a:lnTo>
                  <a:lnTo>
                    <a:pt x="7256" y="19302"/>
                  </a:lnTo>
                  <a:lnTo>
                    <a:pt x="7437" y="19325"/>
                  </a:lnTo>
                  <a:lnTo>
                    <a:pt x="8205" y="19325"/>
                  </a:lnTo>
                  <a:lnTo>
                    <a:pt x="9132" y="19257"/>
                  </a:lnTo>
                  <a:lnTo>
                    <a:pt x="10149" y="19144"/>
                  </a:lnTo>
                  <a:lnTo>
                    <a:pt x="11279" y="18986"/>
                  </a:lnTo>
                  <a:lnTo>
                    <a:pt x="12454" y="18782"/>
                  </a:lnTo>
                  <a:lnTo>
                    <a:pt x="13652" y="18556"/>
                  </a:lnTo>
                  <a:lnTo>
                    <a:pt x="14873" y="18308"/>
                  </a:lnTo>
                  <a:lnTo>
                    <a:pt x="16070" y="18037"/>
                  </a:lnTo>
                  <a:lnTo>
                    <a:pt x="17246" y="17743"/>
                  </a:lnTo>
                  <a:lnTo>
                    <a:pt x="18353" y="17449"/>
                  </a:lnTo>
                  <a:lnTo>
                    <a:pt x="19370" y="17178"/>
                  </a:lnTo>
                  <a:lnTo>
                    <a:pt x="20274" y="16884"/>
                  </a:lnTo>
                  <a:lnTo>
                    <a:pt x="21065" y="16635"/>
                  </a:lnTo>
                  <a:lnTo>
                    <a:pt x="21676" y="16387"/>
                  </a:lnTo>
                  <a:lnTo>
                    <a:pt x="21902" y="16296"/>
                  </a:lnTo>
                  <a:lnTo>
                    <a:pt x="22105" y="16183"/>
                  </a:lnTo>
                  <a:lnTo>
                    <a:pt x="22241" y="16093"/>
                  </a:lnTo>
                  <a:lnTo>
                    <a:pt x="22308" y="16025"/>
                  </a:lnTo>
                  <a:lnTo>
                    <a:pt x="22376" y="15912"/>
                  </a:lnTo>
                  <a:lnTo>
                    <a:pt x="22444" y="15776"/>
                  </a:lnTo>
                  <a:lnTo>
                    <a:pt x="22534" y="15505"/>
                  </a:lnTo>
                  <a:lnTo>
                    <a:pt x="22580" y="15189"/>
                  </a:lnTo>
                  <a:lnTo>
                    <a:pt x="22580" y="14827"/>
                  </a:lnTo>
                  <a:lnTo>
                    <a:pt x="22580" y="14443"/>
                  </a:lnTo>
                  <a:lnTo>
                    <a:pt x="22534" y="13991"/>
                  </a:lnTo>
                  <a:lnTo>
                    <a:pt x="22444" y="12951"/>
                  </a:lnTo>
                  <a:lnTo>
                    <a:pt x="22421" y="12929"/>
                  </a:lnTo>
                  <a:lnTo>
                    <a:pt x="22399" y="12906"/>
                  </a:lnTo>
                  <a:lnTo>
                    <a:pt x="22286" y="12883"/>
                  </a:lnTo>
                  <a:lnTo>
                    <a:pt x="22128" y="12883"/>
                  </a:lnTo>
                  <a:lnTo>
                    <a:pt x="21902" y="12906"/>
                  </a:lnTo>
                  <a:lnTo>
                    <a:pt x="21291" y="12974"/>
                  </a:lnTo>
                  <a:lnTo>
                    <a:pt x="20478" y="13087"/>
                  </a:lnTo>
                  <a:lnTo>
                    <a:pt x="18444" y="13426"/>
                  </a:lnTo>
                  <a:lnTo>
                    <a:pt x="16070" y="13855"/>
                  </a:lnTo>
                  <a:lnTo>
                    <a:pt x="13584" y="14285"/>
                  </a:lnTo>
                  <a:lnTo>
                    <a:pt x="12409" y="14466"/>
                  </a:lnTo>
                  <a:lnTo>
                    <a:pt x="11279" y="14624"/>
                  </a:lnTo>
                  <a:lnTo>
                    <a:pt x="10262" y="14759"/>
                  </a:lnTo>
                  <a:lnTo>
                    <a:pt x="9380" y="14827"/>
                  </a:lnTo>
                  <a:lnTo>
                    <a:pt x="8680" y="14827"/>
                  </a:lnTo>
                  <a:lnTo>
                    <a:pt x="8409" y="14805"/>
                  </a:lnTo>
                  <a:lnTo>
                    <a:pt x="8183" y="14759"/>
                  </a:lnTo>
                  <a:lnTo>
                    <a:pt x="7821" y="13968"/>
                  </a:lnTo>
                  <a:lnTo>
                    <a:pt x="7527" y="13335"/>
                  </a:lnTo>
                  <a:lnTo>
                    <a:pt x="7301" y="12770"/>
                  </a:lnTo>
                  <a:lnTo>
                    <a:pt x="7143" y="12273"/>
                  </a:lnTo>
                  <a:lnTo>
                    <a:pt x="7030" y="11821"/>
                  </a:lnTo>
                  <a:lnTo>
                    <a:pt x="6939" y="11392"/>
                  </a:lnTo>
                  <a:lnTo>
                    <a:pt x="6872" y="10940"/>
                  </a:lnTo>
                  <a:lnTo>
                    <a:pt x="6804" y="10443"/>
                  </a:lnTo>
                  <a:lnTo>
                    <a:pt x="6646" y="9177"/>
                  </a:lnTo>
                  <a:lnTo>
                    <a:pt x="6533" y="8363"/>
                  </a:lnTo>
                  <a:lnTo>
                    <a:pt x="6374" y="7391"/>
                  </a:lnTo>
                  <a:lnTo>
                    <a:pt x="6171" y="6216"/>
                  </a:lnTo>
                  <a:lnTo>
                    <a:pt x="5877" y="4837"/>
                  </a:lnTo>
                  <a:lnTo>
                    <a:pt x="5516" y="3187"/>
                  </a:lnTo>
                  <a:lnTo>
                    <a:pt x="5041" y="1289"/>
                  </a:lnTo>
                  <a:lnTo>
                    <a:pt x="4951" y="1176"/>
                  </a:lnTo>
                  <a:lnTo>
                    <a:pt x="4725" y="927"/>
                  </a:lnTo>
                  <a:lnTo>
                    <a:pt x="4566" y="769"/>
                  </a:lnTo>
                  <a:lnTo>
                    <a:pt x="4363" y="588"/>
                  </a:lnTo>
                  <a:lnTo>
                    <a:pt x="4137" y="430"/>
                  </a:lnTo>
                  <a:lnTo>
                    <a:pt x="3866" y="272"/>
                  </a:lnTo>
                  <a:lnTo>
                    <a:pt x="3594" y="159"/>
                  </a:lnTo>
                  <a:lnTo>
                    <a:pt x="3301" y="68"/>
                  </a:lnTo>
                  <a:lnTo>
                    <a:pt x="2962" y="23"/>
                  </a:lnTo>
                  <a:lnTo>
                    <a:pt x="2803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35" name="Google Shape;1835;p16"/>
            <p:cNvSpPr/>
            <p:nvPr/>
          </p:nvSpPr>
          <p:spPr>
            <a:xfrm>
              <a:off x="2751950" y="1931675"/>
              <a:ext cx="564500" cy="483125"/>
            </a:xfrm>
            <a:custGeom>
              <a:avLst/>
              <a:gdLst/>
              <a:ahLst/>
              <a:cxnLst/>
              <a:rect l="l" t="t" r="r" b="b"/>
              <a:pathLst>
                <a:path w="22580" h="19325" fill="none" extrusionOk="0">
                  <a:moveTo>
                    <a:pt x="5041" y="1289"/>
                  </a:moveTo>
                  <a:lnTo>
                    <a:pt x="5041" y="1289"/>
                  </a:lnTo>
                  <a:lnTo>
                    <a:pt x="5516" y="3187"/>
                  </a:lnTo>
                  <a:lnTo>
                    <a:pt x="5877" y="4837"/>
                  </a:lnTo>
                  <a:lnTo>
                    <a:pt x="6171" y="6216"/>
                  </a:lnTo>
                  <a:lnTo>
                    <a:pt x="6374" y="7391"/>
                  </a:lnTo>
                  <a:lnTo>
                    <a:pt x="6533" y="8363"/>
                  </a:lnTo>
                  <a:lnTo>
                    <a:pt x="6646" y="9177"/>
                  </a:lnTo>
                  <a:lnTo>
                    <a:pt x="6804" y="10443"/>
                  </a:lnTo>
                  <a:lnTo>
                    <a:pt x="6872" y="10940"/>
                  </a:lnTo>
                  <a:lnTo>
                    <a:pt x="6939" y="11392"/>
                  </a:lnTo>
                  <a:lnTo>
                    <a:pt x="7030" y="11821"/>
                  </a:lnTo>
                  <a:lnTo>
                    <a:pt x="7143" y="12273"/>
                  </a:lnTo>
                  <a:lnTo>
                    <a:pt x="7301" y="12770"/>
                  </a:lnTo>
                  <a:lnTo>
                    <a:pt x="7527" y="13335"/>
                  </a:lnTo>
                  <a:lnTo>
                    <a:pt x="7821" y="13968"/>
                  </a:lnTo>
                  <a:lnTo>
                    <a:pt x="8183" y="14759"/>
                  </a:lnTo>
                  <a:lnTo>
                    <a:pt x="8183" y="14759"/>
                  </a:lnTo>
                  <a:lnTo>
                    <a:pt x="8409" y="14805"/>
                  </a:lnTo>
                  <a:lnTo>
                    <a:pt x="8680" y="14827"/>
                  </a:lnTo>
                  <a:lnTo>
                    <a:pt x="9019" y="14827"/>
                  </a:lnTo>
                  <a:lnTo>
                    <a:pt x="9380" y="14827"/>
                  </a:lnTo>
                  <a:lnTo>
                    <a:pt x="10262" y="14759"/>
                  </a:lnTo>
                  <a:lnTo>
                    <a:pt x="11279" y="14624"/>
                  </a:lnTo>
                  <a:lnTo>
                    <a:pt x="12409" y="14466"/>
                  </a:lnTo>
                  <a:lnTo>
                    <a:pt x="13584" y="14285"/>
                  </a:lnTo>
                  <a:lnTo>
                    <a:pt x="16070" y="13855"/>
                  </a:lnTo>
                  <a:lnTo>
                    <a:pt x="16070" y="13855"/>
                  </a:lnTo>
                  <a:lnTo>
                    <a:pt x="18444" y="13426"/>
                  </a:lnTo>
                  <a:lnTo>
                    <a:pt x="20478" y="13087"/>
                  </a:lnTo>
                  <a:lnTo>
                    <a:pt x="21291" y="12974"/>
                  </a:lnTo>
                  <a:lnTo>
                    <a:pt x="21902" y="12906"/>
                  </a:lnTo>
                  <a:lnTo>
                    <a:pt x="22128" y="12883"/>
                  </a:lnTo>
                  <a:lnTo>
                    <a:pt x="22286" y="12883"/>
                  </a:lnTo>
                  <a:lnTo>
                    <a:pt x="22399" y="12906"/>
                  </a:lnTo>
                  <a:lnTo>
                    <a:pt x="22421" y="12929"/>
                  </a:lnTo>
                  <a:lnTo>
                    <a:pt x="22444" y="12951"/>
                  </a:lnTo>
                  <a:lnTo>
                    <a:pt x="22444" y="12951"/>
                  </a:lnTo>
                  <a:lnTo>
                    <a:pt x="22534" y="13991"/>
                  </a:lnTo>
                  <a:lnTo>
                    <a:pt x="22580" y="14443"/>
                  </a:lnTo>
                  <a:lnTo>
                    <a:pt x="22580" y="14827"/>
                  </a:lnTo>
                  <a:lnTo>
                    <a:pt x="22580" y="15189"/>
                  </a:lnTo>
                  <a:lnTo>
                    <a:pt x="22534" y="15505"/>
                  </a:lnTo>
                  <a:lnTo>
                    <a:pt x="22444" y="15776"/>
                  </a:lnTo>
                  <a:lnTo>
                    <a:pt x="22376" y="15912"/>
                  </a:lnTo>
                  <a:lnTo>
                    <a:pt x="22308" y="16025"/>
                  </a:lnTo>
                  <a:lnTo>
                    <a:pt x="22308" y="16025"/>
                  </a:lnTo>
                  <a:lnTo>
                    <a:pt x="22241" y="16093"/>
                  </a:lnTo>
                  <a:lnTo>
                    <a:pt x="22105" y="16183"/>
                  </a:lnTo>
                  <a:lnTo>
                    <a:pt x="21902" y="16296"/>
                  </a:lnTo>
                  <a:lnTo>
                    <a:pt x="21676" y="16387"/>
                  </a:lnTo>
                  <a:lnTo>
                    <a:pt x="21065" y="16635"/>
                  </a:lnTo>
                  <a:lnTo>
                    <a:pt x="20274" y="16884"/>
                  </a:lnTo>
                  <a:lnTo>
                    <a:pt x="19370" y="17178"/>
                  </a:lnTo>
                  <a:lnTo>
                    <a:pt x="18353" y="17449"/>
                  </a:lnTo>
                  <a:lnTo>
                    <a:pt x="17246" y="17743"/>
                  </a:lnTo>
                  <a:lnTo>
                    <a:pt x="16070" y="18037"/>
                  </a:lnTo>
                  <a:lnTo>
                    <a:pt x="14873" y="18308"/>
                  </a:lnTo>
                  <a:lnTo>
                    <a:pt x="13652" y="18556"/>
                  </a:lnTo>
                  <a:lnTo>
                    <a:pt x="12454" y="18782"/>
                  </a:lnTo>
                  <a:lnTo>
                    <a:pt x="11279" y="18986"/>
                  </a:lnTo>
                  <a:lnTo>
                    <a:pt x="10149" y="19144"/>
                  </a:lnTo>
                  <a:lnTo>
                    <a:pt x="9132" y="19257"/>
                  </a:lnTo>
                  <a:lnTo>
                    <a:pt x="8205" y="19325"/>
                  </a:lnTo>
                  <a:lnTo>
                    <a:pt x="7798" y="19325"/>
                  </a:lnTo>
                  <a:lnTo>
                    <a:pt x="7437" y="19325"/>
                  </a:lnTo>
                  <a:lnTo>
                    <a:pt x="7437" y="19325"/>
                  </a:lnTo>
                  <a:lnTo>
                    <a:pt x="7256" y="19302"/>
                  </a:lnTo>
                  <a:lnTo>
                    <a:pt x="7098" y="19280"/>
                  </a:lnTo>
                  <a:lnTo>
                    <a:pt x="6939" y="19212"/>
                  </a:lnTo>
                  <a:lnTo>
                    <a:pt x="6781" y="19167"/>
                  </a:lnTo>
                  <a:lnTo>
                    <a:pt x="6442" y="18986"/>
                  </a:lnTo>
                  <a:lnTo>
                    <a:pt x="6126" y="18760"/>
                  </a:lnTo>
                  <a:lnTo>
                    <a:pt x="5809" y="18466"/>
                  </a:lnTo>
                  <a:lnTo>
                    <a:pt x="5493" y="18150"/>
                  </a:lnTo>
                  <a:lnTo>
                    <a:pt x="5177" y="17788"/>
                  </a:lnTo>
                  <a:lnTo>
                    <a:pt x="4860" y="17381"/>
                  </a:lnTo>
                  <a:lnTo>
                    <a:pt x="4566" y="16929"/>
                  </a:lnTo>
                  <a:lnTo>
                    <a:pt x="4250" y="16454"/>
                  </a:lnTo>
                  <a:lnTo>
                    <a:pt x="3979" y="15957"/>
                  </a:lnTo>
                  <a:lnTo>
                    <a:pt x="3685" y="15437"/>
                  </a:lnTo>
                  <a:lnTo>
                    <a:pt x="3414" y="14918"/>
                  </a:lnTo>
                  <a:lnTo>
                    <a:pt x="3142" y="14353"/>
                  </a:lnTo>
                  <a:lnTo>
                    <a:pt x="2623" y="13245"/>
                  </a:lnTo>
                  <a:lnTo>
                    <a:pt x="2171" y="12138"/>
                  </a:lnTo>
                  <a:lnTo>
                    <a:pt x="1741" y="11053"/>
                  </a:lnTo>
                  <a:lnTo>
                    <a:pt x="1379" y="10058"/>
                  </a:lnTo>
                  <a:lnTo>
                    <a:pt x="1063" y="9154"/>
                  </a:lnTo>
                  <a:lnTo>
                    <a:pt x="611" y="7798"/>
                  </a:lnTo>
                  <a:lnTo>
                    <a:pt x="475" y="7301"/>
                  </a:lnTo>
                  <a:lnTo>
                    <a:pt x="475" y="7301"/>
                  </a:lnTo>
                  <a:lnTo>
                    <a:pt x="408" y="7098"/>
                  </a:lnTo>
                  <a:lnTo>
                    <a:pt x="272" y="6578"/>
                  </a:lnTo>
                  <a:lnTo>
                    <a:pt x="204" y="6193"/>
                  </a:lnTo>
                  <a:lnTo>
                    <a:pt x="136" y="5787"/>
                  </a:lnTo>
                  <a:lnTo>
                    <a:pt x="69" y="5312"/>
                  </a:lnTo>
                  <a:lnTo>
                    <a:pt x="23" y="4815"/>
                  </a:lnTo>
                  <a:lnTo>
                    <a:pt x="1" y="4295"/>
                  </a:lnTo>
                  <a:lnTo>
                    <a:pt x="1" y="3775"/>
                  </a:lnTo>
                  <a:lnTo>
                    <a:pt x="69" y="3233"/>
                  </a:lnTo>
                  <a:lnTo>
                    <a:pt x="159" y="2690"/>
                  </a:lnTo>
                  <a:lnTo>
                    <a:pt x="227" y="2442"/>
                  </a:lnTo>
                  <a:lnTo>
                    <a:pt x="295" y="2170"/>
                  </a:lnTo>
                  <a:lnTo>
                    <a:pt x="408" y="1922"/>
                  </a:lnTo>
                  <a:lnTo>
                    <a:pt x="521" y="1696"/>
                  </a:lnTo>
                  <a:lnTo>
                    <a:pt x="634" y="1447"/>
                  </a:lnTo>
                  <a:lnTo>
                    <a:pt x="792" y="1221"/>
                  </a:lnTo>
                  <a:lnTo>
                    <a:pt x="950" y="1018"/>
                  </a:lnTo>
                  <a:lnTo>
                    <a:pt x="1153" y="814"/>
                  </a:lnTo>
                  <a:lnTo>
                    <a:pt x="1153" y="814"/>
                  </a:lnTo>
                  <a:lnTo>
                    <a:pt x="1334" y="634"/>
                  </a:lnTo>
                  <a:lnTo>
                    <a:pt x="1538" y="475"/>
                  </a:lnTo>
                  <a:lnTo>
                    <a:pt x="1719" y="362"/>
                  </a:lnTo>
                  <a:lnTo>
                    <a:pt x="1899" y="249"/>
                  </a:lnTo>
                  <a:lnTo>
                    <a:pt x="2103" y="159"/>
                  </a:lnTo>
                  <a:lnTo>
                    <a:pt x="2284" y="91"/>
                  </a:lnTo>
                  <a:lnTo>
                    <a:pt x="2464" y="46"/>
                  </a:lnTo>
                  <a:lnTo>
                    <a:pt x="2623" y="23"/>
                  </a:lnTo>
                  <a:lnTo>
                    <a:pt x="2803" y="1"/>
                  </a:lnTo>
                  <a:lnTo>
                    <a:pt x="2962" y="23"/>
                  </a:lnTo>
                  <a:lnTo>
                    <a:pt x="3301" y="68"/>
                  </a:lnTo>
                  <a:lnTo>
                    <a:pt x="3594" y="159"/>
                  </a:lnTo>
                  <a:lnTo>
                    <a:pt x="3866" y="272"/>
                  </a:lnTo>
                  <a:lnTo>
                    <a:pt x="4137" y="430"/>
                  </a:lnTo>
                  <a:lnTo>
                    <a:pt x="4363" y="588"/>
                  </a:lnTo>
                  <a:lnTo>
                    <a:pt x="4566" y="769"/>
                  </a:lnTo>
                  <a:lnTo>
                    <a:pt x="4725" y="927"/>
                  </a:lnTo>
                  <a:lnTo>
                    <a:pt x="4951" y="1176"/>
                  </a:lnTo>
                  <a:lnTo>
                    <a:pt x="5041" y="128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36" name="Google Shape;1836;p16"/>
            <p:cNvSpPr/>
            <p:nvPr/>
          </p:nvSpPr>
          <p:spPr>
            <a:xfrm>
              <a:off x="2740650" y="1944100"/>
              <a:ext cx="15300" cy="7950"/>
            </a:xfrm>
            <a:custGeom>
              <a:avLst/>
              <a:gdLst/>
              <a:ahLst/>
              <a:cxnLst/>
              <a:rect l="l" t="t" r="r" b="b"/>
              <a:pathLst>
                <a:path w="612" h="318" extrusionOk="0">
                  <a:moveTo>
                    <a:pt x="204" y="1"/>
                  </a:moveTo>
                  <a:lnTo>
                    <a:pt x="249" y="24"/>
                  </a:lnTo>
                  <a:lnTo>
                    <a:pt x="408" y="114"/>
                  </a:lnTo>
                  <a:lnTo>
                    <a:pt x="1" y="114"/>
                  </a:lnTo>
                  <a:lnTo>
                    <a:pt x="340" y="317"/>
                  </a:lnTo>
                  <a:lnTo>
                    <a:pt x="430" y="272"/>
                  </a:lnTo>
                  <a:lnTo>
                    <a:pt x="498" y="159"/>
                  </a:lnTo>
                  <a:lnTo>
                    <a:pt x="543" y="182"/>
                  </a:lnTo>
                  <a:lnTo>
                    <a:pt x="611" y="137"/>
                  </a:lnTo>
                  <a:lnTo>
                    <a:pt x="521" y="114"/>
                  </a:lnTo>
                  <a:lnTo>
                    <a:pt x="498" y="91"/>
                  </a:lnTo>
                  <a:lnTo>
                    <a:pt x="430" y="69"/>
                  </a:lnTo>
                  <a:lnTo>
                    <a:pt x="249" y="1"/>
                  </a:lnTo>
                  <a:close/>
                </a:path>
              </a:pathLst>
            </a:custGeom>
            <a:solidFill>
              <a:srgbClr val="CACAC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37" name="Google Shape;1837;p16"/>
            <p:cNvSpPr/>
            <p:nvPr/>
          </p:nvSpPr>
          <p:spPr>
            <a:xfrm>
              <a:off x="2740650" y="1944100"/>
              <a:ext cx="15300" cy="7950"/>
            </a:xfrm>
            <a:custGeom>
              <a:avLst/>
              <a:gdLst/>
              <a:ahLst/>
              <a:cxnLst/>
              <a:rect l="l" t="t" r="r" b="b"/>
              <a:pathLst>
                <a:path w="612" h="318" fill="none" extrusionOk="0">
                  <a:moveTo>
                    <a:pt x="204" y="1"/>
                  </a:moveTo>
                  <a:lnTo>
                    <a:pt x="204" y="1"/>
                  </a:lnTo>
                  <a:lnTo>
                    <a:pt x="204" y="1"/>
                  </a:lnTo>
                  <a:lnTo>
                    <a:pt x="204" y="1"/>
                  </a:lnTo>
                  <a:lnTo>
                    <a:pt x="249" y="24"/>
                  </a:lnTo>
                  <a:lnTo>
                    <a:pt x="408" y="114"/>
                  </a:lnTo>
                  <a:lnTo>
                    <a:pt x="408" y="114"/>
                  </a:lnTo>
                  <a:lnTo>
                    <a:pt x="317" y="114"/>
                  </a:lnTo>
                  <a:lnTo>
                    <a:pt x="317" y="114"/>
                  </a:lnTo>
                  <a:lnTo>
                    <a:pt x="46" y="114"/>
                  </a:lnTo>
                  <a:lnTo>
                    <a:pt x="46" y="114"/>
                  </a:lnTo>
                  <a:lnTo>
                    <a:pt x="1" y="114"/>
                  </a:lnTo>
                  <a:lnTo>
                    <a:pt x="1" y="114"/>
                  </a:lnTo>
                  <a:lnTo>
                    <a:pt x="340" y="317"/>
                  </a:lnTo>
                  <a:lnTo>
                    <a:pt x="340" y="317"/>
                  </a:lnTo>
                  <a:lnTo>
                    <a:pt x="430" y="272"/>
                  </a:lnTo>
                  <a:lnTo>
                    <a:pt x="430" y="272"/>
                  </a:lnTo>
                  <a:lnTo>
                    <a:pt x="498" y="159"/>
                  </a:lnTo>
                  <a:lnTo>
                    <a:pt x="498" y="159"/>
                  </a:lnTo>
                  <a:lnTo>
                    <a:pt x="543" y="182"/>
                  </a:lnTo>
                  <a:lnTo>
                    <a:pt x="543" y="182"/>
                  </a:lnTo>
                  <a:lnTo>
                    <a:pt x="611" y="137"/>
                  </a:lnTo>
                  <a:lnTo>
                    <a:pt x="611" y="137"/>
                  </a:lnTo>
                  <a:lnTo>
                    <a:pt x="521" y="114"/>
                  </a:lnTo>
                  <a:lnTo>
                    <a:pt x="521" y="114"/>
                  </a:lnTo>
                  <a:lnTo>
                    <a:pt x="498" y="91"/>
                  </a:lnTo>
                  <a:lnTo>
                    <a:pt x="430" y="69"/>
                  </a:lnTo>
                  <a:lnTo>
                    <a:pt x="249" y="1"/>
                  </a:lnTo>
                  <a:lnTo>
                    <a:pt x="249" y="1"/>
                  </a:lnTo>
                  <a:lnTo>
                    <a:pt x="204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38" name="Google Shape;1838;p16"/>
            <p:cNvSpPr/>
            <p:nvPr/>
          </p:nvSpPr>
          <p:spPr>
            <a:xfrm>
              <a:off x="2749125" y="1947500"/>
              <a:ext cx="6825" cy="4550"/>
            </a:xfrm>
            <a:custGeom>
              <a:avLst/>
              <a:gdLst/>
              <a:ahLst/>
              <a:cxnLst/>
              <a:rect l="l" t="t" r="r" b="b"/>
              <a:pathLst>
                <a:path w="273" h="182" extrusionOk="0">
                  <a:moveTo>
                    <a:pt x="272" y="1"/>
                  </a:moveTo>
                  <a:lnTo>
                    <a:pt x="204" y="46"/>
                  </a:lnTo>
                  <a:lnTo>
                    <a:pt x="227" y="68"/>
                  </a:lnTo>
                  <a:lnTo>
                    <a:pt x="272" y="46"/>
                  </a:lnTo>
                  <a:lnTo>
                    <a:pt x="272" y="1"/>
                  </a:lnTo>
                  <a:close/>
                  <a:moveTo>
                    <a:pt x="91" y="136"/>
                  </a:moveTo>
                  <a:lnTo>
                    <a:pt x="1" y="181"/>
                  </a:lnTo>
                  <a:lnTo>
                    <a:pt x="23" y="181"/>
                  </a:lnTo>
                  <a:lnTo>
                    <a:pt x="91" y="136"/>
                  </a:lnTo>
                  <a:close/>
                </a:path>
              </a:pathLst>
            </a:custGeom>
            <a:solidFill>
              <a:srgbClr val="BA742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39" name="Google Shape;1839;p16"/>
            <p:cNvSpPr/>
            <p:nvPr/>
          </p:nvSpPr>
          <p:spPr>
            <a:xfrm>
              <a:off x="2749125" y="1950900"/>
              <a:ext cx="2300" cy="1150"/>
            </a:xfrm>
            <a:custGeom>
              <a:avLst/>
              <a:gdLst/>
              <a:ahLst/>
              <a:cxnLst/>
              <a:rect l="l" t="t" r="r" b="b"/>
              <a:pathLst>
                <a:path w="92" h="46" fill="none" extrusionOk="0">
                  <a:moveTo>
                    <a:pt x="91" y="0"/>
                  </a:moveTo>
                  <a:lnTo>
                    <a:pt x="91" y="0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9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40" name="Google Shape;1840;p16"/>
            <p:cNvSpPr/>
            <p:nvPr/>
          </p:nvSpPr>
          <p:spPr>
            <a:xfrm>
              <a:off x="2754225" y="1947500"/>
              <a:ext cx="1725" cy="1725"/>
            </a:xfrm>
            <a:custGeom>
              <a:avLst/>
              <a:gdLst/>
              <a:ahLst/>
              <a:cxnLst/>
              <a:rect l="l" t="t" r="r" b="b"/>
              <a:pathLst>
                <a:path w="69" h="69" fill="none" extrusionOk="0">
                  <a:moveTo>
                    <a:pt x="68" y="1"/>
                  </a:moveTo>
                  <a:lnTo>
                    <a:pt x="68" y="1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68" y="46"/>
                  </a:lnTo>
                  <a:lnTo>
                    <a:pt x="68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41" name="Google Shape;1841;p16"/>
            <p:cNvSpPr/>
            <p:nvPr/>
          </p:nvSpPr>
          <p:spPr>
            <a:xfrm>
              <a:off x="2731625" y="1944100"/>
              <a:ext cx="9050" cy="2850"/>
            </a:xfrm>
            <a:custGeom>
              <a:avLst/>
              <a:gdLst/>
              <a:ahLst/>
              <a:cxnLst/>
              <a:rect l="l" t="t" r="r" b="b"/>
              <a:pathLst>
                <a:path w="362" h="114" extrusionOk="0">
                  <a:moveTo>
                    <a:pt x="204" y="1"/>
                  </a:moveTo>
                  <a:lnTo>
                    <a:pt x="45" y="69"/>
                  </a:lnTo>
                  <a:lnTo>
                    <a:pt x="0" y="91"/>
                  </a:lnTo>
                  <a:lnTo>
                    <a:pt x="45" y="114"/>
                  </a:lnTo>
                  <a:lnTo>
                    <a:pt x="362" y="114"/>
                  </a:lnTo>
                  <a:lnTo>
                    <a:pt x="204" y="1"/>
                  </a:lnTo>
                  <a:close/>
                </a:path>
              </a:pathLst>
            </a:custGeom>
            <a:solidFill>
              <a:srgbClr val="CACAC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42" name="Google Shape;1842;p16"/>
            <p:cNvSpPr/>
            <p:nvPr/>
          </p:nvSpPr>
          <p:spPr>
            <a:xfrm>
              <a:off x="2731625" y="1944100"/>
              <a:ext cx="9050" cy="2850"/>
            </a:xfrm>
            <a:custGeom>
              <a:avLst/>
              <a:gdLst/>
              <a:ahLst/>
              <a:cxnLst/>
              <a:rect l="l" t="t" r="r" b="b"/>
              <a:pathLst>
                <a:path w="362" h="114" fill="none" extrusionOk="0">
                  <a:moveTo>
                    <a:pt x="204" y="1"/>
                  </a:moveTo>
                  <a:lnTo>
                    <a:pt x="204" y="1"/>
                  </a:lnTo>
                  <a:lnTo>
                    <a:pt x="45" y="69"/>
                  </a:lnTo>
                  <a:lnTo>
                    <a:pt x="0" y="91"/>
                  </a:lnTo>
                  <a:lnTo>
                    <a:pt x="45" y="114"/>
                  </a:lnTo>
                  <a:lnTo>
                    <a:pt x="158" y="114"/>
                  </a:lnTo>
                  <a:lnTo>
                    <a:pt x="158" y="114"/>
                  </a:lnTo>
                  <a:lnTo>
                    <a:pt x="362" y="114"/>
                  </a:lnTo>
                  <a:lnTo>
                    <a:pt x="362" y="114"/>
                  </a:lnTo>
                  <a:lnTo>
                    <a:pt x="204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43" name="Google Shape;1843;p16"/>
            <p:cNvSpPr/>
            <p:nvPr/>
          </p:nvSpPr>
          <p:spPr>
            <a:xfrm>
              <a:off x="2715225" y="1949200"/>
              <a:ext cx="55975" cy="54825"/>
            </a:xfrm>
            <a:custGeom>
              <a:avLst/>
              <a:gdLst/>
              <a:ahLst/>
              <a:cxnLst/>
              <a:rect l="l" t="t" r="r" b="b"/>
              <a:pathLst>
                <a:path w="2239" h="2193" extrusionOk="0">
                  <a:moveTo>
                    <a:pt x="1583" y="0"/>
                  </a:moveTo>
                  <a:lnTo>
                    <a:pt x="1492" y="68"/>
                  </a:lnTo>
                  <a:lnTo>
                    <a:pt x="1492" y="68"/>
                  </a:lnTo>
                  <a:lnTo>
                    <a:pt x="1560" y="46"/>
                  </a:lnTo>
                  <a:lnTo>
                    <a:pt x="1583" y="23"/>
                  </a:lnTo>
                  <a:lnTo>
                    <a:pt x="1583" y="0"/>
                  </a:lnTo>
                  <a:close/>
                  <a:moveTo>
                    <a:pt x="1379" y="113"/>
                  </a:moveTo>
                  <a:lnTo>
                    <a:pt x="837" y="543"/>
                  </a:lnTo>
                  <a:lnTo>
                    <a:pt x="453" y="904"/>
                  </a:lnTo>
                  <a:lnTo>
                    <a:pt x="1" y="1356"/>
                  </a:lnTo>
                  <a:lnTo>
                    <a:pt x="23" y="1379"/>
                  </a:lnTo>
                  <a:lnTo>
                    <a:pt x="91" y="1447"/>
                  </a:lnTo>
                  <a:lnTo>
                    <a:pt x="430" y="1650"/>
                  </a:lnTo>
                  <a:lnTo>
                    <a:pt x="927" y="1899"/>
                  </a:lnTo>
                  <a:lnTo>
                    <a:pt x="1583" y="2193"/>
                  </a:lnTo>
                  <a:lnTo>
                    <a:pt x="1673" y="1763"/>
                  </a:lnTo>
                  <a:lnTo>
                    <a:pt x="1831" y="1334"/>
                  </a:lnTo>
                  <a:lnTo>
                    <a:pt x="2012" y="950"/>
                  </a:lnTo>
                  <a:lnTo>
                    <a:pt x="2125" y="746"/>
                  </a:lnTo>
                  <a:lnTo>
                    <a:pt x="2238" y="565"/>
                  </a:lnTo>
                  <a:lnTo>
                    <a:pt x="1922" y="407"/>
                  </a:lnTo>
                  <a:lnTo>
                    <a:pt x="1379" y="113"/>
                  </a:lnTo>
                  <a:close/>
                </a:path>
              </a:pathLst>
            </a:custGeom>
            <a:solidFill>
              <a:srgbClr val="BA742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44" name="Google Shape;1844;p16"/>
            <p:cNvSpPr/>
            <p:nvPr/>
          </p:nvSpPr>
          <p:spPr>
            <a:xfrm>
              <a:off x="2715225" y="1952025"/>
              <a:ext cx="55975" cy="52000"/>
            </a:xfrm>
            <a:custGeom>
              <a:avLst/>
              <a:gdLst/>
              <a:ahLst/>
              <a:cxnLst/>
              <a:rect l="l" t="t" r="r" b="b"/>
              <a:pathLst>
                <a:path w="2239" h="2080" fill="none" extrusionOk="0">
                  <a:moveTo>
                    <a:pt x="1379" y="0"/>
                  </a:moveTo>
                  <a:lnTo>
                    <a:pt x="1379" y="0"/>
                  </a:lnTo>
                  <a:lnTo>
                    <a:pt x="837" y="430"/>
                  </a:lnTo>
                  <a:lnTo>
                    <a:pt x="453" y="791"/>
                  </a:lnTo>
                  <a:lnTo>
                    <a:pt x="1" y="1243"/>
                  </a:lnTo>
                  <a:lnTo>
                    <a:pt x="1" y="1243"/>
                  </a:lnTo>
                  <a:lnTo>
                    <a:pt x="23" y="1266"/>
                  </a:lnTo>
                  <a:lnTo>
                    <a:pt x="91" y="1334"/>
                  </a:lnTo>
                  <a:lnTo>
                    <a:pt x="430" y="1537"/>
                  </a:lnTo>
                  <a:lnTo>
                    <a:pt x="927" y="1786"/>
                  </a:lnTo>
                  <a:lnTo>
                    <a:pt x="1583" y="2080"/>
                  </a:lnTo>
                  <a:lnTo>
                    <a:pt x="1583" y="2080"/>
                  </a:lnTo>
                  <a:lnTo>
                    <a:pt x="1673" y="1650"/>
                  </a:lnTo>
                  <a:lnTo>
                    <a:pt x="1831" y="1221"/>
                  </a:lnTo>
                  <a:lnTo>
                    <a:pt x="2012" y="837"/>
                  </a:lnTo>
                  <a:lnTo>
                    <a:pt x="2125" y="633"/>
                  </a:lnTo>
                  <a:lnTo>
                    <a:pt x="2238" y="452"/>
                  </a:lnTo>
                  <a:lnTo>
                    <a:pt x="2238" y="452"/>
                  </a:lnTo>
                  <a:lnTo>
                    <a:pt x="1922" y="294"/>
                  </a:lnTo>
                  <a:lnTo>
                    <a:pt x="1922" y="294"/>
                  </a:lnTo>
                  <a:lnTo>
                    <a:pt x="1379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45" name="Google Shape;1845;p16"/>
            <p:cNvSpPr/>
            <p:nvPr/>
          </p:nvSpPr>
          <p:spPr>
            <a:xfrm>
              <a:off x="2752525" y="1949200"/>
              <a:ext cx="2275" cy="1725"/>
            </a:xfrm>
            <a:custGeom>
              <a:avLst/>
              <a:gdLst/>
              <a:ahLst/>
              <a:cxnLst/>
              <a:rect l="l" t="t" r="r" b="b"/>
              <a:pathLst>
                <a:path w="91" h="69" fill="none" extrusionOk="0">
                  <a:moveTo>
                    <a:pt x="91" y="0"/>
                  </a:moveTo>
                  <a:lnTo>
                    <a:pt x="91" y="0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68" y="46"/>
                  </a:lnTo>
                  <a:lnTo>
                    <a:pt x="91" y="23"/>
                  </a:lnTo>
                  <a:lnTo>
                    <a:pt x="9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46" name="Google Shape;1846;p16"/>
            <p:cNvSpPr/>
            <p:nvPr/>
          </p:nvSpPr>
          <p:spPr>
            <a:xfrm>
              <a:off x="2982500" y="1970675"/>
              <a:ext cx="11875" cy="11325"/>
            </a:xfrm>
            <a:custGeom>
              <a:avLst/>
              <a:gdLst/>
              <a:ahLst/>
              <a:cxnLst/>
              <a:rect l="l" t="t" r="r" b="b"/>
              <a:pathLst>
                <a:path w="475" h="453" extrusionOk="0">
                  <a:moveTo>
                    <a:pt x="113" y="0"/>
                  </a:moveTo>
                  <a:lnTo>
                    <a:pt x="0" y="45"/>
                  </a:lnTo>
                  <a:lnTo>
                    <a:pt x="68" y="181"/>
                  </a:lnTo>
                  <a:lnTo>
                    <a:pt x="136" y="271"/>
                  </a:lnTo>
                  <a:lnTo>
                    <a:pt x="226" y="362"/>
                  </a:lnTo>
                  <a:lnTo>
                    <a:pt x="317" y="430"/>
                  </a:lnTo>
                  <a:lnTo>
                    <a:pt x="339" y="452"/>
                  </a:lnTo>
                  <a:lnTo>
                    <a:pt x="430" y="339"/>
                  </a:lnTo>
                  <a:lnTo>
                    <a:pt x="475" y="271"/>
                  </a:lnTo>
                  <a:lnTo>
                    <a:pt x="475" y="204"/>
                  </a:lnTo>
                  <a:lnTo>
                    <a:pt x="475" y="136"/>
                  </a:lnTo>
                  <a:lnTo>
                    <a:pt x="452" y="91"/>
                  </a:lnTo>
                  <a:lnTo>
                    <a:pt x="407" y="45"/>
                  </a:lnTo>
                  <a:lnTo>
                    <a:pt x="317" y="0"/>
                  </a:lnTo>
                  <a:close/>
                </a:path>
              </a:pathLst>
            </a:custGeom>
            <a:solidFill>
              <a:srgbClr val="BE8E8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47" name="Google Shape;1847;p16"/>
            <p:cNvSpPr/>
            <p:nvPr/>
          </p:nvSpPr>
          <p:spPr>
            <a:xfrm>
              <a:off x="2982500" y="1970675"/>
              <a:ext cx="11875" cy="11325"/>
            </a:xfrm>
            <a:custGeom>
              <a:avLst/>
              <a:gdLst/>
              <a:ahLst/>
              <a:cxnLst/>
              <a:rect l="l" t="t" r="r" b="b"/>
              <a:pathLst>
                <a:path w="475" h="453" fill="none" extrusionOk="0">
                  <a:moveTo>
                    <a:pt x="226" y="0"/>
                  </a:moveTo>
                  <a:lnTo>
                    <a:pt x="226" y="0"/>
                  </a:lnTo>
                  <a:lnTo>
                    <a:pt x="113" y="0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68" y="181"/>
                  </a:lnTo>
                  <a:lnTo>
                    <a:pt x="136" y="271"/>
                  </a:lnTo>
                  <a:lnTo>
                    <a:pt x="226" y="362"/>
                  </a:lnTo>
                  <a:lnTo>
                    <a:pt x="317" y="430"/>
                  </a:lnTo>
                  <a:lnTo>
                    <a:pt x="317" y="430"/>
                  </a:lnTo>
                  <a:lnTo>
                    <a:pt x="339" y="452"/>
                  </a:lnTo>
                  <a:lnTo>
                    <a:pt x="339" y="452"/>
                  </a:lnTo>
                  <a:lnTo>
                    <a:pt x="430" y="339"/>
                  </a:lnTo>
                  <a:lnTo>
                    <a:pt x="475" y="271"/>
                  </a:lnTo>
                  <a:lnTo>
                    <a:pt x="475" y="204"/>
                  </a:lnTo>
                  <a:lnTo>
                    <a:pt x="475" y="136"/>
                  </a:lnTo>
                  <a:lnTo>
                    <a:pt x="452" y="91"/>
                  </a:lnTo>
                  <a:lnTo>
                    <a:pt x="407" y="45"/>
                  </a:lnTo>
                  <a:lnTo>
                    <a:pt x="317" y="0"/>
                  </a:lnTo>
                  <a:lnTo>
                    <a:pt x="317" y="0"/>
                  </a:lnTo>
                  <a:lnTo>
                    <a:pt x="22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48" name="Google Shape;1848;p16"/>
            <p:cNvSpPr/>
            <p:nvPr/>
          </p:nvSpPr>
          <p:spPr>
            <a:xfrm>
              <a:off x="2911875" y="1971800"/>
              <a:ext cx="79125" cy="58775"/>
            </a:xfrm>
            <a:custGeom>
              <a:avLst/>
              <a:gdLst/>
              <a:ahLst/>
              <a:cxnLst/>
              <a:rect l="l" t="t" r="r" b="b"/>
              <a:pathLst>
                <a:path w="3165" h="2351" extrusionOk="0">
                  <a:moveTo>
                    <a:pt x="2825" y="0"/>
                  </a:moveTo>
                  <a:lnTo>
                    <a:pt x="2712" y="91"/>
                  </a:lnTo>
                  <a:lnTo>
                    <a:pt x="2577" y="204"/>
                  </a:lnTo>
                  <a:lnTo>
                    <a:pt x="2441" y="317"/>
                  </a:lnTo>
                  <a:lnTo>
                    <a:pt x="2283" y="407"/>
                  </a:lnTo>
                  <a:lnTo>
                    <a:pt x="1853" y="588"/>
                  </a:lnTo>
                  <a:lnTo>
                    <a:pt x="1379" y="769"/>
                  </a:lnTo>
                  <a:lnTo>
                    <a:pt x="859" y="927"/>
                  </a:lnTo>
                  <a:lnTo>
                    <a:pt x="316" y="1063"/>
                  </a:lnTo>
                  <a:lnTo>
                    <a:pt x="0" y="2351"/>
                  </a:lnTo>
                  <a:lnTo>
                    <a:pt x="407" y="2193"/>
                  </a:lnTo>
                  <a:lnTo>
                    <a:pt x="904" y="1989"/>
                  </a:lnTo>
                  <a:lnTo>
                    <a:pt x="1311" y="1763"/>
                  </a:lnTo>
                  <a:lnTo>
                    <a:pt x="1650" y="1560"/>
                  </a:lnTo>
                  <a:lnTo>
                    <a:pt x="1921" y="1334"/>
                  </a:lnTo>
                  <a:lnTo>
                    <a:pt x="2147" y="1130"/>
                  </a:lnTo>
                  <a:lnTo>
                    <a:pt x="2351" y="950"/>
                  </a:lnTo>
                  <a:lnTo>
                    <a:pt x="2509" y="791"/>
                  </a:lnTo>
                  <a:lnTo>
                    <a:pt x="2690" y="656"/>
                  </a:lnTo>
                  <a:lnTo>
                    <a:pt x="2780" y="588"/>
                  </a:lnTo>
                  <a:lnTo>
                    <a:pt x="2825" y="565"/>
                  </a:lnTo>
                  <a:lnTo>
                    <a:pt x="2870" y="588"/>
                  </a:lnTo>
                  <a:lnTo>
                    <a:pt x="2938" y="588"/>
                  </a:lnTo>
                  <a:lnTo>
                    <a:pt x="3006" y="543"/>
                  </a:lnTo>
                  <a:lnTo>
                    <a:pt x="3164" y="407"/>
                  </a:lnTo>
                  <a:lnTo>
                    <a:pt x="3142" y="385"/>
                  </a:lnTo>
                  <a:lnTo>
                    <a:pt x="3051" y="317"/>
                  </a:lnTo>
                  <a:lnTo>
                    <a:pt x="2961" y="226"/>
                  </a:lnTo>
                  <a:lnTo>
                    <a:pt x="2893" y="136"/>
                  </a:lnTo>
                  <a:lnTo>
                    <a:pt x="2825" y="0"/>
                  </a:lnTo>
                  <a:close/>
                </a:path>
              </a:pathLst>
            </a:custGeom>
            <a:solidFill>
              <a:srgbClr val="CACAC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49" name="Google Shape;1849;p16"/>
            <p:cNvSpPr/>
            <p:nvPr/>
          </p:nvSpPr>
          <p:spPr>
            <a:xfrm>
              <a:off x="2911875" y="1971800"/>
              <a:ext cx="79125" cy="58775"/>
            </a:xfrm>
            <a:custGeom>
              <a:avLst/>
              <a:gdLst/>
              <a:ahLst/>
              <a:cxnLst/>
              <a:rect l="l" t="t" r="r" b="b"/>
              <a:pathLst>
                <a:path w="3165" h="2351" fill="none" extrusionOk="0">
                  <a:moveTo>
                    <a:pt x="2825" y="0"/>
                  </a:moveTo>
                  <a:lnTo>
                    <a:pt x="2825" y="0"/>
                  </a:lnTo>
                  <a:lnTo>
                    <a:pt x="2712" y="91"/>
                  </a:lnTo>
                  <a:lnTo>
                    <a:pt x="2577" y="204"/>
                  </a:lnTo>
                  <a:lnTo>
                    <a:pt x="2441" y="317"/>
                  </a:lnTo>
                  <a:lnTo>
                    <a:pt x="2283" y="407"/>
                  </a:lnTo>
                  <a:lnTo>
                    <a:pt x="2283" y="407"/>
                  </a:lnTo>
                  <a:lnTo>
                    <a:pt x="1853" y="588"/>
                  </a:lnTo>
                  <a:lnTo>
                    <a:pt x="1379" y="769"/>
                  </a:lnTo>
                  <a:lnTo>
                    <a:pt x="859" y="927"/>
                  </a:lnTo>
                  <a:lnTo>
                    <a:pt x="316" y="1063"/>
                  </a:lnTo>
                  <a:lnTo>
                    <a:pt x="316" y="1063"/>
                  </a:lnTo>
                  <a:lnTo>
                    <a:pt x="0" y="2351"/>
                  </a:lnTo>
                  <a:lnTo>
                    <a:pt x="0" y="2351"/>
                  </a:lnTo>
                  <a:lnTo>
                    <a:pt x="407" y="2193"/>
                  </a:lnTo>
                  <a:lnTo>
                    <a:pt x="407" y="2193"/>
                  </a:lnTo>
                  <a:lnTo>
                    <a:pt x="904" y="1989"/>
                  </a:lnTo>
                  <a:lnTo>
                    <a:pt x="1311" y="1763"/>
                  </a:lnTo>
                  <a:lnTo>
                    <a:pt x="1650" y="1560"/>
                  </a:lnTo>
                  <a:lnTo>
                    <a:pt x="1921" y="1334"/>
                  </a:lnTo>
                  <a:lnTo>
                    <a:pt x="2147" y="1130"/>
                  </a:lnTo>
                  <a:lnTo>
                    <a:pt x="2351" y="950"/>
                  </a:lnTo>
                  <a:lnTo>
                    <a:pt x="2509" y="791"/>
                  </a:lnTo>
                  <a:lnTo>
                    <a:pt x="2690" y="656"/>
                  </a:lnTo>
                  <a:lnTo>
                    <a:pt x="2690" y="656"/>
                  </a:lnTo>
                  <a:lnTo>
                    <a:pt x="2780" y="588"/>
                  </a:lnTo>
                  <a:lnTo>
                    <a:pt x="2825" y="565"/>
                  </a:lnTo>
                  <a:lnTo>
                    <a:pt x="2825" y="565"/>
                  </a:lnTo>
                  <a:lnTo>
                    <a:pt x="2825" y="565"/>
                  </a:lnTo>
                  <a:lnTo>
                    <a:pt x="2825" y="565"/>
                  </a:lnTo>
                  <a:lnTo>
                    <a:pt x="2870" y="588"/>
                  </a:lnTo>
                  <a:lnTo>
                    <a:pt x="2870" y="588"/>
                  </a:lnTo>
                  <a:lnTo>
                    <a:pt x="2938" y="588"/>
                  </a:lnTo>
                  <a:lnTo>
                    <a:pt x="3006" y="543"/>
                  </a:lnTo>
                  <a:lnTo>
                    <a:pt x="3164" y="407"/>
                  </a:lnTo>
                  <a:lnTo>
                    <a:pt x="3164" y="407"/>
                  </a:lnTo>
                  <a:lnTo>
                    <a:pt x="3142" y="385"/>
                  </a:lnTo>
                  <a:lnTo>
                    <a:pt x="3142" y="385"/>
                  </a:lnTo>
                  <a:lnTo>
                    <a:pt x="3051" y="317"/>
                  </a:lnTo>
                  <a:lnTo>
                    <a:pt x="2961" y="226"/>
                  </a:lnTo>
                  <a:lnTo>
                    <a:pt x="2893" y="136"/>
                  </a:lnTo>
                  <a:lnTo>
                    <a:pt x="282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50" name="Google Shape;1850;p16"/>
            <p:cNvSpPr/>
            <p:nvPr/>
          </p:nvSpPr>
          <p:spPr>
            <a:xfrm>
              <a:off x="2887575" y="1998350"/>
              <a:ext cx="32225" cy="36750"/>
            </a:xfrm>
            <a:custGeom>
              <a:avLst/>
              <a:gdLst/>
              <a:ahLst/>
              <a:cxnLst/>
              <a:rect l="l" t="t" r="r" b="b"/>
              <a:pathLst>
                <a:path w="1289" h="1470" extrusionOk="0">
                  <a:moveTo>
                    <a:pt x="1288" y="1"/>
                  </a:moveTo>
                  <a:lnTo>
                    <a:pt x="972" y="68"/>
                  </a:lnTo>
                  <a:lnTo>
                    <a:pt x="656" y="114"/>
                  </a:lnTo>
                  <a:lnTo>
                    <a:pt x="339" y="136"/>
                  </a:lnTo>
                  <a:lnTo>
                    <a:pt x="0" y="136"/>
                  </a:lnTo>
                  <a:lnTo>
                    <a:pt x="294" y="1470"/>
                  </a:lnTo>
                  <a:lnTo>
                    <a:pt x="678" y="1379"/>
                  </a:lnTo>
                  <a:lnTo>
                    <a:pt x="972" y="1289"/>
                  </a:lnTo>
                  <a:lnTo>
                    <a:pt x="1288" y="1"/>
                  </a:lnTo>
                  <a:close/>
                </a:path>
              </a:pathLst>
            </a:custGeom>
            <a:solidFill>
              <a:srgbClr val="BA742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51" name="Google Shape;1851;p16"/>
            <p:cNvSpPr/>
            <p:nvPr/>
          </p:nvSpPr>
          <p:spPr>
            <a:xfrm>
              <a:off x="2887575" y="1998350"/>
              <a:ext cx="32225" cy="36750"/>
            </a:xfrm>
            <a:custGeom>
              <a:avLst/>
              <a:gdLst/>
              <a:ahLst/>
              <a:cxnLst/>
              <a:rect l="l" t="t" r="r" b="b"/>
              <a:pathLst>
                <a:path w="1289" h="1470" fill="none" extrusionOk="0">
                  <a:moveTo>
                    <a:pt x="1288" y="1"/>
                  </a:moveTo>
                  <a:lnTo>
                    <a:pt x="1288" y="1"/>
                  </a:lnTo>
                  <a:lnTo>
                    <a:pt x="972" y="68"/>
                  </a:lnTo>
                  <a:lnTo>
                    <a:pt x="656" y="114"/>
                  </a:lnTo>
                  <a:lnTo>
                    <a:pt x="656" y="114"/>
                  </a:lnTo>
                  <a:lnTo>
                    <a:pt x="339" y="136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294" y="1470"/>
                  </a:lnTo>
                  <a:lnTo>
                    <a:pt x="294" y="1470"/>
                  </a:lnTo>
                  <a:lnTo>
                    <a:pt x="678" y="1379"/>
                  </a:lnTo>
                  <a:lnTo>
                    <a:pt x="972" y="1289"/>
                  </a:lnTo>
                  <a:lnTo>
                    <a:pt x="972" y="1289"/>
                  </a:lnTo>
                  <a:lnTo>
                    <a:pt x="1288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52" name="Google Shape;1852;p16"/>
            <p:cNvSpPr/>
            <p:nvPr/>
          </p:nvSpPr>
          <p:spPr>
            <a:xfrm>
              <a:off x="2754775" y="1963325"/>
              <a:ext cx="140150" cy="74050"/>
            </a:xfrm>
            <a:custGeom>
              <a:avLst/>
              <a:gdLst/>
              <a:ahLst/>
              <a:cxnLst/>
              <a:rect l="l" t="t" r="r" b="b"/>
              <a:pathLst>
                <a:path w="5606" h="2962" extrusionOk="0">
                  <a:moveTo>
                    <a:pt x="656" y="0"/>
                  </a:moveTo>
                  <a:lnTo>
                    <a:pt x="543" y="181"/>
                  </a:lnTo>
                  <a:lnTo>
                    <a:pt x="430" y="385"/>
                  </a:lnTo>
                  <a:lnTo>
                    <a:pt x="249" y="769"/>
                  </a:lnTo>
                  <a:lnTo>
                    <a:pt x="91" y="1198"/>
                  </a:lnTo>
                  <a:lnTo>
                    <a:pt x="1" y="1628"/>
                  </a:lnTo>
                  <a:lnTo>
                    <a:pt x="1040" y="2080"/>
                  </a:lnTo>
                  <a:lnTo>
                    <a:pt x="1606" y="2283"/>
                  </a:lnTo>
                  <a:lnTo>
                    <a:pt x="2171" y="2464"/>
                  </a:lnTo>
                  <a:lnTo>
                    <a:pt x="2713" y="2645"/>
                  </a:lnTo>
                  <a:lnTo>
                    <a:pt x="3255" y="2780"/>
                  </a:lnTo>
                  <a:lnTo>
                    <a:pt x="3730" y="2871"/>
                  </a:lnTo>
                  <a:lnTo>
                    <a:pt x="4182" y="2939"/>
                  </a:lnTo>
                  <a:lnTo>
                    <a:pt x="4679" y="2961"/>
                  </a:lnTo>
                  <a:lnTo>
                    <a:pt x="5177" y="2939"/>
                  </a:lnTo>
                  <a:lnTo>
                    <a:pt x="5606" y="2871"/>
                  </a:lnTo>
                  <a:lnTo>
                    <a:pt x="5312" y="1537"/>
                  </a:lnTo>
                  <a:lnTo>
                    <a:pt x="5267" y="1537"/>
                  </a:lnTo>
                  <a:lnTo>
                    <a:pt x="4815" y="1515"/>
                  </a:lnTo>
                  <a:lnTo>
                    <a:pt x="4340" y="1469"/>
                  </a:lnTo>
                  <a:lnTo>
                    <a:pt x="4092" y="1402"/>
                  </a:lnTo>
                  <a:lnTo>
                    <a:pt x="3753" y="1289"/>
                  </a:lnTo>
                  <a:lnTo>
                    <a:pt x="2826" y="950"/>
                  </a:lnTo>
                  <a:lnTo>
                    <a:pt x="1741" y="498"/>
                  </a:lnTo>
                  <a:lnTo>
                    <a:pt x="656" y="0"/>
                  </a:lnTo>
                  <a:close/>
                </a:path>
              </a:pathLst>
            </a:custGeom>
            <a:solidFill>
              <a:srgbClr val="BA742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53" name="Google Shape;1853;p16"/>
            <p:cNvSpPr/>
            <p:nvPr/>
          </p:nvSpPr>
          <p:spPr>
            <a:xfrm>
              <a:off x="2754775" y="1963325"/>
              <a:ext cx="140150" cy="74050"/>
            </a:xfrm>
            <a:custGeom>
              <a:avLst/>
              <a:gdLst/>
              <a:ahLst/>
              <a:cxnLst/>
              <a:rect l="l" t="t" r="r" b="b"/>
              <a:pathLst>
                <a:path w="5606" h="2962" fill="none" extrusionOk="0">
                  <a:moveTo>
                    <a:pt x="656" y="0"/>
                  </a:moveTo>
                  <a:lnTo>
                    <a:pt x="656" y="0"/>
                  </a:lnTo>
                  <a:lnTo>
                    <a:pt x="543" y="181"/>
                  </a:lnTo>
                  <a:lnTo>
                    <a:pt x="430" y="385"/>
                  </a:lnTo>
                  <a:lnTo>
                    <a:pt x="249" y="769"/>
                  </a:lnTo>
                  <a:lnTo>
                    <a:pt x="91" y="1198"/>
                  </a:lnTo>
                  <a:lnTo>
                    <a:pt x="1" y="1628"/>
                  </a:lnTo>
                  <a:lnTo>
                    <a:pt x="1" y="1628"/>
                  </a:lnTo>
                  <a:lnTo>
                    <a:pt x="1040" y="2080"/>
                  </a:lnTo>
                  <a:lnTo>
                    <a:pt x="1606" y="2283"/>
                  </a:lnTo>
                  <a:lnTo>
                    <a:pt x="2171" y="2464"/>
                  </a:lnTo>
                  <a:lnTo>
                    <a:pt x="2713" y="2645"/>
                  </a:lnTo>
                  <a:lnTo>
                    <a:pt x="3255" y="2780"/>
                  </a:lnTo>
                  <a:lnTo>
                    <a:pt x="3730" y="2871"/>
                  </a:lnTo>
                  <a:lnTo>
                    <a:pt x="4182" y="2939"/>
                  </a:lnTo>
                  <a:lnTo>
                    <a:pt x="4182" y="2939"/>
                  </a:lnTo>
                  <a:lnTo>
                    <a:pt x="4679" y="2961"/>
                  </a:lnTo>
                  <a:lnTo>
                    <a:pt x="4679" y="2961"/>
                  </a:lnTo>
                  <a:lnTo>
                    <a:pt x="5177" y="2939"/>
                  </a:lnTo>
                  <a:lnTo>
                    <a:pt x="5606" y="2871"/>
                  </a:lnTo>
                  <a:lnTo>
                    <a:pt x="5606" y="2871"/>
                  </a:lnTo>
                  <a:lnTo>
                    <a:pt x="5312" y="1537"/>
                  </a:lnTo>
                  <a:lnTo>
                    <a:pt x="5312" y="1537"/>
                  </a:lnTo>
                  <a:lnTo>
                    <a:pt x="5290" y="1537"/>
                  </a:lnTo>
                  <a:lnTo>
                    <a:pt x="5290" y="1537"/>
                  </a:lnTo>
                  <a:lnTo>
                    <a:pt x="5267" y="1537"/>
                  </a:lnTo>
                  <a:lnTo>
                    <a:pt x="5267" y="1537"/>
                  </a:lnTo>
                  <a:lnTo>
                    <a:pt x="4815" y="1515"/>
                  </a:lnTo>
                  <a:lnTo>
                    <a:pt x="4340" y="1469"/>
                  </a:lnTo>
                  <a:lnTo>
                    <a:pt x="4340" y="1469"/>
                  </a:lnTo>
                  <a:lnTo>
                    <a:pt x="4092" y="1402"/>
                  </a:lnTo>
                  <a:lnTo>
                    <a:pt x="3753" y="1289"/>
                  </a:lnTo>
                  <a:lnTo>
                    <a:pt x="2826" y="950"/>
                  </a:lnTo>
                  <a:lnTo>
                    <a:pt x="1741" y="498"/>
                  </a:lnTo>
                  <a:lnTo>
                    <a:pt x="65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54" name="Google Shape;1854;p16"/>
            <p:cNvSpPr/>
            <p:nvPr/>
          </p:nvSpPr>
          <p:spPr>
            <a:xfrm>
              <a:off x="2286375" y="1847500"/>
              <a:ext cx="717625" cy="175175"/>
            </a:xfrm>
            <a:custGeom>
              <a:avLst/>
              <a:gdLst/>
              <a:ahLst/>
              <a:cxnLst/>
              <a:rect l="l" t="t" r="r" b="b"/>
              <a:pathLst>
                <a:path w="28705" h="7007" extrusionOk="0">
                  <a:moveTo>
                    <a:pt x="791" y="0"/>
                  </a:moveTo>
                  <a:lnTo>
                    <a:pt x="543" y="23"/>
                  </a:lnTo>
                  <a:lnTo>
                    <a:pt x="362" y="68"/>
                  </a:lnTo>
                  <a:lnTo>
                    <a:pt x="204" y="136"/>
                  </a:lnTo>
                  <a:lnTo>
                    <a:pt x="136" y="181"/>
                  </a:lnTo>
                  <a:lnTo>
                    <a:pt x="91" y="249"/>
                  </a:lnTo>
                  <a:lnTo>
                    <a:pt x="45" y="294"/>
                  </a:lnTo>
                  <a:lnTo>
                    <a:pt x="23" y="362"/>
                  </a:lnTo>
                  <a:lnTo>
                    <a:pt x="0" y="520"/>
                  </a:lnTo>
                  <a:lnTo>
                    <a:pt x="23" y="723"/>
                  </a:lnTo>
                  <a:lnTo>
                    <a:pt x="68" y="927"/>
                  </a:lnTo>
                  <a:lnTo>
                    <a:pt x="158" y="1153"/>
                  </a:lnTo>
                  <a:lnTo>
                    <a:pt x="271" y="1379"/>
                  </a:lnTo>
                  <a:lnTo>
                    <a:pt x="430" y="1605"/>
                  </a:lnTo>
                  <a:lnTo>
                    <a:pt x="610" y="1808"/>
                  </a:lnTo>
                  <a:lnTo>
                    <a:pt x="814" y="2012"/>
                  </a:lnTo>
                  <a:lnTo>
                    <a:pt x="972" y="2102"/>
                  </a:lnTo>
                  <a:lnTo>
                    <a:pt x="1266" y="2260"/>
                  </a:lnTo>
                  <a:lnTo>
                    <a:pt x="2080" y="2622"/>
                  </a:lnTo>
                  <a:lnTo>
                    <a:pt x="3187" y="3074"/>
                  </a:lnTo>
                  <a:lnTo>
                    <a:pt x="4453" y="3548"/>
                  </a:lnTo>
                  <a:lnTo>
                    <a:pt x="5741" y="4023"/>
                  </a:lnTo>
                  <a:lnTo>
                    <a:pt x="6984" y="4453"/>
                  </a:lnTo>
                  <a:lnTo>
                    <a:pt x="8069" y="4769"/>
                  </a:lnTo>
                  <a:lnTo>
                    <a:pt x="8498" y="4882"/>
                  </a:lnTo>
                  <a:lnTo>
                    <a:pt x="8860" y="4950"/>
                  </a:lnTo>
                  <a:lnTo>
                    <a:pt x="9267" y="4995"/>
                  </a:lnTo>
                  <a:lnTo>
                    <a:pt x="9674" y="5018"/>
                  </a:lnTo>
                  <a:lnTo>
                    <a:pt x="10103" y="5018"/>
                  </a:lnTo>
                  <a:lnTo>
                    <a:pt x="10510" y="4995"/>
                  </a:lnTo>
                  <a:lnTo>
                    <a:pt x="10917" y="4927"/>
                  </a:lnTo>
                  <a:lnTo>
                    <a:pt x="11346" y="4882"/>
                  </a:lnTo>
                  <a:lnTo>
                    <a:pt x="12160" y="4701"/>
                  </a:lnTo>
                  <a:lnTo>
                    <a:pt x="12951" y="4520"/>
                  </a:lnTo>
                  <a:lnTo>
                    <a:pt x="13719" y="4340"/>
                  </a:lnTo>
                  <a:lnTo>
                    <a:pt x="14420" y="4181"/>
                  </a:lnTo>
                  <a:lnTo>
                    <a:pt x="14782" y="4114"/>
                  </a:lnTo>
                  <a:lnTo>
                    <a:pt x="15098" y="4068"/>
                  </a:lnTo>
                  <a:lnTo>
                    <a:pt x="15369" y="4046"/>
                  </a:lnTo>
                  <a:lnTo>
                    <a:pt x="15866" y="4046"/>
                  </a:lnTo>
                  <a:lnTo>
                    <a:pt x="16115" y="4091"/>
                  </a:lnTo>
                  <a:lnTo>
                    <a:pt x="16386" y="4159"/>
                  </a:lnTo>
                  <a:lnTo>
                    <a:pt x="16657" y="4249"/>
                  </a:lnTo>
                  <a:lnTo>
                    <a:pt x="17290" y="4475"/>
                  </a:lnTo>
                  <a:lnTo>
                    <a:pt x="17991" y="4769"/>
                  </a:lnTo>
                  <a:lnTo>
                    <a:pt x="18714" y="5108"/>
                  </a:lnTo>
                  <a:lnTo>
                    <a:pt x="19822" y="5650"/>
                  </a:lnTo>
                  <a:lnTo>
                    <a:pt x="20952" y="6170"/>
                  </a:lnTo>
                  <a:lnTo>
                    <a:pt x="21494" y="6396"/>
                  </a:lnTo>
                  <a:lnTo>
                    <a:pt x="22014" y="6622"/>
                  </a:lnTo>
                  <a:lnTo>
                    <a:pt x="22489" y="6780"/>
                  </a:lnTo>
                  <a:lnTo>
                    <a:pt x="22963" y="6916"/>
                  </a:lnTo>
                  <a:lnTo>
                    <a:pt x="23370" y="6984"/>
                  </a:lnTo>
                  <a:lnTo>
                    <a:pt x="23732" y="7007"/>
                  </a:lnTo>
                  <a:lnTo>
                    <a:pt x="24093" y="7007"/>
                  </a:lnTo>
                  <a:lnTo>
                    <a:pt x="24432" y="6961"/>
                  </a:lnTo>
                  <a:lnTo>
                    <a:pt x="24794" y="6893"/>
                  </a:lnTo>
                  <a:lnTo>
                    <a:pt x="25133" y="6780"/>
                  </a:lnTo>
                  <a:lnTo>
                    <a:pt x="25472" y="6690"/>
                  </a:lnTo>
                  <a:lnTo>
                    <a:pt x="25811" y="6554"/>
                  </a:lnTo>
                  <a:lnTo>
                    <a:pt x="26105" y="6441"/>
                  </a:lnTo>
                  <a:lnTo>
                    <a:pt x="26670" y="6170"/>
                  </a:lnTo>
                  <a:lnTo>
                    <a:pt x="27145" y="5922"/>
                  </a:lnTo>
                  <a:lnTo>
                    <a:pt x="27484" y="5718"/>
                  </a:lnTo>
                  <a:lnTo>
                    <a:pt x="27710" y="5628"/>
                  </a:lnTo>
                  <a:lnTo>
                    <a:pt x="27755" y="5605"/>
                  </a:lnTo>
                  <a:lnTo>
                    <a:pt x="27777" y="5605"/>
                  </a:lnTo>
                  <a:lnTo>
                    <a:pt x="27868" y="5718"/>
                  </a:lnTo>
                  <a:lnTo>
                    <a:pt x="27958" y="5809"/>
                  </a:lnTo>
                  <a:lnTo>
                    <a:pt x="28094" y="5876"/>
                  </a:lnTo>
                  <a:lnTo>
                    <a:pt x="28297" y="5899"/>
                  </a:lnTo>
                  <a:lnTo>
                    <a:pt x="28365" y="5876"/>
                  </a:lnTo>
                  <a:lnTo>
                    <a:pt x="28433" y="5831"/>
                  </a:lnTo>
                  <a:lnTo>
                    <a:pt x="28501" y="5786"/>
                  </a:lnTo>
                  <a:lnTo>
                    <a:pt x="28546" y="5696"/>
                  </a:lnTo>
                  <a:lnTo>
                    <a:pt x="28636" y="5492"/>
                  </a:lnTo>
                  <a:lnTo>
                    <a:pt x="28681" y="5311"/>
                  </a:lnTo>
                  <a:lnTo>
                    <a:pt x="28704" y="5221"/>
                  </a:lnTo>
                  <a:lnTo>
                    <a:pt x="28704" y="5131"/>
                  </a:lnTo>
                  <a:lnTo>
                    <a:pt x="28681" y="5018"/>
                  </a:lnTo>
                  <a:lnTo>
                    <a:pt x="28636" y="4905"/>
                  </a:lnTo>
                  <a:lnTo>
                    <a:pt x="28591" y="4814"/>
                  </a:lnTo>
                  <a:lnTo>
                    <a:pt x="28501" y="4701"/>
                  </a:lnTo>
                  <a:lnTo>
                    <a:pt x="28388" y="4633"/>
                  </a:lnTo>
                  <a:lnTo>
                    <a:pt x="28229" y="4566"/>
                  </a:lnTo>
                  <a:lnTo>
                    <a:pt x="28116" y="4543"/>
                  </a:lnTo>
                  <a:lnTo>
                    <a:pt x="28003" y="4543"/>
                  </a:lnTo>
                  <a:lnTo>
                    <a:pt x="27913" y="4566"/>
                  </a:lnTo>
                  <a:lnTo>
                    <a:pt x="27845" y="4588"/>
                  </a:lnTo>
                  <a:lnTo>
                    <a:pt x="27664" y="4656"/>
                  </a:lnTo>
                  <a:lnTo>
                    <a:pt x="27438" y="4769"/>
                  </a:lnTo>
                  <a:lnTo>
                    <a:pt x="26806" y="5040"/>
                  </a:lnTo>
                  <a:lnTo>
                    <a:pt x="26467" y="5153"/>
                  </a:lnTo>
                  <a:lnTo>
                    <a:pt x="26105" y="5289"/>
                  </a:lnTo>
                  <a:lnTo>
                    <a:pt x="25721" y="5379"/>
                  </a:lnTo>
                  <a:lnTo>
                    <a:pt x="25336" y="5470"/>
                  </a:lnTo>
                  <a:lnTo>
                    <a:pt x="24930" y="5537"/>
                  </a:lnTo>
                  <a:lnTo>
                    <a:pt x="24523" y="5560"/>
                  </a:lnTo>
                  <a:lnTo>
                    <a:pt x="24206" y="5583"/>
                  </a:lnTo>
                  <a:lnTo>
                    <a:pt x="23890" y="5583"/>
                  </a:lnTo>
                  <a:lnTo>
                    <a:pt x="23551" y="5537"/>
                  </a:lnTo>
                  <a:lnTo>
                    <a:pt x="23212" y="5492"/>
                  </a:lnTo>
                  <a:lnTo>
                    <a:pt x="23008" y="5447"/>
                  </a:lnTo>
                  <a:lnTo>
                    <a:pt x="22782" y="5357"/>
                  </a:lnTo>
                  <a:lnTo>
                    <a:pt x="22534" y="5244"/>
                  </a:lnTo>
                  <a:lnTo>
                    <a:pt x="22285" y="5108"/>
                  </a:lnTo>
                  <a:lnTo>
                    <a:pt x="21743" y="4792"/>
                  </a:lnTo>
                  <a:lnTo>
                    <a:pt x="21155" y="4407"/>
                  </a:lnTo>
                  <a:lnTo>
                    <a:pt x="19889" y="3548"/>
                  </a:lnTo>
                  <a:lnTo>
                    <a:pt x="19234" y="3119"/>
                  </a:lnTo>
                  <a:lnTo>
                    <a:pt x="18579" y="2712"/>
                  </a:lnTo>
                  <a:lnTo>
                    <a:pt x="18014" y="2441"/>
                  </a:lnTo>
                  <a:lnTo>
                    <a:pt x="17742" y="2305"/>
                  </a:lnTo>
                  <a:lnTo>
                    <a:pt x="17471" y="2215"/>
                  </a:lnTo>
                  <a:lnTo>
                    <a:pt x="17177" y="2125"/>
                  </a:lnTo>
                  <a:lnTo>
                    <a:pt x="16906" y="2034"/>
                  </a:lnTo>
                  <a:lnTo>
                    <a:pt x="16635" y="1989"/>
                  </a:lnTo>
                  <a:lnTo>
                    <a:pt x="16386" y="1944"/>
                  </a:lnTo>
                  <a:lnTo>
                    <a:pt x="15934" y="1944"/>
                  </a:lnTo>
                  <a:lnTo>
                    <a:pt x="15527" y="1966"/>
                  </a:lnTo>
                  <a:lnTo>
                    <a:pt x="15121" y="2034"/>
                  </a:lnTo>
                  <a:lnTo>
                    <a:pt x="14736" y="2125"/>
                  </a:lnTo>
                  <a:lnTo>
                    <a:pt x="14352" y="2238"/>
                  </a:lnTo>
                  <a:lnTo>
                    <a:pt x="13968" y="2351"/>
                  </a:lnTo>
                  <a:lnTo>
                    <a:pt x="13199" y="2622"/>
                  </a:lnTo>
                  <a:lnTo>
                    <a:pt x="12793" y="2757"/>
                  </a:lnTo>
                  <a:lnTo>
                    <a:pt x="12386" y="2893"/>
                  </a:lnTo>
                  <a:lnTo>
                    <a:pt x="11956" y="3006"/>
                  </a:lnTo>
                  <a:lnTo>
                    <a:pt x="11482" y="3096"/>
                  </a:lnTo>
                  <a:lnTo>
                    <a:pt x="10985" y="3164"/>
                  </a:lnTo>
                  <a:lnTo>
                    <a:pt x="10465" y="3187"/>
                  </a:lnTo>
                  <a:lnTo>
                    <a:pt x="9877" y="3164"/>
                  </a:lnTo>
                  <a:lnTo>
                    <a:pt x="9267" y="3096"/>
                  </a:lnTo>
                  <a:lnTo>
                    <a:pt x="8634" y="2983"/>
                  </a:lnTo>
                  <a:lnTo>
                    <a:pt x="8001" y="2848"/>
                  </a:lnTo>
                  <a:lnTo>
                    <a:pt x="7391" y="2667"/>
                  </a:lnTo>
                  <a:lnTo>
                    <a:pt x="6803" y="2441"/>
                  </a:lnTo>
                  <a:lnTo>
                    <a:pt x="6216" y="2215"/>
                  </a:lnTo>
                  <a:lnTo>
                    <a:pt x="5673" y="1966"/>
                  </a:lnTo>
                  <a:lnTo>
                    <a:pt x="5131" y="1718"/>
                  </a:lnTo>
                  <a:lnTo>
                    <a:pt x="4611" y="1469"/>
                  </a:lnTo>
                  <a:lnTo>
                    <a:pt x="3684" y="972"/>
                  </a:lnTo>
                  <a:lnTo>
                    <a:pt x="2893" y="543"/>
                  </a:lnTo>
                  <a:lnTo>
                    <a:pt x="2554" y="362"/>
                  </a:lnTo>
                  <a:lnTo>
                    <a:pt x="2238" y="226"/>
                  </a:lnTo>
                  <a:lnTo>
                    <a:pt x="1989" y="113"/>
                  </a:lnTo>
                  <a:lnTo>
                    <a:pt x="1763" y="68"/>
                  </a:lnTo>
                  <a:lnTo>
                    <a:pt x="1402" y="45"/>
                  </a:lnTo>
                  <a:lnTo>
                    <a:pt x="1085" y="23"/>
                  </a:lnTo>
                  <a:lnTo>
                    <a:pt x="791" y="0"/>
                  </a:lnTo>
                  <a:close/>
                </a:path>
              </a:pathLst>
            </a:custGeom>
            <a:solidFill>
              <a:srgbClr val="F4AD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855" name="Google Shape;1855;p16"/>
          <p:cNvGrpSpPr/>
          <p:nvPr/>
        </p:nvGrpSpPr>
        <p:grpSpPr>
          <a:xfrm>
            <a:off x="7802957" y="1696959"/>
            <a:ext cx="1086635" cy="617867"/>
            <a:chOff x="846010" y="4505444"/>
            <a:chExt cx="4056627" cy="3054715"/>
          </a:xfrm>
        </p:grpSpPr>
        <p:grpSp>
          <p:nvGrpSpPr>
            <p:cNvPr id="1856" name="Google Shape;1856;p16"/>
            <p:cNvGrpSpPr/>
            <p:nvPr/>
          </p:nvGrpSpPr>
          <p:grpSpPr>
            <a:xfrm>
              <a:off x="1066366" y="6730340"/>
              <a:ext cx="693062" cy="829654"/>
              <a:chOff x="1815468" y="3683050"/>
              <a:chExt cx="1188582" cy="1793847"/>
            </a:xfrm>
          </p:grpSpPr>
          <p:sp>
            <p:nvSpPr>
              <p:cNvPr id="1857" name="Google Shape;1857;p16"/>
              <p:cNvSpPr/>
              <p:nvPr/>
            </p:nvSpPr>
            <p:spPr>
              <a:xfrm>
                <a:off x="1815468" y="3683072"/>
                <a:ext cx="1188548" cy="1793825"/>
              </a:xfrm>
              <a:custGeom>
                <a:avLst/>
                <a:gdLst/>
                <a:ahLst/>
                <a:cxnLst/>
                <a:rect l="l" t="t" r="r" b="b"/>
                <a:pathLst>
                  <a:path w="34366" h="71753" extrusionOk="0">
                    <a:moveTo>
                      <a:pt x="3806" y="0"/>
                    </a:moveTo>
                    <a:lnTo>
                      <a:pt x="2799" y="112"/>
                    </a:lnTo>
                    <a:lnTo>
                      <a:pt x="1903" y="448"/>
                    </a:lnTo>
                    <a:lnTo>
                      <a:pt x="1232" y="896"/>
                    </a:lnTo>
                    <a:lnTo>
                      <a:pt x="560" y="1567"/>
                    </a:lnTo>
                    <a:lnTo>
                      <a:pt x="336" y="2015"/>
                    </a:lnTo>
                    <a:lnTo>
                      <a:pt x="112" y="2463"/>
                    </a:lnTo>
                    <a:lnTo>
                      <a:pt x="0" y="2910"/>
                    </a:lnTo>
                    <a:lnTo>
                      <a:pt x="0" y="3470"/>
                    </a:lnTo>
                    <a:lnTo>
                      <a:pt x="0" y="71753"/>
                    </a:lnTo>
                    <a:lnTo>
                      <a:pt x="34366" y="71753"/>
                    </a:lnTo>
                    <a:lnTo>
                      <a:pt x="34254" y="3470"/>
                    </a:lnTo>
                    <a:lnTo>
                      <a:pt x="34254" y="2910"/>
                    </a:lnTo>
                    <a:lnTo>
                      <a:pt x="34030" y="2351"/>
                    </a:lnTo>
                    <a:lnTo>
                      <a:pt x="33806" y="1791"/>
                    </a:lnTo>
                    <a:lnTo>
                      <a:pt x="33470" y="1343"/>
                    </a:lnTo>
                    <a:lnTo>
                      <a:pt x="32910" y="784"/>
                    </a:lnTo>
                    <a:lnTo>
                      <a:pt x="32239" y="336"/>
                    </a:lnTo>
                    <a:lnTo>
                      <a:pt x="31455" y="112"/>
                    </a:lnTo>
                    <a:lnTo>
                      <a:pt x="30560" y="0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58" name="Google Shape;1858;p16"/>
              <p:cNvSpPr/>
              <p:nvPr/>
            </p:nvSpPr>
            <p:spPr>
              <a:xfrm>
                <a:off x="2690600" y="3683050"/>
                <a:ext cx="313450" cy="1793825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71753" extrusionOk="0">
                    <a:moveTo>
                      <a:pt x="0" y="0"/>
                    </a:moveTo>
                    <a:lnTo>
                      <a:pt x="0" y="1791"/>
                    </a:lnTo>
                    <a:lnTo>
                      <a:pt x="0" y="1903"/>
                    </a:lnTo>
                    <a:lnTo>
                      <a:pt x="112" y="16007"/>
                    </a:lnTo>
                    <a:lnTo>
                      <a:pt x="448" y="34701"/>
                    </a:lnTo>
                    <a:lnTo>
                      <a:pt x="784" y="44776"/>
                    </a:lnTo>
                    <a:lnTo>
                      <a:pt x="1120" y="54626"/>
                    </a:lnTo>
                    <a:lnTo>
                      <a:pt x="1568" y="63693"/>
                    </a:lnTo>
                    <a:lnTo>
                      <a:pt x="2127" y="71753"/>
                    </a:lnTo>
                    <a:lnTo>
                      <a:pt x="12538" y="71753"/>
                    </a:lnTo>
                    <a:lnTo>
                      <a:pt x="12426" y="3470"/>
                    </a:lnTo>
                    <a:lnTo>
                      <a:pt x="12426" y="2910"/>
                    </a:lnTo>
                    <a:lnTo>
                      <a:pt x="12202" y="2351"/>
                    </a:lnTo>
                    <a:lnTo>
                      <a:pt x="11978" y="1791"/>
                    </a:lnTo>
                    <a:lnTo>
                      <a:pt x="11642" y="1343"/>
                    </a:lnTo>
                    <a:lnTo>
                      <a:pt x="11082" y="784"/>
                    </a:lnTo>
                    <a:lnTo>
                      <a:pt x="10411" y="336"/>
                    </a:lnTo>
                    <a:lnTo>
                      <a:pt x="9627" y="112"/>
                    </a:lnTo>
                    <a:lnTo>
                      <a:pt x="8732" y="0"/>
                    </a:lnTo>
                    <a:close/>
                  </a:path>
                </a:pathLst>
              </a:custGeom>
              <a:solidFill>
                <a:srgbClr val="D25F3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859" name="Google Shape;1859;p16"/>
            <p:cNvGrpSpPr/>
            <p:nvPr/>
          </p:nvGrpSpPr>
          <p:grpSpPr>
            <a:xfrm>
              <a:off x="846010" y="4505444"/>
              <a:ext cx="4056627" cy="3054715"/>
              <a:chOff x="331500" y="238125"/>
              <a:chExt cx="6957000" cy="5238750"/>
            </a:xfrm>
          </p:grpSpPr>
          <p:sp>
            <p:nvSpPr>
              <p:cNvPr id="1860" name="Google Shape;1860;p16"/>
              <p:cNvSpPr/>
              <p:nvPr/>
            </p:nvSpPr>
            <p:spPr>
              <a:xfrm>
                <a:off x="6085150" y="263300"/>
                <a:ext cx="694050" cy="355425"/>
              </a:xfrm>
              <a:custGeom>
                <a:avLst/>
                <a:gdLst/>
                <a:ahLst/>
                <a:cxnLst/>
                <a:rect l="l" t="t" r="r" b="b"/>
                <a:pathLst>
                  <a:path w="27762" h="14217" extrusionOk="0">
                    <a:moveTo>
                      <a:pt x="7724" y="0"/>
                    </a:moveTo>
                    <a:lnTo>
                      <a:pt x="5485" y="112"/>
                    </a:lnTo>
                    <a:lnTo>
                      <a:pt x="3023" y="448"/>
                    </a:lnTo>
                    <a:lnTo>
                      <a:pt x="1008" y="896"/>
                    </a:lnTo>
                    <a:lnTo>
                      <a:pt x="336" y="1120"/>
                    </a:lnTo>
                    <a:lnTo>
                      <a:pt x="112" y="1344"/>
                    </a:lnTo>
                    <a:lnTo>
                      <a:pt x="112" y="1680"/>
                    </a:lnTo>
                    <a:lnTo>
                      <a:pt x="336" y="2239"/>
                    </a:lnTo>
                    <a:lnTo>
                      <a:pt x="1344" y="3471"/>
                    </a:lnTo>
                    <a:lnTo>
                      <a:pt x="2239" y="4926"/>
                    </a:lnTo>
                    <a:lnTo>
                      <a:pt x="2575" y="5597"/>
                    </a:lnTo>
                    <a:lnTo>
                      <a:pt x="2799" y="6157"/>
                    </a:lnTo>
                    <a:lnTo>
                      <a:pt x="2575" y="7053"/>
                    </a:lnTo>
                    <a:lnTo>
                      <a:pt x="2239" y="8060"/>
                    </a:lnTo>
                    <a:lnTo>
                      <a:pt x="1791" y="9068"/>
                    </a:lnTo>
                    <a:lnTo>
                      <a:pt x="1232" y="10075"/>
                    </a:lnTo>
                    <a:lnTo>
                      <a:pt x="336" y="11866"/>
                    </a:lnTo>
                    <a:lnTo>
                      <a:pt x="0" y="12426"/>
                    </a:lnTo>
                    <a:lnTo>
                      <a:pt x="0" y="12873"/>
                    </a:lnTo>
                    <a:lnTo>
                      <a:pt x="560" y="12873"/>
                    </a:lnTo>
                    <a:lnTo>
                      <a:pt x="1903" y="12650"/>
                    </a:lnTo>
                    <a:lnTo>
                      <a:pt x="5933" y="11866"/>
                    </a:lnTo>
                    <a:lnTo>
                      <a:pt x="7724" y="11530"/>
                    </a:lnTo>
                    <a:lnTo>
                      <a:pt x="9179" y="11530"/>
                    </a:lnTo>
                    <a:lnTo>
                      <a:pt x="10187" y="11642"/>
                    </a:lnTo>
                    <a:lnTo>
                      <a:pt x="11082" y="11866"/>
                    </a:lnTo>
                    <a:lnTo>
                      <a:pt x="11754" y="12202"/>
                    </a:lnTo>
                    <a:lnTo>
                      <a:pt x="12426" y="12538"/>
                    </a:lnTo>
                    <a:lnTo>
                      <a:pt x="13769" y="13321"/>
                    </a:lnTo>
                    <a:lnTo>
                      <a:pt x="14664" y="13657"/>
                    </a:lnTo>
                    <a:lnTo>
                      <a:pt x="15672" y="13993"/>
                    </a:lnTo>
                    <a:lnTo>
                      <a:pt x="17015" y="14217"/>
                    </a:lnTo>
                    <a:lnTo>
                      <a:pt x="19702" y="14217"/>
                    </a:lnTo>
                    <a:lnTo>
                      <a:pt x="20597" y="13993"/>
                    </a:lnTo>
                    <a:lnTo>
                      <a:pt x="22500" y="13545"/>
                    </a:lnTo>
                    <a:lnTo>
                      <a:pt x="24403" y="12873"/>
                    </a:lnTo>
                    <a:lnTo>
                      <a:pt x="25970" y="12314"/>
                    </a:lnTo>
                    <a:lnTo>
                      <a:pt x="27761" y="11642"/>
                    </a:lnTo>
                    <a:lnTo>
                      <a:pt x="26978" y="0"/>
                    </a:lnTo>
                    <a:lnTo>
                      <a:pt x="25522" y="1008"/>
                    </a:lnTo>
                    <a:lnTo>
                      <a:pt x="24739" y="1456"/>
                    </a:lnTo>
                    <a:lnTo>
                      <a:pt x="23955" y="1903"/>
                    </a:lnTo>
                    <a:lnTo>
                      <a:pt x="23060" y="2239"/>
                    </a:lnTo>
                    <a:lnTo>
                      <a:pt x="22052" y="2575"/>
                    </a:lnTo>
                    <a:lnTo>
                      <a:pt x="21157" y="2799"/>
                    </a:lnTo>
                    <a:lnTo>
                      <a:pt x="20149" y="3023"/>
                    </a:lnTo>
                    <a:lnTo>
                      <a:pt x="19030" y="3135"/>
                    </a:lnTo>
                    <a:lnTo>
                      <a:pt x="17239" y="3135"/>
                    </a:lnTo>
                    <a:lnTo>
                      <a:pt x="16455" y="3023"/>
                    </a:lnTo>
                    <a:lnTo>
                      <a:pt x="15112" y="2687"/>
                    </a:lnTo>
                    <a:lnTo>
                      <a:pt x="13993" y="2127"/>
                    </a:lnTo>
                    <a:lnTo>
                      <a:pt x="12873" y="1568"/>
                    </a:lnTo>
                    <a:lnTo>
                      <a:pt x="11754" y="1008"/>
                    </a:lnTo>
                    <a:lnTo>
                      <a:pt x="10634" y="448"/>
                    </a:lnTo>
                    <a:lnTo>
                      <a:pt x="9291" y="112"/>
                    </a:lnTo>
                    <a:lnTo>
                      <a:pt x="8620" y="0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61" name="Google Shape;1861;p16"/>
              <p:cNvSpPr/>
              <p:nvPr/>
            </p:nvSpPr>
            <p:spPr>
              <a:xfrm>
                <a:off x="6085150" y="263300"/>
                <a:ext cx="694050" cy="355425"/>
              </a:xfrm>
              <a:custGeom>
                <a:avLst/>
                <a:gdLst/>
                <a:ahLst/>
                <a:cxnLst/>
                <a:rect l="l" t="t" r="r" b="b"/>
                <a:pathLst>
                  <a:path w="27762" h="14217" fill="none" extrusionOk="0">
                    <a:moveTo>
                      <a:pt x="27761" y="11642"/>
                    </a:moveTo>
                    <a:lnTo>
                      <a:pt x="27761" y="11642"/>
                    </a:lnTo>
                    <a:lnTo>
                      <a:pt x="25970" y="12314"/>
                    </a:lnTo>
                    <a:lnTo>
                      <a:pt x="25970" y="12314"/>
                    </a:lnTo>
                    <a:lnTo>
                      <a:pt x="24403" y="12873"/>
                    </a:lnTo>
                    <a:lnTo>
                      <a:pt x="22500" y="13545"/>
                    </a:lnTo>
                    <a:lnTo>
                      <a:pt x="20597" y="13993"/>
                    </a:lnTo>
                    <a:lnTo>
                      <a:pt x="19702" y="14217"/>
                    </a:lnTo>
                    <a:lnTo>
                      <a:pt x="18806" y="14217"/>
                    </a:lnTo>
                    <a:lnTo>
                      <a:pt x="18806" y="14217"/>
                    </a:lnTo>
                    <a:lnTo>
                      <a:pt x="17015" y="14217"/>
                    </a:lnTo>
                    <a:lnTo>
                      <a:pt x="15672" y="13993"/>
                    </a:lnTo>
                    <a:lnTo>
                      <a:pt x="15672" y="13993"/>
                    </a:lnTo>
                    <a:lnTo>
                      <a:pt x="14664" y="13657"/>
                    </a:lnTo>
                    <a:lnTo>
                      <a:pt x="13769" y="13321"/>
                    </a:lnTo>
                    <a:lnTo>
                      <a:pt x="12426" y="12538"/>
                    </a:lnTo>
                    <a:lnTo>
                      <a:pt x="11754" y="12202"/>
                    </a:lnTo>
                    <a:lnTo>
                      <a:pt x="11082" y="11866"/>
                    </a:lnTo>
                    <a:lnTo>
                      <a:pt x="10187" y="11642"/>
                    </a:lnTo>
                    <a:lnTo>
                      <a:pt x="9179" y="11530"/>
                    </a:lnTo>
                    <a:lnTo>
                      <a:pt x="9179" y="11530"/>
                    </a:lnTo>
                    <a:lnTo>
                      <a:pt x="8508" y="11530"/>
                    </a:lnTo>
                    <a:lnTo>
                      <a:pt x="7724" y="11530"/>
                    </a:lnTo>
                    <a:lnTo>
                      <a:pt x="5933" y="11866"/>
                    </a:lnTo>
                    <a:lnTo>
                      <a:pt x="5933" y="11866"/>
                    </a:lnTo>
                    <a:lnTo>
                      <a:pt x="1903" y="12650"/>
                    </a:lnTo>
                    <a:lnTo>
                      <a:pt x="560" y="12873"/>
                    </a:lnTo>
                    <a:lnTo>
                      <a:pt x="112" y="12873"/>
                    </a:lnTo>
                    <a:lnTo>
                      <a:pt x="0" y="12873"/>
                    </a:lnTo>
                    <a:lnTo>
                      <a:pt x="0" y="12873"/>
                    </a:lnTo>
                    <a:lnTo>
                      <a:pt x="0" y="12426"/>
                    </a:lnTo>
                    <a:lnTo>
                      <a:pt x="336" y="11866"/>
                    </a:lnTo>
                    <a:lnTo>
                      <a:pt x="1232" y="10075"/>
                    </a:lnTo>
                    <a:lnTo>
                      <a:pt x="1791" y="9068"/>
                    </a:lnTo>
                    <a:lnTo>
                      <a:pt x="2239" y="8060"/>
                    </a:lnTo>
                    <a:lnTo>
                      <a:pt x="2575" y="7053"/>
                    </a:lnTo>
                    <a:lnTo>
                      <a:pt x="2799" y="6157"/>
                    </a:lnTo>
                    <a:lnTo>
                      <a:pt x="2799" y="6157"/>
                    </a:lnTo>
                    <a:lnTo>
                      <a:pt x="2575" y="5597"/>
                    </a:lnTo>
                    <a:lnTo>
                      <a:pt x="2239" y="4926"/>
                    </a:lnTo>
                    <a:lnTo>
                      <a:pt x="1344" y="3471"/>
                    </a:lnTo>
                    <a:lnTo>
                      <a:pt x="336" y="2239"/>
                    </a:lnTo>
                    <a:lnTo>
                      <a:pt x="112" y="1680"/>
                    </a:lnTo>
                    <a:lnTo>
                      <a:pt x="112" y="1344"/>
                    </a:lnTo>
                    <a:lnTo>
                      <a:pt x="112" y="1344"/>
                    </a:lnTo>
                    <a:lnTo>
                      <a:pt x="336" y="1120"/>
                    </a:lnTo>
                    <a:lnTo>
                      <a:pt x="1008" y="896"/>
                    </a:lnTo>
                    <a:lnTo>
                      <a:pt x="3023" y="448"/>
                    </a:lnTo>
                    <a:lnTo>
                      <a:pt x="5485" y="112"/>
                    </a:lnTo>
                    <a:lnTo>
                      <a:pt x="7724" y="0"/>
                    </a:lnTo>
                    <a:lnTo>
                      <a:pt x="7724" y="0"/>
                    </a:lnTo>
                    <a:lnTo>
                      <a:pt x="8620" y="0"/>
                    </a:lnTo>
                    <a:lnTo>
                      <a:pt x="9291" y="112"/>
                    </a:lnTo>
                    <a:lnTo>
                      <a:pt x="10634" y="448"/>
                    </a:lnTo>
                    <a:lnTo>
                      <a:pt x="11754" y="1008"/>
                    </a:lnTo>
                    <a:lnTo>
                      <a:pt x="12873" y="1568"/>
                    </a:lnTo>
                    <a:lnTo>
                      <a:pt x="12873" y="1568"/>
                    </a:lnTo>
                    <a:lnTo>
                      <a:pt x="13993" y="2127"/>
                    </a:lnTo>
                    <a:lnTo>
                      <a:pt x="15112" y="2687"/>
                    </a:lnTo>
                    <a:lnTo>
                      <a:pt x="16455" y="3023"/>
                    </a:lnTo>
                    <a:lnTo>
                      <a:pt x="17239" y="3135"/>
                    </a:lnTo>
                    <a:lnTo>
                      <a:pt x="18022" y="3135"/>
                    </a:lnTo>
                    <a:lnTo>
                      <a:pt x="18022" y="3135"/>
                    </a:lnTo>
                    <a:lnTo>
                      <a:pt x="19030" y="3135"/>
                    </a:lnTo>
                    <a:lnTo>
                      <a:pt x="20149" y="3023"/>
                    </a:lnTo>
                    <a:lnTo>
                      <a:pt x="21157" y="2799"/>
                    </a:lnTo>
                    <a:lnTo>
                      <a:pt x="22052" y="2575"/>
                    </a:lnTo>
                    <a:lnTo>
                      <a:pt x="23060" y="2239"/>
                    </a:lnTo>
                    <a:lnTo>
                      <a:pt x="23955" y="1903"/>
                    </a:lnTo>
                    <a:lnTo>
                      <a:pt x="24739" y="1456"/>
                    </a:lnTo>
                    <a:lnTo>
                      <a:pt x="25522" y="1008"/>
                    </a:lnTo>
                    <a:lnTo>
                      <a:pt x="25522" y="1008"/>
                    </a:lnTo>
                    <a:lnTo>
                      <a:pt x="26978" y="0"/>
                    </a:lnTo>
                    <a:lnTo>
                      <a:pt x="27761" y="11642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62" name="Google Shape;1862;p16"/>
              <p:cNvSpPr/>
              <p:nvPr/>
            </p:nvSpPr>
            <p:spPr>
              <a:xfrm>
                <a:off x="6751175" y="263300"/>
                <a:ext cx="28025" cy="299450"/>
              </a:xfrm>
              <a:custGeom>
                <a:avLst/>
                <a:gdLst/>
                <a:ahLst/>
                <a:cxnLst/>
                <a:rect l="l" t="t" r="r" b="b"/>
                <a:pathLst>
                  <a:path w="1121" h="11978" extrusionOk="0">
                    <a:moveTo>
                      <a:pt x="672" y="5038"/>
                    </a:moveTo>
                    <a:lnTo>
                      <a:pt x="1120" y="11642"/>
                    </a:lnTo>
                    <a:lnTo>
                      <a:pt x="1120" y="11642"/>
                    </a:lnTo>
                    <a:lnTo>
                      <a:pt x="337" y="11978"/>
                    </a:lnTo>
                    <a:lnTo>
                      <a:pt x="337" y="11978"/>
                    </a:lnTo>
                    <a:lnTo>
                      <a:pt x="1120" y="11642"/>
                    </a:lnTo>
                    <a:lnTo>
                      <a:pt x="672" y="5038"/>
                    </a:lnTo>
                    <a:close/>
                    <a:moveTo>
                      <a:pt x="337" y="0"/>
                    </a:moveTo>
                    <a:lnTo>
                      <a:pt x="337" y="0"/>
                    </a:lnTo>
                    <a:lnTo>
                      <a:pt x="1" y="224"/>
                    </a:lnTo>
                    <a:lnTo>
                      <a:pt x="1" y="224"/>
                    </a:lnTo>
                    <a:lnTo>
                      <a:pt x="337" y="0"/>
                    </a:lnTo>
                    <a:lnTo>
                      <a:pt x="337" y="0"/>
                    </a:lnTo>
                    <a:close/>
                  </a:path>
                </a:pathLst>
              </a:custGeom>
              <a:solidFill>
                <a:srgbClr val="CBC8D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63" name="Google Shape;1863;p16"/>
              <p:cNvSpPr/>
              <p:nvPr/>
            </p:nvSpPr>
            <p:spPr>
              <a:xfrm>
                <a:off x="6759575" y="389225"/>
                <a:ext cx="19625" cy="173525"/>
              </a:xfrm>
              <a:custGeom>
                <a:avLst/>
                <a:gdLst/>
                <a:ahLst/>
                <a:cxnLst/>
                <a:rect l="l" t="t" r="r" b="b"/>
                <a:pathLst>
                  <a:path w="785" h="6941" fill="none" extrusionOk="0">
                    <a:moveTo>
                      <a:pt x="336" y="1"/>
                    </a:moveTo>
                    <a:lnTo>
                      <a:pt x="784" y="6605"/>
                    </a:lnTo>
                    <a:lnTo>
                      <a:pt x="784" y="6605"/>
                    </a:lnTo>
                    <a:lnTo>
                      <a:pt x="1" y="6941"/>
                    </a:lnTo>
                    <a:lnTo>
                      <a:pt x="1" y="6941"/>
                    </a:lnTo>
                    <a:lnTo>
                      <a:pt x="784" y="6605"/>
                    </a:lnTo>
                    <a:lnTo>
                      <a:pt x="336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64" name="Google Shape;1864;p16"/>
              <p:cNvSpPr/>
              <p:nvPr/>
            </p:nvSpPr>
            <p:spPr>
              <a:xfrm>
                <a:off x="6751175" y="263300"/>
                <a:ext cx="8425" cy="5625"/>
              </a:xfrm>
              <a:custGeom>
                <a:avLst/>
                <a:gdLst/>
                <a:ahLst/>
                <a:cxnLst/>
                <a:rect l="l" t="t" r="r" b="b"/>
                <a:pathLst>
                  <a:path w="337" h="225" fill="none" extrusionOk="0">
                    <a:moveTo>
                      <a:pt x="337" y="0"/>
                    </a:moveTo>
                    <a:lnTo>
                      <a:pt x="337" y="0"/>
                    </a:lnTo>
                    <a:lnTo>
                      <a:pt x="1" y="224"/>
                    </a:lnTo>
                    <a:lnTo>
                      <a:pt x="1" y="224"/>
                    </a:lnTo>
                    <a:lnTo>
                      <a:pt x="337" y="0"/>
                    </a:lnTo>
                    <a:lnTo>
                      <a:pt x="337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65" name="Google Shape;1865;p16"/>
              <p:cNvSpPr/>
              <p:nvPr/>
            </p:nvSpPr>
            <p:spPr>
              <a:xfrm>
                <a:off x="6723200" y="263300"/>
                <a:ext cx="56000" cy="307850"/>
              </a:xfrm>
              <a:custGeom>
                <a:avLst/>
                <a:gdLst/>
                <a:ahLst/>
                <a:cxnLst/>
                <a:rect l="l" t="t" r="r" b="b"/>
                <a:pathLst>
                  <a:path w="2240" h="12314" extrusionOk="0">
                    <a:moveTo>
                      <a:pt x="1456" y="0"/>
                    </a:moveTo>
                    <a:lnTo>
                      <a:pt x="1120" y="224"/>
                    </a:lnTo>
                    <a:lnTo>
                      <a:pt x="0" y="1008"/>
                    </a:lnTo>
                    <a:lnTo>
                      <a:pt x="336" y="6941"/>
                    </a:lnTo>
                    <a:lnTo>
                      <a:pt x="448" y="12314"/>
                    </a:lnTo>
                    <a:lnTo>
                      <a:pt x="1456" y="11978"/>
                    </a:lnTo>
                    <a:lnTo>
                      <a:pt x="2239" y="11642"/>
                    </a:lnTo>
                    <a:lnTo>
                      <a:pt x="1791" y="5038"/>
                    </a:lnTo>
                    <a:lnTo>
                      <a:pt x="1456" y="0"/>
                    </a:lnTo>
                    <a:close/>
                  </a:path>
                </a:pathLst>
              </a:custGeom>
              <a:solidFill>
                <a:srgbClr val="B2472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66" name="Google Shape;1866;p16"/>
              <p:cNvSpPr/>
              <p:nvPr/>
            </p:nvSpPr>
            <p:spPr>
              <a:xfrm>
                <a:off x="6723200" y="263300"/>
                <a:ext cx="56000" cy="307850"/>
              </a:xfrm>
              <a:custGeom>
                <a:avLst/>
                <a:gdLst/>
                <a:ahLst/>
                <a:cxnLst/>
                <a:rect l="l" t="t" r="r" b="b"/>
                <a:pathLst>
                  <a:path w="2240" h="12314" fill="none" extrusionOk="0">
                    <a:moveTo>
                      <a:pt x="1456" y="0"/>
                    </a:moveTo>
                    <a:lnTo>
                      <a:pt x="1456" y="0"/>
                    </a:lnTo>
                    <a:lnTo>
                      <a:pt x="1120" y="224"/>
                    </a:lnTo>
                    <a:lnTo>
                      <a:pt x="1120" y="224"/>
                    </a:lnTo>
                    <a:lnTo>
                      <a:pt x="0" y="1008"/>
                    </a:lnTo>
                    <a:lnTo>
                      <a:pt x="0" y="1008"/>
                    </a:lnTo>
                    <a:lnTo>
                      <a:pt x="336" y="6941"/>
                    </a:lnTo>
                    <a:lnTo>
                      <a:pt x="448" y="12314"/>
                    </a:lnTo>
                    <a:lnTo>
                      <a:pt x="448" y="12314"/>
                    </a:lnTo>
                    <a:lnTo>
                      <a:pt x="1456" y="11978"/>
                    </a:lnTo>
                    <a:lnTo>
                      <a:pt x="1456" y="11978"/>
                    </a:lnTo>
                    <a:lnTo>
                      <a:pt x="2239" y="11642"/>
                    </a:lnTo>
                    <a:lnTo>
                      <a:pt x="1791" y="5038"/>
                    </a:lnTo>
                    <a:lnTo>
                      <a:pt x="1456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67" name="Google Shape;1867;p16"/>
              <p:cNvSpPr/>
              <p:nvPr/>
            </p:nvSpPr>
            <p:spPr>
              <a:xfrm>
                <a:off x="6737200" y="238125"/>
                <a:ext cx="184700" cy="2364725"/>
              </a:xfrm>
              <a:custGeom>
                <a:avLst/>
                <a:gdLst/>
                <a:ahLst/>
                <a:cxnLst/>
                <a:rect l="l" t="t" r="r" b="b"/>
                <a:pathLst>
                  <a:path w="7388" h="94589" extrusionOk="0">
                    <a:moveTo>
                      <a:pt x="560" y="0"/>
                    </a:moveTo>
                    <a:lnTo>
                      <a:pt x="336" y="112"/>
                    </a:lnTo>
                    <a:lnTo>
                      <a:pt x="112" y="224"/>
                    </a:lnTo>
                    <a:lnTo>
                      <a:pt x="0" y="448"/>
                    </a:lnTo>
                    <a:lnTo>
                      <a:pt x="0" y="672"/>
                    </a:lnTo>
                    <a:lnTo>
                      <a:pt x="784" y="9291"/>
                    </a:lnTo>
                    <a:lnTo>
                      <a:pt x="1679" y="18806"/>
                    </a:lnTo>
                    <a:lnTo>
                      <a:pt x="2687" y="31007"/>
                    </a:lnTo>
                    <a:lnTo>
                      <a:pt x="3694" y="45335"/>
                    </a:lnTo>
                    <a:lnTo>
                      <a:pt x="4701" y="60895"/>
                    </a:lnTo>
                    <a:lnTo>
                      <a:pt x="5485" y="77350"/>
                    </a:lnTo>
                    <a:lnTo>
                      <a:pt x="5821" y="85633"/>
                    </a:lnTo>
                    <a:lnTo>
                      <a:pt x="6045" y="93917"/>
                    </a:lnTo>
                    <a:lnTo>
                      <a:pt x="6157" y="94253"/>
                    </a:lnTo>
                    <a:lnTo>
                      <a:pt x="6269" y="94365"/>
                    </a:lnTo>
                    <a:lnTo>
                      <a:pt x="6493" y="94589"/>
                    </a:lnTo>
                    <a:lnTo>
                      <a:pt x="6716" y="94589"/>
                    </a:lnTo>
                    <a:lnTo>
                      <a:pt x="7052" y="94477"/>
                    </a:lnTo>
                    <a:lnTo>
                      <a:pt x="7276" y="94365"/>
                    </a:lnTo>
                    <a:lnTo>
                      <a:pt x="7388" y="94141"/>
                    </a:lnTo>
                    <a:lnTo>
                      <a:pt x="7388" y="93917"/>
                    </a:lnTo>
                    <a:lnTo>
                      <a:pt x="7164" y="85633"/>
                    </a:lnTo>
                    <a:lnTo>
                      <a:pt x="6828" y="77350"/>
                    </a:lnTo>
                    <a:lnTo>
                      <a:pt x="6045" y="60895"/>
                    </a:lnTo>
                    <a:lnTo>
                      <a:pt x="5037" y="45223"/>
                    </a:lnTo>
                    <a:lnTo>
                      <a:pt x="4030" y="31007"/>
                    </a:lnTo>
                    <a:lnTo>
                      <a:pt x="3022" y="18694"/>
                    </a:lnTo>
                    <a:lnTo>
                      <a:pt x="2127" y="9179"/>
                    </a:lnTo>
                    <a:lnTo>
                      <a:pt x="1343" y="560"/>
                    </a:lnTo>
                    <a:lnTo>
                      <a:pt x="1231" y="336"/>
                    </a:lnTo>
                    <a:lnTo>
                      <a:pt x="1119" y="112"/>
                    </a:lnTo>
                    <a:lnTo>
                      <a:pt x="896" y="0"/>
                    </a:lnTo>
                    <a:close/>
                  </a:path>
                </a:pathLst>
              </a:custGeom>
              <a:solidFill>
                <a:srgbClr val="DFDED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68" name="Google Shape;1868;p16"/>
              <p:cNvSpPr/>
              <p:nvPr/>
            </p:nvSpPr>
            <p:spPr>
              <a:xfrm>
                <a:off x="6840725" y="1069250"/>
                <a:ext cx="30825" cy="67200"/>
              </a:xfrm>
              <a:custGeom>
                <a:avLst/>
                <a:gdLst/>
                <a:ahLst/>
                <a:cxnLst/>
                <a:rect l="l" t="t" r="r" b="b"/>
                <a:pathLst>
                  <a:path w="1233" h="2688" extrusionOk="0">
                    <a:moveTo>
                      <a:pt x="1" y="1"/>
                    </a:moveTo>
                    <a:lnTo>
                      <a:pt x="560" y="2687"/>
                    </a:lnTo>
                    <a:lnTo>
                      <a:pt x="896" y="2464"/>
                    </a:lnTo>
                    <a:lnTo>
                      <a:pt x="1008" y="2240"/>
                    </a:lnTo>
                    <a:lnTo>
                      <a:pt x="1232" y="1568"/>
                    </a:lnTo>
                    <a:lnTo>
                      <a:pt x="1232" y="896"/>
                    </a:lnTo>
                    <a:lnTo>
                      <a:pt x="1120" y="337"/>
                    </a:lnTo>
                    <a:lnTo>
                      <a:pt x="1008" y="113"/>
                    </a:lnTo>
                    <a:lnTo>
                      <a:pt x="896" y="1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69" name="Google Shape;1869;p16"/>
              <p:cNvSpPr/>
              <p:nvPr/>
            </p:nvSpPr>
            <p:spPr>
              <a:xfrm>
                <a:off x="6689625" y="1063675"/>
                <a:ext cx="123150" cy="125950"/>
              </a:xfrm>
              <a:custGeom>
                <a:avLst/>
                <a:gdLst/>
                <a:ahLst/>
                <a:cxnLst/>
                <a:rect l="l" t="t" r="r" b="b"/>
                <a:pathLst>
                  <a:path w="4926" h="5038" extrusionOk="0">
                    <a:moveTo>
                      <a:pt x="4254" y="0"/>
                    </a:moveTo>
                    <a:lnTo>
                      <a:pt x="3918" y="336"/>
                    </a:lnTo>
                    <a:lnTo>
                      <a:pt x="3470" y="896"/>
                    </a:lnTo>
                    <a:lnTo>
                      <a:pt x="2911" y="1455"/>
                    </a:lnTo>
                    <a:lnTo>
                      <a:pt x="2463" y="1791"/>
                    </a:lnTo>
                    <a:lnTo>
                      <a:pt x="2015" y="2015"/>
                    </a:lnTo>
                    <a:lnTo>
                      <a:pt x="1455" y="2127"/>
                    </a:lnTo>
                    <a:lnTo>
                      <a:pt x="784" y="2463"/>
                    </a:lnTo>
                    <a:lnTo>
                      <a:pt x="336" y="2687"/>
                    </a:lnTo>
                    <a:lnTo>
                      <a:pt x="112" y="2910"/>
                    </a:lnTo>
                    <a:lnTo>
                      <a:pt x="0" y="3134"/>
                    </a:lnTo>
                    <a:lnTo>
                      <a:pt x="112" y="3358"/>
                    </a:lnTo>
                    <a:lnTo>
                      <a:pt x="448" y="4030"/>
                    </a:lnTo>
                    <a:lnTo>
                      <a:pt x="1008" y="4925"/>
                    </a:lnTo>
                    <a:lnTo>
                      <a:pt x="1343" y="4925"/>
                    </a:lnTo>
                    <a:lnTo>
                      <a:pt x="1455" y="5037"/>
                    </a:lnTo>
                    <a:lnTo>
                      <a:pt x="1903" y="4813"/>
                    </a:lnTo>
                    <a:lnTo>
                      <a:pt x="3246" y="3918"/>
                    </a:lnTo>
                    <a:lnTo>
                      <a:pt x="3918" y="3582"/>
                    </a:lnTo>
                    <a:lnTo>
                      <a:pt x="4142" y="3470"/>
                    </a:lnTo>
                    <a:lnTo>
                      <a:pt x="4366" y="3358"/>
                    </a:lnTo>
                    <a:lnTo>
                      <a:pt x="4925" y="3246"/>
                    </a:lnTo>
                    <a:lnTo>
                      <a:pt x="4813" y="2575"/>
                    </a:lnTo>
                    <a:lnTo>
                      <a:pt x="4813" y="1791"/>
                    </a:lnTo>
                    <a:lnTo>
                      <a:pt x="4813" y="1119"/>
                    </a:lnTo>
                    <a:lnTo>
                      <a:pt x="4702" y="336"/>
                    </a:lnTo>
                    <a:lnTo>
                      <a:pt x="4590" y="224"/>
                    </a:lnTo>
                    <a:lnTo>
                      <a:pt x="4590" y="112"/>
                    </a:lnTo>
                    <a:lnTo>
                      <a:pt x="4478" y="0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70" name="Google Shape;1870;p16"/>
              <p:cNvSpPr/>
              <p:nvPr/>
            </p:nvSpPr>
            <p:spPr>
              <a:xfrm>
                <a:off x="6821150" y="1069250"/>
                <a:ext cx="39200" cy="70000"/>
              </a:xfrm>
              <a:custGeom>
                <a:avLst/>
                <a:gdLst/>
                <a:ahLst/>
                <a:cxnLst/>
                <a:rect l="l" t="t" r="r" b="b"/>
                <a:pathLst>
                  <a:path w="1568" h="2800" extrusionOk="0">
                    <a:moveTo>
                      <a:pt x="560" y="1"/>
                    </a:moveTo>
                    <a:lnTo>
                      <a:pt x="448" y="225"/>
                    </a:lnTo>
                    <a:lnTo>
                      <a:pt x="112" y="561"/>
                    </a:lnTo>
                    <a:lnTo>
                      <a:pt x="112" y="673"/>
                    </a:lnTo>
                    <a:lnTo>
                      <a:pt x="0" y="784"/>
                    </a:lnTo>
                    <a:lnTo>
                      <a:pt x="112" y="1232"/>
                    </a:lnTo>
                    <a:lnTo>
                      <a:pt x="224" y="2240"/>
                    </a:lnTo>
                    <a:lnTo>
                      <a:pt x="336" y="2687"/>
                    </a:lnTo>
                    <a:lnTo>
                      <a:pt x="560" y="2799"/>
                    </a:lnTo>
                    <a:lnTo>
                      <a:pt x="1008" y="2799"/>
                    </a:lnTo>
                    <a:lnTo>
                      <a:pt x="1343" y="2687"/>
                    </a:lnTo>
                    <a:lnTo>
                      <a:pt x="1567" y="2576"/>
                    </a:lnTo>
                    <a:lnTo>
                      <a:pt x="1567" y="2240"/>
                    </a:lnTo>
                    <a:lnTo>
                      <a:pt x="1455" y="1344"/>
                    </a:lnTo>
                    <a:lnTo>
                      <a:pt x="1120" y="337"/>
                    </a:lnTo>
                    <a:lnTo>
                      <a:pt x="896" y="113"/>
                    </a:lnTo>
                    <a:lnTo>
                      <a:pt x="784" y="1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71" name="Google Shape;1871;p16"/>
              <p:cNvSpPr/>
              <p:nvPr/>
            </p:nvSpPr>
            <p:spPr>
              <a:xfrm>
                <a:off x="6784775" y="1049675"/>
                <a:ext cx="47575" cy="44800"/>
              </a:xfrm>
              <a:custGeom>
                <a:avLst/>
                <a:gdLst/>
                <a:ahLst/>
                <a:cxnLst/>
                <a:rect l="l" t="t" r="r" b="b"/>
                <a:pathLst>
                  <a:path w="1903" h="1792" extrusionOk="0">
                    <a:moveTo>
                      <a:pt x="1343" y="0"/>
                    </a:moveTo>
                    <a:lnTo>
                      <a:pt x="672" y="336"/>
                    </a:lnTo>
                    <a:lnTo>
                      <a:pt x="448" y="560"/>
                    </a:lnTo>
                    <a:lnTo>
                      <a:pt x="0" y="896"/>
                    </a:lnTo>
                    <a:lnTo>
                      <a:pt x="0" y="1120"/>
                    </a:lnTo>
                    <a:lnTo>
                      <a:pt x="112" y="1456"/>
                    </a:lnTo>
                    <a:lnTo>
                      <a:pt x="336" y="1679"/>
                    </a:lnTo>
                    <a:lnTo>
                      <a:pt x="448" y="1791"/>
                    </a:lnTo>
                    <a:lnTo>
                      <a:pt x="560" y="1567"/>
                    </a:lnTo>
                    <a:lnTo>
                      <a:pt x="672" y="1456"/>
                    </a:lnTo>
                    <a:lnTo>
                      <a:pt x="1119" y="1232"/>
                    </a:lnTo>
                    <a:lnTo>
                      <a:pt x="1567" y="784"/>
                    </a:lnTo>
                    <a:lnTo>
                      <a:pt x="1791" y="448"/>
                    </a:lnTo>
                    <a:lnTo>
                      <a:pt x="1903" y="224"/>
                    </a:lnTo>
                    <a:lnTo>
                      <a:pt x="1791" y="0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72" name="Google Shape;1872;p16"/>
              <p:cNvSpPr/>
              <p:nvPr/>
            </p:nvSpPr>
            <p:spPr>
              <a:xfrm>
                <a:off x="558175" y="2924650"/>
                <a:ext cx="123150" cy="106375"/>
              </a:xfrm>
              <a:custGeom>
                <a:avLst/>
                <a:gdLst/>
                <a:ahLst/>
                <a:cxnLst/>
                <a:rect l="l" t="t" r="r" b="b"/>
                <a:pathLst>
                  <a:path w="4926" h="4255" extrusionOk="0">
                    <a:moveTo>
                      <a:pt x="1791" y="1"/>
                    </a:moveTo>
                    <a:lnTo>
                      <a:pt x="1455" y="112"/>
                    </a:lnTo>
                    <a:lnTo>
                      <a:pt x="1119" y="336"/>
                    </a:lnTo>
                    <a:lnTo>
                      <a:pt x="784" y="672"/>
                    </a:lnTo>
                    <a:lnTo>
                      <a:pt x="0" y="2015"/>
                    </a:lnTo>
                    <a:lnTo>
                      <a:pt x="560" y="2351"/>
                    </a:lnTo>
                    <a:lnTo>
                      <a:pt x="560" y="2239"/>
                    </a:lnTo>
                    <a:lnTo>
                      <a:pt x="1119" y="1344"/>
                    </a:lnTo>
                    <a:lnTo>
                      <a:pt x="1343" y="1120"/>
                    </a:lnTo>
                    <a:lnTo>
                      <a:pt x="1567" y="896"/>
                    </a:lnTo>
                    <a:lnTo>
                      <a:pt x="2015" y="896"/>
                    </a:lnTo>
                    <a:lnTo>
                      <a:pt x="3918" y="2015"/>
                    </a:lnTo>
                    <a:lnTo>
                      <a:pt x="4030" y="2239"/>
                    </a:lnTo>
                    <a:lnTo>
                      <a:pt x="4142" y="2463"/>
                    </a:lnTo>
                    <a:lnTo>
                      <a:pt x="4142" y="2687"/>
                    </a:lnTo>
                    <a:lnTo>
                      <a:pt x="4030" y="3023"/>
                    </a:lnTo>
                    <a:lnTo>
                      <a:pt x="3470" y="3918"/>
                    </a:lnTo>
                    <a:lnTo>
                      <a:pt x="3918" y="4254"/>
                    </a:lnTo>
                    <a:lnTo>
                      <a:pt x="4813" y="2911"/>
                    </a:lnTo>
                    <a:lnTo>
                      <a:pt x="4925" y="2463"/>
                    </a:lnTo>
                    <a:lnTo>
                      <a:pt x="4925" y="2127"/>
                    </a:lnTo>
                    <a:lnTo>
                      <a:pt x="4813" y="1792"/>
                    </a:lnTo>
                    <a:lnTo>
                      <a:pt x="4590" y="1568"/>
                    </a:lnTo>
                    <a:lnTo>
                      <a:pt x="2015" y="112"/>
                    </a:lnTo>
                    <a:lnTo>
                      <a:pt x="1791" y="1"/>
                    </a:lnTo>
                    <a:close/>
                  </a:path>
                </a:pathLst>
              </a:custGeom>
              <a:solidFill>
                <a:srgbClr val="201B2C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73" name="Google Shape;1873;p16"/>
              <p:cNvSpPr/>
              <p:nvPr/>
            </p:nvSpPr>
            <p:spPr>
              <a:xfrm>
                <a:off x="600150" y="2868675"/>
                <a:ext cx="92375" cy="109175"/>
              </a:xfrm>
              <a:custGeom>
                <a:avLst/>
                <a:gdLst/>
                <a:ahLst/>
                <a:cxnLst/>
                <a:rect l="l" t="t" r="r" b="b"/>
                <a:pathLst>
                  <a:path w="3695" h="4367" extrusionOk="0">
                    <a:moveTo>
                      <a:pt x="1679" y="1"/>
                    </a:moveTo>
                    <a:lnTo>
                      <a:pt x="1008" y="672"/>
                    </a:lnTo>
                    <a:lnTo>
                      <a:pt x="560" y="1232"/>
                    </a:lnTo>
                    <a:lnTo>
                      <a:pt x="224" y="1680"/>
                    </a:lnTo>
                    <a:lnTo>
                      <a:pt x="112" y="2240"/>
                    </a:lnTo>
                    <a:lnTo>
                      <a:pt x="0" y="2687"/>
                    </a:lnTo>
                    <a:lnTo>
                      <a:pt x="112" y="3135"/>
                    </a:lnTo>
                    <a:lnTo>
                      <a:pt x="336" y="3583"/>
                    </a:lnTo>
                    <a:lnTo>
                      <a:pt x="672" y="3919"/>
                    </a:lnTo>
                    <a:lnTo>
                      <a:pt x="1120" y="4143"/>
                    </a:lnTo>
                    <a:lnTo>
                      <a:pt x="1679" y="4254"/>
                    </a:lnTo>
                    <a:lnTo>
                      <a:pt x="2127" y="4143"/>
                    </a:lnTo>
                    <a:lnTo>
                      <a:pt x="2239" y="3919"/>
                    </a:lnTo>
                    <a:lnTo>
                      <a:pt x="2351" y="3695"/>
                    </a:lnTo>
                    <a:lnTo>
                      <a:pt x="2351" y="3471"/>
                    </a:lnTo>
                    <a:lnTo>
                      <a:pt x="2575" y="3919"/>
                    </a:lnTo>
                    <a:lnTo>
                      <a:pt x="2799" y="4254"/>
                    </a:lnTo>
                    <a:lnTo>
                      <a:pt x="3134" y="4366"/>
                    </a:lnTo>
                    <a:lnTo>
                      <a:pt x="3246" y="4366"/>
                    </a:lnTo>
                    <a:lnTo>
                      <a:pt x="3358" y="4254"/>
                    </a:lnTo>
                    <a:lnTo>
                      <a:pt x="3470" y="3695"/>
                    </a:lnTo>
                    <a:lnTo>
                      <a:pt x="3582" y="2351"/>
                    </a:lnTo>
                    <a:lnTo>
                      <a:pt x="3582" y="1904"/>
                    </a:lnTo>
                    <a:lnTo>
                      <a:pt x="3582" y="1680"/>
                    </a:lnTo>
                    <a:lnTo>
                      <a:pt x="3582" y="1456"/>
                    </a:lnTo>
                    <a:lnTo>
                      <a:pt x="3694" y="1120"/>
                    </a:lnTo>
                    <a:lnTo>
                      <a:pt x="2687" y="449"/>
                    </a:lnTo>
                    <a:lnTo>
                      <a:pt x="2127" y="113"/>
                    </a:lnTo>
                    <a:lnTo>
                      <a:pt x="1791" y="1"/>
                    </a:lnTo>
                    <a:close/>
                  </a:path>
                </a:pathLst>
              </a:custGeom>
              <a:solidFill>
                <a:srgbClr val="FAB59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74" name="Google Shape;1874;p16"/>
              <p:cNvSpPr/>
              <p:nvPr/>
            </p:nvSpPr>
            <p:spPr>
              <a:xfrm>
                <a:off x="600150" y="2868675"/>
                <a:ext cx="92375" cy="109175"/>
              </a:xfrm>
              <a:custGeom>
                <a:avLst/>
                <a:gdLst/>
                <a:ahLst/>
                <a:cxnLst/>
                <a:rect l="l" t="t" r="r" b="b"/>
                <a:pathLst>
                  <a:path w="3695" h="4367" fill="none" extrusionOk="0">
                    <a:moveTo>
                      <a:pt x="3694" y="1120"/>
                    </a:moveTo>
                    <a:lnTo>
                      <a:pt x="3694" y="1120"/>
                    </a:lnTo>
                    <a:lnTo>
                      <a:pt x="3694" y="1120"/>
                    </a:lnTo>
                    <a:lnTo>
                      <a:pt x="3582" y="1456"/>
                    </a:lnTo>
                    <a:lnTo>
                      <a:pt x="3582" y="1680"/>
                    </a:lnTo>
                    <a:lnTo>
                      <a:pt x="3582" y="1904"/>
                    </a:lnTo>
                    <a:lnTo>
                      <a:pt x="3582" y="2351"/>
                    </a:lnTo>
                    <a:lnTo>
                      <a:pt x="3582" y="2351"/>
                    </a:lnTo>
                    <a:lnTo>
                      <a:pt x="3470" y="3695"/>
                    </a:lnTo>
                    <a:lnTo>
                      <a:pt x="3358" y="4254"/>
                    </a:lnTo>
                    <a:lnTo>
                      <a:pt x="3246" y="4366"/>
                    </a:lnTo>
                    <a:lnTo>
                      <a:pt x="3134" y="4366"/>
                    </a:lnTo>
                    <a:lnTo>
                      <a:pt x="3134" y="4366"/>
                    </a:lnTo>
                    <a:lnTo>
                      <a:pt x="2799" y="4254"/>
                    </a:lnTo>
                    <a:lnTo>
                      <a:pt x="2575" y="3919"/>
                    </a:lnTo>
                    <a:lnTo>
                      <a:pt x="2351" y="3471"/>
                    </a:lnTo>
                    <a:lnTo>
                      <a:pt x="2351" y="3471"/>
                    </a:lnTo>
                    <a:lnTo>
                      <a:pt x="2351" y="3471"/>
                    </a:lnTo>
                    <a:lnTo>
                      <a:pt x="2351" y="3695"/>
                    </a:lnTo>
                    <a:lnTo>
                      <a:pt x="2239" y="3919"/>
                    </a:lnTo>
                    <a:lnTo>
                      <a:pt x="2127" y="4143"/>
                    </a:lnTo>
                    <a:lnTo>
                      <a:pt x="2127" y="4143"/>
                    </a:lnTo>
                    <a:lnTo>
                      <a:pt x="1679" y="4254"/>
                    </a:lnTo>
                    <a:lnTo>
                      <a:pt x="1120" y="4143"/>
                    </a:lnTo>
                    <a:lnTo>
                      <a:pt x="672" y="3919"/>
                    </a:lnTo>
                    <a:lnTo>
                      <a:pt x="336" y="3583"/>
                    </a:lnTo>
                    <a:lnTo>
                      <a:pt x="336" y="3583"/>
                    </a:lnTo>
                    <a:lnTo>
                      <a:pt x="112" y="3135"/>
                    </a:lnTo>
                    <a:lnTo>
                      <a:pt x="0" y="2687"/>
                    </a:lnTo>
                    <a:lnTo>
                      <a:pt x="112" y="2240"/>
                    </a:lnTo>
                    <a:lnTo>
                      <a:pt x="224" y="1680"/>
                    </a:lnTo>
                    <a:lnTo>
                      <a:pt x="224" y="1680"/>
                    </a:lnTo>
                    <a:lnTo>
                      <a:pt x="560" y="1232"/>
                    </a:lnTo>
                    <a:lnTo>
                      <a:pt x="1008" y="672"/>
                    </a:lnTo>
                    <a:lnTo>
                      <a:pt x="1679" y="1"/>
                    </a:lnTo>
                    <a:lnTo>
                      <a:pt x="1679" y="1"/>
                    </a:lnTo>
                    <a:lnTo>
                      <a:pt x="1791" y="1"/>
                    </a:lnTo>
                    <a:lnTo>
                      <a:pt x="2127" y="113"/>
                    </a:lnTo>
                    <a:lnTo>
                      <a:pt x="2687" y="449"/>
                    </a:lnTo>
                    <a:lnTo>
                      <a:pt x="3694" y="112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75" name="Google Shape;1875;p16"/>
              <p:cNvSpPr/>
              <p:nvPr/>
            </p:nvSpPr>
            <p:spPr>
              <a:xfrm>
                <a:off x="644925" y="2955425"/>
                <a:ext cx="36400" cy="75600"/>
              </a:xfrm>
              <a:custGeom>
                <a:avLst/>
                <a:gdLst/>
                <a:ahLst/>
                <a:cxnLst/>
                <a:rect l="l" t="t" r="r" b="b"/>
                <a:pathLst>
                  <a:path w="1456" h="3024" extrusionOk="0">
                    <a:moveTo>
                      <a:pt x="560" y="1"/>
                    </a:moveTo>
                    <a:lnTo>
                      <a:pt x="448" y="784"/>
                    </a:lnTo>
                    <a:lnTo>
                      <a:pt x="560" y="896"/>
                    </a:lnTo>
                    <a:lnTo>
                      <a:pt x="672" y="1232"/>
                    </a:lnTo>
                    <a:lnTo>
                      <a:pt x="672" y="1456"/>
                    </a:lnTo>
                    <a:lnTo>
                      <a:pt x="560" y="1792"/>
                    </a:lnTo>
                    <a:lnTo>
                      <a:pt x="0" y="2687"/>
                    </a:lnTo>
                    <a:lnTo>
                      <a:pt x="448" y="3023"/>
                    </a:lnTo>
                    <a:lnTo>
                      <a:pt x="1343" y="1568"/>
                    </a:lnTo>
                    <a:lnTo>
                      <a:pt x="1455" y="1232"/>
                    </a:lnTo>
                    <a:lnTo>
                      <a:pt x="1455" y="896"/>
                    </a:lnTo>
                    <a:lnTo>
                      <a:pt x="1343" y="561"/>
                    </a:lnTo>
                    <a:lnTo>
                      <a:pt x="1120" y="337"/>
                    </a:lnTo>
                    <a:lnTo>
                      <a:pt x="560" y="1"/>
                    </a:lnTo>
                    <a:close/>
                  </a:path>
                </a:pathLst>
              </a:custGeom>
              <a:solidFill>
                <a:srgbClr val="201B2C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76" name="Google Shape;1876;p16"/>
              <p:cNvSpPr/>
              <p:nvPr/>
            </p:nvSpPr>
            <p:spPr>
              <a:xfrm>
                <a:off x="331500" y="2896675"/>
                <a:ext cx="470150" cy="400200"/>
              </a:xfrm>
              <a:custGeom>
                <a:avLst/>
                <a:gdLst/>
                <a:ahLst/>
                <a:cxnLst/>
                <a:rect l="l" t="t" r="r" b="b"/>
                <a:pathLst>
                  <a:path w="18806" h="16008" extrusionOk="0">
                    <a:moveTo>
                      <a:pt x="4701" y="0"/>
                    </a:moveTo>
                    <a:lnTo>
                      <a:pt x="4366" y="112"/>
                    </a:lnTo>
                    <a:lnTo>
                      <a:pt x="3806" y="336"/>
                    </a:lnTo>
                    <a:lnTo>
                      <a:pt x="3582" y="672"/>
                    </a:lnTo>
                    <a:lnTo>
                      <a:pt x="224" y="6828"/>
                    </a:lnTo>
                    <a:lnTo>
                      <a:pt x="112" y="7276"/>
                    </a:lnTo>
                    <a:lnTo>
                      <a:pt x="0" y="7724"/>
                    </a:lnTo>
                    <a:lnTo>
                      <a:pt x="0" y="8060"/>
                    </a:lnTo>
                    <a:lnTo>
                      <a:pt x="224" y="8284"/>
                    </a:lnTo>
                    <a:lnTo>
                      <a:pt x="448" y="8619"/>
                    </a:lnTo>
                    <a:lnTo>
                      <a:pt x="896" y="8955"/>
                    </a:lnTo>
                    <a:lnTo>
                      <a:pt x="13768" y="15896"/>
                    </a:lnTo>
                    <a:lnTo>
                      <a:pt x="14104" y="16007"/>
                    </a:lnTo>
                    <a:lnTo>
                      <a:pt x="14440" y="16007"/>
                    </a:lnTo>
                    <a:lnTo>
                      <a:pt x="14664" y="15896"/>
                    </a:lnTo>
                    <a:lnTo>
                      <a:pt x="14888" y="15672"/>
                    </a:lnTo>
                    <a:lnTo>
                      <a:pt x="18582" y="9291"/>
                    </a:lnTo>
                    <a:lnTo>
                      <a:pt x="18694" y="8955"/>
                    </a:lnTo>
                    <a:lnTo>
                      <a:pt x="18806" y="8619"/>
                    </a:lnTo>
                    <a:lnTo>
                      <a:pt x="18694" y="8284"/>
                    </a:lnTo>
                    <a:lnTo>
                      <a:pt x="18694" y="7948"/>
                    </a:lnTo>
                    <a:lnTo>
                      <a:pt x="18246" y="7276"/>
                    </a:lnTo>
                    <a:lnTo>
                      <a:pt x="17686" y="6828"/>
                    </a:lnTo>
                    <a:lnTo>
                      <a:pt x="17239" y="6605"/>
                    </a:lnTo>
                    <a:lnTo>
                      <a:pt x="5933" y="224"/>
                    </a:lnTo>
                    <a:lnTo>
                      <a:pt x="5485" y="112"/>
                    </a:lnTo>
                    <a:lnTo>
                      <a:pt x="5149" y="0"/>
                    </a:lnTo>
                    <a:close/>
                  </a:path>
                </a:pathLst>
              </a:custGeom>
              <a:solidFill>
                <a:srgbClr val="46464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77" name="Google Shape;1877;p16"/>
              <p:cNvSpPr/>
              <p:nvPr/>
            </p:nvSpPr>
            <p:spPr>
              <a:xfrm>
                <a:off x="675700" y="3061775"/>
                <a:ext cx="125950" cy="235100"/>
              </a:xfrm>
              <a:custGeom>
                <a:avLst/>
                <a:gdLst/>
                <a:ahLst/>
                <a:cxnLst/>
                <a:rect l="l" t="t" r="r" b="b"/>
                <a:pathLst>
                  <a:path w="5038" h="9404" extrusionOk="0">
                    <a:moveTo>
                      <a:pt x="3471" y="1"/>
                    </a:moveTo>
                    <a:lnTo>
                      <a:pt x="3135" y="1680"/>
                    </a:lnTo>
                    <a:lnTo>
                      <a:pt x="2575" y="3583"/>
                    </a:lnTo>
                    <a:lnTo>
                      <a:pt x="1903" y="5486"/>
                    </a:lnTo>
                    <a:lnTo>
                      <a:pt x="1344" y="6381"/>
                    </a:lnTo>
                    <a:lnTo>
                      <a:pt x="896" y="7277"/>
                    </a:lnTo>
                    <a:lnTo>
                      <a:pt x="224" y="8396"/>
                    </a:lnTo>
                    <a:lnTo>
                      <a:pt x="0" y="9292"/>
                    </a:lnTo>
                    <a:lnTo>
                      <a:pt x="336" y="9403"/>
                    </a:lnTo>
                    <a:lnTo>
                      <a:pt x="672" y="9403"/>
                    </a:lnTo>
                    <a:lnTo>
                      <a:pt x="896" y="9292"/>
                    </a:lnTo>
                    <a:lnTo>
                      <a:pt x="1120" y="9068"/>
                    </a:lnTo>
                    <a:lnTo>
                      <a:pt x="4814" y="2687"/>
                    </a:lnTo>
                    <a:lnTo>
                      <a:pt x="4926" y="2351"/>
                    </a:lnTo>
                    <a:lnTo>
                      <a:pt x="5038" y="2015"/>
                    </a:lnTo>
                    <a:lnTo>
                      <a:pt x="4926" y="1680"/>
                    </a:lnTo>
                    <a:lnTo>
                      <a:pt x="4926" y="1344"/>
                    </a:lnTo>
                    <a:lnTo>
                      <a:pt x="4478" y="672"/>
                    </a:lnTo>
                    <a:lnTo>
                      <a:pt x="3918" y="224"/>
                    </a:lnTo>
                    <a:lnTo>
                      <a:pt x="3471" y="1"/>
                    </a:lnTo>
                    <a:close/>
                  </a:path>
                </a:pathLst>
              </a:custGeom>
              <a:solidFill>
                <a:srgbClr val="7E7E7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78" name="Google Shape;1878;p16"/>
              <p:cNvSpPr/>
              <p:nvPr/>
            </p:nvSpPr>
            <p:spPr>
              <a:xfrm>
                <a:off x="614125" y="2406925"/>
                <a:ext cx="414200" cy="484175"/>
              </a:xfrm>
              <a:custGeom>
                <a:avLst/>
                <a:gdLst/>
                <a:ahLst/>
                <a:cxnLst/>
                <a:rect l="l" t="t" r="r" b="b"/>
                <a:pathLst>
                  <a:path w="16568" h="19367" extrusionOk="0">
                    <a:moveTo>
                      <a:pt x="14441" y="1"/>
                    </a:moveTo>
                    <a:lnTo>
                      <a:pt x="14105" y="113"/>
                    </a:lnTo>
                    <a:lnTo>
                      <a:pt x="13657" y="337"/>
                    </a:lnTo>
                    <a:lnTo>
                      <a:pt x="13098" y="672"/>
                    </a:lnTo>
                    <a:lnTo>
                      <a:pt x="9628" y="4143"/>
                    </a:lnTo>
                    <a:lnTo>
                      <a:pt x="7501" y="6381"/>
                    </a:lnTo>
                    <a:lnTo>
                      <a:pt x="5598" y="8508"/>
                    </a:lnTo>
                    <a:lnTo>
                      <a:pt x="4814" y="9740"/>
                    </a:lnTo>
                    <a:lnTo>
                      <a:pt x="4031" y="11083"/>
                    </a:lnTo>
                    <a:lnTo>
                      <a:pt x="2240" y="14105"/>
                    </a:lnTo>
                    <a:lnTo>
                      <a:pt x="1" y="18247"/>
                    </a:lnTo>
                    <a:lnTo>
                      <a:pt x="1" y="18359"/>
                    </a:lnTo>
                    <a:lnTo>
                      <a:pt x="1" y="18583"/>
                    </a:lnTo>
                    <a:lnTo>
                      <a:pt x="337" y="18807"/>
                    </a:lnTo>
                    <a:lnTo>
                      <a:pt x="784" y="18919"/>
                    </a:lnTo>
                    <a:lnTo>
                      <a:pt x="1456" y="19142"/>
                    </a:lnTo>
                    <a:lnTo>
                      <a:pt x="2687" y="19366"/>
                    </a:lnTo>
                    <a:lnTo>
                      <a:pt x="3247" y="19366"/>
                    </a:lnTo>
                    <a:lnTo>
                      <a:pt x="3583" y="19254"/>
                    </a:lnTo>
                    <a:lnTo>
                      <a:pt x="4255" y="18135"/>
                    </a:lnTo>
                    <a:lnTo>
                      <a:pt x="5598" y="15560"/>
                    </a:lnTo>
                    <a:lnTo>
                      <a:pt x="7165" y="12874"/>
                    </a:lnTo>
                    <a:lnTo>
                      <a:pt x="8172" y="11083"/>
                    </a:lnTo>
                    <a:lnTo>
                      <a:pt x="8956" y="10187"/>
                    </a:lnTo>
                    <a:lnTo>
                      <a:pt x="10075" y="9068"/>
                    </a:lnTo>
                    <a:lnTo>
                      <a:pt x="12874" y="6717"/>
                    </a:lnTo>
                    <a:lnTo>
                      <a:pt x="15448" y="4814"/>
                    </a:lnTo>
                    <a:lnTo>
                      <a:pt x="16568" y="3919"/>
                    </a:lnTo>
                    <a:lnTo>
                      <a:pt x="16456" y="3023"/>
                    </a:lnTo>
                    <a:lnTo>
                      <a:pt x="16232" y="2240"/>
                    </a:lnTo>
                    <a:lnTo>
                      <a:pt x="15896" y="1232"/>
                    </a:lnTo>
                    <a:lnTo>
                      <a:pt x="15448" y="561"/>
                    </a:lnTo>
                    <a:lnTo>
                      <a:pt x="15113" y="225"/>
                    </a:lnTo>
                    <a:lnTo>
                      <a:pt x="14889" y="1"/>
                    </a:lnTo>
                    <a:close/>
                  </a:path>
                </a:pathLst>
              </a:custGeom>
              <a:solidFill>
                <a:srgbClr val="EA8C23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79" name="Google Shape;1879;p16"/>
              <p:cNvSpPr/>
              <p:nvPr/>
            </p:nvSpPr>
            <p:spPr>
              <a:xfrm>
                <a:off x="614125" y="2406925"/>
                <a:ext cx="414200" cy="484175"/>
              </a:xfrm>
              <a:custGeom>
                <a:avLst/>
                <a:gdLst/>
                <a:ahLst/>
                <a:cxnLst/>
                <a:rect l="l" t="t" r="r" b="b"/>
                <a:pathLst>
                  <a:path w="16568" h="19367" fill="none" extrusionOk="0">
                    <a:moveTo>
                      <a:pt x="5598" y="8508"/>
                    </a:moveTo>
                    <a:lnTo>
                      <a:pt x="5598" y="8508"/>
                    </a:lnTo>
                    <a:lnTo>
                      <a:pt x="4814" y="9740"/>
                    </a:lnTo>
                    <a:lnTo>
                      <a:pt x="4031" y="11083"/>
                    </a:lnTo>
                    <a:lnTo>
                      <a:pt x="2240" y="14105"/>
                    </a:lnTo>
                    <a:lnTo>
                      <a:pt x="1" y="18247"/>
                    </a:lnTo>
                    <a:lnTo>
                      <a:pt x="1" y="18247"/>
                    </a:lnTo>
                    <a:lnTo>
                      <a:pt x="1" y="18359"/>
                    </a:lnTo>
                    <a:lnTo>
                      <a:pt x="1" y="18583"/>
                    </a:lnTo>
                    <a:lnTo>
                      <a:pt x="337" y="18807"/>
                    </a:lnTo>
                    <a:lnTo>
                      <a:pt x="784" y="18919"/>
                    </a:lnTo>
                    <a:lnTo>
                      <a:pt x="1456" y="19142"/>
                    </a:lnTo>
                    <a:lnTo>
                      <a:pt x="2687" y="19366"/>
                    </a:lnTo>
                    <a:lnTo>
                      <a:pt x="3247" y="19366"/>
                    </a:lnTo>
                    <a:lnTo>
                      <a:pt x="3583" y="19254"/>
                    </a:lnTo>
                    <a:lnTo>
                      <a:pt x="3583" y="19254"/>
                    </a:lnTo>
                    <a:lnTo>
                      <a:pt x="4255" y="18135"/>
                    </a:lnTo>
                    <a:lnTo>
                      <a:pt x="5598" y="15560"/>
                    </a:lnTo>
                    <a:lnTo>
                      <a:pt x="7165" y="12874"/>
                    </a:lnTo>
                    <a:lnTo>
                      <a:pt x="8172" y="11083"/>
                    </a:lnTo>
                    <a:lnTo>
                      <a:pt x="8172" y="11083"/>
                    </a:lnTo>
                    <a:lnTo>
                      <a:pt x="8956" y="10187"/>
                    </a:lnTo>
                    <a:lnTo>
                      <a:pt x="10075" y="9068"/>
                    </a:lnTo>
                    <a:lnTo>
                      <a:pt x="12874" y="6717"/>
                    </a:lnTo>
                    <a:lnTo>
                      <a:pt x="15448" y="4814"/>
                    </a:lnTo>
                    <a:lnTo>
                      <a:pt x="16568" y="3919"/>
                    </a:lnTo>
                    <a:lnTo>
                      <a:pt x="16568" y="3919"/>
                    </a:lnTo>
                    <a:lnTo>
                      <a:pt x="16456" y="3023"/>
                    </a:lnTo>
                    <a:lnTo>
                      <a:pt x="16232" y="2240"/>
                    </a:lnTo>
                    <a:lnTo>
                      <a:pt x="15896" y="1232"/>
                    </a:lnTo>
                    <a:lnTo>
                      <a:pt x="15448" y="561"/>
                    </a:lnTo>
                    <a:lnTo>
                      <a:pt x="15113" y="225"/>
                    </a:lnTo>
                    <a:lnTo>
                      <a:pt x="14889" y="1"/>
                    </a:lnTo>
                    <a:lnTo>
                      <a:pt x="14441" y="1"/>
                    </a:lnTo>
                    <a:lnTo>
                      <a:pt x="14105" y="113"/>
                    </a:lnTo>
                    <a:lnTo>
                      <a:pt x="13657" y="337"/>
                    </a:lnTo>
                    <a:lnTo>
                      <a:pt x="13098" y="672"/>
                    </a:lnTo>
                    <a:lnTo>
                      <a:pt x="13098" y="672"/>
                    </a:lnTo>
                    <a:lnTo>
                      <a:pt x="9628" y="4143"/>
                    </a:lnTo>
                    <a:lnTo>
                      <a:pt x="7501" y="6381"/>
                    </a:lnTo>
                    <a:lnTo>
                      <a:pt x="5598" y="8508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80" name="Google Shape;1880;p16"/>
              <p:cNvSpPr/>
              <p:nvPr/>
            </p:nvSpPr>
            <p:spPr>
              <a:xfrm>
                <a:off x="614125" y="2448900"/>
                <a:ext cx="302275" cy="442200"/>
              </a:xfrm>
              <a:custGeom>
                <a:avLst/>
                <a:gdLst/>
                <a:ahLst/>
                <a:cxnLst/>
                <a:rect l="l" t="t" r="r" b="b"/>
                <a:pathLst>
                  <a:path w="12091" h="17688" extrusionOk="0">
                    <a:moveTo>
                      <a:pt x="12090" y="1"/>
                    </a:moveTo>
                    <a:lnTo>
                      <a:pt x="8844" y="3247"/>
                    </a:lnTo>
                    <a:lnTo>
                      <a:pt x="7165" y="5150"/>
                    </a:lnTo>
                    <a:lnTo>
                      <a:pt x="5598" y="6829"/>
                    </a:lnTo>
                    <a:lnTo>
                      <a:pt x="4814" y="8061"/>
                    </a:lnTo>
                    <a:lnTo>
                      <a:pt x="4031" y="9404"/>
                    </a:lnTo>
                    <a:lnTo>
                      <a:pt x="2240" y="12426"/>
                    </a:lnTo>
                    <a:lnTo>
                      <a:pt x="1" y="16568"/>
                    </a:lnTo>
                    <a:lnTo>
                      <a:pt x="1" y="16680"/>
                    </a:lnTo>
                    <a:lnTo>
                      <a:pt x="1" y="16904"/>
                    </a:lnTo>
                    <a:lnTo>
                      <a:pt x="337" y="17016"/>
                    </a:lnTo>
                    <a:lnTo>
                      <a:pt x="1120" y="17351"/>
                    </a:lnTo>
                    <a:lnTo>
                      <a:pt x="2128" y="17575"/>
                    </a:lnTo>
                    <a:lnTo>
                      <a:pt x="3023" y="17687"/>
                    </a:lnTo>
                    <a:lnTo>
                      <a:pt x="3583" y="17575"/>
                    </a:lnTo>
                    <a:lnTo>
                      <a:pt x="4255" y="16456"/>
                    </a:lnTo>
                    <a:lnTo>
                      <a:pt x="5598" y="13881"/>
                    </a:lnTo>
                    <a:lnTo>
                      <a:pt x="7165" y="11195"/>
                    </a:lnTo>
                    <a:lnTo>
                      <a:pt x="8172" y="9404"/>
                    </a:lnTo>
                    <a:lnTo>
                      <a:pt x="8620" y="8844"/>
                    </a:lnTo>
                    <a:lnTo>
                      <a:pt x="9180" y="8172"/>
                    </a:lnTo>
                    <a:lnTo>
                      <a:pt x="10747" y="6717"/>
                    </a:lnTo>
                    <a:lnTo>
                      <a:pt x="11195" y="3135"/>
                    </a:lnTo>
                    <a:lnTo>
                      <a:pt x="11419" y="1792"/>
                    </a:lnTo>
                    <a:lnTo>
                      <a:pt x="11531" y="1008"/>
                    </a:lnTo>
                    <a:lnTo>
                      <a:pt x="11754" y="561"/>
                    </a:lnTo>
                    <a:lnTo>
                      <a:pt x="12090" y="1"/>
                    </a:lnTo>
                    <a:close/>
                  </a:path>
                </a:pathLst>
              </a:custGeom>
              <a:solidFill>
                <a:srgbClr val="C3783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81" name="Google Shape;1881;p16"/>
              <p:cNvSpPr/>
              <p:nvPr/>
            </p:nvSpPr>
            <p:spPr>
              <a:xfrm>
                <a:off x="614125" y="2448900"/>
                <a:ext cx="302275" cy="442200"/>
              </a:xfrm>
              <a:custGeom>
                <a:avLst/>
                <a:gdLst/>
                <a:ahLst/>
                <a:cxnLst/>
                <a:rect l="l" t="t" r="r" b="b"/>
                <a:pathLst>
                  <a:path w="12091" h="17688" fill="none" extrusionOk="0">
                    <a:moveTo>
                      <a:pt x="12090" y="1"/>
                    </a:moveTo>
                    <a:lnTo>
                      <a:pt x="12090" y="1"/>
                    </a:lnTo>
                    <a:lnTo>
                      <a:pt x="8844" y="3247"/>
                    </a:lnTo>
                    <a:lnTo>
                      <a:pt x="7165" y="5150"/>
                    </a:lnTo>
                    <a:lnTo>
                      <a:pt x="5598" y="6829"/>
                    </a:lnTo>
                    <a:lnTo>
                      <a:pt x="5598" y="6829"/>
                    </a:lnTo>
                    <a:lnTo>
                      <a:pt x="4814" y="8061"/>
                    </a:lnTo>
                    <a:lnTo>
                      <a:pt x="4031" y="9404"/>
                    </a:lnTo>
                    <a:lnTo>
                      <a:pt x="2240" y="12426"/>
                    </a:lnTo>
                    <a:lnTo>
                      <a:pt x="1" y="16568"/>
                    </a:lnTo>
                    <a:lnTo>
                      <a:pt x="1" y="16568"/>
                    </a:lnTo>
                    <a:lnTo>
                      <a:pt x="1" y="16680"/>
                    </a:lnTo>
                    <a:lnTo>
                      <a:pt x="1" y="16680"/>
                    </a:lnTo>
                    <a:lnTo>
                      <a:pt x="1" y="16904"/>
                    </a:lnTo>
                    <a:lnTo>
                      <a:pt x="337" y="17016"/>
                    </a:lnTo>
                    <a:lnTo>
                      <a:pt x="1120" y="17351"/>
                    </a:lnTo>
                    <a:lnTo>
                      <a:pt x="2128" y="17575"/>
                    </a:lnTo>
                    <a:lnTo>
                      <a:pt x="3023" y="17687"/>
                    </a:lnTo>
                    <a:lnTo>
                      <a:pt x="3023" y="17687"/>
                    </a:lnTo>
                    <a:lnTo>
                      <a:pt x="3583" y="17575"/>
                    </a:lnTo>
                    <a:lnTo>
                      <a:pt x="3583" y="17575"/>
                    </a:lnTo>
                    <a:lnTo>
                      <a:pt x="4255" y="16456"/>
                    </a:lnTo>
                    <a:lnTo>
                      <a:pt x="5598" y="13881"/>
                    </a:lnTo>
                    <a:lnTo>
                      <a:pt x="7165" y="11195"/>
                    </a:lnTo>
                    <a:lnTo>
                      <a:pt x="8172" y="9404"/>
                    </a:lnTo>
                    <a:lnTo>
                      <a:pt x="8172" y="9404"/>
                    </a:lnTo>
                    <a:lnTo>
                      <a:pt x="8620" y="8844"/>
                    </a:lnTo>
                    <a:lnTo>
                      <a:pt x="9180" y="8172"/>
                    </a:lnTo>
                    <a:lnTo>
                      <a:pt x="10747" y="6717"/>
                    </a:lnTo>
                    <a:lnTo>
                      <a:pt x="10747" y="6717"/>
                    </a:lnTo>
                    <a:lnTo>
                      <a:pt x="11195" y="3135"/>
                    </a:lnTo>
                    <a:lnTo>
                      <a:pt x="11419" y="1792"/>
                    </a:lnTo>
                    <a:lnTo>
                      <a:pt x="11531" y="1008"/>
                    </a:lnTo>
                    <a:lnTo>
                      <a:pt x="11531" y="1008"/>
                    </a:lnTo>
                    <a:lnTo>
                      <a:pt x="11754" y="561"/>
                    </a:lnTo>
                    <a:lnTo>
                      <a:pt x="1209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82" name="Google Shape;1882;p16"/>
              <p:cNvSpPr/>
              <p:nvPr/>
            </p:nvSpPr>
            <p:spPr>
              <a:xfrm>
                <a:off x="947150" y="2409725"/>
                <a:ext cx="14025" cy="8425"/>
              </a:xfrm>
              <a:custGeom>
                <a:avLst/>
                <a:gdLst/>
                <a:ahLst/>
                <a:cxnLst/>
                <a:rect l="l" t="t" r="r" b="b"/>
                <a:pathLst>
                  <a:path w="561" h="337" fill="none" extrusionOk="0">
                    <a:moveTo>
                      <a:pt x="560" y="1"/>
                    </a:moveTo>
                    <a:lnTo>
                      <a:pt x="560" y="1"/>
                    </a:lnTo>
                    <a:lnTo>
                      <a:pt x="1" y="337"/>
                    </a:lnTo>
                    <a:lnTo>
                      <a:pt x="1" y="337"/>
                    </a:lnTo>
                    <a:lnTo>
                      <a:pt x="56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83" name="Google Shape;1883;p16"/>
              <p:cNvSpPr/>
              <p:nvPr/>
            </p:nvSpPr>
            <p:spPr>
              <a:xfrm>
                <a:off x="4196175" y="1645750"/>
                <a:ext cx="181925" cy="75575"/>
              </a:xfrm>
              <a:custGeom>
                <a:avLst/>
                <a:gdLst/>
                <a:ahLst/>
                <a:cxnLst/>
                <a:rect l="l" t="t" r="r" b="b"/>
                <a:pathLst>
                  <a:path w="7277" h="3023" extrusionOk="0">
                    <a:moveTo>
                      <a:pt x="2239" y="0"/>
                    </a:moveTo>
                    <a:lnTo>
                      <a:pt x="2127" y="112"/>
                    </a:lnTo>
                    <a:lnTo>
                      <a:pt x="2127" y="336"/>
                    </a:lnTo>
                    <a:lnTo>
                      <a:pt x="2015" y="560"/>
                    </a:lnTo>
                    <a:lnTo>
                      <a:pt x="1792" y="784"/>
                    </a:lnTo>
                    <a:lnTo>
                      <a:pt x="1456" y="1008"/>
                    </a:lnTo>
                    <a:lnTo>
                      <a:pt x="784" y="1120"/>
                    </a:lnTo>
                    <a:lnTo>
                      <a:pt x="560" y="1344"/>
                    </a:lnTo>
                    <a:lnTo>
                      <a:pt x="224" y="1568"/>
                    </a:lnTo>
                    <a:lnTo>
                      <a:pt x="113" y="1903"/>
                    </a:lnTo>
                    <a:lnTo>
                      <a:pt x="1" y="2239"/>
                    </a:lnTo>
                    <a:lnTo>
                      <a:pt x="113" y="2575"/>
                    </a:lnTo>
                    <a:lnTo>
                      <a:pt x="448" y="2911"/>
                    </a:lnTo>
                    <a:lnTo>
                      <a:pt x="1120" y="3023"/>
                    </a:lnTo>
                    <a:lnTo>
                      <a:pt x="2127" y="2911"/>
                    </a:lnTo>
                    <a:lnTo>
                      <a:pt x="2575" y="2799"/>
                    </a:lnTo>
                    <a:lnTo>
                      <a:pt x="3135" y="2575"/>
                    </a:lnTo>
                    <a:lnTo>
                      <a:pt x="4142" y="2351"/>
                    </a:lnTo>
                    <a:lnTo>
                      <a:pt x="5486" y="2239"/>
                    </a:lnTo>
                    <a:lnTo>
                      <a:pt x="6829" y="2127"/>
                    </a:lnTo>
                    <a:lnTo>
                      <a:pt x="7277" y="2127"/>
                    </a:lnTo>
                    <a:lnTo>
                      <a:pt x="6941" y="0"/>
                    </a:lnTo>
                    <a:lnTo>
                      <a:pt x="6269" y="224"/>
                    </a:lnTo>
                    <a:lnTo>
                      <a:pt x="5598" y="336"/>
                    </a:lnTo>
                    <a:lnTo>
                      <a:pt x="4702" y="448"/>
                    </a:lnTo>
                    <a:lnTo>
                      <a:pt x="4254" y="336"/>
                    </a:lnTo>
                    <a:lnTo>
                      <a:pt x="3806" y="336"/>
                    </a:lnTo>
                    <a:lnTo>
                      <a:pt x="2911" y="0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84" name="Google Shape;1884;p16"/>
              <p:cNvSpPr/>
              <p:nvPr/>
            </p:nvSpPr>
            <p:spPr>
              <a:xfrm>
                <a:off x="4103825" y="1645750"/>
                <a:ext cx="173525" cy="131550"/>
              </a:xfrm>
              <a:custGeom>
                <a:avLst/>
                <a:gdLst/>
                <a:ahLst/>
                <a:cxnLst/>
                <a:rect l="l" t="t" r="r" b="b"/>
                <a:pathLst>
                  <a:path w="6941" h="5262" extrusionOk="0">
                    <a:moveTo>
                      <a:pt x="5709" y="0"/>
                    </a:moveTo>
                    <a:lnTo>
                      <a:pt x="5374" y="112"/>
                    </a:lnTo>
                    <a:lnTo>
                      <a:pt x="4926" y="224"/>
                    </a:lnTo>
                    <a:lnTo>
                      <a:pt x="4478" y="560"/>
                    </a:lnTo>
                    <a:lnTo>
                      <a:pt x="4142" y="784"/>
                    </a:lnTo>
                    <a:lnTo>
                      <a:pt x="3583" y="1344"/>
                    </a:lnTo>
                    <a:lnTo>
                      <a:pt x="2799" y="1903"/>
                    </a:lnTo>
                    <a:lnTo>
                      <a:pt x="1680" y="2575"/>
                    </a:lnTo>
                    <a:lnTo>
                      <a:pt x="448" y="3247"/>
                    </a:lnTo>
                    <a:lnTo>
                      <a:pt x="1" y="3470"/>
                    </a:lnTo>
                    <a:lnTo>
                      <a:pt x="1232" y="5262"/>
                    </a:lnTo>
                    <a:lnTo>
                      <a:pt x="1792" y="4814"/>
                    </a:lnTo>
                    <a:lnTo>
                      <a:pt x="2351" y="4590"/>
                    </a:lnTo>
                    <a:lnTo>
                      <a:pt x="2799" y="4366"/>
                    </a:lnTo>
                    <a:lnTo>
                      <a:pt x="3135" y="4254"/>
                    </a:lnTo>
                    <a:lnTo>
                      <a:pt x="3583" y="3918"/>
                    </a:lnTo>
                    <a:lnTo>
                      <a:pt x="4030" y="3806"/>
                    </a:lnTo>
                    <a:lnTo>
                      <a:pt x="4814" y="3582"/>
                    </a:lnTo>
                    <a:lnTo>
                      <a:pt x="5709" y="3582"/>
                    </a:lnTo>
                    <a:lnTo>
                      <a:pt x="5933" y="3470"/>
                    </a:lnTo>
                    <a:lnTo>
                      <a:pt x="6157" y="3247"/>
                    </a:lnTo>
                    <a:lnTo>
                      <a:pt x="6045" y="3023"/>
                    </a:lnTo>
                    <a:lnTo>
                      <a:pt x="5486" y="2799"/>
                    </a:lnTo>
                    <a:lnTo>
                      <a:pt x="5262" y="2687"/>
                    </a:lnTo>
                    <a:lnTo>
                      <a:pt x="5262" y="2575"/>
                    </a:lnTo>
                    <a:lnTo>
                      <a:pt x="5709" y="2351"/>
                    </a:lnTo>
                    <a:lnTo>
                      <a:pt x="6605" y="2127"/>
                    </a:lnTo>
                    <a:lnTo>
                      <a:pt x="6829" y="1903"/>
                    </a:lnTo>
                    <a:lnTo>
                      <a:pt x="6941" y="1568"/>
                    </a:lnTo>
                    <a:lnTo>
                      <a:pt x="6941" y="1120"/>
                    </a:lnTo>
                    <a:lnTo>
                      <a:pt x="6829" y="672"/>
                    </a:lnTo>
                    <a:lnTo>
                      <a:pt x="6493" y="224"/>
                    </a:lnTo>
                    <a:lnTo>
                      <a:pt x="6269" y="112"/>
                    </a:lnTo>
                    <a:lnTo>
                      <a:pt x="6045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85" name="Google Shape;1885;p16"/>
              <p:cNvSpPr/>
              <p:nvPr/>
            </p:nvSpPr>
            <p:spPr>
              <a:xfrm>
                <a:off x="5379925" y="2709175"/>
                <a:ext cx="861950" cy="2767700"/>
              </a:xfrm>
              <a:custGeom>
                <a:avLst/>
                <a:gdLst/>
                <a:ahLst/>
                <a:cxnLst/>
                <a:rect l="l" t="t" r="r" b="b"/>
                <a:pathLst>
                  <a:path w="34478" h="110708" extrusionOk="0">
                    <a:moveTo>
                      <a:pt x="3919" y="0"/>
                    </a:moveTo>
                    <a:lnTo>
                      <a:pt x="3247" y="112"/>
                    </a:lnTo>
                    <a:lnTo>
                      <a:pt x="2687" y="224"/>
                    </a:lnTo>
                    <a:lnTo>
                      <a:pt x="2128" y="448"/>
                    </a:lnTo>
                    <a:lnTo>
                      <a:pt x="1680" y="896"/>
                    </a:lnTo>
                    <a:lnTo>
                      <a:pt x="1008" y="1567"/>
                    </a:lnTo>
                    <a:lnTo>
                      <a:pt x="448" y="2463"/>
                    </a:lnTo>
                    <a:lnTo>
                      <a:pt x="113" y="3470"/>
                    </a:lnTo>
                    <a:lnTo>
                      <a:pt x="1" y="4590"/>
                    </a:lnTo>
                    <a:lnTo>
                      <a:pt x="113" y="110708"/>
                    </a:lnTo>
                    <a:lnTo>
                      <a:pt x="34478" y="110708"/>
                    </a:lnTo>
                    <a:lnTo>
                      <a:pt x="34366" y="4478"/>
                    </a:lnTo>
                    <a:lnTo>
                      <a:pt x="34254" y="3470"/>
                    </a:lnTo>
                    <a:lnTo>
                      <a:pt x="34030" y="2575"/>
                    </a:lnTo>
                    <a:lnTo>
                      <a:pt x="33470" y="1679"/>
                    </a:lnTo>
                    <a:lnTo>
                      <a:pt x="32911" y="1008"/>
                    </a:lnTo>
                    <a:lnTo>
                      <a:pt x="32239" y="448"/>
                    </a:lnTo>
                    <a:lnTo>
                      <a:pt x="31344" y="112"/>
                    </a:lnTo>
                    <a:lnTo>
                      <a:pt x="30560" y="0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86" name="Google Shape;1886;p16"/>
              <p:cNvSpPr/>
              <p:nvPr/>
            </p:nvSpPr>
            <p:spPr>
              <a:xfrm>
                <a:off x="5379925" y="2709175"/>
                <a:ext cx="861950" cy="2767700"/>
              </a:xfrm>
              <a:custGeom>
                <a:avLst/>
                <a:gdLst/>
                <a:ahLst/>
                <a:cxnLst/>
                <a:rect l="l" t="t" r="r" b="b"/>
                <a:pathLst>
                  <a:path w="34478" h="110708" fill="none" extrusionOk="0">
                    <a:moveTo>
                      <a:pt x="34478" y="110708"/>
                    </a:moveTo>
                    <a:lnTo>
                      <a:pt x="34366" y="4478"/>
                    </a:lnTo>
                    <a:lnTo>
                      <a:pt x="34366" y="4478"/>
                    </a:lnTo>
                    <a:lnTo>
                      <a:pt x="34254" y="3470"/>
                    </a:lnTo>
                    <a:lnTo>
                      <a:pt x="34030" y="2575"/>
                    </a:lnTo>
                    <a:lnTo>
                      <a:pt x="33470" y="1679"/>
                    </a:lnTo>
                    <a:lnTo>
                      <a:pt x="32911" y="1008"/>
                    </a:lnTo>
                    <a:lnTo>
                      <a:pt x="32911" y="1008"/>
                    </a:lnTo>
                    <a:lnTo>
                      <a:pt x="32239" y="448"/>
                    </a:lnTo>
                    <a:lnTo>
                      <a:pt x="31344" y="112"/>
                    </a:lnTo>
                    <a:lnTo>
                      <a:pt x="31344" y="112"/>
                    </a:lnTo>
                    <a:lnTo>
                      <a:pt x="30560" y="0"/>
                    </a:lnTo>
                    <a:lnTo>
                      <a:pt x="30336" y="0"/>
                    </a:lnTo>
                    <a:lnTo>
                      <a:pt x="3919" y="0"/>
                    </a:lnTo>
                    <a:lnTo>
                      <a:pt x="3919" y="0"/>
                    </a:lnTo>
                    <a:lnTo>
                      <a:pt x="3247" y="112"/>
                    </a:lnTo>
                    <a:lnTo>
                      <a:pt x="2687" y="224"/>
                    </a:lnTo>
                    <a:lnTo>
                      <a:pt x="2128" y="448"/>
                    </a:lnTo>
                    <a:lnTo>
                      <a:pt x="1680" y="896"/>
                    </a:lnTo>
                    <a:lnTo>
                      <a:pt x="1680" y="896"/>
                    </a:lnTo>
                    <a:lnTo>
                      <a:pt x="1008" y="1567"/>
                    </a:lnTo>
                    <a:lnTo>
                      <a:pt x="448" y="2463"/>
                    </a:lnTo>
                    <a:lnTo>
                      <a:pt x="113" y="3470"/>
                    </a:lnTo>
                    <a:lnTo>
                      <a:pt x="1" y="4590"/>
                    </a:lnTo>
                    <a:lnTo>
                      <a:pt x="113" y="110708"/>
                    </a:lnTo>
                    <a:lnTo>
                      <a:pt x="34478" y="110708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87" name="Google Shape;1887;p16"/>
              <p:cNvSpPr/>
              <p:nvPr/>
            </p:nvSpPr>
            <p:spPr>
              <a:xfrm>
                <a:off x="6143925" y="2709175"/>
                <a:ext cx="33600" cy="8425"/>
              </a:xfrm>
              <a:custGeom>
                <a:avLst/>
                <a:gdLst/>
                <a:ahLst/>
                <a:cxnLst/>
                <a:rect l="l" t="t" r="r" b="b"/>
                <a:pathLst>
                  <a:path w="1344" h="337" extrusionOk="0">
                    <a:moveTo>
                      <a:pt x="0" y="0"/>
                    </a:moveTo>
                    <a:lnTo>
                      <a:pt x="672" y="112"/>
                    </a:lnTo>
                    <a:lnTo>
                      <a:pt x="1343" y="336"/>
                    </a:lnTo>
                    <a:lnTo>
                      <a:pt x="784" y="1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DFDF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88" name="Google Shape;1888;p16"/>
              <p:cNvSpPr/>
              <p:nvPr/>
            </p:nvSpPr>
            <p:spPr>
              <a:xfrm>
                <a:off x="6219475" y="2751150"/>
                <a:ext cx="19600" cy="1589550"/>
              </a:xfrm>
              <a:custGeom>
                <a:avLst/>
                <a:gdLst/>
                <a:ahLst/>
                <a:cxnLst/>
                <a:rect l="l" t="t" r="r" b="b"/>
                <a:pathLst>
                  <a:path w="784" h="63582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336" y="672"/>
                    </a:lnTo>
                    <a:lnTo>
                      <a:pt x="560" y="1344"/>
                    </a:lnTo>
                    <a:lnTo>
                      <a:pt x="784" y="2015"/>
                    </a:lnTo>
                    <a:lnTo>
                      <a:pt x="784" y="2799"/>
                    </a:lnTo>
                    <a:lnTo>
                      <a:pt x="784" y="63582"/>
                    </a:lnTo>
                    <a:lnTo>
                      <a:pt x="784" y="2799"/>
                    </a:lnTo>
                    <a:lnTo>
                      <a:pt x="784" y="2799"/>
                    </a:lnTo>
                    <a:lnTo>
                      <a:pt x="784" y="2015"/>
                    </a:lnTo>
                    <a:lnTo>
                      <a:pt x="560" y="1344"/>
                    </a:lnTo>
                    <a:lnTo>
                      <a:pt x="336" y="67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89" name="Google Shape;1889;p16"/>
              <p:cNvSpPr/>
              <p:nvPr/>
            </p:nvSpPr>
            <p:spPr>
              <a:xfrm>
                <a:off x="6219475" y="2751150"/>
                <a:ext cx="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90" name="Google Shape;1890;p16"/>
              <p:cNvSpPr/>
              <p:nvPr/>
            </p:nvSpPr>
            <p:spPr>
              <a:xfrm>
                <a:off x="6216675" y="2751150"/>
                <a:ext cx="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91" name="Google Shape;1891;p16"/>
              <p:cNvSpPr/>
              <p:nvPr/>
            </p:nvSpPr>
            <p:spPr>
              <a:xfrm>
                <a:off x="6177500" y="2717575"/>
                <a:ext cx="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92" name="Google Shape;1892;p16"/>
              <p:cNvSpPr/>
              <p:nvPr/>
            </p:nvSpPr>
            <p:spPr>
              <a:xfrm>
                <a:off x="5928425" y="2709175"/>
                <a:ext cx="249100" cy="8425"/>
              </a:xfrm>
              <a:custGeom>
                <a:avLst/>
                <a:gdLst/>
                <a:ahLst/>
                <a:cxnLst/>
                <a:rect l="l" t="t" r="r" b="b"/>
                <a:pathLst>
                  <a:path w="9964" h="337" fill="none" extrusionOk="0">
                    <a:moveTo>
                      <a:pt x="8620" y="0"/>
                    </a:moveTo>
                    <a:lnTo>
                      <a:pt x="8620" y="0"/>
                    </a:lnTo>
                    <a:lnTo>
                      <a:pt x="862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8396" y="0"/>
                    </a:lnTo>
                    <a:lnTo>
                      <a:pt x="8620" y="0"/>
                    </a:lnTo>
                    <a:lnTo>
                      <a:pt x="8620" y="0"/>
                    </a:lnTo>
                    <a:lnTo>
                      <a:pt x="9404" y="112"/>
                    </a:lnTo>
                    <a:lnTo>
                      <a:pt x="9404" y="112"/>
                    </a:lnTo>
                    <a:lnTo>
                      <a:pt x="9963" y="336"/>
                    </a:lnTo>
                    <a:lnTo>
                      <a:pt x="9963" y="336"/>
                    </a:lnTo>
                    <a:lnTo>
                      <a:pt x="9292" y="112"/>
                    </a:lnTo>
                    <a:lnTo>
                      <a:pt x="862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93" name="Google Shape;1893;p16"/>
              <p:cNvSpPr/>
              <p:nvPr/>
            </p:nvSpPr>
            <p:spPr>
              <a:xfrm>
                <a:off x="5925625" y="2709175"/>
                <a:ext cx="316250" cy="2767700"/>
              </a:xfrm>
              <a:custGeom>
                <a:avLst/>
                <a:gdLst/>
                <a:ahLst/>
                <a:cxnLst/>
                <a:rect l="l" t="t" r="r" b="b"/>
                <a:pathLst>
                  <a:path w="12650" h="110708" extrusionOk="0">
                    <a:moveTo>
                      <a:pt x="113" y="0"/>
                    </a:moveTo>
                    <a:lnTo>
                      <a:pt x="1" y="27761"/>
                    </a:lnTo>
                    <a:lnTo>
                      <a:pt x="225" y="56529"/>
                    </a:lnTo>
                    <a:lnTo>
                      <a:pt x="560" y="84738"/>
                    </a:lnTo>
                    <a:lnTo>
                      <a:pt x="784" y="98059"/>
                    </a:lnTo>
                    <a:lnTo>
                      <a:pt x="1120" y="110708"/>
                    </a:lnTo>
                    <a:lnTo>
                      <a:pt x="12650" y="110708"/>
                    </a:lnTo>
                    <a:lnTo>
                      <a:pt x="12538" y="65261"/>
                    </a:lnTo>
                    <a:lnTo>
                      <a:pt x="12538" y="4478"/>
                    </a:lnTo>
                    <a:lnTo>
                      <a:pt x="12538" y="3694"/>
                    </a:lnTo>
                    <a:lnTo>
                      <a:pt x="12314" y="3023"/>
                    </a:lnTo>
                    <a:lnTo>
                      <a:pt x="12090" y="2351"/>
                    </a:lnTo>
                    <a:lnTo>
                      <a:pt x="11754" y="1679"/>
                    </a:lnTo>
                    <a:lnTo>
                      <a:pt x="11642" y="1679"/>
                    </a:lnTo>
                    <a:lnTo>
                      <a:pt x="11307" y="1232"/>
                    </a:lnTo>
                    <a:lnTo>
                      <a:pt x="10971" y="896"/>
                    </a:lnTo>
                    <a:lnTo>
                      <a:pt x="10523" y="560"/>
                    </a:lnTo>
                    <a:lnTo>
                      <a:pt x="10075" y="336"/>
                    </a:lnTo>
                    <a:lnTo>
                      <a:pt x="9516" y="112"/>
                    </a:lnTo>
                    <a:lnTo>
                      <a:pt x="8732" y="0"/>
                    </a:lnTo>
                    <a:close/>
                  </a:path>
                </a:pathLst>
              </a:custGeom>
              <a:solidFill>
                <a:srgbClr val="D25F3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94" name="Google Shape;1894;p16"/>
              <p:cNvSpPr/>
              <p:nvPr/>
            </p:nvSpPr>
            <p:spPr>
              <a:xfrm>
                <a:off x="5925625" y="2709175"/>
                <a:ext cx="316250" cy="2767700"/>
              </a:xfrm>
              <a:custGeom>
                <a:avLst/>
                <a:gdLst/>
                <a:ahLst/>
                <a:cxnLst/>
                <a:rect l="l" t="t" r="r" b="b"/>
                <a:pathLst>
                  <a:path w="12650" h="110708" fill="none" extrusionOk="0">
                    <a:moveTo>
                      <a:pt x="8732" y="0"/>
                    </a:moveTo>
                    <a:lnTo>
                      <a:pt x="8508" y="0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" y="27761"/>
                    </a:lnTo>
                    <a:lnTo>
                      <a:pt x="225" y="56529"/>
                    </a:lnTo>
                    <a:lnTo>
                      <a:pt x="560" y="84738"/>
                    </a:lnTo>
                    <a:lnTo>
                      <a:pt x="784" y="98059"/>
                    </a:lnTo>
                    <a:lnTo>
                      <a:pt x="1120" y="110708"/>
                    </a:lnTo>
                    <a:lnTo>
                      <a:pt x="12650" y="110708"/>
                    </a:lnTo>
                    <a:lnTo>
                      <a:pt x="12538" y="65261"/>
                    </a:lnTo>
                    <a:lnTo>
                      <a:pt x="12538" y="4478"/>
                    </a:lnTo>
                    <a:lnTo>
                      <a:pt x="12538" y="4478"/>
                    </a:lnTo>
                    <a:lnTo>
                      <a:pt x="12538" y="3694"/>
                    </a:lnTo>
                    <a:lnTo>
                      <a:pt x="12314" y="3023"/>
                    </a:lnTo>
                    <a:lnTo>
                      <a:pt x="12090" y="2351"/>
                    </a:lnTo>
                    <a:lnTo>
                      <a:pt x="11754" y="1679"/>
                    </a:lnTo>
                    <a:lnTo>
                      <a:pt x="11754" y="1679"/>
                    </a:lnTo>
                    <a:lnTo>
                      <a:pt x="11754" y="1679"/>
                    </a:lnTo>
                    <a:lnTo>
                      <a:pt x="11754" y="1679"/>
                    </a:lnTo>
                    <a:lnTo>
                      <a:pt x="11754" y="1679"/>
                    </a:lnTo>
                    <a:lnTo>
                      <a:pt x="11754" y="1679"/>
                    </a:lnTo>
                    <a:lnTo>
                      <a:pt x="11642" y="1679"/>
                    </a:lnTo>
                    <a:lnTo>
                      <a:pt x="11642" y="1679"/>
                    </a:lnTo>
                    <a:lnTo>
                      <a:pt x="11642" y="1679"/>
                    </a:lnTo>
                    <a:lnTo>
                      <a:pt x="11642" y="1679"/>
                    </a:lnTo>
                    <a:lnTo>
                      <a:pt x="11307" y="1232"/>
                    </a:lnTo>
                    <a:lnTo>
                      <a:pt x="10971" y="896"/>
                    </a:lnTo>
                    <a:lnTo>
                      <a:pt x="10523" y="560"/>
                    </a:lnTo>
                    <a:lnTo>
                      <a:pt x="10075" y="336"/>
                    </a:lnTo>
                    <a:lnTo>
                      <a:pt x="10075" y="336"/>
                    </a:lnTo>
                    <a:lnTo>
                      <a:pt x="10075" y="336"/>
                    </a:lnTo>
                    <a:lnTo>
                      <a:pt x="10075" y="336"/>
                    </a:lnTo>
                    <a:lnTo>
                      <a:pt x="10075" y="336"/>
                    </a:lnTo>
                    <a:lnTo>
                      <a:pt x="10075" y="336"/>
                    </a:lnTo>
                    <a:lnTo>
                      <a:pt x="9516" y="112"/>
                    </a:lnTo>
                    <a:lnTo>
                      <a:pt x="9516" y="112"/>
                    </a:lnTo>
                    <a:lnTo>
                      <a:pt x="873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95" name="Google Shape;1895;p16"/>
              <p:cNvSpPr/>
              <p:nvPr/>
            </p:nvSpPr>
            <p:spPr>
              <a:xfrm>
                <a:off x="6429350" y="2420925"/>
                <a:ext cx="859150" cy="3055950"/>
              </a:xfrm>
              <a:custGeom>
                <a:avLst/>
                <a:gdLst/>
                <a:ahLst/>
                <a:cxnLst/>
                <a:rect l="l" t="t" r="r" b="b"/>
                <a:pathLst>
                  <a:path w="34366" h="122238" extrusionOk="0">
                    <a:moveTo>
                      <a:pt x="3919" y="1"/>
                    </a:moveTo>
                    <a:lnTo>
                      <a:pt x="2911" y="112"/>
                    </a:lnTo>
                    <a:lnTo>
                      <a:pt x="2128" y="560"/>
                    </a:lnTo>
                    <a:lnTo>
                      <a:pt x="1344" y="1120"/>
                    </a:lnTo>
                    <a:lnTo>
                      <a:pt x="784" y="1792"/>
                    </a:lnTo>
                    <a:lnTo>
                      <a:pt x="449" y="2463"/>
                    </a:lnTo>
                    <a:lnTo>
                      <a:pt x="225" y="3135"/>
                    </a:lnTo>
                    <a:lnTo>
                      <a:pt x="113" y="3806"/>
                    </a:lnTo>
                    <a:lnTo>
                      <a:pt x="1" y="4590"/>
                    </a:lnTo>
                    <a:lnTo>
                      <a:pt x="1" y="122238"/>
                    </a:lnTo>
                    <a:lnTo>
                      <a:pt x="34366" y="122238"/>
                    </a:lnTo>
                    <a:lnTo>
                      <a:pt x="34366" y="4590"/>
                    </a:lnTo>
                    <a:lnTo>
                      <a:pt x="34254" y="3583"/>
                    </a:lnTo>
                    <a:lnTo>
                      <a:pt x="34030" y="2687"/>
                    </a:lnTo>
                    <a:lnTo>
                      <a:pt x="33694" y="1903"/>
                    </a:lnTo>
                    <a:lnTo>
                      <a:pt x="33135" y="1232"/>
                    </a:lnTo>
                    <a:lnTo>
                      <a:pt x="32575" y="784"/>
                    </a:lnTo>
                    <a:lnTo>
                      <a:pt x="31903" y="336"/>
                    </a:lnTo>
                    <a:lnTo>
                      <a:pt x="31232" y="112"/>
                    </a:lnTo>
                    <a:lnTo>
                      <a:pt x="30448" y="1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96" name="Google Shape;1896;p16"/>
              <p:cNvSpPr/>
              <p:nvPr/>
            </p:nvSpPr>
            <p:spPr>
              <a:xfrm>
                <a:off x="6429350" y="2420925"/>
                <a:ext cx="859150" cy="3055950"/>
              </a:xfrm>
              <a:custGeom>
                <a:avLst/>
                <a:gdLst/>
                <a:ahLst/>
                <a:cxnLst/>
                <a:rect l="l" t="t" r="r" b="b"/>
                <a:pathLst>
                  <a:path w="34366" h="122238" fill="none" extrusionOk="0">
                    <a:moveTo>
                      <a:pt x="34366" y="122238"/>
                    </a:moveTo>
                    <a:lnTo>
                      <a:pt x="34366" y="4590"/>
                    </a:lnTo>
                    <a:lnTo>
                      <a:pt x="34366" y="4590"/>
                    </a:lnTo>
                    <a:lnTo>
                      <a:pt x="34254" y="3583"/>
                    </a:lnTo>
                    <a:lnTo>
                      <a:pt x="34030" y="2687"/>
                    </a:lnTo>
                    <a:lnTo>
                      <a:pt x="33694" y="1903"/>
                    </a:lnTo>
                    <a:lnTo>
                      <a:pt x="33135" y="1232"/>
                    </a:lnTo>
                    <a:lnTo>
                      <a:pt x="33135" y="1232"/>
                    </a:lnTo>
                    <a:lnTo>
                      <a:pt x="32575" y="784"/>
                    </a:lnTo>
                    <a:lnTo>
                      <a:pt x="31903" y="336"/>
                    </a:lnTo>
                    <a:lnTo>
                      <a:pt x="31232" y="112"/>
                    </a:lnTo>
                    <a:lnTo>
                      <a:pt x="30448" y="1"/>
                    </a:lnTo>
                    <a:lnTo>
                      <a:pt x="3919" y="1"/>
                    </a:lnTo>
                    <a:lnTo>
                      <a:pt x="3919" y="1"/>
                    </a:lnTo>
                    <a:lnTo>
                      <a:pt x="2911" y="112"/>
                    </a:lnTo>
                    <a:lnTo>
                      <a:pt x="2128" y="560"/>
                    </a:lnTo>
                    <a:lnTo>
                      <a:pt x="1344" y="1120"/>
                    </a:lnTo>
                    <a:lnTo>
                      <a:pt x="784" y="1792"/>
                    </a:lnTo>
                    <a:lnTo>
                      <a:pt x="784" y="1792"/>
                    </a:lnTo>
                    <a:lnTo>
                      <a:pt x="449" y="2463"/>
                    </a:lnTo>
                    <a:lnTo>
                      <a:pt x="225" y="3135"/>
                    </a:lnTo>
                    <a:lnTo>
                      <a:pt x="113" y="3806"/>
                    </a:lnTo>
                    <a:lnTo>
                      <a:pt x="1" y="4590"/>
                    </a:lnTo>
                    <a:lnTo>
                      <a:pt x="1" y="122238"/>
                    </a:lnTo>
                    <a:lnTo>
                      <a:pt x="34366" y="122238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97" name="Google Shape;1897;p16"/>
              <p:cNvSpPr/>
              <p:nvPr/>
            </p:nvSpPr>
            <p:spPr>
              <a:xfrm>
                <a:off x="7266100" y="2462900"/>
                <a:ext cx="22400" cy="3013975"/>
              </a:xfrm>
              <a:custGeom>
                <a:avLst/>
                <a:gdLst/>
                <a:ahLst/>
                <a:cxnLst/>
                <a:rect l="l" t="t" r="r" b="b"/>
                <a:pathLst>
                  <a:path w="896" h="120559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336" y="672"/>
                    </a:lnTo>
                    <a:lnTo>
                      <a:pt x="672" y="1344"/>
                    </a:lnTo>
                    <a:lnTo>
                      <a:pt x="784" y="2015"/>
                    </a:lnTo>
                    <a:lnTo>
                      <a:pt x="896" y="2911"/>
                    </a:lnTo>
                    <a:lnTo>
                      <a:pt x="896" y="120559"/>
                    </a:lnTo>
                    <a:lnTo>
                      <a:pt x="896" y="120559"/>
                    </a:lnTo>
                    <a:lnTo>
                      <a:pt x="896" y="2911"/>
                    </a:lnTo>
                    <a:lnTo>
                      <a:pt x="896" y="2911"/>
                    </a:lnTo>
                    <a:lnTo>
                      <a:pt x="784" y="2015"/>
                    </a:lnTo>
                    <a:lnTo>
                      <a:pt x="672" y="1344"/>
                    </a:lnTo>
                    <a:lnTo>
                      <a:pt x="336" y="672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FDFDF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98" name="Google Shape;1898;p16"/>
              <p:cNvSpPr/>
              <p:nvPr/>
            </p:nvSpPr>
            <p:spPr>
              <a:xfrm>
                <a:off x="7266100" y="2462900"/>
                <a:ext cx="22400" cy="3013975"/>
              </a:xfrm>
              <a:custGeom>
                <a:avLst/>
                <a:gdLst/>
                <a:ahLst/>
                <a:cxnLst/>
                <a:rect l="l" t="t" r="r" b="b"/>
                <a:pathLst>
                  <a:path w="896" h="120559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336" y="672"/>
                    </a:lnTo>
                    <a:lnTo>
                      <a:pt x="672" y="1344"/>
                    </a:lnTo>
                    <a:lnTo>
                      <a:pt x="784" y="2015"/>
                    </a:lnTo>
                    <a:lnTo>
                      <a:pt x="896" y="2911"/>
                    </a:lnTo>
                    <a:lnTo>
                      <a:pt x="896" y="120559"/>
                    </a:lnTo>
                    <a:lnTo>
                      <a:pt x="896" y="120559"/>
                    </a:lnTo>
                    <a:lnTo>
                      <a:pt x="896" y="2911"/>
                    </a:lnTo>
                    <a:lnTo>
                      <a:pt x="896" y="2911"/>
                    </a:lnTo>
                    <a:lnTo>
                      <a:pt x="784" y="2015"/>
                    </a:lnTo>
                    <a:lnTo>
                      <a:pt x="672" y="1344"/>
                    </a:lnTo>
                    <a:lnTo>
                      <a:pt x="336" y="672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99" name="Google Shape;1899;p16"/>
              <p:cNvSpPr/>
              <p:nvPr/>
            </p:nvSpPr>
            <p:spPr>
              <a:xfrm>
                <a:off x="6975050" y="2420925"/>
                <a:ext cx="313450" cy="3055950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122238" extrusionOk="0">
                    <a:moveTo>
                      <a:pt x="113" y="1"/>
                    </a:moveTo>
                    <a:lnTo>
                      <a:pt x="1" y="27649"/>
                    </a:lnTo>
                    <a:lnTo>
                      <a:pt x="113" y="58880"/>
                    </a:lnTo>
                    <a:lnTo>
                      <a:pt x="449" y="91231"/>
                    </a:lnTo>
                    <a:lnTo>
                      <a:pt x="896" y="122238"/>
                    </a:lnTo>
                    <a:lnTo>
                      <a:pt x="12538" y="122238"/>
                    </a:lnTo>
                    <a:lnTo>
                      <a:pt x="12538" y="4590"/>
                    </a:lnTo>
                    <a:lnTo>
                      <a:pt x="12426" y="3694"/>
                    </a:lnTo>
                    <a:lnTo>
                      <a:pt x="12314" y="3023"/>
                    </a:lnTo>
                    <a:lnTo>
                      <a:pt x="11978" y="2351"/>
                    </a:lnTo>
                    <a:lnTo>
                      <a:pt x="11643" y="1680"/>
                    </a:lnTo>
                    <a:lnTo>
                      <a:pt x="11083" y="1008"/>
                    </a:lnTo>
                    <a:lnTo>
                      <a:pt x="10299" y="448"/>
                    </a:lnTo>
                    <a:lnTo>
                      <a:pt x="9516" y="112"/>
                    </a:lnTo>
                    <a:lnTo>
                      <a:pt x="8620" y="1"/>
                    </a:lnTo>
                    <a:close/>
                  </a:path>
                </a:pathLst>
              </a:custGeom>
              <a:solidFill>
                <a:srgbClr val="D25F3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00" name="Google Shape;1900;p16"/>
              <p:cNvSpPr/>
              <p:nvPr/>
            </p:nvSpPr>
            <p:spPr>
              <a:xfrm>
                <a:off x="6975050" y="2420925"/>
                <a:ext cx="313450" cy="3055950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122238" fill="none" extrusionOk="0">
                    <a:moveTo>
                      <a:pt x="8620" y="1"/>
                    </a:moveTo>
                    <a:lnTo>
                      <a:pt x="8620" y="1"/>
                    </a:lnTo>
                    <a:lnTo>
                      <a:pt x="8620" y="1"/>
                    </a:lnTo>
                    <a:lnTo>
                      <a:pt x="113" y="1"/>
                    </a:lnTo>
                    <a:lnTo>
                      <a:pt x="113" y="1"/>
                    </a:lnTo>
                    <a:lnTo>
                      <a:pt x="1" y="27649"/>
                    </a:lnTo>
                    <a:lnTo>
                      <a:pt x="113" y="58880"/>
                    </a:lnTo>
                    <a:lnTo>
                      <a:pt x="449" y="91231"/>
                    </a:lnTo>
                    <a:lnTo>
                      <a:pt x="896" y="122238"/>
                    </a:lnTo>
                    <a:lnTo>
                      <a:pt x="12538" y="122238"/>
                    </a:lnTo>
                    <a:lnTo>
                      <a:pt x="12538" y="4590"/>
                    </a:lnTo>
                    <a:lnTo>
                      <a:pt x="12538" y="4590"/>
                    </a:lnTo>
                    <a:lnTo>
                      <a:pt x="12426" y="3694"/>
                    </a:lnTo>
                    <a:lnTo>
                      <a:pt x="12314" y="3023"/>
                    </a:lnTo>
                    <a:lnTo>
                      <a:pt x="11978" y="2351"/>
                    </a:lnTo>
                    <a:lnTo>
                      <a:pt x="11643" y="1680"/>
                    </a:lnTo>
                    <a:lnTo>
                      <a:pt x="11643" y="1680"/>
                    </a:lnTo>
                    <a:lnTo>
                      <a:pt x="11083" y="1008"/>
                    </a:lnTo>
                    <a:lnTo>
                      <a:pt x="10299" y="448"/>
                    </a:lnTo>
                    <a:lnTo>
                      <a:pt x="9516" y="112"/>
                    </a:lnTo>
                    <a:lnTo>
                      <a:pt x="862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01" name="Google Shape;1901;p16"/>
              <p:cNvSpPr/>
              <p:nvPr/>
            </p:nvSpPr>
            <p:spPr>
              <a:xfrm>
                <a:off x="4316500" y="3019800"/>
                <a:ext cx="859175" cy="2457075"/>
              </a:xfrm>
              <a:custGeom>
                <a:avLst/>
                <a:gdLst/>
                <a:ahLst/>
                <a:cxnLst/>
                <a:rect l="l" t="t" r="r" b="b"/>
                <a:pathLst>
                  <a:path w="34367" h="98283" extrusionOk="0">
                    <a:moveTo>
                      <a:pt x="3919" y="0"/>
                    </a:moveTo>
                    <a:lnTo>
                      <a:pt x="2911" y="112"/>
                    </a:lnTo>
                    <a:lnTo>
                      <a:pt x="2016" y="448"/>
                    </a:lnTo>
                    <a:lnTo>
                      <a:pt x="1456" y="784"/>
                    </a:lnTo>
                    <a:lnTo>
                      <a:pt x="1008" y="1120"/>
                    </a:lnTo>
                    <a:lnTo>
                      <a:pt x="561" y="1680"/>
                    </a:lnTo>
                    <a:lnTo>
                      <a:pt x="337" y="2239"/>
                    </a:lnTo>
                    <a:lnTo>
                      <a:pt x="113" y="2799"/>
                    </a:lnTo>
                    <a:lnTo>
                      <a:pt x="1" y="3471"/>
                    </a:lnTo>
                    <a:lnTo>
                      <a:pt x="113" y="98283"/>
                    </a:lnTo>
                    <a:lnTo>
                      <a:pt x="34366" y="98283"/>
                    </a:lnTo>
                    <a:lnTo>
                      <a:pt x="34366" y="3471"/>
                    </a:lnTo>
                    <a:lnTo>
                      <a:pt x="34366" y="3359"/>
                    </a:lnTo>
                    <a:lnTo>
                      <a:pt x="34366" y="2911"/>
                    </a:lnTo>
                    <a:lnTo>
                      <a:pt x="34254" y="2575"/>
                    </a:lnTo>
                    <a:lnTo>
                      <a:pt x="34254" y="2463"/>
                    </a:lnTo>
                    <a:lnTo>
                      <a:pt x="34030" y="2127"/>
                    </a:lnTo>
                    <a:lnTo>
                      <a:pt x="33918" y="1791"/>
                    </a:lnTo>
                    <a:lnTo>
                      <a:pt x="33695" y="1568"/>
                    </a:lnTo>
                    <a:lnTo>
                      <a:pt x="33135" y="896"/>
                    </a:lnTo>
                    <a:lnTo>
                      <a:pt x="33023" y="784"/>
                    </a:lnTo>
                    <a:lnTo>
                      <a:pt x="32463" y="448"/>
                    </a:lnTo>
                    <a:lnTo>
                      <a:pt x="31792" y="224"/>
                    </a:lnTo>
                    <a:lnTo>
                      <a:pt x="31456" y="112"/>
                    </a:lnTo>
                    <a:lnTo>
                      <a:pt x="30560" y="0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02" name="Google Shape;1902;p16"/>
              <p:cNvSpPr/>
              <p:nvPr/>
            </p:nvSpPr>
            <p:spPr>
              <a:xfrm>
                <a:off x="4316500" y="3019800"/>
                <a:ext cx="859175" cy="2457075"/>
              </a:xfrm>
              <a:custGeom>
                <a:avLst/>
                <a:gdLst/>
                <a:ahLst/>
                <a:cxnLst/>
                <a:rect l="l" t="t" r="r" b="b"/>
                <a:pathLst>
                  <a:path w="34367" h="98283" fill="none" extrusionOk="0">
                    <a:moveTo>
                      <a:pt x="34366" y="98283"/>
                    </a:moveTo>
                    <a:lnTo>
                      <a:pt x="34366" y="3471"/>
                    </a:lnTo>
                    <a:lnTo>
                      <a:pt x="34366" y="3471"/>
                    </a:lnTo>
                    <a:lnTo>
                      <a:pt x="34366" y="3359"/>
                    </a:lnTo>
                    <a:lnTo>
                      <a:pt x="34366" y="3359"/>
                    </a:lnTo>
                    <a:lnTo>
                      <a:pt x="34366" y="2911"/>
                    </a:lnTo>
                    <a:lnTo>
                      <a:pt x="34366" y="2911"/>
                    </a:lnTo>
                    <a:lnTo>
                      <a:pt x="34254" y="2575"/>
                    </a:lnTo>
                    <a:lnTo>
                      <a:pt x="34254" y="2575"/>
                    </a:lnTo>
                    <a:lnTo>
                      <a:pt x="34254" y="2463"/>
                    </a:lnTo>
                    <a:lnTo>
                      <a:pt x="34254" y="2463"/>
                    </a:lnTo>
                    <a:lnTo>
                      <a:pt x="34030" y="2127"/>
                    </a:lnTo>
                    <a:lnTo>
                      <a:pt x="34030" y="2127"/>
                    </a:lnTo>
                    <a:lnTo>
                      <a:pt x="33918" y="1791"/>
                    </a:lnTo>
                    <a:lnTo>
                      <a:pt x="33918" y="1791"/>
                    </a:lnTo>
                    <a:lnTo>
                      <a:pt x="33695" y="1568"/>
                    </a:lnTo>
                    <a:lnTo>
                      <a:pt x="33695" y="1568"/>
                    </a:lnTo>
                    <a:lnTo>
                      <a:pt x="33135" y="896"/>
                    </a:lnTo>
                    <a:lnTo>
                      <a:pt x="33135" y="896"/>
                    </a:lnTo>
                    <a:lnTo>
                      <a:pt x="33023" y="784"/>
                    </a:lnTo>
                    <a:lnTo>
                      <a:pt x="33023" y="784"/>
                    </a:lnTo>
                    <a:lnTo>
                      <a:pt x="32463" y="448"/>
                    </a:lnTo>
                    <a:lnTo>
                      <a:pt x="31792" y="224"/>
                    </a:lnTo>
                    <a:lnTo>
                      <a:pt x="31792" y="224"/>
                    </a:lnTo>
                    <a:lnTo>
                      <a:pt x="31456" y="112"/>
                    </a:lnTo>
                    <a:lnTo>
                      <a:pt x="31456" y="112"/>
                    </a:lnTo>
                    <a:lnTo>
                      <a:pt x="31456" y="112"/>
                    </a:lnTo>
                    <a:lnTo>
                      <a:pt x="30560" y="0"/>
                    </a:lnTo>
                    <a:lnTo>
                      <a:pt x="21941" y="0"/>
                    </a:lnTo>
                    <a:lnTo>
                      <a:pt x="17463" y="0"/>
                    </a:lnTo>
                    <a:lnTo>
                      <a:pt x="3919" y="0"/>
                    </a:lnTo>
                    <a:lnTo>
                      <a:pt x="3919" y="0"/>
                    </a:lnTo>
                    <a:lnTo>
                      <a:pt x="2911" y="112"/>
                    </a:lnTo>
                    <a:lnTo>
                      <a:pt x="2016" y="448"/>
                    </a:lnTo>
                    <a:lnTo>
                      <a:pt x="2016" y="448"/>
                    </a:lnTo>
                    <a:lnTo>
                      <a:pt x="2016" y="448"/>
                    </a:lnTo>
                    <a:lnTo>
                      <a:pt x="1456" y="784"/>
                    </a:lnTo>
                    <a:lnTo>
                      <a:pt x="1008" y="1120"/>
                    </a:lnTo>
                    <a:lnTo>
                      <a:pt x="1008" y="1120"/>
                    </a:lnTo>
                    <a:lnTo>
                      <a:pt x="561" y="1680"/>
                    </a:lnTo>
                    <a:lnTo>
                      <a:pt x="337" y="2239"/>
                    </a:lnTo>
                    <a:lnTo>
                      <a:pt x="113" y="2799"/>
                    </a:lnTo>
                    <a:lnTo>
                      <a:pt x="1" y="3471"/>
                    </a:lnTo>
                    <a:lnTo>
                      <a:pt x="113" y="98283"/>
                    </a:lnTo>
                    <a:lnTo>
                      <a:pt x="34366" y="98283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03" name="Google Shape;1903;p16"/>
              <p:cNvSpPr/>
              <p:nvPr/>
            </p:nvSpPr>
            <p:spPr>
              <a:xfrm>
                <a:off x="4862225" y="3019800"/>
                <a:ext cx="313450" cy="2457075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98283" extrusionOk="0">
                    <a:moveTo>
                      <a:pt x="112" y="0"/>
                    </a:moveTo>
                    <a:lnTo>
                      <a:pt x="112" y="2015"/>
                    </a:lnTo>
                    <a:lnTo>
                      <a:pt x="0" y="24627"/>
                    </a:lnTo>
                    <a:lnTo>
                      <a:pt x="224" y="49813"/>
                    </a:lnTo>
                    <a:lnTo>
                      <a:pt x="672" y="75224"/>
                    </a:lnTo>
                    <a:lnTo>
                      <a:pt x="896" y="87201"/>
                    </a:lnTo>
                    <a:lnTo>
                      <a:pt x="1231" y="98283"/>
                    </a:lnTo>
                    <a:lnTo>
                      <a:pt x="12537" y="98283"/>
                    </a:lnTo>
                    <a:lnTo>
                      <a:pt x="12537" y="3471"/>
                    </a:lnTo>
                    <a:lnTo>
                      <a:pt x="12537" y="3359"/>
                    </a:lnTo>
                    <a:lnTo>
                      <a:pt x="12537" y="2911"/>
                    </a:lnTo>
                    <a:lnTo>
                      <a:pt x="12425" y="2575"/>
                    </a:lnTo>
                    <a:lnTo>
                      <a:pt x="12425" y="2463"/>
                    </a:lnTo>
                    <a:lnTo>
                      <a:pt x="12201" y="2127"/>
                    </a:lnTo>
                    <a:lnTo>
                      <a:pt x="12089" y="1791"/>
                    </a:lnTo>
                    <a:lnTo>
                      <a:pt x="11866" y="1568"/>
                    </a:lnTo>
                    <a:lnTo>
                      <a:pt x="11306" y="896"/>
                    </a:lnTo>
                    <a:lnTo>
                      <a:pt x="11194" y="784"/>
                    </a:lnTo>
                    <a:lnTo>
                      <a:pt x="10634" y="448"/>
                    </a:lnTo>
                    <a:lnTo>
                      <a:pt x="9963" y="224"/>
                    </a:lnTo>
                    <a:lnTo>
                      <a:pt x="9627" y="112"/>
                    </a:lnTo>
                    <a:lnTo>
                      <a:pt x="8731" y="0"/>
                    </a:lnTo>
                    <a:close/>
                  </a:path>
                </a:pathLst>
              </a:custGeom>
              <a:solidFill>
                <a:srgbClr val="D25F3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04" name="Google Shape;1904;p16"/>
              <p:cNvSpPr/>
              <p:nvPr/>
            </p:nvSpPr>
            <p:spPr>
              <a:xfrm>
                <a:off x="4862225" y="3019800"/>
                <a:ext cx="313450" cy="2457075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98283" fill="none" extrusionOk="0">
                    <a:moveTo>
                      <a:pt x="8731" y="0"/>
                    </a:moveTo>
                    <a:lnTo>
                      <a:pt x="112" y="0"/>
                    </a:lnTo>
                    <a:lnTo>
                      <a:pt x="112" y="0"/>
                    </a:lnTo>
                    <a:lnTo>
                      <a:pt x="112" y="2015"/>
                    </a:lnTo>
                    <a:lnTo>
                      <a:pt x="112" y="2015"/>
                    </a:lnTo>
                    <a:lnTo>
                      <a:pt x="0" y="24627"/>
                    </a:lnTo>
                    <a:lnTo>
                      <a:pt x="224" y="49813"/>
                    </a:lnTo>
                    <a:lnTo>
                      <a:pt x="672" y="75224"/>
                    </a:lnTo>
                    <a:lnTo>
                      <a:pt x="896" y="87201"/>
                    </a:lnTo>
                    <a:lnTo>
                      <a:pt x="1231" y="98283"/>
                    </a:lnTo>
                    <a:lnTo>
                      <a:pt x="12537" y="98283"/>
                    </a:lnTo>
                    <a:lnTo>
                      <a:pt x="12537" y="3471"/>
                    </a:lnTo>
                    <a:lnTo>
                      <a:pt x="12537" y="3471"/>
                    </a:lnTo>
                    <a:lnTo>
                      <a:pt x="12537" y="3359"/>
                    </a:lnTo>
                    <a:lnTo>
                      <a:pt x="12537" y="3359"/>
                    </a:lnTo>
                    <a:lnTo>
                      <a:pt x="12537" y="3359"/>
                    </a:lnTo>
                    <a:lnTo>
                      <a:pt x="12537" y="2911"/>
                    </a:lnTo>
                    <a:lnTo>
                      <a:pt x="12537" y="2911"/>
                    </a:lnTo>
                    <a:lnTo>
                      <a:pt x="12537" y="2911"/>
                    </a:lnTo>
                    <a:lnTo>
                      <a:pt x="12537" y="2911"/>
                    </a:lnTo>
                    <a:lnTo>
                      <a:pt x="12425" y="2575"/>
                    </a:lnTo>
                    <a:lnTo>
                      <a:pt x="12425" y="2575"/>
                    </a:lnTo>
                    <a:lnTo>
                      <a:pt x="12425" y="2575"/>
                    </a:lnTo>
                    <a:lnTo>
                      <a:pt x="12425" y="2463"/>
                    </a:lnTo>
                    <a:lnTo>
                      <a:pt x="12425" y="2463"/>
                    </a:lnTo>
                    <a:lnTo>
                      <a:pt x="12425" y="2463"/>
                    </a:lnTo>
                    <a:lnTo>
                      <a:pt x="12201" y="2127"/>
                    </a:lnTo>
                    <a:lnTo>
                      <a:pt x="12201" y="2127"/>
                    </a:lnTo>
                    <a:lnTo>
                      <a:pt x="12201" y="2127"/>
                    </a:lnTo>
                    <a:lnTo>
                      <a:pt x="12089" y="1791"/>
                    </a:lnTo>
                    <a:lnTo>
                      <a:pt x="12089" y="1791"/>
                    </a:lnTo>
                    <a:lnTo>
                      <a:pt x="11866" y="1568"/>
                    </a:lnTo>
                    <a:lnTo>
                      <a:pt x="11866" y="1568"/>
                    </a:lnTo>
                    <a:lnTo>
                      <a:pt x="11306" y="896"/>
                    </a:lnTo>
                    <a:lnTo>
                      <a:pt x="11306" y="896"/>
                    </a:lnTo>
                    <a:lnTo>
                      <a:pt x="11194" y="784"/>
                    </a:lnTo>
                    <a:lnTo>
                      <a:pt x="11194" y="784"/>
                    </a:lnTo>
                    <a:lnTo>
                      <a:pt x="10634" y="448"/>
                    </a:lnTo>
                    <a:lnTo>
                      <a:pt x="9963" y="224"/>
                    </a:lnTo>
                    <a:lnTo>
                      <a:pt x="9963" y="224"/>
                    </a:lnTo>
                    <a:lnTo>
                      <a:pt x="9963" y="224"/>
                    </a:lnTo>
                    <a:lnTo>
                      <a:pt x="9627" y="112"/>
                    </a:lnTo>
                    <a:lnTo>
                      <a:pt x="9627" y="112"/>
                    </a:lnTo>
                    <a:lnTo>
                      <a:pt x="9627" y="112"/>
                    </a:lnTo>
                    <a:lnTo>
                      <a:pt x="9627" y="112"/>
                    </a:lnTo>
                    <a:lnTo>
                      <a:pt x="9627" y="112"/>
                    </a:lnTo>
                    <a:lnTo>
                      <a:pt x="873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05" name="Google Shape;1905;p16"/>
              <p:cNvSpPr/>
              <p:nvPr/>
            </p:nvSpPr>
            <p:spPr>
              <a:xfrm>
                <a:off x="3219500" y="3336025"/>
                <a:ext cx="859175" cy="2140850"/>
              </a:xfrm>
              <a:custGeom>
                <a:avLst/>
                <a:gdLst/>
                <a:ahLst/>
                <a:cxnLst/>
                <a:rect l="l" t="t" r="r" b="b"/>
                <a:pathLst>
                  <a:path w="34367" h="85634" extrusionOk="0">
                    <a:moveTo>
                      <a:pt x="3807" y="1"/>
                    </a:moveTo>
                    <a:lnTo>
                      <a:pt x="3023" y="113"/>
                    </a:lnTo>
                    <a:lnTo>
                      <a:pt x="2352" y="336"/>
                    </a:lnTo>
                    <a:lnTo>
                      <a:pt x="1680" y="672"/>
                    </a:lnTo>
                    <a:lnTo>
                      <a:pt x="1120" y="1008"/>
                    </a:lnTo>
                    <a:lnTo>
                      <a:pt x="673" y="1568"/>
                    </a:lnTo>
                    <a:lnTo>
                      <a:pt x="337" y="2127"/>
                    </a:lnTo>
                    <a:lnTo>
                      <a:pt x="113" y="2799"/>
                    </a:lnTo>
                    <a:lnTo>
                      <a:pt x="1" y="3471"/>
                    </a:lnTo>
                    <a:lnTo>
                      <a:pt x="1" y="85634"/>
                    </a:lnTo>
                    <a:lnTo>
                      <a:pt x="34366" y="85634"/>
                    </a:lnTo>
                    <a:lnTo>
                      <a:pt x="34366" y="3471"/>
                    </a:lnTo>
                    <a:lnTo>
                      <a:pt x="34254" y="2799"/>
                    </a:lnTo>
                    <a:lnTo>
                      <a:pt x="34030" y="2127"/>
                    </a:lnTo>
                    <a:lnTo>
                      <a:pt x="33695" y="1568"/>
                    </a:lnTo>
                    <a:lnTo>
                      <a:pt x="33247" y="1008"/>
                    </a:lnTo>
                    <a:lnTo>
                      <a:pt x="32575" y="560"/>
                    </a:lnTo>
                    <a:lnTo>
                      <a:pt x="32015" y="336"/>
                    </a:lnTo>
                    <a:lnTo>
                      <a:pt x="31232" y="113"/>
                    </a:lnTo>
                    <a:lnTo>
                      <a:pt x="30448" y="1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06" name="Google Shape;1906;p16"/>
              <p:cNvSpPr/>
              <p:nvPr/>
            </p:nvSpPr>
            <p:spPr>
              <a:xfrm>
                <a:off x="3219500" y="3336025"/>
                <a:ext cx="859175" cy="2140850"/>
              </a:xfrm>
              <a:custGeom>
                <a:avLst/>
                <a:gdLst/>
                <a:ahLst/>
                <a:cxnLst/>
                <a:rect l="l" t="t" r="r" b="b"/>
                <a:pathLst>
                  <a:path w="34367" h="85634" fill="none" extrusionOk="0">
                    <a:moveTo>
                      <a:pt x="34366" y="85634"/>
                    </a:moveTo>
                    <a:lnTo>
                      <a:pt x="34366" y="3471"/>
                    </a:lnTo>
                    <a:lnTo>
                      <a:pt x="34366" y="3471"/>
                    </a:lnTo>
                    <a:lnTo>
                      <a:pt x="34254" y="2799"/>
                    </a:lnTo>
                    <a:lnTo>
                      <a:pt x="34030" y="2127"/>
                    </a:lnTo>
                    <a:lnTo>
                      <a:pt x="33695" y="1568"/>
                    </a:lnTo>
                    <a:lnTo>
                      <a:pt x="33247" y="1008"/>
                    </a:lnTo>
                    <a:lnTo>
                      <a:pt x="32575" y="560"/>
                    </a:lnTo>
                    <a:lnTo>
                      <a:pt x="32015" y="336"/>
                    </a:lnTo>
                    <a:lnTo>
                      <a:pt x="31232" y="113"/>
                    </a:lnTo>
                    <a:lnTo>
                      <a:pt x="30448" y="1"/>
                    </a:lnTo>
                    <a:lnTo>
                      <a:pt x="3807" y="1"/>
                    </a:lnTo>
                    <a:lnTo>
                      <a:pt x="3807" y="1"/>
                    </a:lnTo>
                    <a:lnTo>
                      <a:pt x="3023" y="113"/>
                    </a:lnTo>
                    <a:lnTo>
                      <a:pt x="2352" y="336"/>
                    </a:lnTo>
                    <a:lnTo>
                      <a:pt x="1680" y="672"/>
                    </a:lnTo>
                    <a:lnTo>
                      <a:pt x="1120" y="1008"/>
                    </a:lnTo>
                    <a:lnTo>
                      <a:pt x="673" y="1568"/>
                    </a:lnTo>
                    <a:lnTo>
                      <a:pt x="337" y="2127"/>
                    </a:lnTo>
                    <a:lnTo>
                      <a:pt x="113" y="2799"/>
                    </a:lnTo>
                    <a:lnTo>
                      <a:pt x="1" y="3471"/>
                    </a:lnTo>
                    <a:lnTo>
                      <a:pt x="1" y="85634"/>
                    </a:lnTo>
                    <a:lnTo>
                      <a:pt x="34366" y="85634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07" name="Google Shape;1907;p16"/>
              <p:cNvSpPr/>
              <p:nvPr/>
            </p:nvSpPr>
            <p:spPr>
              <a:xfrm>
                <a:off x="3765200" y="3336025"/>
                <a:ext cx="313475" cy="2140850"/>
              </a:xfrm>
              <a:custGeom>
                <a:avLst/>
                <a:gdLst/>
                <a:ahLst/>
                <a:cxnLst/>
                <a:rect l="l" t="t" r="r" b="b"/>
                <a:pathLst>
                  <a:path w="12539" h="85634" extrusionOk="0">
                    <a:moveTo>
                      <a:pt x="1" y="1"/>
                    </a:moveTo>
                    <a:lnTo>
                      <a:pt x="1" y="12202"/>
                    </a:lnTo>
                    <a:lnTo>
                      <a:pt x="1" y="24068"/>
                    </a:lnTo>
                    <a:lnTo>
                      <a:pt x="113" y="35709"/>
                    </a:lnTo>
                    <a:lnTo>
                      <a:pt x="225" y="46903"/>
                    </a:lnTo>
                    <a:lnTo>
                      <a:pt x="449" y="57649"/>
                    </a:lnTo>
                    <a:lnTo>
                      <a:pt x="785" y="67724"/>
                    </a:lnTo>
                    <a:lnTo>
                      <a:pt x="1232" y="77127"/>
                    </a:lnTo>
                    <a:lnTo>
                      <a:pt x="1680" y="85634"/>
                    </a:lnTo>
                    <a:lnTo>
                      <a:pt x="12538" y="85634"/>
                    </a:lnTo>
                    <a:lnTo>
                      <a:pt x="12538" y="3471"/>
                    </a:lnTo>
                    <a:lnTo>
                      <a:pt x="12426" y="2799"/>
                    </a:lnTo>
                    <a:lnTo>
                      <a:pt x="12202" y="2127"/>
                    </a:lnTo>
                    <a:lnTo>
                      <a:pt x="11867" y="1568"/>
                    </a:lnTo>
                    <a:lnTo>
                      <a:pt x="11419" y="1008"/>
                    </a:lnTo>
                    <a:lnTo>
                      <a:pt x="10747" y="560"/>
                    </a:lnTo>
                    <a:lnTo>
                      <a:pt x="10187" y="336"/>
                    </a:lnTo>
                    <a:lnTo>
                      <a:pt x="9404" y="113"/>
                    </a:lnTo>
                    <a:lnTo>
                      <a:pt x="8620" y="1"/>
                    </a:lnTo>
                    <a:close/>
                  </a:path>
                </a:pathLst>
              </a:custGeom>
              <a:solidFill>
                <a:srgbClr val="D25F3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08" name="Google Shape;1908;p16"/>
              <p:cNvSpPr/>
              <p:nvPr/>
            </p:nvSpPr>
            <p:spPr>
              <a:xfrm>
                <a:off x="3765200" y="3336025"/>
                <a:ext cx="313475" cy="2140850"/>
              </a:xfrm>
              <a:custGeom>
                <a:avLst/>
                <a:gdLst/>
                <a:ahLst/>
                <a:cxnLst/>
                <a:rect l="l" t="t" r="r" b="b"/>
                <a:pathLst>
                  <a:path w="12539" h="85634" fill="none" extrusionOk="0">
                    <a:moveTo>
                      <a:pt x="8620" y="1"/>
                    </a:moveTo>
                    <a:lnTo>
                      <a:pt x="8620" y="1"/>
                    </a:lnTo>
                    <a:lnTo>
                      <a:pt x="8620" y="1"/>
                    </a:lnTo>
                    <a:lnTo>
                      <a:pt x="8620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2202"/>
                    </a:lnTo>
                    <a:lnTo>
                      <a:pt x="1" y="24068"/>
                    </a:lnTo>
                    <a:lnTo>
                      <a:pt x="113" y="35709"/>
                    </a:lnTo>
                    <a:lnTo>
                      <a:pt x="225" y="46903"/>
                    </a:lnTo>
                    <a:lnTo>
                      <a:pt x="449" y="57649"/>
                    </a:lnTo>
                    <a:lnTo>
                      <a:pt x="785" y="67724"/>
                    </a:lnTo>
                    <a:lnTo>
                      <a:pt x="1232" y="77127"/>
                    </a:lnTo>
                    <a:lnTo>
                      <a:pt x="1680" y="85634"/>
                    </a:lnTo>
                    <a:lnTo>
                      <a:pt x="12538" y="85634"/>
                    </a:lnTo>
                    <a:lnTo>
                      <a:pt x="12538" y="3471"/>
                    </a:lnTo>
                    <a:lnTo>
                      <a:pt x="12538" y="3471"/>
                    </a:lnTo>
                    <a:lnTo>
                      <a:pt x="12426" y="2799"/>
                    </a:lnTo>
                    <a:lnTo>
                      <a:pt x="12202" y="2127"/>
                    </a:lnTo>
                    <a:lnTo>
                      <a:pt x="11867" y="1568"/>
                    </a:lnTo>
                    <a:lnTo>
                      <a:pt x="11419" y="1008"/>
                    </a:lnTo>
                    <a:lnTo>
                      <a:pt x="10747" y="560"/>
                    </a:lnTo>
                    <a:lnTo>
                      <a:pt x="10187" y="336"/>
                    </a:lnTo>
                    <a:lnTo>
                      <a:pt x="9404" y="113"/>
                    </a:lnTo>
                    <a:lnTo>
                      <a:pt x="862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09" name="Google Shape;1909;p16"/>
              <p:cNvSpPr/>
              <p:nvPr/>
            </p:nvSpPr>
            <p:spPr>
              <a:xfrm>
                <a:off x="2144900" y="3683050"/>
                <a:ext cx="859150" cy="1793825"/>
              </a:xfrm>
              <a:custGeom>
                <a:avLst/>
                <a:gdLst/>
                <a:ahLst/>
                <a:cxnLst/>
                <a:rect l="l" t="t" r="r" b="b"/>
                <a:pathLst>
                  <a:path w="34366" h="71753" extrusionOk="0">
                    <a:moveTo>
                      <a:pt x="3806" y="0"/>
                    </a:moveTo>
                    <a:lnTo>
                      <a:pt x="2799" y="112"/>
                    </a:lnTo>
                    <a:lnTo>
                      <a:pt x="1903" y="448"/>
                    </a:lnTo>
                    <a:lnTo>
                      <a:pt x="1232" y="896"/>
                    </a:lnTo>
                    <a:lnTo>
                      <a:pt x="560" y="1567"/>
                    </a:lnTo>
                    <a:lnTo>
                      <a:pt x="336" y="2015"/>
                    </a:lnTo>
                    <a:lnTo>
                      <a:pt x="112" y="2463"/>
                    </a:lnTo>
                    <a:lnTo>
                      <a:pt x="0" y="2910"/>
                    </a:lnTo>
                    <a:lnTo>
                      <a:pt x="0" y="3470"/>
                    </a:lnTo>
                    <a:lnTo>
                      <a:pt x="0" y="71753"/>
                    </a:lnTo>
                    <a:lnTo>
                      <a:pt x="34366" y="71753"/>
                    </a:lnTo>
                    <a:lnTo>
                      <a:pt x="34254" y="3470"/>
                    </a:lnTo>
                    <a:lnTo>
                      <a:pt x="34254" y="2910"/>
                    </a:lnTo>
                    <a:lnTo>
                      <a:pt x="34030" y="2351"/>
                    </a:lnTo>
                    <a:lnTo>
                      <a:pt x="33806" y="1791"/>
                    </a:lnTo>
                    <a:lnTo>
                      <a:pt x="33470" y="1343"/>
                    </a:lnTo>
                    <a:lnTo>
                      <a:pt x="32910" y="784"/>
                    </a:lnTo>
                    <a:lnTo>
                      <a:pt x="32239" y="336"/>
                    </a:lnTo>
                    <a:lnTo>
                      <a:pt x="31455" y="112"/>
                    </a:lnTo>
                    <a:lnTo>
                      <a:pt x="30560" y="0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10" name="Google Shape;1910;p16"/>
              <p:cNvSpPr/>
              <p:nvPr/>
            </p:nvSpPr>
            <p:spPr>
              <a:xfrm>
                <a:off x="2144900" y="3683050"/>
                <a:ext cx="859150" cy="1793825"/>
              </a:xfrm>
              <a:custGeom>
                <a:avLst/>
                <a:gdLst/>
                <a:ahLst/>
                <a:cxnLst/>
                <a:rect l="l" t="t" r="r" b="b"/>
                <a:pathLst>
                  <a:path w="34366" h="71753" fill="none" extrusionOk="0">
                    <a:moveTo>
                      <a:pt x="34366" y="71753"/>
                    </a:moveTo>
                    <a:lnTo>
                      <a:pt x="34254" y="3470"/>
                    </a:lnTo>
                    <a:lnTo>
                      <a:pt x="34254" y="3470"/>
                    </a:lnTo>
                    <a:lnTo>
                      <a:pt x="34254" y="2910"/>
                    </a:lnTo>
                    <a:lnTo>
                      <a:pt x="34030" y="2351"/>
                    </a:lnTo>
                    <a:lnTo>
                      <a:pt x="33806" y="1791"/>
                    </a:lnTo>
                    <a:lnTo>
                      <a:pt x="33470" y="1343"/>
                    </a:lnTo>
                    <a:lnTo>
                      <a:pt x="33470" y="1343"/>
                    </a:lnTo>
                    <a:lnTo>
                      <a:pt x="32910" y="784"/>
                    </a:lnTo>
                    <a:lnTo>
                      <a:pt x="32239" y="336"/>
                    </a:lnTo>
                    <a:lnTo>
                      <a:pt x="31455" y="112"/>
                    </a:lnTo>
                    <a:lnTo>
                      <a:pt x="30560" y="0"/>
                    </a:lnTo>
                    <a:lnTo>
                      <a:pt x="30448" y="0"/>
                    </a:lnTo>
                    <a:lnTo>
                      <a:pt x="28657" y="0"/>
                    </a:lnTo>
                    <a:lnTo>
                      <a:pt x="21828" y="0"/>
                    </a:lnTo>
                    <a:lnTo>
                      <a:pt x="4702" y="0"/>
                    </a:lnTo>
                    <a:lnTo>
                      <a:pt x="3806" y="0"/>
                    </a:lnTo>
                    <a:lnTo>
                      <a:pt x="3806" y="0"/>
                    </a:lnTo>
                    <a:lnTo>
                      <a:pt x="2799" y="112"/>
                    </a:lnTo>
                    <a:lnTo>
                      <a:pt x="1903" y="448"/>
                    </a:lnTo>
                    <a:lnTo>
                      <a:pt x="1232" y="896"/>
                    </a:lnTo>
                    <a:lnTo>
                      <a:pt x="560" y="1567"/>
                    </a:lnTo>
                    <a:lnTo>
                      <a:pt x="560" y="1567"/>
                    </a:lnTo>
                    <a:lnTo>
                      <a:pt x="560" y="1567"/>
                    </a:lnTo>
                    <a:lnTo>
                      <a:pt x="336" y="2015"/>
                    </a:lnTo>
                    <a:lnTo>
                      <a:pt x="112" y="2463"/>
                    </a:lnTo>
                    <a:lnTo>
                      <a:pt x="0" y="2910"/>
                    </a:lnTo>
                    <a:lnTo>
                      <a:pt x="0" y="3470"/>
                    </a:lnTo>
                    <a:lnTo>
                      <a:pt x="0" y="71753"/>
                    </a:lnTo>
                    <a:lnTo>
                      <a:pt x="34366" y="71753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11" name="Google Shape;1911;p16"/>
              <p:cNvSpPr/>
              <p:nvPr/>
            </p:nvSpPr>
            <p:spPr>
              <a:xfrm>
                <a:off x="2690600" y="3683050"/>
                <a:ext cx="313450" cy="1793825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71753" extrusionOk="0">
                    <a:moveTo>
                      <a:pt x="0" y="0"/>
                    </a:moveTo>
                    <a:lnTo>
                      <a:pt x="0" y="1791"/>
                    </a:lnTo>
                    <a:lnTo>
                      <a:pt x="0" y="1903"/>
                    </a:lnTo>
                    <a:lnTo>
                      <a:pt x="112" y="16007"/>
                    </a:lnTo>
                    <a:lnTo>
                      <a:pt x="448" y="34701"/>
                    </a:lnTo>
                    <a:lnTo>
                      <a:pt x="784" y="44776"/>
                    </a:lnTo>
                    <a:lnTo>
                      <a:pt x="1120" y="54626"/>
                    </a:lnTo>
                    <a:lnTo>
                      <a:pt x="1568" y="63693"/>
                    </a:lnTo>
                    <a:lnTo>
                      <a:pt x="2127" y="71753"/>
                    </a:lnTo>
                    <a:lnTo>
                      <a:pt x="12538" y="71753"/>
                    </a:lnTo>
                    <a:lnTo>
                      <a:pt x="12426" y="3470"/>
                    </a:lnTo>
                    <a:lnTo>
                      <a:pt x="12426" y="2910"/>
                    </a:lnTo>
                    <a:lnTo>
                      <a:pt x="12202" y="2351"/>
                    </a:lnTo>
                    <a:lnTo>
                      <a:pt x="11978" y="1791"/>
                    </a:lnTo>
                    <a:lnTo>
                      <a:pt x="11642" y="1343"/>
                    </a:lnTo>
                    <a:lnTo>
                      <a:pt x="11082" y="784"/>
                    </a:lnTo>
                    <a:lnTo>
                      <a:pt x="10411" y="336"/>
                    </a:lnTo>
                    <a:lnTo>
                      <a:pt x="9627" y="112"/>
                    </a:lnTo>
                    <a:lnTo>
                      <a:pt x="8732" y="0"/>
                    </a:lnTo>
                    <a:close/>
                  </a:path>
                </a:pathLst>
              </a:custGeom>
              <a:solidFill>
                <a:srgbClr val="D25F3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12" name="Google Shape;1912;p16"/>
              <p:cNvSpPr/>
              <p:nvPr/>
            </p:nvSpPr>
            <p:spPr>
              <a:xfrm>
                <a:off x="2690600" y="3683050"/>
                <a:ext cx="313450" cy="1793825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71753" fill="none" extrusionOk="0">
                    <a:moveTo>
                      <a:pt x="8620" y="0"/>
                    </a:moveTo>
                    <a:lnTo>
                      <a:pt x="6829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791"/>
                    </a:lnTo>
                    <a:lnTo>
                      <a:pt x="0" y="1903"/>
                    </a:lnTo>
                    <a:lnTo>
                      <a:pt x="0" y="1903"/>
                    </a:lnTo>
                    <a:lnTo>
                      <a:pt x="112" y="16007"/>
                    </a:lnTo>
                    <a:lnTo>
                      <a:pt x="448" y="34701"/>
                    </a:lnTo>
                    <a:lnTo>
                      <a:pt x="784" y="44776"/>
                    </a:lnTo>
                    <a:lnTo>
                      <a:pt x="1120" y="54626"/>
                    </a:lnTo>
                    <a:lnTo>
                      <a:pt x="1568" y="63693"/>
                    </a:lnTo>
                    <a:lnTo>
                      <a:pt x="2127" y="71753"/>
                    </a:lnTo>
                    <a:lnTo>
                      <a:pt x="12538" y="71753"/>
                    </a:lnTo>
                    <a:lnTo>
                      <a:pt x="12426" y="3470"/>
                    </a:lnTo>
                    <a:lnTo>
                      <a:pt x="12426" y="3470"/>
                    </a:lnTo>
                    <a:lnTo>
                      <a:pt x="12426" y="2910"/>
                    </a:lnTo>
                    <a:lnTo>
                      <a:pt x="12202" y="2351"/>
                    </a:lnTo>
                    <a:lnTo>
                      <a:pt x="11978" y="1791"/>
                    </a:lnTo>
                    <a:lnTo>
                      <a:pt x="11642" y="1343"/>
                    </a:lnTo>
                    <a:lnTo>
                      <a:pt x="11642" y="1343"/>
                    </a:lnTo>
                    <a:lnTo>
                      <a:pt x="11082" y="784"/>
                    </a:lnTo>
                    <a:lnTo>
                      <a:pt x="10411" y="336"/>
                    </a:lnTo>
                    <a:lnTo>
                      <a:pt x="9627" y="112"/>
                    </a:lnTo>
                    <a:lnTo>
                      <a:pt x="8732" y="0"/>
                    </a:lnTo>
                    <a:lnTo>
                      <a:pt x="862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13" name="Google Shape;1913;p16"/>
              <p:cNvSpPr/>
              <p:nvPr/>
            </p:nvSpPr>
            <p:spPr>
              <a:xfrm>
                <a:off x="5281975" y="1225975"/>
                <a:ext cx="165150" cy="134350"/>
              </a:xfrm>
              <a:custGeom>
                <a:avLst/>
                <a:gdLst/>
                <a:ahLst/>
                <a:cxnLst/>
                <a:rect l="l" t="t" r="r" b="b"/>
                <a:pathLst>
                  <a:path w="6606" h="5374" extrusionOk="0">
                    <a:moveTo>
                      <a:pt x="5822" y="1"/>
                    </a:moveTo>
                    <a:lnTo>
                      <a:pt x="5262" y="112"/>
                    </a:lnTo>
                    <a:lnTo>
                      <a:pt x="4366" y="560"/>
                    </a:lnTo>
                    <a:lnTo>
                      <a:pt x="4031" y="896"/>
                    </a:lnTo>
                    <a:lnTo>
                      <a:pt x="3471" y="1344"/>
                    </a:lnTo>
                    <a:lnTo>
                      <a:pt x="2799" y="2015"/>
                    </a:lnTo>
                    <a:lnTo>
                      <a:pt x="1568" y="2575"/>
                    </a:lnTo>
                    <a:lnTo>
                      <a:pt x="337" y="3247"/>
                    </a:lnTo>
                    <a:lnTo>
                      <a:pt x="1" y="3583"/>
                    </a:lnTo>
                    <a:lnTo>
                      <a:pt x="1120" y="5374"/>
                    </a:lnTo>
                    <a:lnTo>
                      <a:pt x="1792" y="4814"/>
                    </a:lnTo>
                    <a:lnTo>
                      <a:pt x="2240" y="4478"/>
                    </a:lnTo>
                    <a:lnTo>
                      <a:pt x="3023" y="4030"/>
                    </a:lnTo>
                    <a:lnTo>
                      <a:pt x="3471" y="3806"/>
                    </a:lnTo>
                    <a:lnTo>
                      <a:pt x="3919" y="3694"/>
                    </a:lnTo>
                    <a:lnTo>
                      <a:pt x="4814" y="3583"/>
                    </a:lnTo>
                    <a:lnTo>
                      <a:pt x="5262" y="3471"/>
                    </a:lnTo>
                    <a:lnTo>
                      <a:pt x="5486" y="3359"/>
                    </a:lnTo>
                    <a:lnTo>
                      <a:pt x="5486" y="3135"/>
                    </a:lnTo>
                    <a:lnTo>
                      <a:pt x="5486" y="3023"/>
                    </a:lnTo>
                    <a:lnTo>
                      <a:pt x="5486" y="2799"/>
                    </a:lnTo>
                    <a:lnTo>
                      <a:pt x="5486" y="2463"/>
                    </a:lnTo>
                    <a:lnTo>
                      <a:pt x="5822" y="2127"/>
                    </a:lnTo>
                    <a:lnTo>
                      <a:pt x="6269" y="1680"/>
                    </a:lnTo>
                    <a:lnTo>
                      <a:pt x="6493" y="1456"/>
                    </a:lnTo>
                    <a:lnTo>
                      <a:pt x="6605" y="1120"/>
                    </a:lnTo>
                    <a:lnTo>
                      <a:pt x="6605" y="672"/>
                    </a:lnTo>
                    <a:lnTo>
                      <a:pt x="6493" y="336"/>
                    </a:lnTo>
                    <a:lnTo>
                      <a:pt x="6269" y="112"/>
                    </a:lnTo>
                    <a:lnTo>
                      <a:pt x="5822" y="1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14" name="Google Shape;1914;p16"/>
              <p:cNvSpPr/>
              <p:nvPr/>
            </p:nvSpPr>
            <p:spPr>
              <a:xfrm>
                <a:off x="4719500" y="1847225"/>
                <a:ext cx="302250" cy="1119425"/>
              </a:xfrm>
              <a:custGeom>
                <a:avLst/>
                <a:gdLst/>
                <a:ahLst/>
                <a:cxnLst/>
                <a:rect l="l" t="t" r="r" b="b"/>
                <a:pathLst>
                  <a:path w="12090" h="44777" extrusionOk="0">
                    <a:moveTo>
                      <a:pt x="6269" y="1"/>
                    </a:moveTo>
                    <a:lnTo>
                      <a:pt x="5821" y="225"/>
                    </a:lnTo>
                    <a:lnTo>
                      <a:pt x="5485" y="449"/>
                    </a:lnTo>
                    <a:lnTo>
                      <a:pt x="5149" y="785"/>
                    </a:lnTo>
                    <a:lnTo>
                      <a:pt x="4814" y="1232"/>
                    </a:lnTo>
                    <a:lnTo>
                      <a:pt x="4366" y="2352"/>
                    </a:lnTo>
                    <a:lnTo>
                      <a:pt x="4030" y="3471"/>
                    </a:lnTo>
                    <a:lnTo>
                      <a:pt x="3918" y="4590"/>
                    </a:lnTo>
                    <a:lnTo>
                      <a:pt x="3806" y="5598"/>
                    </a:lnTo>
                    <a:lnTo>
                      <a:pt x="3918" y="6270"/>
                    </a:lnTo>
                    <a:lnTo>
                      <a:pt x="4030" y="7053"/>
                    </a:lnTo>
                    <a:lnTo>
                      <a:pt x="4254" y="8508"/>
                    </a:lnTo>
                    <a:lnTo>
                      <a:pt x="4254" y="10076"/>
                    </a:lnTo>
                    <a:lnTo>
                      <a:pt x="4254" y="10859"/>
                    </a:lnTo>
                    <a:lnTo>
                      <a:pt x="4254" y="16344"/>
                    </a:lnTo>
                    <a:lnTo>
                      <a:pt x="4254" y="18359"/>
                    </a:lnTo>
                    <a:lnTo>
                      <a:pt x="4030" y="21381"/>
                    </a:lnTo>
                    <a:lnTo>
                      <a:pt x="4030" y="22501"/>
                    </a:lnTo>
                    <a:lnTo>
                      <a:pt x="3918" y="23284"/>
                    </a:lnTo>
                    <a:lnTo>
                      <a:pt x="1791" y="33471"/>
                    </a:lnTo>
                    <a:lnTo>
                      <a:pt x="0" y="42426"/>
                    </a:lnTo>
                    <a:lnTo>
                      <a:pt x="1679" y="44777"/>
                    </a:lnTo>
                    <a:lnTo>
                      <a:pt x="4478" y="44441"/>
                    </a:lnTo>
                    <a:lnTo>
                      <a:pt x="3470" y="42650"/>
                    </a:lnTo>
                    <a:lnTo>
                      <a:pt x="3246" y="42202"/>
                    </a:lnTo>
                    <a:lnTo>
                      <a:pt x="3022" y="41754"/>
                    </a:lnTo>
                    <a:lnTo>
                      <a:pt x="2911" y="41083"/>
                    </a:lnTo>
                    <a:lnTo>
                      <a:pt x="2911" y="40075"/>
                    </a:lnTo>
                    <a:lnTo>
                      <a:pt x="3022" y="39515"/>
                    </a:lnTo>
                    <a:lnTo>
                      <a:pt x="3470" y="38396"/>
                    </a:lnTo>
                    <a:lnTo>
                      <a:pt x="4925" y="34926"/>
                    </a:lnTo>
                    <a:lnTo>
                      <a:pt x="5821" y="32575"/>
                    </a:lnTo>
                    <a:lnTo>
                      <a:pt x="6716" y="30001"/>
                    </a:lnTo>
                    <a:lnTo>
                      <a:pt x="7500" y="27202"/>
                    </a:lnTo>
                    <a:lnTo>
                      <a:pt x="8284" y="24180"/>
                    </a:lnTo>
                    <a:lnTo>
                      <a:pt x="9515" y="18135"/>
                    </a:lnTo>
                    <a:lnTo>
                      <a:pt x="9627" y="17016"/>
                    </a:lnTo>
                    <a:lnTo>
                      <a:pt x="12090" y="5598"/>
                    </a:lnTo>
                    <a:lnTo>
                      <a:pt x="11978" y="4926"/>
                    </a:lnTo>
                    <a:lnTo>
                      <a:pt x="11754" y="4367"/>
                    </a:lnTo>
                    <a:lnTo>
                      <a:pt x="11418" y="3583"/>
                    </a:lnTo>
                    <a:lnTo>
                      <a:pt x="10746" y="2688"/>
                    </a:lnTo>
                    <a:lnTo>
                      <a:pt x="9963" y="1792"/>
                    </a:lnTo>
                    <a:lnTo>
                      <a:pt x="9403" y="1344"/>
                    </a:lnTo>
                    <a:lnTo>
                      <a:pt x="8731" y="897"/>
                    </a:lnTo>
                    <a:lnTo>
                      <a:pt x="8060" y="449"/>
                    </a:lnTo>
                    <a:lnTo>
                      <a:pt x="7164" y="113"/>
                    </a:lnTo>
                    <a:lnTo>
                      <a:pt x="6716" y="1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15" name="Google Shape;1915;p16"/>
              <p:cNvSpPr/>
              <p:nvPr/>
            </p:nvSpPr>
            <p:spPr>
              <a:xfrm>
                <a:off x="4719500" y="1847225"/>
                <a:ext cx="302250" cy="1119425"/>
              </a:xfrm>
              <a:custGeom>
                <a:avLst/>
                <a:gdLst/>
                <a:ahLst/>
                <a:cxnLst/>
                <a:rect l="l" t="t" r="r" b="b"/>
                <a:pathLst>
                  <a:path w="12090" h="44777" fill="none" extrusionOk="0">
                    <a:moveTo>
                      <a:pt x="9515" y="18135"/>
                    </a:moveTo>
                    <a:lnTo>
                      <a:pt x="9515" y="18135"/>
                    </a:lnTo>
                    <a:lnTo>
                      <a:pt x="8284" y="24180"/>
                    </a:lnTo>
                    <a:lnTo>
                      <a:pt x="8284" y="24180"/>
                    </a:lnTo>
                    <a:lnTo>
                      <a:pt x="7500" y="27202"/>
                    </a:lnTo>
                    <a:lnTo>
                      <a:pt x="6716" y="30001"/>
                    </a:lnTo>
                    <a:lnTo>
                      <a:pt x="5821" y="32575"/>
                    </a:lnTo>
                    <a:lnTo>
                      <a:pt x="4925" y="34926"/>
                    </a:lnTo>
                    <a:lnTo>
                      <a:pt x="3470" y="38396"/>
                    </a:lnTo>
                    <a:lnTo>
                      <a:pt x="3022" y="39515"/>
                    </a:lnTo>
                    <a:lnTo>
                      <a:pt x="2911" y="40075"/>
                    </a:lnTo>
                    <a:lnTo>
                      <a:pt x="2911" y="40075"/>
                    </a:lnTo>
                    <a:lnTo>
                      <a:pt x="2911" y="41083"/>
                    </a:lnTo>
                    <a:lnTo>
                      <a:pt x="3022" y="41754"/>
                    </a:lnTo>
                    <a:lnTo>
                      <a:pt x="3246" y="42202"/>
                    </a:lnTo>
                    <a:lnTo>
                      <a:pt x="3470" y="42650"/>
                    </a:lnTo>
                    <a:lnTo>
                      <a:pt x="4478" y="44441"/>
                    </a:lnTo>
                    <a:lnTo>
                      <a:pt x="1679" y="44777"/>
                    </a:lnTo>
                    <a:lnTo>
                      <a:pt x="0" y="42426"/>
                    </a:lnTo>
                    <a:lnTo>
                      <a:pt x="0" y="42426"/>
                    </a:lnTo>
                    <a:lnTo>
                      <a:pt x="1791" y="33471"/>
                    </a:lnTo>
                    <a:lnTo>
                      <a:pt x="3918" y="23284"/>
                    </a:lnTo>
                    <a:lnTo>
                      <a:pt x="3918" y="23284"/>
                    </a:lnTo>
                    <a:lnTo>
                      <a:pt x="4030" y="22501"/>
                    </a:lnTo>
                    <a:lnTo>
                      <a:pt x="4030" y="21381"/>
                    </a:lnTo>
                    <a:lnTo>
                      <a:pt x="4254" y="18359"/>
                    </a:lnTo>
                    <a:lnTo>
                      <a:pt x="4254" y="18359"/>
                    </a:lnTo>
                    <a:lnTo>
                      <a:pt x="4254" y="16344"/>
                    </a:lnTo>
                    <a:lnTo>
                      <a:pt x="4254" y="16344"/>
                    </a:lnTo>
                    <a:lnTo>
                      <a:pt x="4254" y="10859"/>
                    </a:lnTo>
                    <a:lnTo>
                      <a:pt x="4254" y="10859"/>
                    </a:lnTo>
                    <a:lnTo>
                      <a:pt x="4254" y="10076"/>
                    </a:lnTo>
                    <a:lnTo>
                      <a:pt x="4254" y="8508"/>
                    </a:lnTo>
                    <a:lnTo>
                      <a:pt x="4030" y="7053"/>
                    </a:lnTo>
                    <a:lnTo>
                      <a:pt x="3918" y="6270"/>
                    </a:lnTo>
                    <a:lnTo>
                      <a:pt x="3918" y="6270"/>
                    </a:lnTo>
                    <a:lnTo>
                      <a:pt x="3806" y="5598"/>
                    </a:lnTo>
                    <a:lnTo>
                      <a:pt x="3918" y="4590"/>
                    </a:lnTo>
                    <a:lnTo>
                      <a:pt x="4030" y="3471"/>
                    </a:lnTo>
                    <a:lnTo>
                      <a:pt x="4366" y="2352"/>
                    </a:lnTo>
                    <a:lnTo>
                      <a:pt x="4814" y="1232"/>
                    </a:lnTo>
                    <a:lnTo>
                      <a:pt x="5149" y="785"/>
                    </a:lnTo>
                    <a:lnTo>
                      <a:pt x="5485" y="449"/>
                    </a:lnTo>
                    <a:lnTo>
                      <a:pt x="5821" y="225"/>
                    </a:lnTo>
                    <a:lnTo>
                      <a:pt x="6269" y="1"/>
                    </a:lnTo>
                    <a:lnTo>
                      <a:pt x="6716" y="1"/>
                    </a:lnTo>
                    <a:lnTo>
                      <a:pt x="7164" y="113"/>
                    </a:lnTo>
                    <a:lnTo>
                      <a:pt x="7164" y="113"/>
                    </a:lnTo>
                    <a:lnTo>
                      <a:pt x="8060" y="449"/>
                    </a:lnTo>
                    <a:lnTo>
                      <a:pt x="8731" y="897"/>
                    </a:lnTo>
                    <a:lnTo>
                      <a:pt x="9403" y="1344"/>
                    </a:lnTo>
                    <a:lnTo>
                      <a:pt x="9963" y="1792"/>
                    </a:lnTo>
                    <a:lnTo>
                      <a:pt x="10746" y="2688"/>
                    </a:lnTo>
                    <a:lnTo>
                      <a:pt x="11418" y="3583"/>
                    </a:lnTo>
                    <a:lnTo>
                      <a:pt x="11754" y="4367"/>
                    </a:lnTo>
                    <a:lnTo>
                      <a:pt x="11978" y="4926"/>
                    </a:lnTo>
                    <a:lnTo>
                      <a:pt x="12090" y="5598"/>
                    </a:lnTo>
                    <a:lnTo>
                      <a:pt x="12090" y="5598"/>
                    </a:lnTo>
                    <a:lnTo>
                      <a:pt x="9627" y="17016"/>
                    </a:lnTo>
                    <a:lnTo>
                      <a:pt x="9515" y="18135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16" name="Google Shape;1916;p16"/>
              <p:cNvSpPr/>
              <p:nvPr/>
            </p:nvSpPr>
            <p:spPr>
              <a:xfrm>
                <a:off x="4688700" y="2851900"/>
                <a:ext cx="218325" cy="176325"/>
              </a:xfrm>
              <a:custGeom>
                <a:avLst/>
                <a:gdLst/>
                <a:ahLst/>
                <a:cxnLst/>
                <a:rect l="l" t="t" r="r" b="b"/>
                <a:pathLst>
                  <a:path w="8733" h="7053" extrusionOk="0">
                    <a:moveTo>
                      <a:pt x="1456" y="0"/>
                    </a:moveTo>
                    <a:lnTo>
                      <a:pt x="1008" y="336"/>
                    </a:lnTo>
                    <a:lnTo>
                      <a:pt x="561" y="896"/>
                    </a:lnTo>
                    <a:lnTo>
                      <a:pt x="337" y="1231"/>
                    </a:lnTo>
                    <a:lnTo>
                      <a:pt x="225" y="1679"/>
                    </a:lnTo>
                    <a:lnTo>
                      <a:pt x="113" y="2127"/>
                    </a:lnTo>
                    <a:lnTo>
                      <a:pt x="113" y="2687"/>
                    </a:lnTo>
                    <a:lnTo>
                      <a:pt x="225" y="3806"/>
                    </a:lnTo>
                    <a:lnTo>
                      <a:pt x="225" y="4814"/>
                    </a:lnTo>
                    <a:lnTo>
                      <a:pt x="1" y="5709"/>
                    </a:lnTo>
                    <a:lnTo>
                      <a:pt x="449" y="5821"/>
                    </a:lnTo>
                    <a:lnTo>
                      <a:pt x="784" y="4702"/>
                    </a:lnTo>
                    <a:lnTo>
                      <a:pt x="1008" y="3918"/>
                    </a:lnTo>
                    <a:lnTo>
                      <a:pt x="1232" y="3582"/>
                    </a:lnTo>
                    <a:lnTo>
                      <a:pt x="1456" y="3358"/>
                    </a:lnTo>
                    <a:lnTo>
                      <a:pt x="2128" y="4142"/>
                    </a:lnTo>
                    <a:lnTo>
                      <a:pt x="3135" y="5373"/>
                    </a:lnTo>
                    <a:lnTo>
                      <a:pt x="4254" y="6493"/>
                    </a:lnTo>
                    <a:lnTo>
                      <a:pt x="4702" y="6828"/>
                    </a:lnTo>
                    <a:lnTo>
                      <a:pt x="5038" y="6940"/>
                    </a:lnTo>
                    <a:lnTo>
                      <a:pt x="5822" y="7052"/>
                    </a:lnTo>
                    <a:lnTo>
                      <a:pt x="6717" y="6940"/>
                    </a:lnTo>
                    <a:lnTo>
                      <a:pt x="7389" y="6716"/>
                    </a:lnTo>
                    <a:lnTo>
                      <a:pt x="7837" y="6605"/>
                    </a:lnTo>
                    <a:lnTo>
                      <a:pt x="8284" y="6381"/>
                    </a:lnTo>
                    <a:lnTo>
                      <a:pt x="8620" y="6045"/>
                    </a:lnTo>
                    <a:lnTo>
                      <a:pt x="8732" y="5821"/>
                    </a:lnTo>
                    <a:lnTo>
                      <a:pt x="8732" y="5709"/>
                    </a:lnTo>
                    <a:lnTo>
                      <a:pt x="8620" y="5597"/>
                    </a:lnTo>
                    <a:lnTo>
                      <a:pt x="8396" y="5485"/>
                    </a:lnTo>
                    <a:lnTo>
                      <a:pt x="7277" y="5037"/>
                    </a:lnTo>
                    <a:lnTo>
                      <a:pt x="6381" y="4478"/>
                    </a:lnTo>
                    <a:lnTo>
                      <a:pt x="5486" y="3918"/>
                    </a:lnTo>
                    <a:lnTo>
                      <a:pt x="5486" y="3806"/>
                    </a:lnTo>
                    <a:lnTo>
                      <a:pt x="5374" y="3918"/>
                    </a:lnTo>
                    <a:lnTo>
                      <a:pt x="5374" y="4142"/>
                    </a:lnTo>
                    <a:lnTo>
                      <a:pt x="5150" y="4254"/>
                    </a:lnTo>
                    <a:lnTo>
                      <a:pt x="4926" y="4254"/>
                    </a:lnTo>
                    <a:lnTo>
                      <a:pt x="4366" y="4142"/>
                    </a:lnTo>
                    <a:lnTo>
                      <a:pt x="4031" y="3806"/>
                    </a:lnTo>
                    <a:lnTo>
                      <a:pt x="3583" y="3470"/>
                    </a:lnTo>
                    <a:lnTo>
                      <a:pt x="2799" y="2351"/>
                    </a:lnTo>
                    <a:lnTo>
                      <a:pt x="2128" y="1120"/>
                    </a:lnTo>
                    <a:lnTo>
                      <a:pt x="1792" y="112"/>
                    </a:lnTo>
                    <a:lnTo>
                      <a:pt x="168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17" name="Google Shape;1917;p16"/>
              <p:cNvSpPr/>
              <p:nvPr/>
            </p:nvSpPr>
            <p:spPr>
              <a:xfrm>
                <a:off x="4736275" y="1847225"/>
                <a:ext cx="694050" cy="845175"/>
              </a:xfrm>
              <a:custGeom>
                <a:avLst/>
                <a:gdLst/>
                <a:ahLst/>
                <a:cxnLst/>
                <a:rect l="l" t="t" r="r" b="b"/>
                <a:pathLst>
                  <a:path w="27762" h="33807" extrusionOk="0">
                    <a:moveTo>
                      <a:pt x="3471" y="1"/>
                    </a:moveTo>
                    <a:lnTo>
                      <a:pt x="3247" y="113"/>
                    </a:lnTo>
                    <a:lnTo>
                      <a:pt x="449" y="2464"/>
                    </a:lnTo>
                    <a:lnTo>
                      <a:pt x="225" y="2799"/>
                    </a:lnTo>
                    <a:lnTo>
                      <a:pt x="113" y="3471"/>
                    </a:lnTo>
                    <a:lnTo>
                      <a:pt x="1" y="4479"/>
                    </a:lnTo>
                    <a:lnTo>
                      <a:pt x="113" y="4926"/>
                    </a:lnTo>
                    <a:lnTo>
                      <a:pt x="113" y="5374"/>
                    </a:lnTo>
                    <a:lnTo>
                      <a:pt x="337" y="5822"/>
                    </a:lnTo>
                    <a:lnTo>
                      <a:pt x="560" y="6158"/>
                    </a:lnTo>
                    <a:lnTo>
                      <a:pt x="1568" y="6829"/>
                    </a:lnTo>
                    <a:lnTo>
                      <a:pt x="2463" y="7389"/>
                    </a:lnTo>
                    <a:lnTo>
                      <a:pt x="3247" y="7725"/>
                    </a:lnTo>
                    <a:lnTo>
                      <a:pt x="3919" y="7837"/>
                    </a:lnTo>
                    <a:lnTo>
                      <a:pt x="4478" y="7949"/>
                    </a:lnTo>
                    <a:lnTo>
                      <a:pt x="4926" y="7837"/>
                    </a:lnTo>
                    <a:lnTo>
                      <a:pt x="5486" y="7725"/>
                    </a:lnTo>
                    <a:lnTo>
                      <a:pt x="6381" y="6382"/>
                    </a:lnTo>
                    <a:lnTo>
                      <a:pt x="6941" y="5486"/>
                    </a:lnTo>
                    <a:lnTo>
                      <a:pt x="7277" y="5150"/>
                    </a:lnTo>
                    <a:lnTo>
                      <a:pt x="11866" y="8508"/>
                    </a:lnTo>
                    <a:lnTo>
                      <a:pt x="15224" y="10971"/>
                    </a:lnTo>
                    <a:lnTo>
                      <a:pt x="16456" y="11978"/>
                    </a:lnTo>
                    <a:lnTo>
                      <a:pt x="17127" y="12538"/>
                    </a:lnTo>
                    <a:lnTo>
                      <a:pt x="17351" y="12986"/>
                    </a:lnTo>
                    <a:lnTo>
                      <a:pt x="17687" y="13769"/>
                    </a:lnTo>
                    <a:lnTo>
                      <a:pt x="18359" y="16232"/>
                    </a:lnTo>
                    <a:lnTo>
                      <a:pt x="20150" y="23172"/>
                    </a:lnTo>
                    <a:lnTo>
                      <a:pt x="22612" y="33023"/>
                    </a:lnTo>
                    <a:lnTo>
                      <a:pt x="22724" y="33247"/>
                    </a:lnTo>
                    <a:lnTo>
                      <a:pt x="22948" y="33359"/>
                    </a:lnTo>
                    <a:lnTo>
                      <a:pt x="24403" y="33807"/>
                    </a:lnTo>
                    <a:lnTo>
                      <a:pt x="27202" y="33807"/>
                    </a:lnTo>
                    <a:lnTo>
                      <a:pt x="27426" y="33695"/>
                    </a:lnTo>
                    <a:lnTo>
                      <a:pt x="27538" y="33583"/>
                    </a:lnTo>
                    <a:lnTo>
                      <a:pt x="27762" y="33247"/>
                    </a:lnTo>
                    <a:lnTo>
                      <a:pt x="27650" y="32911"/>
                    </a:lnTo>
                    <a:lnTo>
                      <a:pt x="27538" y="32799"/>
                    </a:lnTo>
                    <a:lnTo>
                      <a:pt x="27426" y="32687"/>
                    </a:lnTo>
                    <a:lnTo>
                      <a:pt x="27314" y="32687"/>
                    </a:lnTo>
                    <a:lnTo>
                      <a:pt x="26418" y="32239"/>
                    </a:lnTo>
                    <a:lnTo>
                      <a:pt x="25747" y="31680"/>
                    </a:lnTo>
                    <a:lnTo>
                      <a:pt x="25299" y="31232"/>
                    </a:lnTo>
                    <a:lnTo>
                      <a:pt x="24963" y="30560"/>
                    </a:lnTo>
                    <a:lnTo>
                      <a:pt x="24851" y="29553"/>
                    </a:lnTo>
                    <a:lnTo>
                      <a:pt x="24627" y="27538"/>
                    </a:lnTo>
                    <a:lnTo>
                      <a:pt x="24068" y="21381"/>
                    </a:lnTo>
                    <a:lnTo>
                      <a:pt x="23620" y="17911"/>
                    </a:lnTo>
                    <a:lnTo>
                      <a:pt x="23172" y="14777"/>
                    </a:lnTo>
                    <a:lnTo>
                      <a:pt x="22612" y="12202"/>
                    </a:lnTo>
                    <a:lnTo>
                      <a:pt x="22277" y="11195"/>
                    </a:lnTo>
                    <a:lnTo>
                      <a:pt x="21941" y="10523"/>
                    </a:lnTo>
                    <a:lnTo>
                      <a:pt x="21269" y="9516"/>
                    </a:lnTo>
                    <a:lnTo>
                      <a:pt x="20374" y="8396"/>
                    </a:lnTo>
                    <a:lnTo>
                      <a:pt x="17911" y="5710"/>
                    </a:lnTo>
                    <a:lnTo>
                      <a:pt x="15448" y="3247"/>
                    </a:lnTo>
                    <a:lnTo>
                      <a:pt x="14441" y="2464"/>
                    </a:lnTo>
                    <a:lnTo>
                      <a:pt x="13769" y="1904"/>
                    </a:lnTo>
                    <a:lnTo>
                      <a:pt x="13321" y="1792"/>
                    </a:lnTo>
                    <a:lnTo>
                      <a:pt x="12986" y="2016"/>
                    </a:lnTo>
                    <a:lnTo>
                      <a:pt x="12762" y="2352"/>
                    </a:lnTo>
                    <a:lnTo>
                      <a:pt x="12538" y="2688"/>
                    </a:lnTo>
                    <a:lnTo>
                      <a:pt x="12426" y="3359"/>
                    </a:lnTo>
                    <a:lnTo>
                      <a:pt x="12426" y="3583"/>
                    </a:lnTo>
                    <a:lnTo>
                      <a:pt x="10747" y="2688"/>
                    </a:lnTo>
                    <a:lnTo>
                      <a:pt x="8732" y="1680"/>
                    </a:lnTo>
                    <a:lnTo>
                      <a:pt x="5710" y="337"/>
                    </a:lnTo>
                    <a:lnTo>
                      <a:pt x="5598" y="225"/>
                    </a:lnTo>
                    <a:lnTo>
                      <a:pt x="3695" y="1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18" name="Google Shape;1918;p16"/>
              <p:cNvSpPr/>
              <p:nvPr/>
            </p:nvSpPr>
            <p:spPr>
              <a:xfrm>
                <a:off x="4736275" y="1847225"/>
                <a:ext cx="694050" cy="845175"/>
              </a:xfrm>
              <a:custGeom>
                <a:avLst/>
                <a:gdLst/>
                <a:ahLst/>
                <a:cxnLst/>
                <a:rect l="l" t="t" r="r" b="b"/>
                <a:pathLst>
                  <a:path w="27762" h="33807" fill="none" extrusionOk="0">
                    <a:moveTo>
                      <a:pt x="3695" y="1"/>
                    </a:moveTo>
                    <a:lnTo>
                      <a:pt x="5598" y="225"/>
                    </a:lnTo>
                    <a:lnTo>
                      <a:pt x="5598" y="225"/>
                    </a:lnTo>
                    <a:lnTo>
                      <a:pt x="5710" y="337"/>
                    </a:lnTo>
                    <a:lnTo>
                      <a:pt x="5710" y="337"/>
                    </a:lnTo>
                    <a:lnTo>
                      <a:pt x="8732" y="1680"/>
                    </a:lnTo>
                    <a:lnTo>
                      <a:pt x="10747" y="2688"/>
                    </a:lnTo>
                    <a:lnTo>
                      <a:pt x="12426" y="3583"/>
                    </a:lnTo>
                    <a:lnTo>
                      <a:pt x="12426" y="3583"/>
                    </a:lnTo>
                    <a:lnTo>
                      <a:pt x="12426" y="3359"/>
                    </a:lnTo>
                    <a:lnTo>
                      <a:pt x="12538" y="2688"/>
                    </a:lnTo>
                    <a:lnTo>
                      <a:pt x="12538" y="2688"/>
                    </a:lnTo>
                    <a:lnTo>
                      <a:pt x="12762" y="2352"/>
                    </a:lnTo>
                    <a:lnTo>
                      <a:pt x="12986" y="2016"/>
                    </a:lnTo>
                    <a:lnTo>
                      <a:pt x="13321" y="1792"/>
                    </a:lnTo>
                    <a:lnTo>
                      <a:pt x="13769" y="1904"/>
                    </a:lnTo>
                    <a:lnTo>
                      <a:pt x="13769" y="1904"/>
                    </a:lnTo>
                    <a:lnTo>
                      <a:pt x="14441" y="2464"/>
                    </a:lnTo>
                    <a:lnTo>
                      <a:pt x="15448" y="3247"/>
                    </a:lnTo>
                    <a:lnTo>
                      <a:pt x="17911" y="5710"/>
                    </a:lnTo>
                    <a:lnTo>
                      <a:pt x="20374" y="8396"/>
                    </a:lnTo>
                    <a:lnTo>
                      <a:pt x="21269" y="9516"/>
                    </a:lnTo>
                    <a:lnTo>
                      <a:pt x="21941" y="10523"/>
                    </a:lnTo>
                    <a:lnTo>
                      <a:pt x="21941" y="10523"/>
                    </a:lnTo>
                    <a:lnTo>
                      <a:pt x="22277" y="11195"/>
                    </a:lnTo>
                    <a:lnTo>
                      <a:pt x="22612" y="12202"/>
                    </a:lnTo>
                    <a:lnTo>
                      <a:pt x="23172" y="14777"/>
                    </a:lnTo>
                    <a:lnTo>
                      <a:pt x="23620" y="17911"/>
                    </a:lnTo>
                    <a:lnTo>
                      <a:pt x="24068" y="21381"/>
                    </a:lnTo>
                    <a:lnTo>
                      <a:pt x="24627" y="27538"/>
                    </a:lnTo>
                    <a:lnTo>
                      <a:pt x="24851" y="29553"/>
                    </a:lnTo>
                    <a:lnTo>
                      <a:pt x="24963" y="30560"/>
                    </a:lnTo>
                    <a:lnTo>
                      <a:pt x="24963" y="30560"/>
                    </a:lnTo>
                    <a:lnTo>
                      <a:pt x="25299" y="31232"/>
                    </a:lnTo>
                    <a:lnTo>
                      <a:pt x="25747" y="31680"/>
                    </a:lnTo>
                    <a:lnTo>
                      <a:pt x="26418" y="32239"/>
                    </a:lnTo>
                    <a:lnTo>
                      <a:pt x="27314" y="32687"/>
                    </a:lnTo>
                    <a:lnTo>
                      <a:pt x="27426" y="32687"/>
                    </a:lnTo>
                    <a:lnTo>
                      <a:pt x="27426" y="32687"/>
                    </a:lnTo>
                    <a:lnTo>
                      <a:pt x="27538" y="32799"/>
                    </a:lnTo>
                    <a:lnTo>
                      <a:pt x="27650" y="32911"/>
                    </a:lnTo>
                    <a:lnTo>
                      <a:pt x="27762" y="33247"/>
                    </a:lnTo>
                    <a:lnTo>
                      <a:pt x="27538" y="33583"/>
                    </a:lnTo>
                    <a:lnTo>
                      <a:pt x="27426" y="33695"/>
                    </a:lnTo>
                    <a:lnTo>
                      <a:pt x="27202" y="33807"/>
                    </a:lnTo>
                    <a:lnTo>
                      <a:pt x="24627" y="33807"/>
                    </a:lnTo>
                    <a:lnTo>
                      <a:pt x="24627" y="33807"/>
                    </a:lnTo>
                    <a:lnTo>
                      <a:pt x="24403" y="33807"/>
                    </a:lnTo>
                    <a:lnTo>
                      <a:pt x="22948" y="33359"/>
                    </a:lnTo>
                    <a:lnTo>
                      <a:pt x="22948" y="33359"/>
                    </a:lnTo>
                    <a:lnTo>
                      <a:pt x="22724" y="33247"/>
                    </a:lnTo>
                    <a:lnTo>
                      <a:pt x="22612" y="33023"/>
                    </a:lnTo>
                    <a:lnTo>
                      <a:pt x="22612" y="33023"/>
                    </a:lnTo>
                    <a:lnTo>
                      <a:pt x="20150" y="23172"/>
                    </a:lnTo>
                    <a:lnTo>
                      <a:pt x="18359" y="16232"/>
                    </a:lnTo>
                    <a:lnTo>
                      <a:pt x="17687" y="13769"/>
                    </a:lnTo>
                    <a:lnTo>
                      <a:pt x="17351" y="12986"/>
                    </a:lnTo>
                    <a:lnTo>
                      <a:pt x="17127" y="12538"/>
                    </a:lnTo>
                    <a:lnTo>
                      <a:pt x="17127" y="12538"/>
                    </a:lnTo>
                    <a:lnTo>
                      <a:pt x="16456" y="11978"/>
                    </a:lnTo>
                    <a:lnTo>
                      <a:pt x="15224" y="10971"/>
                    </a:lnTo>
                    <a:lnTo>
                      <a:pt x="11866" y="8508"/>
                    </a:lnTo>
                    <a:lnTo>
                      <a:pt x="7277" y="5150"/>
                    </a:lnTo>
                    <a:lnTo>
                      <a:pt x="7277" y="5150"/>
                    </a:lnTo>
                    <a:lnTo>
                      <a:pt x="6941" y="5486"/>
                    </a:lnTo>
                    <a:lnTo>
                      <a:pt x="6381" y="6382"/>
                    </a:lnTo>
                    <a:lnTo>
                      <a:pt x="5486" y="7725"/>
                    </a:lnTo>
                    <a:lnTo>
                      <a:pt x="5486" y="7725"/>
                    </a:lnTo>
                    <a:lnTo>
                      <a:pt x="4926" y="7837"/>
                    </a:lnTo>
                    <a:lnTo>
                      <a:pt x="4478" y="7949"/>
                    </a:lnTo>
                    <a:lnTo>
                      <a:pt x="3919" y="7837"/>
                    </a:lnTo>
                    <a:lnTo>
                      <a:pt x="3247" y="7725"/>
                    </a:lnTo>
                    <a:lnTo>
                      <a:pt x="2463" y="7389"/>
                    </a:lnTo>
                    <a:lnTo>
                      <a:pt x="1568" y="6829"/>
                    </a:lnTo>
                    <a:lnTo>
                      <a:pt x="560" y="6158"/>
                    </a:lnTo>
                    <a:lnTo>
                      <a:pt x="560" y="6158"/>
                    </a:lnTo>
                    <a:lnTo>
                      <a:pt x="337" y="5822"/>
                    </a:lnTo>
                    <a:lnTo>
                      <a:pt x="113" y="5374"/>
                    </a:lnTo>
                    <a:lnTo>
                      <a:pt x="113" y="4926"/>
                    </a:lnTo>
                    <a:lnTo>
                      <a:pt x="1" y="4479"/>
                    </a:lnTo>
                    <a:lnTo>
                      <a:pt x="113" y="3471"/>
                    </a:lnTo>
                    <a:lnTo>
                      <a:pt x="225" y="2799"/>
                    </a:lnTo>
                    <a:lnTo>
                      <a:pt x="225" y="2799"/>
                    </a:lnTo>
                    <a:lnTo>
                      <a:pt x="449" y="2464"/>
                    </a:lnTo>
                    <a:lnTo>
                      <a:pt x="3247" y="113"/>
                    </a:lnTo>
                    <a:lnTo>
                      <a:pt x="3247" y="113"/>
                    </a:lnTo>
                    <a:lnTo>
                      <a:pt x="3471" y="1"/>
                    </a:lnTo>
                    <a:lnTo>
                      <a:pt x="3695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19" name="Google Shape;1919;p16"/>
              <p:cNvSpPr/>
              <p:nvPr/>
            </p:nvSpPr>
            <p:spPr>
              <a:xfrm>
                <a:off x="5293175" y="2661600"/>
                <a:ext cx="232300" cy="103575"/>
              </a:xfrm>
              <a:custGeom>
                <a:avLst/>
                <a:gdLst/>
                <a:ahLst/>
                <a:cxnLst/>
                <a:rect l="l" t="t" r="r" b="b"/>
                <a:pathLst>
                  <a:path w="9292" h="4143" extrusionOk="0">
                    <a:moveTo>
                      <a:pt x="113" y="0"/>
                    </a:moveTo>
                    <a:lnTo>
                      <a:pt x="1" y="112"/>
                    </a:lnTo>
                    <a:lnTo>
                      <a:pt x="1" y="672"/>
                    </a:lnTo>
                    <a:lnTo>
                      <a:pt x="1" y="1344"/>
                    </a:lnTo>
                    <a:lnTo>
                      <a:pt x="113" y="1791"/>
                    </a:lnTo>
                    <a:lnTo>
                      <a:pt x="224" y="2127"/>
                    </a:lnTo>
                    <a:lnTo>
                      <a:pt x="560" y="2575"/>
                    </a:lnTo>
                    <a:lnTo>
                      <a:pt x="896" y="2911"/>
                    </a:lnTo>
                    <a:lnTo>
                      <a:pt x="1568" y="3470"/>
                    </a:lnTo>
                    <a:lnTo>
                      <a:pt x="2016" y="3806"/>
                    </a:lnTo>
                    <a:lnTo>
                      <a:pt x="2239" y="4142"/>
                    </a:lnTo>
                    <a:lnTo>
                      <a:pt x="2799" y="4142"/>
                    </a:lnTo>
                    <a:lnTo>
                      <a:pt x="2463" y="3582"/>
                    </a:lnTo>
                    <a:lnTo>
                      <a:pt x="2239" y="3023"/>
                    </a:lnTo>
                    <a:lnTo>
                      <a:pt x="2127" y="2687"/>
                    </a:lnTo>
                    <a:lnTo>
                      <a:pt x="2239" y="2463"/>
                    </a:lnTo>
                    <a:lnTo>
                      <a:pt x="3695" y="2575"/>
                    </a:lnTo>
                    <a:lnTo>
                      <a:pt x="5598" y="2687"/>
                    </a:lnTo>
                    <a:lnTo>
                      <a:pt x="6941" y="2687"/>
                    </a:lnTo>
                    <a:lnTo>
                      <a:pt x="7053" y="2575"/>
                    </a:lnTo>
                    <a:lnTo>
                      <a:pt x="8284" y="2015"/>
                    </a:lnTo>
                    <a:lnTo>
                      <a:pt x="8956" y="1679"/>
                    </a:lnTo>
                    <a:lnTo>
                      <a:pt x="9292" y="1344"/>
                    </a:lnTo>
                    <a:lnTo>
                      <a:pt x="9292" y="1008"/>
                    </a:lnTo>
                    <a:lnTo>
                      <a:pt x="9068" y="672"/>
                    </a:lnTo>
                    <a:lnTo>
                      <a:pt x="8620" y="336"/>
                    </a:lnTo>
                    <a:lnTo>
                      <a:pt x="8060" y="112"/>
                    </a:lnTo>
                    <a:lnTo>
                      <a:pt x="5262" y="112"/>
                    </a:lnTo>
                    <a:lnTo>
                      <a:pt x="5262" y="224"/>
                    </a:lnTo>
                    <a:lnTo>
                      <a:pt x="5374" y="448"/>
                    </a:lnTo>
                    <a:lnTo>
                      <a:pt x="5374" y="560"/>
                    </a:lnTo>
                    <a:lnTo>
                      <a:pt x="5150" y="784"/>
                    </a:lnTo>
                    <a:lnTo>
                      <a:pt x="4702" y="1008"/>
                    </a:lnTo>
                    <a:lnTo>
                      <a:pt x="4254" y="1120"/>
                    </a:lnTo>
                    <a:lnTo>
                      <a:pt x="3695" y="1120"/>
                    </a:lnTo>
                    <a:lnTo>
                      <a:pt x="2463" y="896"/>
                    </a:lnTo>
                    <a:lnTo>
                      <a:pt x="1232" y="448"/>
                    </a:lnTo>
                    <a:lnTo>
                      <a:pt x="33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20" name="Google Shape;1920;p16"/>
              <p:cNvSpPr/>
              <p:nvPr/>
            </p:nvSpPr>
            <p:spPr>
              <a:xfrm>
                <a:off x="4736275" y="1757675"/>
                <a:ext cx="540125" cy="573725"/>
              </a:xfrm>
              <a:custGeom>
                <a:avLst/>
                <a:gdLst/>
                <a:ahLst/>
                <a:cxnLst/>
                <a:rect l="l" t="t" r="r" b="b"/>
                <a:pathLst>
                  <a:path w="21605" h="22949" extrusionOk="0">
                    <a:moveTo>
                      <a:pt x="11419" y="1"/>
                    </a:moveTo>
                    <a:lnTo>
                      <a:pt x="10747" y="337"/>
                    </a:lnTo>
                    <a:lnTo>
                      <a:pt x="9963" y="673"/>
                    </a:lnTo>
                    <a:lnTo>
                      <a:pt x="9180" y="896"/>
                    </a:lnTo>
                    <a:lnTo>
                      <a:pt x="8396" y="1008"/>
                    </a:lnTo>
                    <a:lnTo>
                      <a:pt x="6717" y="1120"/>
                    </a:lnTo>
                    <a:lnTo>
                      <a:pt x="5038" y="1120"/>
                    </a:lnTo>
                    <a:lnTo>
                      <a:pt x="3583" y="896"/>
                    </a:lnTo>
                    <a:lnTo>
                      <a:pt x="2463" y="785"/>
                    </a:lnTo>
                    <a:lnTo>
                      <a:pt x="1344" y="561"/>
                    </a:lnTo>
                    <a:lnTo>
                      <a:pt x="1232" y="673"/>
                    </a:lnTo>
                    <a:lnTo>
                      <a:pt x="672" y="3023"/>
                    </a:lnTo>
                    <a:lnTo>
                      <a:pt x="337" y="4702"/>
                    </a:lnTo>
                    <a:lnTo>
                      <a:pt x="1" y="6493"/>
                    </a:lnTo>
                    <a:lnTo>
                      <a:pt x="1" y="7837"/>
                    </a:lnTo>
                    <a:lnTo>
                      <a:pt x="1" y="9068"/>
                    </a:lnTo>
                    <a:lnTo>
                      <a:pt x="225" y="9964"/>
                    </a:lnTo>
                    <a:lnTo>
                      <a:pt x="672" y="10971"/>
                    </a:lnTo>
                    <a:lnTo>
                      <a:pt x="1568" y="13322"/>
                    </a:lnTo>
                    <a:lnTo>
                      <a:pt x="2575" y="15896"/>
                    </a:lnTo>
                    <a:lnTo>
                      <a:pt x="3023" y="17128"/>
                    </a:lnTo>
                    <a:lnTo>
                      <a:pt x="3247" y="18247"/>
                    </a:lnTo>
                    <a:lnTo>
                      <a:pt x="3359" y="19031"/>
                    </a:lnTo>
                    <a:lnTo>
                      <a:pt x="3247" y="19702"/>
                    </a:lnTo>
                    <a:lnTo>
                      <a:pt x="3023" y="20822"/>
                    </a:lnTo>
                    <a:lnTo>
                      <a:pt x="2799" y="21941"/>
                    </a:lnTo>
                    <a:lnTo>
                      <a:pt x="2911" y="22277"/>
                    </a:lnTo>
                    <a:lnTo>
                      <a:pt x="3023" y="22725"/>
                    </a:lnTo>
                    <a:lnTo>
                      <a:pt x="3247" y="22837"/>
                    </a:lnTo>
                    <a:lnTo>
                      <a:pt x="3583" y="22948"/>
                    </a:lnTo>
                    <a:lnTo>
                      <a:pt x="4366" y="22948"/>
                    </a:lnTo>
                    <a:lnTo>
                      <a:pt x="5486" y="22725"/>
                    </a:lnTo>
                    <a:lnTo>
                      <a:pt x="6829" y="22389"/>
                    </a:lnTo>
                    <a:lnTo>
                      <a:pt x="8284" y="21941"/>
                    </a:lnTo>
                    <a:lnTo>
                      <a:pt x="9739" y="21269"/>
                    </a:lnTo>
                    <a:lnTo>
                      <a:pt x="11083" y="20710"/>
                    </a:lnTo>
                    <a:lnTo>
                      <a:pt x="12314" y="19926"/>
                    </a:lnTo>
                    <a:lnTo>
                      <a:pt x="14889" y="18359"/>
                    </a:lnTo>
                    <a:lnTo>
                      <a:pt x="17911" y="16344"/>
                    </a:lnTo>
                    <a:lnTo>
                      <a:pt x="19254" y="15337"/>
                    </a:lnTo>
                    <a:lnTo>
                      <a:pt x="20374" y="14329"/>
                    </a:lnTo>
                    <a:lnTo>
                      <a:pt x="21157" y="13434"/>
                    </a:lnTo>
                    <a:lnTo>
                      <a:pt x="21493" y="13098"/>
                    </a:lnTo>
                    <a:lnTo>
                      <a:pt x="21605" y="12762"/>
                    </a:lnTo>
                    <a:lnTo>
                      <a:pt x="21493" y="12426"/>
                    </a:lnTo>
                    <a:lnTo>
                      <a:pt x="21381" y="12202"/>
                    </a:lnTo>
                    <a:lnTo>
                      <a:pt x="20709" y="11419"/>
                    </a:lnTo>
                    <a:lnTo>
                      <a:pt x="18359" y="9068"/>
                    </a:lnTo>
                    <a:lnTo>
                      <a:pt x="16792" y="7389"/>
                    </a:lnTo>
                    <a:lnTo>
                      <a:pt x="15001" y="5374"/>
                    </a:lnTo>
                    <a:lnTo>
                      <a:pt x="13210" y="2911"/>
                    </a:lnTo>
                    <a:lnTo>
                      <a:pt x="12314" y="1456"/>
                    </a:lnTo>
                    <a:lnTo>
                      <a:pt x="11419" y="1"/>
                    </a:lnTo>
                    <a:close/>
                  </a:path>
                </a:pathLst>
              </a:custGeom>
              <a:solidFill>
                <a:srgbClr val="2D2D2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21" name="Google Shape;1921;p16"/>
              <p:cNvSpPr/>
              <p:nvPr/>
            </p:nvSpPr>
            <p:spPr>
              <a:xfrm>
                <a:off x="4736275" y="1757675"/>
                <a:ext cx="540125" cy="573725"/>
              </a:xfrm>
              <a:custGeom>
                <a:avLst/>
                <a:gdLst/>
                <a:ahLst/>
                <a:cxnLst/>
                <a:rect l="l" t="t" r="r" b="b"/>
                <a:pathLst>
                  <a:path w="21605" h="22949" fill="none" extrusionOk="0">
                    <a:moveTo>
                      <a:pt x="3023" y="22725"/>
                    </a:moveTo>
                    <a:lnTo>
                      <a:pt x="3023" y="22725"/>
                    </a:lnTo>
                    <a:lnTo>
                      <a:pt x="3247" y="22837"/>
                    </a:lnTo>
                    <a:lnTo>
                      <a:pt x="3583" y="22948"/>
                    </a:lnTo>
                    <a:lnTo>
                      <a:pt x="4366" y="22948"/>
                    </a:lnTo>
                    <a:lnTo>
                      <a:pt x="5486" y="22725"/>
                    </a:lnTo>
                    <a:lnTo>
                      <a:pt x="6829" y="22389"/>
                    </a:lnTo>
                    <a:lnTo>
                      <a:pt x="8284" y="21941"/>
                    </a:lnTo>
                    <a:lnTo>
                      <a:pt x="9739" y="21269"/>
                    </a:lnTo>
                    <a:lnTo>
                      <a:pt x="11083" y="20710"/>
                    </a:lnTo>
                    <a:lnTo>
                      <a:pt x="12314" y="19926"/>
                    </a:lnTo>
                    <a:lnTo>
                      <a:pt x="12314" y="19926"/>
                    </a:lnTo>
                    <a:lnTo>
                      <a:pt x="14889" y="18359"/>
                    </a:lnTo>
                    <a:lnTo>
                      <a:pt x="17911" y="16344"/>
                    </a:lnTo>
                    <a:lnTo>
                      <a:pt x="19254" y="15337"/>
                    </a:lnTo>
                    <a:lnTo>
                      <a:pt x="20374" y="14329"/>
                    </a:lnTo>
                    <a:lnTo>
                      <a:pt x="21157" y="13434"/>
                    </a:lnTo>
                    <a:lnTo>
                      <a:pt x="21493" y="13098"/>
                    </a:lnTo>
                    <a:lnTo>
                      <a:pt x="21605" y="12762"/>
                    </a:lnTo>
                    <a:lnTo>
                      <a:pt x="21605" y="12762"/>
                    </a:lnTo>
                    <a:lnTo>
                      <a:pt x="21493" y="12426"/>
                    </a:lnTo>
                    <a:lnTo>
                      <a:pt x="21381" y="12202"/>
                    </a:lnTo>
                    <a:lnTo>
                      <a:pt x="20709" y="11419"/>
                    </a:lnTo>
                    <a:lnTo>
                      <a:pt x="18359" y="9068"/>
                    </a:lnTo>
                    <a:lnTo>
                      <a:pt x="16792" y="7389"/>
                    </a:lnTo>
                    <a:lnTo>
                      <a:pt x="15001" y="5374"/>
                    </a:lnTo>
                    <a:lnTo>
                      <a:pt x="13210" y="2911"/>
                    </a:lnTo>
                    <a:lnTo>
                      <a:pt x="12314" y="1456"/>
                    </a:lnTo>
                    <a:lnTo>
                      <a:pt x="11419" y="1"/>
                    </a:lnTo>
                    <a:lnTo>
                      <a:pt x="11419" y="1"/>
                    </a:lnTo>
                    <a:lnTo>
                      <a:pt x="10747" y="337"/>
                    </a:lnTo>
                    <a:lnTo>
                      <a:pt x="9963" y="673"/>
                    </a:lnTo>
                    <a:lnTo>
                      <a:pt x="9180" y="896"/>
                    </a:lnTo>
                    <a:lnTo>
                      <a:pt x="8396" y="1008"/>
                    </a:lnTo>
                    <a:lnTo>
                      <a:pt x="6717" y="1120"/>
                    </a:lnTo>
                    <a:lnTo>
                      <a:pt x="5038" y="1120"/>
                    </a:lnTo>
                    <a:lnTo>
                      <a:pt x="3583" y="896"/>
                    </a:lnTo>
                    <a:lnTo>
                      <a:pt x="2463" y="785"/>
                    </a:lnTo>
                    <a:lnTo>
                      <a:pt x="1344" y="561"/>
                    </a:lnTo>
                    <a:lnTo>
                      <a:pt x="1344" y="561"/>
                    </a:lnTo>
                    <a:lnTo>
                      <a:pt x="1232" y="673"/>
                    </a:lnTo>
                    <a:lnTo>
                      <a:pt x="1232" y="673"/>
                    </a:lnTo>
                    <a:lnTo>
                      <a:pt x="672" y="3023"/>
                    </a:lnTo>
                    <a:lnTo>
                      <a:pt x="337" y="4702"/>
                    </a:lnTo>
                    <a:lnTo>
                      <a:pt x="1" y="6493"/>
                    </a:lnTo>
                    <a:lnTo>
                      <a:pt x="1" y="6493"/>
                    </a:lnTo>
                    <a:lnTo>
                      <a:pt x="1" y="7837"/>
                    </a:lnTo>
                    <a:lnTo>
                      <a:pt x="1" y="9068"/>
                    </a:lnTo>
                    <a:lnTo>
                      <a:pt x="1" y="9068"/>
                    </a:lnTo>
                    <a:lnTo>
                      <a:pt x="225" y="9964"/>
                    </a:lnTo>
                    <a:lnTo>
                      <a:pt x="672" y="10971"/>
                    </a:lnTo>
                    <a:lnTo>
                      <a:pt x="1568" y="13322"/>
                    </a:lnTo>
                    <a:lnTo>
                      <a:pt x="2575" y="15896"/>
                    </a:lnTo>
                    <a:lnTo>
                      <a:pt x="3023" y="17128"/>
                    </a:lnTo>
                    <a:lnTo>
                      <a:pt x="3247" y="18247"/>
                    </a:lnTo>
                    <a:lnTo>
                      <a:pt x="3247" y="18247"/>
                    </a:lnTo>
                    <a:lnTo>
                      <a:pt x="3359" y="19031"/>
                    </a:lnTo>
                    <a:lnTo>
                      <a:pt x="3247" y="19702"/>
                    </a:lnTo>
                    <a:lnTo>
                      <a:pt x="3023" y="20822"/>
                    </a:lnTo>
                    <a:lnTo>
                      <a:pt x="2799" y="21941"/>
                    </a:lnTo>
                    <a:lnTo>
                      <a:pt x="2911" y="22277"/>
                    </a:lnTo>
                    <a:lnTo>
                      <a:pt x="3023" y="22725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22" name="Google Shape;1922;p16"/>
              <p:cNvSpPr/>
              <p:nvPr/>
            </p:nvSpPr>
            <p:spPr>
              <a:xfrm>
                <a:off x="4795050" y="1329525"/>
                <a:ext cx="212700" cy="470175"/>
              </a:xfrm>
              <a:custGeom>
                <a:avLst/>
                <a:gdLst/>
                <a:ahLst/>
                <a:cxnLst/>
                <a:rect l="l" t="t" r="r" b="b"/>
                <a:pathLst>
                  <a:path w="8508" h="18807" extrusionOk="0">
                    <a:moveTo>
                      <a:pt x="2015" y="0"/>
                    </a:moveTo>
                    <a:lnTo>
                      <a:pt x="0" y="448"/>
                    </a:lnTo>
                    <a:lnTo>
                      <a:pt x="336" y="2351"/>
                    </a:lnTo>
                    <a:lnTo>
                      <a:pt x="896" y="6940"/>
                    </a:lnTo>
                    <a:lnTo>
                      <a:pt x="1120" y="9739"/>
                    </a:lnTo>
                    <a:lnTo>
                      <a:pt x="1232" y="12649"/>
                    </a:lnTo>
                    <a:lnTo>
                      <a:pt x="1232" y="15448"/>
                    </a:lnTo>
                    <a:lnTo>
                      <a:pt x="1120" y="16679"/>
                    </a:lnTo>
                    <a:lnTo>
                      <a:pt x="1008" y="17911"/>
                    </a:lnTo>
                    <a:lnTo>
                      <a:pt x="1120" y="18022"/>
                    </a:lnTo>
                    <a:lnTo>
                      <a:pt x="1232" y="18134"/>
                    </a:lnTo>
                    <a:lnTo>
                      <a:pt x="1903" y="18470"/>
                    </a:lnTo>
                    <a:lnTo>
                      <a:pt x="2911" y="18694"/>
                    </a:lnTo>
                    <a:lnTo>
                      <a:pt x="4030" y="18806"/>
                    </a:lnTo>
                    <a:lnTo>
                      <a:pt x="5262" y="18806"/>
                    </a:lnTo>
                    <a:lnTo>
                      <a:pt x="5821" y="18694"/>
                    </a:lnTo>
                    <a:lnTo>
                      <a:pt x="6381" y="18582"/>
                    </a:lnTo>
                    <a:lnTo>
                      <a:pt x="6941" y="18358"/>
                    </a:lnTo>
                    <a:lnTo>
                      <a:pt x="7388" y="18022"/>
                    </a:lnTo>
                    <a:lnTo>
                      <a:pt x="7724" y="17687"/>
                    </a:lnTo>
                    <a:lnTo>
                      <a:pt x="7948" y="17127"/>
                    </a:lnTo>
                    <a:lnTo>
                      <a:pt x="8284" y="16119"/>
                    </a:lnTo>
                    <a:lnTo>
                      <a:pt x="8396" y="15000"/>
                    </a:lnTo>
                    <a:lnTo>
                      <a:pt x="8508" y="13657"/>
                    </a:lnTo>
                    <a:lnTo>
                      <a:pt x="8508" y="12314"/>
                    </a:lnTo>
                    <a:lnTo>
                      <a:pt x="8396" y="10075"/>
                    </a:lnTo>
                    <a:lnTo>
                      <a:pt x="8284" y="9179"/>
                    </a:lnTo>
                    <a:lnTo>
                      <a:pt x="3918" y="560"/>
                    </a:lnTo>
                    <a:lnTo>
                      <a:pt x="20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23" name="Google Shape;1923;p16"/>
              <p:cNvSpPr/>
              <p:nvPr/>
            </p:nvSpPr>
            <p:spPr>
              <a:xfrm>
                <a:off x="4795050" y="1329525"/>
                <a:ext cx="212700" cy="470175"/>
              </a:xfrm>
              <a:custGeom>
                <a:avLst/>
                <a:gdLst/>
                <a:ahLst/>
                <a:cxnLst/>
                <a:rect l="l" t="t" r="r" b="b"/>
                <a:pathLst>
                  <a:path w="8508" h="18807" fill="none" extrusionOk="0">
                    <a:moveTo>
                      <a:pt x="2015" y="0"/>
                    </a:moveTo>
                    <a:lnTo>
                      <a:pt x="3918" y="560"/>
                    </a:lnTo>
                    <a:lnTo>
                      <a:pt x="8284" y="9179"/>
                    </a:lnTo>
                    <a:lnTo>
                      <a:pt x="8284" y="9179"/>
                    </a:lnTo>
                    <a:lnTo>
                      <a:pt x="8396" y="10075"/>
                    </a:lnTo>
                    <a:lnTo>
                      <a:pt x="8508" y="12314"/>
                    </a:lnTo>
                    <a:lnTo>
                      <a:pt x="8508" y="13657"/>
                    </a:lnTo>
                    <a:lnTo>
                      <a:pt x="8396" y="15000"/>
                    </a:lnTo>
                    <a:lnTo>
                      <a:pt x="8284" y="16119"/>
                    </a:lnTo>
                    <a:lnTo>
                      <a:pt x="7948" y="17127"/>
                    </a:lnTo>
                    <a:lnTo>
                      <a:pt x="7948" y="17127"/>
                    </a:lnTo>
                    <a:lnTo>
                      <a:pt x="7724" y="17687"/>
                    </a:lnTo>
                    <a:lnTo>
                      <a:pt x="7388" y="18022"/>
                    </a:lnTo>
                    <a:lnTo>
                      <a:pt x="6941" y="18358"/>
                    </a:lnTo>
                    <a:lnTo>
                      <a:pt x="6381" y="18582"/>
                    </a:lnTo>
                    <a:lnTo>
                      <a:pt x="5821" y="18694"/>
                    </a:lnTo>
                    <a:lnTo>
                      <a:pt x="5262" y="18806"/>
                    </a:lnTo>
                    <a:lnTo>
                      <a:pt x="4030" y="18806"/>
                    </a:lnTo>
                    <a:lnTo>
                      <a:pt x="2911" y="18694"/>
                    </a:lnTo>
                    <a:lnTo>
                      <a:pt x="1903" y="18470"/>
                    </a:lnTo>
                    <a:lnTo>
                      <a:pt x="1232" y="18134"/>
                    </a:lnTo>
                    <a:lnTo>
                      <a:pt x="1120" y="18022"/>
                    </a:lnTo>
                    <a:lnTo>
                      <a:pt x="1008" y="17911"/>
                    </a:lnTo>
                    <a:lnTo>
                      <a:pt x="1008" y="17911"/>
                    </a:lnTo>
                    <a:lnTo>
                      <a:pt x="1120" y="16679"/>
                    </a:lnTo>
                    <a:lnTo>
                      <a:pt x="1232" y="15448"/>
                    </a:lnTo>
                    <a:lnTo>
                      <a:pt x="1232" y="12649"/>
                    </a:lnTo>
                    <a:lnTo>
                      <a:pt x="1120" y="9739"/>
                    </a:lnTo>
                    <a:lnTo>
                      <a:pt x="896" y="6940"/>
                    </a:lnTo>
                    <a:lnTo>
                      <a:pt x="336" y="2351"/>
                    </a:lnTo>
                    <a:lnTo>
                      <a:pt x="0" y="448"/>
                    </a:lnTo>
                    <a:lnTo>
                      <a:pt x="2015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24" name="Google Shape;1924;p16"/>
              <p:cNvSpPr/>
              <p:nvPr/>
            </p:nvSpPr>
            <p:spPr>
              <a:xfrm>
                <a:off x="4736275" y="1813650"/>
                <a:ext cx="156750" cy="109175"/>
              </a:xfrm>
              <a:custGeom>
                <a:avLst/>
                <a:gdLst/>
                <a:ahLst/>
                <a:cxnLst/>
                <a:rect l="l" t="t" r="r" b="b"/>
                <a:pathLst>
                  <a:path w="6270" h="4367" extrusionOk="0">
                    <a:moveTo>
                      <a:pt x="6269" y="1"/>
                    </a:moveTo>
                    <a:lnTo>
                      <a:pt x="5934" y="560"/>
                    </a:lnTo>
                    <a:lnTo>
                      <a:pt x="5598" y="896"/>
                    </a:lnTo>
                    <a:lnTo>
                      <a:pt x="5038" y="1232"/>
                    </a:lnTo>
                    <a:lnTo>
                      <a:pt x="3695" y="1904"/>
                    </a:lnTo>
                    <a:lnTo>
                      <a:pt x="2240" y="2240"/>
                    </a:lnTo>
                    <a:lnTo>
                      <a:pt x="1568" y="2351"/>
                    </a:lnTo>
                    <a:lnTo>
                      <a:pt x="896" y="2463"/>
                    </a:lnTo>
                    <a:lnTo>
                      <a:pt x="337" y="2351"/>
                    </a:lnTo>
                    <a:lnTo>
                      <a:pt x="1" y="4254"/>
                    </a:lnTo>
                    <a:lnTo>
                      <a:pt x="896" y="4366"/>
                    </a:lnTo>
                    <a:lnTo>
                      <a:pt x="1456" y="4366"/>
                    </a:lnTo>
                    <a:lnTo>
                      <a:pt x="2016" y="4142"/>
                    </a:lnTo>
                    <a:lnTo>
                      <a:pt x="2575" y="3919"/>
                    </a:lnTo>
                    <a:lnTo>
                      <a:pt x="3023" y="3695"/>
                    </a:lnTo>
                    <a:lnTo>
                      <a:pt x="3919" y="3023"/>
                    </a:lnTo>
                    <a:lnTo>
                      <a:pt x="4702" y="2240"/>
                    </a:lnTo>
                    <a:lnTo>
                      <a:pt x="5374" y="1456"/>
                    </a:lnTo>
                    <a:lnTo>
                      <a:pt x="5934" y="672"/>
                    </a:lnTo>
                    <a:lnTo>
                      <a:pt x="6269" y="1"/>
                    </a:lnTo>
                    <a:close/>
                  </a:path>
                </a:pathLst>
              </a:custGeom>
              <a:solidFill>
                <a:srgbClr val="252628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25" name="Google Shape;1925;p16"/>
              <p:cNvSpPr/>
              <p:nvPr/>
            </p:nvSpPr>
            <p:spPr>
              <a:xfrm>
                <a:off x="4736275" y="1813650"/>
                <a:ext cx="156750" cy="109175"/>
              </a:xfrm>
              <a:custGeom>
                <a:avLst/>
                <a:gdLst/>
                <a:ahLst/>
                <a:cxnLst/>
                <a:rect l="l" t="t" r="r" b="b"/>
                <a:pathLst>
                  <a:path w="6270" h="4367" fill="none" extrusionOk="0">
                    <a:moveTo>
                      <a:pt x="6269" y="1"/>
                    </a:moveTo>
                    <a:lnTo>
                      <a:pt x="6269" y="1"/>
                    </a:lnTo>
                    <a:lnTo>
                      <a:pt x="5934" y="560"/>
                    </a:lnTo>
                    <a:lnTo>
                      <a:pt x="5934" y="560"/>
                    </a:lnTo>
                    <a:lnTo>
                      <a:pt x="5598" y="896"/>
                    </a:lnTo>
                    <a:lnTo>
                      <a:pt x="5038" y="1232"/>
                    </a:lnTo>
                    <a:lnTo>
                      <a:pt x="3695" y="1904"/>
                    </a:lnTo>
                    <a:lnTo>
                      <a:pt x="2240" y="2240"/>
                    </a:lnTo>
                    <a:lnTo>
                      <a:pt x="1568" y="2351"/>
                    </a:lnTo>
                    <a:lnTo>
                      <a:pt x="896" y="2463"/>
                    </a:lnTo>
                    <a:lnTo>
                      <a:pt x="896" y="2463"/>
                    </a:lnTo>
                    <a:lnTo>
                      <a:pt x="337" y="2351"/>
                    </a:lnTo>
                    <a:lnTo>
                      <a:pt x="337" y="2351"/>
                    </a:lnTo>
                    <a:lnTo>
                      <a:pt x="1" y="4254"/>
                    </a:lnTo>
                    <a:lnTo>
                      <a:pt x="1" y="4254"/>
                    </a:lnTo>
                    <a:lnTo>
                      <a:pt x="896" y="4366"/>
                    </a:lnTo>
                    <a:lnTo>
                      <a:pt x="896" y="4366"/>
                    </a:lnTo>
                    <a:lnTo>
                      <a:pt x="1456" y="4366"/>
                    </a:lnTo>
                    <a:lnTo>
                      <a:pt x="2016" y="4142"/>
                    </a:lnTo>
                    <a:lnTo>
                      <a:pt x="2575" y="3919"/>
                    </a:lnTo>
                    <a:lnTo>
                      <a:pt x="3023" y="3695"/>
                    </a:lnTo>
                    <a:lnTo>
                      <a:pt x="3919" y="3023"/>
                    </a:lnTo>
                    <a:lnTo>
                      <a:pt x="4702" y="2240"/>
                    </a:lnTo>
                    <a:lnTo>
                      <a:pt x="5374" y="1456"/>
                    </a:lnTo>
                    <a:lnTo>
                      <a:pt x="5934" y="672"/>
                    </a:lnTo>
                    <a:lnTo>
                      <a:pt x="6269" y="1"/>
                    </a:lnTo>
                    <a:lnTo>
                      <a:pt x="6269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26" name="Google Shape;1926;p16"/>
              <p:cNvSpPr/>
              <p:nvPr/>
            </p:nvSpPr>
            <p:spPr>
              <a:xfrm>
                <a:off x="4305325" y="1337925"/>
                <a:ext cx="598900" cy="537325"/>
              </a:xfrm>
              <a:custGeom>
                <a:avLst/>
                <a:gdLst/>
                <a:ahLst/>
                <a:cxnLst/>
                <a:rect l="l" t="t" r="r" b="b"/>
                <a:pathLst>
                  <a:path w="23956" h="21493" extrusionOk="0">
                    <a:moveTo>
                      <a:pt x="19589" y="0"/>
                    </a:moveTo>
                    <a:lnTo>
                      <a:pt x="18470" y="784"/>
                    </a:lnTo>
                    <a:lnTo>
                      <a:pt x="17687" y="1455"/>
                    </a:lnTo>
                    <a:lnTo>
                      <a:pt x="17015" y="2239"/>
                    </a:lnTo>
                    <a:lnTo>
                      <a:pt x="15336" y="3806"/>
                    </a:lnTo>
                    <a:lnTo>
                      <a:pt x="13657" y="5597"/>
                    </a:lnTo>
                    <a:lnTo>
                      <a:pt x="12090" y="7500"/>
                    </a:lnTo>
                    <a:lnTo>
                      <a:pt x="11306" y="8284"/>
                    </a:lnTo>
                    <a:lnTo>
                      <a:pt x="10522" y="9067"/>
                    </a:lnTo>
                    <a:lnTo>
                      <a:pt x="9739" y="9627"/>
                    </a:lnTo>
                    <a:lnTo>
                      <a:pt x="9067" y="10075"/>
                    </a:lnTo>
                    <a:lnTo>
                      <a:pt x="7164" y="10634"/>
                    </a:lnTo>
                    <a:lnTo>
                      <a:pt x="4254" y="11306"/>
                    </a:lnTo>
                    <a:lnTo>
                      <a:pt x="0" y="12201"/>
                    </a:lnTo>
                    <a:lnTo>
                      <a:pt x="0" y="12425"/>
                    </a:lnTo>
                    <a:lnTo>
                      <a:pt x="0" y="12761"/>
                    </a:lnTo>
                    <a:lnTo>
                      <a:pt x="112" y="13769"/>
                    </a:lnTo>
                    <a:lnTo>
                      <a:pt x="448" y="14776"/>
                    </a:lnTo>
                    <a:lnTo>
                      <a:pt x="672" y="15112"/>
                    </a:lnTo>
                    <a:lnTo>
                      <a:pt x="784" y="15224"/>
                    </a:lnTo>
                    <a:lnTo>
                      <a:pt x="2687" y="14888"/>
                    </a:lnTo>
                    <a:lnTo>
                      <a:pt x="5709" y="14328"/>
                    </a:lnTo>
                    <a:lnTo>
                      <a:pt x="8843" y="13657"/>
                    </a:lnTo>
                    <a:lnTo>
                      <a:pt x="9963" y="13433"/>
                    </a:lnTo>
                    <a:lnTo>
                      <a:pt x="10746" y="13097"/>
                    </a:lnTo>
                    <a:lnTo>
                      <a:pt x="11642" y="12649"/>
                    </a:lnTo>
                    <a:lnTo>
                      <a:pt x="12649" y="11866"/>
                    </a:lnTo>
                    <a:lnTo>
                      <a:pt x="14440" y="10075"/>
                    </a:lnTo>
                    <a:lnTo>
                      <a:pt x="16007" y="8619"/>
                    </a:lnTo>
                    <a:lnTo>
                      <a:pt x="16567" y="8284"/>
                    </a:lnTo>
                    <a:lnTo>
                      <a:pt x="16791" y="8172"/>
                    </a:lnTo>
                    <a:lnTo>
                      <a:pt x="16903" y="8172"/>
                    </a:lnTo>
                    <a:lnTo>
                      <a:pt x="17239" y="8507"/>
                    </a:lnTo>
                    <a:lnTo>
                      <a:pt x="17575" y="8955"/>
                    </a:lnTo>
                    <a:lnTo>
                      <a:pt x="18358" y="10298"/>
                    </a:lnTo>
                    <a:lnTo>
                      <a:pt x="19030" y="11978"/>
                    </a:lnTo>
                    <a:lnTo>
                      <a:pt x="19142" y="12873"/>
                    </a:lnTo>
                    <a:lnTo>
                      <a:pt x="19366" y="13657"/>
                    </a:lnTo>
                    <a:lnTo>
                      <a:pt x="19366" y="14328"/>
                    </a:lnTo>
                    <a:lnTo>
                      <a:pt x="19254" y="14888"/>
                    </a:lnTo>
                    <a:lnTo>
                      <a:pt x="19030" y="15783"/>
                    </a:lnTo>
                    <a:lnTo>
                      <a:pt x="18694" y="16679"/>
                    </a:lnTo>
                    <a:lnTo>
                      <a:pt x="17910" y="18470"/>
                    </a:lnTo>
                    <a:lnTo>
                      <a:pt x="17351" y="20037"/>
                    </a:lnTo>
                    <a:lnTo>
                      <a:pt x="17239" y="20709"/>
                    </a:lnTo>
                    <a:lnTo>
                      <a:pt x="17239" y="21157"/>
                    </a:lnTo>
                    <a:lnTo>
                      <a:pt x="17351" y="21269"/>
                    </a:lnTo>
                    <a:lnTo>
                      <a:pt x="17575" y="21380"/>
                    </a:lnTo>
                    <a:lnTo>
                      <a:pt x="18134" y="21492"/>
                    </a:lnTo>
                    <a:lnTo>
                      <a:pt x="18918" y="21380"/>
                    </a:lnTo>
                    <a:lnTo>
                      <a:pt x="19925" y="21157"/>
                    </a:lnTo>
                    <a:lnTo>
                      <a:pt x="20933" y="20933"/>
                    </a:lnTo>
                    <a:lnTo>
                      <a:pt x="21828" y="20485"/>
                    </a:lnTo>
                    <a:lnTo>
                      <a:pt x="22612" y="20037"/>
                    </a:lnTo>
                    <a:lnTo>
                      <a:pt x="23172" y="19589"/>
                    </a:lnTo>
                    <a:lnTo>
                      <a:pt x="23395" y="19254"/>
                    </a:lnTo>
                    <a:lnTo>
                      <a:pt x="23507" y="18918"/>
                    </a:lnTo>
                    <a:lnTo>
                      <a:pt x="23731" y="18022"/>
                    </a:lnTo>
                    <a:lnTo>
                      <a:pt x="23843" y="17015"/>
                    </a:lnTo>
                    <a:lnTo>
                      <a:pt x="23843" y="15895"/>
                    </a:lnTo>
                    <a:lnTo>
                      <a:pt x="23619" y="13769"/>
                    </a:lnTo>
                    <a:lnTo>
                      <a:pt x="23619" y="12761"/>
                    </a:lnTo>
                    <a:lnTo>
                      <a:pt x="23619" y="12089"/>
                    </a:lnTo>
                    <a:lnTo>
                      <a:pt x="23843" y="10746"/>
                    </a:lnTo>
                    <a:lnTo>
                      <a:pt x="23955" y="9179"/>
                    </a:lnTo>
                    <a:lnTo>
                      <a:pt x="23843" y="8396"/>
                    </a:lnTo>
                    <a:lnTo>
                      <a:pt x="23731" y="7612"/>
                    </a:lnTo>
                    <a:lnTo>
                      <a:pt x="23507" y="6828"/>
                    </a:lnTo>
                    <a:lnTo>
                      <a:pt x="23060" y="6157"/>
                    </a:lnTo>
                    <a:lnTo>
                      <a:pt x="22276" y="5037"/>
                    </a:lnTo>
                    <a:lnTo>
                      <a:pt x="21492" y="3470"/>
                    </a:lnTo>
                    <a:lnTo>
                      <a:pt x="20037" y="784"/>
                    </a:lnTo>
                    <a:lnTo>
                      <a:pt x="19589" y="0"/>
                    </a:lnTo>
                    <a:close/>
                  </a:path>
                </a:pathLst>
              </a:custGeom>
              <a:solidFill>
                <a:srgbClr val="46464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27" name="Google Shape;1927;p16"/>
              <p:cNvSpPr/>
              <p:nvPr/>
            </p:nvSpPr>
            <p:spPr>
              <a:xfrm>
                <a:off x="4305325" y="1337925"/>
                <a:ext cx="598900" cy="537325"/>
              </a:xfrm>
              <a:custGeom>
                <a:avLst/>
                <a:gdLst/>
                <a:ahLst/>
                <a:cxnLst/>
                <a:rect l="l" t="t" r="r" b="b"/>
                <a:pathLst>
                  <a:path w="23956" h="21493" fill="none" extrusionOk="0">
                    <a:moveTo>
                      <a:pt x="9067" y="10075"/>
                    </a:moveTo>
                    <a:lnTo>
                      <a:pt x="9067" y="10075"/>
                    </a:lnTo>
                    <a:lnTo>
                      <a:pt x="7164" y="10634"/>
                    </a:lnTo>
                    <a:lnTo>
                      <a:pt x="4254" y="11306"/>
                    </a:lnTo>
                    <a:lnTo>
                      <a:pt x="0" y="12201"/>
                    </a:lnTo>
                    <a:lnTo>
                      <a:pt x="0" y="12201"/>
                    </a:lnTo>
                    <a:lnTo>
                      <a:pt x="0" y="12425"/>
                    </a:lnTo>
                    <a:lnTo>
                      <a:pt x="0" y="12761"/>
                    </a:lnTo>
                    <a:lnTo>
                      <a:pt x="112" y="13769"/>
                    </a:lnTo>
                    <a:lnTo>
                      <a:pt x="448" y="14776"/>
                    </a:lnTo>
                    <a:lnTo>
                      <a:pt x="672" y="15112"/>
                    </a:lnTo>
                    <a:lnTo>
                      <a:pt x="784" y="15224"/>
                    </a:lnTo>
                    <a:lnTo>
                      <a:pt x="784" y="15224"/>
                    </a:lnTo>
                    <a:lnTo>
                      <a:pt x="2687" y="14888"/>
                    </a:lnTo>
                    <a:lnTo>
                      <a:pt x="5709" y="14328"/>
                    </a:lnTo>
                    <a:lnTo>
                      <a:pt x="8843" y="13657"/>
                    </a:lnTo>
                    <a:lnTo>
                      <a:pt x="9963" y="13433"/>
                    </a:lnTo>
                    <a:lnTo>
                      <a:pt x="10746" y="13097"/>
                    </a:lnTo>
                    <a:lnTo>
                      <a:pt x="10746" y="13097"/>
                    </a:lnTo>
                    <a:lnTo>
                      <a:pt x="11642" y="12649"/>
                    </a:lnTo>
                    <a:lnTo>
                      <a:pt x="12649" y="11866"/>
                    </a:lnTo>
                    <a:lnTo>
                      <a:pt x="14440" y="10075"/>
                    </a:lnTo>
                    <a:lnTo>
                      <a:pt x="16007" y="8619"/>
                    </a:lnTo>
                    <a:lnTo>
                      <a:pt x="16567" y="8284"/>
                    </a:lnTo>
                    <a:lnTo>
                      <a:pt x="16791" y="8172"/>
                    </a:lnTo>
                    <a:lnTo>
                      <a:pt x="16903" y="8172"/>
                    </a:lnTo>
                    <a:lnTo>
                      <a:pt x="16903" y="8172"/>
                    </a:lnTo>
                    <a:lnTo>
                      <a:pt x="17239" y="8507"/>
                    </a:lnTo>
                    <a:lnTo>
                      <a:pt x="17575" y="8955"/>
                    </a:lnTo>
                    <a:lnTo>
                      <a:pt x="18358" y="10298"/>
                    </a:lnTo>
                    <a:lnTo>
                      <a:pt x="19030" y="11978"/>
                    </a:lnTo>
                    <a:lnTo>
                      <a:pt x="19142" y="12873"/>
                    </a:lnTo>
                    <a:lnTo>
                      <a:pt x="19366" y="13657"/>
                    </a:lnTo>
                    <a:lnTo>
                      <a:pt x="19366" y="13657"/>
                    </a:lnTo>
                    <a:lnTo>
                      <a:pt x="19366" y="14328"/>
                    </a:lnTo>
                    <a:lnTo>
                      <a:pt x="19254" y="14888"/>
                    </a:lnTo>
                    <a:lnTo>
                      <a:pt x="19254" y="14888"/>
                    </a:lnTo>
                    <a:lnTo>
                      <a:pt x="19030" y="15783"/>
                    </a:lnTo>
                    <a:lnTo>
                      <a:pt x="18694" y="16679"/>
                    </a:lnTo>
                    <a:lnTo>
                      <a:pt x="17910" y="18470"/>
                    </a:lnTo>
                    <a:lnTo>
                      <a:pt x="17351" y="20037"/>
                    </a:lnTo>
                    <a:lnTo>
                      <a:pt x="17239" y="20709"/>
                    </a:lnTo>
                    <a:lnTo>
                      <a:pt x="17239" y="21157"/>
                    </a:lnTo>
                    <a:lnTo>
                      <a:pt x="17239" y="21157"/>
                    </a:lnTo>
                    <a:lnTo>
                      <a:pt x="17351" y="21269"/>
                    </a:lnTo>
                    <a:lnTo>
                      <a:pt x="17575" y="21380"/>
                    </a:lnTo>
                    <a:lnTo>
                      <a:pt x="18134" y="21492"/>
                    </a:lnTo>
                    <a:lnTo>
                      <a:pt x="18918" y="21380"/>
                    </a:lnTo>
                    <a:lnTo>
                      <a:pt x="19925" y="21157"/>
                    </a:lnTo>
                    <a:lnTo>
                      <a:pt x="20933" y="20933"/>
                    </a:lnTo>
                    <a:lnTo>
                      <a:pt x="21828" y="20485"/>
                    </a:lnTo>
                    <a:lnTo>
                      <a:pt x="22612" y="20037"/>
                    </a:lnTo>
                    <a:lnTo>
                      <a:pt x="23172" y="19589"/>
                    </a:lnTo>
                    <a:lnTo>
                      <a:pt x="23172" y="19589"/>
                    </a:lnTo>
                    <a:lnTo>
                      <a:pt x="23395" y="19254"/>
                    </a:lnTo>
                    <a:lnTo>
                      <a:pt x="23507" y="18918"/>
                    </a:lnTo>
                    <a:lnTo>
                      <a:pt x="23731" y="18022"/>
                    </a:lnTo>
                    <a:lnTo>
                      <a:pt x="23843" y="17015"/>
                    </a:lnTo>
                    <a:lnTo>
                      <a:pt x="23843" y="15895"/>
                    </a:lnTo>
                    <a:lnTo>
                      <a:pt x="23619" y="13769"/>
                    </a:lnTo>
                    <a:lnTo>
                      <a:pt x="23619" y="12761"/>
                    </a:lnTo>
                    <a:lnTo>
                      <a:pt x="23619" y="12089"/>
                    </a:lnTo>
                    <a:lnTo>
                      <a:pt x="23619" y="12089"/>
                    </a:lnTo>
                    <a:lnTo>
                      <a:pt x="23843" y="10746"/>
                    </a:lnTo>
                    <a:lnTo>
                      <a:pt x="23955" y="9179"/>
                    </a:lnTo>
                    <a:lnTo>
                      <a:pt x="23843" y="8396"/>
                    </a:lnTo>
                    <a:lnTo>
                      <a:pt x="23731" y="7612"/>
                    </a:lnTo>
                    <a:lnTo>
                      <a:pt x="23507" y="6828"/>
                    </a:lnTo>
                    <a:lnTo>
                      <a:pt x="23060" y="6157"/>
                    </a:lnTo>
                    <a:lnTo>
                      <a:pt x="23060" y="6157"/>
                    </a:lnTo>
                    <a:lnTo>
                      <a:pt x="22276" y="5037"/>
                    </a:lnTo>
                    <a:lnTo>
                      <a:pt x="21492" y="3470"/>
                    </a:lnTo>
                    <a:lnTo>
                      <a:pt x="20037" y="784"/>
                    </a:lnTo>
                    <a:lnTo>
                      <a:pt x="20037" y="784"/>
                    </a:lnTo>
                    <a:lnTo>
                      <a:pt x="20037" y="784"/>
                    </a:lnTo>
                    <a:lnTo>
                      <a:pt x="19589" y="0"/>
                    </a:lnTo>
                    <a:lnTo>
                      <a:pt x="19589" y="0"/>
                    </a:lnTo>
                    <a:lnTo>
                      <a:pt x="18470" y="784"/>
                    </a:lnTo>
                    <a:lnTo>
                      <a:pt x="18470" y="784"/>
                    </a:lnTo>
                    <a:lnTo>
                      <a:pt x="17687" y="1455"/>
                    </a:lnTo>
                    <a:lnTo>
                      <a:pt x="17015" y="2239"/>
                    </a:lnTo>
                    <a:lnTo>
                      <a:pt x="15336" y="3806"/>
                    </a:lnTo>
                    <a:lnTo>
                      <a:pt x="15336" y="3806"/>
                    </a:lnTo>
                    <a:lnTo>
                      <a:pt x="13657" y="5597"/>
                    </a:lnTo>
                    <a:lnTo>
                      <a:pt x="12090" y="7500"/>
                    </a:lnTo>
                    <a:lnTo>
                      <a:pt x="11306" y="8284"/>
                    </a:lnTo>
                    <a:lnTo>
                      <a:pt x="10522" y="9067"/>
                    </a:lnTo>
                    <a:lnTo>
                      <a:pt x="9739" y="9627"/>
                    </a:lnTo>
                    <a:lnTo>
                      <a:pt x="9067" y="10075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28" name="Google Shape;1928;p16"/>
              <p:cNvSpPr/>
              <p:nvPr/>
            </p:nvSpPr>
            <p:spPr>
              <a:xfrm>
                <a:off x="4887400" y="1265150"/>
                <a:ext cx="481350" cy="576525"/>
              </a:xfrm>
              <a:custGeom>
                <a:avLst/>
                <a:gdLst/>
                <a:ahLst/>
                <a:cxnLst/>
                <a:rect l="l" t="t" r="r" b="b"/>
                <a:pathLst>
                  <a:path w="19254" h="23061" extrusionOk="0">
                    <a:moveTo>
                      <a:pt x="18358" y="1"/>
                    </a:moveTo>
                    <a:lnTo>
                      <a:pt x="16791" y="784"/>
                    </a:lnTo>
                    <a:lnTo>
                      <a:pt x="14664" y="1904"/>
                    </a:lnTo>
                    <a:lnTo>
                      <a:pt x="12426" y="2799"/>
                    </a:lnTo>
                    <a:lnTo>
                      <a:pt x="10523" y="3471"/>
                    </a:lnTo>
                    <a:lnTo>
                      <a:pt x="9627" y="3695"/>
                    </a:lnTo>
                    <a:lnTo>
                      <a:pt x="8732" y="3695"/>
                    </a:lnTo>
                    <a:lnTo>
                      <a:pt x="6493" y="3583"/>
                    </a:lnTo>
                    <a:lnTo>
                      <a:pt x="3694" y="3359"/>
                    </a:lnTo>
                    <a:lnTo>
                      <a:pt x="0" y="3023"/>
                    </a:lnTo>
                    <a:lnTo>
                      <a:pt x="0" y="3023"/>
                    </a:lnTo>
                    <a:lnTo>
                      <a:pt x="112" y="3247"/>
                    </a:lnTo>
                    <a:lnTo>
                      <a:pt x="448" y="4030"/>
                    </a:lnTo>
                    <a:lnTo>
                      <a:pt x="1008" y="5821"/>
                    </a:lnTo>
                    <a:lnTo>
                      <a:pt x="1344" y="6493"/>
                    </a:lnTo>
                    <a:lnTo>
                      <a:pt x="1568" y="7053"/>
                    </a:lnTo>
                    <a:lnTo>
                      <a:pt x="2127" y="7948"/>
                    </a:lnTo>
                    <a:lnTo>
                      <a:pt x="2799" y="8844"/>
                    </a:lnTo>
                    <a:lnTo>
                      <a:pt x="3694" y="10075"/>
                    </a:lnTo>
                    <a:lnTo>
                      <a:pt x="3806" y="10411"/>
                    </a:lnTo>
                    <a:lnTo>
                      <a:pt x="3918" y="10859"/>
                    </a:lnTo>
                    <a:lnTo>
                      <a:pt x="4030" y="11978"/>
                    </a:lnTo>
                    <a:lnTo>
                      <a:pt x="4030" y="13209"/>
                    </a:lnTo>
                    <a:lnTo>
                      <a:pt x="3806" y="14553"/>
                    </a:lnTo>
                    <a:lnTo>
                      <a:pt x="3583" y="17575"/>
                    </a:lnTo>
                    <a:lnTo>
                      <a:pt x="3583" y="19030"/>
                    </a:lnTo>
                    <a:lnTo>
                      <a:pt x="3694" y="20486"/>
                    </a:lnTo>
                    <a:lnTo>
                      <a:pt x="3694" y="20597"/>
                    </a:lnTo>
                    <a:lnTo>
                      <a:pt x="3918" y="21493"/>
                    </a:lnTo>
                    <a:lnTo>
                      <a:pt x="4254" y="22165"/>
                    </a:lnTo>
                    <a:lnTo>
                      <a:pt x="4366" y="22388"/>
                    </a:lnTo>
                    <a:lnTo>
                      <a:pt x="4590" y="22612"/>
                    </a:lnTo>
                    <a:lnTo>
                      <a:pt x="5150" y="22836"/>
                    </a:lnTo>
                    <a:lnTo>
                      <a:pt x="5821" y="23060"/>
                    </a:lnTo>
                    <a:lnTo>
                      <a:pt x="6381" y="23060"/>
                    </a:lnTo>
                    <a:lnTo>
                      <a:pt x="6605" y="22948"/>
                    </a:lnTo>
                    <a:lnTo>
                      <a:pt x="6829" y="22836"/>
                    </a:lnTo>
                    <a:lnTo>
                      <a:pt x="6941" y="22612"/>
                    </a:lnTo>
                    <a:lnTo>
                      <a:pt x="6941" y="22277"/>
                    </a:lnTo>
                    <a:lnTo>
                      <a:pt x="6493" y="20709"/>
                    </a:lnTo>
                    <a:lnTo>
                      <a:pt x="6269" y="19254"/>
                    </a:lnTo>
                    <a:lnTo>
                      <a:pt x="6269" y="17799"/>
                    </a:lnTo>
                    <a:lnTo>
                      <a:pt x="6269" y="16344"/>
                    </a:lnTo>
                    <a:lnTo>
                      <a:pt x="6381" y="14777"/>
                    </a:lnTo>
                    <a:lnTo>
                      <a:pt x="6493" y="13321"/>
                    </a:lnTo>
                    <a:lnTo>
                      <a:pt x="6381" y="11642"/>
                    </a:lnTo>
                    <a:lnTo>
                      <a:pt x="6157" y="9963"/>
                    </a:lnTo>
                    <a:lnTo>
                      <a:pt x="6045" y="9515"/>
                    </a:lnTo>
                    <a:lnTo>
                      <a:pt x="5821" y="9180"/>
                    </a:lnTo>
                    <a:lnTo>
                      <a:pt x="5374" y="8508"/>
                    </a:lnTo>
                    <a:lnTo>
                      <a:pt x="5150" y="7948"/>
                    </a:lnTo>
                    <a:lnTo>
                      <a:pt x="5150" y="7724"/>
                    </a:lnTo>
                    <a:lnTo>
                      <a:pt x="5262" y="7501"/>
                    </a:lnTo>
                    <a:lnTo>
                      <a:pt x="5597" y="7389"/>
                    </a:lnTo>
                    <a:lnTo>
                      <a:pt x="6045" y="7277"/>
                    </a:lnTo>
                    <a:lnTo>
                      <a:pt x="7388" y="7165"/>
                    </a:lnTo>
                    <a:lnTo>
                      <a:pt x="9179" y="6941"/>
                    </a:lnTo>
                    <a:lnTo>
                      <a:pt x="10187" y="6717"/>
                    </a:lnTo>
                    <a:lnTo>
                      <a:pt x="11082" y="6381"/>
                    </a:lnTo>
                    <a:lnTo>
                      <a:pt x="12873" y="5710"/>
                    </a:lnTo>
                    <a:lnTo>
                      <a:pt x="15448" y="4814"/>
                    </a:lnTo>
                    <a:lnTo>
                      <a:pt x="16679" y="4254"/>
                    </a:lnTo>
                    <a:lnTo>
                      <a:pt x="17799" y="3695"/>
                    </a:lnTo>
                    <a:lnTo>
                      <a:pt x="18694" y="3135"/>
                    </a:lnTo>
                    <a:lnTo>
                      <a:pt x="19142" y="2575"/>
                    </a:lnTo>
                    <a:lnTo>
                      <a:pt x="19254" y="2351"/>
                    </a:lnTo>
                    <a:lnTo>
                      <a:pt x="19254" y="1904"/>
                    </a:lnTo>
                    <a:lnTo>
                      <a:pt x="19142" y="1008"/>
                    </a:lnTo>
                    <a:lnTo>
                      <a:pt x="18806" y="113"/>
                    </a:lnTo>
                    <a:lnTo>
                      <a:pt x="18582" y="1"/>
                    </a:lnTo>
                    <a:close/>
                  </a:path>
                </a:pathLst>
              </a:custGeom>
              <a:solidFill>
                <a:srgbClr val="46464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29" name="Google Shape;1929;p16"/>
              <p:cNvSpPr/>
              <p:nvPr/>
            </p:nvSpPr>
            <p:spPr>
              <a:xfrm>
                <a:off x="4727875" y="1542200"/>
                <a:ext cx="58800" cy="123150"/>
              </a:xfrm>
              <a:custGeom>
                <a:avLst/>
                <a:gdLst/>
                <a:ahLst/>
                <a:cxnLst/>
                <a:rect l="l" t="t" r="r" b="b"/>
                <a:pathLst>
                  <a:path w="2352" h="4926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337" y="225"/>
                    </a:lnTo>
                    <a:lnTo>
                      <a:pt x="673" y="672"/>
                    </a:lnTo>
                    <a:lnTo>
                      <a:pt x="1344" y="1792"/>
                    </a:lnTo>
                    <a:lnTo>
                      <a:pt x="1904" y="3359"/>
                    </a:lnTo>
                    <a:lnTo>
                      <a:pt x="2352" y="4926"/>
                    </a:lnTo>
                    <a:lnTo>
                      <a:pt x="2352" y="4926"/>
                    </a:lnTo>
                    <a:lnTo>
                      <a:pt x="1904" y="3359"/>
                    </a:lnTo>
                    <a:lnTo>
                      <a:pt x="1344" y="1792"/>
                    </a:lnTo>
                    <a:lnTo>
                      <a:pt x="673" y="672"/>
                    </a:lnTo>
                    <a:lnTo>
                      <a:pt x="337" y="225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C0BEC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30" name="Google Shape;1930;p16"/>
              <p:cNvSpPr/>
              <p:nvPr/>
            </p:nvSpPr>
            <p:spPr>
              <a:xfrm>
                <a:off x="4727875" y="1542200"/>
                <a:ext cx="58800" cy="123150"/>
              </a:xfrm>
              <a:custGeom>
                <a:avLst/>
                <a:gdLst/>
                <a:ahLst/>
                <a:cxnLst/>
                <a:rect l="l" t="t" r="r" b="b"/>
                <a:pathLst>
                  <a:path w="2352" h="4926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337" y="225"/>
                    </a:lnTo>
                    <a:lnTo>
                      <a:pt x="673" y="672"/>
                    </a:lnTo>
                    <a:lnTo>
                      <a:pt x="1344" y="1792"/>
                    </a:lnTo>
                    <a:lnTo>
                      <a:pt x="1904" y="3359"/>
                    </a:lnTo>
                    <a:lnTo>
                      <a:pt x="2352" y="4926"/>
                    </a:lnTo>
                    <a:lnTo>
                      <a:pt x="2352" y="4926"/>
                    </a:lnTo>
                    <a:lnTo>
                      <a:pt x="1904" y="3359"/>
                    </a:lnTo>
                    <a:lnTo>
                      <a:pt x="1344" y="1792"/>
                    </a:lnTo>
                    <a:lnTo>
                      <a:pt x="673" y="672"/>
                    </a:lnTo>
                    <a:lnTo>
                      <a:pt x="337" y="225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31" name="Google Shape;1931;p16"/>
              <p:cNvSpPr/>
              <p:nvPr/>
            </p:nvSpPr>
            <p:spPr>
              <a:xfrm>
                <a:off x="4727875" y="1542200"/>
                <a:ext cx="75600" cy="137150"/>
              </a:xfrm>
              <a:custGeom>
                <a:avLst/>
                <a:gdLst/>
                <a:ahLst/>
                <a:cxnLst/>
                <a:rect l="l" t="t" r="r" b="b"/>
                <a:pathLst>
                  <a:path w="3024" h="5486" extrusionOk="0">
                    <a:moveTo>
                      <a:pt x="1" y="1"/>
                    </a:moveTo>
                    <a:lnTo>
                      <a:pt x="337" y="225"/>
                    </a:lnTo>
                    <a:lnTo>
                      <a:pt x="673" y="672"/>
                    </a:lnTo>
                    <a:lnTo>
                      <a:pt x="1344" y="1792"/>
                    </a:lnTo>
                    <a:lnTo>
                      <a:pt x="1904" y="3359"/>
                    </a:lnTo>
                    <a:lnTo>
                      <a:pt x="2352" y="4926"/>
                    </a:lnTo>
                    <a:lnTo>
                      <a:pt x="2464" y="5486"/>
                    </a:lnTo>
                    <a:lnTo>
                      <a:pt x="2911" y="4030"/>
                    </a:lnTo>
                    <a:lnTo>
                      <a:pt x="3023" y="3359"/>
                    </a:lnTo>
                    <a:lnTo>
                      <a:pt x="3023" y="2799"/>
                    </a:lnTo>
                    <a:lnTo>
                      <a:pt x="2911" y="2575"/>
                    </a:lnTo>
                    <a:lnTo>
                      <a:pt x="2799" y="2239"/>
                    </a:lnTo>
                    <a:lnTo>
                      <a:pt x="2128" y="1344"/>
                    </a:lnTo>
                    <a:lnTo>
                      <a:pt x="1120" y="560"/>
                    </a:lnTo>
                    <a:lnTo>
                      <a:pt x="561" y="336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3E3E4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32" name="Google Shape;1932;p16"/>
              <p:cNvSpPr/>
              <p:nvPr/>
            </p:nvSpPr>
            <p:spPr>
              <a:xfrm>
                <a:off x="4727875" y="1542200"/>
                <a:ext cx="75600" cy="137150"/>
              </a:xfrm>
              <a:custGeom>
                <a:avLst/>
                <a:gdLst/>
                <a:ahLst/>
                <a:cxnLst/>
                <a:rect l="l" t="t" r="r" b="b"/>
                <a:pathLst>
                  <a:path w="3024" h="5486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337" y="225"/>
                    </a:lnTo>
                    <a:lnTo>
                      <a:pt x="673" y="672"/>
                    </a:lnTo>
                    <a:lnTo>
                      <a:pt x="1344" y="1792"/>
                    </a:lnTo>
                    <a:lnTo>
                      <a:pt x="1904" y="3359"/>
                    </a:lnTo>
                    <a:lnTo>
                      <a:pt x="2352" y="4926"/>
                    </a:lnTo>
                    <a:lnTo>
                      <a:pt x="2352" y="4926"/>
                    </a:lnTo>
                    <a:lnTo>
                      <a:pt x="2464" y="5486"/>
                    </a:lnTo>
                    <a:lnTo>
                      <a:pt x="2464" y="5486"/>
                    </a:lnTo>
                    <a:lnTo>
                      <a:pt x="2911" y="4030"/>
                    </a:lnTo>
                    <a:lnTo>
                      <a:pt x="3023" y="3359"/>
                    </a:lnTo>
                    <a:lnTo>
                      <a:pt x="3023" y="2799"/>
                    </a:lnTo>
                    <a:lnTo>
                      <a:pt x="3023" y="2799"/>
                    </a:lnTo>
                    <a:lnTo>
                      <a:pt x="2911" y="2575"/>
                    </a:lnTo>
                    <a:lnTo>
                      <a:pt x="2799" y="2239"/>
                    </a:lnTo>
                    <a:lnTo>
                      <a:pt x="2128" y="1344"/>
                    </a:lnTo>
                    <a:lnTo>
                      <a:pt x="1120" y="560"/>
                    </a:lnTo>
                    <a:lnTo>
                      <a:pt x="561" y="336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33" name="Google Shape;1933;p16"/>
              <p:cNvSpPr/>
              <p:nvPr/>
            </p:nvSpPr>
            <p:spPr>
              <a:xfrm>
                <a:off x="4688700" y="1357500"/>
                <a:ext cx="78400" cy="75575"/>
              </a:xfrm>
              <a:custGeom>
                <a:avLst/>
                <a:gdLst/>
                <a:ahLst/>
                <a:cxnLst/>
                <a:rect l="l" t="t" r="r" b="b"/>
                <a:pathLst>
                  <a:path w="3136" h="3023" extrusionOk="0">
                    <a:moveTo>
                      <a:pt x="3135" y="1"/>
                    </a:moveTo>
                    <a:lnTo>
                      <a:pt x="1568" y="1344"/>
                    </a:lnTo>
                    <a:lnTo>
                      <a:pt x="1" y="3023"/>
                    </a:lnTo>
                    <a:lnTo>
                      <a:pt x="1680" y="1456"/>
                    </a:lnTo>
                    <a:lnTo>
                      <a:pt x="2352" y="672"/>
                    </a:lnTo>
                    <a:lnTo>
                      <a:pt x="3135" y="1"/>
                    </a:lnTo>
                    <a:close/>
                  </a:path>
                </a:pathLst>
              </a:custGeom>
              <a:solidFill>
                <a:srgbClr val="C0BEC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34" name="Google Shape;1934;p16"/>
              <p:cNvSpPr/>
              <p:nvPr/>
            </p:nvSpPr>
            <p:spPr>
              <a:xfrm>
                <a:off x="4688700" y="1357500"/>
                <a:ext cx="78400" cy="75575"/>
              </a:xfrm>
              <a:custGeom>
                <a:avLst/>
                <a:gdLst/>
                <a:ahLst/>
                <a:cxnLst/>
                <a:rect l="l" t="t" r="r" b="b"/>
                <a:pathLst>
                  <a:path w="3136" h="3023" fill="none" extrusionOk="0">
                    <a:moveTo>
                      <a:pt x="3135" y="1"/>
                    </a:moveTo>
                    <a:lnTo>
                      <a:pt x="3135" y="1"/>
                    </a:lnTo>
                    <a:lnTo>
                      <a:pt x="3135" y="1"/>
                    </a:lnTo>
                    <a:lnTo>
                      <a:pt x="1568" y="1344"/>
                    </a:lnTo>
                    <a:lnTo>
                      <a:pt x="1" y="3023"/>
                    </a:lnTo>
                    <a:lnTo>
                      <a:pt x="1" y="3023"/>
                    </a:lnTo>
                    <a:lnTo>
                      <a:pt x="1" y="3023"/>
                    </a:lnTo>
                    <a:lnTo>
                      <a:pt x="1680" y="1456"/>
                    </a:lnTo>
                    <a:lnTo>
                      <a:pt x="2352" y="672"/>
                    </a:lnTo>
                    <a:lnTo>
                      <a:pt x="3135" y="1"/>
                    </a:lnTo>
                    <a:lnTo>
                      <a:pt x="3135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35" name="Google Shape;1935;p16"/>
              <p:cNvSpPr/>
              <p:nvPr/>
            </p:nvSpPr>
            <p:spPr>
              <a:xfrm>
                <a:off x="4806250" y="1357500"/>
                <a:ext cx="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C0BEC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36" name="Google Shape;1936;p16"/>
              <p:cNvSpPr/>
              <p:nvPr/>
            </p:nvSpPr>
            <p:spPr>
              <a:xfrm>
                <a:off x="4806250" y="1357500"/>
                <a:ext cx="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37" name="Google Shape;1937;p16"/>
              <p:cNvSpPr/>
              <p:nvPr/>
            </p:nvSpPr>
            <p:spPr>
              <a:xfrm>
                <a:off x="4688700" y="1357500"/>
                <a:ext cx="117575" cy="75575"/>
              </a:xfrm>
              <a:custGeom>
                <a:avLst/>
                <a:gdLst/>
                <a:ahLst/>
                <a:cxnLst/>
                <a:rect l="l" t="t" r="r" b="b"/>
                <a:pathLst>
                  <a:path w="4703" h="3023" extrusionOk="0">
                    <a:moveTo>
                      <a:pt x="3135" y="1"/>
                    </a:moveTo>
                    <a:lnTo>
                      <a:pt x="2352" y="672"/>
                    </a:lnTo>
                    <a:lnTo>
                      <a:pt x="1680" y="1456"/>
                    </a:lnTo>
                    <a:lnTo>
                      <a:pt x="1" y="3023"/>
                    </a:lnTo>
                    <a:lnTo>
                      <a:pt x="2016" y="2463"/>
                    </a:lnTo>
                    <a:lnTo>
                      <a:pt x="2687" y="2127"/>
                    </a:lnTo>
                    <a:lnTo>
                      <a:pt x="3359" y="1792"/>
                    </a:lnTo>
                    <a:lnTo>
                      <a:pt x="3807" y="1456"/>
                    </a:lnTo>
                    <a:lnTo>
                      <a:pt x="4254" y="1008"/>
                    </a:lnTo>
                    <a:lnTo>
                      <a:pt x="4478" y="560"/>
                    </a:lnTo>
                    <a:lnTo>
                      <a:pt x="4702" y="1"/>
                    </a:lnTo>
                    <a:close/>
                  </a:path>
                </a:pathLst>
              </a:custGeom>
              <a:solidFill>
                <a:srgbClr val="3E3E4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38" name="Google Shape;1938;p16"/>
              <p:cNvSpPr/>
              <p:nvPr/>
            </p:nvSpPr>
            <p:spPr>
              <a:xfrm>
                <a:off x="4688700" y="1357500"/>
                <a:ext cx="117575" cy="75575"/>
              </a:xfrm>
              <a:custGeom>
                <a:avLst/>
                <a:gdLst/>
                <a:ahLst/>
                <a:cxnLst/>
                <a:rect l="l" t="t" r="r" b="b"/>
                <a:pathLst>
                  <a:path w="4703" h="3023" fill="none" extrusionOk="0">
                    <a:moveTo>
                      <a:pt x="4702" y="1"/>
                    </a:moveTo>
                    <a:lnTo>
                      <a:pt x="3135" y="1"/>
                    </a:lnTo>
                    <a:lnTo>
                      <a:pt x="3135" y="1"/>
                    </a:lnTo>
                    <a:lnTo>
                      <a:pt x="3135" y="1"/>
                    </a:lnTo>
                    <a:lnTo>
                      <a:pt x="2352" y="672"/>
                    </a:lnTo>
                    <a:lnTo>
                      <a:pt x="1680" y="1456"/>
                    </a:lnTo>
                    <a:lnTo>
                      <a:pt x="1" y="3023"/>
                    </a:lnTo>
                    <a:lnTo>
                      <a:pt x="1" y="3023"/>
                    </a:lnTo>
                    <a:lnTo>
                      <a:pt x="2016" y="2463"/>
                    </a:lnTo>
                    <a:lnTo>
                      <a:pt x="2687" y="2127"/>
                    </a:lnTo>
                    <a:lnTo>
                      <a:pt x="3359" y="1792"/>
                    </a:lnTo>
                    <a:lnTo>
                      <a:pt x="3807" y="1456"/>
                    </a:lnTo>
                    <a:lnTo>
                      <a:pt x="4254" y="1008"/>
                    </a:lnTo>
                    <a:lnTo>
                      <a:pt x="4478" y="560"/>
                    </a:lnTo>
                    <a:lnTo>
                      <a:pt x="4702" y="1"/>
                    </a:lnTo>
                    <a:lnTo>
                      <a:pt x="4702" y="1"/>
                    </a:lnTo>
                    <a:lnTo>
                      <a:pt x="470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39" name="Google Shape;1939;p16"/>
              <p:cNvSpPr/>
              <p:nvPr/>
            </p:nvSpPr>
            <p:spPr>
              <a:xfrm>
                <a:off x="4789450" y="1184000"/>
                <a:ext cx="148350" cy="263075"/>
              </a:xfrm>
              <a:custGeom>
                <a:avLst/>
                <a:gdLst/>
                <a:ahLst/>
                <a:cxnLst/>
                <a:rect l="l" t="t" r="r" b="b"/>
                <a:pathLst>
                  <a:path w="5934" h="10523" extrusionOk="0">
                    <a:moveTo>
                      <a:pt x="5038" y="0"/>
                    </a:moveTo>
                    <a:lnTo>
                      <a:pt x="2016" y="560"/>
                    </a:lnTo>
                    <a:lnTo>
                      <a:pt x="1344" y="2463"/>
                    </a:lnTo>
                    <a:lnTo>
                      <a:pt x="896" y="2911"/>
                    </a:lnTo>
                    <a:lnTo>
                      <a:pt x="560" y="3471"/>
                    </a:lnTo>
                    <a:lnTo>
                      <a:pt x="224" y="4254"/>
                    </a:lnTo>
                    <a:lnTo>
                      <a:pt x="1" y="5038"/>
                    </a:lnTo>
                    <a:lnTo>
                      <a:pt x="1" y="5821"/>
                    </a:lnTo>
                    <a:lnTo>
                      <a:pt x="113" y="6157"/>
                    </a:lnTo>
                    <a:lnTo>
                      <a:pt x="336" y="6605"/>
                    </a:lnTo>
                    <a:lnTo>
                      <a:pt x="560" y="6941"/>
                    </a:lnTo>
                    <a:lnTo>
                      <a:pt x="896" y="7276"/>
                    </a:lnTo>
                    <a:lnTo>
                      <a:pt x="1680" y="7836"/>
                    </a:lnTo>
                    <a:lnTo>
                      <a:pt x="2239" y="8396"/>
                    </a:lnTo>
                    <a:lnTo>
                      <a:pt x="3135" y="9403"/>
                    </a:lnTo>
                    <a:lnTo>
                      <a:pt x="3807" y="10187"/>
                    </a:lnTo>
                    <a:lnTo>
                      <a:pt x="4142" y="10411"/>
                    </a:lnTo>
                    <a:lnTo>
                      <a:pt x="4366" y="10523"/>
                    </a:lnTo>
                    <a:lnTo>
                      <a:pt x="4478" y="10411"/>
                    </a:lnTo>
                    <a:lnTo>
                      <a:pt x="4478" y="10075"/>
                    </a:lnTo>
                    <a:lnTo>
                      <a:pt x="4478" y="9067"/>
                    </a:lnTo>
                    <a:lnTo>
                      <a:pt x="4142" y="7276"/>
                    </a:lnTo>
                    <a:lnTo>
                      <a:pt x="3918" y="6717"/>
                    </a:lnTo>
                    <a:lnTo>
                      <a:pt x="3695" y="6157"/>
                    </a:lnTo>
                    <a:lnTo>
                      <a:pt x="3471" y="5597"/>
                    </a:lnTo>
                    <a:lnTo>
                      <a:pt x="3471" y="5373"/>
                    </a:lnTo>
                    <a:lnTo>
                      <a:pt x="3583" y="5150"/>
                    </a:lnTo>
                    <a:lnTo>
                      <a:pt x="3807" y="5150"/>
                    </a:lnTo>
                    <a:lnTo>
                      <a:pt x="4030" y="5038"/>
                    </a:lnTo>
                    <a:lnTo>
                      <a:pt x="4366" y="5150"/>
                    </a:lnTo>
                    <a:lnTo>
                      <a:pt x="4814" y="5262"/>
                    </a:lnTo>
                    <a:lnTo>
                      <a:pt x="5150" y="5262"/>
                    </a:lnTo>
                    <a:lnTo>
                      <a:pt x="5262" y="5150"/>
                    </a:lnTo>
                    <a:lnTo>
                      <a:pt x="5262" y="5038"/>
                    </a:lnTo>
                    <a:lnTo>
                      <a:pt x="5262" y="4702"/>
                    </a:lnTo>
                    <a:lnTo>
                      <a:pt x="5262" y="4254"/>
                    </a:lnTo>
                    <a:lnTo>
                      <a:pt x="5262" y="3918"/>
                    </a:lnTo>
                    <a:lnTo>
                      <a:pt x="5374" y="3806"/>
                    </a:lnTo>
                    <a:lnTo>
                      <a:pt x="5262" y="3694"/>
                    </a:lnTo>
                    <a:lnTo>
                      <a:pt x="5150" y="3694"/>
                    </a:lnTo>
                    <a:lnTo>
                      <a:pt x="5038" y="3582"/>
                    </a:lnTo>
                    <a:lnTo>
                      <a:pt x="5150" y="3471"/>
                    </a:lnTo>
                    <a:lnTo>
                      <a:pt x="5374" y="3471"/>
                    </a:lnTo>
                    <a:lnTo>
                      <a:pt x="5486" y="3359"/>
                    </a:lnTo>
                    <a:lnTo>
                      <a:pt x="5486" y="3247"/>
                    </a:lnTo>
                    <a:lnTo>
                      <a:pt x="5374" y="2911"/>
                    </a:lnTo>
                    <a:lnTo>
                      <a:pt x="5374" y="2799"/>
                    </a:lnTo>
                    <a:lnTo>
                      <a:pt x="5598" y="2687"/>
                    </a:lnTo>
                    <a:lnTo>
                      <a:pt x="5821" y="2687"/>
                    </a:lnTo>
                    <a:lnTo>
                      <a:pt x="5933" y="2575"/>
                    </a:lnTo>
                    <a:lnTo>
                      <a:pt x="5933" y="2351"/>
                    </a:lnTo>
                    <a:lnTo>
                      <a:pt x="5821" y="2239"/>
                    </a:lnTo>
                    <a:lnTo>
                      <a:pt x="5262" y="1791"/>
                    </a:lnTo>
                    <a:lnTo>
                      <a:pt x="5038" y="1344"/>
                    </a:lnTo>
                    <a:lnTo>
                      <a:pt x="5038" y="896"/>
                    </a:lnTo>
                    <a:lnTo>
                      <a:pt x="5038" y="448"/>
                    </a:lnTo>
                    <a:lnTo>
                      <a:pt x="5038" y="0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40" name="Google Shape;1940;p16"/>
              <p:cNvSpPr/>
              <p:nvPr/>
            </p:nvSpPr>
            <p:spPr>
              <a:xfrm>
                <a:off x="4434050" y="1130825"/>
                <a:ext cx="486950" cy="285475"/>
              </a:xfrm>
              <a:custGeom>
                <a:avLst/>
                <a:gdLst/>
                <a:ahLst/>
                <a:cxnLst/>
                <a:rect l="l" t="t" r="r" b="b"/>
                <a:pathLst>
                  <a:path w="19478" h="11419" extrusionOk="0">
                    <a:moveTo>
                      <a:pt x="16903" y="1"/>
                    </a:moveTo>
                    <a:lnTo>
                      <a:pt x="15784" y="113"/>
                    </a:lnTo>
                    <a:lnTo>
                      <a:pt x="15336" y="224"/>
                    </a:lnTo>
                    <a:lnTo>
                      <a:pt x="15000" y="448"/>
                    </a:lnTo>
                    <a:lnTo>
                      <a:pt x="14329" y="1008"/>
                    </a:lnTo>
                    <a:lnTo>
                      <a:pt x="13769" y="1680"/>
                    </a:lnTo>
                    <a:lnTo>
                      <a:pt x="13321" y="2351"/>
                    </a:lnTo>
                    <a:lnTo>
                      <a:pt x="12649" y="3695"/>
                    </a:lnTo>
                    <a:lnTo>
                      <a:pt x="12314" y="4254"/>
                    </a:lnTo>
                    <a:lnTo>
                      <a:pt x="12090" y="4478"/>
                    </a:lnTo>
                    <a:lnTo>
                      <a:pt x="11866" y="4590"/>
                    </a:lnTo>
                    <a:lnTo>
                      <a:pt x="9963" y="4590"/>
                    </a:lnTo>
                    <a:lnTo>
                      <a:pt x="9515" y="4814"/>
                    </a:lnTo>
                    <a:lnTo>
                      <a:pt x="8844" y="5150"/>
                    </a:lnTo>
                    <a:lnTo>
                      <a:pt x="8396" y="5486"/>
                    </a:lnTo>
                    <a:lnTo>
                      <a:pt x="8172" y="5821"/>
                    </a:lnTo>
                    <a:lnTo>
                      <a:pt x="7948" y="6157"/>
                    </a:lnTo>
                    <a:lnTo>
                      <a:pt x="7612" y="6717"/>
                    </a:lnTo>
                    <a:lnTo>
                      <a:pt x="7500" y="6829"/>
                    </a:lnTo>
                    <a:lnTo>
                      <a:pt x="7276" y="7053"/>
                    </a:lnTo>
                    <a:lnTo>
                      <a:pt x="6717" y="7165"/>
                    </a:lnTo>
                    <a:lnTo>
                      <a:pt x="6045" y="7277"/>
                    </a:lnTo>
                    <a:lnTo>
                      <a:pt x="4366" y="7277"/>
                    </a:lnTo>
                    <a:lnTo>
                      <a:pt x="3470" y="7500"/>
                    </a:lnTo>
                    <a:lnTo>
                      <a:pt x="2575" y="7836"/>
                    </a:lnTo>
                    <a:lnTo>
                      <a:pt x="1791" y="8284"/>
                    </a:lnTo>
                    <a:lnTo>
                      <a:pt x="1008" y="8844"/>
                    </a:lnTo>
                    <a:lnTo>
                      <a:pt x="448" y="9403"/>
                    </a:lnTo>
                    <a:lnTo>
                      <a:pt x="112" y="10075"/>
                    </a:lnTo>
                    <a:lnTo>
                      <a:pt x="0" y="10299"/>
                    </a:lnTo>
                    <a:lnTo>
                      <a:pt x="0" y="10523"/>
                    </a:lnTo>
                    <a:lnTo>
                      <a:pt x="112" y="10859"/>
                    </a:lnTo>
                    <a:lnTo>
                      <a:pt x="336" y="11083"/>
                    </a:lnTo>
                    <a:lnTo>
                      <a:pt x="560" y="11194"/>
                    </a:lnTo>
                    <a:lnTo>
                      <a:pt x="784" y="11194"/>
                    </a:lnTo>
                    <a:lnTo>
                      <a:pt x="1456" y="11083"/>
                    </a:lnTo>
                    <a:lnTo>
                      <a:pt x="3135" y="10411"/>
                    </a:lnTo>
                    <a:lnTo>
                      <a:pt x="4142" y="10187"/>
                    </a:lnTo>
                    <a:lnTo>
                      <a:pt x="5150" y="10075"/>
                    </a:lnTo>
                    <a:lnTo>
                      <a:pt x="5709" y="10187"/>
                    </a:lnTo>
                    <a:lnTo>
                      <a:pt x="6157" y="10299"/>
                    </a:lnTo>
                    <a:lnTo>
                      <a:pt x="6605" y="10635"/>
                    </a:lnTo>
                    <a:lnTo>
                      <a:pt x="7053" y="10971"/>
                    </a:lnTo>
                    <a:lnTo>
                      <a:pt x="7388" y="11306"/>
                    </a:lnTo>
                    <a:lnTo>
                      <a:pt x="7724" y="11418"/>
                    </a:lnTo>
                    <a:lnTo>
                      <a:pt x="8060" y="11306"/>
                    </a:lnTo>
                    <a:lnTo>
                      <a:pt x="8396" y="11306"/>
                    </a:lnTo>
                    <a:lnTo>
                      <a:pt x="9179" y="10971"/>
                    </a:lnTo>
                    <a:lnTo>
                      <a:pt x="9851" y="10635"/>
                    </a:lnTo>
                    <a:lnTo>
                      <a:pt x="10299" y="10635"/>
                    </a:lnTo>
                    <a:lnTo>
                      <a:pt x="11194" y="10747"/>
                    </a:lnTo>
                    <a:lnTo>
                      <a:pt x="11866" y="10859"/>
                    </a:lnTo>
                    <a:lnTo>
                      <a:pt x="12314" y="10747"/>
                    </a:lnTo>
                    <a:lnTo>
                      <a:pt x="12761" y="10635"/>
                    </a:lnTo>
                    <a:lnTo>
                      <a:pt x="13769" y="10411"/>
                    </a:lnTo>
                    <a:lnTo>
                      <a:pt x="14329" y="10075"/>
                    </a:lnTo>
                    <a:lnTo>
                      <a:pt x="14888" y="9627"/>
                    </a:lnTo>
                    <a:lnTo>
                      <a:pt x="15336" y="9068"/>
                    </a:lnTo>
                    <a:lnTo>
                      <a:pt x="15672" y="8620"/>
                    </a:lnTo>
                    <a:lnTo>
                      <a:pt x="16232" y="7500"/>
                    </a:lnTo>
                    <a:lnTo>
                      <a:pt x="16791" y="5709"/>
                    </a:lnTo>
                    <a:lnTo>
                      <a:pt x="16903" y="5374"/>
                    </a:lnTo>
                    <a:lnTo>
                      <a:pt x="16791" y="4926"/>
                    </a:lnTo>
                    <a:lnTo>
                      <a:pt x="16455" y="4478"/>
                    </a:lnTo>
                    <a:lnTo>
                      <a:pt x="16343" y="4254"/>
                    </a:lnTo>
                    <a:lnTo>
                      <a:pt x="16455" y="4030"/>
                    </a:lnTo>
                    <a:lnTo>
                      <a:pt x="16567" y="3918"/>
                    </a:lnTo>
                    <a:lnTo>
                      <a:pt x="16791" y="3807"/>
                    </a:lnTo>
                    <a:lnTo>
                      <a:pt x="17015" y="3918"/>
                    </a:lnTo>
                    <a:lnTo>
                      <a:pt x="17127" y="4030"/>
                    </a:lnTo>
                    <a:lnTo>
                      <a:pt x="17351" y="4366"/>
                    </a:lnTo>
                    <a:lnTo>
                      <a:pt x="17575" y="4478"/>
                    </a:lnTo>
                    <a:lnTo>
                      <a:pt x="17687" y="4366"/>
                    </a:lnTo>
                    <a:lnTo>
                      <a:pt x="17799" y="4030"/>
                    </a:lnTo>
                    <a:lnTo>
                      <a:pt x="17911" y="3247"/>
                    </a:lnTo>
                    <a:lnTo>
                      <a:pt x="18134" y="2799"/>
                    </a:lnTo>
                    <a:lnTo>
                      <a:pt x="18470" y="2575"/>
                    </a:lnTo>
                    <a:lnTo>
                      <a:pt x="18806" y="2463"/>
                    </a:lnTo>
                    <a:lnTo>
                      <a:pt x="19030" y="2463"/>
                    </a:lnTo>
                    <a:lnTo>
                      <a:pt x="19254" y="2351"/>
                    </a:lnTo>
                    <a:lnTo>
                      <a:pt x="19478" y="2015"/>
                    </a:lnTo>
                    <a:lnTo>
                      <a:pt x="19478" y="1680"/>
                    </a:lnTo>
                    <a:lnTo>
                      <a:pt x="19254" y="1008"/>
                    </a:lnTo>
                    <a:lnTo>
                      <a:pt x="19030" y="672"/>
                    </a:lnTo>
                    <a:lnTo>
                      <a:pt x="18806" y="336"/>
                    </a:lnTo>
                    <a:lnTo>
                      <a:pt x="18358" y="113"/>
                    </a:lnTo>
                    <a:lnTo>
                      <a:pt x="17911" y="1"/>
                    </a:lnTo>
                    <a:close/>
                  </a:path>
                </a:pathLst>
              </a:custGeom>
              <a:solidFill>
                <a:srgbClr val="6E362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41" name="Google Shape;1941;p16"/>
              <p:cNvSpPr/>
              <p:nvPr/>
            </p:nvSpPr>
            <p:spPr>
              <a:xfrm>
                <a:off x="5382725" y="1239975"/>
                <a:ext cx="193125" cy="92375"/>
              </a:xfrm>
              <a:custGeom>
                <a:avLst/>
                <a:gdLst/>
                <a:ahLst/>
                <a:cxnLst/>
                <a:rect l="l" t="t" r="r" b="b"/>
                <a:pathLst>
                  <a:path w="7725" h="3695" extrusionOk="0">
                    <a:moveTo>
                      <a:pt x="2239" y="0"/>
                    </a:moveTo>
                    <a:lnTo>
                      <a:pt x="2127" y="336"/>
                    </a:lnTo>
                    <a:lnTo>
                      <a:pt x="2127" y="560"/>
                    </a:lnTo>
                    <a:lnTo>
                      <a:pt x="2127" y="672"/>
                    </a:lnTo>
                    <a:lnTo>
                      <a:pt x="2016" y="672"/>
                    </a:lnTo>
                    <a:lnTo>
                      <a:pt x="1680" y="560"/>
                    </a:lnTo>
                    <a:lnTo>
                      <a:pt x="560" y="560"/>
                    </a:lnTo>
                    <a:lnTo>
                      <a:pt x="113" y="672"/>
                    </a:lnTo>
                    <a:lnTo>
                      <a:pt x="1" y="784"/>
                    </a:lnTo>
                    <a:lnTo>
                      <a:pt x="1" y="896"/>
                    </a:lnTo>
                    <a:lnTo>
                      <a:pt x="113" y="1567"/>
                    </a:lnTo>
                    <a:lnTo>
                      <a:pt x="113" y="2015"/>
                    </a:lnTo>
                    <a:lnTo>
                      <a:pt x="225" y="2351"/>
                    </a:lnTo>
                    <a:lnTo>
                      <a:pt x="448" y="2687"/>
                    </a:lnTo>
                    <a:lnTo>
                      <a:pt x="784" y="3023"/>
                    </a:lnTo>
                    <a:lnTo>
                      <a:pt x="1344" y="3246"/>
                    </a:lnTo>
                    <a:lnTo>
                      <a:pt x="2127" y="3470"/>
                    </a:lnTo>
                    <a:lnTo>
                      <a:pt x="5933" y="3694"/>
                    </a:lnTo>
                    <a:lnTo>
                      <a:pt x="7724" y="3694"/>
                    </a:lnTo>
                    <a:lnTo>
                      <a:pt x="6157" y="1455"/>
                    </a:lnTo>
                    <a:lnTo>
                      <a:pt x="5598" y="1343"/>
                    </a:lnTo>
                    <a:lnTo>
                      <a:pt x="4366" y="1232"/>
                    </a:lnTo>
                    <a:lnTo>
                      <a:pt x="3919" y="1120"/>
                    </a:lnTo>
                    <a:lnTo>
                      <a:pt x="3695" y="896"/>
                    </a:lnTo>
                    <a:lnTo>
                      <a:pt x="3359" y="560"/>
                    </a:lnTo>
                    <a:lnTo>
                      <a:pt x="2799" y="112"/>
                    </a:lnTo>
                    <a:lnTo>
                      <a:pt x="2463" y="0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42" name="Google Shape;1942;p16"/>
              <p:cNvSpPr/>
              <p:nvPr/>
            </p:nvSpPr>
            <p:spPr>
              <a:xfrm>
                <a:off x="6135525" y="909750"/>
                <a:ext cx="109150" cy="179125"/>
              </a:xfrm>
              <a:custGeom>
                <a:avLst/>
                <a:gdLst/>
                <a:ahLst/>
                <a:cxnLst/>
                <a:rect l="l" t="t" r="r" b="b"/>
                <a:pathLst>
                  <a:path w="4366" h="7165" extrusionOk="0">
                    <a:moveTo>
                      <a:pt x="2015" y="0"/>
                    </a:moveTo>
                    <a:lnTo>
                      <a:pt x="1120" y="2127"/>
                    </a:lnTo>
                    <a:lnTo>
                      <a:pt x="1120" y="2351"/>
                    </a:lnTo>
                    <a:lnTo>
                      <a:pt x="1120" y="3359"/>
                    </a:lnTo>
                    <a:lnTo>
                      <a:pt x="1008" y="4254"/>
                    </a:lnTo>
                    <a:lnTo>
                      <a:pt x="784" y="5038"/>
                    </a:lnTo>
                    <a:lnTo>
                      <a:pt x="672" y="5373"/>
                    </a:lnTo>
                    <a:lnTo>
                      <a:pt x="560" y="5933"/>
                    </a:lnTo>
                    <a:lnTo>
                      <a:pt x="336" y="6381"/>
                    </a:lnTo>
                    <a:lnTo>
                      <a:pt x="112" y="6941"/>
                    </a:lnTo>
                    <a:lnTo>
                      <a:pt x="0" y="7053"/>
                    </a:lnTo>
                    <a:lnTo>
                      <a:pt x="224" y="7164"/>
                    </a:lnTo>
                    <a:lnTo>
                      <a:pt x="896" y="7164"/>
                    </a:lnTo>
                    <a:lnTo>
                      <a:pt x="2015" y="6941"/>
                    </a:lnTo>
                    <a:lnTo>
                      <a:pt x="4366" y="6493"/>
                    </a:lnTo>
                    <a:lnTo>
                      <a:pt x="4366" y="6045"/>
                    </a:lnTo>
                    <a:lnTo>
                      <a:pt x="4254" y="5485"/>
                    </a:lnTo>
                    <a:lnTo>
                      <a:pt x="3918" y="4254"/>
                    </a:lnTo>
                    <a:lnTo>
                      <a:pt x="3582" y="3135"/>
                    </a:lnTo>
                    <a:lnTo>
                      <a:pt x="3358" y="2127"/>
                    </a:lnTo>
                    <a:lnTo>
                      <a:pt x="3246" y="1791"/>
                    </a:lnTo>
                    <a:lnTo>
                      <a:pt x="3134" y="1344"/>
                    </a:lnTo>
                    <a:lnTo>
                      <a:pt x="2687" y="672"/>
                    </a:lnTo>
                    <a:lnTo>
                      <a:pt x="2015" y="0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43" name="Google Shape;1943;p16"/>
              <p:cNvSpPr/>
              <p:nvPr/>
            </p:nvSpPr>
            <p:spPr>
              <a:xfrm>
                <a:off x="6135525" y="909750"/>
                <a:ext cx="109150" cy="179125"/>
              </a:xfrm>
              <a:custGeom>
                <a:avLst/>
                <a:gdLst/>
                <a:ahLst/>
                <a:cxnLst/>
                <a:rect l="l" t="t" r="r" b="b"/>
                <a:pathLst>
                  <a:path w="4366" h="7165" fill="none" extrusionOk="0">
                    <a:moveTo>
                      <a:pt x="2015" y="6941"/>
                    </a:moveTo>
                    <a:lnTo>
                      <a:pt x="4366" y="6493"/>
                    </a:lnTo>
                    <a:lnTo>
                      <a:pt x="4366" y="6493"/>
                    </a:lnTo>
                    <a:lnTo>
                      <a:pt x="4366" y="6045"/>
                    </a:lnTo>
                    <a:lnTo>
                      <a:pt x="4254" y="5485"/>
                    </a:lnTo>
                    <a:lnTo>
                      <a:pt x="3918" y="4254"/>
                    </a:lnTo>
                    <a:lnTo>
                      <a:pt x="3582" y="3135"/>
                    </a:lnTo>
                    <a:lnTo>
                      <a:pt x="3358" y="2127"/>
                    </a:lnTo>
                    <a:lnTo>
                      <a:pt x="3358" y="2127"/>
                    </a:lnTo>
                    <a:lnTo>
                      <a:pt x="3246" y="1791"/>
                    </a:lnTo>
                    <a:lnTo>
                      <a:pt x="3134" y="1344"/>
                    </a:lnTo>
                    <a:lnTo>
                      <a:pt x="2687" y="672"/>
                    </a:lnTo>
                    <a:lnTo>
                      <a:pt x="2015" y="0"/>
                    </a:lnTo>
                    <a:lnTo>
                      <a:pt x="1120" y="2127"/>
                    </a:lnTo>
                    <a:lnTo>
                      <a:pt x="1120" y="2351"/>
                    </a:lnTo>
                    <a:lnTo>
                      <a:pt x="1120" y="2351"/>
                    </a:lnTo>
                    <a:lnTo>
                      <a:pt x="1120" y="3359"/>
                    </a:lnTo>
                    <a:lnTo>
                      <a:pt x="1008" y="4254"/>
                    </a:lnTo>
                    <a:lnTo>
                      <a:pt x="784" y="5038"/>
                    </a:lnTo>
                    <a:lnTo>
                      <a:pt x="784" y="5038"/>
                    </a:lnTo>
                    <a:lnTo>
                      <a:pt x="672" y="5373"/>
                    </a:lnTo>
                    <a:lnTo>
                      <a:pt x="560" y="5933"/>
                    </a:lnTo>
                    <a:lnTo>
                      <a:pt x="336" y="6381"/>
                    </a:lnTo>
                    <a:lnTo>
                      <a:pt x="112" y="6941"/>
                    </a:lnTo>
                    <a:lnTo>
                      <a:pt x="112" y="6941"/>
                    </a:lnTo>
                    <a:lnTo>
                      <a:pt x="0" y="7053"/>
                    </a:lnTo>
                    <a:lnTo>
                      <a:pt x="224" y="7164"/>
                    </a:lnTo>
                    <a:lnTo>
                      <a:pt x="896" y="7164"/>
                    </a:lnTo>
                    <a:lnTo>
                      <a:pt x="2015" y="694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44" name="Google Shape;1944;p16"/>
              <p:cNvSpPr/>
              <p:nvPr/>
            </p:nvSpPr>
            <p:spPr>
              <a:xfrm>
                <a:off x="6157900" y="979700"/>
                <a:ext cx="5625" cy="44800"/>
              </a:xfrm>
              <a:custGeom>
                <a:avLst/>
                <a:gdLst/>
                <a:ahLst/>
                <a:cxnLst/>
                <a:rect l="l" t="t" r="r" b="b"/>
                <a:pathLst>
                  <a:path w="225" h="1792" extrusionOk="0">
                    <a:moveTo>
                      <a:pt x="1" y="1792"/>
                    </a:moveTo>
                    <a:lnTo>
                      <a:pt x="1" y="1792"/>
                    </a:lnTo>
                    <a:lnTo>
                      <a:pt x="1" y="1792"/>
                    </a:lnTo>
                    <a:lnTo>
                      <a:pt x="1" y="1792"/>
                    </a:lnTo>
                    <a:lnTo>
                      <a:pt x="1" y="1792"/>
                    </a:lnTo>
                    <a:lnTo>
                      <a:pt x="1" y="1792"/>
                    </a:lnTo>
                    <a:close/>
                    <a:moveTo>
                      <a:pt x="225" y="1"/>
                    </a:moveTo>
                    <a:lnTo>
                      <a:pt x="225" y="1"/>
                    </a:lnTo>
                    <a:lnTo>
                      <a:pt x="225" y="1"/>
                    </a:lnTo>
                    <a:lnTo>
                      <a:pt x="225" y="1008"/>
                    </a:lnTo>
                    <a:lnTo>
                      <a:pt x="225" y="1008"/>
                    </a:lnTo>
                    <a:lnTo>
                      <a:pt x="225" y="1"/>
                    </a:lnTo>
                    <a:close/>
                  </a:path>
                </a:pathLst>
              </a:custGeom>
              <a:solidFill>
                <a:srgbClr val="CBC8D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45" name="Google Shape;1945;p16"/>
              <p:cNvSpPr/>
              <p:nvPr/>
            </p:nvSpPr>
            <p:spPr>
              <a:xfrm>
                <a:off x="6157900" y="1024475"/>
                <a:ext cx="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46" name="Google Shape;1946;p16"/>
              <p:cNvSpPr/>
              <p:nvPr/>
            </p:nvSpPr>
            <p:spPr>
              <a:xfrm>
                <a:off x="6163500" y="979700"/>
                <a:ext cx="25" cy="252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009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008"/>
                    </a:lnTo>
                    <a:lnTo>
                      <a:pt x="1" y="1008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47" name="Google Shape;1947;p16"/>
              <p:cNvSpPr/>
              <p:nvPr/>
            </p:nvSpPr>
            <p:spPr>
              <a:xfrm>
                <a:off x="6157900" y="968525"/>
                <a:ext cx="53200" cy="61575"/>
              </a:xfrm>
              <a:custGeom>
                <a:avLst/>
                <a:gdLst/>
                <a:ahLst/>
                <a:cxnLst/>
                <a:rect l="l" t="t" r="r" b="b"/>
                <a:pathLst>
                  <a:path w="2128" h="2463" extrusionOk="0">
                    <a:moveTo>
                      <a:pt x="1232" y="0"/>
                    </a:moveTo>
                    <a:lnTo>
                      <a:pt x="1008" y="112"/>
                    </a:lnTo>
                    <a:lnTo>
                      <a:pt x="225" y="448"/>
                    </a:lnTo>
                    <a:lnTo>
                      <a:pt x="225" y="1455"/>
                    </a:lnTo>
                    <a:lnTo>
                      <a:pt x="1" y="2239"/>
                    </a:lnTo>
                    <a:lnTo>
                      <a:pt x="337" y="2351"/>
                    </a:lnTo>
                    <a:lnTo>
                      <a:pt x="560" y="2463"/>
                    </a:lnTo>
                    <a:lnTo>
                      <a:pt x="1008" y="2351"/>
                    </a:lnTo>
                    <a:lnTo>
                      <a:pt x="1344" y="2127"/>
                    </a:lnTo>
                    <a:lnTo>
                      <a:pt x="1568" y="1791"/>
                    </a:lnTo>
                    <a:lnTo>
                      <a:pt x="1904" y="1455"/>
                    </a:lnTo>
                    <a:lnTo>
                      <a:pt x="2128" y="672"/>
                    </a:lnTo>
                    <a:lnTo>
                      <a:pt x="2128" y="336"/>
                    </a:lnTo>
                    <a:lnTo>
                      <a:pt x="2128" y="112"/>
                    </a:lnTo>
                    <a:lnTo>
                      <a:pt x="1904" y="0"/>
                    </a:lnTo>
                    <a:close/>
                  </a:path>
                </a:pathLst>
              </a:custGeom>
              <a:solidFill>
                <a:srgbClr val="C4909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48" name="Google Shape;1948;p16"/>
              <p:cNvSpPr/>
              <p:nvPr/>
            </p:nvSpPr>
            <p:spPr>
              <a:xfrm>
                <a:off x="6157900" y="968525"/>
                <a:ext cx="53200" cy="61575"/>
              </a:xfrm>
              <a:custGeom>
                <a:avLst/>
                <a:gdLst/>
                <a:ahLst/>
                <a:cxnLst/>
                <a:rect l="l" t="t" r="r" b="b"/>
                <a:pathLst>
                  <a:path w="2128" h="2463" fill="none" extrusionOk="0">
                    <a:moveTo>
                      <a:pt x="1680" y="0"/>
                    </a:moveTo>
                    <a:lnTo>
                      <a:pt x="1680" y="0"/>
                    </a:lnTo>
                    <a:lnTo>
                      <a:pt x="1232" y="0"/>
                    </a:lnTo>
                    <a:lnTo>
                      <a:pt x="1008" y="112"/>
                    </a:lnTo>
                    <a:lnTo>
                      <a:pt x="225" y="448"/>
                    </a:lnTo>
                    <a:lnTo>
                      <a:pt x="225" y="448"/>
                    </a:lnTo>
                    <a:lnTo>
                      <a:pt x="225" y="1455"/>
                    </a:lnTo>
                    <a:lnTo>
                      <a:pt x="225" y="1455"/>
                    </a:lnTo>
                    <a:lnTo>
                      <a:pt x="1" y="2239"/>
                    </a:lnTo>
                    <a:lnTo>
                      <a:pt x="1" y="2239"/>
                    </a:lnTo>
                    <a:lnTo>
                      <a:pt x="1" y="2239"/>
                    </a:lnTo>
                    <a:lnTo>
                      <a:pt x="1" y="2239"/>
                    </a:lnTo>
                    <a:lnTo>
                      <a:pt x="337" y="2351"/>
                    </a:lnTo>
                    <a:lnTo>
                      <a:pt x="560" y="2463"/>
                    </a:lnTo>
                    <a:lnTo>
                      <a:pt x="560" y="2463"/>
                    </a:lnTo>
                    <a:lnTo>
                      <a:pt x="1008" y="2351"/>
                    </a:lnTo>
                    <a:lnTo>
                      <a:pt x="1344" y="2127"/>
                    </a:lnTo>
                    <a:lnTo>
                      <a:pt x="1568" y="1791"/>
                    </a:lnTo>
                    <a:lnTo>
                      <a:pt x="1904" y="1455"/>
                    </a:lnTo>
                    <a:lnTo>
                      <a:pt x="2128" y="672"/>
                    </a:lnTo>
                    <a:lnTo>
                      <a:pt x="2128" y="336"/>
                    </a:lnTo>
                    <a:lnTo>
                      <a:pt x="2128" y="112"/>
                    </a:lnTo>
                    <a:lnTo>
                      <a:pt x="2128" y="112"/>
                    </a:lnTo>
                    <a:lnTo>
                      <a:pt x="1904" y="0"/>
                    </a:lnTo>
                    <a:lnTo>
                      <a:pt x="168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49" name="Google Shape;1949;p16"/>
              <p:cNvSpPr/>
              <p:nvPr/>
            </p:nvSpPr>
            <p:spPr>
              <a:xfrm>
                <a:off x="6101925" y="890150"/>
                <a:ext cx="111975" cy="125975"/>
              </a:xfrm>
              <a:custGeom>
                <a:avLst/>
                <a:gdLst/>
                <a:ahLst/>
                <a:cxnLst/>
                <a:rect l="l" t="t" r="r" b="b"/>
                <a:pathLst>
                  <a:path w="4479" h="5039" extrusionOk="0">
                    <a:moveTo>
                      <a:pt x="4143" y="1"/>
                    </a:moveTo>
                    <a:lnTo>
                      <a:pt x="337" y="449"/>
                    </a:lnTo>
                    <a:lnTo>
                      <a:pt x="225" y="1232"/>
                    </a:lnTo>
                    <a:lnTo>
                      <a:pt x="113" y="2128"/>
                    </a:lnTo>
                    <a:lnTo>
                      <a:pt x="1" y="2911"/>
                    </a:lnTo>
                    <a:lnTo>
                      <a:pt x="1" y="3135"/>
                    </a:lnTo>
                    <a:lnTo>
                      <a:pt x="225" y="3135"/>
                    </a:lnTo>
                    <a:lnTo>
                      <a:pt x="449" y="3247"/>
                    </a:lnTo>
                    <a:lnTo>
                      <a:pt x="561" y="3471"/>
                    </a:lnTo>
                    <a:lnTo>
                      <a:pt x="561" y="4143"/>
                    </a:lnTo>
                    <a:lnTo>
                      <a:pt x="673" y="4814"/>
                    </a:lnTo>
                    <a:lnTo>
                      <a:pt x="785" y="5038"/>
                    </a:lnTo>
                    <a:lnTo>
                      <a:pt x="1568" y="5038"/>
                    </a:lnTo>
                    <a:lnTo>
                      <a:pt x="2128" y="4814"/>
                    </a:lnTo>
                    <a:lnTo>
                      <a:pt x="2687" y="4590"/>
                    </a:lnTo>
                    <a:lnTo>
                      <a:pt x="3247" y="4254"/>
                    </a:lnTo>
                    <a:lnTo>
                      <a:pt x="3695" y="3919"/>
                    </a:lnTo>
                    <a:lnTo>
                      <a:pt x="4031" y="3583"/>
                    </a:lnTo>
                    <a:lnTo>
                      <a:pt x="4367" y="3247"/>
                    </a:lnTo>
                    <a:lnTo>
                      <a:pt x="4478" y="2911"/>
                    </a:lnTo>
                    <a:lnTo>
                      <a:pt x="4478" y="2128"/>
                    </a:lnTo>
                    <a:lnTo>
                      <a:pt x="4367" y="1120"/>
                    </a:lnTo>
                    <a:lnTo>
                      <a:pt x="4143" y="1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50" name="Google Shape;1950;p16"/>
              <p:cNvSpPr/>
              <p:nvPr/>
            </p:nvSpPr>
            <p:spPr>
              <a:xfrm>
                <a:off x="6079550" y="836975"/>
                <a:ext cx="167925" cy="128775"/>
              </a:xfrm>
              <a:custGeom>
                <a:avLst/>
                <a:gdLst/>
                <a:ahLst/>
                <a:cxnLst/>
                <a:rect l="l" t="t" r="r" b="b"/>
                <a:pathLst>
                  <a:path w="6717" h="5151" extrusionOk="0">
                    <a:moveTo>
                      <a:pt x="4814" y="1"/>
                    </a:moveTo>
                    <a:lnTo>
                      <a:pt x="4366" y="113"/>
                    </a:lnTo>
                    <a:lnTo>
                      <a:pt x="4030" y="337"/>
                    </a:lnTo>
                    <a:lnTo>
                      <a:pt x="3471" y="337"/>
                    </a:lnTo>
                    <a:lnTo>
                      <a:pt x="3247" y="225"/>
                    </a:lnTo>
                    <a:lnTo>
                      <a:pt x="3023" y="113"/>
                    </a:lnTo>
                    <a:lnTo>
                      <a:pt x="2351" y="113"/>
                    </a:lnTo>
                    <a:lnTo>
                      <a:pt x="2127" y="225"/>
                    </a:lnTo>
                    <a:lnTo>
                      <a:pt x="1903" y="561"/>
                    </a:lnTo>
                    <a:lnTo>
                      <a:pt x="1680" y="785"/>
                    </a:lnTo>
                    <a:lnTo>
                      <a:pt x="1568" y="896"/>
                    </a:lnTo>
                    <a:lnTo>
                      <a:pt x="1008" y="896"/>
                    </a:lnTo>
                    <a:lnTo>
                      <a:pt x="448" y="1008"/>
                    </a:lnTo>
                    <a:lnTo>
                      <a:pt x="224" y="1120"/>
                    </a:lnTo>
                    <a:lnTo>
                      <a:pt x="112" y="1232"/>
                    </a:lnTo>
                    <a:lnTo>
                      <a:pt x="0" y="1568"/>
                    </a:lnTo>
                    <a:lnTo>
                      <a:pt x="112" y="1904"/>
                    </a:lnTo>
                    <a:lnTo>
                      <a:pt x="112" y="2128"/>
                    </a:lnTo>
                    <a:lnTo>
                      <a:pt x="336" y="2352"/>
                    </a:lnTo>
                    <a:lnTo>
                      <a:pt x="672" y="2576"/>
                    </a:lnTo>
                    <a:lnTo>
                      <a:pt x="1680" y="2576"/>
                    </a:lnTo>
                    <a:lnTo>
                      <a:pt x="1903" y="2688"/>
                    </a:lnTo>
                    <a:lnTo>
                      <a:pt x="2015" y="2911"/>
                    </a:lnTo>
                    <a:lnTo>
                      <a:pt x="2015" y="3247"/>
                    </a:lnTo>
                    <a:lnTo>
                      <a:pt x="2127" y="3359"/>
                    </a:lnTo>
                    <a:lnTo>
                      <a:pt x="2351" y="3471"/>
                    </a:lnTo>
                    <a:lnTo>
                      <a:pt x="2575" y="3359"/>
                    </a:lnTo>
                    <a:lnTo>
                      <a:pt x="3023" y="3247"/>
                    </a:lnTo>
                    <a:lnTo>
                      <a:pt x="3582" y="3247"/>
                    </a:lnTo>
                    <a:lnTo>
                      <a:pt x="3582" y="3583"/>
                    </a:lnTo>
                    <a:lnTo>
                      <a:pt x="3471" y="4031"/>
                    </a:lnTo>
                    <a:lnTo>
                      <a:pt x="3359" y="4255"/>
                    </a:lnTo>
                    <a:lnTo>
                      <a:pt x="3359" y="4367"/>
                    </a:lnTo>
                    <a:lnTo>
                      <a:pt x="3471" y="4479"/>
                    </a:lnTo>
                    <a:lnTo>
                      <a:pt x="3582" y="4590"/>
                    </a:lnTo>
                    <a:lnTo>
                      <a:pt x="3806" y="4479"/>
                    </a:lnTo>
                    <a:lnTo>
                      <a:pt x="4142" y="4255"/>
                    </a:lnTo>
                    <a:lnTo>
                      <a:pt x="4478" y="3695"/>
                    </a:lnTo>
                    <a:lnTo>
                      <a:pt x="4702" y="3695"/>
                    </a:lnTo>
                    <a:lnTo>
                      <a:pt x="4926" y="3807"/>
                    </a:lnTo>
                    <a:lnTo>
                      <a:pt x="5038" y="3807"/>
                    </a:lnTo>
                    <a:lnTo>
                      <a:pt x="5150" y="4031"/>
                    </a:lnTo>
                    <a:lnTo>
                      <a:pt x="5150" y="4479"/>
                    </a:lnTo>
                    <a:lnTo>
                      <a:pt x="5150" y="4926"/>
                    </a:lnTo>
                    <a:lnTo>
                      <a:pt x="5262" y="5038"/>
                    </a:lnTo>
                    <a:lnTo>
                      <a:pt x="5262" y="5150"/>
                    </a:lnTo>
                    <a:lnTo>
                      <a:pt x="5485" y="5150"/>
                    </a:lnTo>
                    <a:lnTo>
                      <a:pt x="5709" y="4926"/>
                    </a:lnTo>
                    <a:lnTo>
                      <a:pt x="6045" y="4590"/>
                    </a:lnTo>
                    <a:lnTo>
                      <a:pt x="6381" y="4143"/>
                    </a:lnTo>
                    <a:lnTo>
                      <a:pt x="6605" y="3695"/>
                    </a:lnTo>
                    <a:lnTo>
                      <a:pt x="6717" y="3247"/>
                    </a:lnTo>
                    <a:lnTo>
                      <a:pt x="6717" y="2799"/>
                    </a:lnTo>
                    <a:lnTo>
                      <a:pt x="6605" y="2576"/>
                    </a:lnTo>
                    <a:lnTo>
                      <a:pt x="6493" y="2352"/>
                    </a:lnTo>
                    <a:lnTo>
                      <a:pt x="6157" y="2128"/>
                    </a:lnTo>
                    <a:lnTo>
                      <a:pt x="6045" y="1792"/>
                    </a:lnTo>
                    <a:lnTo>
                      <a:pt x="5933" y="1232"/>
                    </a:lnTo>
                    <a:lnTo>
                      <a:pt x="5709" y="673"/>
                    </a:lnTo>
                    <a:lnTo>
                      <a:pt x="5597" y="337"/>
                    </a:lnTo>
                    <a:lnTo>
                      <a:pt x="5262" y="113"/>
                    </a:lnTo>
                    <a:lnTo>
                      <a:pt x="5038" y="1"/>
                    </a:lnTo>
                    <a:close/>
                  </a:path>
                </a:pathLst>
              </a:custGeom>
              <a:solidFill>
                <a:srgbClr val="201F3B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51" name="Google Shape;1951;p16"/>
              <p:cNvSpPr/>
              <p:nvPr/>
            </p:nvSpPr>
            <p:spPr>
              <a:xfrm>
                <a:off x="6549700" y="2253025"/>
                <a:ext cx="75575" cy="137150"/>
              </a:xfrm>
              <a:custGeom>
                <a:avLst/>
                <a:gdLst/>
                <a:ahLst/>
                <a:cxnLst/>
                <a:rect l="l" t="t" r="r" b="b"/>
                <a:pathLst>
                  <a:path w="3023" h="5486" extrusionOk="0">
                    <a:moveTo>
                      <a:pt x="0" y="0"/>
                    </a:moveTo>
                    <a:lnTo>
                      <a:pt x="224" y="4142"/>
                    </a:lnTo>
                    <a:lnTo>
                      <a:pt x="2127" y="5485"/>
                    </a:lnTo>
                    <a:lnTo>
                      <a:pt x="3023" y="3918"/>
                    </a:lnTo>
                    <a:lnTo>
                      <a:pt x="3023" y="1679"/>
                    </a:lnTo>
                    <a:lnTo>
                      <a:pt x="3023" y="1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52" name="Google Shape;1952;p16"/>
              <p:cNvSpPr/>
              <p:nvPr/>
            </p:nvSpPr>
            <p:spPr>
              <a:xfrm>
                <a:off x="6544100" y="2325775"/>
                <a:ext cx="223900" cy="97975"/>
              </a:xfrm>
              <a:custGeom>
                <a:avLst/>
                <a:gdLst/>
                <a:ahLst/>
                <a:cxnLst/>
                <a:rect l="l" t="t" r="r" b="b"/>
                <a:pathLst>
                  <a:path w="8956" h="3919" extrusionOk="0">
                    <a:moveTo>
                      <a:pt x="336" y="1"/>
                    </a:moveTo>
                    <a:lnTo>
                      <a:pt x="224" y="113"/>
                    </a:lnTo>
                    <a:lnTo>
                      <a:pt x="112" y="448"/>
                    </a:lnTo>
                    <a:lnTo>
                      <a:pt x="0" y="1344"/>
                    </a:lnTo>
                    <a:lnTo>
                      <a:pt x="112" y="2463"/>
                    </a:lnTo>
                    <a:lnTo>
                      <a:pt x="224" y="3471"/>
                    </a:lnTo>
                    <a:lnTo>
                      <a:pt x="336" y="3583"/>
                    </a:lnTo>
                    <a:lnTo>
                      <a:pt x="448" y="3807"/>
                    </a:lnTo>
                    <a:lnTo>
                      <a:pt x="672" y="3918"/>
                    </a:lnTo>
                    <a:lnTo>
                      <a:pt x="8396" y="3918"/>
                    </a:lnTo>
                    <a:lnTo>
                      <a:pt x="8732" y="3695"/>
                    </a:lnTo>
                    <a:lnTo>
                      <a:pt x="8843" y="3471"/>
                    </a:lnTo>
                    <a:lnTo>
                      <a:pt x="8955" y="3135"/>
                    </a:lnTo>
                    <a:lnTo>
                      <a:pt x="8955" y="2911"/>
                    </a:lnTo>
                    <a:lnTo>
                      <a:pt x="8843" y="2575"/>
                    </a:lnTo>
                    <a:lnTo>
                      <a:pt x="8732" y="2463"/>
                    </a:lnTo>
                    <a:lnTo>
                      <a:pt x="8620" y="2351"/>
                    </a:lnTo>
                    <a:lnTo>
                      <a:pt x="7724" y="2239"/>
                    </a:lnTo>
                    <a:lnTo>
                      <a:pt x="6381" y="2127"/>
                    </a:lnTo>
                    <a:lnTo>
                      <a:pt x="5709" y="1904"/>
                    </a:lnTo>
                    <a:lnTo>
                      <a:pt x="5038" y="1680"/>
                    </a:lnTo>
                    <a:lnTo>
                      <a:pt x="4590" y="1456"/>
                    </a:lnTo>
                    <a:lnTo>
                      <a:pt x="4366" y="1120"/>
                    </a:lnTo>
                    <a:lnTo>
                      <a:pt x="4254" y="672"/>
                    </a:lnTo>
                    <a:lnTo>
                      <a:pt x="4030" y="336"/>
                    </a:lnTo>
                    <a:lnTo>
                      <a:pt x="3694" y="113"/>
                    </a:lnTo>
                    <a:lnTo>
                      <a:pt x="3470" y="113"/>
                    </a:lnTo>
                    <a:lnTo>
                      <a:pt x="3023" y="336"/>
                    </a:lnTo>
                    <a:lnTo>
                      <a:pt x="2687" y="448"/>
                    </a:lnTo>
                    <a:lnTo>
                      <a:pt x="1791" y="448"/>
                    </a:lnTo>
                    <a:lnTo>
                      <a:pt x="896" y="224"/>
                    </a:lnTo>
                    <a:lnTo>
                      <a:pt x="336" y="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53" name="Google Shape;1953;p16"/>
              <p:cNvSpPr/>
              <p:nvPr/>
            </p:nvSpPr>
            <p:spPr>
              <a:xfrm>
                <a:off x="6001200" y="2535675"/>
                <a:ext cx="75575" cy="137150"/>
              </a:xfrm>
              <a:custGeom>
                <a:avLst/>
                <a:gdLst/>
                <a:ahLst/>
                <a:cxnLst/>
                <a:rect l="l" t="t" r="r" b="b"/>
                <a:pathLst>
                  <a:path w="3023" h="5486" extrusionOk="0">
                    <a:moveTo>
                      <a:pt x="0" y="0"/>
                    </a:moveTo>
                    <a:lnTo>
                      <a:pt x="112" y="4142"/>
                    </a:lnTo>
                    <a:lnTo>
                      <a:pt x="2127" y="5485"/>
                    </a:lnTo>
                    <a:lnTo>
                      <a:pt x="3022" y="3918"/>
                    </a:lnTo>
                    <a:lnTo>
                      <a:pt x="3022" y="1679"/>
                    </a:lnTo>
                    <a:lnTo>
                      <a:pt x="3022" y="1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54" name="Google Shape;1954;p16"/>
              <p:cNvSpPr/>
              <p:nvPr/>
            </p:nvSpPr>
            <p:spPr>
              <a:xfrm>
                <a:off x="5995600" y="2597225"/>
                <a:ext cx="221100" cy="109175"/>
              </a:xfrm>
              <a:custGeom>
                <a:avLst/>
                <a:gdLst/>
                <a:ahLst/>
                <a:cxnLst/>
                <a:rect l="l" t="t" r="r" b="b"/>
                <a:pathLst>
                  <a:path w="8844" h="4367" extrusionOk="0">
                    <a:moveTo>
                      <a:pt x="224" y="1"/>
                    </a:moveTo>
                    <a:lnTo>
                      <a:pt x="112" y="225"/>
                    </a:lnTo>
                    <a:lnTo>
                      <a:pt x="0" y="560"/>
                    </a:lnTo>
                    <a:lnTo>
                      <a:pt x="0" y="1568"/>
                    </a:lnTo>
                    <a:lnTo>
                      <a:pt x="0" y="2799"/>
                    </a:lnTo>
                    <a:lnTo>
                      <a:pt x="224" y="3807"/>
                    </a:lnTo>
                    <a:lnTo>
                      <a:pt x="224" y="4030"/>
                    </a:lnTo>
                    <a:lnTo>
                      <a:pt x="448" y="4254"/>
                    </a:lnTo>
                    <a:lnTo>
                      <a:pt x="560" y="4254"/>
                    </a:lnTo>
                    <a:lnTo>
                      <a:pt x="784" y="4366"/>
                    </a:lnTo>
                    <a:lnTo>
                      <a:pt x="8284" y="4366"/>
                    </a:lnTo>
                    <a:lnTo>
                      <a:pt x="8620" y="4142"/>
                    </a:lnTo>
                    <a:lnTo>
                      <a:pt x="8843" y="3919"/>
                    </a:lnTo>
                    <a:lnTo>
                      <a:pt x="8843" y="3695"/>
                    </a:lnTo>
                    <a:lnTo>
                      <a:pt x="8843" y="3359"/>
                    </a:lnTo>
                    <a:lnTo>
                      <a:pt x="8843" y="3135"/>
                    </a:lnTo>
                    <a:lnTo>
                      <a:pt x="8731" y="2911"/>
                    </a:lnTo>
                    <a:lnTo>
                      <a:pt x="8620" y="2911"/>
                    </a:lnTo>
                    <a:lnTo>
                      <a:pt x="7612" y="2687"/>
                    </a:lnTo>
                    <a:lnTo>
                      <a:pt x="6157" y="2351"/>
                    </a:lnTo>
                    <a:lnTo>
                      <a:pt x="5373" y="2016"/>
                    </a:lnTo>
                    <a:lnTo>
                      <a:pt x="4702" y="1792"/>
                    </a:lnTo>
                    <a:lnTo>
                      <a:pt x="4142" y="1456"/>
                    </a:lnTo>
                    <a:lnTo>
                      <a:pt x="4030" y="1232"/>
                    </a:lnTo>
                    <a:lnTo>
                      <a:pt x="3918" y="1008"/>
                    </a:lnTo>
                    <a:lnTo>
                      <a:pt x="3806" y="448"/>
                    </a:lnTo>
                    <a:lnTo>
                      <a:pt x="3694" y="336"/>
                    </a:lnTo>
                    <a:lnTo>
                      <a:pt x="3582" y="225"/>
                    </a:lnTo>
                    <a:lnTo>
                      <a:pt x="1567" y="225"/>
                    </a:lnTo>
                    <a:lnTo>
                      <a:pt x="224" y="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55" name="Google Shape;1955;p16"/>
              <p:cNvSpPr/>
              <p:nvPr/>
            </p:nvSpPr>
            <p:spPr>
              <a:xfrm>
                <a:off x="5964800" y="1500225"/>
                <a:ext cx="691250" cy="1077450"/>
              </a:xfrm>
              <a:custGeom>
                <a:avLst/>
                <a:gdLst/>
                <a:ahLst/>
                <a:cxnLst/>
                <a:rect l="l" t="t" r="r" b="b"/>
                <a:pathLst>
                  <a:path w="27650" h="43098" extrusionOk="0">
                    <a:moveTo>
                      <a:pt x="3247" y="1"/>
                    </a:moveTo>
                    <a:lnTo>
                      <a:pt x="2352" y="112"/>
                    </a:lnTo>
                    <a:lnTo>
                      <a:pt x="1568" y="336"/>
                    </a:lnTo>
                    <a:lnTo>
                      <a:pt x="896" y="672"/>
                    </a:lnTo>
                    <a:lnTo>
                      <a:pt x="673" y="896"/>
                    </a:lnTo>
                    <a:lnTo>
                      <a:pt x="449" y="1232"/>
                    </a:lnTo>
                    <a:lnTo>
                      <a:pt x="337" y="1456"/>
                    </a:lnTo>
                    <a:lnTo>
                      <a:pt x="225" y="1904"/>
                    </a:lnTo>
                    <a:lnTo>
                      <a:pt x="225" y="3471"/>
                    </a:lnTo>
                    <a:lnTo>
                      <a:pt x="113" y="5374"/>
                    </a:lnTo>
                    <a:lnTo>
                      <a:pt x="1" y="7277"/>
                    </a:lnTo>
                    <a:lnTo>
                      <a:pt x="113" y="9627"/>
                    </a:lnTo>
                    <a:lnTo>
                      <a:pt x="337" y="11194"/>
                    </a:lnTo>
                    <a:lnTo>
                      <a:pt x="561" y="13769"/>
                    </a:lnTo>
                    <a:lnTo>
                      <a:pt x="785" y="17463"/>
                    </a:lnTo>
                    <a:lnTo>
                      <a:pt x="896" y="21605"/>
                    </a:lnTo>
                    <a:lnTo>
                      <a:pt x="1008" y="25411"/>
                    </a:lnTo>
                    <a:lnTo>
                      <a:pt x="896" y="29888"/>
                    </a:lnTo>
                    <a:lnTo>
                      <a:pt x="1008" y="35149"/>
                    </a:lnTo>
                    <a:lnTo>
                      <a:pt x="1232" y="42649"/>
                    </a:lnTo>
                    <a:lnTo>
                      <a:pt x="2240" y="42985"/>
                    </a:lnTo>
                    <a:lnTo>
                      <a:pt x="3135" y="43097"/>
                    </a:lnTo>
                    <a:lnTo>
                      <a:pt x="4255" y="42985"/>
                    </a:lnTo>
                    <a:lnTo>
                      <a:pt x="5598" y="42649"/>
                    </a:lnTo>
                    <a:lnTo>
                      <a:pt x="6046" y="37164"/>
                    </a:lnTo>
                    <a:lnTo>
                      <a:pt x="6829" y="25747"/>
                    </a:lnTo>
                    <a:lnTo>
                      <a:pt x="7277" y="22500"/>
                    </a:lnTo>
                    <a:lnTo>
                      <a:pt x="7949" y="18135"/>
                    </a:lnTo>
                    <a:lnTo>
                      <a:pt x="9068" y="11754"/>
                    </a:lnTo>
                    <a:lnTo>
                      <a:pt x="11419" y="12314"/>
                    </a:lnTo>
                    <a:lnTo>
                      <a:pt x="15672" y="13321"/>
                    </a:lnTo>
                    <a:lnTo>
                      <a:pt x="17799" y="13881"/>
                    </a:lnTo>
                    <a:lnTo>
                      <a:pt x="19702" y="14441"/>
                    </a:lnTo>
                    <a:lnTo>
                      <a:pt x="21045" y="14888"/>
                    </a:lnTo>
                    <a:lnTo>
                      <a:pt x="21493" y="15112"/>
                    </a:lnTo>
                    <a:lnTo>
                      <a:pt x="21605" y="15336"/>
                    </a:lnTo>
                    <a:lnTo>
                      <a:pt x="21829" y="16008"/>
                    </a:lnTo>
                    <a:lnTo>
                      <a:pt x="21941" y="16791"/>
                    </a:lnTo>
                    <a:lnTo>
                      <a:pt x="22165" y="19030"/>
                    </a:lnTo>
                    <a:lnTo>
                      <a:pt x="22165" y="21717"/>
                    </a:lnTo>
                    <a:lnTo>
                      <a:pt x="22277" y="24515"/>
                    </a:lnTo>
                    <a:lnTo>
                      <a:pt x="22277" y="29552"/>
                    </a:lnTo>
                    <a:lnTo>
                      <a:pt x="22389" y="31232"/>
                    </a:lnTo>
                    <a:lnTo>
                      <a:pt x="22501" y="31679"/>
                    </a:lnTo>
                    <a:lnTo>
                      <a:pt x="22501" y="31903"/>
                    </a:lnTo>
                    <a:lnTo>
                      <a:pt x="22613" y="32015"/>
                    </a:lnTo>
                    <a:lnTo>
                      <a:pt x="22836" y="32127"/>
                    </a:lnTo>
                    <a:lnTo>
                      <a:pt x="23396" y="32239"/>
                    </a:lnTo>
                    <a:lnTo>
                      <a:pt x="24180" y="32351"/>
                    </a:lnTo>
                    <a:lnTo>
                      <a:pt x="25187" y="32351"/>
                    </a:lnTo>
                    <a:lnTo>
                      <a:pt x="26083" y="32239"/>
                    </a:lnTo>
                    <a:lnTo>
                      <a:pt x="26866" y="32127"/>
                    </a:lnTo>
                    <a:lnTo>
                      <a:pt x="27426" y="31791"/>
                    </a:lnTo>
                    <a:lnTo>
                      <a:pt x="27538" y="31679"/>
                    </a:lnTo>
                    <a:lnTo>
                      <a:pt x="27650" y="31567"/>
                    </a:lnTo>
                    <a:lnTo>
                      <a:pt x="27538" y="23060"/>
                    </a:lnTo>
                    <a:lnTo>
                      <a:pt x="27314" y="16679"/>
                    </a:lnTo>
                    <a:lnTo>
                      <a:pt x="27202" y="14105"/>
                    </a:lnTo>
                    <a:lnTo>
                      <a:pt x="27090" y="12538"/>
                    </a:lnTo>
                    <a:lnTo>
                      <a:pt x="26866" y="11866"/>
                    </a:lnTo>
                    <a:lnTo>
                      <a:pt x="26419" y="11306"/>
                    </a:lnTo>
                    <a:lnTo>
                      <a:pt x="25747" y="10635"/>
                    </a:lnTo>
                    <a:lnTo>
                      <a:pt x="24963" y="10075"/>
                    </a:lnTo>
                    <a:lnTo>
                      <a:pt x="22948" y="8956"/>
                    </a:lnTo>
                    <a:lnTo>
                      <a:pt x="20598" y="7724"/>
                    </a:lnTo>
                    <a:lnTo>
                      <a:pt x="18247" y="6605"/>
                    </a:lnTo>
                    <a:lnTo>
                      <a:pt x="15896" y="5262"/>
                    </a:lnTo>
                    <a:lnTo>
                      <a:pt x="14889" y="4478"/>
                    </a:lnTo>
                    <a:lnTo>
                      <a:pt x="13993" y="3695"/>
                    </a:lnTo>
                    <a:lnTo>
                      <a:pt x="13210" y="2911"/>
                    </a:lnTo>
                    <a:lnTo>
                      <a:pt x="12650" y="2015"/>
                    </a:lnTo>
                    <a:lnTo>
                      <a:pt x="10747" y="1456"/>
                    </a:lnTo>
                    <a:lnTo>
                      <a:pt x="8844" y="896"/>
                    </a:lnTo>
                    <a:lnTo>
                      <a:pt x="6605" y="336"/>
                    </a:lnTo>
                    <a:lnTo>
                      <a:pt x="5486" y="224"/>
                    </a:lnTo>
                    <a:lnTo>
                      <a:pt x="4367" y="112"/>
                    </a:lnTo>
                    <a:lnTo>
                      <a:pt x="3247" y="1"/>
                    </a:lnTo>
                    <a:close/>
                  </a:path>
                </a:pathLst>
              </a:custGeom>
              <a:solidFill>
                <a:srgbClr val="46464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56" name="Google Shape;1956;p16"/>
              <p:cNvSpPr/>
              <p:nvPr/>
            </p:nvSpPr>
            <p:spPr>
              <a:xfrm>
                <a:off x="5964800" y="1500225"/>
                <a:ext cx="691250" cy="1077450"/>
              </a:xfrm>
              <a:custGeom>
                <a:avLst/>
                <a:gdLst/>
                <a:ahLst/>
                <a:cxnLst/>
                <a:rect l="l" t="t" r="r" b="b"/>
                <a:pathLst>
                  <a:path w="27650" h="43098" fill="none" extrusionOk="0">
                    <a:moveTo>
                      <a:pt x="113" y="9627"/>
                    </a:moveTo>
                    <a:lnTo>
                      <a:pt x="113" y="9627"/>
                    </a:lnTo>
                    <a:lnTo>
                      <a:pt x="337" y="11194"/>
                    </a:lnTo>
                    <a:lnTo>
                      <a:pt x="337" y="11194"/>
                    </a:lnTo>
                    <a:lnTo>
                      <a:pt x="561" y="13769"/>
                    </a:lnTo>
                    <a:lnTo>
                      <a:pt x="785" y="17463"/>
                    </a:lnTo>
                    <a:lnTo>
                      <a:pt x="896" y="21605"/>
                    </a:lnTo>
                    <a:lnTo>
                      <a:pt x="1008" y="25411"/>
                    </a:lnTo>
                    <a:lnTo>
                      <a:pt x="1008" y="25411"/>
                    </a:lnTo>
                    <a:lnTo>
                      <a:pt x="896" y="29888"/>
                    </a:lnTo>
                    <a:lnTo>
                      <a:pt x="1008" y="35149"/>
                    </a:lnTo>
                    <a:lnTo>
                      <a:pt x="1232" y="42649"/>
                    </a:lnTo>
                    <a:lnTo>
                      <a:pt x="1232" y="42649"/>
                    </a:lnTo>
                    <a:lnTo>
                      <a:pt x="2240" y="42985"/>
                    </a:lnTo>
                    <a:lnTo>
                      <a:pt x="3135" y="43097"/>
                    </a:lnTo>
                    <a:lnTo>
                      <a:pt x="4255" y="42985"/>
                    </a:lnTo>
                    <a:lnTo>
                      <a:pt x="5598" y="42649"/>
                    </a:lnTo>
                    <a:lnTo>
                      <a:pt x="5598" y="42649"/>
                    </a:lnTo>
                    <a:lnTo>
                      <a:pt x="6046" y="37164"/>
                    </a:lnTo>
                    <a:lnTo>
                      <a:pt x="6829" y="25747"/>
                    </a:lnTo>
                    <a:lnTo>
                      <a:pt x="6829" y="25747"/>
                    </a:lnTo>
                    <a:lnTo>
                      <a:pt x="7277" y="22500"/>
                    </a:lnTo>
                    <a:lnTo>
                      <a:pt x="7949" y="18135"/>
                    </a:lnTo>
                    <a:lnTo>
                      <a:pt x="9068" y="11754"/>
                    </a:lnTo>
                    <a:lnTo>
                      <a:pt x="9068" y="11754"/>
                    </a:lnTo>
                    <a:lnTo>
                      <a:pt x="11419" y="12314"/>
                    </a:lnTo>
                    <a:lnTo>
                      <a:pt x="15672" y="13321"/>
                    </a:lnTo>
                    <a:lnTo>
                      <a:pt x="17799" y="13881"/>
                    </a:lnTo>
                    <a:lnTo>
                      <a:pt x="19702" y="14441"/>
                    </a:lnTo>
                    <a:lnTo>
                      <a:pt x="21045" y="14888"/>
                    </a:lnTo>
                    <a:lnTo>
                      <a:pt x="21493" y="15112"/>
                    </a:lnTo>
                    <a:lnTo>
                      <a:pt x="21605" y="15336"/>
                    </a:lnTo>
                    <a:lnTo>
                      <a:pt x="21605" y="15336"/>
                    </a:lnTo>
                    <a:lnTo>
                      <a:pt x="21829" y="16008"/>
                    </a:lnTo>
                    <a:lnTo>
                      <a:pt x="21941" y="16791"/>
                    </a:lnTo>
                    <a:lnTo>
                      <a:pt x="22165" y="19030"/>
                    </a:lnTo>
                    <a:lnTo>
                      <a:pt x="22165" y="21717"/>
                    </a:lnTo>
                    <a:lnTo>
                      <a:pt x="22277" y="24515"/>
                    </a:lnTo>
                    <a:lnTo>
                      <a:pt x="22277" y="29552"/>
                    </a:lnTo>
                    <a:lnTo>
                      <a:pt x="22389" y="31232"/>
                    </a:lnTo>
                    <a:lnTo>
                      <a:pt x="22501" y="31679"/>
                    </a:lnTo>
                    <a:lnTo>
                      <a:pt x="22501" y="31903"/>
                    </a:lnTo>
                    <a:lnTo>
                      <a:pt x="22501" y="31903"/>
                    </a:lnTo>
                    <a:lnTo>
                      <a:pt x="22613" y="32015"/>
                    </a:lnTo>
                    <a:lnTo>
                      <a:pt x="22836" y="32127"/>
                    </a:lnTo>
                    <a:lnTo>
                      <a:pt x="23396" y="32239"/>
                    </a:lnTo>
                    <a:lnTo>
                      <a:pt x="24180" y="32351"/>
                    </a:lnTo>
                    <a:lnTo>
                      <a:pt x="25187" y="32351"/>
                    </a:lnTo>
                    <a:lnTo>
                      <a:pt x="26083" y="32239"/>
                    </a:lnTo>
                    <a:lnTo>
                      <a:pt x="26866" y="32127"/>
                    </a:lnTo>
                    <a:lnTo>
                      <a:pt x="27426" y="31791"/>
                    </a:lnTo>
                    <a:lnTo>
                      <a:pt x="27538" y="31679"/>
                    </a:lnTo>
                    <a:lnTo>
                      <a:pt x="27650" y="31567"/>
                    </a:lnTo>
                    <a:lnTo>
                      <a:pt x="27650" y="31567"/>
                    </a:lnTo>
                    <a:lnTo>
                      <a:pt x="27538" y="23060"/>
                    </a:lnTo>
                    <a:lnTo>
                      <a:pt x="27314" y="16679"/>
                    </a:lnTo>
                    <a:lnTo>
                      <a:pt x="27202" y="14105"/>
                    </a:lnTo>
                    <a:lnTo>
                      <a:pt x="27090" y="12538"/>
                    </a:lnTo>
                    <a:lnTo>
                      <a:pt x="27090" y="12538"/>
                    </a:lnTo>
                    <a:lnTo>
                      <a:pt x="26866" y="11866"/>
                    </a:lnTo>
                    <a:lnTo>
                      <a:pt x="26419" y="11306"/>
                    </a:lnTo>
                    <a:lnTo>
                      <a:pt x="25747" y="10635"/>
                    </a:lnTo>
                    <a:lnTo>
                      <a:pt x="24963" y="10075"/>
                    </a:lnTo>
                    <a:lnTo>
                      <a:pt x="22948" y="8956"/>
                    </a:lnTo>
                    <a:lnTo>
                      <a:pt x="20598" y="7724"/>
                    </a:lnTo>
                    <a:lnTo>
                      <a:pt x="18247" y="6605"/>
                    </a:lnTo>
                    <a:lnTo>
                      <a:pt x="15896" y="5262"/>
                    </a:lnTo>
                    <a:lnTo>
                      <a:pt x="14889" y="4478"/>
                    </a:lnTo>
                    <a:lnTo>
                      <a:pt x="13993" y="3695"/>
                    </a:lnTo>
                    <a:lnTo>
                      <a:pt x="13210" y="2911"/>
                    </a:lnTo>
                    <a:lnTo>
                      <a:pt x="12650" y="2015"/>
                    </a:lnTo>
                    <a:lnTo>
                      <a:pt x="12650" y="2015"/>
                    </a:lnTo>
                    <a:lnTo>
                      <a:pt x="10747" y="1456"/>
                    </a:lnTo>
                    <a:lnTo>
                      <a:pt x="8844" y="896"/>
                    </a:lnTo>
                    <a:lnTo>
                      <a:pt x="6605" y="336"/>
                    </a:lnTo>
                    <a:lnTo>
                      <a:pt x="5486" y="224"/>
                    </a:lnTo>
                    <a:lnTo>
                      <a:pt x="4367" y="112"/>
                    </a:lnTo>
                    <a:lnTo>
                      <a:pt x="3247" y="1"/>
                    </a:lnTo>
                    <a:lnTo>
                      <a:pt x="2352" y="112"/>
                    </a:lnTo>
                    <a:lnTo>
                      <a:pt x="1568" y="336"/>
                    </a:lnTo>
                    <a:lnTo>
                      <a:pt x="896" y="672"/>
                    </a:lnTo>
                    <a:lnTo>
                      <a:pt x="673" y="896"/>
                    </a:lnTo>
                    <a:lnTo>
                      <a:pt x="449" y="1232"/>
                    </a:lnTo>
                    <a:lnTo>
                      <a:pt x="337" y="1456"/>
                    </a:lnTo>
                    <a:lnTo>
                      <a:pt x="225" y="1904"/>
                    </a:lnTo>
                    <a:lnTo>
                      <a:pt x="225" y="1904"/>
                    </a:lnTo>
                    <a:lnTo>
                      <a:pt x="225" y="3471"/>
                    </a:lnTo>
                    <a:lnTo>
                      <a:pt x="225" y="3471"/>
                    </a:lnTo>
                    <a:lnTo>
                      <a:pt x="113" y="5374"/>
                    </a:lnTo>
                    <a:lnTo>
                      <a:pt x="113" y="5374"/>
                    </a:lnTo>
                    <a:lnTo>
                      <a:pt x="1" y="7277"/>
                    </a:lnTo>
                    <a:lnTo>
                      <a:pt x="113" y="9627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57" name="Google Shape;1957;p16"/>
              <p:cNvSpPr/>
              <p:nvPr/>
            </p:nvSpPr>
            <p:spPr>
              <a:xfrm>
                <a:off x="6135525" y="1760475"/>
                <a:ext cx="25" cy="28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13" extrusionOk="0">
                    <a:moveTo>
                      <a:pt x="0" y="1"/>
                    </a:moveTo>
                    <a:lnTo>
                      <a:pt x="0" y="113"/>
                    </a:lnTo>
                    <a:lnTo>
                      <a:pt x="0" y="113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34354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58" name="Google Shape;1958;p16"/>
              <p:cNvSpPr/>
              <p:nvPr/>
            </p:nvSpPr>
            <p:spPr>
              <a:xfrm>
                <a:off x="6135525" y="1760475"/>
                <a:ext cx="25" cy="28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13" fill="none" extrusionOk="0">
                    <a:moveTo>
                      <a:pt x="0" y="1"/>
                    </a:moveTo>
                    <a:lnTo>
                      <a:pt x="0" y="113"/>
                    </a:lnTo>
                    <a:lnTo>
                      <a:pt x="0" y="113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59" name="Google Shape;1959;p16"/>
              <p:cNvSpPr/>
              <p:nvPr/>
            </p:nvSpPr>
            <p:spPr>
              <a:xfrm>
                <a:off x="5964800" y="1679325"/>
                <a:ext cx="2825" cy="30800"/>
              </a:xfrm>
              <a:custGeom>
                <a:avLst/>
                <a:gdLst/>
                <a:ahLst/>
                <a:cxnLst/>
                <a:rect l="l" t="t" r="r" b="b"/>
                <a:pathLst>
                  <a:path w="113" h="1232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13" y="1232"/>
                    </a:lnTo>
                    <a:lnTo>
                      <a:pt x="113" y="123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9D9999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60" name="Google Shape;1960;p16"/>
              <p:cNvSpPr/>
              <p:nvPr/>
            </p:nvSpPr>
            <p:spPr>
              <a:xfrm>
                <a:off x="5964800" y="1679325"/>
                <a:ext cx="2825" cy="30800"/>
              </a:xfrm>
              <a:custGeom>
                <a:avLst/>
                <a:gdLst/>
                <a:ahLst/>
                <a:cxnLst/>
                <a:rect l="l" t="t" r="r" b="b"/>
                <a:pathLst>
                  <a:path w="113" h="1232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13" y="1232"/>
                    </a:lnTo>
                    <a:lnTo>
                      <a:pt x="113" y="123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61" name="Google Shape;1961;p16"/>
              <p:cNvSpPr/>
              <p:nvPr/>
            </p:nvSpPr>
            <p:spPr>
              <a:xfrm>
                <a:off x="5964800" y="1623350"/>
                <a:ext cx="139950" cy="86775"/>
              </a:xfrm>
              <a:custGeom>
                <a:avLst/>
                <a:gdLst/>
                <a:ahLst/>
                <a:cxnLst/>
                <a:rect l="l" t="t" r="r" b="b"/>
                <a:pathLst>
                  <a:path w="5598" h="3471" extrusionOk="0">
                    <a:moveTo>
                      <a:pt x="5598" y="1"/>
                    </a:moveTo>
                    <a:lnTo>
                      <a:pt x="5486" y="337"/>
                    </a:lnTo>
                    <a:lnTo>
                      <a:pt x="5150" y="672"/>
                    </a:lnTo>
                    <a:lnTo>
                      <a:pt x="4814" y="1008"/>
                    </a:lnTo>
                    <a:lnTo>
                      <a:pt x="4367" y="1344"/>
                    </a:lnTo>
                    <a:lnTo>
                      <a:pt x="3247" y="1904"/>
                    </a:lnTo>
                    <a:lnTo>
                      <a:pt x="2128" y="2240"/>
                    </a:lnTo>
                    <a:lnTo>
                      <a:pt x="1008" y="2352"/>
                    </a:lnTo>
                    <a:lnTo>
                      <a:pt x="1" y="2240"/>
                    </a:lnTo>
                    <a:lnTo>
                      <a:pt x="113" y="3471"/>
                    </a:lnTo>
                    <a:lnTo>
                      <a:pt x="896" y="3247"/>
                    </a:lnTo>
                    <a:lnTo>
                      <a:pt x="1680" y="2911"/>
                    </a:lnTo>
                    <a:lnTo>
                      <a:pt x="2687" y="2575"/>
                    </a:lnTo>
                    <a:lnTo>
                      <a:pt x="3583" y="2128"/>
                    </a:lnTo>
                    <a:lnTo>
                      <a:pt x="4478" y="1568"/>
                    </a:lnTo>
                    <a:lnTo>
                      <a:pt x="5262" y="784"/>
                    </a:lnTo>
                    <a:lnTo>
                      <a:pt x="5486" y="449"/>
                    </a:lnTo>
                    <a:lnTo>
                      <a:pt x="5598" y="1"/>
                    </a:lnTo>
                    <a:close/>
                  </a:path>
                </a:pathLst>
              </a:custGeom>
              <a:solidFill>
                <a:srgbClr val="3E3E3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62" name="Google Shape;1962;p16"/>
              <p:cNvSpPr/>
              <p:nvPr/>
            </p:nvSpPr>
            <p:spPr>
              <a:xfrm>
                <a:off x="5964800" y="1623350"/>
                <a:ext cx="139950" cy="86775"/>
              </a:xfrm>
              <a:custGeom>
                <a:avLst/>
                <a:gdLst/>
                <a:ahLst/>
                <a:cxnLst/>
                <a:rect l="l" t="t" r="r" b="b"/>
                <a:pathLst>
                  <a:path w="5598" h="3471" fill="none" extrusionOk="0">
                    <a:moveTo>
                      <a:pt x="5598" y="1"/>
                    </a:moveTo>
                    <a:lnTo>
                      <a:pt x="5598" y="1"/>
                    </a:lnTo>
                    <a:lnTo>
                      <a:pt x="5486" y="337"/>
                    </a:lnTo>
                    <a:lnTo>
                      <a:pt x="5150" y="672"/>
                    </a:lnTo>
                    <a:lnTo>
                      <a:pt x="5150" y="672"/>
                    </a:lnTo>
                    <a:lnTo>
                      <a:pt x="4814" y="1008"/>
                    </a:lnTo>
                    <a:lnTo>
                      <a:pt x="4367" y="1344"/>
                    </a:lnTo>
                    <a:lnTo>
                      <a:pt x="3247" y="1904"/>
                    </a:lnTo>
                    <a:lnTo>
                      <a:pt x="2128" y="2240"/>
                    </a:lnTo>
                    <a:lnTo>
                      <a:pt x="1008" y="2352"/>
                    </a:lnTo>
                    <a:lnTo>
                      <a:pt x="1008" y="2352"/>
                    </a:lnTo>
                    <a:lnTo>
                      <a:pt x="1" y="2240"/>
                    </a:lnTo>
                    <a:lnTo>
                      <a:pt x="1" y="2240"/>
                    </a:lnTo>
                    <a:lnTo>
                      <a:pt x="113" y="3471"/>
                    </a:lnTo>
                    <a:lnTo>
                      <a:pt x="113" y="3471"/>
                    </a:lnTo>
                    <a:lnTo>
                      <a:pt x="113" y="3471"/>
                    </a:lnTo>
                    <a:lnTo>
                      <a:pt x="113" y="3471"/>
                    </a:lnTo>
                    <a:lnTo>
                      <a:pt x="896" y="3247"/>
                    </a:lnTo>
                    <a:lnTo>
                      <a:pt x="1680" y="2911"/>
                    </a:lnTo>
                    <a:lnTo>
                      <a:pt x="2687" y="2575"/>
                    </a:lnTo>
                    <a:lnTo>
                      <a:pt x="3583" y="2128"/>
                    </a:lnTo>
                    <a:lnTo>
                      <a:pt x="4478" y="1568"/>
                    </a:lnTo>
                    <a:lnTo>
                      <a:pt x="5262" y="784"/>
                    </a:lnTo>
                    <a:lnTo>
                      <a:pt x="5486" y="449"/>
                    </a:lnTo>
                    <a:lnTo>
                      <a:pt x="5598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63" name="Google Shape;1963;p16"/>
              <p:cNvSpPr/>
              <p:nvPr/>
            </p:nvSpPr>
            <p:spPr>
              <a:xfrm>
                <a:off x="5992800" y="1035675"/>
                <a:ext cx="310650" cy="582100"/>
              </a:xfrm>
              <a:custGeom>
                <a:avLst/>
                <a:gdLst/>
                <a:ahLst/>
                <a:cxnLst/>
                <a:rect l="l" t="t" r="r" b="b"/>
                <a:pathLst>
                  <a:path w="12426" h="23284" extrusionOk="0">
                    <a:moveTo>
                      <a:pt x="6493" y="1"/>
                    </a:moveTo>
                    <a:lnTo>
                      <a:pt x="5150" y="1008"/>
                    </a:lnTo>
                    <a:lnTo>
                      <a:pt x="3918" y="1792"/>
                    </a:lnTo>
                    <a:lnTo>
                      <a:pt x="2687" y="2575"/>
                    </a:lnTo>
                    <a:lnTo>
                      <a:pt x="112" y="17127"/>
                    </a:lnTo>
                    <a:lnTo>
                      <a:pt x="0" y="18359"/>
                    </a:lnTo>
                    <a:lnTo>
                      <a:pt x="112" y="19142"/>
                    </a:lnTo>
                    <a:lnTo>
                      <a:pt x="336" y="20150"/>
                    </a:lnTo>
                    <a:lnTo>
                      <a:pt x="784" y="21045"/>
                    </a:lnTo>
                    <a:lnTo>
                      <a:pt x="1008" y="21493"/>
                    </a:lnTo>
                    <a:lnTo>
                      <a:pt x="1456" y="21941"/>
                    </a:lnTo>
                    <a:lnTo>
                      <a:pt x="1791" y="22277"/>
                    </a:lnTo>
                    <a:lnTo>
                      <a:pt x="2351" y="22612"/>
                    </a:lnTo>
                    <a:lnTo>
                      <a:pt x="2911" y="22948"/>
                    </a:lnTo>
                    <a:lnTo>
                      <a:pt x="3694" y="23172"/>
                    </a:lnTo>
                    <a:lnTo>
                      <a:pt x="4814" y="23284"/>
                    </a:lnTo>
                    <a:lnTo>
                      <a:pt x="6045" y="23284"/>
                    </a:lnTo>
                    <a:lnTo>
                      <a:pt x="7164" y="23060"/>
                    </a:lnTo>
                    <a:lnTo>
                      <a:pt x="8396" y="22836"/>
                    </a:lnTo>
                    <a:lnTo>
                      <a:pt x="9291" y="22500"/>
                    </a:lnTo>
                    <a:lnTo>
                      <a:pt x="10075" y="22053"/>
                    </a:lnTo>
                    <a:lnTo>
                      <a:pt x="10523" y="21717"/>
                    </a:lnTo>
                    <a:lnTo>
                      <a:pt x="10523" y="21493"/>
                    </a:lnTo>
                    <a:lnTo>
                      <a:pt x="10523" y="21381"/>
                    </a:lnTo>
                    <a:lnTo>
                      <a:pt x="10411" y="21045"/>
                    </a:lnTo>
                    <a:lnTo>
                      <a:pt x="10523" y="20374"/>
                    </a:lnTo>
                    <a:lnTo>
                      <a:pt x="10858" y="18583"/>
                    </a:lnTo>
                    <a:lnTo>
                      <a:pt x="11530" y="15896"/>
                    </a:lnTo>
                    <a:lnTo>
                      <a:pt x="11978" y="12874"/>
                    </a:lnTo>
                    <a:lnTo>
                      <a:pt x="12202" y="11195"/>
                    </a:lnTo>
                    <a:lnTo>
                      <a:pt x="12426" y="9627"/>
                    </a:lnTo>
                    <a:lnTo>
                      <a:pt x="12426" y="7948"/>
                    </a:lnTo>
                    <a:lnTo>
                      <a:pt x="12314" y="6381"/>
                    </a:lnTo>
                    <a:lnTo>
                      <a:pt x="11978" y="4814"/>
                    </a:lnTo>
                    <a:lnTo>
                      <a:pt x="11530" y="3359"/>
                    </a:lnTo>
                    <a:lnTo>
                      <a:pt x="11306" y="2799"/>
                    </a:lnTo>
                    <a:lnTo>
                      <a:pt x="10970" y="2127"/>
                    </a:lnTo>
                    <a:lnTo>
                      <a:pt x="10523" y="1568"/>
                    </a:lnTo>
                    <a:lnTo>
                      <a:pt x="10075" y="1008"/>
                    </a:lnTo>
                    <a:lnTo>
                      <a:pt x="9851" y="896"/>
                    </a:lnTo>
                    <a:lnTo>
                      <a:pt x="9739" y="896"/>
                    </a:lnTo>
                    <a:lnTo>
                      <a:pt x="9403" y="1120"/>
                    </a:lnTo>
                    <a:lnTo>
                      <a:pt x="9179" y="1456"/>
                    </a:lnTo>
                    <a:lnTo>
                      <a:pt x="9067" y="1568"/>
                    </a:lnTo>
                    <a:lnTo>
                      <a:pt x="8732" y="1568"/>
                    </a:lnTo>
                    <a:lnTo>
                      <a:pt x="8396" y="1456"/>
                    </a:lnTo>
                    <a:lnTo>
                      <a:pt x="8060" y="1232"/>
                    </a:lnTo>
                    <a:lnTo>
                      <a:pt x="7612" y="560"/>
                    </a:lnTo>
                    <a:lnTo>
                      <a:pt x="7388" y="336"/>
                    </a:lnTo>
                    <a:lnTo>
                      <a:pt x="7052" y="113"/>
                    </a:lnTo>
                    <a:lnTo>
                      <a:pt x="6829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64" name="Google Shape;1964;p16"/>
              <p:cNvSpPr/>
              <p:nvPr/>
            </p:nvSpPr>
            <p:spPr>
              <a:xfrm>
                <a:off x="5992800" y="1035675"/>
                <a:ext cx="310650" cy="582100"/>
              </a:xfrm>
              <a:custGeom>
                <a:avLst/>
                <a:gdLst/>
                <a:ahLst/>
                <a:cxnLst/>
                <a:rect l="l" t="t" r="r" b="b"/>
                <a:pathLst>
                  <a:path w="12426" h="23284" fill="none" extrusionOk="0">
                    <a:moveTo>
                      <a:pt x="6493" y="1"/>
                    </a:moveTo>
                    <a:lnTo>
                      <a:pt x="6493" y="1"/>
                    </a:lnTo>
                    <a:lnTo>
                      <a:pt x="6829" y="1"/>
                    </a:lnTo>
                    <a:lnTo>
                      <a:pt x="7052" y="113"/>
                    </a:lnTo>
                    <a:lnTo>
                      <a:pt x="7388" y="336"/>
                    </a:lnTo>
                    <a:lnTo>
                      <a:pt x="7612" y="560"/>
                    </a:lnTo>
                    <a:lnTo>
                      <a:pt x="8060" y="1232"/>
                    </a:lnTo>
                    <a:lnTo>
                      <a:pt x="8396" y="1456"/>
                    </a:lnTo>
                    <a:lnTo>
                      <a:pt x="8732" y="1568"/>
                    </a:lnTo>
                    <a:lnTo>
                      <a:pt x="8732" y="1568"/>
                    </a:lnTo>
                    <a:lnTo>
                      <a:pt x="9067" y="1568"/>
                    </a:lnTo>
                    <a:lnTo>
                      <a:pt x="9179" y="1456"/>
                    </a:lnTo>
                    <a:lnTo>
                      <a:pt x="9403" y="1120"/>
                    </a:lnTo>
                    <a:lnTo>
                      <a:pt x="9403" y="1120"/>
                    </a:lnTo>
                    <a:lnTo>
                      <a:pt x="9739" y="896"/>
                    </a:lnTo>
                    <a:lnTo>
                      <a:pt x="9851" y="896"/>
                    </a:lnTo>
                    <a:lnTo>
                      <a:pt x="10075" y="1008"/>
                    </a:lnTo>
                    <a:lnTo>
                      <a:pt x="10075" y="1008"/>
                    </a:lnTo>
                    <a:lnTo>
                      <a:pt x="10523" y="1568"/>
                    </a:lnTo>
                    <a:lnTo>
                      <a:pt x="10970" y="2127"/>
                    </a:lnTo>
                    <a:lnTo>
                      <a:pt x="11306" y="2799"/>
                    </a:lnTo>
                    <a:lnTo>
                      <a:pt x="11530" y="3359"/>
                    </a:lnTo>
                    <a:lnTo>
                      <a:pt x="11978" y="4814"/>
                    </a:lnTo>
                    <a:lnTo>
                      <a:pt x="12314" y="6381"/>
                    </a:lnTo>
                    <a:lnTo>
                      <a:pt x="12426" y="7948"/>
                    </a:lnTo>
                    <a:lnTo>
                      <a:pt x="12426" y="9627"/>
                    </a:lnTo>
                    <a:lnTo>
                      <a:pt x="12202" y="11195"/>
                    </a:lnTo>
                    <a:lnTo>
                      <a:pt x="11978" y="12874"/>
                    </a:lnTo>
                    <a:lnTo>
                      <a:pt x="11530" y="15896"/>
                    </a:lnTo>
                    <a:lnTo>
                      <a:pt x="10858" y="18583"/>
                    </a:lnTo>
                    <a:lnTo>
                      <a:pt x="10523" y="20374"/>
                    </a:lnTo>
                    <a:lnTo>
                      <a:pt x="10411" y="21045"/>
                    </a:lnTo>
                    <a:lnTo>
                      <a:pt x="10523" y="21381"/>
                    </a:lnTo>
                    <a:lnTo>
                      <a:pt x="10523" y="21381"/>
                    </a:lnTo>
                    <a:lnTo>
                      <a:pt x="10523" y="21493"/>
                    </a:lnTo>
                    <a:lnTo>
                      <a:pt x="10523" y="21717"/>
                    </a:lnTo>
                    <a:lnTo>
                      <a:pt x="10075" y="22053"/>
                    </a:lnTo>
                    <a:lnTo>
                      <a:pt x="9291" y="22500"/>
                    </a:lnTo>
                    <a:lnTo>
                      <a:pt x="8396" y="22836"/>
                    </a:lnTo>
                    <a:lnTo>
                      <a:pt x="7164" y="23060"/>
                    </a:lnTo>
                    <a:lnTo>
                      <a:pt x="6045" y="23284"/>
                    </a:lnTo>
                    <a:lnTo>
                      <a:pt x="4814" y="23284"/>
                    </a:lnTo>
                    <a:lnTo>
                      <a:pt x="3694" y="23172"/>
                    </a:lnTo>
                    <a:lnTo>
                      <a:pt x="3694" y="23172"/>
                    </a:lnTo>
                    <a:lnTo>
                      <a:pt x="2911" y="22948"/>
                    </a:lnTo>
                    <a:lnTo>
                      <a:pt x="2351" y="22612"/>
                    </a:lnTo>
                    <a:lnTo>
                      <a:pt x="1791" y="22277"/>
                    </a:lnTo>
                    <a:lnTo>
                      <a:pt x="1456" y="21941"/>
                    </a:lnTo>
                    <a:lnTo>
                      <a:pt x="1008" y="21493"/>
                    </a:lnTo>
                    <a:lnTo>
                      <a:pt x="784" y="21045"/>
                    </a:lnTo>
                    <a:lnTo>
                      <a:pt x="336" y="20150"/>
                    </a:lnTo>
                    <a:lnTo>
                      <a:pt x="112" y="19142"/>
                    </a:lnTo>
                    <a:lnTo>
                      <a:pt x="0" y="18359"/>
                    </a:lnTo>
                    <a:lnTo>
                      <a:pt x="112" y="17127"/>
                    </a:lnTo>
                    <a:lnTo>
                      <a:pt x="112" y="17127"/>
                    </a:lnTo>
                    <a:lnTo>
                      <a:pt x="2687" y="2575"/>
                    </a:lnTo>
                    <a:lnTo>
                      <a:pt x="2687" y="2575"/>
                    </a:lnTo>
                    <a:lnTo>
                      <a:pt x="3918" y="1792"/>
                    </a:lnTo>
                    <a:lnTo>
                      <a:pt x="5150" y="1008"/>
                    </a:lnTo>
                    <a:lnTo>
                      <a:pt x="649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65" name="Google Shape;1965;p16"/>
              <p:cNvSpPr/>
              <p:nvPr/>
            </p:nvSpPr>
            <p:spPr>
              <a:xfrm>
                <a:off x="6219475" y="1060875"/>
                <a:ext cx="554125" cy="604475"/>
              </a:xfrm>
              <a:custGeom>
                <a:avLst/>
                <a:gdLst/>
                <a:ahLst/>
                <a:cxnLst/>
                <a:rect l="l" t="t" r="r" b="b"/>
                <a:pathLst>
                  <a:path w="22165" h="24179" extrusionOk="0">
                    <a:moveTo>
                      <a:pt x="1008" y="0"/>
                    </a:moveTo>
                    <a:lnTo>
                      <a:pt x="1008" y="112"/>
                    </a:lnTo>
                    <a:lnTo>
                      <a:pt x="896" y="784"/>
                    </a:lnTo>
                    <a:lnTo>
                      <a:pt x="1008" y="2015"/>
                    </a:lnTo>
                    <a:lnTo>
                      <a:pt x="1120" y="3358"/>
                    </a:lnTo>
                    <a:lnTo>
                      <a:pt x="1232" y="4478"/>
                    </a:lnTo>
                    <a:lnTo>
                      <a:pt x="1120" y="5597"/>
                    </a:lnTo>
                    <a:lnTo>
                      <a:pt x="896" y="6605"/>
                    </a:lnTo>
                    <a:lnTo>
                      <a:pt x="672" y="7724"/>
                    </a:lnTo>
                    <a:lnTo>
                      <a:pt x="448" y="8843"/>
                    </a:lnTo>
                    <a:lnTo>
                      <a:pt x="224" y="9963"/>
                    </a:lnTo>
                    <a:lnTo>
                      <a:pt x="112" y="11194"/>
                    </a:lnTo>
                    <a:lnTo>
                      <a:pt x="112" y="12537"/>
                    </a:lnTo>
                    <a:lnTo>
                      <a:pt x="224" y="14216"/>
                    </a:lnTo>
                    <a:lnTo>
                      <a:pt x="224" y="15784"/>
                    </a:lnTo>
                    <a:lnTo>
                      <a:pt x="112" y="18806"/>
                    </a:lnTo>
                    <a:lnTo>
                      <a:pt x="0" y="21492"/>
                    </a:lnTo>
                    <a:lnTo>
                      <a:pt x="112" y="22276"/>
                    </a:lnTo>
                    <a:lnTo>
                      <a:pt x="224" y="22948"/>
                    </a:lnTo>
                    <a:lnTo>
                      <a:pt x="336" y="23395"/>
                    </a:lnTo>
                    <a:lnTo>
                      <a:pt x="560" y="23731"/>
                    </a:lnTo>
                    <a:lnTo>
                      <a:pt x="1232" y="24067"/>
                    </a:lnTo>
                    <a:lnTo>
                      <a:pt x="1568" y="24179"/>
                    </a:lnTo>
                    <a:lnTo>
                      <a:pt x="2239" y="24179"/>
                    </a:lnTo>
                    <a:lnTo>
                      <a:pt x="2687" y="23955"/>
                    </a:lnTo>
                    <a:lnTo>
                      <a:pt x="3023" y="23731"/>
                    </a:lnTo>
                    <a:lnTo>
                      <a:pt x="3470" y="23283"/>
                    </a:lnTo>
                    <a:lnTo>
                      <a:pt x="3918" y="22724"/>
                    </a:lnTo>
                    <a:lnTo>
                      <a:pt x="4142" y="22164"/>
                    </a:lnTo>
                    <a:lnTo>
                      <a:pt x="4366" y="21045"/>
                    </a:lnTo>
                    <a:lnTo>
                      <a:pt x="4478" y="19813"/>
                    </a:lnTo>
                    <a:lnTo>
                      <a:pt x="4478" y="18582"/>
                    </a:lnTo>
                    <a:lnTo>
                      <a:pt x="4478" y="17239"/>
                    </a:lnTo>
                    <a:lnTo>
                      <a:pt x="4142" y="15000"/>
                    </a:lnTo>
                    <a:lnTo>
                      <a:pt x="4030" y="13433"/>
                    </a:lnTo>
                    <a:lnTo>
                      <a:pt x="3694" y="11194"/>
                    </a:lnTo>
                    <a:lnTo>
                      <a:pt x="3582" y="10410"/>
                    </a:lnTo>
                    <a:lnTo>
                      <a:pt x="3470" y="9403"/>
                    </a:lnTo>
                    <a:lnTo>
                      <a:pt x="3582" y="8396"/>
                    </a:lnTo>
                    <a:lnTo>
                      <a:pt x="3694" y="7612"/>
                    </a:lnTo>
                    <a:lnTo>
                      <a:pt x="3806" y="7500"/>
                    </a:lnTo>
                    <a:lnTo>
                      <a:pt x="3918" y="7388"/>
                    </a:lnTo>
                    <a:lnTo>
                      <a:pt x="4478" y="7388"/>
                    </a:lnTo>
                    <a:lnTo>
                      <a:pt x="5261" y="7612"/>
                    </a:lnTo>
                    <a:lnTo>
                      <a:pt x="7500" y="8507"/>
                    </a:lnTo>
                    <a:lnTo>
                      <a:pt x="8844" y="9067"/>
                    </a:lnTo>
                    <a:lnTo>
                      <a:pt x="10187" y="9627"/>
                    </a:lnTo>
                    <a:lnTo>
                      <a:pt x="11418" y="9963"/>
                    </a:lnTo>
                    <a:lnTo>
                      <a:pt x="12426" y="10187"/>
                    </a:lnTo>
                    <a:lnTo>
                      <a:pt x="12873" y="10075"/>
                    </a:lnTo>
                    <a:lnTo>
                      <a:pt x="13433" y="9963"/>
                    </a:lnTo>
                    <a:lnTo>
                      <a:pt x="14776" y="9291"/>
                    </a:lnTo>
                    <a:lnTo>
                      <a:pt x="16343" y="8396"/>
                    </a:lnTo>
                    <a:lnTo>
                      <a:pt x="17911" y="7388"/>
                    </a:lnTo>
                    <a:lnTo>
                      <a:pt x="20821" y="5485"/>
                    </a:lnTo>
                    <a:lnTo>
                      <a:pt x="22164" y="4478"/>
                    </a:lnTo>
                    <a:lnTo>
                      <a:pt x="22164" y="4142"/>
                    </a:lnTo>
                    <a:lnTo>
                      <a:pt x="22164" y="3582"/>
                    </a:lnTo>
                    <a:lnTo>
                      <a:pt x="21940" y="3022"/>
                    </a:lnTo>
                    <a:lnTo>
                      <a:pt x="21717" y="2463"/>
                    </a:lnTo>
                    <a:lnTo>
                      <a:pt x="21493" y="2015"/>
                    </a:lnTo>
                    <a:lnTo>
                      <a:pt x="21157" y="1567"/>
                    </a:lnTo>
                    <a:lnTo>
                      <a:pt x="20821" y="1343"/>
                    </a:lnTo>
                    <a:lnTo>
                      <a:pt x="20597" y="1343"/>
                    </a:lnTo>
                    <a:lnTo>
                      <a:pt x="20485" y="1455"/>
                    </a:lnTo>
                    <a:lnTo>
                      <a:pt x="16679" y="3694"/>
                    </a:lnTo>
                    <a:lnTo>
                      <a:pt x="14217" y="5037"/>
                    </a:lnTo>
                    <a:lnTo>
                      <a:pt x="13209" y="5485"/>
                    </a:lnTo>
                    <a:lnTo>
                      <a:pt x="12426" y="5597"/>
                    </a:lnTo>
                    <a:lnTo>
                      <a:pt x="11418" y="5485"/>
                    </a:lnTo>
                    <a:lnTo>
                      <a:pt x="10411" y="5149"/>
                    </a:lnTo>
                    <a:lnTo>
                      <a:pt x="9403" y="4702"/>
                    </a:lnTo>
                    <a:lnTo>
                      <a:pt x="8284" y="4030"/>
                    </a:lnTo>
                    <a:lnTo>
                      <a:pt x="5261" y="2239"/>
                    </a:lnTo>
                    <a:lnTo>
                      <a:pt x="3359" y="1231"/>
                    </a:lnTo>
                    <a:lnTo>
                      <a:pt x="1008" y="0"/>
                    </a:lnTo>
                    <a:close/>
                  </a:path>
                </a:pathLst>
              </a:custGeom>
              <a:solidFill>
                <a:srgbClr val="DB546A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66" name="Google Shape;1966;p16"/>
              <p:cNvSpPr/>
              <p:nvPr/>
            </p:nvSpPr>
            <p:spPr>
              <a:xfrm>
                <a:off x="5928425" y="1035675"/>
                <a:ext cx="229500" cy="646475"/>
              </a:xfrm>
              <a:custGeom>
                <a:avLst/>
                <a:gdLst/>
                <a:ahLst/>
                <a:cxnLst/>
                <a:rect l="l" t="t" r="r" b="b"/>
                <a:pathLst>
                  <a:path w="9180" h="25859" extrusionOk="0">
                    <a:moveTo>
                      <a:pt x="9068" y="1"/>
                    </a:moveTo>
                    <a:lnTo>
                      <a:pt x="8396" y="113"/>
                    </a:lnTo>
                    <a:lnTo>
                      <a:pt x="6717" y="448"/>
                    </a:lnTo>
                    <a:lnTo>
                      <a:pt x="5710" y="896"/>
                    </a:lnTo>
                    <a:lnTo>
                      <a:pt x="4702" y="1344"/>
                    </a:lnTo>
                    <a:lnTo>
                      <a:pt x="3695" y="2016"/>
                    </a:lnTo>
                    <a:lnTo>
                      <a:pt x="2799" y="2799"/>
                    </a:lnTo>
                    <a:lnTo>
                      <a:pt x="2463" y="3247"/>
                    </a:lnTo>
                    <a:lnTo>
                      <a:pt x="2351" y="3807"/>
                    </a:lnTo>
                    <a:lnTo>
                      <a:pt x="2240" y="4366"/>
                    </a:lnTo>
                    <a:lnTo>
                      <a:pt x="2240" y="5150"/>
                    </a:lnTo>
                    <a:lnTo>
                      <a:pt x="2351" y="6605"/>
                    </a:lnTo>
                    <a:lnTo>
                      <a:pt x="2463" y="8172"/>
                    </a:lnTo>
                    <a:lnTo>
                      <a:pt x="2351" y="8508"/>
                    </a:lnTo>
                    <a:lnTo>
                      <a:pt x="2351" y="8620"/>
                    </a:lnTo>
                    <a:lnTo>
                      <a:pt x="2351" y="9851"/>
                    </a:lnTo>
                    <a:lnTo>
                      <a:pt x="2351" y="12090"/>
                    </a:lnTo>
                    <a:lnTo>
                      <a:pt x="2463" y="12426"/>
                    </a:lnTo>
                    <a:lnTo>
                      <a:pt x="2463" y="12874"/>
                    </a:lnTo>
                    <a:lnTo>
                      <a:pt x="2463" y="13545"/>
                    </a:lnTo>
                    <a:lnTo>
                      <a:pt x="2463" y="14105"/>
                    </a:lnTo>
                    <a:lnTo>
                      <a:pt x="2351" y="15000"/>
                    </a:lnTo>
                    <a:lnTo>
                      <a:pt x="2128" y="16232"/>
                    </a:lnTo>
                    <a:lnTo>
                      <a:pt x="1904" y="17463"/>
                    </a:lnTo>
                    <a:lnTo>
                      <a:pt x="1232" y="19814"/>
                    </a:lnTo>
                    <a:lnTo>
                      <a:pt x="448" y="22277"/>
                    </a:lnTo>
                    <a:lnTo>
                      <a:pt x="225" y="23396"/>
                    </a:lnTo>
                    <a:lnTo>
                      <a:pt x="1" y="24291"/>
                    </a:lnTo>
                    <a:lnTo>
                      <a:pt x="1" y="24963"/>
                    </a:lnTo>
                    <a:lnTo>
                      <a:pt x="113" y="25187"/>
                    </a:lnTo>
                    <a:lnTo>
                      <a:pt x="225" y="25299"/>
                    </a:lnTo>
                    <a:lnTo>
                      <a:pt x="1008" y="25635"/>
                    </a:lnTo>
                    <a:lnTo>
                      <a:pt x="1792" y="25859"/>
                    </a:lnTo>
                    <a:lnTo>
                      <a:pt x="2687" y="25859"/>
                    </a:lnTo>
                    <a:lnTo>
                      <a:pt x="3583" y="25747"/>
                    </a:lnTo>
                    <a:lnTo>
                      <a:pt x="4366" y="25523"/>
                    </a:lnTo>
                    <a:lnTo>
                      <a:pt x="5262" y="25187"/>
                    </a:lnTo>
                    <a:lnTo>
                      <a:pt x="6045" y="24739"/>
                    </a:lnTo>
                    <a:lnTo>
                      <a:pt x="6605" y="24179"/>
                    </a:lnTo>
                    <a:lnTo>
                      <a:pt x="6941" y="23732"/>
                    </a:lnTo>
                    <a:lnTo>
                      <a:pt x="7165" y="23284"/>
                    </a:lnTo>
                    <a:lnTo>
                      <a:pt x="7277" y="22836"/>
                    </a:lnTo>
                    <a:lnTo>
                      <a:pt x="7277" y="22277"/>
                    </a:lnTo>
                    <a:lnTo>
                      <a:pt x="7165" y="21157"/>
                    </a:lnTo>
                    <a:lnTo>
                      <a:pt x="7277" y="19814"/>
                    </a:lnTo>
                    <a:lnTo>
                      <a:pt x="7389" y="19030"/>
                    </a:lnTo>
                    <a:lnTo>
                      <a:pt x="7501" y="18135"/>
                    </a:lnTo>
                    <a:lnTo>
                      <a:pt x="8396" y="14889"/>
                    </a:lnTo>
                    <a:lnTo>
                      <a:pt x="8844" y="12986"/>
                    </a:lnTo>
                    <a:lnTo>
                      <a:pt x="9068" y="11306"/>
                    </a:lnTo>
                    <a:lnTo>
                      <a:pt x="9180" y="7724"/>
                    </a:lnTo>
                    <a:lnTo>
                      <a:pt x="9180" y="4366"/>
                    </a:lnTo>
                    <a:lnTo>
                      <a:pt x="9068" y="1680"/>
                    </a:lnTo>
                    <a:lnTo>
                      <a:pt x="9068" y="1"/>
                    </a:lnTo>
                    <a:close/>
                  </a:path>
                </a:pathLst>
              </a:custGeom>
              <a:solidFill>
                <a:srgbClr val="DB546A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67" name="Google Shape;1967;p16"/>
              <p:cNvSpPr/>
              <p:nvPr/>
            </p:nvSpPr>
            <p:spPr>
              <a:xfrm>
                <a:off x="5928425" y="1035675"/>
                <a:ext cx="229500" cy="646475"/>
              </a:xfrm>
              <a:custGeom>
                <a:avLst/>
                <a:gdLst/>
                <a:ahLst/>
                <a:cxnLst/>
                <a:rect l="l" t="t" r="r" b="b"/>
                <a:pathLst>
                  <a:path w="9180" h="25859" fill="none" extrusionOk="0">
                    <a:moveTo>
                      <a:pt x="225" y="25299"/>
                    </a:moveTo>
                    <a:lnTo>
                      <a:pt x="225" y="25299"/>
                    </a:lnTo>
                    <a:lnTo>
                      <a:pt x="1008" y="25635"/>
                    </a:lnTo>
                    <a:lnTo>
                      <a:pt x="1792" y="25859"/>
                    </a:lnTo>
                    <a:lnTo>
                      <a:pt x="2687" y="25859"/>
                    </a:lnTo>
                    <a:lnTo>
                      <a:pt x="3583" y="25747"/>
                    </a:lnTo>
                    <a:lnTo>
                      <a:pt x="4366" y="25523"/>
                    </a:lnTo>
                    <a:lnTo>
                      <a:pt x="5262" y="25187"/>
                    </a:lnTo>
                    <a:lnTo>
                      <a:pt x="6045" y="24739"/>
                    </a:lnTo>
                    <a:lnTo>
                      <a:pt x="6605" y="24179"/>
                    </a:lnTo>
                    <a:lnTo>
                      <a:pt x="6605" y="24179"/>
                    </a:lnTo>
                    <a:lnTo>
                      <a:pt x="6941" y="23732"/>
                    </a:lnTo>
                    <a:lnTo>
                      <a:pt x="7165" y="23284"/>
                    </a:lnTo>
                    <a:lnTo>
                      <a:pt x="7165" y="23284"/>
                    </a:lnTo>
                    <a:lnTo>
                      <a:pt x="7165" y="23284"/>
                    </a:lnTo>
                    <a:lnTo>
                      <a:pt x="7277" y="22836"/>
                    </a:lnTo>
                    <a:lnTo>
                      <a:pt x="7277" y="22277"/>
                    </a:lnTo>
                    <a:lnTo>
                      <a:pt x="7165" y="21157"/>
                    </a:lnTo>
                    <a:lnTo>
                      <a:pt x="7277" y="19814"/>
                    </a:lnTo>
                    <a:lnTo>
                      <a:pt x="7389" y="19030"/>
                    </a:lnTo>
                    <a:lnTo>
                      <a:pt x="7501" y="18135"/>
                    </a:lnTo>
                    <a:lnTo>
                      <a:pt x="7501" y="18135"/>
                    </a:lnTo>
                    <a:lnTo>
                      <a:pt x="8396" y="14889"/>
                    </a:lnTo>
                    <a:lnTo>
                      <a:pt x="8844" y="12986"/>
                    </a:lnTo>
                    <a:lnTo>
                      <a:pt x="9068" y="11306"/>
                    </a:lnTo>
                    <a:lnTo>
                      <a:pt x="9068" y="11306"/>
                    </a:lnTo>
                    <a:lnTo>
                      <a:pt x="9180" y="7724"/>
                    </a:lnTo>
                    <a:lnTo>
                      <a:pt x="9180" y="4366"/>
                    </a:lnTo>
                    <a:lnTo>
                      <a:pt x="9068" y="1680"/>
                    </a:lnTo>
                    <a:lnTo>
                      <a:pt x="9068" y="1"/>
                    </a:lnTo>
                    <a:lnTo>
                      <a:pt x="9068" y="1"/>
                    </a:lnTo>
                    <a:lnTo>
                      <a:pt x="9068" y="1"/>
                    </a:lnTo>
                    <a:lnTo>
                      <a:pt x="8396" y="113"/>
                    </a:lnTo>
                    <a:lnTo>
                      <a:pt x="6717" y="448"/>
                    </a:lnTo>
                    <a:lnTo>
                      <a:pt x="5710" y="896"/>
                    </a:lnTo>
                    <a:lnTo>
                      <a:pt x="4702" y="1344"/>
                    </a:lnTo>
                    <a:lnTo>
                      <a:pt x="3695" y="2016"/>
                    </a:lnTo>
                    <a:lnTo>
                      <a:pt x="2799" y="2799"/>
                    </a:lnTo>
                    <a:lnTo>
                      <a:pt x="2799" y="2799"/>
                    </a:lnTo>
                    <a:lnTo>
                      <a:pt x="2799" y="2799"/>
                    </a:lnTo>
                    <a:lnTo>
                      <a:pt x="2463" y="3247"/>
                    </a:lnTo>
                    <a:lnTo>
                      <a:pt x="2351" y="3807"/>
                    </a:lnTo>
                    <a:lnTo>
                      <a:pt x="2240" y="4366"/>
                    </a:lnTo>
                    <a:lnTo>
                      <a:pt x="2240" y="5150"/>
                    </a:lnTo>
                    <a:lnTo>
                      <a:pt x="2351" y="6605"/>
                    </a:lnTo>
                    <a:lnTo>
                      <a:pt x="2463" y="8172"/>
                    </a:lnTo>
                    <a:lnTo>
                      <a:pt x="2463" y="8172"/>
                    </a:lnTo>
                    <a:lnTo>
                      <a:pt x="2351" y="8508"/>
                    </a:lnTo>
                    <a:lnTo>
                      <a:pt x="2351" y="8620"/>
                    </a:lnTo>
                    <a:lnTo>
                      <a:pt x="2351" y="8620"/>
                    </a:lnTo>
                    <a:lnTo>
                      <a:pt x="2351" y="9851"/>
                    </a:lnTo>
                    <a:lnTo>
                      <a:pt x="2351" y="9851"/>
                    </a:lnTo>
                    <a:lnTo>
                      <a:pt x="2351" y="12090"/>
                    </a:lnTo>
                    <a:lnTo>
                      <a:pt x="2351" y="12090"/>
                    </a:lnTo>
                    <a:lnTo>
                      <a:pt x="2463" y="12426"/>
                    </a:lnTo>
                    <a:lnTo>
                      <a:pt x="2463" y="12426"/>
                    </a:lnTo>
                    <a:lnTo>
                      <a:pt x="2463" y="12874"/>
                    </a:lnTo>
                    <a:lnTo>
                      <a:pt x="2463" y="12874"/>
                    </a:lnTo>
                    <a:lnTo>
                      <a:pt x="2463" y="12874"/>
                    </a:lnTo>
                    <a:lnTo>
                      <a:pt x="2463" y="13545"/>
                    </a:lnTo>
                    <a:lnTo>
                      <a:pt x="2463" y="13545"/>
                    </a:lnTo>
                    <a:lnTo>
                      <a:pt x="2463" y="14105"/>
                    </a:lnTo>
                    <a:lnTo>
                      <a:pt x="2463" y="14105"/>
                    </a:lnTo>
                    <a:lnTo>
                      <a:pt x="2351" y="15000"/>
                    </a:lnTo>
                    <a:lnTo>
                      <a:pt x="2128" y="16232"/>
                    </a:lnTo>
                    <a:lnTo>
                      <a:pt x="2128" y="16232"/>
                    </a:lnTo>
                    <a:lnTo>
                      <a:pt x="1904" y="17463"/>
                    </a:lnTo>
                    <a:lnTo>
                      <a:pt x="1904" y="17463"/>
                    </a:lnTo>
                    <a:lnTo>
                      <a:pt x="1904" y="17463"/>
                    </a:lnTo>
                    <a:lnTo>
                      <a:pt x="1232" y="19814"/>
                    </a:lnTo>
                    <a:lnTo>
                      <a:pt x="448" y="22277"/>
                    </a:lnTo>
                    <a:lnTo>
                      <a:pt x="225" y="23396"/>
                    </a:lnTo>
                    <a:lnTo>
                      <a:pt x="1" y="24291"/>
                    </a:lnTo>
                    <a:lnTo>
                      <a:pt x="1" y="24963"/>
                    </a:lnTo>
                    <a:lnTo>
                      <a:pt x="113" y="25187"/>
                    </a:lnTo>
                    <a:lnTo>
                      <a:pt x="225" y="25299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68" name="Google Shape;1968;p16"/>
              <p:cNvSpPr/>
              <p:nvPr/>
            </p:nvSpPr>
            <p:spPr>
              <a:xfrm>
                <a:off x="5497475" y="1060875"/>
                <a:ext cx="649250" cy="293850"/>
              </a:xfrm>
              <a:custGeom>
                <a:avLst/>
                <a:gdLst/>
                <a:ahLst/>
                <a:cxnLst/>
                <a:rect l="l" t="t" r="r" b="b"/>
                <a:pathLst>
                  <a:path w="25970" h="11754" extrusionOk="0">
                    <a:moveTo>
                      <a:pt x="23060" y="0"/>
                    </a:moveTo>
                    <a:lnTo>
                      <a:pt x="22388" y="112"/>
                    </a:lnTo>
                    <a:lnTo>
                      <a:pt x="22164" y="224"/>
                    </a:lnTo>
                    <a:lnTo>
                      <a:pt x="21157" y="672"/>
                    </a:lnTo>
                    <a:lnTo>
                      <a:pt x="20709" y="896"/>
                    </a:lnTo>
                    <a:lnTo>
                      <a:pt x="20373" y="1119"/>
                    </a:lnTo>
                    <a:lnTo>
                      <a:pt x="20037" y="1343"/>
                    </a:lnTo>
                    <a:lnTo>
                      <a:pt x="19813" y="1455"/>
                    </a:lnTo>
                    <a:lnTo>
                      <a:pt x="17127" y="3134"/>
                    </a:lnTo>
                    <a:lnTo>
                      <a:pt x="14440" y="4813"/>
                    </a:lnTo>
                    <a:lnTo>
                      <a:pt x="10746" y="7276"/>
                    </a:lnTo>
                    <a:lnTo>
                      <a:pt x="10299" y="7500"/>
                    </a:lnTo>
                    <a:lnTo>
                      <a:pt x="9851" y="7612"/>
                    </a:lnTo>
                    <a:lnTo>
                      <a:pt x="8507" y="7724"/>
                    </a:lnTo>
                    <a:lnTo>
                      <a:pt x="6940" y="7724"/>
                    </a:lnTo>
                    <a:lnTo>
                      <a:pt x="5261" y="7612"/>
                    </a:lnTo>
                    <a:lnTo>
                      <a:pt x="2351" y="7500"/>
                    </a:lnTo>
                    <a:lnTo>
                      <a:pt x="1231" y="7612"/>
                    </a:lnTo>
                    <a:lnTo>
                      <a:pt x="336" y="7724"/>
                    </a:lnTo>
                    <a:lnTo>
                      <a:pt x="112" y="7948"/>
                    </a:lnTo>
                    <a:lnTo>
                      <a:pt x="0" y="8396"/>
                    </a:lnTo>
                    <a:lnTo>
                      <a:pt x="0" y="9515"/>
                    </a:lnTo>
                    <a:lnTo>
                      <a:pt x="0" y="10187"/>
                    </a:lnTo>
                    <a:lnTo>
                      <a:pt x="112" y="10746"/>
                    </a:lnTo>
                    <a:lnTo>
                      <a:pt x="336" y="11194"/>
                    </a:lnTo>
                    <a:lnTo>
                      <a:pt x="560" y="11418"/>
                    </a:lnTo>
                    <a:lnTo>
                      <a:pt x="2687" y="11530"/>
                    </a:lnTo>
                    <a:lnTo>
                      <a:pt x="6269" y="11754"/>
                    </a:lnTo>
                    <a:lnTo>
                      <a:pt x="10746" y="11754"/>
                    </a:lnTo>
                    <a:lnTo>
                      <a:pt x="11306" y="11642"/>
                    </a:lnTo>
                    <a:lnTo>
                      <a:pt x="13769" y="10522"/>
                    </a:lnTo>
                    <a:lnTo>
                      <a:pt x="16119" y="9291"/>
                    </a:lnTo>
                    <a:lnTo>
                      <a:pt x="18134" y="8172"/>
                    </a:lnTo>
                    <a:lnTo>
                      <a:pt x="19478" y="7276"/>
                    </a:lnTo>
                    <a:lnTo>
                      <a:pt x="19589" y="7164"/>
                    </a:lnTo>
                    <a:lnTo>
                      <a:pt x="20597" y="6493"/>
                    </a:lnTo>
                    <a:lnTo>
                      <a:pt x="21716" y="5597"/>
                    </a:lnTo>
                    <a:lnTo>
                      <a:pt x="22724" y="4925"/>
                    </a:lnTo>
                    <a:lnTo>
                      <a:pt x="23731" y="4254"/>
                    </a:lnTo>
                    <a:lnTo>
                      <a:pt x="23843" y="4142"/>
                    </a:lnTo>
                    <a:lnTo>
                      <a:pt x="24403" y="3806"/>
                    </a:lnTo>
                    <a:lnTo>
                      <a:pt x="24963" y="3358"/>
                    </a:lnTo>
                    <a:lnTo>
                      <a:pt x="25410" y="2911"/>
                    </a:lnTo>
                    <a:lnTo>
                      <a:pt x="25858" y="2239"/>
                    </a:lnTo>
                    <a:lnTo>
                      <a:pt x="25970" y="1903"/>
                    </a:lnTo>
                    <a:lnTo>
                      <a:pt x="25858" y="1679"/>
                    </a:lnTo>
                    <a:lnTo>
                      <a:pt x="25746" y="1343"/>
                    </a:lnTo>
                    <a:lnTo>
                      <a:pt x="25522" y="1008"/>
                    </a:lnTo>
                    <a:lnTo>
                      <a:pt x="24963" y="560"/>
                    </a:lnTo>
                    <a:lnTo>
                      <a:pt x="24067" y="224"/>
                    </a:lnTo>
                    <a:lnTo>
                      <a:pt x="23619" y="112"/>
                    </a:lnTo>
                    <a:lnTo>
                      <a:pt x="23060" y="0"/>
                    </a:lnTo>
                    <a:close/>
                  </a:path>
                </a:pathLst>
              </a:custGeom>
              <a:solidFill>
                <a:srgbClr val="DB546A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69" name="Google Shape;1969;p16"/>
              <p:cNvSpPr/>
              <p:nvPr/>
            </p:nvSpPr>
            <p:spPr>
              <a:xfrm>
                <a:off x="5497475" y="1060875"/>
                <a:ext cx="649250" cy="293850"/>
              </a:xfrm>
              <a:custGeom>
                <a:avLst/>
                <a:gdLst/>
                <a:ahLst/>
                <a:cxnLst/>
                <a:rect l="l" t="t" r="r" b="b"/>
                <a:pathLst>
                  <a:path w="25970" h="11754" fill="none" extrusionOk="0">
                    <a:moveTo>
                      <a:pt x="336" y="7724"/>
                    </a:moveTo>
                    <a:lnTo>
                      <a:pt x="336" y="7724"/>
                    </a:lnTo>
                    <a:lnTo>
                      <a:pt x="112" y="7948"/>
                    </a:lnTo>
                    <a:lnTo>
                      <a:pt x="0" y="8396"/>
                    </a:lnTo>
                    <a:lnTo>
                      <a:pt x="0" y="9515"/>
                    </a:lnTo>
                    <a:lnTo>
                      <a:pt x="0" y="10187"/>
                    </a:lnTo>
                    <a:lnTo>
                      <a:pt x="112" y="10746"/>
                    </a:lnTo>
                    <a:lnTo>
                      <a:pt x="336" y="11194"/>
                    </a:lnTo>
                    <a:lnTo>
                      <a:pt x="560" y="11418"/>
                    </a:lnTo>
                    <a:lnTo>
                      <a:pt x="560" y="11418"/>
                    </a:lnTo>
                    <a:lnTo>
                      <a:pt x="2687" y="11530"/>
                    </a:lnTo>
                    <a:lnTo>
                      <a:pt x="6269" y="11754"/>
                    </a:lnTo>
                    <a:lnTo>
                      <a:pt x="9627" y="11754"/>
                    </a:lnTo>
                    <a:lnTo>
                      <a:pt x="10746" y="11754"/>
                    </a:lnTo>
                    <a:lnTo>
                      <a:pt x="11306" y="11642"/>
                    </a:lnTo>
                    <a:lnTo>
                      <a:pt x="11306" y="11642"/>
                    </a:lnTo>
                    <a:lnTo>
                      <a:pt x="13769" y="10522"/>
                    </a:lnTo>
                    <a:lnTo>
                      <a:pt x="16119" y="9291"/>
                    </a:lnTo>
                    <a:lnTo>
                      <a:pt x="18134" y="8172"/>
                    </a:lnTo>
                    <a:lnTo>
                      <a:pt x="19478" y="7276"/>
                    </a:lnTo>
                    <a:lnTo>
                      <a:pt x="19478" y="7276"/>
                    </a:lnTo>
                    <a:lnTo>
                      <a:pt x="19589" y="7164"/>
                    </a:lnTo>
                    <a:lnTo>
                      <a:pt x="19589" y="7164"/>
                    </a:lnTo>
                    <a:lnTo>
                      <a:pt x="20597" y="6493"/>
                    </a:lnTo>
                    <a:lnTo>
                      <a:pt x="20597" y="6493"/>
                    </a:lnTo>
                    <a:lnTo>
                      <a:pt x="21716" y="5597"/>
                    </a:lnTo>
                    <a:lnTo>
                      <a:pt x="21716" y="5597"/>
                    </a:lnTo>
                    <a:lnTo>
                      <a:pt x="22724" y="4925"/>
                    </a:lnTo>
                    <a:lnTo>
                      <a:pt x="23731" y="4254"/>
                    </a:lnTo>
                    <a:lnTo>
                      <a:pt x="23731" y="4254"/>
                    </a:lnTo>
                    <a:lnTo>
                      <a:pt x="23843" y="4142"/>
                    </a:lnTo>
                    <a:lnTo>
                      <a:pt x="23843" y="4142"/>
                    </a:lnTo>
                    <a:lnTo>
                      <a:pt x="24403" y="3806"/>
                    </a:lnTo>
                    <a:lnTo>
                      <a:pt x="24403" y="3806"/>
                    </a:lnTo>
                    <a:lnTo>
                      <a:pt x="24963" y="3358"/>
                    </a:lnTo>
                    <a:lnTo>
                      <a:pt x="24963" y="3358"/>
                    </a:lnTo>
                    <a:lnTo>
                      <a:pt x="25410" y="2911"/>
                    </a:lnTo>
                    <a:lnTo>
                      <a:pt x="25410" y="2911"/>
                    </a:lnTo>
                    <a:lnTo>
                      <a:pt x="25858" y="2239"/>
                    </a:lnTo>
                    <a:lnTo>
                      <a:pt x="25858" y="2239"/>
                    </a:lnTo>
                    <a:lnTo>
                      <a:pt x="25970" y="1903"/>
                    </a:lnTo>
                    <a:lnTo>
                      <a:pt x="25858" y="1679"/>
                    </a:lnTo>
                    <a:lnTo>
                      <a:pt x="25746" y="1343"/>
                    </a:lnTo>
                    <a:lnTo>
                      <a:pt x="25522" y="1008"/>
                    </a:lnTo>
                    <a:lnTo>
                      <a:pt x="24963" y="560"/>
                    </a:lnTo>
                    <a:lnTo>
                      <a:pt x="24067" y="224"/>
                    </a:lnTo>
                    <a:lnTo>
                      <a:pt x="24067" y="224"/>
                    </a:lnTo>
                    <a:lnTo>
                      <a:pt x="23619" y="112"/>
                    </a:lnTo>
                    <a:lnTo>
                      <a:pt x="23060" y="0"/>
                    </a:lnTo>
                    <a:lnTo>
                      <a:pt x="23060" y="0"/>
                    </a:lnTo>
                    <a:lnTo>
                      <a:pt x="22388" y="112"/>
                    </a:lnTo>
                    <a:lnTo>
                      <a:pt x="22388" y="112"/>
                    </a:lnTo>
                    <a:lnTo>
                      <a:pt x="22388" y="112"/>
                    </a:lnTo>
                    <a:lnTo>
                      <a:pt x="22164" y="224"/>
                    </a:lnTo>
                    <a:lnTo>
                      <a:pt x="22164" y="224"/>
                    </a:lnTo>
                    <a:lnTo>
                      <a:pt x="21157" y="672"/>
                    </a:lnTo>
                    <a:lnTo>
                      <a:pt x="21157" y="672"/>
                    </a:lnTo>
                    <a:lnTo>
                      <a:pt x="20709" y="896"/>
                    </a:lnTo>
                    <a:lnTo>
                      <a:pt x="20709" y="896"/>
                    </a:lnTo>
                    <a:lnTo>
                      <a:pt x="20373" y="1119"/>
                    </a:lnTo>
                    <a:lnTo>
                      <a:pt x="20373" y="1119"/>
                    </a:lnTo>
                    <a:lnTo>
                      <a:pt x="20037" y="1343"/>
                    </a:lnTo>
                    <a:lnTo>
                      <a:pt x="20037" y="1343"/>
                    </a:lnTo>
                    <a:lnTo>
                      <a:pt x="19813" y="1455"/>
                    </a:lnTo>
                    <a:lnTo>
                      <a:pt x="19813" y="1455"/>
                    </a:lnTo>
                    <a:lnTo>
                      <a:pt x="17127" y="3134"/>
                    </a:lnTo>
                    <a:lnTo>
                      <a:pt x="14440" y="4813"/>
                    </a:lnTo>
                    <a:lnTo>
                      <a:pt x="10746" y="7276"/>
                    </a:lnTo>
                    <a:lnTo>
                      <a:pt x="10746" y="7276"/>
                    </a:lnTo>
                    <a:lnTo>
                      <a:pt x="10299" y="7500"/>
                    </a:lnTo>
                    <a:lnTo>
                      <a:pt x="9851" y="7612"/>
                    </a:lnTo>
                    <a:lnTo>
                      <a:pt x="8507" y="7724"/>
                    </a:lnTo>
                    <a:lnTo>
                      <a:pt x="6940" y="7724"/>
                    </a:lnTo>
                    <a:lnTo>
                      <a:pt x="5261" y="7612"/>
                    </a:lnTo>
                    <a:lnTo>
                      <a:pt x="5261" y="7612"/>
                    </a:lnTo>
                    <a:lnTo>
                      <a:pt x="2351" y="7500"/>
                    </a:lnTo>
                    <a:lnTo>
                      <a:pt x="1231" y="7612"/>
                    </a:lnTo>
                    <a:lnTo>
                      <a:pt x="336" y="7724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70" name="Google Shape;1970;p16"/>
              <p:cNvSpPr/>
              <p:nvPr/>
            </p:nvSpPr>
            <p:spPr>
              <a:xfrm>
                <a:off x="5987200" y="1239975"/>
                <a:ext cx="2825" cy="8425"/>
              </a:xfrm>
              <a:custGeom>
                <a:avLst/>
                <a:gdLst/>
                <a:ahLst/>
                <a:cxnLst/>
                <a:rect l="l" t="t" r="r" b="b"/>
                <a:pathLst>
                  <a:path w="113" h="337" extrusionOk="0">
                    <a:moveTo>
                      <a:pt x="0" y="0"/>
                    </a:moveTo>
                    <a:lnTo>
                      <a:pt x="0" y="336"/>
                    </a:lnTo>
                    <a:lnTo>
                      <a:pt x="112" y="0"/>
                    </a:lnTo>
                    <a:close/>
                  </a:path>
                </a:pathLst>
              </a:custGeom>
              <a:solidFill>
                <a:srgbClr val="B1ADB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71" name="Google Shape;1971;p16"/>
              <p:cNvSpPr/>
              <p:nvPr/>
            </p:nvSpPr>
            <p:spPr>
              <a:xfrm>
                <a:off x="5987200" y="1239975"/>
                <a:ext cx="2825" cy="53200"/>
              </a:xfrm>
              <a:custGeom>
                <a:avLst/>
                <a:gdLst/>
                <a:ahLst/>
                <a:cxnLst/>
                <a:rect l="l" t="t" r="r" b="b"/>
                <a:pathLst>
                  <a:path w="113" h="2128" fill="none" extrusionOk="0">
                    <a:moveTo>
                      <a:pt x="112" y="0"/>
                    </a:moveTo>
                    <a:lnTo>
                      <a:pt x="11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343"/>
                    </a:lnTo>
                    <a:lnTo>
                      <a:pt x="0" y="1343"/>
                    </a:lnTo>
                    <a:lnTo>
                      <a:pt x="0" y="2127"/>
                    </a:lnTo>
                    <a:lnTo>
                      <a:pt x="0" y="2127"/>
                    </a:lnTo>
                    <a:lnTo>
                      <a:pt x="0" y="1679"/>
                    </a:lnTo>
                    <a:lnTo>
                      <a:pt x="0" y="1679"/>
                    </a:lnTo>
                    <a:lnTo>
                      <a:pt x="0" y="448"/>
                    </a:lnTo>
                    <a:lnTo>
                      <a:pt x="0" y="336"/>
                    </a:lnTo>
                    <a:lnTo>
                      <a:pt x="0" y="336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1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72" name="Google Shape;1972;p16"/>
              <p:cNvSpPr/>
              <p:nvPr/>
            </p:nvSpPr>
            <p:spPr>
              <a:xfrm>
                <a:off x="5987200" y="1195200"/>
                <a:ext cx="61600" cy="139950"/>
              </a:xfrm>
              <a:custGeom>
                <a:avLst/>
                <a:gdLst/>
                <a:ahLst/>
                <a:cxnLst/>
                <a:rect l="l" t="t" r="r" b="b"/>
                <a:pathLst>
                  <a:path w="2464" h="5598" extrusionOk="0">
                    <a:moveTo>
                      <a:pt x="2463" y="0"/>
                    </a:moveTo>
                    <a:lnTo>
                      <a:pt x="2127" y="224"/>
                    </a:lnTo>
                    <a:lnTo>
                      <a:pt x="1456" y="784"/>
                    </a:lnTo>
                    <a:lnTo>
                      <a:pt x="1344" y="896"/>
                    </a:lnTo>
                    <a:lnTo>
                      <a:pt x="1008" y="1120"/>
                    </a:lnTo>
                    <a:lnTo>
                      <a:pt x="112" y="1791"/>
                    </a:lnTo>
                    <a:lnTo>
                      <a:pt x="0" y="2127"/>
                    </a:lnTo>
                    <a:lnTo>
                      <a:pt x="0" y="2239"/>
                    </a:lnTo>
                    <a:lnTo>
                      <a:pt x="0" y="3470"/>
                    </a:lnTo>
                    <a:lnTo>
                      <a:pt x="0" y="3918"/>
                    </a:lnTo>
                    <a:lnTo>
                      <a:pt x="0" y="5261"/>
                    </a:lnTo>
                    <a:lnTo>
                      <a:pt x="112" y="5597"/>
                    </a:lnTo>
                    <a:lnTo>
                      <a:pt x="448" y="4925"/>
                    </a:lnTo>
                    <a:lnTo>
                      <a:pt x="1232" y="3358"/>
                    </a:lnTo>
                    <a:lnTo>
                      <a:pt x="1791" y="1903"/>
                    </a:lnTo>
                    <a:lnTo>
                      <a:pt x="2463" y="0"/>
                    </a:lnTo>
                    <a:close/>
                  </a:path>
                </a:pathLst>
              </a:custGeom>
              <a:solidFill>
                <a:srgbClr val="A4465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73" name="Google Shape;1973;p16"/>
              <p:cNvSpPr/>
              <p:nvPr/>
            </p:nvSpPr>
            <p:spPr>
              <a:xfrm>
                <a:off x="5987200" y="1195200"/>
                <a:ext cx="61600" cy="139950"/>
              </a:xfrm>
              <a:custGeom>
                <a:avLst/>
                <a:gdLst/>
                <a:ahLst/>
                <a:cxnLst/>
                <a:rect l="l" t="t" r="r" b="b"/>
                <a:pathLst>
                  <a:path w="2464" h="5598" fill="none" extrusionOk="0">
                    <a:moveTo>
                      <a:pt x="2463" y="0"/>
                    </a:moveTo>
                    <a:lnTo>
                      <a:pt x="2127" y="224"/>
                    </a:lnTo>
                    <a:lnTo>
                      <a:pt x="1456" y="784"/>
                    </a:lnTo>
                    <a:lnTo>
                      <a:pt x="1344" y="896"/>
                    </a:lnTo>
                    <a:lnTo>
                      <a:pt x="1344" y="896"/>
                    </a:lnTo>
                    <a:lnTo>
                      <a:pt x="1008" y="1120"/>
                    </a:lnTo>
                    <a:lnTo>
                      <a:pt x="1008" y="1120"/>
                    </a:lnTo>
                    <a:lnTo>
                      <a:pt x="112" y="1791"/>
                    </a:lnTo>
                    <a:lnTo>
                      <a:pt x="112" y="1791"/>
                    </a:lnTo>
                    <a:lnTo>
                      <a:pt x="112" y="1791"/>
                    </a:lnTo>
                    <a:lnTo>
                      <a:pt x="112" y="1791"/>
                    </a:lnTo>
                    <a:lnTo>
                      <a:pt x="0" y="2127"/>
                    </a:lnTo>
                    <a:lnTo>
                      <a:pt x="0" y="2239"/>
                    </a:lnTo>
                    <a:lnTo>
                      <a:pt x="0" y="2239"/>
                    </a:lnTo>
                    <a:lnTo>
                      <a:pt x="0" y="3470"/>
                    </a:lnTo>
                    <a:lnTo>
                      <a:pt x="0" y="3470"/>
                    </a:lnTo>
                    <a:lnTo>
                      <a:pt x="0" y="3918"/>
                    </a:lnTo>
                    <a:lnTo>
                      <a:pt x="0" y="3918"/>
                    </a:lnTo>
                    <a:lnTo>
                      <a:pt x="0" y="5261"/>
                    </a:lnTo>
                    <a:lnTo>
                      <a:pt x="0" y="5261"/>
                    </a:lnTo>
                    <a:lnTo>
                      <a:pt x="112" y="5597"/>
                    </a:lnTo>
                    <a:lnTo>
                      <a:pt x="112" y="5597"/>
                    </a:lnTo>
                    <a:lnTo>
                      <a:pt x="448" y="4925"/>
                    </a:lnTo>
                    <a:lnTo>
                      <a:pt x="448" y="4925"/>
                    </a:lnTo>
                    <a:lnTo>
                      <a:pt x="1232" y="3358"/>
                    </a:lnTo>
                    <a:lnTo>
                      <a:pt x="1791" y="1903"/>
                    </a:lnTo>
                    <a:lnTo>
                      <a:pt x="1791" y="1903"/>
                    </a:lnTo>
                    <a:lnTo>
                      <a:pt x="2463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74" name="Google Shape;1974;p16"/>
              <p:cNvSpPr/>
              <p:nvPr/>
            </p:nvSpPr>
            <p:spPr>
              <a:xfrm>
                <a:off x="5984400" y="1223175"/>
                <a:ext cx="28000" cy="19625"/>
              </a:xfrm>
              <a:custGeom>
                <a:avLst/>
                <a:gdLst/>
                <a:ahLst/>
                <a:cxnLst/>
                <a:rect l="l" t="t" r="r" b="b"/>
                <a:pathLst>
                  <a:path w="1120" h="785" extrusionOk="0">
                    <a:moveTo>
                      <a:pt x="1120" y="1"/>
                    </a:moveTo>
                    <a:lnTo>
                      <a:pt x="112" y="672"/>
                    </a:lnTo>
                    <a:lnTo>
                      <a:pt x="224" y="672"/>
                    </a:lnTo>
                    <a:lnTo>
                      <a:pt x="1120" y="1"/>
                    </a:lnTo>
                    <a:close/>
                    <a:moveTo>
                      <a:pt x="1" y="672"/>
                    </a:moveTo>
                    <a:lnTo>
                      <a:pt x="1" y="784"/>
                    </a:lnTo>
                    <a:lnTo>
                      <a:pt x="112" y="672"/>
                    </a:lnTo>
                    <a:close/>
                  </a:path>
                </a:pathLst>
              </a:custGeom>
              <a:solidFill>
                <a:srgbClr val="A4465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75" name="Google Shape;1975;p16"/>
              <p:cNvSpPr/>
              <p:nvPr/>
            </p:nvSpPr>
            <p:spPr>
              <a:xfrm>
                <a:off x="5984400" y="1217575"/>
                <a:ext cx="36400" cy="25225"/>
              </a:xfrm>
              <a:custGeom>
                <a:avLst/>
                <a:gdLst/>
                <a:ahLst/>
                <a:cxnLst/>
                <a:rect l="l" t="t" r="r" b="b"/>
                <a:pathLst>
                  <a:path w="1456" h="1009" fill="none" extrusionOk="0">
                    <a:moveTo>
                      <a:pt x="1456" y="1"/>
                    </a:moveTo>
                    <a:lnTo>
                      <a:pt x="1120" y="225"/>
                    </a:lnTo>
                    <a:lnTo>
                      <a:pt x="112" y="896"/>
                    </a:lnTo>
                    <a:lnTo>
                      <a:pt x="1" y="896"/>
                    </a:lnTo>
                    <a:lnTo>
                      <a:pt x="1" y="896"/>
                    </a:lnTo>
                    <a:lnTo>
                      <a:pt x="1" y="1008"/>
                    </a:lnTo>
                    <a:lnTo>
                      <a:pt x="1" y="1008"/>
                    </a:lnTo>
                    <a:lnTo>
                      <a:pt x="112" y="896"/>
                    </a:lnTo>
                    <a:lnTo>
                      <a:pt x="112" y="896"/>
                    </a:lnTo>
                    <a:lnTo>
                      <a:pt x="112" y="896"/>
                    </a:lnTo>
                    <a:lnTo>
                      <a:pt x="112" y="896"/>
                    </a:lnTo>
                    <a:lnTo>
                      <a:pt x="112" y="896"/>
                    </a:lnTo>
                    <a:lnTo>
                      <a:pt x="112" y="896"/>
                    </a:lnTo>
                    <a:lnTo>
                      <a:pt x="224" y="896"/>
                    </a:lnTo>
                    <a:lnTo>
                      <a:pt x="224" y="896"/>
                    </a:lnTo>
                    <a:lnTo>
                      <a:pt x="1120" y="225"/>
                    </a:lnTo>
                    <a:lnTo>
                      <a:pt x="1120" y="225"/>
                    </a:lnTo>
                    <a:lnTo>
                      <a:pt x="1456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76" name="Google Shape;1976;p16"/>
              <p:cNvSpPr/>
              <p:nvPr/>
            </p:nvSpPr>
            <p:spPr>
              <a:xfrm>
                <a:off x="6197075" y="1069250"/>
                <a:ext cx="8425" cy="2825"/>
              </a:xfrm>
              <a:custGeom>
                <a:avLst/>
                <a:gdLst/>
                <a:ahLst/>
                <a:cxnLst/>
                <a:rect l="l" t="t" r="r" b="b"/>
                <a:pathLst>
                  <a:path w="337" h="113" extrusionOk="0">
                    <a:moveTo>
                      <a:pt x="1" y="1"/>
                    </a:moveTo>
                    <a:lnTo>
                      <a:pt x="337" y="113"/>
                    </a:lnTo>
                    <a:lnTo>
                      <a:pt x="337" y="1"/>
                    </a:lnTo>
                    <a:close/>
                  </a:path>
                </a:pathLst>
              </a:custGeom>
              <a:solidFill>
                <a:srgbClr val="A5798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77" name="Google Shape;1977;p16"/>
              <p:cNvSpPr/>
              <p:nvPr/>
            </p:nvSpPr>
            <p:spPr>
              <a:xfrm>
                <a:off x="6197075" y="1069250"/>
                <a:ext cx="8425" cy="2825"/>
              </a:xfrm>
              <a:custGeom>
                <a:avLst/>
                <a:gdLst/>
                <a:ahLst/>
                <a:cxnLst/>
                <a:rect l="l" t="t" r="r" b="b"/>
                <a:pathLst>
                  <a:path w="337" h="113" fill="none" extrusionOk="0">
                    <a:moveTo>
                      <a:pt x="113" y="1"/>
                    </a:moveTo>
                    <a:lnTo>
                      <a:pt x="113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337" y="113"/>
                    </a:lnTo>
                    <a:lnTo>
                      <a:pt x="337" y="113"/>
                    </a:lnTo>
                    <a:lnTo>
                      <a:pt x="337" y="1"/>
                    </a:lnTo>
                    <a:lnTo>
                      <a:pt x="11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78" name="Google Shape;1978;p16"/>
              <p:cNvSpPr/>
              <p:nvPr/>
            </p:nvSpPr>
            <p:spPr>
              <a:xfrm>
                <a:off x="6157900" y="1069250"/>
                <a:ext cx="47600" cy="58800"/>
              </a:xfrm>
              <a:custGeom>
                <a:avLst/>
                <a:gdLst/>
                <a:ahLst/>
                <a:cxnLst/>
                <a:rect l="l" t="t" r="r" b="b"/>
                <a:pathLst>
                  <a:path w="1904" h="2352" extrusionOk="0">
                    <a:moveTo>
                      <a:pt x="1568" y="1"/>
                    </a:moveTo>
                    <a:lnTo>
                      <a:pt x="1344" y="225"/>
                    </a:lnTo>
                    <a:lnTo>
                      <a:pt x="1120" y="561"/>
                    </a:lnTo>
                    <a:lnTo>
                      <a:pt x="1" y="1344"/>
                    </a:lnTo>
                    <a:lnTo>
                      <a:pt x="1" y="2352"/>
                    </a:lnTo>
                    <a:lnTo>
                      <a:pt x="896" y="1344"/>
                    </a:lnTo>
                    <a:lnTo>
                      <a:pt x="1456" y="673"/>
                    </a:lnTo>
                    <a:lnTo>
                      <a:pt x="1568" y="561"/>
                    </a:lnTo>
                    <a:lnTo>
                      <a:pt x="1680" y="561"/>
                    </a:lnTo>
                    <a:lnTo>
                      <a:pt x="1792" y="449"/>
                    </a:lnTo>
                    <a:lnTo>
                      <a:pt x="1904" y="113"/>
                    </a:lnTo>
                    <a:lnTo>
                      <a:pt x="1568" y="1"/>
                    </a:lnTo>
                    <a:close/>
                  </a:path>
                </a:pathLst>
              </a:custGeom>
              <a:solidFill>
                <a:srgbClr val="A9A4B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79" name="Google Shape;1979;p16"/>
              <p:cNvSpPr/>
              <p:nvPr/>
            </p:nvSpPr>
            <p:spPr>
              <a:xfrm>
                <a:off x="6157900" y="1069250"/>
                <a:ext cx="47600" cy="58800"/>
              </a:xfrm>
              <a:custGeom>
                <a:avLst/>
                <a:gdLst/>
                <a:ahLst/>
                <a:cxnLst/>
                <a:rect l="l" t="t" r="r" b="b"/>
                <a:pathLst>
                  <a:path w="1904" h="2352" fill="none" extrusionOk="0">
                    <a:moveTo>
                      <a:pt x="1568" y="1"/>
                    </a:moveTo>
                    <a:lnTo>
                      <a:pt x="1568" y="1"/>
                    </a:lnTo>
                    <a:lnTo>
                      <a:pt x="1344" y="225"/>
                    </a:lnTo>
                    <a:lnTo>
                      <a:pt x="1120" y="561"/>
                    </a:lnTo>
                    <a:lnTo>
                      <a:pt x="1120" y="561"/>
                    </a:lnTo>
                    <a:lnTo>
                      <a:pt x="1" y="1344"/>
                    </a:lnTo>
                    <a:lnTo>
                      <a:pt x="1" y="1344"/>
                    </a:lnTo>
                    <a:lnTo>
                      <a:pt x="1" y="2352"/>
                    </a:lnTo>
                    <a:lnTo>
                      <a:pt x="1" y="2352"/>
                    </a:lnTo>
                    <a:lnTo>
                      <a:pt x="896" y="1344"/>
                    </a:lnTo>
                    <a:lnTo>
                      <a:pt x="1456" y="673"/>
                    </a:lnTo>
                    <a:lnTo>
                      <a:pt x="1456" y="673"/>
                    </a:lnTo>
                    <a:lnTo>
                      <a:pt x="1568" y="561"/>
                    </a:lnTo>
                    <a:lnTo>
                      <a:pt x="1568" y="561"/>
                    </a:lnTo>
                    <a:lnTo>
                      <a:pt x="1568" y="561"/>
                    </a:lnTo>
                    <a:lnTo>
                      <a:pt x="1568" y="561"/>
                    </a:lnTo>
                    <a:lnTo>
                      <a:pt x="1680" y="561"/>
                    </a:lnTo>
                    <a:lnTo>
                      <a:pt x="1680" y="561"/>
                    </a:lnTo>
                    <a:lnTo>
                      <a:pt x="1792" y="449"/>
                    </a:lnTo>
                    <a:lnTo>
                      <a:pt x="1904" y="113"/>
                    </a:lnTo>
                    <a:lnTo>
                      <a:pt x="1904" y="113"/>
                    </a:lnTo>
                    <a:lnTo>
                      <a:pt x="1568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80" name="Google Shape;1980;p16"/>
              <p:cNvSpPr/>
              <p:nvPr/>
            </p:nvSpPr>
            <p:spPr>
              <a:xfrm>
                <a:off x="5945225" y="1097250"/>
                <a:ext cx="39200" cy="22400"/>
              </a:xfrm>
              <a:custGeom>
                <a:avLst/>
                <a:gdLst/>
                <a:ahLst/>
                <a:cxnLst/>
                <a:rect l="l" t="t" r="r" b="b"/>
                <a:pathLst>
                  <a:path w="1568" h="896" extrusionOk="0">
                    <a:moveTo>
                      <a:pt x="672" y="0"/>
                    </a:moveTo>
                    <a:lnTo>
                      <a:pt x="336" y="448"/>
                    </a:lnTo>
                    <a:lnTo>
                      <a:pt x="0" y="784"/>
                    </a:lnTo>
                    <a:lnTo>
                      <a:pt x="448" y="896"/>
                    </a:lnTo>
                    <a:lnTo>
                      <a:pt x="1568" y="224"/>
                    </a:lnTo>
                    <a:lnTo>
                      <a:pt x="1456" y="224"/>
                    </a:lnTo>
                    <a:lnTo>
                      <a:pt x="672" y="0"/>
                    </a:lnTo>
                    <a:close/>
                  </a:path>
                </a:pathLst>
              </a:custGeom>
              <a:solidFill>
                <a:srgbClr val="A9A4B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81" name="Google Shape;1981;p16"/>
              <p:cNvSpPr/>
              <p:nvPr/>
            </p:nvSpPr>
            <p:spPr>
              <a:xfrm>
                <a:off x="5945225" y="1097250"/>
                <a:ext cx="39200" cy="22400"/>
              </a:xfrm>
              <a:custGeom>
                <a:avLst/>
                <a:gdLst/>
                <a:ahLst/>
                <a:cxnLst/>
                <a:rect l="l" t="t" r="r" b="b"/>
                <a:pathLst>
                  <a:path w="1568" h="896" fill="none" extrusionOk="0">
                    <a:moveTo>
                      <a:pt x="672" y="0"/>
                    </a:moveTo>
                    <a:lnTo>
                      <a:pt x="672" y="0"/>
                    </a:lnTo>
                    <a:lnTo>
                      <a:pt x="336" y="448"/>
                    </a:lnTo>
                    <a:lnTo>
                      <a:pt x="0" y="784"/>
                    </a:lnTo>
                    <a:lnTo>
                      <a:pt x="0" y="784"/>
                    </a:lnTo>
                    <a:lnTo>
                      <a:pt x="448" y="896"/>
                    </a:lnTo>
                    <a:lnTo>
                      <a:pt x="448" y="896"/>
                    </a:lnTo>
                    <a:lnTo>
                      <a:pt x="1568" y="224"/>
                    </a:lnTo>
                    <a:lnTo>
                      <a:pt x="1568" y="224"/>
                    </a:lnTo>
                    <a:lnTo>
                      <a:pt x="1456" y="224"/>
                    </a:lnTo>
                    <a:lnTo>
                      <a:pt x="1456" y="224"/>
                    </a:lnTo>
                    <a:lnTo>
                      <a:pt x="67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82" name="Google Shape;1982;p16"/>
              <p:cNvSpPr/>
              <p:nvPr/>
            </p:nvSpPr>
            <p:spPr>
              <a:xfrm>
                <a:off x="6113125" y="1102850"/>
                <a:ext cx="44800" cy="47600"/>
              </a:xfrm>
              <a:custGeom>
                <a:avLst/>
                <a:gdLst/>
                <a:ahLst/>
                <a:cxnLst/>
                <a:rect l="l" t="t" r="r" b="b"/>
                <a:pathLst>
                  <a:path w="1792" h="1904" extrusionOk="0">
                    <a:moveTo>
                      <a:pt x="1792" y="0"/>
                    </a:moveTo>
                    <a:lnTo>
                      <a:pt x="1456" y="112"/>
                    </a:lnTo>
                    <a:lnTo>
                      <a:pt x="1344" y="224"/>
                    </a:lnTo>
                    <a:lnTo>
                      <a:pt x="1232" y="560"/>
                    </a:lnTo>
                    <a:lnTo>
                      <a:pt x="784" y="1232"/>
                    </a:lnTo>
                    <a:lnTo>
                      <a:pt x="337" y="1679"/>
                    </a:lnTo>
                    <a:lnTo>
                      <a:pt x="1" y="1903"/>
                    </a:lnTo>
                    <a:lnTo>
                      <a:pt x="1" y="1903"/>
                    </a:lnTo>
                    <a:lnTo>
                      <a:pt x="784" y="1679"/>
                    </a:lnTo>
                    <a:lnTo>
                      <a:pt x="1456" y="1343"/>
                    </a:lnTo>
                    <a:lnTo>
                      <a:pt x="1792" y="1008"/>
                    </a:lnTo>
                    <a:lnTo>
                      <a:pt x="1792" y="0"/>
                    </a:lnTo>
                    <a:close/>
                  </a:path>
                </a:pathLst>
              </a:custGeom>
              <a:solidFill>
                <a:srgbClr val="9E455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83" name="Google Shape;1983;p16"/>
              <p:cNvSpPr/>
              <p:nvPr/>
            </p:nvSpPr>
            <p:spPr>
              <a:xfrm>
                <a:off x="6113125" y="1102850"/>
                <a:ext cx="44800" cy="47600"/>
              </a:xfrm>
              <a:custGeom>
                <a:avLst/>
                <a:gdLst/>
                <a:ahLst/>
                <a:cxnLst/>
                <a:rect l="l" t="t" r="r" b="b"/>
                <a:pathLst>
                  <a:path w="1792" h="1904" fill="none" extrusionOk="0">
                    <a:moveTo>
                      <a:pt x="1792" y="0"/>
                    </a:moveTo>
                    <a:lnTo>
                      <a:pt x="1792" y="0"/>
                    </a:lnTo>
                    <a:lnTo>
                      <a:pt x="1456" y="112"/>
                    </a:lnTo>
                    <a:lnTo>
                      <a:pt x="1456" y="112"/>
                    </a:lnTo>
                    <a:lnTo>
                      <a:pt x="1344" y="224"/>
                    </a:lnTo>
                    <a:lnTo>
                      <a:pt x="1344" y="224"/>
                    </a:lnTo>
                    <a:lnTo>
                      <a:pt x="1232" y="560"/>
                    </a:lnTo>
                    <a:lnTo>
                      <a:pt x="1232" y="560"/>
                    </a:lnTo>
                    <a:lnTo>
                      <a:pt x="784" y="1232"/>
                    </a:lnTo>
                    <a:lnTo>
                      <a:pt x="784" y="1232"/>
                    </a:lnTo>
                    <a:lnTo>
                      <a:pt x="337" y="1679"/>
                    </a:lnTo>
                    <a:lnTo>
                      <a:pt x="337" y="1679"/>
                    </a:lnTo>
                    <a:lnTo>
                      <a:pt x="1" y="1903"/>
                    </a:lnTo>
                    <a:lnTo>
                      <a:pt x="1" y="1903"/>
                    </a:lnTo>
                    <a:lnTo>
                      <a:pt x="784" y="1679"/>
                    </a:lnTo>
                    <a:lnTo>
                      <a:pt x="784" y="1679"/>
                    </a:lnTo>
                    <a:lnTo>
                      <a:pt x="1456" y="1343"/>
                    </a:lnTo>
                    <a:lnTo>
                      <a:pt x="1456" y="1343"/>
                    </a:lnTo>
                    <a:lnTo>
                      <a:pt x="1792" y="1008"/>
                    </a:lnTo>
                    <a:lnTo>
                      <a:pt x="1792" y="1008"/>
                    </a:lnTo>
                    <a:lnTo>
                      <a:pt x="179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84" name="Google Shape;1984;p16"/>
              <p:cNvSpPr/>
              <p:nvPr/>
            </p:nvSpPr>
            <p:spPr>
              <a:xfrm>
                <a:off x="5950825" y="1102850"/>
                <a:ext cx="195900" cy="50400"/>
              </a:xfrm>
              <a:custGeom>
                <a:avLst/>
                <a:gdLst/>
                <a:ahLst/>
                <a:cxnLst/>
                <a:rect l="l" t="t" r="r" b="b"/>
                <a:pathLst>
                  <a:path w="7836" h="2016" extrusionOk="0">
                    <a:moveTo>
                      <a:pt x="1344" y="0"/>
                    </a:moveTo>
                    <a:lnTo>
                      <a:pt x="224" y="672"/>
                    </a:lnTo>
                    <a:lnTo>
                      <a:pt x="896" y="672"/>
                    </a:lnTo>
                    <a:lnTo>
                      <a:pt x="0" y="1232"/>
                    </a:lnTo>
                    <a:lnTo>
                      <a:pt x="1008" y="1343"/>
                    </a:lnTo>
                    <a:lnTo>
                      <a:pt x="3246" y="1791"/>
                    </a:lnTo>
                    <a:lnTo>
                      <a:pt x="5261" y="2015"/>
                    </a:lnTo>
                    <a:lnTo>
                      <a:pt x="5933" y="2015"/>
                    </a:lnTo>
                    <a:lnTo>
                      <a:pt x="6493" y="1903"/>
                    </a:lnTo>
                    <a:lnTo>
                      <a:pt x="6829" y="1679"/>
                    </a:lnTo>
                    <a:lnTo>
                      <a:pt x="7276" y="1232"/>
                    </a:lnTo>
                    <a:lnTo>
                      <a:pt x="7724" y="560"/>
                    </a:lnTo>
                    <a:lnTo>
                      <a:pt x="7836" y="224"/>
                    </a:lnTo>
                    <a:lnTo>
                      <a:pt x="7276" y="448"/>
                    </a:lnTo>
                    <a:lnTo>
                      <a:pt x="6605" y="672"/>
                    </a:lnTo>
                    <a:lnTo>
                      <a:pt x="5933" y="784"/>
                    </a:lnTo>
                    <a:lnTo>
                      <a:pt x="5821" y="784"/>
                    </a:lnTo>
                    <a:lnTo>
                      <a:pt x="3918" y="448"/>
                    </a:lnTo>
                    <a:lnTo>
                      <a:pt x="1455" y="0"/>
                    </a:lnTo>
                    <a:close/>
                  </a:path>
                </a:pathLst>
              </a:custGeom>
              <a:solidFill>
                <a:srgbClr val="9E455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85" name="Google Shape;1985;p16"/>
              <p:cNvSpPr/>
              <p:nvPr/>
            </p:nvSpPr>
            <p:spPr>
              <a:xfrm>
                <a:off x="5950825" y="1102850"/>
                <a:ext cx="195900" cy="50400"/>
              </a:xfrm>
              <a:custGeom>
                <a:avLst/>
                <a:gdLst/>
                <a:ahLst/>
                <a:cxnLst/>
                <a:rect l="l" t="t" r="r" b="b"/>
                <a:pathLst>
                  <a:path w="7836" h="2016" fill="none" extrusionOk="0">
                    <a:moveTo>
                      <a:pt x="1344" y="0"/>
                    </a:moveTo>
                    <a:lnTo>
                      <a:pt x="1344" y="0"/>
                    </a:lnTo>
                    <a:lnTo>
                      <a:pt x="224" y="672"/>
                    </a:lnTo>
                    <a:lnTo>
                      <a:pt x="224" y="672"/>
                    </a:lnTo>
                    <a:lnTo>
                      <a:pt x="896" y="672"/>
                    </a:lnTo>
                    <a:lnTo>
                      <a:pt x="896" y="672"/>
                    </a:lnTo>
                    <a:lnTo>
                      <a:pt x="0" y="1232"/>
                    </a:lnTo>
                    <a:lnTo>
                      <a:pt x="0" y="1232"/>
                    </a:lnTo>
                    <a:lnTo>
                      <a:pt x="1008" y="1343"/>
                    </a:lnTo>
                    <a:lnTo>
                      <a:pt x="1008" y="1343"/>
                    </a:lnTo>
                    <a:lnTo>
                      <a:pt x="3246" y="1791"/>
                    </a:lnTo>
                    <a:lnTo>
                      <a:pt x="5261" y="2015"/>
                    </a:lnTo>
                    <a:lnTo>
                      <a:pt x="5261" y="2015"/>
                    </a:lnTo>
                    <a:lnTo>
                      <a:pt x="5933" y="2015"/>
                    </a:lnTo>
                    <a:lnTo>
                      <a:pt x="5933" y="2015"/>
                    </a:lnTo>
                    <a:lnTo>
                      <a:pt x="5933" y="2015"/>
                    </a:lnTo>
                    <a:lnTo>
                      <a:pt x="5933" y="2015"/>
                    </a:lnTo>
                    <a:lnTo>
                      <a:pt x="6493" y="1903"/>
                    </a:lnTo>
                    <a:lnTo>
                      <a:pt x="6493" y="1903"/>
                    </a:lnTo>
                    <a:lnTo>
                      <a:pt x="6829" y="1679"/>
                    </a:lnTo>
                    <a:lnTo>
                      <a:pt x="6829" y="1679"/>
                    </a:lnTo>
                    <a:lnTo>
                      <a:pt x="7276" y="1232"/>
                    </a:lnTo>
                    <a:lnTo>
                      <a:pt x="7276" y="1232"/>
                    </a:lnTo>
                    <a:lnTo>
                      <a:pt x="7724" y="560"/>
                    </a:lnTo>
                    <a:lnTo>
                      <a:pt x="7724" y="560"/>
                    </a:lnTo>
                    <a:lnTo>
                      <a:pt x="7836" y="224"/>
                    </a:lnTo>
                    <a:lnTo>
                      <a:pt x="7836" y="224"/>
                    </a:lnTo>
                    <a:lnTo>
                      <a:pt x="7276" y="448"/>
                    </a:lnTo>
                    <a:lnTo>
                      <a:pt x="7276" y="448"/>
                    </a:lnTo>
                    <a:lnTo>
                      <a:pt x="6605" y="672"/>
                    </a:lnTo>
                    <a:lnTo>
                      <a:pt x="5933" y="784"/>
                    </a:lnTo>
                    <a:lnTo>
                      <a:pt x="5821" y="784"/>
                    </a:lnTo>
                    <a:lnTo>
                      <a:pt x="5821" y="784"/>
                    </a:lnTo>
                    <a:lnTo>
                      <a:pt x="5821" y="784"/>
                    </a:lnTo>
                    <a:lnTo>
                      <a:pt x="5821" y="784"/>
                    </a:lnTo>
                    <a:lnTo>
                      <a:pt x="3918" y="448"/>
                    </a:lnTo>
                    <a:lnTo>
                      <a:pt x="1455" y="0"/>
                    </a:lnTo>
                    <a:lnTo>
                      <a:pt x="1455" y="0"/>
                    </a:lnTo>
                    <a:lnTo>
                      <a:pt x="1344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86" name="Google Shape;1986;p16"/>
              <p:cNvSpPr/>
              <p:nvPr/>
            </p:nvSpPr>
            <p:spPr>
              <a:xfrm>
                <a:off x="5559025" y="1060875"/>
                <a:ext cx="654875" cy="114750"/>
              </a:xfrm>
              <a:custGeom>
                <a:avLst/>
                <a:gdLst/>
                <a:ahLst/>
                <a:cxnLst/>
                <a:rect l="l" t="t" r="r" b="b"/>
                <a:pathLst>
                  <a:path w="26195" h="4590" extrusionOk="0">
                    <a:moveTo>
                      <a:pt x="25635" y="0"/>
                    </a:moveTo>
                    <a:lnTo>
                      <a:pt x="25299" y="112"/>
                    </a:lnTo>
                    <a:lnTo>
                      <a:pt x="24963" y="336"/>
                    </a:lnTo>
                    <a:lnTo>
                      <a:pt x="24403" y="784"/>
                    </a:lnTo>
                    <a:lnTo>
                      <a:pt x="23620" y="1231"/>
                    </a:lnTo>
                    <a:lnTo>
                      <a:pt x="22724" y="1567"/>
                    </a:lnTo>
                    <a:lnTo>
                      <a:pt x="21829" y="1903"/>
                    </a:lnTo>
                    <a:lnTo>
                      <a:pt x="21493" y="1903"/>
                    </a:lnTo>
                    <a:lnTo>
                      <a:pt x="20709" y="1791"/>
                    </a:lnTo>
                    <a:lnTo>
                      <a:pt x="19814" y="1567"/>
                    </a:lnTo>
                    <a:lnTo>
                      <a:pt x="17687" y="784"/>
                    </a:lnTo>
                    <a:lnTo>
                      <a:pt x="16120" y="448"/>
                    </a:lnTo>
                    <a:lnTo>
                      <a:pt x="15336" y="336"/>
                    </a:lnTo>
                    <a:lnTo>
                      <a:pt x="14665" y="336"/>
                    </a:lnTo>
                    <a:lnTo>
                      <a:pt x="13881" y="560"/>
                    </a:lnTo>
                    <a:lnTo>
                      <a:pt x="13210" y="896"/>
                    </a:lnTo>
                    <a:lnTo>
                      <a:pt x="11978" y="1679"/>
                    </a:lnTo>
                    <a:lnTo>
                      <a:pt x="11419" y="2015"/>
                    </a:lnTo>
                    <a:lnTo>
                      <a:pt x="10635" y="2463"/>
                    </a:lnTo>
                    <a:lnTo>
                      <a:pt x="9739" y="2687"/>
                    </a:lnTo>
                    <a:lnTo>
                      <a:pt x="8732" y="2911"/>
                    </a:lnTo>
                    <a:lnTo>
                      <a:pt x="7501" y="3022"/>
                    </a:lnTo>
                    <a:lnTo>
                      <a:pt x="6381" y="2911"/>
                    </a:lnTo>
                    <a:lnTo>
                      <a:pt x="5262" y="2799"/>
                    </a:lnTo>
                    <a:lnTo>
                      <a:pt x="4254" y="2575"/>
                    </a:lnTo>
                    <a:lnTo>
                      <a:pt x="2463" y="2127"/>
                    </a:lnTo>
                    <a:lnTo>
                      <a:pt x="1904" y="2015"/>
                    </a:lnTo>
                    <a:lnTo>
                      <a:pt x="1456" y="2015"/>
                    </a:lnTo>
                    <a:lnTo>
                      <a:pt x="784" y="2127"/>
                    </a:lnTo>
                    <a:lnTo>
                      <a:pt x="337" y="2239"/>
                    </a:lnTo>
                    <a:lnTo>
                      <a:pt x="1" y="2463"/>
                    </a:lnTo>
                    <a:lnTo>
                      <a:pt x="1" y="2687"/>
                    </a:lnTo>
                    <a:lnTo>
                      <a:pt x="1" y="2911"/>
                    </a:lnTo>
                    <a:lnTo>
                      <a:pt x="225" y="3246"/>
                    </a:lnTo>
                    <a:lnTo>
                      <a:pt x="560" y="3582"/>
                    </a:lnTo>
                    <a:lnTo>
                      <a:pt x="1008" y="3918"/>
                    </a:lnTo>
                    <a:lnTo>
                      <a:pt x="2352" y="4142"/>
                    </a:lnTo>
                    <a:lnTo>
                      <a:pt x="4590" y="4366"/>
                    </a:lnTo>
                    <a:lnTo>
                      <a:pt x="7053" y="4590"/>
                    </a:lnTo>
                    <a:lnTo>
                      <a:pt x="8844" y="4590"/>
                    </a:lnTo>
                    <a:lnTo>
                      <a:pt x="9739" y="4478"/>
                    </a:lnTo>
                    <a:lnTo>
                      <a:pt x="10523" y="4142"/>
                    </a:lnTo>
                    <a:lnTo>
                      <a:pt x="12202" y="3358"/>
                    </a:lnTo>
                    <a:lnTo>
                      <a:pt x="13657" y="2575"/>
                    </a:lnTo>
                    <a:lnTo>
                      <a:pt x="14329" y="2351"/>
                    </a:lnTo>
                    <a:lnTo>
                      <a:pt x="14889" y="2239"/>
                    </a:lnTo>
                    <a:lnTo>
                      <a:pt x="15448" y="2239"/>
                    </a:lnTo>
                    <a:lnTo>
                      <a:pt x="16568" y="2351"/>
                    </a:lnTo>
                    <a:lnTo>
                      <a:pt x="16680" y="2463"/>
                    </a:lnTo>
                    <a:lnTo>
                      <a:pt x="19030" y="2911"/>
                    </a:lnTo>
                    <a:lnTo>
                      <a:pt x="20262" y="3022"/>
                    </a:lnTo>
                    <a:lnTo>
                      <a:pt x="21269" y="3134"/>
                    </a:lnTo>
                    <a:lnTo>
                      <a:pt x="22165" y="3134"/>
                    </a:lnTo>
                    <a:lnTo>
                      <a:pt x="22612" y="2911"/>
                    </a:lnTo>
                    <a:lnTo>
                      <a:pt x="23620" y="2463"/>
                    </a:lnTo>
                    <a:lnTo>
                      <a:pt x="24292" y="2015"/>
                    </a:lnTo>
                    <a:lnTo>
                      <a:pt x="24851" y="1567"/>
                    </a:lnTo>
                    <a:lnTo>
                      <a:pt x="25411" y="1008"/>
                    </a:lnTo>
                    <a:lnTo>
                      <a:pt x="25523" y="1008"/>
                    </a:lnTo>
                    <a:lnTo>
                      <a:pt x="25747" y="1119"/>
                    </a:lnTo>
                    <a:lnTo>
                      <a:pt x="25971" y="1119"/>
                    </a:lnTo>
                    <a:lnTo>
                      <a:pt x="26083" y="1008"/>
                    </a:lnTo>
                    <a:lnTo>
                      <a:pt x="26194" y="896"/>
                    </a:lnTo>
                    <a:lnTo>
                      <a:pt x="26194" y="560"/>
                    </a:lnTo>
                    <a:lnTo>
                      <a:pt x="26194" y="336"/>
                    </a:lnTo>
                    <a:lnTo>
                      <a:pt x="26083" y="224"/>
                    </a:lnTo>
                    <a:lnTo>
                      <a:pt x="25859" y="0"/>
                    </a:lnTo>
                    <a:close/>
                  </a:path>
                </a:pathLst>
              </a:custGeom>
              <a:solidFill>
                <a:srgbClr val="F2AD1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87" name="Google Shape;1987;p16"/>
              <p:cNvSpPr/>
              <p:nvPr/>
            </p:nvSpPr>
            <p:spPr>
              <a:xfrm>
                <a:off x="6191475" y="1743700"/>
                <a:ext cx="128775" cy="81175"/>
              </a:xfrm>
              <a:custGeom>
                <a:avLst/>
                <a:gdLst/>
                <a:ahLst/>
                <a:cxnLst/>
                <a:rect l="l" t="t" r="r" b="b"/>
                <a:pathLst>
                  <a:path w="5151" h="3247" extrusionOk="0">
                    <a:moveTo>
                      <a:pt x="449" y="0"/>
                    </a:moveTo>
                    <a:lnTo>
                      <a:pt x="1" y="2015"/>
                    </a:lnTo>
                    <a:lnTo>
                      <a:pt x="5150" y="3246"/>
                    </a:lnTo>
                    <a:lnTo>
                      <a:pt x="4479" y="2687"/>
                    </a:lnTo>
                    <a:lnTo>
                      <a:pt x="3807" y="2015"/>
                    </a:lnTo>
                    <a:lnTo>
                      <a:pt x="2240" y="1008"/>
                    </a:lnTo>
                    <a:lnTo>
                      <a:pt x="449" y="0"/>
                    </a:ln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88" name="Google Shape;1988;p16"/>
              <p:cNvSpPr/>
              <p:nvPr/>
            </p:nvSpPr>
            <p:spPr>
              <a:xfrm>
                <a:off x="6191475" y="1743700"/>
                <a:ext cx="128775" cy="81175"/>
              </a:xfrm>
              <a:custGeom>
                <a:avLst/>
                <a:gdLst/>
                <a:ahLst/>
                <a:cxnLst/>
                <a:rect l="l" t="t" r="r" b="b"/>
                <a:pathLst>
                  <a:path w="5151" h="3247" fill="none" extrusionOk="0">
                    <a:moveTo>
                      <a:pt x="449" y="0"/>
                    </a:moveTo>
                    <a:lnTo>
                      <a:pt x="1" y="2015"/>
                    </a:lnTo>
                    <a:lnTo>
                      <a:pt x="1" y="2015"/>
                    </a:lnTo>
                    <a:lnTo>
                      <a:pt x="5150" y="3246"/>
                    </a:lnTo>
                    <a:lnTo>
                      <a:pt x="5150" y="3246"/>
                    </a:lnTo>
                    <a:lnTo>
                      <a:pt x="4479" y="2687"/>
                    </a:lnTo>
                    <a:lnTo>
                      <a:pt x="3807" y="2015"/>
                    </a:lnTo>
                    <a:lnTo>
                      <a:pt x="2240" y="1008"/>
                    </a:lnTo>
                    <a:lnTo>
                      <a:pt x="449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89" name="Google Shape;1989;p16"/>
              <p:cNvSpPr/>
              <p:nvPr/>
            </p:nvSpPr>
            <p:spPr>
              <a:xfrm>
                <a:off x="1705525" y="2281000"/>
                <a:ext cx="156750" cy="86775"/>
              </a:xfrm>
              <a:custGeom>
                <a:avLst/>
                <a:gdLst/>
                <a:ahLst/>
                <a:cxnLst/>
                <a:rect l="l" t="t" r="r" b="b"/>
                <a:pathLst>
                  <a:path w="6270" h="3471" extrusionOk="0">
                    <a:moveTo>
                      <a:pt x="2240" y="1"/>
                    </a:moveTo>
                    <a:lnTo>
                      <a:pt x="1680" y="112"/>
                    </a:lnTo>
                    <a:lnTo>
                      <a:pt x="1232" y="336"/>
                    </a:lnTo>
                    <a:lnTo>
                      <a:pt x="785" y="672"/>
                    </a:lnTo>
                    <a:lnTo>
                      <a:pt x="337" y="1008"/>
                    </a:lnTo>
                    <a:lnTo>
                      <a:pt x="113" y="1344"/>
                    </a:lnTo>
                    <a:lnTo>
                      <a:pt x="1" y="1680"/>
                    </a:lnTo>
                    <a:lnTo>
                      <a:pt x="1" y="2015"/>
                    </a:lnTo>
                    <a:lnTo>
                      <a:pt x="225" y="2127"/>
                    </a:lnTo>
                    <a:lnTo>
                      <a:pt x="673" y="2239"/>
                    </a:lnTo>
                    <a:lnTo>
                      <a:pt x="1792" y="2239"/>
                    </a:lnTo>
                    <a:lnTo>
                      <a:pt x="2016" y="2463"/>
                    </a:lnTo>
                    <a:lnTo>
                      <a:pt x="2016" y="2575"/>
                    </a:lnTo>
                    <a:lnTo>
                      <a:pt x="1904" y="3023"/>
                    </a:lnTo>
                    <a:lnTo>
                      <a:pt x="1904" y="3247"/>
                    </a:lnTo>
                    <a:lnTo>
                      <a:pt x="2016" y="3359"/>
                    </a:lnTo>
                    <a:lnTo>
                      <a:pt x="2240" y="3471"/>
                    </a:lnTo>
                    <a:lnTo>
                      <a:pt x="2688" y="3471"/>
                    </a:lnTo>
                    <a:lnTo>
                      <a:pt x="3471" y="3359"/>
                    </a:lnTo>
                    <a:lnTo>
                      <a:pt x="4255" y="3247"/>
                    </a:lnTo>
                    <a:lnTo>
                      <a:pt x="4590" y="3247"/>
                    </a:lnTo>
                    <a:lnTo>
                      <a:pt x="4702" y="3359"/>
                    </a:lnTo>
                    <a:lnTo>
                      <a:pt x="4926" y="3359"/>
                    </a:lnTo>
                    <a:lnTo>
                      <a:pt x="5038" y="3247"/>
                    </a:lnTo>
                    <a:lnTo>
                      <a:pt x="5598" y="2911"/>
                    </a:lnTo>
                    <a:lnTo>
                      <a:pt x="6270" y="2351"/>
                    </a:lnTo>
                    <a:lnTo>
                      <a:pt x="5934" y="1680"/>
                    </a:lnTo>
                    <a:lnTo>
                      <a:pt x="5374" y="1232"/>
                    </a:lnTo>
                    <a:lnTo>
                      <a:pt x="4814" y="784"/>
                    </a:lnTo>
                    <a:lnTo>
                      <a:pt x="4143" y="448"/>
                    </a:lnTo>
                    <a:lnTo>
                      <a:pt x="3471" y="224"/>
                    </a:lnTo>
                    <a:lnTo>
                      <a:pt x="2799" y="112"/>
                    </a:lnTo>
                    <a:lnTo>
                      <a:pt x="2240" y="1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90" name="Google Shape;1990;p16"/>
              <p:cNvSpPr/>
              <p:nvPr/>
            </p:nvSpPr>
            <p:spPr>
              <a:xfrm>
                <a:off x="2794150" y="2015150"/>
                <a:ext cx="162325" cy="100775"/>
              </a:xfrm>
              <a:custGeom>
                <a:avLst/>
                <a:gdLst/>
                <a:ahLst/>
                <a:cxnLst/>
                <a:rect l="l" t="t" r="r" b="b"/>
                <a:pathLst>
                  <a:path w="6493" h="4031" extrusionOk="0">
                    <a:moveTo>
                      <a:pt x="4590" y="0"/>
                    </a:moveTo>
                    <a:lnTo>
                      <a:pt x="4142" y="224"/>
                    </a:lnTo>
                    <a:lnTo>
                      <a:pt x="3806" y="448"/>
                    </a:lnTo>
                    <a:lnTo>
                      <a:pt x="2911" y="1120"/>
                    </a:lnTo>
                    <a:lnTo>
                      <a:pt x="1679" y="2015"/>
                    </a:lnTo>
                    <a:lnTo>
                      <a:pt x="1008" y="2575"/>
                    </a:lnTo>
                    <a:lnTo>
                      <a:pt x="0" y="3023"/>
                    </a:lnTo>
                    <a:lnTo>
                      <a:pt x="336" y="3247"/>
                    </a:lnTo>
                    <a:lnTo>
                      <a:pt x="896" y="3694"/>
                    </a:lnTo>
                    <a:lnTo>
                      <a:pt x="1343" y="3918"/>
                    </a:lnTo>
                    <a:lnTo>
                      <a:pt x="1903" y="4030"/>
                    </a:lnTo>
                    <a:lnTo>
                      <a:pt x="2351" y="4030"/>
                    </a:lnTo>
                    <a:lnTo>
                      <a:pt x="2911" y="3806"/>
                    </a:lnTo>
                    <a:lnTo>
                      <a:pt x="4030" y="3023"/>
                    </a:lnTo>
                    <a:lnTo>
                      <a:pt x="4926" y="2575"/>
                    </a:lnTo>
                    <a:lnTo>
                      <a:pt x="5373" y="2463"/>
                    </a:lnTo>
                    <a:lnTo>
                      <a:pt x="5821" y="2351"/>
                    </a:lnTo>
                    <a:lnTo>
                      <a:pt x="6269" y="2239"/>
                    </a:lnTo>
                    <a:lnTo>
                      <a:pt x="6493" y="2015"/>
                    </a:lnTo>
                    <a:lnTo>
                      <a:pt x="6493" y="1567"/>
                    </a:lnTo>
                    <a:lnTo>
                      <a:pt x="6493" y="1120"/>
                    </a:lnTo>
                    <a:lnTo>
                      <a:pt x="6157" y="672"/>
                    </a:lnTo>
                    <a:lnTo>
                      <a:pt x="5821" y="336"/>
                    </a:lnTo>
                    <a:lnTo>
                      <a:pt x="5261" y="112"/>
                    </a:lnTo>
                    <a:lnTo>
                      <a:pt x="4590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91" name="Google Shape;1991;p16"/>
              <p:cNvSpPr/>
              <p:nvPr/>
            </p:nvSpPr>
            <p:spPr>
              <a:xfrm>
                <a:off x="1873450" y="3005800"/>
                <a:ext cx="453375" cy="638075"/>
              </a:xfrm>
              <a:custGeom>
                <a:avLst/>
                <a:gdLst/>
                <a:ahLst/>
                <a:cxnLst/>
                <a:rect l="l" t="t" r="r" b="b"/>
                <a:pathLst>
                  <a:path w="18135" h="25523" extrusionOk="0">
                    <a:moveTo>
                      <a:pt x="18134" y="1"/>
                    </a:moveTo>
                    <a:lnTo>
                      <a:pt x="15336" y="784"/>
                    </a:lnTo>
                    <a:lnTo>
                      <a:pt x="13209" y="1456"/>
                    </a:lnTo>
                    <a:lnTo>
                      <a:pt x="12426" y="1792"/>
                    </a:lnTo>
                    <a:lnTo>
                      <a:pt x="11978" y="2128"/>
                    </a:lnTo>
                    <a:lnTo>
                      <a:pt x="11418" y="2799"/>
                    </a:lnTo>
                    <a:lnTo>
                      <a:pt x="10746" y="4143"/>
                    </a:lnTo>
                    <a:lnTo>
                      <a:pt x="8955" y="7837"/>
                    </a:lnTo>
                    <a:lnTo>
                      <a:pt x="6157" y="13545"/>
                    </a:lnTo>
                    <a:lnTo>
                      <a:pt x="4142" y="16680"/>
                    </a:lnTo>
                    <a:lnTo>
                      <a:pt x="2687" y="18583"/>
                    </a:lnTo>
                    <a:lnTo>
                      <a:pt x="2127" y="19254"/>
                    </a:lnTo>
                    <a:lnTo>
                      <a:pt x="1679" y="19814"/>
                    </a:lnTo>
                    <a:lnTo>
                      <a:pt x="1008" y="20374"/>
                    </a:lnTo>
                    <a:lnTo>
                      <a:pt x="560" y="20486"/>
                    </a:lnTo>
                    <a:lnTo>
                      <a:pt x="336" y="20710"/>
                    </a:lnTo>
                    <a:lnTo>
                      <a:pt x="0" y="21157"/>
                    </a:lnTo>
                    <a:lnTo>
                      <a:pt x="0" y="21269"/>
                    </a:lnTo>
                    <a:lnTo>
                      <a:pt x="112" y="21605"/>
                    </a:lnTo>
                    <a:lnTo>
                      <a:pt x="336" y="22277"/>
                    </a:lnTo>
                    <a:lnTo>
                      <a:pt x="896" y="22948"/>
                    </a:lnTo>
                    <a:lnTo>
                      <a:pt x="1567" y="23844"/>
                    </a:lnTo>
                    <a:lnTo>
                      <a:pt x="2799" y="25075"/>
                    </a:lnTo>
                    <a:lnTo>
                      <a:pt x="3247" y="25523"/>
                    </a:lnTo>
                    <a:lnTo>
                      <a:pt x="3470" y="25523"/>
                    </a:lnTo>
                    <a:lnTo>
                      <a:pt x="3247" y="22277"/>
                    </a:lnTo>
                    <a:lnTo>
                      <a:pt x="3694" y="21605"/>
                    </a:lnTo>
                    <a:lnTo>
                      <a:pt x="4814" y="20038"/>
                    </a:lnTo>
                    <a:lnTo>
                      <a:pt x="8396" y="15560"/>
                    </a:lnTo>
                    <a:lnTo>
                      <a:pt x="14776" y="7725"/>
                    </a:lnTo>
                    <a:lnTo>
                      <a:pt x="15336" y="6941"/>
                    </a:lnTo>
                    <a:lnTo>
                      <a:pt x="15784" y="6157"/>
                    </a:lnTo>
                    <a:lnTo>
                      <a:pt x="16679" y="4366"/>
                    </a:lnTo>
                    <a:lnTo>
                      <a:pt x="17463" y="2240"/>
                    </a:lnTo>
                    <a:lnTo>
                      <a:pt x="18134" y="1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92" name="Google Shape;1992;p16"/>
              <p:cNvSpPr/>
              <p:nvPr/>
            </p:nvSpPr>
            <p:spPr>
              <a:xfrm>
                <a:off x="1873450" y="3005800"/>
                <a:ext cx="453375" cy="638075"/>
              </a:xfrm>
              <a:custGeom>
                <a:avLst/>
                <a:gdLst/>
                <a:ahLst/>
                <a:cxnLst/>
                <a:rect l="l" t="t" r="r" b="b"/>
                <a:pathLst>
                  <a:path w="18135" h="25523" fill="none" extrusionOk="0">
                    <a:moveTo>
                      <a:pt x="18134" y="1"/>
                    </a:moveTo>
                    <a:lnTo>
                      <a:pt x="18134" y="1"/>
                    </a:lnTo>
                    <a:lnTo>
                      <a:pt x="17463" y="2240"/>
                    </a:lnTo>
                    <a:lnTo>
                      <a:pt x="16679" y="4366"/>
                    </a:lnTo>
                    <a:lnTo>
                      <a:pt x="15784" y="6157"/>
                    </a:lnTo>
                    <a:lnTo>
                      <a:pt x="15336" y="6941"/>
                    </a:lnTo>
                    <a:lnTo>
                      <a:pt x="14776" y="7725"/>
                    </a:lnTo>
                    <a:lnTo>
                      <a:pt x="14776" y="7725"/>
                    </a:lnTo>
                    <a:lnTo>
                      <a:pt x="8396" y="15560"/>
                    </a:lnTo>
                    <a:lnTo>
                      <a:pt x="4814" y="20038"/>
                    </a:lnTo>
                    <a:lnTo>
                      <a:pt x="3694" y="21605"/>
                    </a:lnTo>
                    <a:lnTo>
                      <a:pt x="3247" y="22277"/>
                    </a:lnTo>
                    <a:lnTo>
                      <a:pt x="3247" y="22277"/>
                    </a:lnTo>
                    <a:lnTo>
                      <a:pt x="3470" y="25523"/>
                    </a:lnTo>
                    <a:lnTo>
                      <a:pt x="3470" y="25523"/>
                    </a:lnTo>
                    <a:lnTo>
                      <a:pt x="3358" y="25523"/>
                    </a:lnTo>
                    <a:lnTo>
                      <a:pt x="3247" y="25523"/>
                    </a:lnTo>
                    <a:lnTo>
                      <a:pt x="2799" y="25075"/>
                    </a:lnTo>
                    <a:lnTo>
                      <a:pt x="1567" y="23844"/>
                    </a:lnTo>
                    <a:lnTo>
                      <a:pt x="896" y="22948"/>
                    </a:lnTo>
                    <a:lnTo>
                      <a:pt x="336" y="22277"/>
                    </a:lnTo>
                    <a:lnTo>
                      <a:pt x="112" y="21605"/>
                    </a:lnTo>
                    <a:lnTo>
                      <a:pt x="0" y="21269"/>
                    </a:lnTo>
                    <a:lnTo>
                      <a:pt x="0" y="21157"/>
                    </a:lnTo>
                    <a:lnTo>
                      <a:pt x="0" y="21157"/>
                    </a:lnTo>
                    <a:lnTo>
                      <a:pt x="336" y="20710"/>
                    </a:lnTo>
                    <a:lnTo>
                      <a:pt x="560" y="20486"/>
                    </a:lnTo>
                    <a:lnTo>
                      <a:pt x="1008" y="20374"/>
                    </a:lnTo>
                    <a:lnTo>
                      <a:pt x="1679" y="19814"/>
                    </a:lnTo>
                    <a:lnTo>
                      <a:pt x="1679" y="19814"/>
                    </a:lnTo>
                    <a:lnTo>
                      <a:pt x="2127" y="19254"/>
                    </a:lnTo>
                    <a:lnTo>
                      <a:pt x="2687" y="18583"/>
                    </a:lnTo>
                    <a:lnTo>
                      <a:pt x="4142" y="16680"/>
                    </a:lnTo>
                    <a:lnTo>
                      <a:pt x="6157" y="13545"/>
                    </a:lnTo>
                    <a:lnTo>
                      <a:pt x="6157" y="13545"/>
                    </a:lnTo>
                    <a:lnTo>
                      <a:pt x="8955" y="7837"/>
                    </a:lnTo>
                    <a:lnTo>
                      <a:pt x="10746" y="4143"/>
                    </a:lnTo>
                    <a:lnTo>
                      <a:pt x="11418" y="2799"/>
                    </a:lnTo>
                    <a:lnTo>
                      <a:pt x="11978" y="2128"/>
                    </a:lnTo>
                    <a:lnTo>
                      <a:pt x="11978" y="2128"/>
                    </a:lnTo>
                    <a:lnTo>
                      <a:pt x="12426" y="1792"/>
                    </a:lnTo>
                    <a:lnTo>
                      <a:pt x="13209" y="1456"/>
                    </a:lnTo>
                    <a:lnTo>
                      <a:pt x="15336" y="784"/>
                    </a:lnTo>
                    <a:lnTo>
                      <a:pt x="18134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93" name="Google Shape;1993;p16"/>
              <p:cNvSpPr/>
              <p:nvPr/>
            </p:nvSpPr>
            <p:spPr>
              <a:xfrm>
                <a:off x="1845450" y="3495550"/>
                <a:ext cx="134350" cy="209900"/>
              </a:xfrm>
              <a:custGeom>
                <a:avLst/>
                <a:gdLst/>
                <a:ahLst/>
                <a:cxnLst/>
                <a:rect l="l" t="t" r="r" b="b"/>
                <a:pathLst>
                  <a:path w="5374" h="8396" extrusionOk="0">
                    <a:moveTo>
                      <a:pt x="2464" y="0"/>
                    </a:moveTo>
                    <a:lnTo>
                      <a:pt x="1120" y="224"/>
                    </a:lnTo>
                    <a:lnTo>
                      <a:pt x="784" y="336"/>
                    </a:lnTo>
                    <a:lnTo>
                      <a:pt x="337" y="560"/>
                    </a:lnTo>
                    <a:lnTo>
                      <a:pt x="113" y="784"/>
                    </a:lnTo>
                    <a:lnTo>
                      <a:pt x="1" y="1008"/>
                    </a:lnTo>
                    <a:lnTo>
                      <a:pt x="1" y="1343"/>
                    </a:lnTo>
                    <a:lnTo>
                      <a:pt x="113" y="1791"/>
                    </a:lnTo>
                    <a:lnTo>
                      <a:pt x="561" y="2911"/>
                    </a:lnTo>
                    <a:lnTo>
                      <a:pt x="673" y="3022"/>
                    </a:lnTo>
                    <a:lnTo>
                      <a:pt x="1008" y="2911"/>
                    </a:lnTo>
                    <a:lnTo>
                      <a:pt x="1120" y="3246"/>
                    </a:lnTo>
                    <a:lnTo>
                      <a:pt x="1456" y="4142"/>
                    </a:lnTo>
                    <a:lnTo>
                      <a:pt x="2240" y="6157"/>
                    </a:lnTo>
                    <a:lnTo>
                      <a:pt x="2352" y="6493"/>
                    </a:lnTo>
                    <a:lnTo>
                      <a:pt x="2687" y="6940"/>
                    </a:lnTo>
                    <a:lnTo>
                      <a:pt x="3471" y="7724"/>
                    </a:lnTo>
                    <a:lnTo>
                      <a:pt x="4255" y="8284"/>
                    </a:lnTo>
                    <a:lnTo>
                      <a:pt x="4702" y="8396"/>
                    </a:lnTo>
                    <a:lnTo>
                      <a:pt x="5038" y="8396"/>
                    </a:lnTo>
                    <a:lnTo>
                      <a:pt x="5262" y="8284"/>
                    </a:lnTo>
                    <a:lnTo>
                      <a:pt x="5374" y="7948"/>
                    </a:lnTo>
                    <a:lnTo>
                      <a:pt x="5262" y="7612"/>
                    </a:lnTo>
                    <a:lnTo>
                      <a:pt x="5150" y="7164"/>
                    </a:lnTo>
                    <a:lnTo>
                      <a:pt x="4702" y="5709"/>
                    </a:lnTo>
                    <a:lnTo>
                      <a:pt x="4478" y="5373"/>
                    </a:lnTo>
                    <a:lnTo>
                      <a:pt x="4031" y="5037"/>
                    </a:lnTo>
                    <a:lnTo>
                      <a:pt x="3583" y="4478"/>
                    </a:lnTo>
                    <a:lnTo>
                      <a:pt x="3135" y="3806"/>
                    </a:lnTo>
                    <a:lnTo>
                      <a:pt x="2799" y="3022"/>
                    </a:lnTo>
                    <a:lnTo>
                      <a:pt x="2799" y="2463"/>
                    </a:lnTo>
                    <a:lnTo>
                      <a:pt x="2911" y="2015"/>
                    </a:lnTo>
                    <a:lnTo>
                      <a:pt x="2911" y="1679"/>
                    </a:lnTo>
                    <a:lnTo>
                      <a:pt x="3023" y="1120"/>
                    </a:lnTo>
                    <a:lnTo>
                      <a:pt x="2911" y="672"/>
                    </a:lnTo>
                    <a:lnTo>
                      <a:pt x="2799" y="224"/>
                    </a:lnTo>
                    <a:lnTo>
                      <a:pt x="2576" y="112"/>
                    </a:lnTo>
                    <a:lnTo>
                      <a:pt x="2464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94" name="Google Shape;1994;p16"/>
              <p:cNvSpPr/>
              <p:nvPr/>
            </p:nvSpPr>
            <p:spPr>
              <a:xfrm>
                <a:off x="2435950" y="2938650"/>
                <a:ext cx="383400" cy="708025"/>
              </a:xfrm>
              <a:custGeom>
                <a:avLst/>
                <a:gdLst/>
                <a:ahLst/>
                <a:cxnLst/>
                <a:rect l="l" t="t" r="r" b="b"/>
                <a:pathLst>
                  <a:path w="15336" h="28321" extrusionOk="0">
                    <a:moveTo>
                      <a:pt x="3358" y="0"/>
                    </a:moveTo>
                    <a:lnTo>
                      <a:pt x="2798" y="224"/>
                    </a:lnTo>
                    <a:lnTo>
                      <a:pt x="1455" y="560"/>
                    </a:lnTo>
                    <a:lnTo>
                      <a:pt x="1119" y="448"/>
                    </a:lnTo>
                    <a:lnTo>
                      <a:pt x="560" y="560"/>
                    </a:lnTo>
                    <a:lnTo>
                      <a:pt x="336" y="672"/>
                    </a:lnTo>
                    <a:lnTo>
                      <a:pt x="112" y="896"/>
                    </a:lnTo>
                    <a:lnTo>
                      <a:pt x="0" y="1120"/>
                    </a:lnTo>
                    <a:lnTo>
                      <a:pt x="0" y="1567"/>
                    </a:lnTo>
                    <a:lnTo>
                      <a:pt x="560" y="3470"/>
                    </a:lnTo>
                    <a:lnTo>
                      <a:pt x="1903" y="7164"/>
                    </a:lnTo>
                    <a:lnTo>
                      <a:pt x="2798" y="9739"/>
                    </a:lnTo>
                    <a:lnTo>
                      <a:pt x="4925" y="15560"/>
                    </a:lnTo>
                    <a:lnTo>
                      <a:pt x="6045" y="18582"/>
                    </a:lnTo>
                    <a:lnTo>
                      <a:pt x="7500" y="22052"/>
                    </a:lnTo>
                    <a:lnTo>
                      <a:pt x="8284" y="24403"/>
                    </a:lnTo>
                    <a:lnTo>
                      <a:pt x="8619" y="25298"/>
                    </a:lnTo>
                    <a:lnTo>
                      <a:pt x="8843" y="26082"/>
                    </a:lnTo>
                    <a:lnTo>
                      <a:pt x="8843" y="26866"/>
                    </a:lnTo>
                    <a:lnTo>
                      <a:pt x="8731" y="27313"/>
                    </a:lnTo>
                    <a:lnTo>
                      <a:pt x="8731" y="27649"/>
                    </a:lnTo>
                    <a:lnTo>
                      <a:pt x="8955" y="28209"/>
                    </a:lnTo>
                    <a:lnTo>
                      <a:pt x="9179" y="28321"/>
                    </a:lnTo>
                    <a:lnTo>
                      <a:pt x="10186" y="28321"/>
                    </a:lnTo>
                    <a:lnTo>
                      <a:pt x="11306" y="28097"/>
                    </a:lnTo>
                    <a:lnTo>
                      <a:pt x="12537" y="27761"/>
                    </a:lnTo>
                    <a:lnTo>
                      <a:pt x="14664" y="26978"/>
                    </a:lnTo>
                    <a:lnTo>
                      <a:pt x="15224" y="26754"/>
                    </a:lnTo>
                    <a:lnTo>
                      <a:pt x="15336" y="26642"/>
                    </a:lnTo>
                    <a:lnTo>
                      <a:pt x="15336" y="26530"/>
                    </a:lnTo>
                    <a:lnTo>
                      <a:pt x="15112" y="26418"/>
                    </a:lnTo>
                    <a:lnTo>
                      <a:pt x="14664" y="26306"/>
                    </a:lnTo>
                    <a:lnTo>
                      <a:pt x="13657" y="26194"/>
                    </a:lnTo>
                    <a:lnTo>
                      <a:pt x="12537" y="26082"/>
                    </a:lnTo>
                    <a:lnTo>
                      <a:pt x="11866" y="25970"/>
                    </a:lnTo>
                    <a:lnTo>
                      <a:pt x="11642" y="25522"/>
                    </a:lnTo>
                    <a:lnTo>
                      <a:pt x="11194" y="24179"/>
                    </a:lnTo>
                    <a:lnTo>
                      <a:pt x="10075" y="19925"/>
                    </a:lnTo>
                    <a:lnTo>
                      <a:pt x="7164" y="8620"/>
                    </a:lnTo>
                    <a:lnTo>
                      <a:pt x="6381" y="5933"/>
                    </a:lnTo>
                    <a:lnTo>
                      <a:pt x="5261" y="1679"/>
                    </a:lnTo>
                    <a:lnTo>
                      <a:pt x="4925" y="896"/>
                    </a:lnTo>
                    <a:lnTo>
                      <a:pt x="4590" y="448"/>
                    </a:lnTo>
                    <a:lnTo>
                      <a:pt x="4254" y="112"/>
                    </a:lnTo>
                    <a:lnTo>
                      <a:pt x="3806" y="0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95" name="Google Shape;1995;p16"/>
              <p:cNvSpPr/>
              <p:nvPr/>
            </p:nvSpPr>
            <p:spPr>
              <a:xfrm>
                <a:off x="2645825" y="3596275"/>
                <a:ext cx="226700" cy="92375"/>
              </a:xfrm>
              <a:custGeom>
                <a:avLst/>
                <a:gdLst/>
                <a:ahLst/>
                <a:cxnLst/>
                <a:rect l="l" t="t" r="r" b="b"/>
                <a:pathLst>
                  <a:path w="9068" h="3695" extrusionOk="0">
                    <a:moveTo>
                      <a:pt x="6493" y="1"/>
                    </a:moveTo>
                    <a:lnTo>
                      <a:pt x="6045" y="113"/>
                    </a:lnTo>
                    <a:lnTo>
                      <a:pt x="5485" y="449"/>
                    </a:lnTo>
                    <a:lnTo>
                      <a:pt x="4814" y="673"/>
                    </a:lnTo>
                    <a:lnTo>
                      <a:pt x="4030" y="1008"/>
                    </a:lnTo>
                    <a:lnTo>
                      <a:pt x="3247" y="1120"/>
                    </a:lnTo>
                    <a:lnTo>
                      <a:pt x="2687" y="1008"/>
                    </a:lnTo>
                    <a:lnTo>
                      <a:pt x="2239" y="896"/>
                    </a:lnTo>
                    <a:lnTo>
                      <a:pt x="1903" y="673"/>
                    </a:lnTo>
                    <a:lnTo>
                      <a:pt x="1344" y="561"/>
                    </a:lnTo>
                    <a:lnTo>
                      <a:pt x="448" y="561"/>
                    </a:lnTo>
                    <a:lnTo>
                      <a:pt x="224" y="673"/>
                    </a:lnTo>
                    <a:lnTo>
                      <a:pt x="112" y="896"/>
                    </a:lnTo>
                    <a:lnTo>
                      <a:pt x="0" y="2240"/>
                    </a:lnTo>
                    <a:lnTo>
                      <a:pt x="112" y="2687"/>
                    </a:lnTo>
                    <a:lnTo>
                      <a:pt x="224" y="3135"/>
                    </a:lnTo>
                    <a:lnTo>
                      <a:pt x="448" y="3471"/>
                    </a:lnTo>
                    <a:lnTo>
                      <a:pt x="560" y="3695"/>
                    </a:lnTo>
                    <a:lnTo>
                      <a:pt x="1568" y="3695"/>
                    </a:lnTo>
                    <a:lnTo>
                      <a:pt x="2239" y="3583"/>
                    </a:lnTo>
                    <a:lnTo>
                      <a:pt x="2463" y="3471"/>
                    </a:lnTo>
                    <a:lnTo>
                      <a:pt x="2575" y="3247"/>
                    </a:lnTo>
                    <a:lnTo>
                      <a:pt x="2799" y="3023"/>
                    </a:lnTo>
                    <a:lnTo>
                      <a:pt x="3359" y="2911"/>
                    </a:lnTo>
                    <a:lnTo>
                      <a:pt x="4254" y="2799"/>
                    </a:lnTo>
                    <a:lnTo>
                      <a:pt x="6381" y="2687"/>
                    </a:lnTo>
                    <a:lnTo>
                      <a:pt x="7165" y="2464"/>
                    </a:lnTo>
                    <a:lnTo>
                      <a:pt x="8060" y="2016"/>
                    </a:lnTo>
                    <a:lnTo>
                      <a:pt x="8508" y="1792"/>
                    </a:lnTo>
                    <a:lnTo>
                      <a:pt x="8844" y="1456"/>
                    </a:lnTo>
                    <a:lnTo>
                      <a:pt x="9067" y="1232"/>
                    </a:lnTo>
                    <a:lnTo>
                      <a:pt x="9067" y="896"/>
                    </a:lnTo>
                    <a:lnTo>
                      <a:pt x="8956" y="561"/>
                    </a:lnTo>
                    <a:lnTo>
                      <a:pt x="8732" y="337"/>
                    </a:lnTo>
                    <a:lnTo>
                      <a:pt x="8396" y="225"/>
                    </a:lnTo>
                    <a:lnTo>
                      <a:pt x="7948" y="113"/>
                    </a:lnTo>
                    <a:lnTo>
                      <a:pt x="7053" y="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96" name="Google Shape;1996;p16"/>
              <p:cNvSpPr/>
              <p:nvPr/>
            </p:nvSpPr>
            <p:spPr>
              <a:xfrm>
                <a:off x="1974200" y="2524475"/>
                <a:ext cx="682850" cy="694050"/>
              </a:xfrm>
              <a:custGeom>
                <a:avLst/>
                <a:gdLst/>
                <a:ahLst/>
                <a:cxnLst/>
                <a:rect l="l" t="t" r="r" b="b"/>
                <a:pathLst>
                  <a:path w="27314" h="27762" extrusionOk="0">
                    <a:moveTo>
                      <a:pt x="14104" y="0"/>
                    </a:moveTo>
                    <a:lnTo>
                      <a:pt x="13321" y="112"/>
                    </a:lnTo>
                    <a:lnTo>
                      <a:pt x="12537" y="224"/>
                    </a:lnTo>
                    <a:lnTo>
                      <a:pt x="11642" y="560"/>
                    </a:lnTo>
                    <a:lnTo>
                      <a:pt x="10634" y="1120"/>
                    </a:lnTo>
                    <a:lnTo>
                      <a:pt x="9627" y="2015"/>
                    </a:lnTo>
                    <a:lnTo>
                      <a:pt x="8843" y="3246"/>
                    </a:lnTo>
                    <a:lnTo>
                      <a:pt x="8172" y="4478"/>
                    </a:lnTo>
                    <a:lnTo>
                      <a:pt x="7724" y="5821"/>
                    </a:lnTo>
                    <a:lnTo>
                      <a:pt x="7276" y="7052"/>
                    </a:lnTo>
                    <a:lnTo>
                      <a:pt x="6605" y="9739"/>
                    </a:lnTo>
                    <a:lnTo>
                      <a:pt x="6045" y="12537"/>
                    </a:lnTo>
                    <a:lnTo>
                      <a:pt x="5261" y="15336"/>
                    </a:lnTo>
                    <a:lnTo>
                      <a:pt x="4813" y="16791"/>
                    </a:lnTo>
                    <a:lnTo>
                      <a:pt x="4142" y="18246"/>
                    </a:lnTo>
                    <a:lnTo>
                      <a:pt x="3470" y="19813"/>
                    </a:lnTo>
                    <a:lnTo>
                      <a:pt x="2463" y="21381"/>
                    </a:lnTo>
                    <a:lnTo>
                      <a:pt x="1343" y="22948"/>
                    </a:lnTo>
                    <a:lnTo>
                      <a:pt x="0" y="24515"/>
                    </a:lnTo>
                    <a:lnTo>
                      <a:pt x="224" y="24851"/>
                    </a:lnTo>
                    <a:lnTo>
                      <a:pt x="560" y="25075"/>
                    </a:lnTo>
                    <a:lnTo>
                      <a:pt x="1455" y="25410"/>
                    </a:lnTo>
                    <a:lnTo>
                      <a:pt x="2351" y="25522"/>
                    </a:lnTo>
                    <a:lnTo>
                      <a:pt x="3470" y="25634"/>
                    </a:lnTo>
                    <a:lnTo>
                      <a:pt x="5597" y="25746"/>
                    </a:lnTo>
                    <a:lnTo>
                      <a:pt x="6493" y="25970"/>
                    </a:lnTo>
                    <a:lnTo>
                      <a:pt x="7164" y="26194"/>
                    </a:lnTo>
                    <a:lnTo>
                      <a:pt x="7612" y="26530"/>
                    </a:lnTo>
                    <a:lnTo>
                      <a:pt x="8396" y="26754"/>
                    </a:lnTo>
                    <a:lnTo>
                      <a:pt x="10187" y="27201"/>
                    </a:lnTo>
                    <a:lnTo>
                      <a:pt x="12425" y="27649"/>
                    </a:lnTo>
                    <a:lnTo>
                      <a:pt x="13545" y="27761"/>
                    </a:lnTo>
                    <a:lnTo>
                      <a:pt x="14552" y="27761"/>
                    </a:lnTo>
                    <a:lnTo>
                      <a:pt x="15448" y="27649"/>
                    </a:lnTo>
                    <a:lnTo>
                      <a:pt x="16007" y="27425"/>
                    </a:lnTo>
                    <a:lnTo>
                      <a:pt x="16679" y="27090"/>
                    </a:lnTo>
                    <a:lnTo>
                      <a:pt x="17463" y="26866"/>
                    </a:lnTo>
                    <a:lnTo>
                      <a:pt x="18918" y="26530"/>
                    </a:lnTo>
                    <a:lnTo>
                      <a:pt x="20373" y="26306"/>
                    </a:lnTo>
                    <a:lnTo>
                      <a:pt x="21828" y="26306"/>
                    </a:lnTo>
                    <a:lnTo>
                      <a:pt x="23283" y="26194"/>
                    </a:lnTo>
                    <a:lnTo>
                      <a:pt x="24627" y="25970"/>
                    </a:lnTo>
                    <a:lnTo>
                      <a:pt x="25298" y="25746"/>
                    </a:lnTo>
                    <a:lnTo>
                      <a:pt x="25970" y="25522"/>
                    </a:lnTo>
                    <a:lnTo>
                      <a:pt x="26530" y="25187"/>
                    </a:lnTo>
                    <a:lnTo>
                      <a:pt x="27089" y="24851"/>
                    </a:lnTo>
                    <a:lnTo>
                      <a:pt x="27201" y="24627"/>
                    </a:lnTo>
                    <a:lnTo>
                      <a:pt x="27201" y="24403"/>
                    </a:lnTo>
                    <a:lnTo>
                      <a:pt x="27313" y="23731"/>
                    </a:lnTo>
                    <a:lnTo>
                      <a:pt x="27089" y="22724"/>
                    </a:lnTo>
                    <a:lnTo>
                      <a:pt x="26865" y="21493"/>
                    </a:lnTo>
                    <a:lnTo>
                      <a:pt x="26082" y="18470"/>
                    </a:lnTo>
                    <a:lnTo>
                      <a:pt x="24962" y="15000"/>
                    </a:lnTo>
                    <a:lnTo>
                      <a:pt x="22612" y="7724"/>
                    </a:lnTo>
                    <a:lnTo>
                      <a:pt x="20709" y="2463"/>
                    </a:lnTo>
                    <a:lnTo>
                      <a:pt x="20485" y="1791"/>
                    </a:lnTo>
                    <a:lnTo>
                      <a:pt x="19701" y="1344"/>
                    </a:lnTo>
                    <a:lnTo>
                      <a:pt x="18806" y="896"/>
                    </a:lnTo>
                    <a:lnTo>
                      <a:pt x="17686" y="448"/>
                    </a:lnTo>
                    <a:lnTo>
                      <a:pt x="16343" y="112"/>
                    </a:lnTo>
                    <a:lnTo>
                      <a:pt x="14888" y="0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97" name="Google Shape;1997;p16"/>
              <p:cNvSpPr/>
              <p:nvPr/>
            </p:nvSpPr>
            <p:spPr>
              <a:xfrm>
                <a:off x="1974200" y="2524475"/>
                <a:ext cx="682850" cy="694050"/>
              </a:xfrm>
              <a:custGeom>
                <a:avLst/>
                <a:gdLst/>
                <a:ahLst/>
                <a:cxnLst/>
                <a:rect l="l" t="t" r="r" b="b"/>
                <a:pathLst>
                  <a:path w="27314" h="27762" fill="none" extrusionOk="0">
                    <a:moveTo>
                      <a:pt x="27089" y="24851"/>
                    </a:moveTo>
                    <a:lnTo>
                      <a:pt x="27089" y="24851"/>
                    </a:lnTo>
                    <a:lnTo>
                      <a:pt x="26530" y="25187"/>
                    </a:lnTo>
                    <a:lnTo>
                      <a:pt x="25970" y="25522"/>
                    </a:lnTo>
                    <a:lnTo>
                      <a:pt x="25298" y="25746"/>
                    </a:lnTo>
                    <a:lnTo>
                      <a:pt x="24627" y="25970"/>
                    </a:lnTo>
                    <a:lnTo>
                      <a:pt x="23283" y="26194"/>
                    </a:lnTo>
                    <a:lnTo>
                      <a:pt x="21828" y="26306"/>
                    </a:lnTo>
                    <a:lnTo>
                      <a:pt x="20373" y="26306"/>
                    </a:lnTo>
                    <a:lnTo>
                      <a:pt x="18918" y="26530"/>
                    </a:lnTo>
                    <a:lnTo>
                      <a:pt x="17463" y="26866"/>
                    </a:lnTo>
                    <a:lnTo>
                      <a:pt x="16679" y="27090"/>
                    </a:lnTo>
                    <a:lnTo>
                      <a:pt x="16007" y="27425"/>
                    </a:lnTo>
                    <a:lnTo>
                      <a:pt x="16007" y="27425"/>
                    </a:lnTo>
                    <a:lnTo>
                      <a:pt x="15448" y="27649"/>
                    </a:lnTo>
                    <a:lnTo>
                      <a:pt x="14552" y="27761"/>
                    </a:lnTo>
                    <a:lnTo>
                      <a:pt x="13545" y="27761"/>
                    </a:lnTo>
                    <a:lnTo>
                      <a:pt x="12425" y="27649"/>
                    </a:lnTo>
                    <a:lnTo>
                      <a:pt x="10187" y="27201"/>
                    </a:lnTo>
                    <a:lnTo>
                      <a:pt x="8396" y="26754"/>
                    </a:lnTo>
                    <a:lnTo>
                      <a:pt x="8396" y="26754"/>
                    </a:lnTo>
                    <a:lnTo>
                      <a:pt x="7612" y="26530"/>
                    </a:lnTo>
                    <a:lnTo>
                      <a:pt x="7164" y="26194"/>
                    </a:lnTo>
                    <a:lnTo>
                      <a:pt x="7164" y="26194"/>
                    </a:lnTo>
                    <a:lnTo>
                      <a:pt x="6493" y="25970"/>
                    </a:lnTo>
                    <a:lnTo>
                      <a:pt x="5597" y="25746"/>
                    </a:lnTo>
                    <a:lnTo>
                      <a:pt x="3470" y="25634"/>
                    </a:lnTo>
                    <a:lnTo>
                      <a:pt x="2351" y="25522"/>
                    </a:lnTo>
                    <a:lnTo>
                      <a:pt x="1455" y="25410"/>
                    </a:lnTo>
                    <a:lnTo>
                      <a:pt x="560" y="25075"/>
                    </a:lnTo>
                    <a:lnTo>
                      <a:pt x="224" y="24851"/>
                    </a:lnTo>
                    <a:lnTo>
                      <a:pt x="0" y="24515"/>
                    </a:lnTo>
                    <a:lnTo>
                      <a:pt x="0" y="24515"/>
                    </a:lnTo>
                    <a:lnTo>
                      <a:pt x="1343" y="22948"/>
                    </a:lnTo>
                    <a:lnTo>
                      <a:pt x="2463" y="21381"/>
                    </a:lnTo>
                    <a:lnTo>
                      <a:pt x="3470" y="19813"/>
                    </a:lnTo>
                    <a:lnTo>
                      <a:pt x="4142" y="18246"/>
                    </a:lnTo>
                    <a:lnTo>
                      <a:pt x="4813" y="16791"/>
                    </a:lnTo>
                    <a:lnTo>
                      <a:pt x="5261" y="15336"/>
                    </a:lnTo>
                    <a:lnTo>
                      <a:pt x="6045" y="12537"/>
                    </a:lnTo>
                    <a:lnTo>
                      <a:pt x="6605" y="9739"/>
                    </a:lnTo>
                    <a:lnTo>
                      <a:pt x="7276" y="7052"/>
                    </a:lnTo>
                    <a:lnTo>
                      <a:pt x="7724" y="5821"/>
                    </a:lnTo>
                    <a:lnTo>
                      <a:pt x="8172" y="4478"/>
                    </a:lnTo>
                    <a:lnTo>
                      <a:pt x="8843" y="3246"/>
                    </a:lnTo>
                    <a:lnTo>
                      <a:pt x="9627" y="2015"/>
                    </a:lnTo>
                    <a:lnTo>
                      <a:pt x="9627" y="2015"/>
                    </a:lnTo>
                    <a:lnTo>
                      <a:pt x="9627" y="2015"/>
                    </a:lnTo>
                    <a:lnTo>
                      <a:pt x="9627" y="2015"/>
                    </a:lnTo>
                    <a:lnTo>
                      <a:pt x="9627" y="2015"/>
                    </a:lnTo>
                    <a:lnTo>
                      <a:pt x="10634" y="1120"/>
                    </a:lnTo>
                    <a:lnTo>
                      <a:pt x="11642" y="560"/>
                    </a:lnTo>
                    <a:lnTo>
                      <a:pt x="11642" y="560"/>
                    </a:lnTo>
                    <a:lnTo>
                      <a:pt x="12537" y="224"/>
                    </a:lnTo>
                    <a:lnTo>
                      <a:pt x="13321" y="112"/>
                    </a:lnTo>
                    <a:lnTo>
                      <a:pt x="14104" y="0"/>
                    </a:lnTo>
                    <a:lnTo>
                      <a:pt x="14888" y="0"/>
                    </a:lnTo>
                    <a:lnTo>
                      <a:pt x="16343" y="112"/>
                    </a:lnTo>
                    <a:lnTo>
                      <a:pt x="17686" y="448"/>
                    </a:lnTo>
                    <a:lnTo>
                      <a:pt x="18806" y="896"/>
                    </a:lnTo>
                    <a:lnTo>
                      <a:pt x="19701" y="1344"/>
                    </a:lnTo>
                    <a:lnTo>
                      <a:pt x="20485" y="1791"/>
                    </a:lnTo>
                    <a:lnTo>
                      <a:pt x="20485" y="1791"/>
                    </a:lnTo>
                    <a:lnTo>
                      <a:pt x="20709" y="2463"/>
                    </a:lnTo>
                    <a:lnTo>
                      <a:pt x="20709" y="2463"/>
                    </a:lnTo>
                    <a:lnTo>
                      <a:pt x="22612" y="7724"/>
                    </a:lnTo>
                    <a:lnTo>
                      <a:pt x="24962" y="15000"/>
                    </a:lnTo>
                    <a:lnTo>
                      <a:pt x="26082" y="18470"/>
                    </a:lnTo>
                    <a:lnTo>
                      <a:pt x="26865" y="21493"/>
                    </a:lnTo>
                    <a:lnTo>
                      <a:pt x="27089" y="22724"/>
                    </a:lnTo>
                    <a:lnTo>
                      <a:pt x="27313" y="23731"/>
                    </a:lnTo>
                    <a:lnTo>
                      <a:pt x="27201" y="24403"/>
                    </a:lnTo>
                    <a:lnTo>
                      <a:pt x="27201" y="24627"/>
                    </a:lnTo>
                    <a:lnTo>
                      <a:pt x="27089" y="2485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98" name="Google Shape;1998;p16"/>
              <p:cNvSpPr/>
              <p:nvPr/>
            </p:nvSpPr>
            <p:spPr>
              <a:xfrm>
                <a:off x="1814675" y="2051525"/>
                <a:ext cx="1060650" cy="551325"/>
              </a:xfrm>
              <a:custGeom>
                <a:avLst/>
                <a:gdLst/>
                <a:ahLst/>
                <a:cxnLst/>
                <a:rect l="l" t="t" r="r" b="b"/>
                <a:pathLst>
                  <a:path w="42426" h="22053" extrusionOk="0">
                    <a:moveTo>
                      <a:pt x="40634" y="1"/>
                    </a:moveTo>
                    <a:lnTo>
                      <a:pt x="37164" y="2015"/>
                    </a:lnTo>
                    <a:lnTo>
                      <a:pt x="34814" y="3247"/>
                    </a:lnTo>
                    <a:lnTo>
                      <a:pt x="33806" y="3695"/>
                    </a:lnTo>
                    <a:lnTo>
                      <a:pt x="33135" y="3918"/>
                    </a:lnTo>
                    <a:lnTo>
                      <a:pt x="32239" y="4030"/>
                    </a:lnTo>
                    <a:lnTo>
                      <a:pt x="30896" y="3918"/>
                    </a:lnTo>
                    <a:lnTo>
                      <a:pt x="27426" y="3583"/>
                    </a:lnTo>
                    <a:lnTo>
                      <a:pt x="24851" y="3247"/>
                    </a:lnTo>
                    <a:lnTo>
                      <a:pt x="23508" y="3135"/>
                    </a:lnTo>
                    <a:lnTo>
                      <a:pt x="22164" y="3135"/>
                    </a:lnTo>
                    <a:lnTo>
                      <a:pt x="20821" y="3023"/>
                    </a:lnTo>
                    <a:lnTo>
                      <a:pt x="20262" y="3023"/>
                    </a:lnTo>
                    <a:lnTo>
                      <a:pt x="19814" y="3135"/>
                    </a:lnTo>
                    <a:lnTo>
                      <a:pt x="19254" y="3359"/>
                    </a:lnTo>
                    <a:lnTo>
                      <a:pt x="18694" y="3695"/>
                    </a:lnTo>
                    <a:lnTo>
                      <a:pt x="17239" y="4590"/>
                    </a:lnTo>
                    <a:lnTo>
                      <a:pt x="16008" y="5597"/>
                    </a:lnTo>
                    <a:lnTo>
                      <a:pt x="15112" y="6157"/>
                    </a:lnTo>
                    <a:lnTo>
                      <a:pt x="14329" y="6605"/>
                    </a:lnTo>
                    <a:lnTo>
                      <a:pt x="13545" y="7277"/>
                    </a:lnTo>
                    <a:lnTo>
                      <a:pt x="12090" y="8508"/>
                    </a:lnTo>
                    <a:lnTo>
                      <a:pt x="11306" y="9068"/>
                    </a:lnTo>
                    <a:lnTo>
                      <a:pt x="10523" y="9515"/>
                    </a:lnTo>
                    <a:lnTo>
                      <a:pt x="9739" y="9851"/>
                    </a:lnTo>
                    <a:lnTo>
                      <a:pt x="8844" y="10075"/>
                    </a:lnTo>
                    <a:lnTo>
                      <a:pt x="6605" y="10075"/>
                    </a:lnTo>
                    <a:lnTo>
                      <a:pt x="3918" y="9851"/>
                    </a:lnTo>
                    <a:lnTo>
                      <a:pt x="1680" y="9515"/>
                    </a:lnTo>
                    <a:lnTo>
                      <a:pt x="560" y="9291"/>
                    </a:lnTo>
                    <a:lnTo>
                      <a:pt x="336" y="9403"/>
                    </a:lnTo>
                    <a:lnTo>
                      <a:pt x="224" y="9739"/>
                    </a:lnTo>
                    <a:lnTo>
                      <a:pt x="1" y="10747"/>
                    </a:lnTo>
                    <a:lnTo>
                      <a:pt x="1" y="11866"/>
                    </a:lnTo>
                    <a:lnTo>
                      <a:pt x="113" y="12314"/>
                    </a:lnTo>
                    <a:lnTo>
                      <a:pt x="224" y="12538"/>
                    </a:lnTo>
                    <a:lnTo>
                      <a:pt x="1344" y="12650"/>
                    </a:lnTo>
                    <a:lnTo>
                      <a:pt x="3471" y="12985"/>
                    </a:lnTo>
                    <a:lnTo>
                      <a:pt x="6157" y="13321"/>
                    </a:lnTo>
                    <a:lnTo>
                      <a:pt x="8732" y="13321"/>
                    </a:lnTo>
                    <a:lnTo>
                      <a:pt x="9292" y="13209"/>
                    </a:lnTo>
                    <a:lnTo>
                      <a:pt x="10299" y="12874"/>
                    </a:lnTo>
                    <a:lnTo>
                      <a:pt x="12650" y="11754"/>
                    </a:lnTo>
                    <a:lnTo>
                      <a:pt x="15000" y="10635"/>
                    </a:lnTo>
                    <a:lnTo>
                      <a:pt x="15896" y="10299"/>
                    </a:lnTo>
                    <a:lnTo>
                      <a:pt x="16568" y="10299"/>
                    </a:lnTo>
                    <a:lnTo>
                      <a:pt x="17127" y="10523"/>
                    </a:lnTo>
                    <a:lnTo>
                      <a:pt x="17463" y="10971"/>
                    </a:lnTo>
                    <a:lnTo>
                      <a:pt x="17799" y="11530"/>
                    </a:lnTo>
                    <a:lnTo>
                      <a:pt x="18023" y="12314"/>
                    </a:lnTo>
                    <a:lnTo>
                      <a:pt x="18135" y="13209"/>
                    </a:lnTo>
                    <a:lnTo>
                      <a:pt x="18135" y="14217"/>
                    </a:lnTo>
                    <a:lnTo>
                      <a:pt x="18023" y="15224"/>
                    </a:lnTo>
                    <a:lnTo>
                      <a:pt x="17799" y="16456"/>
                    </a:lnTo>
                    <a:lnTo>
                      <a:pt x="17687" y="17015"/>
                    </a:lnTo>
                    <a:lnTo>
                      <a:pt x="17351" y="18135"/>
                    </a:lnTo>
                    <a:lnTo>
                      <a:pt x="17015" y="19142"/>
                    </a:lnTo>
                    <a:lnTo>
                      <a:pt x="16568" y="20150"/>
                    </a:lnTo>
                    <a:lnTo>
                      <a:pt x="16008" y="20933"/>
                    </a:lnTo>
                    <a:lnTo>
                      <a:pt x="15896" y="21045"/>
                    </a:lnTo>
                    <a:lnTo>
                      <a:pt x="16008" y="21269"/>
                    </a:lnTo>
                    <a:lnTo>
                      <a:pt x="16456" y="21493"/>
                    </a:lnTo>
                    <a:lnTo>
                      <a:pt x="17239" y="21605"/>
                    </a:lnTo>
                    <a:lnTo>
                      <a:pt x="18247" y="21829"/>
                    </a:lnTo>
                    <a:lnTo>
                      <a:pt x="19366" y="21941"/>
                    </a:lnTo>
                    <a:lnTo>
                      <a:pt x="21829" y="22053"/>
                    </a:lnTo>
                    <a:lnTo>
                      <a:pt x="24179" y="22053"/>
                    </a:lnTo>
                    <a:lnTo>
                      <a:pt x="26082" y="21829"/>
                    </a:lnTo>
                    <a:lnTo>
                      <a:pt x="26642" y="21717"/>
                    </a:lnTo>
                    <a:lnTo>
                      <a:pt x="26978" y="21605"/>
                    </a:lnTo>
                    <a:lnTo>
                      <a:pt x="27090" y="21381"/>
                    </a:lnTo>
                    <a:lnTo>
                      <a:pt x="27090" y="20597"/>
                    </a:lnTo>
                    <a:lnTo>
                      <a:pt x="26978" y="19590"/>
                    </a:lnTo>
                    <a:lnTo>
                      <a:pt x="26530" y="17239"/>
                    </a:lnTo>
                    <a:lnTo>
                      <a:pt x="26082" y="14888"/>
                    </a:lnTo>
                    <a:lnTo>
                      <a:pt x="25858" y="13433"/>
                    </a:lnTo>
                    <a:lnTo>
                      <a:pt x="25970" y="12874"/>
                    </a:lnTo>
                    <a:lnTo>
                      <a:pt x="26082" y="12426"/>
                    </a:lnTo>
                    <a:lnTo>
                      <a:pt x="26642" y="11530"/>
                    </a:lnTo>
                    <a:lnTo>
                      <a:pt x="27090" y="10635"/>
                    </a:lnTo>
                    <a:lnTo>
                      <a:pt x="27314" y="10075"/>
                    </a:lnTo>
                    <a:lnTo>
                      <a:pt x="27314" y="9403"/>
                    </a:lnTo>
                    <a:lnTo>
                      <a:pt x="27314" y="9068"/>
                    </a:lnTo>
                    <a:lnTo>
                      <a:pt x="27202" y="8620"/>
                    </a:lnTo>
                    <a:lnTo>
                      <a:pt x="26754" y="8172"/>
                    </a:lnTo>
                    <a:lnTo>
                      <a:pt x="26642" y="7948"/>
                    </a:lnTo>
                    <a:lnTo>
                      <a:pt x="26530" y="7724"/>
                    </a:lnTo>
                    <a:lnTo>
                      <a:pt x="26642" y="7500"/>
                    </a:lnTo>
                    <a:lnTo>
                      <a:pt x="26866" y="7277"/>
                    </a:lnTo>
                    <a:lnTo>
                      <a:pt x="27985" y="7277"/>
                    </a:lnTo>
                    <a:lnTo>
                      <a:pt x="30112" y="7500"/>
                    </a:lnTo>
                    <a:lnTo>
                      <a:pt x="32127" y="7612"/>
                    </a:lnTo>
                    <a:lnTo>
                      <a:pt x="33582" y="7612"/>
                    </a:lnTo>
                    <a:lnTo>
                      <a:pt x="34478" y="7389"/>
                    </a:lnTo>
                    <a:lnTo>
                      <a:pt x="35597" y="6717"/>
                    </a:lnTo>
                    <a:lnTo>
                      <a:pt x="38508" y="5038"/>
                    </a:lnTo>
                    <a:lnTo>
                      <a:pt x="42425" y="2575"/>
                    </a:lnTo>
                    <a:lnTo>
                      <a:pt x="42425" y="2463"/>
                    </a:lnTo>
                    <a:lnTo>
                      <a:pt x="42313" y="2127"/>
                    </a:lnTo>
                    <a:lnTo>
                      <a:pt x="41866" y="1120"/>
                    </a:lnTo>
                    <a:lnTo>
                      <a:pt x="41194" y="224"/>
                    </a:lnTo>
                    <a:lnTo>
                      <a:pt x="40858" y="1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99" name="Google Shape;1999;p16"/>
              <p:cNvSpPr/>
              <p:nvPr/>
            </p:nvSpPr>
            <p:spPr>
              <a:xfrm>
                <a:off x="1814675" y="2051525"/>
                <a:ext cx="1060650" cy="551325"/>
              </a:xfrm>
              <a:custGeom>
                <a:avLst/>
                <a:gdLst/>
                <a:ahLst/>
                <a:cxnLst/>
                <a:rect l="l" t="t" r="r" b="b"/>
                <a:pathLst>
                  <a:path w="42426" h="22053" fill="none" extrusionOk="0">
                    <a:moveTo>
                      <a:pt x="42425" y="2575"/>
                    </a:moveTo>
                    <a:lnTo>
                      <a:pt x="42425" y="2575"/>
                    </a:lnTo>
                    <a:lnTo>
                      <a:pt x="38508" y="5038"/>
                    </a:lnTo>
                    <a:lnTo>
                      <a:pt x="35597" y="6717"/>
                    </a:lnTo>
                    <a:lnTo>
                      <a:pt x="34478" y="7389"/>
                    </a:lnTo>
                    <a:lnTo>
                      <a:pt x="33582" y="7612"/>
                    </a:lnTo>
                    <a:lnTo>
                      <a:pt x="33582" y="7612"/>
                    </a:lnTo>
                    <a:lnTo>
                      <a:pt x="33023" y="7612"/>
                    </a:lnTo>
                    <a:lnTo>
                      <a:pt x="32127" y="7612"/>
                    </a:lnTo>
                    <a:lnTo>
                      <a:pt x="30112" y="7500"/>
                    </a:lnTo>
                    <a:lnTo>
                      <a:pt x="30112" y="7500"/>
                    </a:lnTo>
                    <a:lnTo>
                      <a:pt x="27985" y="7277"/>
                    </a:lnTo>
                    <a:lnTo>
                      <a:pt x="27202" y="7277"/>
                    </a:lnTo>
                    <a:lnTo>
                      <a:pt x="26866" y="7277"/>
                    </a:lnTo>
                    <a:lnTo>
                      <a:pt x="26866" y="7277"/>
                    </a:lnTo>
                    <a:lnTo>
                      <a:pt x="26642" y="7500"/>
                    </a:lnTo>
                    <a:lnTo>
                      <a:pt x="26530" y="7724"/>
                    </a:lnTo>
                    <a:lnTo>
                      <a:pt x="26642" y="7948"/>
                    </a:lnTo>
                    <a:lnTo>
                      <a:pt x="26754" y="8172"/>
                    </a:lnTo>
                    <a:lnTo>
                      <a:pt x="27202" y="8620"/>
                    </a:lnTo>
                    <a:lnTo>
                      <a:pt x="27314" y="9068"/>
                    </a:lnTo>
                    <a:lnTo>
                      <a:pt x="27314" y="9403"/>
                    </a:lnTo>
                    <a:lnTo>
                      <a:pt x="27314" y="9403"/>
                    </a:lnTo>
                    <a:lnTo>
                      <a:pt x="27314" y="10075"/>
                    </a:lnTo>
                    <a:lnTo>
                      <a:pt x="27090" y="10635"/>
                    </a:lnTo>
                    <a:lnTo>
                      <a:pt x="26642" y="11530"/>
                    </a:lnTo>
                    <a:lnTo>
                      <a:pt x="26082" y="12426"/>
                    </a:lnTo>
                    <a:lnTo>
                      <a:pt x="25970" y="12874"/>
                    </a:lnTo>
                    <a:lnTo>
                      <a:pt x="25858" y="13433"/>
                    </a:lnTo>
                    <a:lnTo>
                      <a:pt x="25858" y="13433"/>
                    </a:lnTo>
                    <a:lnTo>
                      <a:pt x="26082" y="14888"/>
                    </a:lnTo>
                    <a:lnTo>
                      <a:pt x="26530" y="17239"/>
                    </a:lnTo>
                    <a:lnTo>
                      <a:pt x="26978" y="19590"/>
                    </a:lnTo>
                    <a:lnTo>
                      <a:pt x="27090" y="20597"/>
                    </a:lnTo>
                    <a:lnTo>
                      <a:pt x="27090" y="21381"/>
                    </a:lnTo>
                    <a:lnTo>
                      <a:pt x="27090" y="21381"/>
                    </a:lnTo>
                    <a:lnTo>
                      <a:pt x="26978" y="21605"/>
                    </a:lnTo>
                    <a:lnTo>
                      <a:pt x="26978" y="21605"/>
                    </a:lnTo>
                    <a:lnTo>
                      <a:pt x="26642" y="21717"/>
                    </a:lnTo>
                    <a:lnTo>
                      <a:pt x="26082" y="21829"/>
                    </a:lnTo>
                    <a:lnTo>
                      <a:pt x="24179" y="22053"/>
                    </a:lnTo>
                    <a:lnTo>
                      <a:pt x="21829" y="22053"/>
                    </a:lnTo>
                    <a:lnTo>
                      <a:pt x="19366" y="21941"/>
                    </a:lnTo>
                    <a:lnTo>
                      <a:pt x="19366" y="21941"/>
                    </a:lnTo>
                    <a:lnTo>
                      <a:pt x="18247" y="21829"/>
                    </a:lnTo>
                    <a:lnTo>
                      <a:pt x="18247" y="21829"/>
                    </a:lnTo>
                    <a:lnTo>
                      <a:pt x="17239" y="21605"/>
                    </a:lnTo>
                    <a:lnTo>
                      <a:pt x="16456" y="21493"/>
                    </a:lnTo>
                    <a:lnTo>
                      <a:pt x="16008" y="21269"/>
                    </a:lnTo>
                    <a:lnTo>
                      <a:pt x="15896" y="21045"/>
                    </a:lnTo>
                    <a:lnTo>
                      <a:pt x="16008" y="20933"/>
                    </a:lnTo>
                    <a:lnTo>
                      <a:pt x="16008" y="20933"/>
                    </a:lnTo>
                    <a:lnTo>
                      <a:pt x="16008" y="20933"/>
                    </a:lnTo>
                    <a:lnTo>
                      <a:pt x="16008" y="20933"/>
                    </a:lnTo>
                    <a:lnTo>
                      <a:pt x="16008" y="20933"/>
                    </a:lnTo>
                    <a:lnTo>
                      <a:pt x="16568" y="20150"/>
                    </a:lnTo>
                    <a:lnTo>
                      <a:pt x="17015" y="19142"/>
                    </a:lnTo>
                    <a:lnTo>
                      <a:pt x="17351" y="18135"/>
                    </a:lnTo>
                    <a:lnTo>
                      <a:pt x="17687" y="17015"/>
                    </a:lnTo>
                    <a:lnTo>
                      <a:pt x="17687" y="17015"/>
                    </a:lnTo>
                    <a:lnTo>
                      <a:pt x="17687" y="17015"/>
                    </a:lnTo>
                    <a:lnTo>
                      <a:pt x="17799" y="16456"/>
                    </a:lnTo>
                    <a:lnTo>
                      <a:pt x="17799" y="16456"/>
                    </a:lnTo>
                    <a:lnTo>
                      <a:pt x="18023" y="15224"/>
                    </a:lnTo>
                    <a:lnTo>
                      <a:pt x="18135" y="14217"/>
                    </a:lnTo>
                    <a:lnTo>
                      <a:pt x="18135" y="13209"/>
                    </a:lnTo>
                    <a:lnTo>
                      <a:pt x="18023" y="12314"/>
                    </a:lnTo>
                    <a:lnTo>
                      <a:pt x="17799" y="11530"/>
                    </a:lnTo>
                    <a:lnTo>
                      <a:pt x="17463" y="10971"/>
                    </a:lnTo>
                    <a:lnTo>
                      <a:pt x="17127" y="10523"/>
                    </a:lnTo>
                    <a:lnTo>
                      <a:pt x="16568" y="10299"/>
                    </a:lnTo>
                    <a:lnTo>
                      <a:pt x="16568" y="10299"/>
                    </a:lnTo>
                    <a:lnTo>
                      <a:pt x="16344" y="10299"/>
                    </a:lnTo>
                    <a:lnTo>
                      <a:pt x="15896" y="10299"/>
                    </a:lnTo>
                    <a:lnTo>
                      <a:pt x="15000" y="10635"/>
                    </a:lnTo>
                    <a:lnTo>
                      <a:pt x="12650" y="11754"/>
                    </a:lnTo>
                    <a:lnTo>
                      <a:pt x="10299" y="12874"/>
                    </a:lnTo>
                    <a:lnTo>
                      <a:pt x="9292" y="13209"/>
                    </a:lnTo>
                    <a:lnTo>
                      <a:pt x="8732" y="13321"/>
                    </a:lnTo>
                    <a:lnTo>
                      <a:pt x="8732" y="13321"/>
                    </a:lnTo>
                    <a:lnTo>
                      <a:pt x="6157" y="13321"/>
                    </a:lnTo>
                    <a:lnTo>
                      <a:pt x="3471" y="12985"/>
                    </a:lnTo>
                    <a:lnTo>
                      <a:pt x="1344" y="12650"/>
                    </a:lnTo>
                    <a:lnTo>
                      <a:pt x="224" y="12538"/>
                    </a:lnTo>
                    <a:lnTo>
                      <a:pt x="224" y="12538"/>
                    </a:lnTo>
                    <a:lnTo>
                      <a:pt x="113" y="12314"/>
                    </a:lnTo>
                    <a:lnTo>
                      <a:pt x="1" y="11866"/>
                    </a:lnTo>
                    <a:lnTo>
                      <a:pt x="1" y="10747"/>
                    </a:lnTo>
                    <a:lnTo>
                      <a:pt x="224" y="9739"/>
                    </a:lnTo>
                    <a:lnTo>
                      <a:pt x="336" y="9403"/>
                    </a:lnTo>
                    <a:lnTo>
                      <a:pt x="560" y="9291"/>
                    </a:lnTo>
                    <a:lnTo>
                      <a:pt x="560" y="9291"/>
                    </a:lnTo>
                    <a:lnTo>
                      <a:pt x="1680" y="9515"/>
                    </a:lnTo>
                    <a:lnTo>
                      <a:pt x="3918" y="9851"/>
                    </a:lnTo>
                    <a:lnTo>
                      <a:pt x="6605" y="10075"/>
                    </a:lnTo>
                    <a:lnTo>
                      <a:pt x="7836" y="10075"/>
                    </a:lnTo>
                    <a:lnTo>
                      <a:pt x="8844" y="10075"/>
                    </a:lnTo>
                    <a:lnTo>
                      <a:pt x="8844" y="10075"/>
                    </a:lnTo>
                    <a:lnTo>
                      <a:pt x="9739" y="9851"/>
                    </a:lnTo>
                    <a:lnTo>
                      <a:pt x="10523" y="9515"/>
                    </a:lnTo>
                    <a:lnTo>
                      <a:pt x="11306" y="9068"/>
                    </a:lnTo>
                    <a:lnTo>
                      <a:pt x="12090" y="8508"/>
                    </a:lnTo>
                    <a:lnTo>
                      <a:pt x="13545" y="7277"/>
                    </a:lnTo>
                    <a:lnTo>
                      <a:pt x="14329" y="6605"/>
                    </a:lnTo>
                    <a:lnTo>
                      <a:pt x="15112" y="6157"/>
                    </a:lnTo>
                    <a:lnTo>
                      <a:pt x="15112" y="6157"/>
                    </a:lnTo>
                    <a:lnTo>
                      <a:pt x="16008" y="5597"/>
                    </a:lnTo>
                    <a:lnTo>
                      <a:pt x="17239" y="4590"/>
                    </a:lnTo>
                    <a:lnTo>
                      <a:pt x="18694" y="3695"/>
                    </a:lnTo>
                    <a:lnTo>
                      <a:pt x="19254" y="3359"/>
                    </a:lnTo>
                    <a:lnTo>
                      <a:pt x="19814" y="3135"/>
                    </a:lnTo>
                    <a:lnTo>
                      <a:pt x="19814" y="3135"/>
                    </a:lnTo>
                    <a:lnTo>
                      <a:pt x="20262" y="3023"/>
                    </a:lnTo>
                    <a:lnTo>
                      <a:pt x="20821" y="3023"/>
                    </a:lnTo>
                    <a:lnTo>
                      <a:pt x="22164" y="3135"/>
                    </a:lnTo>
                    <a:lnTo>
                      <a:pt x="22164" y="3135"/>
                    </a:lnTo>
                    <a:lnTo>
                      <a:pt x="23508" y="3135"/>
                    </a:lnTo>
                    <a:lnTo>
                      <a:pt x="23508" y="3135"/>
                    </a:lnTo>
                    <a:lnTo>
                      <a:pt x="24851" y="3247"/>
                    </a:lnTo>
                    <a:lnTo>
                      <a:pt x="27426" y="3583"/>
                    </a:lnTo>
                    <a:lnTo>
                      <a:pt x="27426" y="3583"/>
                    </a:lnTo>
                    <a:lnTo>
                      <a:pt x="30896" y="3918"/>
                    </a:lnTo>
                    <a:lnTo>
                      <a:pt x="32239" y="4030"/>
                    </a:lnTo>
                    <a:lnTo>
                      <a:pt x="33135" y="3918"/>
                    </a:lnTo>
                    <a:lnTo>
                      <a:pt x="33135" y="3918"/>
                    </a:lnTo>
                    <a:lnTo>
                      <a:pt x="33806" y="3695"/>
                    </a:lnTo>
                    <a:lnTo>
                      <a:pt x="34814" y="3247"/>
                    </a:lnTo>
                    <a:lnTo>
                      <a:pt x="37164" y="2015"/>
                    </a:lnTo>
                    <a:lnTo>
                      <a:pt x="40634" y="1"/>
                    </a:lnTo>
                    <a:lnTo>
                      <a:pt x="40634" y="1"/>
                    </a:lnTo>
                    <a:lnTo>
                      <a:pt x="40858" y="1"/>
                    </a:lnTo>
                    <a:lnTo>
                      <a:pt x="41194" y="224"/>
                    </a:lnTo>
                    <a:lnTo>
                      <a:pt x="41866" y="1120"/>
                    </a:lnTo>
                    <a:lnTo>
                      <a:pt x="42313" y="2127"/>
                    </a:lnTo>
                    <a:lnTo>
                      <a:pt x="42425" y="2463"/>
                    </a:lnTo>
                    <a:lnTo>
                      <a:pt x="42425" y="2575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00" name="Google Shape;2000;p16"/>
              <p:cNvSpPr/>
              <p:nvPr/>
            </p:nvSpPr>
            <p:spPr>
              <a:xfrm>
                <a:off x="2312800" y="2020750"/>
                <a:ext cx="86775" cy="170725"/>
              </a:xfrm>
              <a:custGeom>
                <a:avLst/>
                <a:gdLst/>
                <a:ahLst/>
                <a:cxnLst/>
                <a:rect l="l" t="t" r="r" b="b"/>
                <a:pathLst>
                  <a:path w="3471" h="6829" extrusionOk="0">
                    <a:moveTo>
                      <a:pt x="2016" y="0"/>
                    </a:moveTo>
                    <a:lnTo>
                      <a:pt x="1904" y="112"/>
                    </a:lnTo>
                    <a:lnTo>
                      <a:pt x="1680" y="560"/>
                    </a:lnTo>
                    <a:lnTo>
                      <a:pt x="560" y="3135"/>
                    </a:lnTo>
                    <a:lnTo>
                      <a:pt x="1" y="4478"/>
                    </a:lnTo>
                    <a:lnTo>
                      <a:pt x="225" y="4926"/>
                    </a:lnTo>
                    <a:lnTo>
                      <a:pt x="560" y="5261"/>
                    </a:lnTo>
                    <a:lnTo>
                      <a:pt x="1008" y="5597"/>
                    </a:lnTo>
                    <a:lnTo>
                      <a:pt x="2239" y="6381"/>
                    </a:lnTo>
                    <a:lnTo>
                      <a:pt x="2799" y="6717"/>
                    </a:lnTo>
                    <a:lnTo>
                      <a:pt x="3247" y="6828"/>
                    </a:lnTo>
                    <a:lnTo>
                      <a:pt x="3359" y="6828"/>
                    </a:lnTo>
                    <a:lnTo>
                      <a:pt x="3471" y="6605"/>
                    </a:lnTo>
                    <a:lnTo>
                      <a:pt x="3471" y="6045"/>
                    </a:lnTo>
                    <a:lnTo>
                      <a:pt x="3359" y="5485"/>
                    </a:lnTo>
                    <a:lnTo>
                      <a:pt x="3247" y="4926"/>
                    </a:lnTo>
                    <a:lnTo>
                      <a:pt x="3023" y="4590"/>
                    </a:lnTo>
                    <a:lnTo>
                      <a:pt x="2911" y="3918"/>
                    </a:lnTo>
                    <a:lnTo>
                      <a:pt x="2911" y="3135"/>
                    </a:lnTo>
                    <a:lnTo>
                      <a:pt x="3023" y="2015"/>
                    </a:lnTo>
                    <a:lnTo>
                      <a:pt x="2911" y="1567"/>
                    </a:lnTo>
                    <a:lnTo>
                      <a:pt x="2575" y="672"/>
                    </a:lnTo>
                    <a:lnTo>
                      <a:pt x="2351" y="224"/>
                    </a:lnTo>
                    <a:lnTo>
                      <a:pt x="2128" y="0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01" name="Google Shape;2001;p16"/>
              <p:cNvSpPr/>
              <p:nvPr/>
            </p:nvSpPr>
            <p:spPr>
              <a:xfrm>
                <a:off x="2312800" y="2020750"/>
                <a:ext cx="86775" cy="170725"/>
              </a:xfrm>
              <a:custGeom>
                <a:avLst/>
                <a:gdLst/>
                <a:ahLst/>
                <a:cxnLst/>
                <a:rect l="l" t="t" r="r" b="b"/>
                <a:pathLst>
                  <a:path w="3471" h="6829" fill="none" extrusionOk="0">
                    <a:moveTo>
                      <a:pt x="3023" y="2015"/>
                    </a:moveTo>
                    <a:lnTo>
                      <a:pt x="3023" y="2015"/>
                    </a:lnTo>
                    <a:lnTo>
                      <a:pt x="2911" y="3135"/>
                    </a:lnTo>
                    <a:lnTo>
                      <a:pt x="2911" y="3918"/>
                    </a:lnTo>
                    <a:lnTo>
                      <a:pt x="3023" y="4590"/>
                    </a:lnTo>
                    <a:lnTo>
                      <a:pt x="3247" y="4926"/>
                    </a:lnTo>
                    <a:lnTo>
                      <a:pt x="3247" y="4926"/>
                    </a:lnTo>
                    <a:lnTo>
                      <a:pt x="3359" y="5485"/>
                    </a:lnTo>
                    <a:lnTo>
                      <a:pt x="3471" y="6045"/>
                    </a:lnTo>
                    <a:lnTo>
                      <a:pt x="3471" y="6605"/>
                    </a:lnTo>
                    <a:lnTo>
                      <a:pt x="3359" y="6828"/>
                    </a:lnTo>
                    <a:lnTo>
                      <a:pt x="3247" y="6828"/>
                    </a:lnTo>
                    <a:lnTo>
                      <a:pt x="3247" y="6828"/>
                    </a:lnTo>
                    <a:lnTo>
                      <a:pt x="2799" y="6717"/>
                    </a:lnTo>
                    <a:lnTo>
                      <a:pt x="2239" y="6381"/>
                    </a:lnTo>
                    <a:lnTo>
                      <a:pt x="1008" y="5597"/>
                    </a:lnTo>
                    <a:lnTo>
                      <a:pt x="1008" y="5597"/>
                    </a:lnTo>
                    <a:lnTo>
                      <a:pt x="560" y="5261"/>
                    </a:lnTo>
                    <a:lnTo>
                      <a:pt x="225" y="4926"/>
                    </a:lnTo>
                    <a:lnTo>
                      <a:pt x="1" y="4478"/>
                    </a:lnTo>
                    <a:lnTo>
                      <a:pt x="1" y="4478"/>
                    </a:lnTo>
                    <a:lnTo>
                      <a:pt x="560" y="3135"/>
                    </a:lnTo>
                    <a:lnTo>
                      <a:pt x="1680" y="560"/>
                    </a:lnTo>
                    <a:lnTo>
                      <a:pt x="1680" y="560"/>
                    </a:lnTo>
                    <a:lnTo>
                      <a:pt x="1904" y="112"/>
                    </a:lnTo>
                    <a:lnTo>
                      <a:pt x="2016" y="0"/>
                    </a:lnTo>
                    <a:lnTo>
                      <a:pt x="2128" y="0"/>
                    </a:lnTo>
                    <a:lnTo>
                      <a:pt x="2351" y="224"/>
                    </a:lnTo>
                    <a:lnTo>
                      <a:pt x="2575" y="672"/>
                    </a:lnTo>
                    <a:lnTo>
                      <a:pt x="2911" y="1567"/>
                    </a:lnTo>
                    <a:lnTo>
                      <a:pt x="3023" y="2015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02" name="Google Shape;2002;p16"/>
              <p:cNvSpPr/>
              <p:nvPr/>
            </p:nvSpPr>
            <p:spPr>
              <a:xfrm>
                <a:off x="2385575" y="2071125"/>
                <a:ext cx="2825" cy="39200"/>
              </a:xfrm>
              <a:custGeom>
                <a:avLst/>
                <a:gdLst/>
                <a:ahLst/>
                <a:cxnLst/>
                <a:rect l="l" t="t" r="r" b="b"/>
                <a:pathLst>
                  <a:path w="113" h="1568" extrusionOk="0">
                    <a:moveTo>
                      <a:pt x="112" y="0"/>
                    </a:moveTo>
                    <a:lnTo>
                      <a:pt x="0" y="896"/>
                    </a:lnTo>
                    <a:lnTo>
                      <a:pt x="0" y="1567"/>
                    </a:lnTo>
                    <a:lnTo>
                      <a:pt x="112" y="0"/>
                    </a:lnTo>
                    <a:close/>
                  </a:path>
                </a:pathLst>
              </a:custGeom>
              <a:solidFill>
                <a:srgbClr val="C9C6C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03" name="Google Shape;2003;p16"/>
              <p:cNvSpPr/>
              <p:nvPr/>
            </p:nvSpPr>
            <p:spPr>
              <a:xfrm>
                <a:off x="2385575" y="2071125"/>
                <a:ext cx="2825" cy="39200"/>
              </a:xfrm>
              <a:custGeom>
                <a:avLst/>
                <a:gdLst/>
                <a:ahLst/>
                <a:cxnLst/>
                <a:rect l="l" t="t" r="r" b="b"/>
                <a:pathLst>
                  <a:path w="113" h="1568" fill="none" extrusionOk="0">
                    <a:moveTo>
                      <a:pt x="112" y="0"/>
                    </a:moveTo>
                    <a:lnTo>
                      <a:pt x="112" y="0"/>
                    </a:lnTo>
                    <a:lnTo>
                      <a:pt x="0" y="1567"/>
                    </a:lnTo>
                    <a:lnTo>
                      <a:pt x="0" y="1567"/>
                    </a:lnTo>
                    <a:lnTo>
                      <a:pt x="0" y="1567"/>
                    </a:lnTo>
                    <a:lnTo>
                      <a:pt x="0" y="1567"/>
                    </a:lnTo>
                    <a:lnTo>
                      <a:pt x="0" y="896"/>
                    </a:lnTo>
                    <a:lnTo>
                      <a:pt x="0" y="896"/>
                    </a:lnTo>
                    <a:lnTo>
                      <a:pt x="11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04" name="Google Shape;2004;p16"/>
              <p:cNvSpPr/>
              <p:nvPr/>
            </p:nvSpPr>
            <p:spPr>
              <a:xfrm>
                <a:off x="2354775" y="2062725"/>
                <a:ext cx="33625" cy="47600"/>
              </a:xfrm>
              <a:custGeom>
                <a:avLst/>
                <a:gdLst/>
                <a:ahLst/>
                <a:cxnLst/>
                <a:rect l="l" t="t" r="r" b="b"/>
                <a:pathLst>
                  <a:path w="1345" h="1904" extrusionOk="0">
                    <a:moveTo>
                      <a:pt x="337" y="0"/>
                    </a:moveTo>
                    <a:lnTo>
                      <a:pt x="225" y="112"/>
                    </a:lnTo>
                    <a:lnTo>
                      <a:pt x="113" y="336"/>
                    </a:lnTo>
                    <a:lnTo>
                      <a:pt x="1" y="672"/>
                    </a:lnTo>
                    <a:lnTo>
                      <a:pt x="113" y="1008"/>
                    </a:lnTo>
                    <a:lnTo>
                      <a:pt x="449" y="1456"/>
                    </a:lnTo>
                    <a:lnTo>
                      <a:pt x="784" y="1679"/>
                    </a:lnTo>
                    <a:lnTo>
                      <a:pt x="1232" y="1903"/>
                    </a:lnTo>
                    <a:lnTo>
                      <a:pt x="1344" y="336"/>
                    </a:lnTo>
                    <a:lnTo>
                      <a:pt x="896" y="224"/>
                    </a:lnTo>
                    <a:lnTo>
                      <a:pt x="896" y="112"/>
                    </a:lnTo>
                    <a:lnTo>
                      <a:pt x="449" y="112"/>
                    </a:lnTo>
                    <a:lnTo>
                      <a:pt x="337" y="0"/>
                    </a:lnTo>
                    <a:close/>
                  </a:path>
                </a:pathLst>
              </a:custGeom>
              <a:solidFill>
                <a:srgbClr val="C7919A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05" name="Google Shape;2005;p16"/>
              <p:cNvSpPr/>
              <p:nvPr/>
            </p:nvSpPr>
            <p:spPr>
              <a:xfrm>
                <a:off x="2354775" y="2062725"/>
                <a:ext cx="33625" cy="47600"/>
              </a:xfrm>
              <a:custGeom>
                <a:avLst/>
                <a:gdLst/>
                <a:ahLst/>
                <a:cxnLst/>
                <a:rect l="l" t="t" r="r" b="b"/>
                <a:pathLst>
                  <a:path w="1345" h="1904" fill="none" extrusionOk="0">
                    <a:moveTo>
                      <a:pt x="337" y="0"/>
                    </a:moveTo>
                    <a:lnTo>
                      <a:pt x="337" y="0"/>
                    </a:lnTo>
                    <a:lnTo>
                      <a:pt x="225" y="112"/>
                    </a:lnTo>
                    <a:lnTo>
                      <a:pt x="113" y="336"/>
                    </a:lnTo>
                    <a:lnTo>
                      <a:pt x="1" y="672"/>
                    </a:lnTo>
                    <a:lnTo>
                      <a:pt x="113" y="1008"/>
                    </a:lnTo>
                    <a:lnTo>
                      <a:pt x="113" y="1008"/>
                    </a:lnTo>
                    <a:lnTo>
                      <a:pt x="449" y="1456"/>
                    </a:lnTo>
                    <a:lnTo>
                      <a:pt x="784" y="1679"/>
                    </a:lnTo>
                    <a:lnTo>
                      <a:pt x="1232" y="1903"/>
                    </a:lnTo>
                    <a:lnTo>
                      <a:pt x="1232" y="1903"/>
                    </a:lnTo>
                    <a:lnTo>
                      <a:pt x="1344" y="336"/>
                    </a:lnTo>
                    <a:lnTo>
                      <a:pt x="1344" y="336"/>
                    </a:lnTo>
                    <a:lnTo>
                      <a:pt x="1344" y="336"/>
                    </a:lnTo>
                    <a:lnTo>
                      <a:pt x="1344" y="336"/>
                    </a:lnTo>
                    <a:lnTo>
                      <a:pt x="896" y="224"/>
                    </a:lnTo>
                    <a:lnTo>
                      <a:pt x="896" y="224"/>
                    </a:lnTo>
                    <a:lnTo>
                      <a:pt x="896" y="112"/>
                    </a:lnTo>
                    <a:lnTo>
                      <a:pt x="896" y="112"/>
                    </a:lnTo>
                    <a:lnTo>
                      <a:pt x="784" y="112"/>
                    </a:lnTo>
                    <a:lnTo>
                      <a:pt x="784" y="112"/>
                    </a:lnTo>
                    <a:lnTo>
                      <a:pt x="784" y="112"/>
                    </a:lnTo>
                    <a:lnTo>
                      <a:pt x="784" y="112"/>
                    </a:lnTo>
                    <a:lnTo>
                      <a:pt x="560" y="112"/>
                    </a:lnTo>
                    <a:lnTo>
                      <a:pt x="449" y="112"/>
                    </a:lnTo>
                    <a:lnTo>
                      <a:pt x="449" y="112"/>
                    </a:lnTo>
                    <a:lnTo>
                      <a:pt x="337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06" name="Google Shape;2006;p16"/>
              <p:cNvSpPr/>
              <p:nvPr/>
            </p:nvSpPr>
            <p:spPr>
              <a:xfrm>
                <a:off x="1974200" y="2574850"/>
                <a:ext cx="296650" cy="618475"/>
              </a:xfrm>
              <a:custGeom>
                <a:avLst/>
                <a:gdLst/>
                <a:ahLst/>
                <a:cxnLst/>
                <a:rect l="l" t="t" r="r" b="b"/>
                <a:pathLst>
                  <a:path w="11866" h="24739" extrusionOk="0">
                    <a:moveTo>
                      <a:pt x="9627" y="0"/>
                    </a:moveTo>
                    <a:lnTo>
                      <a:pt x="9515" y="112"/>
                    </a:lnTo>
                    <a:lnTo>
                      <a:pt x="9533" y="148"/>
                    </a:lnTo>
                    <a:lnTo>
                      <a:pt x="9627" y="0"/>
                    </a:lnTo>
                    <a:close/>
                    <a:moveTo>
                      <a:pt x="9533" y="148"/>
                    </a:moveTo>
                    <a:lnTo>
                      <a:pt x="8843" y="1231"/>
                    </a:lnTo>
                    <a:lnTo>
                      <a:pt x="8172" y="2463"/>
                    </a:lnTo>
                    <a:lnTo>
                      <a:pt x="7724" y="3806"/>
                    </a:lnTo>
                    <a:lnTo>
                      <a:pt x="7276" y="5037"/>
                    </a:lnTo>
                    <a:lnTo>
                      <a:pt x="6605" y="7724"/>
                    </a:lnTo>
                    <a:lnTo>
                      <a:pt x="6045" y="10522"/>
                    </a:lnTo>
                    <a:lnTo>
                      <a:pt x="5261" y="13321"/>
                    </a:lnTo>
                    <a:lnTo>
                      <a:pt x="4813" y="14776"/>
                    </a:lnTo>
                    <a:lnTo>
                      <a:pt x="4142" y="16231"/>
                    </a:lnTo>
                    <a:lnTo>
                      <a:pt x="3470" y="17798"/>
                    </a:lnTo>
                    <a:lnTo>
                      <a:pt x="2463" y="19366"/>
                    </a:lnTo>
                    <a:lnTo>
                      <a:pt x="1343" y="20933"/>
                    </a:lnTo>
                    <a:lnTo>
                      <a:pt x="0" y="22500"/>
                    </a:lnTo>
                    <a:lnTo>
                      <a:pt x="224" y="22836"/>
                    </a:lnTo>
                    <a:lnTo>
                      <a:pt x="560" y="23060"/>
                    </a:lnTo>
                    <a:lnTo>
                      <a:pt x="1455" y="23395"/>
                    </a:lnTo>
                    <a:lnTo>
                      <a:pt x="2351" y="23507"/>
                    </a:lnTo>
                    <a:lnTo>
                      <a:pt x="3470" y="23619"/>
                    </a:lnTo>
                    <a:lnTo>
                      <a:pt x="5597" y="23731"/>
                    </a:lnTo>
                    <a:lnTo>
                      <a:pt x="6493" y="23955"/>
                    </a:lnTo>
                    <a:lnTo>
                      <a:pt x="7164" y="24179"/>
                    </a:lnTo>
                    <a:lnTo>
                      <a:pt x="7612" y="24515"/>
                    </a:lnTo>
                    <a:lnTo>
                      <a:pt x="8396" y="24739"/>
                    </a:lnTo>
                    <a:lnTo>
                      <a:pt x="8955" y="23507"/>
                    </a:lnTo>
                    <a:lnTo>
                      <a:pt x="9515" y="22164"/>
                    </a:lnTo>
                    <a:lnTo>
                      <a:pt x="9963" y="20821"/>
                    </a:lnTo>
                    <a:lnTo>
                      <a:pt x="10298" y="19366"/>
                    </a:lnTo>
                    <a:lnTo>
                      <a:pt x="10970" y="16231"/>
                    </a:lnTo>
                    <a:lnTo>
                      <a:pt x="11418" y="13097"/>
                    </a:lnTo>
                    <a:lnTo>
                      <a:pt x="11754" y="9963"/>
                    </a:lnTo>
                    <a:lnTo>
                      <a:pt x="11866" y="6828"/>
                    </a:lnTo>
                    <a:lnTo>
                      <a:pt x="11866" y="3694"/>
                    </a:lnTo>
                    <a:lnTo>
                      <a:pt x="11866" y="896"/>
                    </a:lnTo>
                    <a:lnTo>
                      <a:pt x="10858" y="672"/>
                    </a:lnTo>
                    <a:lnTo>
                      <a:pt x="10075" y="560"/>
                    </a:lnTo>
                    <a:lnTo>
                      <a:pt x="9627" y="336"/>
                    </a:lnTo>
                    <a:lnTo>
                      <a:pt x="9533" y="148"/>
                    </a:lnTo>
                    <a:close/>
                  </a:path>
                </a:pathLst>
              </a:custGeom>
              <a:solidFill>
                <a:srgbClr val="B5482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07" name="Google Shape;2007;p16"/>
              <p:cNvSpPr/>
              <p:nvPr/>
            </p:nvSpPr>
            <p:spPr>
              <a:xfrm>
                <a:off x="1974200" y="2574850"/>
                <a:ext cx="296650" cy="618475"/>
              </a:xfrm>
              <a:custGeom>
                <a:avLst/>
                <a:gdLst/>
                <a:ahLst/>
                <a:cxnLst/>
                <a:rect l="l" t="t" r="r" b="b"/>
                <a:pathLst>
                  <a:path w="11866" h="24739" fill="none" extrusionOk="0">
                    <a:moveTo>
                      <a:pt x="9627" y="0"/>
                    </a:moveTo>
                    <a:lnTo>
                      <a:pt x="9627" y="0"/>
                    </a:lnTo>
                    <a:lnTo>
                      <a:pt x="8843" y="1231"/>
                    </a:lnTo>
                    <a:lnTo>
                      <a:pt x="8172" y="2463"/>
                    </a:lnTo>
                    <a:lnTo>
                      <a:pt x="7724" y="3806"/>
                    </a:lnTo>
                    <a:lnTo>
                      <a:pt x="7276" y="5037"/>
                    </a:lnTo>
                    <a:lnTo>
                      <a:pt x="6605" y="7724"/>
                    </a:lnTo>
                    <a:lnTo>
                      <a:pt x="6045" y="10522"/>
                    </a:lnTo>
                    <a:lnTo>
                      <a:pt x="5261" y="13321"/>
                    </a:lnTo>
                    <a:lnTo>
                      <a:pt x="4813" y="14776"/>
                    </a:lnTo>
                    <a:lnTo>
                      <a:pt x="4142" y="16231"/>
                    </a:lnTo>
                    <a:lnTo>
                      <a:pt x="3470" y="17798"/>
                    </a:lnTo>
                    <a:lnTo>
                      <a:pt x="2463" y="19366"/>
                    </a:lnTo>
                    <a:lnTo>
                      <a:pt x="1343" y="20933"/>
                    </a:lnTo>
                    <a:lnTo>
                      <a:pt x="0" y="22500"/>
                    </a:lnTo>
                    <a:lnTo>
                      <a:pt x="0" y="22500"/>
                    </a:lnTo>
                    <a:lnTo>
                      <a:pt x="224" y="22836"/>
                    </a:lnTo>
                    <a:lnTo>
                      <a:pt x="560" y="23060"/>
                    </a:lnTo>
                    <a:lnTo>
                      <a:pt x="1455" y="23395"/>
                    </a:lnTo>
                    <a:lnTo>
                      <a:pt x="2351" y="23507"/>
                    </a:lnTo>
                    <a:lnTo>
                      <a:pt x="3470" y="23619"/>
                    </a:lnTo>
                    <a:lnTo>
                      <a:pt x="5597" y="23731"/>
                    </a:lnTo>
                    <a:lnTo>
                      <a:pt x="6493" y="23955"/>
                    </a:lnTo>
                    <a:lnTo>
                      <a:pt x="7164" y="24179"/>
                    </a:lnTo>
                    <a:lnTo>
                      <a:pt x="7164" y="24179"/>
                    </a:lnTo>
                    <a:lnTo>
                      <a:pt x="7612" y="24515"/>
                    </a:lnTo>
                    <a:lnTo>
                      <a:pt x="8396" y="24739"/>
                    </a:lnTo>
                    <a:lnTo>
                      <a:pt x="8396" y="24739"/>
                    </a:lnTo>
                    <a:lnTo>
                      <a:pt x="8955" y="23507"/>
                    </a:lnTo>
                    <a:lnTo>
                      <a:pt x="9515" y="22164"/>
                    </a:lnTo>
                    <a:lnTo>
                      <a:pt x="9963" y="20821"/>
                    </a:lnTo>
                    <a:lnTo>
                      <a:pt x="10298" y="19366"/>
                    </a:lnTo>
                    <a:lnTo>
                      <a:pt x="10970" y="16231"/>
                    </a:lnTo>
                    <a:lnTo>
                      <a:pt x="11418" y="13097"/>
                    </a:lnTo>
                    <a:lnTo>
                      <a:pt x="11754" y="9963"/>
                    </a:lnTo>
                    <a:lnTo>
                      <a:pt x="11866" y="6828"/>
                    </a:lnTo>
                    <a:lnTo>
                      <a:pt x="11866" y="3694"/>
                    </a:lnTo>
                    <a:lnTo>
                      <a:pt x="11866" y="896"/>
                    </a:lnTo>
                    <a:lnTo>
                      <a:pt x="11866" y="896"/>
                    </a:lnTo>
                    <a:lnTo>
                      <a:pt x="11866" y="896"/>
                    </a:lnTo>
                    <a:lnTo>
                      <a:pt x="10858" y="672"/>
                    </a:lnTo>
                    <a:lnTo>
                      <a:pt x="10075" y="560"/>
                    </a:lnTo>
                    <a:lnTo>
                      <a:pt x="9627" y="336"/>
                    </a:lnTo>
                    <a:lnTo>
                      <a:pt x="9515" y="112"/>
                    </a:lnTo>
                    <a:lnTo>
                      <a:pt x="9627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08" name="Google Shape;2008;p16"/>
              <p:cNvSpPr/>
              <p:nvPr/>
            </p:nvSpPr>
            <p:spPr>
              <a:xfrm>
                <a:off x="2212050" y="2462900"/>
                <a:ext cx="58800" cy="134350"/>
              </a:xfrm>
              <a:custGeom>
                <a:avLst/>
                <a:gdLst/>
                <a:ahLst/>
                <a:cxnLst/>
                <a:rect l="l" t="t" r="r" b="b"/>
                <a:pathLst>
                  <a:path w="2352" h="5374" extrusionOk="0">
                    <a:moveTo>
                      <a:pt x="1904" y="1"/>
                    </a:moveTo>
                    <a:lnTo>
                      <a:pt x="1792" y="560"/>
                    </a:lnTo>
                    <a:lnTo>
                      <a:pt x="1456" y="1680"/>
                    </a:lnTo>
                    <a:lnTo>
                      <a:pt x="1120" y="2687"/>
                    </a:lnTo>
                    <a:lnTo>
                      <a:pt x="673" y="3695"/>
                    </a:lnTo>
                    <a:lnTo>
                      <a:pt x="113" y="4478"/>
                    </a:lnTo>
                    <a:lnTo>
                      <a:pt x="1" y="4590"/>
                    </a:lnTo>
                    <a:lnTo>
                      <a:pt x="113" y="4814"/>
                    </a:lnTo>
                    <a:lnTo>
                      <a:pt x="561" y="5038"/>
                    </a:lnTo>
                    <a:lnTo>
                      <a:pt x="1344" y="5150"/>
                    </a:lnTo>
                    <a:lnTo>
                      <a:pt x="2352" y="5374"/>
                    </a:lnTo>
                    <a:lnTo>
                      <a:pt x="2352" y="5374"/>
                    </a:lnTo>
                    <a:lnTo>
                      <a:pt x="2128" y="3023"/>
                    </a:lnTo>
                    <a:lnTo>
                      <a:pt x="1904" y="1"/>
                    </a:lnTo>
                    <a:close/>
                  </a:path>
                </a:pathLst>
              </a:custGeom>
              <a:solidFill>
                <a:srgbClr val="B5482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09" name="Google Shape;2009;p16"/>
              <p:cNvSpPr/>
              <p:nvPr/>
            </p:nvSpPr>
            <p:spPr>
              <a:xfrm>
                <a:off x="2212050" y="2462900"/>
                <a:ext cx="58800" cy="134350"/>
              </a:xfrm>
              <a:custGeom>
                <a:avLst/>
                <a:gdLst/>
                <a:ahLst/>
                <a:cxnLst/>
                <a:rect l="l" t="t" r="r" b="b"/>
                <a:pathLst>
                  <a:path w="2352" h="5374" fill="none" extrusionOk="0">
                    <a:moveTo>
                      <a:pt x="1904" y="1"/>
                    </a:moveTo>
                    <a:lnTo>
                      <a:pt x="1904" y="1"/>
                    </a:lnTo>
                    <a:lnTo>
                      <a:pt x="1904" y="1"/>
                    </a:lnTo>
                    <a:lnTo>
                      <a:pt x="1904" y="1"/>
                    </a:lnTo>
                    <a:lnTo>
                      <a:pt x="1792" y="560"/>
                    </a:lnTo>
                    <a:lnTo>
                      <a:pt x="1792" y="560"/>
                    </a:lnTo>
                    <a:lnTo>
                      <a:pt x="1792" y="560"/>
                    </a:lnTo>
                    <a:lnTo>
                      <a:pt x="1792" y="560"/>
                    </a:lnTo>
                    <a:lnTo>
                      <a:pt x="1456" y="1680"/>
                    </a:lnTo>
                    <a:lnTo>
                      <a:pt x="1120" y="2687"/>
                    </a:lnTo>
                    <a:lnTo>
                      <a:pt x="673" y="3695"/>
                    </a:lnTo>
                    <a:lnTo>
                      <a:pt x="113" y="4478"/>
                    </a:lnTo>
                    <a:lnTo>
                      <a:pt x="113" y="4478"/>
                    </a:lnTo>
                    <a:lnTo>
                      <a:pt x="113" y="4478"/>
                    </a:lnTo>
                    <a:lnTo>
                      <a:pt x="113" y="4478"/>
                    </a:lnTo>
                    <a:lnTo>
                      <a:pt x="113" y="4478"/>
                    </a:lnTo>
                    <a:lnTo>
                      <a:pt x="113" y="4478"/>
                    </a:lnTo>
                    <a:lnTo>
                      <a:pt x="1" y="4590"/>
                    </a:lnTo>
                    <a:lnTo>
                      <a:pt x="113" y="4814"/>
                    </a:lnTo>
                    <a:lnTo>
                      <a:pt x="561" y="5038"/>
                    </a:lnTo>
                    <a:lnTo>
                      <a:pt x="1344" y="5150"/>
                    </a:lnTo>
                    <a:lnTo>
                      <a:pt x="2352" y="5374"/>
                    </a:lnTo>
                    <a:lnTo>
                      <a:pt x="2352" y="5374"/>
                    </a:lnTo>
                    <a:lnTo>
                      <a:pt x="2352" y="5374"/>
                    </a:lnTo>
                    <a:lnTo>
                      <a:pt x="2352" y="5374"/>
                    </a:lnTo>
                    <a:lnTo>
                      <a:pt x="2128" y="3023"/>
                    </a:lnTo>
                    <a:lnTo>
                      <a:pt x="2128" y="3023"/>
                    </a:lnTo>
                    <a:lnTo>
                      <a:pt x="1904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10" name="Google Shape;2010;p16"/>
              <p:cNvSpPr/>
              <p:nvPr/>
            </p:nvSpPr>
            <p:spPr>
              <a:xfrm>
                <a:off x="2332400" y="1981575"/>
                <a:ext cx="103575" cy="117550"/>
              </a:xfrm>
              <a:custGeom>
                <a:avLst/>
                <a:gdLst/>
                <a:ahLst/>
                <a:cxnLst/>
                <a:rect l="l" t="t" r="r" b="b"/>
                <a:pathLst>
                  <a:path w="4143" h="4702" extrusionOk="0">
                    <a:moveTo>
                      <a:pt x="0" y="0"/>
                    </a:moveTo>
                    <a:lnTo>
                      <a:pt x="448" y="2351"/>
                    </a:lnTo>
                    <a:lnTo>
                      <a:pt x="560" y="2910"/>
                    </a:lnTo>
                    <a:lnTo>
                      <a:pt x="784" y="3358"/>
                    </a:lnTo>
                    <a:lnTo>
                      <a:pt x="1008" y="3694"/>
                    </a:lnTo>
                    <a:lnTo>
                      <a:pt x="1455" y="4030"/>
                    </a:lnTo>
                    <a:lnTo>
                      <a:pt x="1791" y="4254"/>
                    </a:lnTo>
                    <a:lnTo>
                      <a:pt x="2239" y="4478"/>
                    </a:lnTo>
                    <a:lnTo>
                      <a:pt x="3358" y="4702"/>
                    </a:lnTo>
                    <a:lnTo>
                      <a:pt x="3694" y="4702"/>
                    </a:lnTo>
                    <a:lnTo>
                      <a:pt x="4030" y="4478"/>
                    </a:lnTo>
                    <a:lnTo>
                      <a:pt x="4030" y="4030"/>
                    </a:lnTo>
                    <a:lnTo>
                      <a:pt x="4030" y="3582"/>
                    </a:lnTo>
                    <a:lnTo>
                      <a:pt x="3918" y="2575"/>
                    </a:lnTo>
                    <a:lnTo>
                      <a:pt x="3918" y="2239"/>
                    </a:lnTo>
                    <a:lnTo>
                      <a:pt x="4030" y="2015"/>
                    </a:lnTo>
                    <a:lnTo>
                      <a:pt x="4142" y="2015"/>
                    </a:lnTo>
                    <a:lnTo>
                      <a:pt x="4142" y="1903"/>
                    </a:lnTo>
                    <a:lnTo>
                      <a:pt x="4030" y="1455"/>
                    </a:lnTo>
                    <a:lnTo>
                      <a:pt x="3582" y="896"/>
                    </a:lnTo>
                    <a:lnTo>
                      <a:pt x="3135" y="0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11" name="Google Shape;2011;p16"/>
              <p:cNvSpPr/>
              <p:nvPr/>
            </p:nvSpPr>
            <p:spPr>
              <a:xfrm>
                <a:off x="2013375" y="1925600"/>
                <a:ext cx="405800" cy="246275"/>
              </a:xfrm>
              <a:custGeom>
                <a:avLst/>
                <a:gdLst/>
                <a:ahLst/>
                <a:cxnLst/>
                <a:rect l="l" t="t" r="r" b="b"/>
                <a:pathLst>
                  <a:path w="16232" h="9851" extrusionOk="0">
                    <a:moveTo>
                      <a:pt x="12649" y="0"/>
                    </a:moveTo>
                    <a:lnTo>
                      <a:pt x="12202" y="112"/>
                    </a:lnTo>
                    <a:lnTo>
                      <a:pt x="11866" y="336"/>
                    </a:lnTo>
                    <a:lnTo>
                      <a:pt x="11418" y="560"/>
                    </a:lnTo>
                    <a:lnTo>
                      <a:pt x="10858" y="1120"/>
                    </a:lnTo>
                    <a:lnTo>
                      <a:pt x="10299" y="1791"/>
                    </a:lnTo>
                    <a:lnTo>
                      <a:pt x="9403" y="3247"/>
                    </a:lnTo>
                    <a:lnTo>
                      <a:pt x="9067" y="3806"/>
                    </a:lnTo>
                    <a:lnTo>
                      <a:pt x="8731" y="4030"/>
                    </a:lnTo>
                    <a:lnTo>
                      <a:pt x="8284" y="4142"/>
                    </a:lnTo>
                    <a:lnTo>
                      <a:pt x="7836" y="4142"/>
                    </a:lnTo>
                    <a:lnTo>
                      <a:pt x="7052" y="4030"/>
                    </a:lnTo>
                    <a:lnTo>
                      <a:pt x="5709" y="3918"/>
                    </a:lnTo>
                    <a:lnTo>
                      <a:pt x="5038" y="4030"/>
                    </a:lnTo>
                    <a:lnTo>
                      <a:pt x="4590" y="4254"/>
                    </a:lnTo>
                    <a:lnTo>
                      <a:pt x="4366" y="4590"/>
                    </a:lnTo>
                    <a:lnTo>
                      <a:pt x="4254" y="4926"/>
                    </a:lnTo>
                    <a:lnTo>
                      <a:pt x="4030" y="5709"/>
                    </a:lnTo>
                    <a:lnTo>
                      <a:pt x="3918" y="5933"/>
                    </a:lnTo>
                    <a:lnTo>
                      <a:pt x="3694" y="6157"/>
                    </a:lnTo>
                    <a:lnTo>
                      <a:pt x="3358" y="6157"/>
                    </a:lnTo>
                    <a:lnTo>
                      <a:pt x="2911" y="6045"/>
                    </a:lnTo>
                    <a:lnTo>
                      <a:pt x="2463" y="5933"/>
                    </a:lnTo>
                    <a:lnTo>
                      <a:pt x="1903" y="6045"/>
                    </a:lnTo>
                    <a:lnTo>
                      <a:pt x="1232" y="6381"/>
                    </a:lnTo>
                    <a:lnTo>
                      <a:pt x="560" y="6717"/>
                    </a:lnTo>
                    <a:lnTo>
                      <a:pt x="112" y="7276"/>
                    </a:lnTo>
                    <a:lnTo>
                      <a:pt x="0" y="7500"/>
                    </a:lnTo>
                    <a:lnTo>
                      <a:pt x="0" y="7724"/>
                    </a:lnTo>
                    <a:lnTo>
                      <a:pt x="112" y="8060"/>
                    </a:lnTo>
                    <a:lnTo>
                      <a:pt x="336" y="8284"/>
                    </a:lnTo>
                    <a:lnTo>
                      <a:pt x="784" y="8620"/>
                    </a:lnTo>
                    <a:lnTo>
                      <a:pt x="1344" y="8843"/>
                    </a:lnTo>
                    <a:lnTo>
                      <a:pt x="2799" y="9403"/>
                    </a:lnTo>
                    <a:lnTo>
                      <a:pt x="4702" y="9739"/>
                    </a:lnTo>
                    <a:lnTo>
                      <a:pt x="5597" y="9739"/>
                    </a:lnTo>
                    <a:lnTo>
                      <a:pt x="6605" y="9851"/>
                    </a:lnTo>
                    <a:lnTo>
                      <a:pt x="7724" y="9739"/>
                    </a:lnTo>
                    <a:lnTo>
                      <a:pt x="8731" y="9627"/>
                    </a:lnTo>
                    <a:lnTo>
                      <a:pt x="10411" y="9179"/>
                    </a:lnTo>
                    <a:lnTo>
                      <a:pt x="11642" y="8620"/>
                    </a:lnTo>
                    <a:lnTo>
                      <a:pt x="12425" y="8060"/>
                    </a:lnTo>
                    <a:lnTo>
                      <a:pt x="12873" y="7500"/>
                    </a:lnTo>
                    <a:lnTo>
                      <a:pt x="13209" y="6941"/>
                    </a:lnTo>
                    <a:lnTo>
                      <a:pt x="13321" y="6381"/>
                    </a:lnTo>
                    <a:lnTo>
                      <a:pt x="13321" y="5933"/>
                    </a:lnTo>
                    <a:lnTo>
                      <a:pt x="13545" y="5485"/>
                    </a:lnTo>
                    <a:lnTo>
                      <a:pt x="13657" y="5149"/>
                    </a:lnTo>
                    <a:lnTo>
                      <a:pt x="13657" y="4926"/>
                    </a:lnTo>
                    <a:lnTo>
                      <a:pt x="13545" y="4702"/>
                    </a:lnTo>
                    <a:lnTo>
                      <a:pt x="13321" y="4142"/>
                    </a:lnTo>
                    <a:lnTo>
                      <a:pt x="13209" y="3918"/>
                    </a:lnTo>
                    <a:lnTo>
                      <a:pt x="13433" y="3694"/>
                    </a:lnTo>
                    <a:lnTo>
                      <a:pt x="13657" y="3582"/>
                    </a:lnTo>
                    <a:lnTo>
                      <a:pt x="13993" y="3582"/>
                    </a:lnTo>
                    <a:lnTo>
                      <a:pt x="14216" y="3806"/>
                    </a:lnTo>
                    <a:lnTo>
                      <a:pt x="14328" y="3918"/>
                    </a:lnTo>
                    <a:lnTo>
                      <a:pt x="14664" y="3918"/>
                    </a:lnTo>
                    <a:lnTo>
                      <a:pt x="14776" y="3806"/>
                    </a:lnTo>
                    <a:lnTo>
                      <a:pt x="15448" y="3358"/>
                    </a:lnTo>
                    <a:lnTo>
                      <a:pt x="15896" y="2911"/>
                    </a:lnTo>
                    <a:lnTo>
                      <a:pt x="16231" y="2463"/>
                    </a:lnTo>
                    <a:lnTo>
                      <a:pt x="16231" y="2239"/>
                    </a:lnTo>
                    <a:lnTo>
                      <a:pt x="16231" y="2015"/>
                    </a:lnTo>
                    <a:lnTo>
                      <a:pt x="16008" y="1455"/>
                    </a:lnTo>
                    <a:lnTo>
                      <a:pt x="15672" y="1008"/>
                    </a:lnTo>
                    <a:lnTo>
                      <a:pt x="15112" y="560"/>
                    </a:lnTo>
                    <a:lnTo>
                      <a:pt x="14328" y="224"/>
                    </a:lnTo>
                    <a:lnTo>
                      <a:pt x="13769" y="112"/>
                    </a:lnTo>
                    <a:lnTo>
                      <a:pt x="13209" y="0"/>
                    </a:lnTo>
                    <a:close/>
                  </a:path>
                </a:pathLst>
              </a:custGeom>
              <a:solidFill>
                <a:srgbClr val="8A3A1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12" name="Google Shape;2012;p16"/>
              <p:cNvSpPr/>
              <p:nvPr/>
            </p:nvSpPr>
            <p:spPr>
              <a:xfrm>
                <a:off x="3893950" y="3156925"/>
                <a:ext cx="86775" cy="145550"/>
              </a:xfrm>
              <a:custGeom>
                <a:avLst/>
                <a:gdLst/>
                <a:ahLst/>
                <a:cxnLst/>
                <a:rect l="l" t="t" r="r" b="b"/>
                <a:pathLst>
                  <a:path w="3471" h="5822" extrusionOk="0">
                    <a:moveTo>
                      <a:pt x="3246" y="0"/>
                    </a:moveTo>
                    <a:lnTo>
                      <a:pt x="0" y="112"/>
                    </a:lnTo>
                    <a:lnTo>
                      <a:pt x="448" y="4590"/>
                    </a:lnTo>
                    <a:lnTo>
                      <a:pt x="2575" y="5821"/>
                    </a:lnTo>
                    <a:lnTo>
                      <a:pt x="3470" y="4142"/>
                    </a:lnTo>
                    <a:lnTo>
                      <a:pt x="3470" y="3023"/>
                    </a:lnTo>
                    <a:lnTo>
                      <a:pt x="3358" y="1568"/>
                    </a:lnTo>
                    <a:lnTo>
                      <a:pt x="3246" y="0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13" name="Google Shape;2013;p16"/>
              <p:cNvSpPr/>
              <p:nvPr/>
            </p:nvSpPr>
            <p:spPr>
              <a:xfrm>
                <a:off x="3893950" y="3246475"/>
                <a:ext cx="232300" cy="95175"/>
              </a:xfrm>
              <a:custGeom>
                <a:avLst/>
                <a:gdLst/>
                <a:ahLst/>
                <a:cxnLst/>
                <a:rect l="l" t="t" r="r" b="b"/>
                <a:pathLst>
                  <a:path w="9292" h="3807" extrusionOk="0">
                    <a:moveTo>
                      <a:pt x="3694" y="1"/>
                    </a:moveTo>
                    <a:lnTo>
                      <a:pt x="2687" y="224"/>
                    </a:lnTo>
                    <a:lnTo>
                      <a:pt x="1679" y="336"/>
                    </a:lnTo>
                    <a:lnTo>
                      <a:pt x="1008" y="336"/>
                    </a:lnTo>
                    <a:lnTo>
                      <a:pt x="336" y="448"/>
                    </a:lnTo>
                    <a:lnTo>
                      <a:pt x="224" y="560"/>
                    </a:lnTo>
                    <a:lnTo>
                      <a:pt x="112" y="784"/>
                    </a:lnTo>
                    <a:lnTo>
                      <a:pt x="0" y="1456"/>
                    </a:lnTo>
                    <a:lnTo>
                      <a:pt x="0" y="2351"/>
                    </a:lnTo>
                    <a:lnTo>
                      <a:pt x="112" y="3247"/>
                    </a:lnTo>
                    <a:lnTo>
                      <a:pt x="224" y="3471"/>
                    </a:lnTo>
                    <a:lnTo>
                      <a:pt x="336" y="3695"/>
                    </a:lnTo>
                    <a:lnTo>
                      <a:pt x="560" y="3806"/>
                    </a:lnTo>
                    <a:lnTo>
                      <a:pt x="784" y="3806"/>
                    </a:lnTo>
                    <a:lnTo>
                      <a:pt x="4478" y="3695"/>
                    </a:lnTo>
                    <a:lnTo>
                      <a:pt x="6717" y="3583"/>
                    </a:lnTo>
                    <a:lnTo>
                      <a:pt x="7612" y="3359"/>
                    </a:lnTo>
                    <a:lnTo>
                      <a:pt x="8508" y="3135"/>
                    </a:lnTo>
                    <a:lnTo>
                      <a:pt x="8955" y="2911"/>
                    </a:lnTo>
                    <a:lnTo>
                      <a:pt x="9179" y="2687"/>
                    </a:lnTo>
                    <a:lnTo>
                      <a:pt x="9291" y="2351"/>
                    </a:lnTo>
                    <a:lnTo>
                      <a:pt x="9291" y="2127"/>
                    </a:lnTo>
                    <a:lnTo>
                      <a:pt x="9179" y="1792"/>
                    </a:lnTo>
                    <a:lnTo>
                      <a:pt x="9067" y="1568"/>
                    </a:lnTo>
                    <a:lnTo>
                      <a:pt x="8731" y="1344"/>
                    </a:lnTo>
                    <a:lnTo>
                      <a:pt x="7724" y="1344"/>
                    </a:lnTo>
                    <a:lnTo>
                      <a:pt x="6157" y="1456"/>
                    </a:lnTo>
                    <a:lnTo>
                      <a:pt x="5485" y="1456"/>
                    </a:lnTo>
                    <a:lnTo>
                      <a:pt x="4702" y="1344"/>
                    </a:lnTo>
                    <a:lnTo>
                      <a:pt x="4254" y="1120"/>
                    </a:lnTo>
                    <a:lnTo>
                      <a:pt x="4030" y="1008"/>
                    </a:lnTo>
                    <a:lnTo>
                      <a:pt x="4030" y="784"/>
                    </a:lnTo>
                    <a:lnTo>
                      <a:pt x="3918" y="224"/>
                    </a:lnTo>
                    <a:lnTo>
                      <a:pt x="3806" y="112"/>
                    </a:lnTo>
                    <a:lnTo>
                      <a:pt x="3694" y="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14" name="Google Shape;2014;p16"/>
              <p:cNvSpPr/>
              <p:nvPr/>
            </p:nvSpPr>
            <p:spPr>
              <a:xfrm>
                <a:off x="3062800" y="3005800"/>
                <a:ext cx="142750" cy="120375"/>
              </a:xfrm>
              <a:custGeom>
                <a:avLst/>
                <a:gdLst/>
                <a:ahLst/>
                <a:cxnLst/>
                <a:rect l="l" t="t" r="r" b="b"/>
                <a:pathLst>
                  <a:path w="5710" h="4815" extrusionOk="0">
                    <a:moveTo>
                      <a:pt x="4366" y="1"/>
                    </a:moveTo>
                    <a:lnTo>
                      <a:pt x="336" y="2351"/>
                    </a:lnTo>
                    <a:lnTo>
                      <a:pt x="0" y="4814"/>
                    </a:lnTo>
                    <a:lnTo>
                      <a:pt x="1903" y="4814"/>
                    </a:lnTo>
                    <a:lnTo>
                      <a:pt x="4254" y="3583"/>
                    </a:lnTo>
                    <a:lnTo>
                      <a:pt x="5709" y="2799"/>
                    </a:lnTo>
                    <a:lnTo>
                      <a:pt x="4366" y="1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15" name="Google Shape;2015;p16"/>
              <p:cNvSpPr/>
              <p:nvPr/>
            </p:nvSpPr>
            <p:spPr>
              <a:xfrm>
                <a:off x="3006825" y="3056175"/>
                <a:ext cx="131550" cy="232300"/>
              </a:xfrm>
              <a:custGeom>
                <a:avLst/>
                <a:gdLst/>
                <a:ahLst/>
                <a:cxnLst/>
                <a:rect l="l" t="t" r="r" b="b"/>
                <a:pathLst>
                  <a:path w="5262" h="9292" extrusionOk="0">
                    <a:moveTo>
                      <a:pt x="2687" y="1"/>
                    </a:moveTo>
                    <a:lnTo>
                      <a:pt x="1904" y="225"/>
                    </a:lnTo>
                    <a:lnTo>
                      <a:pt x="1120" y="672"/>
                    </a:lnTo>
                    <a:lnTo>
                      <a:pt x="336" y="1232"/>
                    </a:lnTo>
                    <a:lnTo>
                      <a:pt x="112" y="1344"/>
                    </a:lnTo>
                    <a:lnTo>
                      <a:pt x="112" y="1568"/>
                    </a:lnTo>
                    <a:lnTo>
                      <a:pt x="1" y="1792"/>
                    </a:lnTo>
                    <a:lnTo>
                      <a:pt x="112" y="2016"/>
                    </a:lnTo>
                    <a:lnTo>
                      <a:pt x="3359" y="8620"/>
                    </a:lnTo>
                    <a:lnTo>
                      <a:pt x="3583" y="8956"/>
                    </a:lnTo>
                    <a:lnTo>
                      <a:pt x="3918" y="9180"/>
                    </a:lnTo>
                    <a:lnTo>
                      <a:pt x="4254" y="9292"/>
                    </a:lnTo>
                    <a:lnTo>
                      <a:pt x="4590" y="9180"/>
                    </a:lnTo>
                    <a:lnTo>
                      <a:pt x="4926" y="8956"/>
                    </a:lnTo>
                    <a:lnTo>
                      <a:pt x="5150" y="8844"/>
                    </a:lnTo>
                    <a:lnTo>
                      <a:pt x="5262" y="8620"/>
                    </a:lnTo>
                    <a:lnTo>
                      <a:pt x="5262" y="8396"/>
                    </a:lnTo>
                    <a:lnTo>
                      <a:pt x="4926" y="7501"/>
                    </a:lnTo>
                    <a:lnTo>
                      <a:pt x="4366" y="5933"/>
                    </a:lnTo>
                    <a:lnTo>
                      <a:pt x="4142" y="5150"/>
                    </a:lnTo>
                    <a:lnTo>
                      <a:pt x="3918" y="4366"/>
                    </a:lnTo>
                    <a:lnTo>
                      <a:pt x="4030" y="3807"/>
                    </a:lnTo>
                    <a:lnTo>
                      <a:pt x="4030" y="3583"/>
                    </a:lnTo>
                    <a:lnTo>
                      <a:pt x="4254" y="3359"/>
                    </a:lnTo>
                    <a:lnTo>
                      <a:pt x="4702" y="3023"/>
                    </a:lnTo>
                    <a:lnTo>
                      <a:pt x="4814" y="2911"/>
                    </a:lnTo>
                    <a:lnTo>
                      <a:pt x="4702" y="2799"/>
                    </a:lnTo>
                    <a:lnTo>
                      <a:pt x="4142" y="1904"/>
                    </a:lnTo>
                    <a:lnTo>
                      <a:pt x="3695" y="1232"/>
                    </a:lnTo>
                    <a:lnTo>
                      <a:pt x="3359" y="560"/>
                    </a:lnTo>
                    <a:lnTo>
                      <a:pt x="3023" y="113"/>
                    </a:lnTo>
                    <a:lnTo>
                      <a:pt x="2911" y="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16" name="Google Shape;2016;p16"/>
              <p:cNvSpPr/>
              <p:nvPr/>
            </p:nvSpPr>
            <p:spPr>
              <a:xfrm>
                <a:off x="3101975" y="2272600"/>
                <a:ext cx="920725" cy="968300"/>
              </a:xfrm>
              <a:custGeom>
                <a:avLst/>
                <a:gdLst/>
                <a:ahLst/>
                <a:cxnLst/>
                <a:rect l="l" t="t" r="r" b="b"/>
                <a:pathLst>
                  <a:path w="36829" h="38732" extrusionOk="0">
                    <a:moveTo>
                      <a:pt x="15896" y="1"/>
                    </a:moveTo>
                    <a:lnTo>
                      <a:pt x="15112" y="113"/>
                    </a:lnTo>
                    <a:lnTo>
                      <a:pt x="14329" y="225"/>
                    </a:lnTo>
                    <a:lnTo>
                      <a:pt x="13769" y="448"/>
                    </a:lnTo>
                    <a:lnTo>
                      <a:pt x="13321" y="672"/>
                    </a:lnTo>
                    <a:lnTo>
                      <a:pt x="13209" y="1008"/>
                    </a:lnTo>
                    <a:lnTo>
                      <a:pt x="12873" y="2128"/>
                    </a:lnTo>
                    <a:lnTo>
                      <a:pt x="12762" y="2687"/>
                    </a:lnTo>
                    <a:lnTo>
                      <a:pt x="12762" y="3135"/>
                    </a:lnTo>
                    <a:lnTo>
                      <a:pt x="12762" y="3695"/>
                    </a:lnTo>
                    <a:lnTo>
                      <a:pt x="13769" y="8732"/>
                    </a:lnTo>
                    <a:lnTo>
                      <a:pt x="14441" y="11754"/>
                    </a:lnTo>
                    <a:lnTo>
                      <a:pt x="15000" y="14665"/>
                    </a:lnTo>
                    <a:lnTo>
                      <a:pt x="15112" y="16120"/>
                    </a:lnTo>
                    <a:lnTo>
                      <a:pt x="15224" y="17351"/>
                    </a:lnTo>
                    <a:lnTo>
                      <a:pt x="15112" y="18583"/>
                    </a:lnTo>
                    <a:lnTo>
                      <a:pt x="14888" y="19590"/>
                    </a:lnTo>
                    <a:lnTo>
                      <a:pt x="14664" y="19926"/>
                    </a:lnTo>
                    <a:lnTo>
                      <a:pt x="14217" y="20374"/>
                    </a:lnTo>
                    <a:lnTo>
                      <a:pt x="12650" y="21493"/>
                    </a:lnTo>
                    <a:lnTo>
                      <a:pt x="10523" y="22836"/>
                    </a:lnTo>
                    <a:lnTo>
                      <a:pt x="8060" y="24403"/>
                    </a:lnTo>
                    <a:lnTo>
                      <a:pt x="3135" y="27314"/>
                    </a:lnTo>
                    <a:lnTo>
                      <a:pt x="1232" y="28545"/>
                    </a:lnTo>
                    <a:lnTo>
                      <a:pt x="560" y="29105"/>
                    </a:lnTo>
                    <a:lnTo>
                      <a:pt x="0" y="29553"/>
                    </a:lnTo>
                    <a:lnTo>
                      <a:pt x="112" y="29888"/>
                    </a:lnTo>
                    <a:lnTo>
                      <a:pt x="336" y="30448"/>
                    </a:lnTo>
                    <a:lnTo>
                      <a:pt x="1120" y="32015"/>
                    </a:lnTo>
                    <a:lnTo>
                      <a:pt x="1568" y="32799"/>
                    </a:lnTo>
                    <a:lnTo>
                      <a:pt x="2127" y="33471"/>
                    </a:lnTo>
                    <a:lnTo>
                      <a:pt x="2687" y="33806"/>
                    </a:lnTo>
                    <a:lnTo>
                      <a:pt x="2911" y="33918"/>
                    </a:lnTo>
                    <a:lnTo>
                      <a:pt x="3135" y="33918"/>
                    </a:lnTo>
                    <a:lnTo>
                      <a:pt x="5709" y="32575"/>
                    </a:lnTo>
                    <a:lnTo>
                      <a:pt x="8284" y="31008"/>
                    </a:lnTo>
                    <a:lnTo>
                      <a:pt x="11418" y="29217"/>
                    </a:lnTo>
                    <a:lnTo>
                      <a:pt x="14553" y="27202"/>
                    </a:lnTo>
                    <a:lnTo>
                      <a:pt x="17351" y="25075"/>
                    </a:lnTo>
                    <a:lnTo>
                      <a:pt x="18582" y="24180"/>
                    </a:lnTo>
                    <a:lnTo>
                      <a:pt x="19478" y="23172"/>
                    </a:lnTo>
                    <a:lnTo>
                      <a:pt x="20261" y="22389"/>
                    </a:lnTo>
                    <a:lnTo>
                      <a:pt x="20709" y="21605"/>
                    </a:lnTo>
                    <a:lnTo>
                      <a:pt x="21045" y="20374"/>
                    </a:lnTo>
                    <a:lnTo>
                      <a:pt x="21381" y="19142"/>
                    </a:lnTo>
                    <a:lnTo>
                      <a:pt x="21605" y="17799"/>
                    </a:lnTo>
                    <a:lnTo>
                      <a:pt x="21717" y="16344"/>
                    </a:lnTo>
                    <a:lnTo>
                      <a:pt x="21829" y="13321"/>
                    </a:lnTo>
                    <a:lnTo>
                      <a:pt x="21717" y="10187"/>
                    </a:lnTo>
                    <a:lnTo>
                      <a:pt x="23172" y="11754"/>
                    </a:lnTo>
                    <a:lnTo>
                      <a:pt x="26194" y="15113"/>
                    </a:lnTo>
                    <a:lnTo>
                      <a:pt x="27537" y="16904"/>
                    </a:lnTo>
                    <a:lnTo>
                      <a:pt x="28881" y="18583"/>
                    </a:lnTo>
                    <a:lnTo>
                      <a:pt x="30000" y="20150"/>
                    </a:lnTo>
                    <a:lnTo>
                      <a:pt x="30784" y="21605"/>
                    </a:lnTo>
                    <a:lnTo>
                      <a:pt x="30896" y="22053"/>
                    </a:lnTo>
                    <a:lnTo>
                      <a:pt x="31008" y="22836"/>
                    </a:lnTo>
                    <a:lnTo>
                      <a:pt x="31119" y="24739"/>
                    </a:lnTo>
                    <a:lnTo>
                      <a:pt x="31119" y="27202"/>
                    </a:lnTo>
                    <a:lnTo>
                      <a:pt x="31008" y="30000"/>
                    </a:lnTo>
                    <a:lnTo>
                      <a:pt x="30896" y="35150"/>
                    </a:lnTo>
                    <a:lnTo>
                      <a:pt x="30896" y="37165"/>
                    </a:lnTo>
                    <a:lnTo>
                      <a:pt x="31008" y="38396"/>
                    </a:lnTo>
                    <a:lnTo>
                      <a:pt x="31343" y="38508"/>
                    </a:lnTo>
                    <a:lnTo>
                      <a:pt x="32351" y="38732"/>
                    </a:lnTo>
                    <a:lnTo>
                      <a:pt x="33918" y="38732"/>
                    </a:lnTo>
                    <a:lnTo>
                      <a:pt x="34925" y="38620"/>
                    </a:lnTo>
                    <a:lnTo>
                      <a:pt x="36045" y="38284"/>
                    </a:lnTo>
                    <a:lnTo>
                      <a:pt x="36604" y="29329"/>
                    </a:lnTo>
                    <a:lnTo>
                      <a:pt x="36828" y="23060"/>
                    </a:lnTo>
                    <a:lnTo>
                      <a:pt x="36828" y="20709"/>
                    </a:lnTo>
                    <a:lnTo>
                      <a:pt x="36716" y="19142"/>
                    </a:lnTo>
                    <a:lnTo>
                      <a:pt x="36493" y="18359"/>
                    </a:lnTo>
                    <a:lnTo>
                      <a:pt x="36157" y="17575"/>
                    </a:lnTo>
                    <a:lnTo>
                      <a:pt x="35261" y="15672"/>
                    </a:lnTo>
                    <a:lnTo>
                      <a:pt x="33918" y="13545"/>
                    </a:lnTo>
                    <a:lnTo>
                      <a:pt x="32351" y="11195"/>
                    </a:lnTo>
                    <a:lnTo>
                      <a:pt x="28769" y="5934"/>
                    </a:lnTo>
                    <a:lnTo>
                      <a:pt x="24851" y="560"/>
                    </a:lnTo>
                    <a:lnTo>
                      <a:pt x="24403" y="896"/>
                    </a:lnTo>
                    <a:lnTo>
                      <a:pt x="23843" y="1232"/>
                    </a:lnTo>
                    <a:lnTo>
                      <a:pt x="23060" y="1568"/>
                    </a:lnTo>
                    <a:lnTo>
                      <a:pt x="22164" y="1792"/>
                    </a:lnTo>
                    <a:lnTo>
                      <a:pt x="21045" y="1792"/>
                    </a:lnTo>
                    <a:lnTo>
                      <a:pt x="20485" y="1568"/>
                    </a:lnTo>
                    <a:lnTo>
                      <a:pt x="19814" y="1456"/>
                    </a:lnTo>
                    <a:lnTo>
                      <a:pt x="19142" y="1120"/>
                    </a:lnTo>
                    <a:lnTo>
                      <a:pt x="18358" y="672"/>
                    </a:lnTo>
                    <a:lnTo>
                      <a:pt x="17575" y="337"/>
                    </a:lnTo>
                    <a:lnTo>
                      <a:pt x="16791" y="113"/>
                    </a:lnTo>
                    <a:lnTo>
                      <a:pt x="15896" y="1"/>
                    </a:lnTo>
                    <a:close/>
                  </a:path>
                </a:pathLst>
              </a:custGeom>
              <a:solidFill>
                <a:srgbClr val="46464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17" name="Google Shape;2017;p16"/>
              <p:cNvSpPr/>
              <p:nvPr/>
            </p:nvSpPr>
            <p:spPr>
              <a:xfrm>
                <a:off x="3101975" y="2272600"/>
                <a:ext cx="920725" cy="968300"/>
              </a:xfrm>
              <a:custGeom>
                <a:avLst/>
                <a:gdLst/>
                <a:ahLst/>
                <a:cxnLst/>
                <a:rect l="l" t="t" r="r" b="b"/>
                <a:pathLst>
                  <a:path w="36829" h="38732" fill="none" extrusionOk="0">
                    <a:moveTo>
                      <a:pt x="36045" y="38284"/>
                    </a:moveTo>
                    <a:lnTo>
                      <a:pt x="36045" y="38284"/>
                    </a:lnTo>
                    <a:lnTo>
                      <a:pt x="34925" y="38620"/>
                    </a:lnTo>
                    <a:lnTo>
                      <a:pt x="33918" y="38732"/>
                    </a:lnTo>
                    <a:lnTo>
                      <a:pt x="33022" y="38732"/>
                    </a:lnTo>
                    <a:lnTo>
                      <a:pt x="32351" y="38732"/>
                    </a:lnTo>
                    <a:lnTo>
                      <a:pt x="31343" y="38508"/>
                    </a:lnTo>
                    <a:lnTo>
                      <a:pt x="31008" y="38396"/>
                    </a:lnTo>
                    <a:lnTo>
                      <a:pt x="31008" y="38396"/>
                    </a:lnTo>
                    <a:lnTo>
                      <a:pt x="30896" y="37165"/>
                    </a:lnTo>
                    <a:lnTo>
                      <a:pt x="30896" y="35150"/>
                    </a:lnTo>
                    <a:lnTo>
                      <a:pt x="31008" y="30000"/>
                    </a:lnTo>
                    <a:lnTo>
                      <a:pt x="31119" y="27202"/>
                    </a:lnTo>
                    <a:lnTo>
                      <a:pt x="31119" y="24739"/>
                    </a:lnTo>
                    <a:lnTo>
                      <a:pt x="31008" y="22836"/>
                    </a:lnTo>
                    <a:lnTo>
                      <a:pt x="30896" y="22053"/>
                    </a:lnTo>
                    <a:lnTo>
                      <a:pt x="30784" y="21605"/>
                    </a:lnTo>
                    <a:lnTo>
                      <a:pt x="30784" y="21605"/>
                    </a:lnTo>
                    <a:lnTo>
                      <a:pt x="30000" y="20150"/>
                    </a:lnTo>
                    <a:lnTo>
                      <a:pt x="28881" y="18583"/>
                    </a:lnTo>
                    <a:lnTo>
                      <a:pt x="27537" y="16904"/>
                    </a:lnTo>
                    <a:lnTo>
                      <a:pt x="26194" y="15113"/>
                    </a:lnTo>
                    <a:lnTo>
                      <a:pt x="26194" y="15113"/>
                    </a:lnTo>
                    <a:lnTo>
                      <a:pt x="23172" y="11754"/>
                    </a:lnTo>
                    <a:lnTo>
                      <a:pt x="21717" y="10187"/>
                    </a:lnTo>
                    <a:lnTo>
                      <a:pt x="21717" y="10187"/>
                    </a:lnTo>
                    <a:lnTo>
                      <a:pt x="21717" y="10187"/>
                    </a:lnTo>
                    <a:lnTo>
                      <a:pt x="21829" y="13321"/>
                    </a:lnTo>
                    <a:lnTo>
                      <a:pt x="21717" y="16344"/>
                    </a:lnTo>
                    <a:lnTo>
                      <a:pt x="21605" y="17799"/>
                    </a:lnTo>
                    <a:lnTo>
                      <a:pt x="21381" y="19142"/>
                    </a:lnTo>
                    <a:lnTo>
                      <a:pt x="21045" y="20374"/>
                    </a:lnTo>
                    <a:lnTo>
                      <a:pt x="20709" y="21605"/>
                    </a:lnTo>
                    <a:lnTo>
                      <a:pt x="20709" y="21605"/>
                    </a:lnTo>
                    <a:lnTo>
                      <a:pt x="20261" y="22389"/>
                    </a:lnTo>
                    <a:lnTo>
                      <a:pt x="19478" y="23172"/>
                    </a:lnTo>
                    <a:lnTo>
                      <a:pt x="18582" y="24180"/>
                    </a:lnTo>
                    <a:lnTo>
                      <a:pt x="17351" y="25075"/>
                    </a:lnTo>
                    <a:lnTo>
                      <a:pt x="14553" y="27202"/>
                    </a:lnTo>
                    <a:lnTo>
                      <a:pt x="11418" y="29217"/>
                    </a:lnTo>
                    <a:lnTo>
                      <a:pt x="8284" y="31008"/>
                    </a:lnTo>
                    <a:lnTo>
                      <a:pt x="5709" y="32575"/>
                    </a:lnTo>
                    <a:lnTo>
                      <a:pt x="3135" y="33918"/>
                    </a:lnTo>
                    <a:lnTo>
                      <a:pt x="3135" y="33918"/>
                    </a:lnTo>
                    <a:lnTo>
                      <a:pt x="2911" y="33918"/>
                    </a:lnTo>
                    <a:lnTo>
                      <a:pt x="2687" y="33806"/>
                    </a:lnTo>
                    <a:lnTo>
                      <a:pt x="2127" y="33471"/>
                    </a:lnTo>
                    <a:lnTo>
                      <a:pt x="1568" y="32799"/>
                    </a:lnTo>
                    <a:lnTo>
                      <a:pt x="1120" y="32015"/>
                    </a:lnTo>
                    <a:lnTo>
                      <a:pt x="336" y="30448"/>
                    </a:lnTo>
                    <a:lnTo>
                      <a:pt x="112" y="29888"/>
                    </a:lnTo>
                    <a:lnTo>
                      <a:pt x="0" y="29553"/>
                    </a:lnTo>
                    <a:lnTo>
                      <a:pt x="0" y="29553"/>
                    </a:lnTo>
                    <a:lnTo>
                      <a:pt x="560" y="29105"/>
                    </a:lnTo>
                    <a:lnTo>
                      <a:pt x="1232" y="28545"/>
                    </a:lnTo>
                    <a:lnTo>
                      <a:pt x="3135" y="27314"/>
                    </a:lnTo>
                    <a:lnTo>
                      <a:pt x="8060" y="24403"/>
                    </a:lnTo>
                    <a:lnTo>
                      <a:pt x="10523" y="22836"/>
                    </a:lnTo>
                    <a:lnTo>
                      <a:pt x="12650" y="21493"/>
                    </a:lnTo>
                    <a:lnTo>
                      <a:pt x="14217" y="20374"/>
                    </a:lnTo>
                    <a:lnTo>
                      <a:pt x="14664" y="19926"/>
                    </a:lnTo>
                    <a:lnTo>
                      <a:pt x="14888" y="19590"/>
                    </a:lnTo>
                    <a:lnTo>
                      <a:pt x="14888" y="19590"/>
                    </a:lnTo>
                    <a:lnTo>
                      <a:pt x="15112" y="18583"/>
                    </a:lnTo>
                    <a:lnTo>
                      <a:pt x="15224" y="17351"/>
                    </a:lnTo>
                    <a:lnTo>
                      <a:pt x="15112" y="16120"/>
                    </a:lnTo>
                    <a:lnTo>
                      <a:pt x="15000" y="14665"/>
                    </a:lnTo>
                    <a:lnTo>
                      <a:pt x="14441" y="11754"/>
                    </a:lnTo>
                    <a:lnTo>
                      <a:pt x="13769" y="8732"/>
                    </a:lnTo>
                    <a:lnTo>
                      <a:pt x="13769" y="8732"/>
                    </a:lnTo>
                    <a:lnTo>
                      <a:pt x="12762" y="3695"/>
                    </a:lnTo>
                    <a:lnTo>
                      <a:pt x="12762" y="3695"/>
                    </a:lnTo>
                    <a:lnTo>
                      <a:pt x="12762" y="3135"/>
                    </a:lnTo>
                    <a:lnTo>
                      <a:pt x="12762" y="3135"/>
                    </a:lnTo>
                    <a:lnTo>
                      <a:pt x="12762" y="2687"/>
                    </a:lnTo>
                    <a:lnTo>
                      <a:pt x="12873" y="2128"/>
                    </a:lnTo>
                    <a:lnTo>
                      <a:pt x="13209" y="1008"/>
                    </a:lnTo>
                    <a:lnTo>
                      <a:pt x="13209" y="1008"/>
                    </a:lnTo>
                    <a:lnTo>
                      <a:pt x="13321" y="672"/>
                    </a:lnTo>
                    <a:lnTo>
                      <a:pt x="13769" y="448"/>
                    </a:lnTo>
                    <a:lnTo>
                      <a:pt x="14329" y="225"/>
                    </a:lnTo>
                    <a:lnTo>
                      <a:pt x="15112" y="113"/>
                    </a:lnTo>
                    <a:lnTo>
                      <a:pt x="15896" y="1"/>
                    </a:lnTo>
                    <a:lnTo>
                      <a:pt x="16791" y="113"/>
                    </a:lnTo>
                    <a:lnTo>
                      <a:pt x="17575" y="337"/>
                    </a:lnTo>
                    <a:lnTo>
                      <a:pt x="18358" y="672"/>
                    </a:lnTo>
                    <a:lnTo>
                      <a:pt x="18358" y="672"/>
                    </a:lnTo>
                    <a:lnTo>
                      <a:pt x="19142" y="1120"/>
                    </a:lnTo>
                    <a:lnTo>
                      <a:pt x="19814" y="1456"/>
                    </a:lnTo>
                    <a:lnTo>
                      <a:pt x="20485" y="1568"/>
                    </a:lnTo>
                    <a:lnTo>
                      <a:pt x="21045" y="1792"/>
                    </a:lnTo>
                    <a:lnTo>
                      <a:pt x="21605" y="1792"/>
                    </a:lnTo>
                    <a:lnTo>
                      <a:pt x="22164" y="1792"/>
                    </a:lnTo>
                    <a:lnTo>
                      <a:pt x="23060" y="1568"/>
                    </a:lnTo>
                    <a:lnTo>
                      <a:pt x="23843" y="1232"/>
                    </a:lnTo>
                    <a:lnTo>
                      <a:pt x="24403" y="896"/>
                    </a:lnTo>
                    <a:lnTo>
                      <a:pt x="24851" y="560"/>
                    </a:lnTo>
                    <a:lnTo>
                      <a:pt x="24851" y="560"/>
                    </a:lnTo>
                    <a:lnTo>
                      <a:pt x="28769" y="5934"/>
                    </a:lnTo>
                    <a:lnTo>
                      <a:pt x="32351" y="11195"/>
                    </a:lnTo>
                    <a:lnTo>
                      <a:pt x="33918" y="13545"/>
                    </a:lnTo>
                    <a:lnTo>
                      <a:pt x="35261" y="15672"/>
                    </a:lnTo>
                    <a:lnTo>
                      <a:pt x="36157" y="17575"/>
                    </a:lnTo>
                    <a:lnTo>
                      <a:pt x="36493" y="18359"/>
                    </a:lnTo>
                    <a:lnTo>
                      <a:pt x="36716" y="19142"/>
                    </a:lnTo>
                    <a:lnTo>
                      <a:pt x="36716" y="19142"/>
                    </a:lnTo>
                    <a:lnTo>
                      <a:pt x="36828" y="20709"/>
                    </a:lnTo>
                    <a:lnTo>
                      <a:pt x="36828" y="23060"/>
                    </a:lnTo>
                    <a:lnTo>
                      <a:pt x="36604" y="29329"/>
                    </a:lnTo>
                    <a:lnTo>
                      <a:pt x="36045" y="38284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18" name="Google Shape;2018;p16"/>
              <p:cNvSpPr/>
              <p:nvPr/>
            </p:nvSpPr>
            <p:spPr>
              <a:xfrm>
                <a:off x="3429400" y="2395750"/>
                <a:ext cx="106350" cy="92375"/>
              </a:xfrm>
              <a:custGeom>
                <a:avLst/>
                <a:gdLst/>
                <a:ahLst/>
                <a:cxnLst/>
                <a:rect l="l" t="t" r="r" b="b"/>
                <a:pathLst>
                  <a:path w="4254" h="3695" extrusionOk="0">
                    <a:moveTo>
                      <a:pt x="4254" y="0"/>
                    </a:moveTo>
                    <a:lnTo>
                      <a:pt x="3694" y="336"/>
                    </a:lnTo>
                    <a:lnTo>
                      <a:pt x="3135" y="560"/>
                    </a:lnTo>
                    <a:lnTo>
                      <a:pt x="2575" y="672"/>
                    </a:lnTo>
                    <a:lnTo>
                      <a:pt x="2015" y="672"/>
                    </a:lnTo>
                    <a:lnTo>
                      <a:pt x="1008" y="560"/>
                    </a:lnTo>
                    <a:lnTo>
                      <a:pt x="0" y="224"/>
                    </a:lnTo>
                    <a:lnTo>
                      <a:pt x="0" y="224"/>
                    </a:lnTo>
                    <a:lnTo>
                      <a:pt x="672" y="3694"/>
                    </a:lnTo>
                    <a:lnTo>
                      <a:pt x="1456" y="3134"/>
                    </a:lnTo>
                    <a:lnTo>
                      <a:pt x="2463" y="2239"/>
                    </a:lnTo>
                    <a:lnTo>
                      <a:pt x="3358" y="1231"/>
                    </a:lnTo>
                    <a:lnTo>
                      <a:pt x="4254" y="0"/>
                    </a:ln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19" name="Google Shape;2019;p16"/>
              <p:cNvSpPr/>
              <p:nvPr/>
            </p:nvSpPr>
            <p:spPr>
              <a:xfrm>
                <a:off x="3429400" y="2395750"/>
                <a:ext cx="106350" cy="92375"/>
              </a:xfrm>
              <a:custGeom>
                <a:avLst/>
                <a:gdLst/>
                <a:ahLst/>
                <a:cxnLst/>
                <a:rect l="l" t="t" r="r" b="b"/>
                <a:pathLst>
                  <a:path w="4254" h="3695" fill="none" extrusionOk="0">
                    <a:moveTo>
                      <a:pt x="4254" y="0"/>
                    </a:moveTo>
                    <a:lnTo>
                      <a:pt x="4254" y="0"/>
                    </a:lnTo>
                    <a:lnTo>
                      <a:pt x="3694" y="336"/>
                    </a:lnTo>
                    <a:lnTo>
                      <a:pt x="3135" y="560"/>
                    </a:lnTo>
                    <a:lnTo>
                      <a:pt x="2575" y="672"/>
                    </a:lnTo>
                    <a:lnTo>
                      <a:pt x="2015" y="672"/>
                    </a:lnTo>
                    <a:lnTo>
                      <a:pt x="2015" y="672"/>
                    </a:lnTo>
                    <a:lnTo>
                      <a:pt x="1008" y="560"/>
                    </a:lnTo>
                    <a:lnTo>
                      <a:pt x="0" y="224"/>
                    </a:lnTo>
                    <a:lnTo>
                      <a:pt x="0" y="224"/>
                    </a:lnTo>
                    <a:lnTo>
                      <a:pt x="672" y="3694"/>
                    </a:lnTo>
                    <a:lnTo>
                      <a:pt x="672" y="3694"/>
                    </a:lnTo>
                    <a:lnTo>
                      <a:pt x="1456" y="3134"/>
                    </a:lnTo>
                    <a:lnTo>
                      <a:pt x="2463" y="2239"/>
                    </a:lnTo>
                    <a:lnTo>
                      <a:pt x="3358" y="1231"/>
                    </a:lnTo>
                    <a:lnTo>
                      <a:pt x="4254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20" name="Google Shape;2020;p16"/>
              <p:cNvSpPr/>
              <p:nvPr/>
            </p:nvSpPr>
            <p:spPr>
              <a:xfrm>
                <a:off x="3642075" y="2471300"/>
                <a:ext cx="114775" cy="176325"/>
              </a:xfrm>
              <a:custGeom>
                <a:avLst/>
                <a:gdLst/>
                <a:ahLst/>
                <a:cxnLst/>
                <a:rect l="l" t="t" r="r" b="b"/>
                <a:pathLst>
                  <a:path w="4591" h="7053" extrusionOk="0">
                    <a:moveTo>
                      <a:pt x="1" y="0"/>
                    </a:moveTo>
                    <a:lnTo>
                      <a:pt x="113" y="2127"/>
                    </a:lnTo>
                    <a:lnTo>
                      <a:pt x="1568" y="3582"/>
                    </a:lnTo>
                    <a:lnTo>
                      <a:pt x="4590" y="7053"/>
                    </a:lnTo>
                    <a:lnTo>
                      <a:pt x="3919" y="5709"/>
                    </a:lnTo>
                    <a:lnTo>
                      <a:pt x="3247" y="4478"/>
                    </a:lnTo>
                    <a:lnTo>
                      <a:pt x="1680" y="2127"/>
                    </a:lnTo>
                    <a:lnTo>
                      <a:pt x="448" y="56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21" name="Google Shape;2021;p16"/>
              <p:cNvSpPr/>
              <p:nvPr/>
            </p:nvSpPr>
            <p:spPr>
              <a:xfrm>
                <a:off x="3642075" y="2471300"/>
                <a:ext cx="114775" cy="176325"/>
              </a:xfrm>
              <a:custGeom>
                <a:avLst/>
                <a:gdLst/>
                <a:ahLst/>
                <a:cxnLst/>
                <a:rect l="l" t="t" r="r" b="b"/>
                <a:pathLst>
                  <a:path w="4591" h="7053" fill="none" extrusionOk="0">
                    <a:moveTo>
                      <a:pt x="1" y="0"/>
                    </a:moveTo>
                    <a:lnTo>
                      <a:pt x="113" y="2127"/>
                    </a:lnTo>
                    <a:lnTo>
                      <a:pt x="113" y="2127"/>
                    </a:lnTo>
                    <a:lnTo>
                      <a:pt x="113" y="2127"/>
                    </a:lnTo>
                    <a:lnTo>
                      <a:pt x="1568" y="3582"/>
                    </a:lnTo>
                    <a:lnTo>
                      <a:pt x="4590" y="7053"/>
                    </a:lnTo>
                    <a:lnTo>
                      <a:pt x="4590" y="7053"/>
                    </a:lnTo>
                    <a:lnTo>
                      <a:pt x="3919" y="5709"/>
                    </a:lnTo>
                    <a:lnTo>
                      <a:pt x="3247" y="4478"/>
                    </a:lnTo>
                    <a:lnTo>
                      <a:pt x="1680" y="2127"/>
                    </a:lnTo>
                    <a:lnTo>
                      <a:pt x="448" y="56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22" name="Google Shape;2022;p16"/>
              <p:cNvSpPr/>
              <p:nvPr/>
            </p:nvSpPr>
            <p:spPr>
              <a:xfrm>
                <a:off x="3583300" y="1648550"/>
                <a:ext cx="120375" cy="190325"/>
              </a:xfrm>
              <a:custGeom>
                <a:avLst/>
                <a:gdLst/>
                <a:ahLst/>
                <a:cxnLst/>
                <a:rect l="l" t="t" r="r" b="b"/>
                <a:pathLst>
                  <a:path w="4815" h="7613" extrusionOk="0">
                    <a:moveTo>
                      <a:pt x="2687" y="0"/>
                    </a:moveTo>
                    <a:lnTo>
                      <a:pt x="2352" y="224"/>
                    </a:lnTo>
                    <a:lnTo>
                      <a:pt x="1792" y="672"/>
                    </a:lnTo>
                    <a:lnTo>
                      <a:pt x="1232" y="1344"/>
                    </a:lnTo>
                    <a:lnTo>
                      <a:pt x="1008" y="1791"/>
                    </a:lnTo>
                    <a:lnTo>
                      <a:pt x="896" y="2239"/>
                    </a:lnTo>
                    <a:lnTo>
                      <a:pt x="785" y="3247"/>
                    </a:lnTo>
                    <a:lnTo>
                      <a:pt x="449" y="4478"/>
                    </a:lnTo>
                    <a:lnTo>
                      <a:pt x="113" y="5821"/>
                    </a:lnTo>
                    <a:lnTo>
                      <a:pt x="113" y="6381"/>
                    </a:lnTo>
                    <a:lnTo>
                      <a:pt x="1" y="6941"/>
                    </a:lnTo>
                    <a:lnTo>
                      <a:pt x="2687" y="7388"/>
                    </a:lnTo>
                    <a:lnTo>
                      <a:pt x="3919" y="7612"/>
                    </a:lnTo>
                    <a:lnTo>
                      <a:pt x="4590" y="7612"/>
                    </a:lnTo>
                    <a:lnTo>
                      <a:pt x="4814" y="7500"/>
                    </a:lnTo>
                    <a:lnTo>
                      <a:pt x="4814" y="7276"/>
                    </a:lnTo>
                    <a:lnTo>
                      <a:pt x="4367" y="6829"/>
                    </a:lnTo>
                    <a:lnTo>
                      <a:pt x="4255" y="6269"/>
                    </a:lnTo>
                    <a:lnTo>
                      <a:pt x="4143" y="5709"/>
                    </a:lnTo>
                    <a:lnTo>
                      <a:pt x="4031" y="5373"/>
                    </a:lnTo>
                    <a:lnTo>
                      <a:pt x="3807" y="4814"/>
                    </a:lnTo>
                    <a:lnTo>
                      <a:pt x="3695" y="4142"/>
                    </a:lnTo>
                    <a:lnTo>
                      <a:pt x="3583" y="3023"/>
                    </a:lnTo>
                    <a:lnTo>
                      <a:pt x="3583" y="2463"/>
                    </a:lnTo>
                    <a:lnTo>
                      <a:pt x="3695" y="2351"/>
                    </a:lnTo>
                    <a:lnTo>
                      <a:pt x="3359" y="1679"/>
                    </a:lnTo>
                    <a:lnTo>
                      <a:pt x="2687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23" name="Google Shape;2023;p16"/>
              <p:cNvSpPr/>
              <p:nvPr/>
            </p:nvSpPr>
            <p:spPr>
              <a:xfrm>
                <a:off x="3583300" y="1648550"/>
                <a:ext cx="120375" cy="190325"/>
              </a:xfrm>
              <a:custGeom>
                <a:avLst/>
                <a:gdLst/>
                <a:ahLst/>
                <a:cxnLst/>
                <a:rect l="l" t="t" r="r" b="b"/>
                <a:pathLst>
                  <a:path w="4815" h="7613" fill="none" extrusionOk="0">
                    <a:moveTo>
                      <a:pt x="1" y="6941"/>
                    </a:moveTo>
                    <a:lnTo>
                      <a:pt x="2687" y="7388"/>
                    </a:lnTo>
                    <a:lnTo>
                      <a:pt x="2687" y="7388"/>
                    </a:lnTo>
                    <a:lnTo>
                      <a:pt x="3919" y="7612"/>
                    </a:lnTo>
                    <a:lnTo>
                      <a:pt x="4590" y="7612"/>
                    </a:lnTo>
                    <a:lnTo>
                      <a:pt x="4814" y="7500"/>
                    </a:lnTo>
                    <a:lnTo>
                      <a:pt x="4814" y="7276"/>
                    </a:lnTo>
                    <a:lnTo>
                      <a:pt x="4814" y="7276"/>
                    </a:lnTo>
                    <a:lnTo>
                      <a:pt x="4367" y="6829"/>
                    </a:lnTo>
                    <a:lnTo>
                      <a:pt x="4255" y="6269"/>
                    </a:lnTo>
                    <a:lnTo>
                      <a:pt x="4143" y="5709"/>
                    </a:lnTo>
                    <a:lnTo>
                      <a:pt x="4031" y="5373"/>
                    </a:lnTo>
                    <a:lnTo>
                      <a:pt x="4031" y="5373"/>
                    </a:lnTo>
                    <a:lnTo>
                      <a:pt x="3807" y="4814"/>
                    </a:lnTo>
                    <a:lnTo>
                      <a:pt x="3695" y="4142"/>
                    </a:lnTo>
                    <a:lnTo>
                      <a:pt x="3695" y="4142"/>
                    </a:lnTo>
                    <a:lnTo>
                      <a:pt x="3583" y="3023"/>
                    </a:lnTo>
                    <a:lnTo>
                      <a:pt x="3583" y="2463"/>
                    </a:lnTo>
                    <a:lnTo>
                      <a:pt x="3695" y="2351"/>
                    </a:lnTo>
                    <a:lnTo>
                      <a:pt x="3359" y="1679"/>
                    </a:lnTo>
                    <a:lnTo>
                      <a:pt x="2687" y="0"/>
                    </a:lnTo>
                    <a:lnTo>
                      <a:pt x="2687" y="0"/>
                    </a:lnTo>
                    <a:lnTo>
                      <a:pt x="2352" y="224"/>
                    </a:lnTo>
                    <a:lnTo>
                      <a:pt x="1792" y="672"/>
                    </a:lnTo>
                    <a:lnTo>
                      <a:pt x="1232" y="1344"/>
                    </a:lnTo>
                    <a:lnTo>
                      <a:pt x="1008" y="1791"/>
                    </a:lnTo>
                    <a:lnTo>
                      <a:pt x="896" y="2239"/>
                    </a:lnTo>
                    <a:lnTo>
                      <a:pt x="896" y="2239"/>
                    </a:lnTo>
                    <a:lnTo>
                      <a:pt x="785" y="3247"/>
                    </a:lnTo>
                    <a:lnTo>
                      <a:pt x="449" y="4478"/>
                    </a:lnTo>
                    <a:lnTo>
                      <a:pt x="113" y="5821"/>
                    </a:lnTo>
                    <a:lnTo>
                      <a:pt x="113" y="6381"/>
                    </a:lnTo>
                    <a:lnTo>
                      <a:pt x="1" y="694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24" name="Google Shape;2024;p16"/>
              <p:cNvSpPr/>
              <p:nvPr/>
            </p:nvSpPr>
            <p:spPr>
              <a:xfrm>
                <a:off x="3630875" y="1687725"/>
                <a:ext cx="44800" cy="64400"/>
              </a:xfrm>
              <a:custGeom>
                <a:avLst/>
                <a:gdLst/>
                <a:ahLst/>
                <a:cxnLst/>
                <a:rect l="l" t="t" r="r" b="b"/>
                <a:pathLst>
                  <a:path w="1792" h="2576" extrusionOk="0">
                    <a:moveTo>
                      <a:pt x="1232" y="0"/>
                    </a:moveTo>
                    <a:lnTo>
                      <a:pt x="784" y="448"/>
                    </a:lnTo>
                    <a:lnTo>
                      <a:pt x="113" y="1008"/>
                    </a:lnTo>
                    <a:lnTo>
                      <a:pt x="1" y="1232"/>
                    </a:lnTo>
                    <a:lnTo>
                      <a:pt x="1" y="1456"/>
                    </a:lnTo>
                    <a:lnTo>
                      <a:pt x="225" y="1903"/>
                    </a:lnTo>
                    <a:lnTo>
                      <a:pt x="449" y="2239"/>
                    </a:lnTo>
                    <a:lnTo>
                      <a:pt x="784" y="2351"/>
                    </a:lnTo>
                    <a:lnTo>
                      <a:pt x="1008" y="2575"/>
                    </a:lnTo>
                    <a:lnTo>
                      <a:pt x="1792" y="2575"/>
                    </a:lnTo>
                    <a:lnTo>
                      <a:pt x="1680" y="1232"/>
                    </a:lnTo>
                    <a:lnTo>
                      <a:pt x="1680" y="896"/>
                    </a:lnTo>
                    <a:lnTo>
                      <a:pt x="1792" y="784"/>
                    </a:lnTo>
                    <a:lnTo>
                      <a:pt x="1456" y="112"/>
                    </a:lnTo>
                    <a:lnTo>
                      <a:pt x="1232" y="0"/>
                    </a:lnTo>
                    <a:close/>
                  </a:path>
                </a:pathLst>
              </a:custGeom>
              <a:solidFill>
                <a:srgbClr val="C5909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25" name="Google Shape;2025;p16"/>
              <p:cNvSpPr/>
              <p:nvPr/>
            </p:nvSpPr>
            <p:spPr>
              <a:xfrm>
                <a:off x="3630875" y="1687725"/>
                <a:ext cx="44800" cy="64400"/>
              </a:xfrm>
              <a:custGeom>
                <a:avLst/>
                <a:gdLst/>
                <a:ahLst/>
                <a:cxnLst/>
                <a:rect l="l" t="t" r="r" b="b"/>
                <a:pathLst>
                  <a:path w="1792" h="2576" fill="none" extrusionOk="0">
                    <a:moveTo>
                      <a:pt x="1232" y="0"/>
                    </a:moveTo>
                    <a:lnTo>
                      <a:pt x="1232" y="0"/>
                    </a:lnTo>
                    <a:lnTo>
                      <a:pt x="784" y="448"/>
                    </a:lnTo>
                    <a:lnTo>
                      <a:pt x="113" y="1008"/>
                    </a:lnTo>
                    <a:lnTo>
                      <a:pt x="113" y="1008"/>
                    </a:lnTo>
                    <a:lnTo>
                      <a:pt x="1" y="1232"/>
                    </a:lnTo>
                    <a:lnTo>
                      <a:pt x="1" y="1456"/>
                    </a:lnTo>
                    <a:lnTo>
                      <a:pt x="225" y="1903"/>
                    </a:lnTo>
                    <a:lnTo>
                      <a:pt x="449" y="2239"/>
                    </a:lnTo>
                    <a:lnTo>
                      <a:pt x="784" y="2351"/>
                    </a:lnTo>
                    <a:lnTo>
                      <a:pt x="1008" y="2575"/>
                    </a:lnTo>
                    <a:lnTo>
                      <a:pt x="1456" y="2575"/>
                    </a:lnTo>
                    <a:lnTo>
                      <a:pt x="1456" y="2575"/>
                    </a:lnTo>
                    <a:lnTo>
                      <a:pt x="1792" y="2575"/>
                    </a:lnTo>
                    <a:lnTo>
                      <a:pt x="1792" y="2575"/>
                    </a:lnTo>
                    <a:lnTo>
                      <a:pt x="1680" y="1232"/>
                    </a:lnTo>
                    <a:lnTo>
                      <a:pt x="1680" y="1232"/>
                    </a:lnTo>
                    <a:lnTo>
                      <a:pt x="1680" y="896"/>
                    </a:lnTo>
                    <a:lnTo>
                      <a:pt x="1792" y="784"/>
                    </a:lnTo>
                    <a:lnTo>
                      <a:pt x="1456" y="112"/>
                    </a:lnTo>
                    <a:lnTo>
                      <a:pt x="123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26" name="Google Shape;2026;p16"/>
              <p:cNvSpPr/>
              <p:nvPr/>
            </p:nvSpPr>
            <p:spPr>
              <a:xfrm>
                <a:off x="3448975" y="1754875"/>
                <a:ext cx="305075" cy="598900"/>
              </a:xfrm>
              <a:custGeom>
                <a:avLst/>
                <a:gdLst/>
                <a:ahLst/>
                <a:cxnLst/>
                <a:rect l="l" t="t" r="r" b="b"/>
                <a:pathLst>
                  <a:path w="12203" h="23956" extrusionOk="0">
                    <a:moveTo>
                      <a:pt x="5710" y="1"/>
                    </a:moveTo>
                    <a:lnTo>
                      <a:pt x="4367" y="1232"/>
                    </a:lnTo>
                    <a:lnTo>
                      <a:pt x="3247" y="2128"/>
                    </a:lnTo>
                    <a:lnTo>
                      <a:pt x="2016" y="2911"/>
                    </a:lnTo>
                    <a:lnTo>
                      <a:pt x="1" y="17911"/>
                    </a:lnTo>
                    <a:lnTo>
                      <a:pt x="1" y="19031"/>
                    </a:lnTo>
                    <a:lnTo>
                      <a:pt x="113" y="19926"/>
                    </a:lnTo>
                    <a:lnTo>
                      <a:pt x="337" y="20934"/>
                    </a:lnTo>
                    <a:lnTo>
                      <a:pt x="896" y="21829"/>
                    </a:lnTo>
                    <a:lnTo>
                      <a:pt x="1120" y="22277"/>
                    </a:lnTo>
                    <a:lnTo>
                      <a:pt x="1568" y="22725"/>
                    </a:lnTo>
                    <a:lnTo>
                      <a:pt x="2016" y="23060"/>
                    </a:lnTo>
                    <a:lnTo>
                      <a:pt x="2575" y="23396"/>
                    </a:lnTo>
                    <a:lnTo>
                      <a:pt x="3135" y="23620"/>
                    </a:lnTo>
                    <a:lnTo>
                      <a:pt x="3919" y="23844"/>
                    </a:lnTo>
                    <a:lnTo>
                      <a:pt x="5038" y="23956"/>
                    </a:lnTo>
                    <a:lnTo>
                      <a:pt x="6269" y="23844"/>
                    </a:lnTo>
                    <a:lnTo>
                      <a:pt x="7501" y="23620"/>
                    </a:lnTo>
                    <a:lnTo>
                      <a:pt x="8620" y="23284"/>
                    </a:lnTo>
                    <a:lnTo>
                      <a:pt x="9628" y="22837"/>
                    </a:lnTo>
                    <a:lnTo>
                      <a:pt x="10411" y="22389"/>
                    </a:lnTo>
                    <a:lnTo>
                      <a:pt x="10747" y="21941"/>
                    </a:lnTo>
                    <a:lnTo>
                      <a:pt x="10859" y="21829"/>
                    </a:lnTo>
                    <a:lnTo>
                      <a:pt x="10747" y="21605"/>
                    </a:lnTo>
                    <a:lnTo>
                      <a:pt x="10747" y="21269"/>
                    </a:lnTo>
                    <a:lnTo>
                      <a:pt x="10747" y="20710"/>
                    </a:lnTo>
                    <a:lnTo>
                      <a:pt x="11083" y="18695"/>
                    </a:lnTo>
                    <a:lnTo>
                      <a:pt x="11531" y="16008"/>
                    </a:lnTo>
                    <a:lnTo>
                      <a:pt x="11978" y="12874"/>
                    </a:lnTo>
                    <a:lnTo>
                      <a:pt x="12090" y="11195"/>
                    </a:lnTo>
                    <a:lnTo>
                      <a:pt x="12202" y="9516"/>
                    </a:lnTo>
                    <a:lnTo>
                      <a:pt x="12090" y="7837"/>
                    </a:lnTo>
                    <a:lnTo>
                      <a:pt x="11978" y="6270"/>
                    </a:lnTo>
                    <a:lnTo>
                      <a:pt x="11643" y="4702"/>
                    </a:lnTo>
                    <a:lnTo>
                      <a:pt x="11083" y="3247"/>
                    </a:lnTo>
                    <a:lnTo>
                      <a:pt x="10747" y="2576"/>
                    </a:lnTo>
                    <a:lnTo>
                      <a:pt x="10299" y="2016"/>
                    </a:lnTo>
                    <a:lnTo>
                      <a:pt x="9963" y="1456"/>
                    </a:lnTo>
                    <a:lnTo>
                      <a:pt x="9404" y="897"/>
                    </a:lnTo>
                    <a:lnTo>
                      <a:pt x="9180" y="785"/>
                    </a:lnTo>
                    <a:lnTo>
                      <a:pt x="9068" y="785"/>
                    </a:lnTo>
                    <a:lnTo>
                      <a:pt x="8844" y="1008"/>
                    </a:lnTo>
                    <a:lnTo>
                      <a:pt x="8620" y="1344"/>
                    </a:lnTo>
                    <a:lnTo>
                      <a:pt x="8396" y="1456"/>
                    </a:lnTo>
                    <a:lnTo>
                      <a:pt x="8060" y="1568"/>
                    </a:lnTo>
                    <a:lnTo>
                      <a:pt x="7725" y="1456"/>
                    </a:lnTo>
                    <a:lnTo>
                      <a:pt x="7389" y="1232"/>
                    </a:lnTo>
                    <a:lnTo>
                      <a:pt x="6829" y="673"/>
                    </a:lnTo>
                    <a:lnTo>
                      <a:pt x="6605" y="337"/>
                    </a:lnTo>
                    <a:lnTo>
                      <a:pt x="6381" y="113"/>
                    </a:lnTo>
                    <a:lnTo>
                      <a:pt x="6046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27" name="Google Shape;2027;p16"/>
              <p:cNvSpPr/>
              <p:nvPr/>
            </p:nvSpPr>
            <p:spPr>
              <a:xfrm>
                <a:off x="3448975" y="1754875"/>
                <a:ext cx="305075" cy="598900"/>
              </a:xfrm>
              <a:custGeom>
                <a:avLst/>
                <a:gdLst/>
                <a:ahLst/>
                <a:cxnLst/>
                <a:rect l="l" t="t" r="r" b="b"/>
                <a:pathLst>
                  <a:path w="12203" h="23956" fill="none" extrusionOk="0">
                    <a:moveTo>
                      <a:pt x="5710" y="1"/>
                    </a:moveTo>
                    <a:lnTo>
                      <a:pt x="5710" y="1"/>
                    </a:lnTo>
                    <a:lnTo>
                      <a:pt x="6046" y="1"/>
                    </a:lnTo>
                    <a:lnTo>
                      <a:pt x="6381" y="113"/>
                    </a:lnTo>
                    <a:lnTo>
                      <a:pt x="6605" y="337"/>
                    </a:lnTo>
                    <a:lnTo>
                      <a:pt x="6829" y="673"/>
                    </a:lnTo>
                    <a:lnTo>
                      <a:pt x="7389" y="1232"/>
                    </a:lnTo>
                    <a:lnTo>
                      <a:pt x="7725" y="1456"/>
                    </a:lnTo>
                    <a:lnTo>
                      <a:pt x="8060" y="1568"/>
                    </a:lnTo>
                    <a:lnTo>
                      <a:pt x="8060" y="1568"/>
                    </a:lnTo>
                    <a:lnTo>
                      <a:pt x="8396" y="1456"/>
                    </a:lnTo>
                    <a:lnTo>
                      <a:pt x="8620" y="1344"/>
                    </a:lnTo>
                    <a:lnTo>
                      <a:pt x="8844" y="1008"/>
                    </a:lnTo>
                    <a:lnTo>
                      <a:pt x="8844" y="1008"/>
                    </a:lnTo>
                    <a:lnTo>
                      <a:pt x="9068" y="785"/>
                    </a:lnTo>
                    <a:lnTo>
                      <a:pt x="9180" y="785"/>
                    </a:lnTo>
                    <a:lnTo>
                      <a:pt x="9404" y="897"/>
                    </a:lnTo>
                    <a:lnTo>
                      <a:pt x="9404" y="897"/>
                    </a:lnTo>
                    <a:lnTo>
                      <a:pt x="9963" y="1456"/>
                    </a:lnTo>
                    <a:lnTo>
                      <a:pt x="10299" y="2016"/>
                    </a:lnTo>
                    <a:lnTo>
                      <a:pt x="10747" y="2576"/>
                    </a:lnTo>
                    <a:lnTo>
                      <a:pt x="11083" y="3247"/>
                    </a:lnTo>
                    <a:lnTo>
                      <a:pt x="11643" y="4702"/>
                    </a:lnTo>
                    <a:lnTo>
                      <a:pt x="11978" y="6270"/>
                    </a:lnTo>
                    <a:lnTo>
                      <a:pt x="12090" y="7837"/>
                    </a:lnTo>
                    <a:lnTo>
                      <a:pt x="12202" y="9516"/>
                    </a:lnTo>
                    <a:lnTo>
                      <a:pt x="12090" y="11195"/>
                    </a:lnTo>
                    <a:lnTo>
                      <a:pt x="11978" y="12874"/>
                    </a:lnTo>
                    <a:lnTo>
                      <a:pt x="11531" y="16008"/>
                    </a:lnTo>
                    <a:lnTo>
                      <a:pt x="11083" y="18695"/>
                    </a:lnTo>
                    <a:lnTo>
                      <a:pt x="10747" y="20710"/>
                    </a:lnTo>
                    <a:lnTo>
                      <a:pt x="10747" y="21269"/>
                    </a:lnTo>
                    <a:lnTo>
                      <a:pt x="10747" y="21605"/>
                    </a:lnTo>
                    <a:lnTo>
                      <a:pt x="10747" y="21605"/>
                    </a:lnTo>
                    <a:lnTo>
                      <a:pt x="10859" y="21829"/>
                    </a:lnTo>
                    <a:lnTo>
                      <a:pt x="10747" y="21941"/>
                    </a:lnTo>
                    <a:lnTo>
                      <a:pt x="10411" y="22389"/>
                    </a:lnTo>
                    <a:lnTo>
                      <a:pt x="9628" y="22837"/>
                    </a:lnTo>
                    <a:lnTo>
                      <a:pt x="8620" y="23284"/>
                    </a:lnTo>
                    <a:lnTo>
                      <a:pt x="7501" y="23620"/>
                    </a:lnTo>
                    <a:lnTo>
                      <a:pt x="6269" y="23844"/>
                    </a:lnTo>
                    <a:lnTo>
                      <a:pt x="5038" y="23956"/>
                    </a:lnTo>
                    <a:lnTo>
                      <a:pt x="3919" y="23844"/>
                    </a:lnTo>
                    <a:lnTo>
                      <a:pt x="3919" y="23844"/>
                    </a:lnTo>
                    <a:lnTo>
                      <a:pt x="3135" y="23620"/>
                    </a:lnTo>
                    <a:lnTo>
                      <a:pt x="2575" y="23396"/>
                    </a:lnTo>
                    <a:lnTo>
                      <a:pt x="2016" y="23060"/>
                    </a:lnTo>
                    <a:lnTo>
                      <a:pt x="1568" y="22725"/>
                    </a:lnTo>
                    <a:lnTo>
                      <a:pt x="1120" y="22277"/>
                    </a:lnTo>
                    <a:lnTo>
                      <a:pt x="896" y="21829"/>
                    </a:lnTo>
                    <a:lnTo>
                      <a:pt x="337" y="20934"/>
                    </a:lnTo>
                    <a:lnTo>
                      <a:pt x="113" y="19926"/>
                    </a:lnTo>
                    <a:lnTo>
                      <a:pt x="1" y="19031"/>
                    </a:lnTo>
                    <a:lnTo>
                      <a:pt x="1" y="17911"/>
                    </a:lnTo>
                    <a:lnTo>
                      <a:pt x="1" y="17911"/>
                    </a:lnTo>
                    <a:lnTo>
                      <a:pt x="2016" y="2911"/>
                    </a:lnTo>
                    <a:lnTo>
                      <a:pt x="2016" y="2911"/>
                    </a:lnTo>
                    <a:lnTo>
                      <a:pt x="3247" y="2128"/>
                    </a:lnTo>
                    <a:lnTo>
                      <a:pt x="4367" y="1232"/>
                    </a:lnTo>
                    <a:lnTo>
                      <a:pt x="571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28" name="Google Shape;2028;p16"/>
              <p:cNvSpPr/>
              <p:nvPr/>
            </p:nvSpPr>
            <p:spPr>
              <a:xfrm>
                <a:off x="3672875" y="1684925"/>
                <a:ext cx="531725" cy="708050"/>
              </a:xfrm>
              <a:custGeom>
                <a:avLst/>
                <a:gdLst/>
                <a:ahLst/>
                <a:cxnLst/>
                <a:rect l="l" t="t" r="r" b="b"/>
                <a:pathLst>
                  <a:path w="21269" h="28322" extrusionOk="0">
                    <a:moveTo>
                      <a:pt x="19813" y="1"/>
                    </a:moveTo>
                    <a:lnTo>
                      <a:pt x="15671" y="1792"/>
                    </a:lnTo>
                    <a:lnTo>
                      <a:pt x="12985" y="2911"/>
                    </a:lnTo>
                    <a:lnTo>
                      <a:pt x="11866" y="3247"/>
                    </a:lnTo>
                    <a:lnTo>
                      <a:pt x="11194" y="3471"/>
                    </a:lnTo>
                    <a:lnTo>
                      <a:pt x="8731" y="3918"/>
                    </a:lnTo>
                    <a:lnTo>
                      <a:pt x="6381" y="4142"/>
                    </a:lnTo>
                    <a:lnTo>
                      <a:pt x="3806" y="4142"/>
                    </a:lnTo>
                    <a:lnTo>
                      <a:pt x="2239" y="3918"/>
                    </a:lnTo>
                    <a:lnTo>
                      <a:pt x="560" y="3695"/>
                    </a:lnTo>
                    <a:lnTo>
                      <a:pt x="560" y="4366"/>
                    </a:lnTo>
                    <a:lnTo>
                      <a:pt x="560" y="5486"/>
                    </a:lnTo>
                    <a:lnTo>
                      <a:pt x="784" y="7053"/>
                    </a:lnTo>
                    <a:lnTo>
                      <a:pt x="896" y="7724"/>
                    </a:lnTo>
                    <a:lnTo>
                      <a:pt x="896" y="8508"/>
                    </a:lnTo>
                    <a:lnTo>
                      <a:pt x="896" y="9068"/>
                    </a:lnTo>
                    <a:lnTo>
                      <a:pt x="896" y="9403"/>
                    </a:lnTo>
                    <a:lnTo>
                      <a:pt x="784" y="9627"/>
                    </a:lnTo>
                    <a:lnTo>
                      <a:pt x="672" y="10523"/>
                    </a:lnTo>
                    <a:lnTo>
                      <a:pt x="448" y="11866"/>
                    </a:lnTo>
                    <a:lnTo>
                      <a:pt x="112" y="13321"/>
                    </a:lnTo>
                    <a:lnTo>
                      <a:pt x="0" y="14776"/>
                    </a:lnTo>
                    <a:lnTo>
                      <a:pt x="0" y="15672"/>
                    </a:lnTo>
                    <a:lnTo>
                      <a:pt x="112" y="16568"/>
                    </a:lnTo>
                    <a:lnTo>
                      <a:pt x="224" y="18470"/>
                    </a:lnTo>
                    <a:lnTo>
                      <a:pt x="336" y="20261"/>
                    </a:lnTo>
                    <a:lnTo>
                      <a:pt x="336" y="23732"/>
                    </a:lnTo>
                    <a:lnTo>
                      <a:pt x="336" y="25187"/>
                    </a:lnTo>
                    <a:lnTo>
                      <a:pt x="336" y="26306"/>
                    </a:lnTo>
                    <a:lnTo>
                      <a:pt x="560" y="27314"/>
                    </a:lnTo>
                    <a:lnTo>
                      <a:pt x="784" y="27649"/>
                    </a:lnTo>
                    <a:lnTo>
                      <a:pt x="1007" y="27873"/>
                    </a:lnTo>
                    <a:lnTo>
                      <a:pt x="1231" y="28097"/>
                    </a:lnTo>
                    <a:lnTo>
                      <a:pt x="1567" y="28209"/>
                    </a:lnTo>
                    <a:lnTo>
                      <a:pt x="1903" y="28321"/>
                    </a:lnTo>
                    <a:lnTo>
                      <a:pt x="2239" y="28321"/>
                    </a:lnTo>
                    <a:lnTo>
                      <a:pt x="2687" y="28209"/>
                    </a:lnTo>
                    <a:lnTo>
                      <a:pt x="3022" y="27985"/>
                    </a:lnTo>
                    <a:lnTo>
                      <a:pt x="3470" y="27761"/>
                    </a:lnTo>
                    <a:lnTo>
                      <a:pt x="3918" y="27314"/>
                    </a:lnTo>
                    <a:lnTo>
                      <a:pt x="4254" y="26866"/>
                    </a:lnTo>
                    <a:lnTo>
                      <a:pt x="4478" y="26306"/>
                    </a:lnTo>
                    <a:lnTo>
                      <a:pt x="4589" y="25747"/>
                    </a:lnTo>
                    <a:lnTo>
                      <a:pt x="4701" y="25075"/>
                    </a:lnTo>
                    <a:lnTo>
                      <a:pt x="4813" y="23620"/>
                    </a:lnTo>
                    <a:lnTo>
                      <a:pt x="4701" y="22053"/>
                    </a:lnTo>
                    <a:lnTo>
                      <a:pt x="4589" y="20485"/>
                    </a:lnTo>
                    <a:lnTo>
                      <a:pt x="4366" y="19142"/>
                    </a:lnTo>
                    <a:lnTo>
                      <a:pt x="4030" y="17239"/>
                    </a:lnTo>
                    <a:lnTo>
                      <a:pt x="3582" y="15000"/>
                    </a:lnTo>
                    <a:lnTo>
                      <a:pt x="3582" y="14441"/>
                    </a:lnTo>
                    <a:lnTo>
                      <a:pt x="3582" y="13769"/>
                    </a:lnTo>
                    <a:lnTo>
                      <a:pt x="3918" y="12090"/>
                    </a:lnTo>
                    <a:lnTo>
                      <a:pt x="4254" y="10523"/>
                    </a:lnTo>
                    <a:lnTo>
                      <a:pt x="4589" y="9963"/>
                    </a:lnTo>
                    <a:lnTo>
                      <a:pt x="4813" y="9515"/>
                    </a:lnTo>
                    <a:lnTo>
                      <a:pt x="5485" y="9180"/>
                    </a:lnTo>
                    <a:lnTo>
                      <a:pt x="6269" y="8844"/>
                    </a:lnTo>
                    <a:lnTo>
                      <a:pt x="7164" y="8620"/>
                    </a:lnTo>
                    <a:lnTo>
                      <a:pt x="8060" y="8396"/>
                    </a:lnTo>
                    <a:lnTo>
                      <a:pt x="10075" y="8060"/>
                    </a:lnTo>
                    <a:lnTo>
                      <a:pt x="11977" y="7612"/>
                    </a:lnTo>
                    <a:lnTo>
                      <a:pt x="12985" y="7277"/>
                    </a:lnTo>
                    <a:lnTo>
                      <a:pt x="14328" y="6717"/>
                    </a:lnTo>
                    <a:lnTo>
                      <a:pt x="17127" y="5150"/>
                    </a:lnTo>
                    <a:lnTo>
                      <a:pt x="21045" y="2911"/>
                    </a:lnTo>
                    <a:lnTo>
                      <a:pt x="21156" y="2799"/>
                    </a:lnTo>
                    <a:lnTo>
                      <a:pt x="21268" y="2575"/>
                    </a:lnTo>
                    <a:lnTo>
                      <a:pt x="21268" y="2239"/>
                    </a:lnTo>
                    <a:lnTo>
                      <a:pt x="21156" y="1680"/>
                    </a:lnTo>
                    <a:lnTo>
                      <a:pt x="20933" y="1232"/>
                    </a:lnTo>
                    <a:lnTo>
                      <a:pt x="20261" y="336"/>
                    </a:lnTo>
                    <a:lnTo>
                      <a:pt x="20037" y="112"/>
                    </a:lnTo>
                    <a:lnTo>
                      <a:pt x="19813" y="1"/>
                    </a:lnTo>
                    <a:close/>
                  </a:path>
                </a:pathLst>
              </a:custGeom>
              <a:solidFill>
                <a:srgbClr val="DF332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29" name="Google Shape;2029;p16"/>
              <p:cNvSpPr/>
              <p:nvPr/>
            </p:nvSpPr>
            <p:spPr>
              <a:xfrm>
                <a:off x="3407000" y="1754875"/>
                <a:ext cx="218325" cy="657675"/>
              </a:xfrm>
              <a:custGeom>
                <a:avLst/>
                <a:gdLst/>
                <a:ahLst/>
                <a:cxnLst/>
                <a:rect l="l" t="t" r="r" b="b"/>
                <a:pathLst>
                  <a:path w="8733" h="26307" extrusionOk="0">
                    <a:moveTo>
                      <a:pt x="7389" y="1"/>
                    </a:moveTo>
                    <a:lnTo>
                      <a:pt x="6941" y="113"/>
                    </a:lnTo>
                    <a:lnTo>
                      <a:pt x="5710" y="449"/>
                    </a:lnTo>
                    <a:lnTo>
                      <a:pt x="4926" y="785"/>
                    </a:lnTo>
                    <a:lnTo>
                      <a:pt x="4143" y="1232"/>
                    </a:lnTo>
                    <a:lnTo>
                      <a:pt x="3247" y="1904"/>
                    </a:lnTo>
                    <a:lnTo>
                      <a:pt x="2463" y="2688"/>
                    </a:lnTo>
                    <a:lnTo>
                      <a:pt x="2128" y="3247"/>
                    </a:lnTo>
                    <a:lnTo>
                      <a:pt x="1792" y="3919"/>
                    </a:lnTo>
                    <a:lnTo>
                      <a:pt x="1344" y="5374"/>
                    </a:lnTo>
                    <a:lnTo>
                      <a:pt x="1120" y="7053"/>
                    </a:lnTo>
                    <a:lnTo>
                      <a:pt x="1008" y="8844"/>
                    </a:lnTo>
                    <a:lnTo>
                      <a:pt x="1008" y="9740"/>
                    </a:lnTo>
                    <a:lnTo>
                      <a:pt x="1008" y="10523"/>
                    </a:lnTo>
                    <a:lnTo>
                      <a:pt x="1120" y="12762"/>
                    </a:lnTo>
                    <a:lnTo>
                      <a:pt x="1232" y="13546"/>
                    </a:lnTo>
                    <a:lnTo>
                      <a:pt x="1232" y="13770"/>
                    </a:lnTo>
                    <a:lnTo>
                      <a:pt x="1344" y="14777"/>
                    </a:lnTo>
                    <a:lnTo>
                      <a:pt x="1344" y="15449"/>
                    </a:lnTo>
                    <a:lnTo>
                      <a:pt x="1232" y="16232"/>
                    </a:lnTo>
                    <a:lnTo>
                      <a:pt x="896" y="18247"/>
                    </a:lnTo>
                    <a:lnTo>
                      <a:pt x="449" y="20598"/>
                    </a:lnTo>
                    <a:lnTo>
                      <a:pt x="113" y="22949"/>
                    </a:lnTo>
                    <a:lnTo>
                      <a:pt x="1" y="23844"/>
                    </a:lnTo>
                    <a:lnTo>
                      <a:pt x="1" y="24740"/>
                    </a:lnTo>
                    <a:lnTo>
                      <a:pt x="113" y="25299"/>
                    </a:lnTo>
                    <a:lnTo>
                      <a:pt x="337" y="25523"/>
                    </a:lnTo>
                    <a:lnTo>
                      <a:pt x="449" y="25635"/>
                    </a:lnTo>
                    <a:lnTo>
                      <a:pt x="1120" y="25971"/>
                    </a:lnTo>
                    <a:lnTo>
                      <a:pt x="1904" y="26195"/>
                    </a:lnTo>
                    <a:lnTo>
                      <a:pt x="2575" y="26307"/>
                    </a:lnTo>
                    <a:lnTo>
                      <a:pt x="3359" y="26307"/>
                    </a:lnTo>
                    <a:lnTo>
                      <a:pt x="4143" y="26083"/>
                    </a:lnTo>
                    <a:lnTo>
                      <a:pt x="4814" y="25859"/>
                    </a:lnTo>
                    <a:lnTo>
                      <a:pt x="5486" y="25411"/>
                    </a:lnTo>
                    <a:lnTo>
                      <a:pt x="6046" y="24851"/>
                    </a:lnTo>
                    <a:lnTo>
                      <a:pt x="6717" y="24068"/>
                    </a:lnTo>
                    <a:lnTo>
                      <a:pt x="7165" y="23284"/>
                    </a:lnTo>
                    <a:lnTo>
                      <a:pt x="7501" y="22277"/>
                    </a:lnTo>
                    <a:lnTo>
                      <a:pt x="7725" y="20374"/>
                    </a:lnTo>
                    <a:lnTo>
                      <a:pt x="7725" y="19255"/>
                    </a:lnTo>
                    <a:lnTo>
                      <a:pt x="7613" y="18135"/>
                    </a:lnTo>
                    <a:lnTo>
                      <a:pt x="7501" y="16904"/>
                    </a:lnTo>
                    <a:lnTo>
                      <a:pt x="7501" y="15113"/>
                    </a:lnTo>
                    <a:lnTo>
                      <a:pt x="7613" y="13993"/>
                    </a:lnTo>
                    <a:lnTo>
                      <a:pt x="7725" y="12986"/>
                    </a:lnTo>
                    <a:lnTo>
                      <a:pt x="7948" y="11978"/>
                    </a:lnTo>
                    <a:lnTo>
                      <a:pt x="8172" y="10747"/>
                    </a:lnTo>
                    <a:lnTo>
                      <a:pt x="8396" y="9740"/>
                    </a:lnTo>
                    <a:lnTo>
                      <a:pt x="8620" y="8732"/>
                    </a:lnTo>
                    <a:lnTo>
                      <a:pt x="8732" y="7613"/>
                    </a:lnTo>
                    <a:lnTo>
                      <a:pt x="8620" y="6829"/>
                    </a:lnTo>
                    <a:lnTo>
                      <a:pt x="8396" y="6046"/>
                    </a:lnTo>
                    <a:lnTo>
                      <a:pt x="8172" y="5150"/>
                    </a:lnTo>
                    <a:lnTo>
                      <a:pt x="8060" y="4479"/>
                    </a:lnTo>
                    <a:lnTo>
                      <a:pt x="8060" y="2799"/>
                    </a:lnTo>
                    <a:lnTo>
                      <a:pt x="7837" y="1792"/>
                    </a:lnTo>
                    <a:lnTo>
                      <a:pt x="7725" y="1008"/>
                    </a:lnTo>
                    <a:lnTo>
                      <a:pt x="7389" y="1"/>
                    </a:lnTo>
                    <a:close/>
                  </a:path>
                </a:pathLst>
              </a:custGeom>
              <a:solidFill>
                <a:srgbClr val="DF332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30" name="Google Shape;2030;p16"/>
              <p:cNvSpPr/>
              <p:nvPr/>
            </p:nvSpPr>
            <p:spPr>
              <a:xfrm>
                <a:off x="3407000" y="1754875"/>
                <a:ext cx="218325" cy="657675"/>
              </a:xfrm>
              <a:custGeom>
                <a:avLst/>
                <a:gdLst/>
                <a:ahLst/>
                <a:cxnLst/>
                <a:rect l="l" t="t" r="r" b="b"/>
                <a:pathLst>
                  <a:path w="8733" h="26307" fill="none" extrusionOk="0">
                    <a:moveTo>
                      <a:pt x="6046" y="24851"/>
                    </a:moveTo>
                    <a:lnTo>
                      <a:pt x="6046" y="24851"/>
                    </a:lnTo>
                    <a:lnTo>
                      <a:pt x="5486" y="25411"/>
                    </a:lnTo>
                    <a:lnTo>
                      <a:pt x="4814" y="25859"/>
                    </a:lnTo>
                    <a:lnTo>
                      <a:pt x="4143" y="26083"/>
                    </a:lnTo>
                    <a:lnTo>
                      <a:pt x="3359" y="26307"/>
                    </a:lnTo>
                    <a:lnTo>
                      <a:pt x="2575" y="26307"/>
                    </a:lnTo>
                    <a:lnTo>
                      <a:pt x="1904" y="26195"/>
                    </a:lnTo>
                    <a:lnTo>
                      <a:pt x="1120" y="25971"/>
                    </a:lnTo>
                    <a:lnTo>
                      <a:pt x="449" y="25635"/>
                    </a:lnTo>
                    <a:lnTo>
                      <a:pt x="449" y="25635"/>
                    </a:lnTo>
                    <a:lnTo>
                      <a:pt x="337" y="25523"/>
                    </a:lnTo>
                    <a:lnTo>
                      <a:pt x="113" y="25299"/>
                    </a:lnTo>
                    <a:lnTo>
                      <a:pt x="1" y="24740"/>
                    </a:lnTo>
                    <a:lnTo>
                      <a:pt x="1" y="23844"/>
                    </a:lnTo>
                    <a:lnTo>
                      <a:pt x="113" y="22949"/>
                    </a:lnTo>
                    <a:lnTo>
                      <a:pt x="449" y="20598"/>
                    </a:lnTo>
                    <a:lnTo>
                      <a:pt x="896" y="18247"/>
                    </a:lnTo>
                    <a:lnTo>
                      <a:pt x="896" y="18247"/>
                    </a:lnTo>
                    <a:lnTo>
                      <a:pt x="896" y="18247"/>
                    </a:lnTo>
                    <a:lnTo>
                      <a:pt x="1232" y="16232"/>
                    </a:lnTo>
                    <a:lnTo>
                      <a:pt x="1344" y="15449"/>
                    </a:lnTo>
                    <a:lnTo>
                      <a:pt x="1344" y="14777"/>
                    </a:lnTo>
                    <a:lnTo>
                      <a:pt x="1344" y="14777"/>
                    </a:lnTo>
                    <a:lnTo>
                      <a:pt x="1232" y="13770"/>
                    </a:lnTo>
                    <a:lnTo>
                      <a:pt x="1232" y="13770"/>
                    </a:lnTo>
                    <a:lnTo>
                      <a:pt x="1232" y="13546"/>
                    </a:lnTo>
                    <a:lnTo>
                      <a:pt x="1232" y="13546"/>
                    </a:lnTo>
                    <a:lnTo>
                      <a:pt x="1232" y="13546"/>
                    </a:lnTo>
                    <a:lnTo>
                      <a:pt x="1120" y="12762"/>
                    </a:lnTo>
                    <a:lnTo>
                      <a:pt x="1120" y="12762"/>
                    </a:lnTo>
                    <a:lnTo>
                      <a:pt x="1008" y="10523"/>
                    </a:lnTo>
                    <a:lnTo>
                      <a:pt x="1008" y="10523"/>
                    </a:lnTo>
                    <a:lnTo>
                      <a:pt x="1008" y="9740"/>
                    </a:lnTo>
                    <a:lnTo>
                      <a:pt x="1008" y="9740"/>
                    </a:lnTo>
                    <a:lnTo>
                      <a:pt x="1008" y="8844"/>
                    </a:lnTo>
                    <a:lnTo>
                      <a:pt x="1008" y="8844"/>
                    </a:lnTo>
                    <a:lnTo>
                      <a:pt x="1120" y="7053"/>
                    </a:lnTo>
                    <a:lnTo>
                      <a:pt x="1344" y="5374"/>
                    </a:lnTo>
                    <a:lnTo>
                      <a:pt x="1344" y="5374"/>
                    </a:lnTo>
                    <a:lnTo>
                      <a:pt x="1792" y="3919"/>
                    </a:lnTo>
                    <a:lnTo>
                      <a:pt x="1792" y="3919"/>
                    </a:lnTo>
                    <a:lnTo>
                      <a:pt x="2128" y="3247"/>
                    </a:lnTo>
                    <a:lnTo>
                      <a:pt x="2463" y="2688"/>
                    </a:lnTo>
                    <a:lnTo>
                      <a:pt x="2463" y="2688"/>
                    </a:lnTo>
                    <a:lnTo>
                      <a:pt x="3247" y="1904"/>
                    </a:lnTo>
                    <a:lnTo>
                      <a:pt x="4143" y="1232"/>
                    </a:lnTo>
                    <a:lnTo>
                      <a:pt x="4926" y="785"/>
                    </a:lnTo>
                    <a:lnTo>
                      <a:pt x="5710" y="449"/>
                    </a:lnTo>
                    <a:lnTo>
                      <a:pt x="6941" y="113"/>
                    </a:lnTo>
                    <a:lnTo>
                      <a:pt x="7389" y="1"/>
                    </a:lnTo>
                    <a:lnTo>
                      <a:pt x="7389" y="1"/>
                    </a:lnTo>
                    <a:lnTo>
                      <a:pt x="7725" y="1008"/>
                    </a:lnTo>
                    <a:lnTo>
                      <a:pt x="7837" y="1792"/>
                    </a:lnTo>
                    <a:lnTo>
                      <a:pt x="8060" y="2799"/>
                    </a:lnTo>
                    <a:lnTo>
                      <a:pt x="8060" y="2799"/>
                    </a:lnTo>
                    <a:lnTo>
                      <a:pt x="8060" y="4479"/>
                    </a:lnTo>
                    <a:lnTo>
                      <a:pt x="8060" y="4479"/>
                    </a:lnTo>
                    <a:lnTo>
                      <a:pt x="8172" y="5150"/>
                    </a:lnTo>
                    <a:lnTo>
                      <a:pt x="8396" y="6046"/>
                    </a:lnTo>
                    <a:lnTo>
                      <a:pt x="8620" y="6829"/>
                    </a:lnTo>
                    <a:lnTo>
                      <a:pt x="8732" y="7613"/>
                    </a:lnTo>
                    <a:lnTo>
                      <a:pt x="8732" y="7613"/>
                    </a:lnTo>
                    <a:lnTo>
                      <a:pt x="8620" y="8732"/>
                    </a:lnTo>
                    <a:lnTo>
                      <a:pt x="8396" y="9740"/>
                    </a:lnTo>
                    <a:lnTo>
                      <a:pt x="8172" y="10747"/>
                    </a:lnTo>
                    <a:lnTo>
                      <a:pt x="7948" y="11978"/>
                    </a:lnTo>
                    <a:lnTo>
                      <a:pt x="7948" y="11978"/>
                    </a:lnTo>
                    <a:lnTo>
                      <a:pt x="7725" y="12986"/>
                    </a:lnTo>
                    <a:lnTo>
                      <a:pt x="7613" y="13993"/>
                    </a:lnTo>
                    <a:lnTo>
                      <a:pt x="7501" y="15113"/>
                    </a:lnTo>
                    <a:lnTo>
                      <a:pt x="7501" y="15113"/>
                    </a:lnTo>
                    <a:lnTo>
                      <a:pt x="7501" y="16904"/>
                    </a:lnTo>
                    <a:lnTo>
                      <a:pt x="7613" y="18135"/>
                    </a:lnTo>
                    <a:lnTo>
                      <a:pt x="7725" y="19255"/>
                    </a:lnTo>
                    <a:lnTo>
                      <a:pt x="7725" y="20374"/>
                    </a:lnTo>
                    <a:lnTo>
                      <a:pt x="7725" y="20374"/>
                    </a:lnTo>
                    <a:lnTo>
                      <a:pt x="7501" y="22277"/>
                    </a:lnTo>
                    <a:lnTo>
                      <a:pt x="7165" y="23284"/>
                    </a:lnTo>
                    <a:lnTo>
                      <a:pt x="6717" y="24068"/>
                    </a:lnTo>
                    <a:lnTo>
                      <a:pt x="6046" y="2485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31" name="Google Shape;2031;p16"/>
              <p:cNvSpPr/>
              <p:nvPr/>
            </p:nvSpPr>
            <p:spPr>
              <a:xfrm>
                <a:off x="2858500" y="2006750"/>
                <a:ext cx="153950" cy="100775"/>
              </a:xfrm>
              <a:custGeom>
                <a:avLst/>
                <a:gdLst/>
                <a:ahLst/>
                <a:cxnLst/>
                <a:rect l="l" t="t" r="r" b="b"/>
                <a:pathLst>
                  <a:path w="6158" h="4031" extrusionOk="0">
                    <a:moveTo>
                      <a:pt x="2240" y="1"/>
                    </a:moveTo>
                    <a:lnTo>
                      <a:pt x="2016" y="112"/>
                    </a:lnTo>
                    <a:lnTo>
                      <a:pt x="2016" y="224"/>
                    </a:lnTo>
                    <a:lnTo>
                      <a:pt x="2128" y="672"/>
                    </a:lnTo>
                    <a:lnTo>
                      <a:pt x="2240" y="896"/>
                    </a:lnTo>
                    <a:lnTo>
                      <a:pt x="2240" y="1008"/>
                    </a:lnTo>
                    <a:lnTo>
                      <a:pt x="2128" y="1008"/>
                    </a:lnTo>
                    <a:lnTo>
                      <a:pt x="1232" y="784"/>
                    </a:lnTo>
                    <a:lnTo>
                      <a:pt x="449" y="784"/>
                    </a:lnTo>
                    <a:lnTo>
                      <a:pt x="225" y="1008"/>
                    </a:lnTo>
                    <a:lnTo>
                      <a:pt x="113" y="1232"/>
                    </a:lnTo>
                    <a:lnTo>
                      <a:pt x="1" y="1568"/>
                    </a:lnTo>
                    <a:lnTo>
                      <a:pt x="1" y="2015"/>
                    </a:lnTo>
                    <a:lnTo>
                      <a:pt x="113" y="2351"/>
                    </a:lnTo>
                    <a:lnTo>
                      <a:pt x="337" y="2799"/>
                    </a:lnTo>
                    <a:lnTo>
                      <a:pt x="560" y="3247"/>
                    </a:lnTo>
                    <a:lnTo>
                      <a:pt x="1008" y="3695"/>
                    </a:lnTo>
                    <a:lnTo>
                      <a:pt x="1456" y="3918"/>
                    </a:lnTo>
                    <a:lnTo>
                      <a:pt x="2016" y="4030"/>
                    </a:lnTo>
                    <a:lnTo>
                      <a:pt x="2463" y="4030"/>
                    </a:lnTo>
                    <a:lnTo>
                      <a:pt x="3023" y="3918"/>
                    </a:lnTo>
                    <a:lnTo>
                      <a:pt x="4143" y="3583"/>
                    </a:lnTo>
                    <a:lnTo>
                      <a:pt x="4814" y="3471"/>
                    </a:lnTo>
                    <a:lnTo>
                      <a:pt x="5374" y="3359"/>
                    </a:lnTo>
                    <a:lnTo>
                      <a:pt x="5822" y="3247"/>
                    </a:lnTo>
                    <a:lnTo>
                      <a:pt x="6045" y="3023"/>
                    </a:lnTo>
                    <a:lnTo>
                      <a:pt x="6157" y="2687"/>
                    </a:lnTo>
                    <a:lnTo>
                      <a:pt x="6045" y="2239"/>
                    </a:lnTo>
                    <a:lnTo>
                      <a:pt x="5710" y="1568"/>
                    </a:lnTo>
                    <a:lnTo>
                      <a:pt x="5486" y="1232"/>
                    </a:lnTo>
                    <a:lnTo>
                      <a:pt x="4702" y="1120"/>
                    </a:lnTo>
                    <a:lnTo>
                      <a:pt x="4031" y="896"/>
                    </a:lnTo>
                    <a:lnTo>
                      <a:pt x="3583" y="672"/>
                    </a:lnTo>
                    <a:lnTo>
                      <a:pt x="3135" y="448"/>
                    </a:lnTo>
                    <a:lnTo>
                      <a:pt x="2575" y="112"/>
                    </a:lnTo>
                    <a:lnTo>
                      <a:pt x="2352" y="1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32" name="Google Shape;2032;p16"/>
              <p:cNvSpPr/>
              <p:nvPr/>
            </p:nvSpPr>
            <p:spPr>
              <a:xfrm>
                <a:off x="2976050" y="1777275"/>
                <a:ext cx="548525" cy="333050"/>
              </a:xfrm>
              <a:custGeom>
                <a:avLst/>
                <a:gdLst/>
                <a:ahLst/>
                <a:cxnLst/>
                <a:rect l="l" t="t" r="r" b="b"/>
                <a:pathLst>
                  <a:path w="21941" h="13322" extrusionOk="0">
                    <a:moveTo>
                      <a:pt x="21940" y="1"/>
                    </a:moveTo>
                    <a:lnTo>
                      <a:pt x="21157" y="336"/>
                    </a:lnTo>
                    <a:lnTo>
                      <a:pt x="20373" y="672"/>
                    </a:lnTo>
                    <a:lnTo>
                      <a:pt x="19590" y="1232"/>
                    </a:lnTo>
                    <a:lnTo>
                      <a:pt x="18806" y="1792"/>
                    </a:lnTo>
                    <a:lnTo>
                      <a:pt x="17239" y="3247"/>
                    </a:lnTo>
                    <a:lnTo>
                      <a:pt x="15672" y="4702"/>
                    </a:lnTo>
                    <a:lnTo>
                      <a:pt x="14216" y="6269"/>
                    </a:lnTo>
                    <a:lnTo>
                      <a:pt x="12985" y="7500"/>
                    </a:lnTo>
                    <a:lnTo>
                      <a:pt x="11754" y="8508"/>
                    </a:lnTo>
                    <a:lnTo>
                      <a:pt x="11194" y="8844"/>
                    </a:lnTo>
                    <a:lnTo>
                      <a:pt x="10746" y="9068"/>
                    </a:lnTo>
                    <a:lnTo>
                      <a:pt x="9627" y="9291"/>
                    </a:lnTo>
                    <a:lnTo>
                      <a:pt x="8284" y="9403"/>
                    </a:lnTo>
                    <a:lnTo>
                      <a:pt x="4926" y="9627"/>
                    </a:lnTo>
                    <a:lnTo>
                      <a:pt x="1791" y="9739"/>
                    </a:lnTo>
                    <a:lnTo>
                      <a:pt x="224" y="9739"/>
                    </a:lnTo>
                    <a:lnTo>
                      <a:pt x="112" y="9963"/>
                    </a:lnTo>
                    <a:lnTo>
                      <a:pt x="0" y="10299"/>
                    </a:lnTo>
                    <a:lnTo>
                      <a:pt x="112" y="11418"/>
                    </a:lnTo>
                    <a:lnTo>
                      <a:pt x="336" y="12538"/>
                    </a:lnTo>
                    <a:lnTo>
                      <a:pt x="448" y="12985"/>
                    </a:lnTo>
                    <a:lnTo>
                      <a:pt x="672" y="13097"/>
                    </a:lnTo>
                    <a:lnTo>
                      <a:pt x="1903" y="13097"/>
                    </a:lnTo>
                    <a:lnTo>
                      <a:pt x="4254" y="13209"/>
                    </a:lnTo>
                    <a:lnTo>
                      <a:pt x="8284" y="13321"/>
                    </a:lnTo>
                    <a:lnTo>
                      <a:pt x="10299" y="13321"/>
                    </a:lnTo>
                    <a:lnTo>
                      <a:pt x="12090" y="13209"/>
                    </a:lnTo>
                    <a:lnTo>
                      <a:pt x="12425" y="13097"/>
                    </a:lnTo>
                    <a:lnTo>
                      <a:pt x="12985" y="12874"/>
                    </a:lnTo>
                    <a:lnTo>
                      <a:pt x="14328" y="11978"/>
                    </a:lnTo>
                    <a:lnTo>
                      <a:pt x="15896" y="10747"/>
                    </a:lnTo>
                    <a:lnTo>
                      <a:pt x="17575" y="9291"/>
                    </a:lnTo>
                    <a:lnTo>
                      <a:pt x="20373" y="6717"/>
                    </a:lnTo>
                    <a:lnTo>
                      <a:pt x="21604" y="5597"/>
                    </a:lnTo>
                    <a:lnTo>
                      <a:pt x="21940" y="1"/>
                    </a:lnTo>
                    <a:close/>
                  </a:path>
                </a:pathLst>
              </a:custGeom>
              <a:solidFill>
                <a:srgbClr val="DF332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33" name="Google Shape;2033;p16"/>
              <p:cNvSpPr/>
              <p:nvPr/>
            </p:nvSpPr>
            <p:spPr>
              <a:xfrm>
                <a:off x="2976050" y="1777275"/>
                <a:ext cx="548525" cy="333050"/>
              </a:xfrm>
              <a:custGeom>
                <a:avLst/>
                <a:gdLst/>
                <a:ahLst/>
                <a:cxnLst/>
                <a:rect l="l" t="t" r="r" b="b"/>
                <a:pathLst>
                  <a:path w="21941" h="13322" fill="none" extrusionOk="0">
                    <a:moveTo>
                      <a:pt x="21940" y="1"/>
                    </a:moveTo>
                    <a:lnTo>
                      <a:pt x="21940" y="1"/>
                    </a:lnTo>
                    <a:lnTo>
                      <a:pt x="21157" y="336"/>
                    </a:lnTo>
                    <a:lnTo>
                      <a:pt x="20373" y="672"/>
                    </a:lnTo>
                    <a:lnTo>
                      <a:pt x="19590" y="1232"/>
                    </a:lnTo>
                    <a:lnTo>
                      <a:pt x="18806" y="1792"/>
                    </a:lnTo>
                    <a:lnTo>
                      <a:pt x="17239" y="3247"/>
                    </a:lnTo>
                    <a:lnTo>
                      <a:pt x="15672" y="4702"/>
                    </a:lnTo>
                    <a:lnTo>
                      <a:pt x="14216" y="6269"/>
                    </a:lnTo>
                    <a:lnTo>
                      <a:pt x="12985" y="7500"/>
                    </a:lnTo>
                    <a:lnTo>
                      <a:pt x="11754" y="8508"/>
                    </a:lnTo>
                    <a:lnTo>
                      <a:pt x="11194" y="8844"/>
                    </a:lnTo>
                    <a:lnTo>
                      <a:pt x="10746" y="9068"/>
                    </a:lnTo>
                    <a:lnTo>
                      <a:pt x="10746" y="9068"/>
                    </a:lnTo>
                    <a:lnTo>
                      <a:pt x="9627" y="9291"/>
                    </a:lnTo>
                    <a:lnTo>
                      <a:pt x="8284" y="9403"/>
                    </a:lnTo>
                    <a:lnTo>
                      <a:pt x="4926" y="9627"/>
                    </a:lnTo>
                    <a:lnTo>
                      <a:pt x="1791" y="9739"/>
                    </a:lnTo>
                    <a:lnTo>
                      <a:pt x="224" y="9739"/>
                    </a:lnTo>
                    <a:lnTo>
                      <a:pt x="224" y="9739"/>
                    </a:lnTo>
                    <a:lnTo>
                      <a:pt x="112" y="9963"/>
                    </a:lnTo>
                    <a:lnTo>
                      <a:pt x="0" y="10299"/>
                    </a:lnTo>
                    <a:lnTo>
                      <a:pt x="112" y="11418"/>
                    </a:lnTo>
                    <a:lnTo>
                      <a:pt x="336" y="12538"/>
                    </a:lnTo>
                    <a:lnTo>
                      <a:pt x="448" y="12985"/>
                    </a:lnTo>
                    <a:lnTo>
                      <a:pt x="672" y="13097"/>
                    </a:lnTo>
                    <a:lnTo>
                      <a:pt x="672" y="13097"/>
                    </a:lnTo>
                    <a:lnTo>
                      <a:pt x="1903" y="13097"/>
                    </a:lnTo>
                    <a:lnTo>
                      <a:pt x="4254" y="13209"/>
                    </a:lnTo>
                    <a:lnTo>
                      <a:pt x="4254" y="13209"/>
                    </a:lnTo>
                    <a:lnTo>
                      <a:pt x="8284" y="13321"/>
                    </a:lnTo>
                    <a:lnTo>
                      <a:pt x="10299" y="13321"/>
                    </a:lnTo>
                    <a:lnTo>
                      <a:pt x="12090" y="13209"/>
                    </a:lnTo>
                    <a:lnTo>
                      <a:pt x="12090" y="13209"/>
                    </a:lnTo>
                    <a:lnTo>
                      <a:pt x="12425" y="13097"/>
                    </a:lnTo>
                    <a:lnTo>
                      <a:pt x="12985" y="12874"/>
                    </a:lnTo>
                    <a:lnTo>
                      <a:pt x="14328" y="11978"/>
                    </a:lnTo>
                    <a:lnTo>
                      <a:pt x="15896" y="10747"/>
                    </a:lnTo>
                    <a:lnTo>
                      <a:pt x="17575" y="9291"/>
                    </a:lnTo>
                    <a:lnTo>
                      <a:pt x="20373" y="6717"/>
                    </a:lnTo>
                    <a:lnTo>
                      <a:pt x="21604" y="5597"/>
                    </a:lnTo>
                    <a:lnTo>
                      <a:pt x="2194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34" name="Google Shape;2034;p16"/>
              <p:cNvSpPr/>
              <p:nvPr/>
            </p:nvSpPr>
            <p:spPr>
              <a:xfrm>
                <a:off x="3415400" y="1819250"/>
                <a:ext cx="33600" cy="28000"/>
              </a:xfrm>
              <a:custGeom>
                <a:avLst/>
                <a:gdLst/>
                <a:ahLst/>
                <a:cxnLst/>
                <a:rect l="l" t="t" r="r" b="b"/>
                <a:pathLst>
                  <a:path w="1344" h="1120" extrusionOk="0">
                    <a:moveTo>
                      <a:pt x="1344" y="1"/>
                    </a:moveTo>
                    <a:lnTo>
                      <a:pt x="784" y="336"/>
                    </a:lnTo>
                    <a:lnTo>
                      <a:pt x="523" y="685"/>
                    </a:lnTo>
                    <a:lnTo>
                      <a:pt x="1344" y="1"/>
                    </a:lnTo>
                    <a:close/>
                    <a:moveTo>
                      <a:pt x="523" y="685"/>
                    </a:moveTo>
                    <a:lnTo>
                      <a:pt x="1" y="1120"/>
                    </a:lnTo>
                    <a:lnTo>
                      <a:pt x="448" y="784"/>
                    </a:lnTo>
                    <a:lnTo>
                      <a:pt x="523" y="685"/>
                    </a:lnTo>
                    <a:close/>
                  </a:path>
                </a:pathLst>
              </a:custGeom>
              <a:solidFill>
                <a:srgbClr val="C0BDC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35" name="Google Shape;2035;p16"/>
              <p:cNvSpPr/>
              <p:nvPr/>
            </p:nvSpPr>
            <p:spPr>
              <a:xfrm>
                <a:off x="3415400" y="1819250"/>
                <a:ext cx="33600" cy="28000"/>
              </a:xfrm>
              <a:custGeom>
                <a:avLst/>
                <a:gdLst/>
                <a:ahLst/>
                <a:cxnLst/>
                <a:rect l="l" t="t" r="r" b="b"/>
                <a:pathLst>
                  <a:path w="1344" h="1120" fill="none" extrusionOk="0">
                    <a:moveTo>
                      <a:pt x="1344" y="1"/>
                    </a:moveTo>
                    <a:lnTo>
                      <a:pt x="1344" y="1"/>
                    </a:lnTo>
                    <a:lnTo>
                      <a:pt x="784" y="336"/>
                    </a:lnTo>
                    <a:lnTo>
                      <a:pt x="448" y="784"/>
                    </a:lnTo>
                    <a:lnTo>
                      <a:pt x="1" y="1120"/>
                    </a:lnTo>
                    <a:lnTo>
                      <a:pt x="1" y="1120"/>
                    </a:lnTo>
                    <a:lnTo>
                      <a:pt x="1" y="1120"/>
                    </a:lnTo>
                    <a:lnTo>
                      <a:pt x="1" y="1120"/>
                    </a:lnTo>
                    <a:lnTo>
                      <a:pt x="1344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36" name="Google Shape;2036;p16"/>
              <p:cNvSpPr/>
              <p:nvPr/>
            </p:nvSpPr>
            <p:spPr>
              <a:xfrm>
                <a:off x="3605700" y="1796875"/>
                <a:ext cx="50400" cy="42000"/>
              </a:xfrm>
              <a:custGeom>
                <a:avLst/>
                <a:gdLst/>
                <a:ahLst/>
                <a:cxnLst/>
                <a:rect l="l" t="t" r="r" b="b"/>
                <a:pathLst>
                  <a:path w="2016" h="1680" extrusionOk="0">
                    <a:moveTo>
                      <a:pt x="1680" y="0"/>
                    </a:moveTo>
                    <a:lnTo>
                      <a:pt x="1456" y="112"/>
                    </a:lnTo>
                    <a:lnTo>
                      <a:pt x="1344" y="224"/>
                    </a:lnTo>
                    <a:lnTo>
                      <a:pt x="896" y="560"/>
                    </a:lnTo>
                    <a:lnTo>
                      <a:pt x="0" y="784"/>
                    </a:lnTo>
                    <a:lnTo>
                      <a:pt x="112" y="1119"/>
                    </a:lnTo>
                    <a:lnTo>
                      <a:pt x="112" y="1679"/>
                    </a:lnTo>
                    <a:lnTo>
                      <a:pt x="1008" y="1008"/>
                    </a:lnTo>
                    <a:lnTo>
                      <a:pt x="1456" y="672"/>
                    </a:lnTo>
                    <a:lnTo>
                      <a:pt x="1680" y="560"/>
                    </a:lnTo>
                    <a:lnTo>
                      <a:pt x="1903" y="448"/>
                    </a:lnTo>
                    <a:lnTo>
                      <a:pt x="2015" y="224"/>
                    </a:lnTo>
                    <a:lnTo>
                      <a:pt x="1903" y="112"/>
                    </a:lnTo>
                    <a:lnTo>
                      <a:pt x="1791" y="0"/>
                    </a:lnTo>
                    <a:close/>
                  </a:path>
                </a:pathLst>
              </a:custGeom>
              <a:solidFill>
                <a:srgbClr val="C0BDC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37" name="Google Shape;2037;p16"/>
              <p:cNvSpPr/>
              <p:nvPr/>
            </p:nvSpPr>
            <p:spPr>
              <a:xfrm>
                <a:off x="3605700" y="1796875"/>
                <a:ext cx="50400" cy="42000"/>
              </a:xfrm>
              <a:custGeom>
                <a:avLst/>
                <a:gdLst/>
                <a:ahLst/>
                <a:cxnLst/>
                <a:rect l="l" t="t" r="r" b="b"/>
                <a:pathLst>
                  <a:path w="2016" h="1680" fill="none" extrusionOk="0">
                    <a:moveTo>
                      <a:pt x="1680" y="0"/>
                    </a:moveTo>
                    <a:lnTo>
                      <a:pt x="1680" y="0"/>
                    </a:lnTo>
                    <a:lnTo>
                      <a:pt x="1456" y="112"/>
                    </a:lnTo>
                    <a:lnTo>
                      <a:pt x="1344" y="224"/>
                    </a:lnTo>
                    <a:lnTo>
                      <a:pt x="896" y="560"/>
                    </a:lnTo>
                    <a:lnTo>
                      <a:pt x="896" y="560"/>
                    </a:lnTo>
                    <a:lnTo>
                      <a:pt x="0" y="784"/>
                    </a:lnTo>
                    <a:lnTo>
                      <a:pt x="0" y="784"/>
                    </a:lnTo>
                    <a:lnTo>
                      <a:pt x="112" y="1119"/>
                    </a:lnTo>
                    <a:lnTo>
                      <a:pt x="112" y="1119"/>
                    </a:lnTo>
                    <a:lnTo>
                      <a:pt x="112" y="1679"/>
                    </a:lnTo>
                    <a:lnTo>
                      <a:pt x="112" y="1679"/>
                    </a:lnTo>
                    <a:lnTo>
                      <a:pt x="1008" y="1008"/>
                    </a:lnTo>
                    <a:lnTo>
                      <a:pt x="1456" y="672"/>
                    </a:lnTo>
                    <a:lnTo>
                      <a:pt x="1456" y="672"/>
                    </a:lnTo>
                    <a:lnTo>
                      <a:pt x="1456" y="672"/>
                    </a:lnTo>
                    <a:lnTo>
                      <a:pt x="1456" y="672"/>
                    </a:lnTo>
                    <a:lnTo>
                      <a:pt x="1456" y="672"/>
                    </a:lnTo>
                    <a:lnTo>
                      <a:pt x="1456" y="672"/>
                    </a:lnTo>
                    <a:lnTo>
                      <a:pt x="1680" y="560"/>
                    </a:lnTo>
                    <a:lnTo>
                      <a:pt x="1903" y="448"/>
                    </a:lnTo>
                    <a:lnTo>
                      <a:pt x="2015" y="224"/>
                    </a:lnTo>
                    <a:lnTo>
                      <a:pt x="1903" y="112"/>
                    </a:lnTo>
                    <a:lnTo>
                      <a:pt x="1791" y="0"/>
                    </a:lnTo>
                    <a:lnTo>
                      <a:pt x="1791" y="0"/>
                    </a:lnTo>
                    <a:lnTo>
                      <a:pt x="168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38" name="Google Shape;2038;p16"/>
              <p:cNvSpPr/>
              <p:nvPr/>
            </p:nvSpPr>
            <p:spPr>
              <a:xfrm>
                <a:off x="3518950" y="1816450"/>
                <a:ext cx="89575" cy="53200"/>
              </a:xfrm>
              <a:custGeom>
                <a:avLst/>
                <a:gdLst/>
                <a:ahLst/>
                <a:cxnLst/>
                <a:rect l="l" t="t" r="r" b="b"/>
                <a:pathLst>
                  <a:path w="3583" h="2128" extrusionOk="0">
                    <a:moveTo>
                      <a:pt x="3470" y="1"/>
                    </a:moveTo>
                    <a:lnTo>
                      <a:pt x="2575" y="336"/>
                    </a:lnTo>
                    <a:lnTo>
                      <a:pt x="1456" y="560"/>
                    </a:lnTo>
                    <a:lnTo>
                      <a:pt x="560" y="672"/>
                    </a:lnTo>
                    <a:lnTo>
                      <a:pt x="112" y="672"/>
                    </a:lnTo>
                    <a:lnTo>
                      <a:pt x="0" y="2128"/>
                    </a:lnTo>
                    <a:lnTo>
                      <a:pt x="1008" y="2128"/>
                    </a:lnTo>
                    <a:lnTo>
                      <a:pt x="1679" y="1904"/>
                    </a:lnTo>
                    <a:lnTo>
                      <a:pt x="2351" y="1680"/>
                    </a:lnTo>
                    <a:lnTo>
                      <a:pt x="3582" y="896"/>
                    </a:lnTo>
                    <a:lnTo>
                      <a:pt x="3582" y="336"/>
                    </a:lnTo>
                    <a:lnTo>
                      <a:pt x="3470" y="1"/>
                    </a:lnTo>
                    <a:close/>
                  </a:path>
                </a:pathLst>
              </a:custGeom>
              <a:solidFill>
                <a:srgbClr val="B5352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39" name="Google Shape;2039;p16"/>
              <p:cNvSpPr/>
              <p:nvPr/>
            </p:nvSpPr>
            <p:spPr>
              <a:xfrm>
                <a:off x="3518950" y="1816450"/>
                <a:ext cx="89575" cy="53200"/>
              </a:xfrm>
              <a:custGeom>
                <a:avLst/>
                <a:gdLst/>
                <a:ahLst/>
                <a:cxnLst/>
                <a:rect l="l" t="t" r="r" b="b"/>
                <a:pathLst>
                  <a:path w="3583" h="2128" fill="none" extrusionOk="0">
                    <a:moveTo>
                      <a:pt x="3470" y="1"/>
                    </a:moveTo>
                    <a:lnTo>
                      <a:pt x="3470" y="1"/>
                    </a:lnTo>
                    <a:lnTo>
                      <a:pt x="2575" y="336"/>
                    </a:lnTo>
                    <a:lnTo>
                      <a:pt x="1456" y="560"/>
                    </a:lnTo>
                    <a:lnTo>
                      <a:pt x="1456" y="560"/>
                    </a:lnTo>
                    <a:lnTo>
                      <a:pt x="560" y="672"/>
                    </a:lnTo>
                    <a:lnTo>
                      <a:pt x="560" y="672"/>
                    </a:lnTo>
                    <a:lnTo>
                      <a:pt x="112" y="672"/>
                    </a:lnTo>
                    <a:lnTo>
                      <a:pt x="0" y="2128"/>
                    </a:lnTo>
                    <a:lnTo>
                      <a:pt x="0" y="2128"/>
                    </a:lnTo>
                    <a:lnTo>
                      <a:pt x="224" y="2128"/>
                    </a:lnTo>
                    <a:lnTo>
                      <a:pt x="224" y="2128"/>
                    </a:lnTo>
                    <a:lnTo>
                      <a:pt x="1008" y="2128"/>
                    </a:lnTo>
                    <a:lnTo>
                      <a:pt x="1008" y="2128"/>
                    </a:lnTo>
                    <a:lnTo>
                      <a:pt x="1679" y="1904"/>
                    </a:lnTo>
                    <a:lnTo>
                      <a:pt x="2351" y="1680"/>
                    </a:lnTo>
                    <a:lnTo>
                      <a:pt x="3582" y="896"/>
                    </a:lnTo>
                    <a:lnTo>
                      <a:pt x="3582" y="896"/>
                    </a:lnTo>
                    <a:lnTo>
                      <a:pt x="3582" y="336"/>
                    </a:lnTo>
                    <a:lnTo>
                      <a:pt x="3582" y="336"/>
                    </a:lnTo>
                    <a:lnTo>
                      <a:pt x="347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40" name="Google Shape;2040;p16"/>
              <p:cNvSpPr/>
              <p:nvPr/>
            </p:nvSpPr>
            <p:spPr>
              <a:xfrm>
                <a:off x="3415400" y="1813650"/>
                <a:ext cx="106375" cy="56000"/>
              </a:xfrm>
              <a:custGeom>
                <a:avLst/>
                <a:gdLst/>
                <a:ahLst/>
                <a:cxnLst/>
                <a:rect l="l" t="t" r="r" b="b"/>
                <a:pathLst>
                  <a:path w="4255" h="2240" extrusionOk="0">
                    <a:moveTo>
                      <a:pt x="1904" y="1"/>
                    </a:moveTo>
                    <a:lnTo>
                      <a:pt x="1344" y="225"/>
                    </a:lnTo>
                    <a:lnTo>
                      <a:pt x="1" y="1344"/>
                    </a:lnTo>
                    <a:lnTo>
                      <a:pt x="3471" y="2240"/>
                    </a:lnTo>
                    <a:lnTo>
                      <a:pt x="4142" y="2240"/>
                    </a:lnTo>
                    <a:lnTo>
                      <a:pt x="4254" y="784"/>
                    </a:lnTo>
                    <a:lnTo>
                      <a:pt x="3807" y="672"/>
                    </a:lnTo>
                    <a:lnTo>
                      <a:pt x="3023" y="560"/>
                    </a:lnTo>
                    <a:lnTo>
                      <a:pt x="2575" y="448"/>
                    </a:lnTo>
                    <a:lnTo>
                      <a:pt x="1904" y="1"/>
                    </a:lnTo>
                    <a:close/>
                  </a:path>
                </a:pathLst>
              </a:custGeom>
              <a:solidFill>
                <a:srgbClr val="B5352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41" name="Google Shape;2041;p16"/>
              <p:cNvSpPr/>
              <p:nvPr/>
            </p:nvSpPr>
            <p:spPr>
              <a:xfrm>
                <a:off x="3415400" y="1813650"/>
                <a:ext cx="106375" cy="56000"/>
              </a:xfrm>
              <a:custGeom>
                <a:avLst/>
                <a:gdLst/>
                <a:ahLst/>
                <a:cxnLst/>
                <a:rect l="l" t="t" r="r" b="b"/>
                <a:pathLst>
                  <a:path w="4255" h="2240" fill="none" extrusionOk="0">
                    <a:moveTo>
                      <a:pt x="1904" y="1"/>
                    </a:moveTo>
                    <a:lnTo>
                      <a:pt x="1904" y="1"/>
                    </a:lnTo>
                    <a:lnTo>
                      <a:pt x="1344" y="225"/>
                    </a:lnTo>
                    <a:lnTo>
                      <a:pt x="1344" y="225"/>
                    </a:lnTo>
                    <a:lnTo>
                      <a:pt x="1" y="1344"/>
                    </a:lnTo>
                    <a:lnTo>
                      <a:pt x="1" y="1344"/>
                    </a:lnTo>
                    <a:lnTo>
                      <a:pt x="3471" y="2240"/>
                    </a:lnTo>
                    <a:lnTo>
                      <a:pt x="3471" y="2240"/>
                    </a:lnTo>
                    <a:lnTo>
                      <a:pt x="4142" y="2240"/>
                    </a:lnTo>
                    <a:lnTo>
                      <a:pt x="4254" y="784"/>
                    </a:lnTo>
                    <a:lnTo>
                      <a:pt x="4254" y="784"/>
                    </a:lnTo>
                    <a:lnTo>
                      <a:pt x="3807" y="672"/>
                    </a:lnTo>
                    <a:lnTo>
                      <a:pt x="3807" y="672"/>
                    </a:lnTo>
                    <a:lnTo>
                      <a:pt x="3023" y="560"/>
                    </a:lnTo>
                    <a:lnTo>
                      <a:pt x="2575" y="448"/>
                    </a:lnTo>
                    <a:lnTo>
                      <a:pt x="1904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42" name="Google Shape;2042;p16"/>
              <p:cNvSpPr/>
              <p:nvPr/>
            </p:nvSpPr>
            <p:spPr>
              <a:xfrm>
                <a:off x="2922875" y="1684925"/>
                <a:ext cx="744425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29777" h="6605" extrusionOk="0">
                    <a:moveTo>
                      <a:pt x="560" y="1"/>
                    </a:moveTo>
                    <a:lnTo>
                      <a:pt x="224" y="224"/>
                    </a:lnTo>
                    <a:lnTo>
                      <a:pt x="0" y="448"/>
                    </a:lnTo>
                    <a:lnTo>
                      <a:pt x="0" y="784"/>
                    </a:lnTo>
                    <a:lnTo>
                      <a:pt x="224" y="1232"/>
                    </a:lnTo>
                    <a:lnTo>
                      <a:pt x="448" y="1680"/>
                    </a:lnTo>
                    <a:lnTo>
                      <a:pt x="896" y="2015"/>
                    </a:lnTo>
                    <a:lnTo>
                      <a:pt x="2239" y="2575"/>
                    </a:lnTo>
                    <a:lnTo>
                      <a:pt x="4590" y="3471"/>
                    </a:lnTo>
                    <a:lnTo>
                      <a:pt x="7276" y="4366"/>
                    </a:lnTo>
                    <a:lnTo>
                      <a:pt x="9179" y="4814"/>
                    </a:lnTo>
                    <a:lnTo>
                      <a:pt x="11306" y="4814"/>
                    </a:lnTo>
                    <a:lnTo>
                      <a:pt x="12314" y="4590"/>
                    </a:lnTo>
                    <a:lnTo>
                      <a:pt x="13321" y="4366"/>
                    </a:lnTo>
                    <a:lnTo>
                      <a:pt x="15224" y="3918"/>
                    </a:lnTo>
                    <a:lnTo>
                      <a:pt x="16008" y="3806"/>
                    </a:lnTo>
                    <a:lnTo>
                      <a:pt x="16679" y="3806"/>
                    </a:lnTo>
                    <a:lnTo>
                      <a:pt x="17463" y="4030"/>
                    </a:lnTo>
                    <a:lnTo>
                      <a:pt x="18246" y="4366"/>
                    </a:lnTo>
                    <a:lnTo>
                      <a:pt x="20149" y="5150"/>
                    </a:lnTo>
                    <a:lnTo>
                      <a:pt x="22052" y="5933"/>
                    </a:lnTo>
                    <a:lnTo>
                      <a:pt x="22948" y="6269"/>
                    </a:lnTo>
                    <a:lnTo>
                      <a:pt x="23843" y="6493"/>
                    </a:lnTo>
                    <a:lnTo>
                      <a:pt x="24627" y="6605"/>
                    </a:lnTo>
                    <a:lnTo>
                      <a:pt x="25522" y="6493"/>
                    </a:lnTo>
                    <a:lnTo>
                      <a:pt x="26306" y="6269"/>
                    </a:lnTo>
                    <a:lnTo>
                      <a:pt x="27090" y="5933"/>
                    </a:lnTo>
                    <a:lnTo>
                      <a:pt x="28321" y="5374"/>
                    </a:lnTo>
                    <a:lnTo>
                      <a:pt x="28769" y="5150"/>
                    </a:lnTo>
                    <a:lnTo>
                      <a:pt x="28993" y="5262"/>
                    </a:lnTo>
                    <a:lnTo>
                      <a:pt x="29328" y="5374"/>
                    </a:lnTo>
                    <a:lnTo>
                      <a:pt x="29440" y="5374"/>
                    </a:lnTo>
                    <a:lnTo>
                      <a:pt x="29552" y="5150"/>
                    </a:lnTo>
                    <a:lnTo>
                      <a:pt x="29664" y="4814"/>
                    </a:lnTo>
                    <a:lnTo>
                      <a:pt x="29776" y="4590"/>
                    </a:lnTo>
                    <a:lnTo>
                      <a:pt x="29664" y="4366"/>
                    </a:lnTo>
                    <a:lnTo>
                      <a:pt x="29552" y="4254"/>
                    </a:lnTo>
                    <a:lnTo>
                      <a:pt x="29216" y="4030"/>
                    </a:lnTo>
                    <a:lnTo>
                      <a:pt x="28993" y="4030"/>
                    </a:lnTo>
                    <a:lnTo>
                      <a:pt x="28881" y="4142"/>
                    </a:lnTo>
                    <a:lnTo>
                      <a:pt x="28433" y="4254"/>
                    </a:lnTo>
                    <a:lnTo>
                      <a:pt x="27537" y="4702"/>
                    </a:lnTo>
                    <a:lnTo>
                      <a:pt x="26418" y="5038"/>
                    </a:lnTo>
                    <a:lnTo>
                      <a:pt x="25299" y="5150"/>
                    </a:lnTo>
                    <a:lnTo>
                      <a:pt x="24627" y="5150"/>
                    </a:lnTo>
                    <a:lnTo>
                      <a:pt x="24067" y="5038"/>
                    </a:lnTo>
                    <a:lnTo>
                      <a:pt x="23396" y="4926"/>
                    </a:lnTo>
                    <a:lnTo>
                      <a:pt x="22612" y="4478"/>
                    </a:lnTo>
                    <a:lnTo>
                      <a:pt x="20821" y="3359"/>
                    </a:lnTo>
                    <a:lnTo>
                      <a:pt x="19926" y="2799"/>
                    </a:lnTo>
                    <a:lnTo>
                      <a:pt x="18918" y="2239"/>
                    </a:lnTo>
                    <a:lnTo>
                      <a:pt x="17911" y="1903"/>
                    </a:lnTo>
                    <a:lnTo>
                      <a:pt x="17015" y="1680"/>
                    </a:lnTo>
                    <a:lnTo>
                      <a:pt x="16120" y="1680"/>
                    </a:lnTo>
                    <a:lnTo>
                      <a:pt x="15224" y="1903"/>
                    </a:lnTo>
                    <a:lnTo>
                      <a:pt x="13657" y="2463"/>
                    </a:lnTo>
                    <a:lnTo>
                      <a:pt x="12873" y="2687"/>
                    </a:lnTo>
                    <a:lnTo>
                      <a:pt x="11866" y="2911"/>
                    </a:lnTo>
                    <a:lnTo>
                      <a:pt x="10858" y="3023"/>
                    </a:lnTo>
                    <a:lnTo>
                      <a:pt x="9627" y="2911"/>
                    </a:lnTo>
                    <a:lnTo>
                      <a:pt x="8284" y="2687"/>
                    </a:lnTo>
                    <a:lnTo>
                      <a:pt x="7053" y="2351"/>
                    </a:lnTo>
                    <a:lnTo>
                      <a:pt x="5933" y="1903"/>
                    </a:lnTo>
                    <a:lnTo>
                      <a:pt x="4814" y="1456"/>
                    </a:lnTo>
                    <a:lnTo>
                      <a:pt x="3023" y="560"/>
                    </a:lnTo>
                    <a:lnTo>
                      <a:pt x="2351" y="224"/>
                    </a:lnTo>
                    <a:lnTo>
                      <a:pt x="1791" y="112"/>
                    </a:lnTo>
                    <a:lnTo>
                      <a:pt x="1120" y="1"/>
                    </a:lnTo>
                    <a:close/>
                  </a:path>
                </a:pathLst>
              </a:custGeom>
              <a:solidFill>
                <a:srgbClr val="FDB61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43" name="Google Shape;2043;p16"/>
              <p:cNvSpPr/>
              <p:nvPr/>
            </p:nvSpPr>
            <p:spPr>
              <a:xfrm>
                <a:off x="3432200" y="1953575"/>
                <a:ext cx="47600" cy="145550"/>
              </a:xfrm>
              <a:custGeom>
                <a:avLst/>
                <a:gdLst/>
                <a:ahLst/>
                <a:cxnLst/>
                <a:rect l="l" t="t" r="r" b="b"/>
                <a:pathLst>
                  <a:path w="1904" h="5822" extrusionOk="0">
                    <a:moveTo>
                      <a:pt x="1903" y="1"/>
                    </a:moveTo>
                    <a:lnTo>
                      <a:pt x="1455" y="336"/>
                    </a:lnTo>
                    <a:lnTo>
                      <a:pt x="0" y="1792"/>
                    </a:lnTo>
                    <a:lnTo>
                      <a:pt x="0" y="2575"/>
                    </a:lnTo>
                    <a:lnTo>
                      <a:pt x="112" y="4814"/>
                    </a:lnTo>
                    <a:lnTo>
                      <a:pt x="224" y="5598"/>
                    </a:lnTo>
                    <a:lnTo>
                      <a:pt x="224" y="5822"/>
                    </a:lnTo>
                    <a:lnTo>
                      <a:pt x="784" y="4366"/>
                    </a:lnTo>
                    <a:lnTo>
                      <a:pt x="1232" y="2463"/>
                    </a:lnTo>
                    <a:lnTo>
                      <a:pt x="1903" y="1"/>
                    </a:lnTo>
                    <a:close/>
                  </a:path>
                </a:pathLst>
              </a:custGeom>
              <a:solidFill>
                <a:srgbClr val="9B3433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44" name="Google Shape;2044;p16"/>
              <p:cNvSpPr/>
              <p:nvPr/>
            </p:nvSpPr>
            <p:spPr>
              <a:xfrm>
                <a:off x="3432200" y="1953575"/>
                <a:ext cx="47600" cy="145550"/>
              </a:xfrm>
              <a:custGeom>
                <a:avLst/>
                <a:gdLst/>
                <a:ahLst/>
                <a:cxnLst/>
                <a:rect l="l" t="t" r="r" b="b"/>
                <a:pathLst>
                  <a:path w="1904" h="5822" fill="none" extrusionOk="0">
                    <a:moveTo>
                      <a:pt x="1903" y="1"/>
                    </a:moveTo>
                    <a:lnTo>
                      <a:pt x="1903" y="1"/>
                    </a:lnTo>
                    <a:lnTo>
                      <a:pt x="1455" y="336"/>
                    </a:lnTo>
                    <a:lnTo>
                      <a:pt x="0" y="1792"/>
                    </a:lnTo>
                    <a:lnTo>
                      <a:pt x="0" y="1792"/>
                    </a:lnTo>
                    <a:lnTo>
                      <a:pt x="0" y="2575"/>
                    </a:lnTo>
                    <a:lnTo>
                      <a:pt x="0" y="2575"/>
                    </a:lnTo>
                    <a:lnTo>
                      <a:pt x="112" y="4814"/>
                    </a:lnTo>
                    <a:lnTo>
                      <a:pt x="112" y="4814"/>
                    </a:lnTo>
                    <a:lnTo>
                      <a:pt x="224" y="5598"/>
                    </a:lnTo>
                    <a:lnTo>
                      <a:pt x="224" y="5598"/>
                    </a:lnTo>
                    <a:lnTo>
                      <a:pt x="224" y="5598"/>
                    </a:lnTo>
                    <a:lnTo>
                      <a:pt x="224" y="5598"/>
                    </a:lnTo>
                    <a:lnTo>
                      <a:pt x="224" y="5598"/>
                    </a:lnTo>
                    <a:lnTo>
                      <a:pt x="224" y="5822"/>
                    </a:lnTo>
                    <a:lnTo>
                      <a:pt x="224" y="5822"/>
                    </a:lnTo>
                    <a:lnTo>
                      <a:pt x="784" y="4366"/>
                    </a:lnTo>
                    <a:lnTo>
                      <a:pt x="1232" y="2463"/>
                    </a:lnTo>
                    <a:lnTo>
                      <a:pt x="190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45" name="Google Shape;2045;p16"/>
              <p:cNvSpPr/>
              <p:nvPr/>
            </p:nvSpPr>
            <p:spPr>
              <a:xfrm>
                <a:off x="3468575" y="1950775"/>
                <a:ext cx="11225" cy="11225"/>
              </a:xfrm>
              <a:custGeom>
                <a:avLst/>
                <a:gdLst/>
                <a:ahLst/>
                <a:cxnLst/>
                <a:rect l="l" t="t" r="r" b="b"/>
                <a:pathLst>
                  <a:path w="449" h="449" extrusionOk="0">
                    <a:moveTo>
                      <a:pt x="448" y="1"/>
                    </a:moveTo>
                    <a:lnTo>
                      <a:pt x="0" y="448"/>
                    </a:lnTo>
                    <a:lnTo>
                      <a:pt x="448" y="113"/>
                    </a:lnTo>
                    <a:lnTo>
                      <a:pt x="448" y="1"/>
                    </a:lnTo>
                    <a:close/>
                  </a:path>
                </a:pathLst>
              </a:custGeom>
              <a:solidFill>
                <a:srgbClr val="9B3433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46" name="Google Shape;2046;p16"/>
              <p:cNvSpPr/>
              <p:nvPr/>
            </p:nvSpPr>
            <p:spPr>
              <a:xfrm>
                <a:off x="3468575" y="1950775"/>
                <a:ext cx="11225" cy="11225"/>
              </a:xfrm>
              <a:custGeom>
                <a:avLst/>
                <a:gdLst/>
                <a:ahLst/>
                <a:cxnLst/>
                <a:rect l="l" t="t" r="r" b="b"/>
                <a:pathLst>
                  <a:path w="449" h="449" fill="none" extrusionOk="0">
                    <a:moveTo>
                      <a:pt x="448" y="1"/>
                    </a:moveTo>
                    <a:lnTo>
                      <a:pt x="0" y="448"/>
                    </a:lnTo>
                    <a:lnTo>
                      <a:pt x="0" y="448"/>
                    </a:lnTo>
                    <a:lnTo>
                      <a:pt x="448" y="113"/>
                    </a:lnTo>
                    <a:lnTo>
                      <a:pt x="448" y="113"/>
                    </a:lnTo>
                    <a:lnTo>
                      <a:pt x="448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47" name="Google Shape;2047;p16"/>
              <p:cNvSpPr/>
              <p:nvPr/>
            </p:nvSpPr>
            <p:spPr>
              <a:xfrm>
                <a:off x="3588900" y="1609375"/>
                <a:ext cx="134350" cy="120350"/>
              </a:xfrm>
              <a:custGeom>
                <a:avLst/>
                <a:gdLst/>
                <a:ahLst/>
                <a:cxnLst/>
                <a:rect l="l" t="t" r="r" b="b"/>
                <a:pathLst>
                  <a:path w="5374" h="4814" extrusionOk="0">
                    <a:moveTo>
                      <a:pt x="4031" y="0"/>
                    </a:moveTo>
                    <a:lnTo>
                      <a:pt x="1" y="1008"/>
                    </a:lnTo>
                    <a:lnTo>
                      <a:pt x="225" y="2127"/>
                    </a:lnTo>
                    <a:lnTo>
                      <a:pt x="449" y="3134"/>
                    </a:lnTo>
                    <a:lnTo>
                      <a:pt x="784" y="3918"/>
                    </a:lnTo>
                    <a:lnTo>
                      <a:pt x="1008" y="4142"/>
                    </a:lnTo>
                    <a:lnTo>
                      <a:pt x="1456" y="4366"/>
                    </a:lnTo>
                    <a:lnTo>
                      <a:pt x="1904" y="4590"/>
                    </a:lnTo>
                    <a:lnTo>
                      <a:pt x="2463" y="4702"/>
                    </a:lnTo>
                    <a:lnTo>
                      <a:pt x="3135" y="4814"/>
                    </a:lnTo>
                    <a:lnTo>
                      <a:pt x="4478" y="4814"/>
                    </a:lnTo>
                    <a:lnTo>
                      <a:pt x="5150" y="4702"/>
                    </a:lnTo>
                    <a:lnTo>
                      <a:pt x="5262" y="4590"/>
                    </a:lnTo>
                    <a:lnTo>
                      <a:pt x="5374" y="4254"/>
                    </a:lnTo>
                    <a:lnTo>
                      <a:pt x="5150" y="3582"/>
                    </a:lnTo>
                    <a:lnTo>
                      <a:pt x="4926" y="2911"/>
                    </a:lnTo>
                    <a:lnTo>
                      <a:pt x="5038" y="2687"/>
                    </a:lnTo>
                    <a:lnTo>
                      <a:pt x="5150" y="2575"/>
                    </a:lnTo>
                    <a:lnTo>
                      <a:pt x="5262" y="2463"/>
                    </a:lnTo>
                    <a:lnTo>
                      <a:pt x="5262" y="2239"/>
                    </a:lnTo>
                    <a:lnTo>
                      <a:pt x="4926" y="1567"/>
                    </a:lnTo>
                    <a:lnTo>
                      <a:pt x="4366" y="784"/>
                    </a:lnTo>
                    <a:lnTo>
                      <a:pt x="4031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48" name="Google Shape;2048;p16"/>
              <p:cNvSpPr/>
              <p:nvPr/>
            </p:nvSpPr>
            <p:spPr>
              <a:xfrm>
                <a:off x="3552525" y="1559000"/>
                <a:ext cx="167925" cy="170725"/>
              </a:xfrm>
              <a:custGeom>
                <a:avLst/>
                <a:gdLst/>
                <a:ahLst/>
                <a:cxnLst/>
                <a:rect l="l" t="t" r="r" b="b"/>
                <a:pathLst>
                  <a:path w="6717" h="6829" extrusionOk="0">
                    <a:moveTo>
                      <a:pt x="3359" y="0"/>
                    </a:moveTo>
                    <a:lnTo>
                      <a:pt x="3023" y="112"/>
                    </a:lnTo>
                    <a:lnTo>
                      <a:pt x="2687" y="336"/>
                    </a:lnTo>
                    <a:lnTo>
                      <a:pt x="2463" y="672"/>
                    </a:lnTo>
                    <a:lnTo>
                      <a:pt x="2127" y="896"/>
                    </a:lnTo>
                    <a:lnTo>
                      <a:pt x="1792" y="1008"/>
                    </a:lnTo>
                    <a:lnTo>
                      <a:pt x="1344" y="1120"/>
                    </a:lnTo>
                    <a:lnTo>
                      <a:pt x="896" y="1232"/>
                    </a:lnTo>
                    <a:lnTo>
                      <a:pt x="448" y="1455"/>
                    </a:lnTo>
                    <a:lnTo>
                      <a:pt x="225" y="1791"/>
                    </a:lnTo>
                    <a:lnTo>
                      <a:pt x="113" y="2127"/>
                    </a:lnTo>
                    <a:lnTo>
                      <a:pt x="113" y="2351"/>
                    </a:lnTo>
                    <a:lnTo>
                      <a:pt x="225" y="2575"/>
                    </a:lnTo>
                    <a:lnTo>
                      <a:pt x="336" y="3135"/>
                    </a:lnTo>
                    <a:lnTo>
                      <a:pt x="336" y="3358"/>
                    </a:lnTo>
                    <a:lnTo>
                      <a:pt x="113" y="3694"/>
                    </a:lnTo>
                    <a:lnTo>
                      <a:pt x="1" y="3918"/>
                    </a:lnTo>
                    <a:lnTo>
                      <a:pt x="1" y="4142"/>
                    </a:lnTo>
                    <a:lnTo>
                      <a:pt x="113" y="4590"/>
                    </a:lnTo>
                    <a:lnTo>
                      <a:pt x="448" y="5038"/>
                    </a:lnTo>
                    <a:lnTo>
                      <a:pt x="896" y="5373"/>
                    </a:lnTo>
                    <a:lnTo>
                      <a:pt x="1904" y="5933"/>
                    </a:lnTo>
                    <a:lnTo>
                      <a:pt x="2463" y="6157"/>
                    </a:lnTo>
                    <a:lnTo>
                      <a:pt x="2575" y="6045"/>
                    </a:lnTo>
                    <a:lnTo>
                      <a:pt x="2687" y="5933"/>
                    </a:lnTo>
                    <a:lnTo>
                      <a:pt x="2687" y="5709"/>
                    </a:lnTo>
                    <a:lnTo>
                      <a:pt x="2463" y="5373"/>
                    </a:lnTo>
                    <a:lnTo>
                      <a:pt x="2127" y="4926"/>
                    </a:lnTo>
                    <a:lnTo>
                      <a:pt x="2127" y="4702"/>
                    </a:lnTo>
                    <a:lnTo>
                      <a:pt x="2127" y="4478"/>
                    </a:lnTo>
                    <a:lnTo>
                      <a:pt x="2351" y="4254"/>
                    </a:lnTo>
                    <a:lnTo>
                      <a:pt x="2575" y="4030"/>
                    </a:lnTo>
                    <a:lnTo>
                      <a:pt x="2799" y="4030"/>
                    </a:lnTo>
                    <a:lnTo>
                      <a:pt x="2911" y="4142"/>
                    </a:lnTo>
                    <a:lnTo>
                      <a:pt x="3023" y="4254"/>
                    </a:lnTo>
                    <a:lnTo>
                      <a:pt x="3135" y="4814"/>
                    </a:lnTo>
                    <a:lnTo>
                      <a:pt x="3359" y="5597"/>
                    </a:lnTo>
                    <a:lnTo>
                      <a:pt x="3471" y="6269"/>
                    </a:lnTo>
                    <a:lnTo>
                      <a:pt x="3695" y="6605"/>
                    </a:lnTo>
                    <a:lnTo>
                      <a:pt x="4366" y="6829"/>
                    </a:lnTo>
                    <a:lnTo>
                      <a:pt x="5486" y="6829"/>
                    </a:lnTo>
                    <a:lnTo>
                      <a:pt x="6381" y="6717"/>
                    </a:lnTo>
                    <a:lnTo>
                      <a:pt x="6717" y="6605"/>
                    </a:lnTo>
                    <a:lnTo>
                      <a:pt x="6717" y="6381"/>
                    </a:lnTo>
                    <a:lnTo>
                      <a:pt x="6605" y="6157"/>
                    </a:lnTo>
                    <a:lnTo>
                      <a:pt x="6381" y="6157"/>
                    </a:lnTo>
                    <a:lnTo>
                      <a:pt x="5598" y="6269"/>
                    </a:lnTo>
                    <a:lnTo>
                      <a:pt x="4926" y="6269"/>
                    </a:lnTo>
                    <a:lnTo>
                      <a:pt x="4702" y="6157"/>
                    </a:lnTo>
                    <a:lnTo>
                      <a:pt x="4590" y="6045"/>
                    </a:lnTo>
                    <a:lnTo>
                      <a:pt x="4590" y="5821"/>
                    </a:lnTo>
                    <a:lnTo>
                      <a:pt x="4814" y="5597"/>
                    </a:lnTo>
                    <a:lnTo>
                      <a:pt x="5486" y="5485"/>
                    </a:lnTo>
                    <a:lnTo>
                      <a:pt x="6157" y="5261"/>
                    </a:lnTo>
                    <a:lnTo>
                      <a:pt x="6381" y="5149"/>
                    </a:lnTo>
                    <a:lnTo>
                      <a:pt x="6493" y="5038"/>
                    </a:lnTo>
                    <a:lnTo>
                      <a:pt x="6381" y="4926"/>
                    </a:lnTo>
                    <a:lnTo>
                      <a:pt x="6157" y="4814"/>
                    </a:lnTo>
                    <a:lnTo>
                      <a:pt x="5374" y="5038"/>
                    </a:lnTo>
                    <a:lnTo>
                      <a:pt x="4590" y="5261"/>
                    </a:lnTo>
                    <a:lnTo>
                      <a:pt x="4030" y="5261"/>
                    </a:lnTo>
                    <a:lnTo>
                      <a:pt x="3918" y="4702"/>
                    </a:lnTo>
                    <a:lnTo>
                      <a:pt x="3807" y="4142"/>
                    </a:lnTo>
                    <a:lnTo>
                      <a:pt x="3918" y="3694"/>
                    </a:lnTo>
                    <a:lnTo>
                      <a:pt x="4030" y="3470"/>
                    </a:lnTo>
                    <a:lnTo>
                      <a:pt x="4254" y="3358"/>
                    </a:lnTo>
                    <a:lnTo>
                      <a:pt x="4478" y="3246"/>
                    </a:lnTo>
                    <a:lnTo>
                      <a:pt x="4702" y="3246"/>
                    </a:lnTo>
                    <a:lnTo>
                      <a:pt x="4814" y="3135"/>
                    </a:lnTo>
                    <a:lnTo>
                      <a:pt x="4926" y="3023"/>
                    </a:lnTo>
                    <a:lnTo>
                      <a:pt x="4926" y="2911"/>
                    </a:lnTo>
                    <a:lnTo>
                      <a:pt x="4814" y="2687"/>
                    </a:lnTo>
                    <a:lnTo>
                      <a:pt x="4814" y="2463"/>
                    </a:lnTo>
                    <a:lnTo>
                      <a:pt x="4926" y="2351"/>
                    </a:lnTo>
                    <a:lnTo>
                      <a:pt x="5038" y="2239"/>
                    </a:lnTo>
                    <a:lnTo>
                      <a:pt x="5486" y="2015"/>
                    </a:lnTo>
                    <a:lnTo>
                      <a:pt x="5821" y="1791"/>
                    </a:lnTo>
                    <a:lnTo>
                      <a:pt x="5933" y="1455"/>
                    </a:lnTo>
                    <a:lnTo>
                      <a:pt x="5933" y="1008"/>
                    </a:lnTo>
                    <a:lnTo>
                      <a:pt x="5821" y="672"/>
                    </a:lnTo>
                    <a:lnTo>
                      <a:pt x="5486" y="448"/>
                    </a:lnTo>
                    <a:lnTo>
                      <a:pt x="5150" y="336"/>
                    </a:lnTo>
                    <a:lnTo>
                      <a:pt x="4702" y="336"/>
                    </a:lnTo>
                    <a:lnTo>
                      <a:pt x="4590" y="448"/>
                    </a:lnTo>
                    <a:lnTo>
                      <a:pt x="4478" y="336"/>
                    </a:lnTo>
                    <a:lnTo>
                      <a:pt x="4142" y="224"/>
                    </a:lnTo>
                    <a:lnTo>
                      <a:pt x="3918" y="0"/>
                    </a:lnTo>
                    <a:close/>
                  </a:path>
                </a:pathLst>
              </a:custGeom>
              <a:solidFill>
                <a:srgbClr val="201F39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49" name="Google Shape;2049;p16"/>
              <p:cNvSpPr/>
              <p:nvPr/>
            </p:nvSpPr>
            <p:spPr>
              <a:xfrm>
                <a:off x="1643975" y="2286600"/>
                <a:ext cx="156725" cy="106375"/>
              </a:xfrm>
              <a:custGeom>
                <a:avLst/>
                <a:gdLst/>
                <a:ahLst/>
                <a:cxnLst/>
                <a:rect l="l" t="t" r="r" b="b"/>
                <a:pathLst>
                  <a:path w="6269" h="4255" extrusionOk="0">
                    <a:moveTo>
                      <a:pt x="3135" y="0"/>
                    </a:moveTo>
                    <a:lnTo>
                      <a:pt x="2911" y="112"/>
                    </a:lnTo>
                    <a:lnTo>
                      <a:pt x="2351" y="672"/>
                    </a:lnTo>
                    <a:lnTo>
                      <a:pt x="2015" y="1008"/>
                    </a:lnTo>
                    <a:lnTo>
                      <a:pt x="1567" y="1344"/>
                    </a:lnTo>
                    <a:lnTo>
                      <a:pt x="896" y="1680"/>
                    </a:lnTo>
                    <a:lnTo>
                      <a:pt x="0" y="2015"/>
                    </a:lnTo>
                    <a:lnTo>
                      <a:pt x="0" y="2463"/>
                    </a:lnTo>
                    <a:lnTo>
                      <a:pt x="0" y="3471"/>
                    </a:lnTo>
                    <a:lnTo>
                      <a:pt x="112" y="3918"/>
                    </a:lnTo>
                    <a:lnTo>
                      <a:pt x="336" y="4142"/>
                    </a:lnTo>
                    <a:lnTo>
                      <a:pt x="560" y="4254"/>
                    </a:lnTo>
                    <a:lnTo>
                      <a:pt x="784" y="4254"/>
                    </a:lnTo>
                    <a:lnTo>
                      <a:pt x="1456" y="3918"/>
                    </a:lnTo>
                    <a:lnTo>
                      <a:pt x="2127" y="3582"/>
                    </a:lnTo>
                    <a:lnTo>
                      <a:pt x="2799" y="3247"/>
                    </a:lnTo>
                    <a:lnTo>
                      <a:pt x="3358" y="3135"/>
                    </a:lnTo>
                    <a:lnTo>
                      <a:pt x="4926" y="3135"/>
                    </a:lnTo>
                    <a:lnTo>
                      <a:pt x="5373" y="3023"/>
                    </a:lnTo>
                    <a:lnTo>
                      <a:pt x="5709" y="2799"/>
                    </a:lnTo>
                    <a:lnTo>
                      <a:pt x="6045" y="2463"/>
                    </a:lnTo>
                    <a:lnTo>
                      <a:pt x="6157" y="2127"/>
                    </a:lnTo>
                    <a:lnTo>
                      <a:pt x="6269" y="1680"/>
                    </a:lnTo>
                    <a:lnTo>
                      <a:pt x="6269" y="1344"/>
                    </a:lnTo>
                    <a:lnTo>
                      <a:pt x="6157" y="1008"/>
                    </a:lnTo>
                    <a:lnTo>
                      <a:pt x="6045" y="672"/>
                    </a:lnTo>
                    <a:lnTo>
                      <a:pt x="5821" y="448"/>
                    </a:lnTo>
                    <a:lnTo>
                      <a:pt x="5597" y="336"/>
                    </a:lnTo>
                    <a:lnTo>
                      <a:pt x="5373" y="224"/>
                    </a:lnTo>
                    <a:lnTo>
                      <a:pt x="5150" y="224"/>
                    </a:lnTo>
                    <a:lnTo>
                      <a:pt x="4590" y="560"/>
                    </a:lnTo>
                    <a:lnTo>
                      <a:pt x="4030" y="896"/>
                    </a:lnTo>
                    <a:lnTo>
                      <a:pt x="3582" y="896"/>
                    </a:lnTo>
                    <a:lnTo>
                      <a:pt x="3470" y="784"/>
                    </a:lnTo>
                    <a:lnTo>
                      <a:pt x="3470" y="672"/>
                    </a:lnTo>
                    <a:lnTo>
                      <a:pt x="3582" y="448"/>
                    </a:lnTo>
                    <a:lnTo>
                      <a:pt x="3694" y="224"/>
                    </a:lnTo>
                    <a:lnTo>
                      <a:pt x="3694" y="112"/>
                    </a:lnTo>
                    <a:lnTo>
                      <a:pt x="3470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50" name="Google Shape;2050;p16"/>
              <p:cNvSpPr/>
              <p:nvPr/>
            </p:nvSpPr>
            <p:spPr>
              <a:xfrm>
                <a:off x="1352925" y="3864950"/>
                <a:ext cx="89575" cy="148325"/>
              </a:xfrm>
              <a:custGeom>
                <a:avLst/>
                <a:gdLst/>
                <a:ahLst/>
                <a:cxnLst/>
                <a:rect l="l" t="t" r="r" b="b"/>
                <a:pathLst>
                  <a:path w="3583" h="5933" extrusionOk="0">
                    <a:moveTo>
                      <a:pt x="1" y="0"/>
                    </a:moveTo>
                    <a:lnTo>
                      <a:pt x="448" y="4590"/>
                    </a:lnTo>
                    <a:lnTo>
                      <a:pt x="2799" y="5933"/>
                    </a:lnTo>
                    <a:lnTo>
                      <a:pt x="3583" y="4254"/>
                    </a:lnTo>
                    <a:lnTo>
                      <a:pt x="3583" y="3022"/>
                    </a:lnTo>
                    <a:lnTo>
                      <a:pt x="3471" y="1679"/>
                    </a:lnTo>
                    <a:lnTo>
                      <a:pt x="3359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51" name="Google Shape;2051;p16"/>
              <p:cNvSpPr/>
              <p:nvPr/>
            </p:nvSpPr>
            <p:spPr>
              <a:xfrm>
                <a:off x="1352925" y="3957300"/>
                <a:ext cx="249100" cy="95150"/>
              </a:xfrm>
              <a:custGeom>
                <a:avLst/>
                <a:gdLst/>
                <a:ahLst/>
                <a:cxnLst/>
                <a:rect l="l" t="t" r="r" b="b"/>
                <a:pathLst>
                  <a:path w="9964" h="3806" extrusionOk="0">
                    <a:moveTo>
                      <a:pt x="3807" y="0"/>
                    </a:moveTo>
                    <a:lnTo>
                      <a:pt x="2799" y="224"/>
                    </a:lnTo>
                    <a:lnTo>
                      <a:pt x="1792" y="224"/>
                    </a:lnTo>
                    <a:lnTo>
                      <a:pt x="1008" y="336"/>
                    </a:lnTo>
                    <a:lnTo>
                      <a:pt x="448" y="448"/>
                    </a:lnTo>
                    <a:lnTo>
                      <a:pt x="225" y="448"/>
                    </a:lnTo>
                    <a:lnTo>
                      <a:pt x="113" y="672"/>
                    </a:lnTo>
                    <a:lnTo>
                      <a:pt x="1" y="1455"/>
                    </a:lnTo>
                    <a:lnTo>
                      <a:pt x="1" y="2351"/>
                    </a:lnTo>
                    <a:lnTo>
                      <a:pt x="225" y="3358"/>
                    </a:lnTo>
                    <a:lnTo>
                      <a:pt x="337" y="3470"/>
                    </a:lnTo>
                    <a:lnTo>
                      <a:pt x="448" y="3694"/>
                    </a:lnTo>
                    <a:lnTo>
                      <a:pt x="672" y="3806"/>
                    </a:lnTo>
                    <a:lnTo>
                      <a:pt x="896" y="3806"/>
                    </a:lnTo>
                    <a:lnTo>
                      <a:pt x="8844" y="3694"/>
                    </a:lnTo>
                    <a:lnTo>
                      <a:pt x="9404" y="3694"/>
                    </a:lnTo>
                    <a:lnTo>
                      <a:pt x="9739" y="3470"/>
                    </a:lnTo>
                    <a:lnTo>
                      <a:pt x="9963" y="3246"/>
                    </a:lnTo>
                    <a:lnTo>
                      <a:pt x="9963" y="2910"/>
                    </a:lnTo>
                    <a:lnTo>
                      <a:pt x="9963" y="2575"/>
                    </a:lnTo>
                    <a:lnTo>
                      <a:pt x="9851" y="2239"/>
                    </a:lnTo>
                    <a:lnTo>
                      <a:pt x="9739" y="2127"/>
                    </a:lnTo>
                    <a:lnTo>
                      <a:pt x="9627" y="2015"/>
                    </a:lnTo>
                    <a:lnTo>
                      <a:pt x="8508" y="1903"/>
                    </a:lnTo>
                    <a:lnTo>
                      <a:pt x="6829" y="1791"/>
                    </a:lnTo>
                    <a:lnTo>
                      <a:pt x="5822" y="1679"/>
                    </a:lnTo>
                    <a:lnTo>
                      <a:pt x="5038" y="1455"/>
                    </a:lnTo>
                    <a:lnTo>
                      <a:pt x="4478" y="1119"/>
                    </a:lnTo>
                    <a:lnTo>
                      <a:pt x="4254" y="1008"/>
                    </a:lnTo>
                    <a:lnTo>
                      <a:pt x="4142" y="784"/>
                    </a:lnTo>
                    <a:lnTo>
                      <a:pt x="4142" y="224"/>
                    </a:lnTo>
                    <a:lnTo>
                      <a:pt x="403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52" name="Google Shape;2052;p16"/>
              <p:cNvSpPr/>
              <p:nvPr/>
            </p:nvSpPr>
            <p:spPr>
              <a:xfrm>
                <a:off x="751250" y="3783775"/>
                <a:ext cx="128775" cy="156750"/>
              </a:xfrm>
              <a:custGeom>
                <a:avLst/>
                <a:gdLst/>
                <a:ahLst/>
                <a:cxnLst/>
                <a:rect l="l" t="t" r="r" b="b"/>
                <a:pathLst>
                  <a:path w="5151" h="6270" extrusionOk="0">
                    <a:moveTo>
                      <a:pt x="2352" y="1"/>
                    </a:moveTo>
                    <a:lnTo>
                      <a:pt x="1" y="3919"/>
                    </a:lnTo>
                    <a:lnTo>
                      <a:pt x="1120" y="6269"/>
                    </a:lnTo>
                    <a:lnTo>
                      <a:pt x="2799" y="5374"/>
                    </a:lnTo>
                    <a:lnTo>
                      <a:pt x="3471" y="4478"/>
                    </a:lnTo>
                    <a:lnTo>
                      <a:pt x="4255" y="3247"/>
                    </a:lnTo>
                    <a:lnTo>
                      <a:pt x="5150" y="1792"/>
                    </a:lnTo>
                    <a:lnTo>
                      <a:pt x="2352" y="1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53" name="Google Shape;2053;p16"/>
              <p:cNvSpPr/>
              <p:nvPr/>
            </p:nvSpPr>
            <p:spPr>
              <a:xfrm>
                <a:off x="709275" y="3870525"/>
                <a:ext cx="215525" cy="193125"/>
              </a:xfrm>
              <a:custGeom>
                <a:avLst/>
                <a:gdLst/>
                <a:ahLst/>
                <a:cxnLst/>
                <a:rect l="l" t="t" r="r" b="b"/>
                <a:pathLst>
                  <a:path w="8621" h="7725" extrusionOk="0">
                    <a:moveTo>
                      <a:pt x="1792" y="1"/>
                    </a:moveTo>
                    <a:lnTo>
                      <a:pt x="1568" y="113"/>
                    </a:lnTo>
                    <a:lnTo>
                      <a:pt x="1008" y="673"/>
                    </a:lnTo>
                    <a:lnTo>
                      <a:pt x="449" y="1344"/>
                    </a:lnTo>
                    <a:lnTo>
                      <a:pt x="113" y="2240"/>
                    </a:lnTo>
                    <a:lnTo>
                      <a:pt x="1" y="2464"/>
                    </a:lnTo>
                    <a:lnTo>
                      <a:pt x="113" y="2688"/>
                    </a:lnTo>
                    <a:lnTo>
                      <a:pt x="113" y="2911"/>
                    </a:lnTo>
                    <a:lnTo>
                      <a:pt x="337" y="3023"/>
                    </a:lnTo>
                    <a:lnTo>
                      <a:pt x="6829" y="7501"/>
                    </a:lnTo>
                    <a:lnTo>
                      <a:pt x="7389" y="7725"/>
                    </a:lnTo>
                    <a:lnTo>
                      <a:pt x="7725" y="7725"/>
                    </a:lnTo>
                    <a:lnTo>
                      <a:pt x="8060" y="7613"/>
                    </a:lnTo>
                    <a:lnTo>
                      <a:pt x="8284" y="7389"/>
                    </a:lnTo>
                    <a:lnTo>
                      <a:pt x="8508" y="7165"/>
                    </a:lnTo>
                    <a:lnTo>
                      <a:pt x="8620" y="6829"/>
                    </a:lnTo>
                    <a:lnTo>
                      <a:pt x="8620" y="6605"/>
                    </a:lnTo>
                    <a:lnTo>
                      <a:pt x="8508" y="6493"/>
                    </a:lnTo>
                    <a:lnTo>
                      <a:pt x="7725" y="5822"/>
                    </a:lnTo>
                    <a:lnTo>
                      <a:pt x="6381" y="4702"/>
                    </a:lnTo>
                    <a:lnTo>
                      <a:pt x="5710" y="4031"/>
                    </a:lnTo>
                    <a:lnTo>
                      <a:pt x="5150" y="3471"/>
                    </a:lnTo>
                    <a:lnTo>
                      <a:pt x="4814" y="2911"/>
                    </a:lnTo>
                    <a:lnTo>
                      <a:pt x="4814" y="2688"/>
                    </a:lnTo>
                    <a:lnTo>
                      <a:pt x="4814" y="2464"/>
                    </a:lnTo>
                    <a:lnTo>
                      <a:pt x="5150" y="1904"/>
                    </a:lnTo>
                    <a:lnTo>
                      <a:pt x="5150" y="1792"/>
                    </a:lnTo>
                    <a:lnTo>
                      <a:pt x="5038" y="1680"/>
                    </a:lnTo>
                    <a:lnTo>
                      <a:pt x="4031" y="1120"/>
                    </a:lnTo>
                    <a:lnTo>
                      <a:pt x="3247" y="673"/>
                    </a:lnTo>
                    <a:lnTo>
                      <a:pt x="2575" y="225"/>
                    </a:lnTo>
                    <a:lnTo>
                      <a:pt x="2016" y="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54" name="Google Shape;2054;p16"/>
              <p:cNvSpPr/>
              <p:nvPr/>
            </p:nvSpPr>
            <p:spPr>
              <a:xfrm>
                <a:off x="765250" y="2843500"/>
                <a:ext cx="694050" cy="1102625"/>
              </a:xfrm>
              <a:custGeom>
                <a:avLst/>
                <a:gdLst/>
                <a:ahLst/>
                <a:cxnLst/>
                <a:rect l="l" t="t" r="r" b="b"/>
                <a:pathLst>
                  <a:path w="27762" h="44105" extrusionOk="0">
                    <a:moveTo>
                      <a:pt x="16120" y="0"/>
                    </a:moveTo>
                    <a:lnTo>
                      <a:pt x="4702" y="784"/>
                    </a:lnTo>
                    <a:lnTo>
                      <a:pt x="5262" y="4142"/>
                    </a:lnTo>
                    <a:lnTo>
                      <a:pt x="6605" y="11754"/>
                    </a:lnTo>
                    <a:lnTo>
                      <a:pt x="7388" y="16008"/>
                    </a:lnTo>
                    <a:lnTo>
                      <a:pt x="7948" y="19925"/>
                    </a:lnTo>
                    <a:lnTo>
                      <a:pt x="8284" y="23060"/>
                    </a:lnTo>
                    <a:lnTo>
                      <a:pt x="8396" y="24179"/>
                    </a:lnTo>
                    <a:lnTo>
                      <a:pt x="8396" y="24963"/>
                    </a:lnTo>
                    <a:lnTo>
                      <a:pt x="8172" y="25522"/>
                    </a:lnTo>
                    <a:lnTo>
                      <a:pt x="7948" y="26306"/>
                    </a:lnTo>
                    <a:lnTo>
                      <a:pt x="7053" y="27985"/>
                    </a:lnTo>
                    <a:lnTo>
                      <a:pt x="5821" y="29888"/>
                    </a:lnTo>
                    <a:lnTo>
                      <a:pt x="4478" y="31903"/>
                    </a:lnTo>
                    <a:lnTo>
                      <a:pt x="1792" y="35933"/>
                    </a:lnTo>
                    <a:lnTo>
                      <a:pt x="672" y="37612"/>
                    </a:lnTo>
                    <a:lnTo>
                      <a:pt x="1" y="38955"/>
                    </a:lnTo>
                    <a:lnTo>
                      <a:pt x="1" y="39067"/>
                    </a:lnTo>
                    <a:lnTo>
                      <a:pt x="224" y="39403"/>
                    </a:lnTo>
                    <a:lnTo>
                      <a:pt x="560" y="39851"/>
                    </a:lnTo>
                    <a:lnTo>
                      <a:pt x="1120" y="40298"/>
                    </a:lnTo>
                    <a:lnTo>
                      <a:pt x="1792" y="40746"/>
                    </a:lnTo>
                    <a:lnTo>
                      <a:pt x="2463" y="41194"/>
                    </a:lnTo>
                    <a:lnTo>
                      <a:pt x="3247" y="41530"/>
                    </a:lnTo>
                    <a:lnTo>
                      <a:pt x="4030" y="41642"/>
                    </a:lnTo>
                    <a:lnTo>
                      <a:pt x="5374" y="39739"/>
                    </a:lnTo>
                    <a:lnTo>
                      <a:pt x="8396" y="35149"/>
                    </a:lnTo>
                    <a:lnTo>
                      <a:pt x="10187" y="32463"/>
                    </a:lnTo>
                    <a:lnTo>
                      <a:pt x="11754" y="29776"/>
                    </a:lnTo>
                    <a:lnTo>
                      <a:pt x="13097" y="27313"/>
                    </a:lnTo>
                    <a:lnTo>
                      <a:pt x="13993" y="25410"/>
                    </a:lnTo>
                    <a:lnTo>
                      <a:pt x="14217" y="25075"/>
                    </a:lnTo>
                    <a:lnTo>
                      <a:pt x="14217" y="24515"/>
                    </a:lnTo>
                    <a:lnTo>
                      <a:pt x="14329" y="23172"/>
                    </a:lnTo>
                    <a:lnTo>
                      <a:pt x="14217" y="21605"/>
                    </a:lnTo>
                    <a:lnTo>
                      <a:pt x="13993" y="19702"/>
                    </a:lnTo>
                    <a:lnTo>
                      <a:pt x="13321" y="15336"/>
                    </a:lnTo>
                    <a:lnTo>
                      <a:pt x="12762" y="10970"/>
                    </a:lnTo>
                    <a:lnTo>
                      <a:pt x="15336" y="16231"/>
                    </a:lnTo>
                    <a:lnTo>
                      <a:pt x="17463" y="20597"/>
                    </a:lnTo>
                    <a:lnTo>
                      <a:pt x="19254" y="24291"/>
                    </a:lnTo>
                    <a:lnTo>
                      <a:pt x="19478" y="25187"/>
                    </a:lnTo>
                    <a:lnTo>
                      <a:pt x="19814" y="26194"/>
                    </a:lnTo>
                    <a:lnTo>
                      <a:pt x="20373" y="28881"/>
                    </a:lnTo>
                    <a:lnTo>
                      <a:pt x="20933" y="32015"/>
                    </a:lnTo>
                    <a:lnTo>
                      <a:pt x="21493" y="35261"/>
                    </a:lnTo>
                    <a:lnTo>
                      <a:pt x="22164" y="40970"/>
                    </a:lnTo>
                    <a:lnTo>
                      <a:pt x="22500" y="42873"/>
                    </a:lnTo>
                    <a:lnTo>
                      <a:pt x="22612" y="43769"/>
                    </a:lnTo>
                    <a:lnTo>
                      <a:pt x="22724" y="43880"/>
                    </a:lnTo>
                    <a:lnTo>
                      <a:pt x="22948" y="43992"/>
                    </a:lnTo>
                    <a:lnTo>
                      <a:pt x="23508" y="44104"/>
                    </a:lnTo>
                    <a:lnTo>
                      <a:pt x="25299" y="44104"/>
                    </a:lnTo>
                    <a:lnTo>
                      <a:pt x="26194" y="43992"/>
                    </a:lnTo>
                    <a:lnTo>
                      <a:pt x="26978" y="43769"/>
                    </a:lnTo>
                    <a:lnTo>
                      <a:pt x="27537" y="43545"/>
                    </a:lnTo>
                    <a:lnTo>
                      <a:pt x="27761" y="43433"/>
                    </a:lnTo>
                    <a:lnTo>
                      <a:pt x="27761" y="43321"/>
                    </a:lnTo>
                    <a:lnTo>
                      <a:pt x="27761" y="42313"/>
                    </a:lnTo>
                    <a:lnTo>
                      <a:pt x="27426" y="40298"/>
                    </a:lnTo>
                    <a:lnTo>
                      <a:pt x="26418" y="34366"/>
                    </a:lnTo>
                    <a:lnTo>
                      <a:pt x="24515" y="23955"/>
                    </a:lnTo>
                    <a:lnTo>
                      <a:pt x="23844" y="20037"/>
                    </a:lnTo>
                    <a:lnTo>
                      <a:pt x="22388" y="13657"/>
                    </a:lnTo>
                    <a:lnTo>
                      <a:pt x="20597" y="6829"/>
                    </a:lnTo>
                    <a:lnTo>
                      <a:pt x="19702" y="3918"/>
                    </a:lnTo>
                    <a:lnTo>
                      <a:pt x="18918" y="1567"/>
                    </a:lnTo>
                    <a:lnTo>
                      <a:pt x="16120" y="0"/>
                    </a:lnTo>
                    <a:close/>
                  </a:path>
                </a:pathLst>
              </a:custGeom>
              <a:solidFill>
                <a:srgbClr val="2D2D2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55" name="Google Shape;2055;p16"/>
              <p:cNvSpPr/>
              <p:nvPr/>
            </p:nvSpPr>
            <p:spPr>
              <a:xfrm>
                <a:off x="765250" y="2843500"/>
                <a:ext cx="694050" cy="1102625"/>
              </a:xfrm>
              <a:custGeom>
                <a:avLst/>
                <a:gdLst/>
                <a:ahLst/>
                <a:cxnLst/>
                <a:rect l="l" t="t" r="r" b="b"/>
                <a:pathLst>
                  <a:path w="27762" h="44105" fill="none" extrusionOk="0">
                    <a:moveTo>
                      <a:pt x="18918" y="1567"/>
                    </a:moveTo>
                    <a:lnTo>
                      <a:pt x="18918" y="1567"/>
                    </a:lnTo>
                    <a:lnTo>
                      <a:pt x="19702" y="3918"/>
                    </a:lnTo>
                    <a:lnTo>
                      <a:pt x="20597" y="6829"/>
                    </a:lnTo>
                    <a:lnTo>
                      <a:pt x="22388" y="13657"/>
                    </a:lnTo>
                    <a:lnTo>
                      <a:pt x="23844" y="20037"/>
                    </a:lnTo>
                    <a:lnTo>
                      <a:pt x="24515" y="23955"/>
                    </a:lnTo>
                    <a:lnTo>
                      <a:pt x="24515" y="23955"/>
                    </a:lnTo>
                    <a:lnTo>
                      <a:pt x="26418" y="34366"/>
                    </a:lnTo>
                    <a:lnTo>
                      <a:pt x="27426" y="40298"/>
                    </a:lnTo>
                    <a:lnTo>
                      <a:pt x="27761" y="42313"/>
                    </a:lnTo>
                    <a:lnTo>
                      <a:pt x="27761" y="43321"/>
                    </a:lnTo>
                    <a:lnTo>
                      <a:pt x="27761" y="43321"/>
                    </a:lnTo>
                    <a:lnTo>
                      <a:pt x="27761" y="43433"/>
                    </a:lnTo>
                    <a:lnTo>
                      <a:pt x="27537" y="43545"/>
                    </a:lnTo>
                    <a:lnTo>
                      <a:pt x="26978" y="43769"/>
                    </a:lnTo>
                    <a:lnTo>
                      <a:pt x="26194" y="43992"/>
                    </a:lnTo>
                    <a:lnTo>
                      <a:pt x="25299" y="44104"/>
                    </a:lnTo>
                    <a:lnTo>
                      <a:pt x="24403" y="44104"/>
                    </a:lnTo>
                    <a:lnTo>
                      <a:pt x="23508" y="44104"/>
                    </a:lnTo>
                    <a:lnTo>
                      <a:pt x="22948" y="43992"/>
                    </a:lnTo>
                    <a:lnTo>
                      <a:pt x="22724" y="43880"/>
                    </a:lnTo>
                    <a:lnTo>
                      <a:pt x="22612" y="43769"/>
                    </a:lnTo>
                    <a:lnTo>
                      <a:pt x="22612" y="43769"/>
                    </a:lnTo>
                    <a:lnTo>
                      <a:pt x="22500" y="42873"/>
                    </a:lnTo>
                    <a:lnTo>
                      <a:pt x="22164" y="40970"/>
                    </a:lnTo>
                    <a:lnTo>
                      <a:pt x="21493" y="35261"/>
                    </a:lnTo>
                    <a:lnTo>
                      <a:pt x="20933" y="32015"/>
                    </a:lnTo>
                    <a:lnTo>
                      <a:pt x="20373" y="28881"/>
                    </a:lnTo>
                    <a:lnTo>
                      <a:pt x="19814" y="26194"/>
                    </a:lnTo>
                    <a:lnTo>
                      <a:pt x="19478" y="25187"/>
                    </a:lnTo>
                    <a:lnTo>
                      <a:pt x="19254" y="24291"/>
                    </a:lnTo>
                    <a:lnTo>
                      <a:pt x="19254" y="24291"/>
                    </a:lnTo>
                    <a:lnTo>
                      <a:pt x="17463" y="20597"/>
                    </a:lnTo>
                    <a:lnTo>
                      <a:pt x="15336" y="16231"/>
                    </a:lnTo>
                    <a:lnTo>
                      <a:pt x="12762" y="10970"/>
                    </a:lnTo>
                    <a:lnTo>
                      <a:pt x="12762" y="10970"/>
                    </a:lnTo>
                    <a:lnTo>
                      <a:pt x="13321" y="15336"/>
                    </a:lnTo>
                    <a:lnTo>
                      <a:pt x="13993" y="19702"/>
                    </a:lnTo>
                    <a:lnTo>
                      <a:pt x="14217" y="21605"/>
                    </a:lnTo>
                    <a:lnTo>
                      <a:pt x="14329" y="23172"/>
                    </a:lnTo>
                    <a:lnTo>
                      <a:pt x="14217" y="24515"/>
                    </a:lnTo>
                    <a:lnTo>
                      <a:pt x="14217" y="25075"/>
                    </a:lnTo>
                    <a:lnTo>
                      <a:pt x="13993" y="25410"/>
                    </a:lnTo>
                    <a:lnTo>
                      <a:pt x="13993" y="25410"/>
                    </a:lnTo>
                    <a:lnTo>
                      <a:pt x="13097" y="27313"/>
                    </a:lnTo>
                    <a:lnTo>
                      <a:pt x="11754" y="29776"/>
                    </a:lnTo>
                    <a:lnTo>
                      <a:pt x="10187" y="32463"/>
                    </a:lnTo>
                    <a:lnTo>
                      <a:pt x="8396" y="35149"/>
                    </a:lnTo>
                    <a:lnTo>
                      <a:pt x="5374" y="39739"/>
                    </a:lnTo>
                    <a:lnTo>
                      <a:pt x="4030" y="41642"/>
                    </a:lnTo>
                    <a:lnTo>
                      <a:pt x="4030" y="41642"/>
                    </a:lnTo>
                    <a:lnTo>
                      <a:pt x="3247" y="41530"/>
                    </a:lnTo>
                    <a:lnTo>
                      <a:pt x="2463" y="41194"/>
                    </a:lnTo>
                    <a:lnTo>
                      <a:pt x="1792" y="40746"/>
                    </a:lnTo>
                    <a:lnTo>
                      <a:pt x="1120" y="40298"/>
                    </a:lnTo>
                    <a:lnTo>
                      <a:pt x="560" y="39851"/>
                    </a:lnTo>
                    <a:lnTo>
                      <a:pt x="224" y="39403"/>
                    </a:lnTo>
                    <a:lnTo>
                      <a:pt x="1" y="39067"/>
                    </a:lnTo>
                    <a:lnTo>
                      <a:pt x="1" y="38955"/>
                    </a:lnTo>
                    <a:lnTo>
                      <a:pt x="1" y="38955"/>
                    </a:lnTo>
                    <a:lnTo>
                      <a:pt x="672" y="37612"/>
                    </a:lnTo>
                    <a:lnTo>
                      <a:pt x="1792" y="35933"/>
                    </a:lnTo>
                    <a:lnTo>
                      <a:pt x="4478" y="31903"/>
                    </a:lnTo>
                    <a:lnTo>
                      <a:pt x="5821" y="29888"/>
                    </a:lnTo>
                    <a:lnTo>
                      <a:pt x="7053" y="27985"/>
                    </a:lnTo>
                    <a:lnTo>
                      <a:pt x="7948" y="26306"/>
                    </a:lnTo>
                    <a:lnTo>
                      <a:pt x="8172" y="25522"/>
                    </a:lnTo>
                    <a:lnTo>
                      <a:pt x="8396" y="24963"/>
                    </a:lnTo>
                    <a:lnTo>
                      <a:pt x="8396" y="24963"/>
                    </a:lnTo>
                    <a:lnTo>
                      <a:pt x="8396" y="24179"/>
                    </a:lnTo>
                    <a:lnTo>
                      <a:pt x="8284" y="23060"/>
                    </a:lnTo>
                    <a:lnTo>
                      <a:pt x="7948" y="19925"/>
                    </a:lnTo>
                    <a:lnTo>
                      <a:pt x="7388" y="16008"/>
                    </a:lnTo>
                    <a:lnTo>
                      <a:pt x="6605" y="11754"/>
                    </a:lnTo>
                    <a:lnTo>
                      <a:pt x="5262" y="4142"/>
                    </a:lnTo>
                    <a:lnTo>
                      <a:pt x="4702" y="784"/>
                    </a:lnTo>
                    <a:lnTo>
                      <a:pt x="16120" y="0"/>
                    </a:lnTo>
                    <a:lnTo>
                      <a:pt x="18918" y="1567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56" name="Google Shape;2056;p16"/>
              <p:cNvSpPr/>
              <p:nvPr/>
            </p:nvSpPr>
            <p:spPr>
              <a:xfrm>
                <a:off x="1047900" y="3031000"/>
                <a:ext cx="53200" cy="218300"/>
              </a:xfrm>
              <a:custGeom>
                <a:avLst/>
                <a:gdLst/>
                <a:ahLst/>
                <a:cxnLst/>
                <a:rect l="l" t="t" r="r" b="b"/>
                <a:pathLst>
                  <a:path w="2128" h="8732" extrusionOk="0">
                    <a:moveTo>
                      <a:pt x="0" y="0"/>
                    </a:moveTo>
                    <a:lnTo>
                      <a:pt x="2127" y="8731"/>
                    </a:lnTo>
                    <a:lnTo>
                      <a:pt x="1791" y="5933"/>
                    </a:lnTo>
                    <a:lnTo>
                      <a:pt x="1456" y="3470"/>
                    </a:lnTo>
                    <a:lnTo>
                      <a:pt x="784" y="2127"/>
                    </a:lnTo>
                    <a:lnTo>
                      <a:pt x="336" y="100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6171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57" name="Google Shape;2057;p16"/>
              <p:cNvSpPr/>
              <p:nvPr/>
            </p:nvSpPr>
            <p:spPr>
              <a:xfrm>
                <a:off x="1047900" y="3031000"/>
                <a:ext cx="53200" cy="218300"/>
              </a:xfrm>
              <a:custGeom>
                <a:avLst/>
                <a:gdLst/>
                <a:ahLst/>
                <a:cxnLst/>
                <a:rect l="l" t="t" r="r" b="b"/>
                <a:pathLst>
                  <a:path w="2128" h="8732" fill="none" extrusionOk="0">
                    <a:moveTo>
                      <a:pt x="0" y="0"/>
                    </a:moveTo>
                    <a:lnTo>
                      <a:pt x="2127" y="8731"/>
                    </a:lnTo>
                    <a:lnTo>
                      <a:pt x="2127" y="8731"/>
                    </a:lnTo>
                    <a:lnTo>
                      <a:pt x="1791" y="5933"/>
                    </a:lnTo>
                    <a:lnTo>
                      <a:pt x="1456" y="3470"/>
                    </a:lnTo>
                    <a:lnTo>
                      <a:pt x="1456" y="3470"/>
                    </a:lnTo>
                    <a:lnTo>
                      <a:pt x="784" y="2127"/>
                    </a:lnTo>
                    <a:lnTo>
                      <a:pt x="336" y="1008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58" name="Google Shape;2058;p16"/>
              <p:cNvSpPr/>
              <p:nvPr/>
            </p:nvSpPr>
            <p:spPr>
              <a:xfrm>
                <a:off x="983525" y="2208250"/>
                <a:ext cx="151150" cy="235100"/>
              </a:xfrm>
              <a:custGeom>
                <a:avLst/>
                <a:gdLst/>
                <a:ahLst/>
                <a:cxnLst/>
                <a:rect l="l" t="t" r="r" b="b"/>
                <a:pathLst>
                  <a:path w="6046" h="9404" extrusionOk="0">
                    <a:moveTo>
                      <a:pt x="2687" y="0"/>
                    </a:moveTo>
                    <a:lnTo>
                      <a:pt x="2016" y="112"/>
                    </a:lnTo>
                    <a:lnTo>
                      <a:pt x="1456" y="224"/>
                    </a:lnTo>
                    <a:lnTo>
                      <a:pt x="896" y="448"/>
                    </a:lnTo>
                    <a:lnTo>
                      <a:pt x="449" y="784"/>
                    </a:lnTo>
                    <a:lnTo>
                      <a:pt x="113" y="1231"/>
                    </a:lnTo>
                    <a:lnTo>
                      <a:pt x="1" y="1567"/>
                    </a:lnTo>
                    <a:lnTo>
                      <a:pt x="1" y="1903"/>
                    </a:lnTo>
                    <a:lnTo>
                      <a:pt x="225" y="2911"/>
                    </a:lnTo>
                    <a:lnTo>
                      <a:pt x="672" y="3918"/>
                    </a:lnTo>
                    <a:lnTo>
                      <a:pt x="1120" y="5149"/>
                    </a:lnTo>
                    <a:lnTo>
                      <a:pt x="2240" y="7500"/>
                    </a:lnTo>
                    <a:lnTo>
                      <a:pt x="2575" y="8508"/>
                    </a:lnTo>
                    <a:lnTo>
                      <a:pt x="2687" y="9403"/>
                    </a:lnTo>
                    <a:lnTo>
                      <a:pt x="5486" y="8619"/>
                    </a:lnTo>
                    <a:lnTo>
                      <a:pt x="5150" y="6605"/>
                    </a:lnTo>
                    <a:lnTo>
                      <a:pt x="4478" y="5261"/>
                    </a:lnTo>
                    <a:lnTo>
                      <a:pt x="5150" y="5373"/>
                    </a:lnTo>
                    <a:lnTo>
                      <a:pt x="5598" y="5373"/>
                    </a:lnTo>
                    <a:lnTo>
                      <a:pt x="5934" y="5149"/>
                    </a:lnTo>
                    <a:lnTo>
                      <a:pt x="6045" y="4925"/>
                    </a:lnTo>
                    <a:lnTo>
                      <a:pt x="6045" y="4590"/>
                    </a:lnTo>
                    <a:lnTo>
                      <a:pt x="5934" y="4254"/>
                    </a:lnTo>
                    <a:lnTo>
                      <a:pt x="5598" y="3246"/>
                    </a:lnTo>
                    <a:lnTo>
                      <a:pt x="5262" y="2687"/>
                    </a:lnTo>
                    <a:lnTo>
                      <a:pt x="5374" y="2575"/>
                    </a:lnTo>
                    <a:lnTo>
                      <a:pt x="5486" y="2463"/>
                    </a:lnTo>
                    <a:lnTo>
                      <a:pt x="5038" y="1903"/>
                    </a:lnTo>
                    <a:lnTo>
                      <a:pt x="4590" y="1343"/>
                    </a:lnTo>
                    <a:lnTo>
                      <a:pt x="3807" y="336"/>
                    </a:lnTo>
                    <a:lnTo>
                      <a:pt x="3583" y="112"/>
                    </a:lnTo>
                    <a:lnTo>
                      <a:pt x="3247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59" name="Google Shape;2059;p16"/>
              <p:cNvSpPr/>
              <p:nvPr/>
            </p:nvSpPr>
            <p:spPr>
              <a:xfrm>
                <a:off x="983525" y="2208250"/>
                <a:ext cx="151150" cy="235100"/>
              </a:xfrm>
              <a:custGeom>
                <a:avLst/>
                <a:gdLst/>
                <a:ahLst/>
                <a:cxnLst/>
                <a:rect l="l" t="t" r="r" b="b"/>
                <a:pathLst>
                  <a:path w="6046" h="9404" fill="none" extrusionOk="0">
                    <a:moveTo>
                      <a:pt x="3807" y="336"/>
                    </a:moveTo>
                    <a:lnTo>
                      <a:pt x="3807" y="336"/>
                    </a:lnTo>
                    <a:lnTo>
                      <a:pt x="4590" y="1343"/>
                    </a:lnTo>
                    <a:lnTo>
                      <a:pt x="5038" y="1903"/>
                    </a:lnTo>
                    <a:lnTo>
                      <a:pt x="5486" y="2463"/>
                    </a:lnTo>
                    <a:lnTo>
                      <a:pt x="5486" y="2463"/>
                    </a:lnTo>
                    <a:lnTo>
                      <a:pt x="5374" y="2575"/>
                    </a:lnTo>
                    <a:lnTo>
                      <a:pt x="5262" y="2687"/>
                    </a:lnTo>
                    <a:lnTo>
                      <a:pt x="5598" y="3246"/>
                    </a:lnTo>
                    <a:lnTo>
                      <a:pt x="5598" y="3246"/>
                    </a:lnTo>
                    <a:lnTo>
                      <a:pt x="5934" y="4254"/>
                    </a:lnTo>
                    <a:lnTo>
                      <a:pt x="6045" y="4590"/>
                    </a:lnTo>
                    <a:lnTo>
                      <a:pt x="6045" y="4925"/>
                    </a:lnTo>
                    <a:lnTo>
                      <a:pt x="5934" y="5149"/>
                    </a:lnTo>
                    <a:lnTo>
                      <a:pt x="5598" y="5373"/>
                    </a:lnTo>
                    <a:lnTo>
                      <a:pt x="5150" y="5373"/>
                    </a:lnTo>
                    <a:lnTo>
                      <a:pt x="4478" y="5261"/>
                    </a:lnTo>
                    <a:lnTo>
                      <a:pt x="4478" y="5261"/>
                    </a:lnTo>
                    <a:lnTo>
                      <a:pt x="5150" y="6605"/>
                    </a:lnTo>
                    <a:lnTo>
                      <a:pt x="5486" y="8619"/>
                    </a:lnTo>
                    <a:lnTo>
                      <a:pt x="2687" y="9403"/>
                    </a:lnTo>
                    <a:lnTo>
                      <a:pt x="2687" y="9403"/>
                    </a:lnTo>
                    <a:lnTo>
                      <a:pt x="2575" y="8508"/>
                    </a:lnTo>
                    <a:lnTo>
                      <a:pt x="2240" y="7500"/>
                    </a:lnTo>
                    <a:lnTo>
                      <a:pt x="1120" y="5149"/>
                    </a:lnTo>
                    <a:lnTo>
                      <a:pt x="672" y="3918"/>
                    </a:lnTo>
                    <a:lnTo>
                      <a:pt x="225" y="2911"/>
                    </a:lnTo>
                    <a:lnTo>
                      <a:pt x="1" y="1903"/>
                    </a:lnTo>
                    <a:lnTo>
                      <a:pt x="1" y="1567"/>
                    </a:lnTo>
                    <a:lnTo>
                      <a:pt x="113" y="1231"/>
                    </a:lnTo>
                    <a:lnTo>
                      <a:pt x="113" y="1231"/>
                    </a:lnTo>
                    <a:lnTo>
                      <a:pt x="449" y="784"/>
                    </a:lnTo>
                    <a:lnTo>
                      <a:pt x="896" y="448"/>
                    </a:lnTo>
                    <a:lnTo>
                      <a:pt x="1456" y="224"/>
                    </a:lnTo>
                    <a:lnTo>
                      <a:pt x="2016" y="112"/>
                    </a:lnTo>
                    <a:lnTo>
                      <a:pt x="2687" y="0"/>
                    </a:lnTo>
                    <a:lnTo>
                      <a:pt x="3247" y="0"/>
                    </a:lnTo>
                    <a:lnTo>
                      <a:pt x="3583" y="112"/>
                    </a:lnTo>
                    <a:lnTo>
                      <a:pt x="3807" y="336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60" name="Google Shape;2060;p16"/>
              <p:cNvSpPr/>
              <p:nvPr/>
            </p:nvSpPr>
            <p:spPr>
              <a:xfrm>
                <a:off x="958350" y="2166275"/>
                <a:ext cx="131550" cy="198700"/>
              </a:xfrm>
              <a:custGeom>
                <a:avLst/>
                <a:gdLst/>
                <a:ahLst/>
                <a:cxnLst/>
                <a:rect l="l" t="t" r="r" b="b"/>
                <a:pathLst>
                  <a:path w="5262" h="7948" extrusionOk="0">
                    <a:moveTo>
                      <a:pt x="4030" y="0"/>
                    </a:moveTo>
                    <a:lnTo>
                      <a:pt x="3582" y="112"/>
                    </a:lnTo>
                    <a:lnTo>
                      <a:pt x="3358" y="224"/>
                    </a:lnTo>
                    <a:lnTo>
                      <a:pt x="3247" y="336"/>
                    </a:lnTo>
                    <a:lnTo>
                      <a:pt x="2911" y="1007"/>
                    </a:lnTo>
                    <a:lnTo>
                      <a:pt x="2799" y="1119"/>
                    </a:lnTo>
                    <a:lnTo>
                      <a:pt x="2687" y="1119"/>
                    </a:lnTo>
                    <a:lnTo>
                      <a:pt x="2239" y="1007"/>
                    </a:lnTo>
                    <a:lnTo>
                      <a:pt x="1567" y="896"/>
                    </a:lnTo>
                    <a:lnTo>
                      <a:pt x="1232" y="896"/>
                    </a:lnTo>
                    <a:lnTo>
                      <a:pt x="1008" y="1007"/>
                    </a:lnTo>
                    <a:lnTo>
                      <a:pt x="784" y="1119"/>
                    </a:lnTo>
                    <a:lnTo>
                      <a:pt x="672" y="1343"/>
                    </a:lnTo>
                    <a:lnTo>
                      <a:pt x="560" y="1679"/>
                    </a:lnTo>
                    <a:lnTo>
                      <a:pt x="560" y="2015"/>
                    </a:lnTo>
                    <a:lnTo>
                      <a:pt x="560" y="2463"/>
                    </a:lnTo>
                    <a:lnTo>
                      <a:pt x="560" y="2687"/>
                    </a:lnTo>
                    <a:lnTo>
                      <a:pt x="336" y="2910"/>
                    </a:lnTo>
                    <a:lnTo>
                      <a:pt x="112" y="3134"/>
                    </a:lnTo>
                    <a:lnTo>
                      <a:pt x="0" y="3358"/>
                    </a:lnTo>
                    <a:lnTo>
                      <a:pt x="0" y="3694"/>
                    </a:lnTo>
                    <a:lnTo>
                      <a:pt x="112" y="4366"/>
                    </a:lnTo>
                    <a:lnTo>
                      <a:pt x="224" y="4813"/>
                    </a:lnTo>
                    <a:lnTo>
                      <a:pt x="448" y="5149"/>
                    </a:lnTo>
                    <a:lnTo>
                      <a:pt x="672" y="5373"/>
                    </a:lnTo>
                    <a:lnTo>
                      <a:pt x="1232" y="5709"/>
                    </a:lnTo>
                    <a:lnTo>
                      <a:pt x="1344" y="5933"/>
                    </a:lnTo>
                    <a:lnTo>
                      <a:pt x="1567" y="6269"/>
                    </a:lnTo>
                    <a:lnTo>
                      <a:pt x="1903" y="7052"/>
                    </a:lnTo>
                    <a:lnTo>
                      <a:pt x="2351" y="7612"/>
                    </a:lnTo>
                    <a:lnTo>
                      <a:pt x="2687" y="7836"/>
                    </a:lnTo>
                    <a:lnTo>
                      <a:pt x="2911" y="7948"/>
                    </a:lnTo>
                    <a:lnTo>
                      <a:pt x="3470" y="7948"/>
                    </a:lnTo>
                    <a:lnTo>
                      <a:pt x="3694" y="7724"/>
                    </a:lnTo>
                    <a:lnTo>
                      <a:pt x="3918" y="7500"/>
                    </a:lnTo>
                    <a:lnTo>
                      <a:pt x="4142" y="6828"/>
                    </a:lnTo>
                    <a:lnTo>
                      <a:pt x="4142" y="6157"/>
                    </a:lnTo>
                    <a:lnTo>
                      <a:pt x="4030" y="5597"/>
                    </a:lnTo>
                    <a:lnTo>
                      <a:pt x="3694" y="5485"/>
                    </a:lnTo>
                    <a:lnTo>
                      <a:pt x="3470" y="5261"/>
                    </a:lnTo>
                    <a:lnTo>
                      <a:pt x="3358" y="5037"/>
                    </a:lnTo>
                    <a:lnTo>
                      <a:pt x="3358" y="4813"/>
                    </a:lnTo>
                    <a:lnTo>
                      <a:pt x="3470" y="4590"/>
                    </a:lnTo>
                    <a:lnTo>
                      <a:pt x="3582" y="4478"/>
                    </a:lnTo>
                    <a:lnTo>
                      <a:pt x="4142" y="4478"/>
                    </a:lnTo>
                    <a:lnTo>
                      <a:pt x="4478" y="4366"/>
                    </a:lnTo>
                    <a:lnTo>
                      <a:pt x="4590" y="4142"/>
                    </a:lnTo>
                    <a:lnTo>
                      <a:pt x="4590" y="3918"/>
                    </a:lnTo>
                    <a:lnTo>
                      <a:pt x="4366" y="3582"/>
                    </a:lnTo>
                    <a:lnTo>
                      <a:pt x="4366" y="3358"/>
                    </a:lnTo>
                    <a:lnTo>
                      <a:pt x="4478" y="3134"/>
                    </a:lnTo>
                    <a:lnTo>
                      <a:pt x="4702" y="2910"/>
                    </a:lnTo>
                    <a:lnTo>
                      <a:pt x="4926" y="2575"/>
                    </a:lnTo>
                    <a:lnTo>
                      <a:pt x="5149" y="2127"/>
                    </a:lnTo>
                    <a:lnTo>
                      <a:pt x="5261" y="1679"/>
                    </a:lnTo>
                    <a:lnTo>
                      <a:pt x="5261" y="1343"/>
                    </a:lnTo>
                    <a:lnTo>
                      <a:pt x="5149" y="1231"/>
                    </a:lnTo>
                    <a:lnTo>
                      <a:pt x="4926" y="1007"/>
                    </a:lnTo>
                    <a:lnTo>
                      <a:pt x="4926" y="784"/>
                    </a:lnTo>
                    <a:lnTo>
                      <a:pt x="4926" y="560"/>
                    </a:lnTo>
                    <a:lnTo>
                      <a:pt x="4702" y="336"/>
                    </a:lnTo>
                    <a:lnTo>
                      <a:pt x="4366" y="112"/>
                    </a:lnTo>
                    <a:lnTo>
                      <a:pt x="4030" y="0"/>
                    </a:lnTo>
                    <a:close/>
                  </a:path>
                </a:pathLst>
              </a:custGeom>
              <a:solidFill>
                <a:srgbClr val="2D2D2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61" name="Google Shape;2061;p16"/>
              <p:cNvSpPr/>
              <p:nvPr/>
            </p:nvSpPr>
            <p:spPr>
              <a:xfrm>
                <a:off x="1067475" y="2334175"/>
                <a:ext cx="44800" cy="50400"/>
              </a:xfrm>
              <a:custGeom>
                <a:avLst/>
                <a:gdLst/>
                <a:ahLst/>
                <a:cxnLst/>
                <a:rect l="l" t="t" r="r" b="b"/>
                <a:pathLst>
                  <a:path w="1792" h="2016" extrusionOk="0">
                    <a:moveTo>
                      <a:pt x="561" y="0"/>
                    </a:moveTo>
                    <a:lnTo>
                      <a:pt x="337" y="112"/>
                    </a:lnTo>
                    <a:lnTo>
                      <a:pt x="225" y="224"/>
                    </a:lnTo>
                    <a:lnTo>
                      <a:pt x="1" y="672"/>
                    </a:lnTo>
                    <a:lnTo>
                      <a:pt x="1" y="1120"/>
                    </a:lnTo>
                    <a:lnTo>
                      <a:pt x="113" y="1344"/>
                    </a:lnTo>
                    <a:lnTo>
                      <a:pt x="337" y="1456"/>
                    </a:lnTo>
                    <a:lnTo>
                      <a:pt x="896" y="1791"/>
                    </a:lnTo>
                    <a:lnTo>
                      <a:pt x="1456" y="2015"/>
                    </a:lnTo>
                    <a:lnTo>
                      <a:pt x="1792" y="2015"/>
                    </a:lnTo>
                    <a:lnTo>
                      <a:pt x="1792" y="1568"/>
                    </a:lnTo>
                    <a:lnTo>
                      <a:pt x="1680" y="1232"/>
                    </a:lnTo>
                    <a:lnTo>
                      <a:pt x="1120" y="224"/>
                    </a:lnTo>
                    <a:lnTo>
                      <a:pt x="784" y="112"/>
                    </a:lnTo>
                    <a:lnTo>
                      <a:pt x="561" y="0"/>
                    </a:lnTo>
                    <a:close/>
                  </a:path>
                </a:pathLst>
              </a:custGeom>
              <a:solidFill>
                <a:srgbClr val="C08C8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62" name="Google Shape;2062;p16"/>
              <p:cNvSpPr/>
              <p:nvPr/>
            </p:nvSpPr>
            <p:spPr>
              <a:xfrm>
                <a:off x="1067475" y="2334175"/>
                <a:ext cx="44800" cy="50400"/>
              </a:xfrm>
              <a:custGeom>
                <a:avLst/>
                <a:gdLst/>
                <a:ahLst/>
                <a:cxnLst/>
                <a:rect l="l" t="t" r="r" b="b"/>
                <a:pathLst>
                  <a:path w="1792" h="2016" fill="none" extrusionOk="0">
                    <a:moveTo>
                      <a:pt x="561" y="0"/>
                    </a:moveTo>
                    <a:lnTo>
                      <a:pt x="561" y="0"/>
                    </a:lnTo>
                    <a:lnTo>
                      <a:pt x="337" y="112"/>
                    </a:lnTo>
                    <a:lnTo>
                      <a:pt x="225" y="224"/>
                    </a:lnTo>
                    <a:lnTo>
                      <a:pt x="225" y="224"/>
                    </a:lnTo>
                    <a:lnTo>
                      <a:pt x="1" y="672"/>
                    </a:lnTo>
                    <a:lnTo>
                      <a:pt x="1" y="1120"/>
                    </a:lnTo>
                    <a:lnTo>
                      <a:pt x="113" y="1344"/>
                    </a:lnTo>
                    <a:lnTo>
                      <a:pt x="337" y="1456"/>
                    </a:lnTo>
                    <a:lnTo>
                      <a:pt x="896" y="1791"/>
                    </a:lnTo>
                    <a:lnTo>
                      <a:pt x="1456" y="2015"/>
                    </a:lnTo>
                    <a:lnTo>
                      <a:pt x="1456" y="2015"/>
                    </a:lnTo>
                    <a:lnTo>
                      <a:pt x="1792" y="2015"/>
                    </a:lnTo>
                    <a:lnTo>
                      <a:pt x="1792" y="2015"/>
                    </a:lnTo>
                    <a:lnTo>
                      <a:pt x="1792" y="1568"/>
                    </a:lnTo>
                    <a:lnTo>
                      <a:pt x="1680" y="1232"/>
                    </a:lnTo>
                    <a:lnTo>
                      <a:pt x="1120" y="224"/>
                    </a:lnTo>
                    <a:lnTo>
                      <a:pt x="1120" y="224"/>
                    </a:lnTo>
                    <a:lnTo>
                      <a:pt x="1120" y="224"/>
                    </a:lnTo>
                    <a:lnTo>
                      <a:pt x="1120" y="224"/>
                    </a:lnTo>
                    <a:lnTo>
                      <a:pt x="784" y="112"/>
                    </a:lnTo>
                    <a:lnTo>
                      <a:pt x="56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63" name="Google Shape;2063;p16"/>
              <p:cNvSpPr/>
              <p:nvPr/>
            </p:nvSpPr>
            <p:spPr>
              <a:xfrm>
                <a:off x="868800" y="2297800"/>
                <a:ext cx="828375" cy="640875"/>
              </a:xfrm>
              <a:custGeom>
                <a:avLst/>
                <a:gdLst/>
                <a:ahLst/>
                <a:cxnLst/>
                <a:rect l="l" t="t" r="r" b="b"/>
                <a:pathLst>
                  <a:path w="33135" h="25635" extrusionOk="0">
                    <a:moveTo>
                      <a:pt x="31791" y="0"/>
                    </a:moveTo>
                    <a:lnTo>
                      <a:pt x="30672" y="784"/>
                    </a:lnTo>
                    <a:lnTo>
                      <a:pt x="27985" y="2239"/>
                    </a:lnTo>
                    <a:lnTo>
                      <a:pt x="26530" y="3134"/>
                    </a:lnTo>
                    <a:lnTo>
                      <a:pt x="24963" y="3806"/>
                    </a:lnTo>
                    <a:lnTo>
                      <a:pt x="23731" y="4366"/>
                    </a:lnTo>
                    <a:lnTo>
                      <a:pt x="22724" y="4702"/>
                    </a:lnTo>
                    <a:lnTo>
                      <a:pt x="21716" y="4702"/>
                    </a:lnTo>
                    <a:lnTo>
                      <a:pt x="20485" y="4590"/>
                    </a:lnTo>
                    <a:lnTo>
                      <a:pt x="17687" y="4366"/>
                    </a:lnTo>
                    <a:lnTo>
                      <a:pt x="14776" y="3918"/>
                    </a:lnTo>
                    <a:lnTo>
                      <a:pt x="12202" y="3694"/>
                    </a:lnTo>
                    <a:lnTo>
                      <a:pt x="8620" y="3470"/>
                    </a:lnTo>
                    <a:lnTo>
                      <a:pt x="6940" y="3358"/>
                    </a:lnTo>
                    <a:lnTo>
                      <a:pt x="5933" y="3470"/>
                    </a:lnTo>
                    <a:lnTo>
                      <a:pt x="4702" y="3918"/>
                    </a:lnTo>
                    <a:lnTo>
                      <a:pt x="4030" y="4254"/>
                    </a:lnTo>
                    <a:lnTo>
                      <a:pt x="3358" y="4702"/>
                    </a:lnTo>
                    <a:lnTo>
                      <a:pt x="2687" y="5261"/>
                    </a:lnTo>
                    <a:lnTo>
                      <a:pt x="2127" y="5821"/>
                    </a:lnTo>
                    <a:lnTo>
                      <a:pt x="1679" y="6381"/>
                    </a:lnTo>
                    <a:lnTo>
                      <a:pt x="1344" y="7052"/>
                    </a:lnTo>
                    <a:lnTo>
                      <a:pt x="1120" y="8172"/>
                    </a:lnTo>
                    <a:lnTo>
                      <a:pt x="896" y="9963"/>
                    </a:lnTo>
                    <a:lnTo>
                      <a:pt x="448" y="15112"/>
                    </a:lnTo>
                    <a:lnTo>
                      <a:pt x="112" y="20373"/>
                    </a:lnTo>
                    <a:lnTo>
                      <a:pt x="0" y="22388"/>
                    </a:lnTo>
                    <a:lnTo>
                      <a:pt x="112" y="23619"/>
                    </a:lnTo>
                    <a:lnTo>
                      <a:pt x="224" y="24067"/>
                    </a:lnTo>
                    <a:lnTo>
                      <a:pt x="672" y="24403"/>
                    </a:lnTo>
                    <a:lnTo>
                      <a:pt x="1232" y="24739"/>
                    </a:lnTo>
                    <a:lnTo>
                      <a:pt x="2015" y="24963"/>
                    </a:lnTo>
                    <a:lnTo>
                      <a:pt x="2799" y="25186"/>
                    </a:lnTo>
                    <a:lnTo>
                      <a:pt x="3806" y="25410"/>
                    </a:lnTo>
                    <a:lnTo>
                      <a:pt x="6045" y="25634"/>
                    </a:lnTo>
                    <a:lnTo>
                      <a:pt x="7276" y="25634"/>
                    </a:lnTo>
                    <a:lnTo>
                      <a:pt x="8508" y="25522"/>
                    </a:lnTo>
                    <a:lnTo>
                      <a:pt x="9739" y="25410"/>
                    </a:lnTo>
                    <a:lnTo>
                      <a:pt x="10858" y="25186"/>
                    </a:lnTo>
                    <a:lnTo>
                      <a:pt x="11978" y="24851"/>
                    </a:lnTo>
                    <a:lnTo>
                      <a:pt x="13097" y="24515"/>
                    </a:lnTo>
                    <a:lnTo>
                      <a:pt x="13993" y="23955"/>
                    </a:lnTo>
                    <a:lnTo>
                      <a:pt x="14776" y="23395"/>
                    </a:lnTo>
                    <a:lnTo>
                      <a:pt x="14328" y="21045"/>
                    </a:lnTo>
                    <a:lnTo>
                      <a:pt x="14105" y="19030"/>
                    </a:lnTo>
                    <a:lnTo>
                      <a:pt x="13993" y="17463"/>
                    </a:lnTo>
                    <a:lnTo>
                      <a:pt x="13993" y="16007"/>
                    </a:lnTo>
                    <a:lnTo>
                      <a:pt x="14105" y="13657"/>
                    </a:lnTo>
                    <a:lnTo>
                      <a:pt x="14216" y="11306"/>
                    </a:lnTo>
                    <a:lnTo>
                      <a:pt x="14328" y="11082"/>
                    </a:lnTo>
                    <a:lnTo>
                      <a:pt x="14552" y="10858"/>
                    </a:lnTo>
                    <a:lnTo>
                      <a:pt x="15224" y="10522"/>
                    </a:lnTo>
                    <a:lnTo>
                      <a:pt x="16231" y="10075"/>
                    </a:lnTo>
                    <a:lnTo>
                      <a:pt x="17463" y="9851"/>
                    </a:lnTo>
                    <a:lnTo>
                      <a:pt x="20261" y="9179"/>
                    </a:lnTo>
                    <a:lnTo>
                      <a:pt x="23060" y="8731"/>
                    </a:lnTo>
                    <a:lnTo>
                      <a:pt x="24179" y="8284"/>
                    </a:lnTo>
                    <a:lnTo>
                      <a:pt x="25634" y="7724"/>
                    </a:lnTo>
                    <a:lnTo>
                      <a:pt x="28880" y="6157"/>
                    </a:lnTo>
                    <a:lnTo>
                      <a:pt x="31903" y="4478"/>
                    </a:lnTo>
                    <a:lnTo>
                      <a:pt x="32798" y="3918"/>
                    </a:lnTo>
                    <a:lnTo>
                      <a:pt x="33134" y="3582"/>
                    </a:lnTo>
                    <a:lnTo>
                      <a:pt x="33022" y="2799"/>
                    </a:lnTo>
                    <a:lnTo>
                      <a:pt x="32686" y="1679"/>
                    </a:lnTo>
                    <a:lnTo>
                      <a:pt x="32239" y="560"/>
                    </a:lnTo>
                    <a:lnTo>
                      <a:pt x="32015" y="224"/>
                    </a:lnTo>
                    <a:lnTo>
                      <a:pt x="31791" y="0"/>
                    </a:lnTo>
                    <a:close/>
                  </a:path>
                </a:pathLst>
              </a:custGeom>
              <a:solidFill>
                <a:srgbClr val="EA8C23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64" name="Google Shape;2064;p16"/>
              <p:cNvSpPr/>
              <p:nvPr/>
            </p:nvSpPr>
            <p:spPr>
              <a:xfrm>
                <a:off x="868800" y="2297800"/>
                <a:ext cx="828375" cy="640875"/>
              </a:xfrm>
              <a:custGeom>
                <a:avLst/>
                <a:gdLst/>
                <a:ahLst/>
                <a:cxnLst/>
                <a:rect l="l" t="t" r="r" b="b"/>
                <a:pathLst>
                  <a:path w="33135" h="25635" fill="none" extrusionOk="0">
                    <a:moveTo>
                      <a:pt x="5933" y="3470"/>
                    </a:moveTo>
                    <a:lnTo>
                      <a:pt x="5933" y="3470"/>
                    </a:lnTo>
                    <a:lnTo>
                      <a:pt x="6940" y="3358"/>
                    </a:lnTo>
                    <a:lnTo>
                      <a:pt x="8620" y="3470"/>
                    </a:lnTo>
                    <a:lnTo>
                      <a:pt x="12202" y="3694"/>
                    </a:lnTo>
                    <a:lnTo>
                      <a:pt x="12202" y="3694"/>
                    </a:lnTo>
                    <a:lnTo>
                      <a:pt x="14776" y="3918"/>
                    </a:lnTo>
                    <a:lnTo>
                      <a:pt x="17687" y="4366"/>
                    </a:lnTo>
                    <a:lnTo>
                      <a:pt x="20485" y="4590"/>
                    </a:lnTo>
                    <a:lnTo>
                      <a:pt x="21716" y="4702"/>
                    </a:lnTo>
                    <a:lnTo>
                      <a:pt x="22724" y="4702"/>
                    </a:lnTo>
                    <a:lnTo>
                      <a:pt x="22724" y="4702"/>
                    </a:lnTo>
                    <a:lnTo>
                      <a:pt x="23731" y="4366"/>
                    </a:lnTo>
                    <a:lnTo>
                      <a:pt x="24963" y="3806"/>
                    </a:lnTo>
                    <a:lnTo>
                      <a:pt x="26530" y="3134"/>
                    </a:lnTo>
                    <a:lnTo>
                      <a:pt x="27985" y="2239"/>
                    </a:lnTo>
                    <a:lnTo>
                      <a:pt x="30672" y="784"/>
                    </a:lnTo>
                    <a:lnTo>
                      <a:pt x="31791" y="0"/>
                    </a:lnTo>
                    <a:lnTo>
                      <a:pt x="31791" y="0"/>
                    </a:lnTo>
                    <a:lnTo>
                      <a:pt x="32015" y="224"/>
                    </a:lnTo>
                    <a:lnTo>
                      <a:pt x="32239" y="560"/>
                    </a:lnTo>
                    <a:lnTo>
                      <a:pt x="32686" y="1679"/>
                    </a:lnTo>
                    <a:lnTo>
                      <a:pt x="33022" y="2799"/>
                    </a:lnTo>
                    <a:lnTo>
                      <a:pt x="33134" y="3582"/>
                    </a:lnTo>
                    <a:lnTo>
                      <a:pt x="33134" y="3582"/>
                    </a:lnTo>
                    <a:lnTo>
                      <a:pt x="32798" y="3918"/>
                    </a:lnTo>
                    <a:lnTo>
                      <a:pt x="31903" y="4478"/>
                    </a:lnTo>
                    <a:lnTo>
                      <a:pt x="28880" y="6157"/>
                    </a:lnTo>
                    <a:lnTo>
                      <a:pt x="25634" y="7724"/>
                    </a:lnTo>
                    <a:lnTo>
                      <a:pt x="24179" y="8284"/>
                    </a:lnTo>
                    <a:lnTo>
                      <a:pt x="23060" y="8731"/>
                    </a:lnTo>
                    <a:lnTo>
                      <a:pt x="23060" y="8731"/>
                    </a:lnTo>
                    <a:lnTo>
                      <a:pt x="20261" y="9179"/>
                    </a:lnTo>
                    <a:lnTo>
                      <a:pt x="17463" y="9851"/>
                    </a:lnTo>
                    <a:lnTo>
                      <a:pt x="16231" y="10075"/>
                    </a:lnTo>
                    <a:lnTo>
                      <a:pt x="15224" y="10522"/>
                    </a:lnTo>
                    <a:lnTo>
                      <a:pt x="14552" y="10858"/>
                    </a:lnTo>
                    <a:lnTo>
                      <a:pt x="14328" y="11082"/>
                    </a:lnTo>
                    <a:lnTo>
                      <a:pt x="14216" y="11306"/>
                    </a:lnTo>
                    <a:lnTo>
                      <a:pt x="14216" y="11306"/>
                    </a:lnTo>
                    <a:lnTo>
                      <a:pt x="14105" y="13657"/>
                    </a:lnTo>
                    <a:lnTo>
                      <a:pt x="13993" y="16007"/>
                    </a:lnTo>
                    <a:lnTo>
                      <a:pt x="13993" y="17463"/>
                    </a:lnTo>
                    <a:lnTo>
                      <a:pt x="14105" y="19030"/>
                    </a:lnTo>
                    <a:lnTo>
                      <a:pt x="14328" y="21045"/>
                    </a:lnTo>
                    <a:lnTo>
                      <a:pt x="14776" y="23395"/>
                    </a:lnTo>
                    <a:lnTo>
                      <a:pt x="14776" y="23395"/>
                    </a:lnTo>
                    <a:lnTo>
                      <a:pt x="13993" y="23955"/>
                    </a:lnTo>
                    <a:lnTo>
                      <a:pt x="13097" y="24515"/>
                    </a:lnTo>
                    <a:lnTo>
                      <a:pt x="11978" y="24851"/>
                    </a:lnTo>
                    <a:lnTo>
                      <a:pt x="10858" y="25186"/>
                    </a:lnTo>
                    <a:lnTo>
                      <a:pt x="9739" y="25410"/>
                    </a:lnTo>
                    <a:lnTo>
                      <a:pt x="8508" y="25522"/>
                    </a:lnTo>
                    <a:lnTo>
                      <a:pt x="7276" y="25634"/>
                    </a:lnTo>
                    <a:lnTo>
                      <a:pt x="6045" y="25634"/>
                    </a:lnTo>
                    <a:lnTo>
                      <a:pt x="3806" y="25410"/>
                    </a:lnTo>
                    <a:lnTo>
                      <a:pt x="2799" y="25186"/>
                    </a:lnTo>
                    <a:lnTo>
                      <a:pt x="2015" y="24963"/>
                    </a:lnTo>
                    <a:lnTo>
                      <a:pt x="1232" y="24739"/>
                    </a:lnTo>
                    <a:lnTo>
                      <a:pt x="672" y="24403"/>
                    </a:lnTo>
                    <a:lnTo>
                      <a:pt x="224" y="24067"/>
                    </a:lnTo>
                    <a:lnTo>
                      <a:pt x="112" y="23619"/>
                    </a:lnTo>
                    <a:lnTo>
                      <a:pt x="112" y="23619"/>
                    </a:lnTo>
                    <a:lnTo>
                      <a:pt x="0" y="22388"/>
                    </a:lnTo>
                    <a:lnTo>
                      <a:pt x="112" y="20373"/>
                    </a:lnTo>
                    <a:lnTo>
                      <a:pt x="448" y="15112"/>
                    </a:lnTo>
                    <a:lnTo>
                      <a:pt x="896" y="9963"/>
                    </a:lnTo>
                    <a:lnTo>
                      <a:pt x="1120" y="8172"/>
                    </a:lnTo>
                    <a:lnTo>
                      <a:pt x="1344" y="7052"/>
                    </a:lnTo>
                    <a:lnTo>
                      <a:pt x="1344" y="7052"/>
                    </a:lnTo>
                    <a:lnTo>
                      <a:pt x="1679" y="6381"/>
                    </a:lnTo>
                    <a:lnTo>
                      <a:pt x="2127" y="5821"/>
                    </a:lnTo>
                    <a:lnTo>
                      <a:pt x="2687" y="5261"/>
                    </a:lnTo>
                    <a:lnTo>
                      <a:pt x="3358" y="4702"/>
                    </a:lnTo>
                    <a:lnTo>
                      <a:pt x="4030" y="4254"/>
                    </a:lnTo>
                    <a:lnTo>
                      <a:pt x="4702" y="3918"/>
                    </a:lnTo>
                    <a:lnTo>
                      <a:pt x="5933" y="3470"/>
                    </a:lnTo>
                  </a:path>
                </a:pathLst>
              </a:custGeom>
              <a:solidFill>
                <a:srgbClr val="46464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65" name="Google Shape;2065;p16"/>
              <p:cNvSpPr/>
              <p:nvPr/>
            </p:nvSpPr>
            <p:spPr>
              <a:xfrm>
                <a:off x="1227000" y="2574850"/>
                <a:ext cx="28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13" h="1" extrusionOk="0">
                    <a:moveTo>
                      <a:pt x="112" y="0"/>
                    </a:moveTo>
                    <a:lnTo>
                      <a:pt x="11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12" y="0"/>
                    </a:lnTo>
                    <a:close/>
                  </a:path>
                </a:pathLst>
              </a:custGeom>
              <a:solidFill>
                <a:srgbClr val="A7A2A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66" name="Google Shape;2066;p16"/>
              <p:cNvSpPr/>
              <p:nvPr/>
            </p:nvSpPr>
            <p:spPr>
              <a:xfrm>
                <a:off x="1227000" y="2574850"/>
                <a:ext cx="28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13" h="1" fill="none" extrusionOk="0">
                    <a:moveTo>
                      <a:pt x="112" y="0"/>
                    </a:moveTo>
                    <a:lnTo>
                      <a:pt x="11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1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67" name="Google Shape;2067;p16"/>
              <p:cNvSpPr/>
              <p:nvPr/>
            </p:nvSpPr>
            <p:spPr>
              <a:xfrm>
                <a:off x="1173825" y="2574850"/>
                <a:ext cx="58800" cy="274275"/>
              </a:xfrm>
              <a:custGeom>
                <a:avLst/>
                <a:gdLst/>
                <a:ahLst/>
                <a:cxnLst/>
                <a:rect l="l" t="t" r="r" b="b"/>
                <a:pathLst>
                  <a:path w="2352" h="10971" extrusionOk="0">
                    <a:moveTo>
                      <a:pt x="2127" y="0"/>
                    </a:moveTo>
                    <a:lnTo>
                      <a:pt x="1232" y="336"/>
                    </a:lnTo>
                    <a:lnTo>
                      <a:pt x="672" y="672"/>
                    </a:lnTo>
                    <a:lnTo>
                      <a:pt x="336" y="1008"/>
                    </a:lnTo>
                    <a:lnTo>
                      <a:pt x="113" y="1343"/>
                    </a:lnTo>
                    <a:lnTo>
                      <a:pt x="1" y="1791"/>
                    </a:lnTo>
                    <a:lnTo>
                      <a:pt x="113" y="2687"/>
                    </a:lnTo>
                    <a:lnTo>
                      <a:pt x="448" y="5261"/>
                    </a:lnTo>
                    <a:lnTo>
                      <a:pt x="1008" y="7948"/>
                    </a:lnTo>
                    <a:lnTo>
                      <a:pt x="1344" y="9067"/>
                    </a:lnTo>
                    <a:lnTo>
                      <a:pt x="1680" y="9851"/>
                    </a:lnTo>
                    <a:lnTo>
                      <a:pt x="2015" y="10522"/>
                    </a:lnTo>
                    <a:lnTo>
                      <a:pt x="2239" y="10858"/>
                    </a:lnTo>
                    <a:lnTo>
                      <a:pt x="2351" y="10970"/>
                    </a:lnTo>
                    <a:lnTo>
                      <a:pt x="2015" y="9067"/>
                    </a:lnTo>
                    <a:lnTo>
                      <a:pt x="1792" y="7500"/>
                    </a:lnTo>
                    <a:lnTo>
                      <a:pt x="1680" y="6045"/>
                    </a:lnTo>
                    <a:lnTo>
                      <a:pt x="1680" y="4702"/>
                    </a:lnTo>
                    <a:lnTo>
                      <a:pt x="1904" y="2463"/>
                    </a:lnTo>
                    <a:lnTo>
                      <a:pt x="2015" y="224"/>
                    </a:lnTo>
                    <a:lnTo>
                      <a:pt x="2127" y="0"/>
                    </a:lnTo>
                    <a:close/>
                  </a:path>
                </a:pathLst>
              </a:custGeom>
              <a:solidFill>
                <a:srgbClr val="A36739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68" name="Google Shape;2068;p16"/>
              <p:cNvSpPr/>
              <p:nvPr/>
            </p:nvSpPr>
            <p:spPr>
              <a:xfrm>
                <a:off x="1173825" y="2574850"/>
                <a:ext cx="58800" cy="274275"/>
              </a:xfrm>
              <a:custGeom>
                <a:avLst/>
                <a:gdLst/>
                <a:ahLst/>
                <a:cxnLst/>
                <a:rect l="l" t="t" r="r" b="b"/>
                <a:pathLst>
                  <a:path w="2352" h="10971" fill="none" extrusionOk="0">
                    <a:moveTo>
                      <a:pt x="2127" y="0"/>
                    </a:moveTo>
                    <a:lnTo>
                      <a:pt x="2127" y="0"/>
                    </a:lnTo>
                    <a:lnTo>
                      <a:pt x="1232" y="336"/>
                    </a:lnTo>
                    <a:lnTo>
                      <a:pt x="672" y="672"/>
                    </a:lnTo>
                    <a:lnTo>
                      <a:pt x="336" y="1008"/>
                    </a:lnTo>
                    <a:lnTo>
                      <a:pt x="113" y="1343"/>
                    </a:lnTo>
                    <a:lnTo>
                      <a:pt x="113" y="1343"/>
                    </a:lnTo>
                    <a:lnTo>
                      <a:pt x="1" y="1791"/>
                    </a:lnTo>
                    <a:lnTo>
                      <a:pt x="113" y="2687"/>
                    </a:lnTo>
                    <a:lnTo>
                      <a:pt x="448" y="5261"/>
                    </a:lnTo>
                    <a:lnTo>
                      <a:pt x="1008" y="7948"/>
                    </a:lnTo>
                    <a:lnTo>
                      <a:pt x="1344" y="9067"/>
                    </a:lnTo>
                    <a:lnTo>
                      <a:pt x="1680" y="9851"/>
                    </a:lnTo>
                    <a:lnTo>
                      <a:pt x="1680" y="9851"/>
                    </a:lnTo>
                    <a:lnTo>
                      <a:pt x="2015" y="10522"/>
                    </a:lnTo>
                    <a:lnTo>
                      <a:pt x="2239" y="10858"/>
                    </a:lnTo>
                    <a:lnTo>
                      <a:pt x="2351" y="10970"/>
                    </a:lnTo>
                    <a:lnTo>
                      <a:pt x="2351" y="10970"/>
                    </a:lnTo>
                    <a:lnTo>
                      <a:pt x="2015" y="9067"/>
                    </a:lnTo>
                    <a:lnTo>
                      <a:pt x="1792" y="7500"/>
                    </a:lnTo>
                    <a:lnTo>
                      <a:pt x="1680" y="6045"/>
                    </a:lnTo>
                    <a:lnTo>
                      <a:pt x="1680" y="4702"/>
                    </a:lnTo>
                    <a:lnTo>
                      <a:pt x="1904" y="2463"/>
                    </a:lnTo>
                    <a:lnTo>
                      <a:pt x="2015" y="224"/>
                    </a:lnTo>
                    <a:lnTo>
                      <a:pt x="2015" y="224"/>
                    </a:lnTo>
                    <a:lnTo>
                      <a:pt x="2127" y="0"/>
                    </a:lnTo>
                    <a:lnTo>
                      <a:pt x="2127" y="0"/>
                    </a:lnTo>
                    <a:lnTo>
                      <a:pt x="2127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3E9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FB6893E-02D2-7A39-BE57-CD8FFF6672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1487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B6893E-02D2-7A39-BE57-CD8FFF6672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D5E336C8-D198-66F4-FF84-94EC174E1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271" y="432000"/>
            <a:ext cx="11309642" cy="1387200"/>
          </a:xfrm>
        </p:spPr>
        <p:txBody>
          <a:bodyPr vert="horz"/>
          <a:lstStyle/>
          <a:p>
            <a:r>
              <a:rPr lang="nb-NO"/>
              <a:t>Hjerterom for byrom 2025 bygde videre på disse innspillene gjennom tre tema og et samtaleverksted på hvert av teamaene</a:t>
            </a: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2510F9D6-3A36-8D8A-3FD1-14599F5FE0C5}"/>
              </a:ext>
            </a:extLst>
          </p:cNvPr>
          <p:cNvSpPr/>
          <p:nvPr/>
        </p:nvSpPr>
        <p:spPr>
          <a:xfrm>
            <a:off x="791183" y="2444888"/>
            <a:ext cx="3722451" cy="972765"/>
          </a:xfrm>
          <a:prstGeom prst="homePlate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/>
              <a:t>1.  Hva skal til for å lykkes med by og stedstuvikling?</a:t>
            </a: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3A505417-9C03-F0CF-76A4-354DB7CDD101}"/>
              </a:ext>
            </a:extLst>
          </p:cNvPr>
          <p:cNvSpPr/>
          <p:nvPr/>
        </p:nvSpPr>
        <p:spPr>
          <a:xfrm>
            <a:off x="4383932" y="2444888"/>
            <a:ext cx="6498078" cy="972765"/>
          </a:xfrm>
          <a:prstGeom prst="chevron">
            <a:avLst/>
          </a:prstGeom>
          <a:solidFill>
            <a:srgbClr val="F3F3F3"/>
          </a:solidFill>
          <a:ln>
            <a:noFill/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>
                <a:solidFill>
                  <a:schemeClr val="tx1"/>
                </a:solidFill>
              </a:rPr>
              <a:t>Hva er de viktigste grepene vi kan ta for å få til en vellykket by- og stedsutvikling i Tromsøregionen?</a:t>
            </a: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190EC75A-F8D3-CB1B-E316-3F392D3C4803}"/>
              </a:ext>
            </a:extLst>
          </p:cNvPr>
          <p:cNvSpPr/>
          <p:nvPr/>
        </p:nvSpPr>
        <p:spPr>
          <a:xfrm>
            <a:off x="791183" y="3686786"/>
            <a:ext cx="3722451" cy="972765"/>
          </a:xfrm>
          <a:prstGeom prst="homePlate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/>
              <a:t>2. Hvordan jobber vi smartere sammen?</a:t>
            </a: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76C9903B-AFE9-7894-50D7-4D229DD88A11}"/>
              </a:ext>
            </a:extLst>
          </p:cNvPr>
          <p:cNvSpPr/>
          <p:nvPr/>
        </p:nvSpPr>
        <p:spPr>
          <a:xfrm>
            <a:off x="4383931" y="3686785"/>
            <a:ext cx="6498078" cy="972765"/>
          </a:xfrm>
          <a:prstGeom prst="chevron">
            <a:avLst/>
          </a:prstGeom>
          <a:solidFill>
            <a:srgbClr val="F3F3F3"/>
          </a:solidFill>
          <a:ln>
            <a:noFill/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nb-NO">
                <a:solidFill>
                  <a:schemeClr val="tx1"/>
                </a:solidFill>
              </a:rPr>
              <a:t>Hvordan sikrer vi at lokalsamfunnet blir hørt og inkludert i byutviklingen?  </a:t>
            </a: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A86C604C-6887-7CAA-C1AC-1F9B2A15A299}"/>
              </a:ext>
            </a:extLst>
          </p:cNvPr>
          <p:cNvSpPr/>
          <p:nvPr/>
        </p:nvSpPr>
        <p:spPr>
          <a:xfrm>
            <a:off x="791183" y="4928684"/>
            <a:ext cx="3722451" cy="972765"/>
          </a:xfrm>
          <a:prstGeom prst="homePlate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/>
              <a:t>3. Byutvikling for hvem? </a:t>
            </a: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DC27F3AD-2A93-FC10-9727-51ADD52DCDAC}"/>
              </a:ext>
            </a:extLst>
          </p:cNvPr>
          <p:cNvSpPr/>
          <p:nvPr/>
        </p:nvSpPr>
        <p:spPr>
          <a:xfrm>
            <a:off x="4332051" y="4928684"/>
            <a:ext cx="6498078" cy="972765"/>
          </a:xfrm>
          <a:prstGeom prst="chevron">
            <a:avLst/>
          </a:prstGeom>
          <a:solidFill>
            <a:srgbClr val="F3F3F3"/>
          </a:solidFill>
          <a:ln>
            <a:noFill/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>
                <a:solidFill>
                  <a:schemeClr val="tx1"/>
                </a:solidFill>
              </a:rPr>
              <a:t>Reiselivsbyen Tromsø: Hva slags tjenester og opplevelser tilbyr Tromsø i 2040 og hvilke grep har vi tatt for å få det til? </a:t>
            </a:r>
          </a:p>
        </p:txBody>
      </p:sp>
      <p:grpSp>
        <p:nvGrpSpPr>
          <p:cNvPr id="27" name="Google Shape;1444;p16">
            <a:extLst>
              <a:ext uri="{FF2B5EF4-FFF2-40B4-BE49-F238E27FC236}">
                <a16:creationId xmlns:a16="http://schemas.microsoft.com/office/drawing/2014/main" id="{9532A341-9FFB-B43C-B88F-6B259AC6E04A}"/>
              </a:ext>
            </a:extLst>
          </p:cNvPr>
          <p:cNvGrpSpPr/>
          <p:nvPr/>
        </p:nvGrpSpPr>
        <p:grpSpPr>
          <a:xfrm>
            <a:off x="10713213" y="2457017"/>
            <a:ext cx="1145710" cy="1035883"/>
            <a:chOff x="546150" y="238125"/>
            <a:chExt cx="6527700" cy="5238750"/>
          </a:xfrm>
        </p:grpSpPr>
        <p:sp>
          <p:nvSpPr>
            <p:cNvPr id="28" name="Google Shape;1445;p16">
              <a:extLst>
                <a:ext uri="{FF2B5EF4-FFF2-40B4-BE49-F238E27FC236}">
                  <a16:creationId xmlns:a16="http://schemas.microsoft.com/office/drawing/2014/main" id="{395D3296-9F7A-714B-AC81-E1C23C021C79}"/>
                </a:ext>
              </a:extLst>
            </p:cNvPr>
            <p:cNvSpPr/>
            <p:nvPr/>
          </p:nvSpPr>
          <p:spPr>
            <a:xfrm>
              <a:off x="1029075" y="4567175"/>
              <a:ext cx="4062125" cy="145150"/>
            </a:xfrm>
            <a:custGeom>
              <a:avLst/>
              <a:gdLst/>
              <a:ahLst/>
              <a:cxnLst/>
              <a:rect l="l" t="t" r="r" b="b"/>
              <a:pathLst>
                <a:path w="162485" h="5806" extrusionOk="0">
                  <a:moveTo>
                    <a:pt x="3870" y="1451"/>
                  </a:moveTo>
                  <a:lnTo>
                    <a:pt x="2212" y="1693"/>
                  </a:lnTo>
                  <a:lnTo>
                    <a:pt x="1520" y="1832"/>
                  </a:lnTo>
                  <a:lnTo>
                    <a:pt x="968" y="1970"/>
                  </a:lnTo>
                  <a:lnTo>
                    <a:pt x="553" y="2074"/>
                  </a:lnTo>
                  <a:lnTo>
                    <a:pt x="242" y="2212"/>
                  </a:lnTo>
                  <a:lnTo>
                    <a:pt x="35" y="2350"/>
                  </a:lnTo>
                  <a:lnTo>
                    <a:pt x="0" y="2419"/>
                  </a:lnTo>
                  <a:lnTo>
                    <a:pt x="0" y="2488"/>
                  </a:lnTo>
                  <a:lnTo>
                    <a:pt x="0" y="2557"/>
                  </a:lnTo>
                  <a:lnTo>
                    <a:pt x="35" y="2592"/>
                  </a:lnTo>
                  <a:lnTo>
                    <a:pt x="207" y="2730"/>
                  </a:lnTo>
                  <a:lnTo>
                    <a:pt x="518" y="2868"/>
                  </a:lnTo>
                  <a:lnTo>
                    <a:pt x="898" y="2972"/>
                  </a:lnTo>
                  <a:lnTo>
                    <a:pt x="1417" y="3110"/>
                  </a:lnTo>
                  <a:lnTo>
                    <a:pt x="2039" y="3214"/>
                  </a:lnTo>
                  <a:lnTo>
                    <a:pt x="3594" y="3456"/>
                  </a:lnTo>
                  <a:lnTo>
                    <a:pt x="3870" y="1451"/>
                  </a:lnTo>
                  <a:close/>
                  <a:moveTo>
                    <a:pt x="147107" y="0"/>
                  </a:moveTo>
                  <a:lnTo>
                    <a:pt x="146934" y="346"/>
                  </a:lnTo>
                  <a:lnTo>
                    <a:pt x="146830" y="518"/>
                  </a:lnTo>
                  <a:lnTo>
                    <a:pt x="146623" y="657"/>
                  </a:lnTo>
                  <a:lnTo>
                    <a:pt x="146346" y="829"/>
                  </a:lnTo>
                  <a:lnTo>
                    <a:pt x="146001" y="968"/>
                  </a:lnTo>
                  <a:lnTo>
                    <a:pt x="145828" y="2903"/>
                  </a:lnTo>
                  <a:lnTo>
                    <a:pt x="145828" y="3663"/>
                  </a:lnTo>
                  <a:lnTo>
                    <a:pt x="145828" y="4251"/>
                  </a:lnTo>
                  <a:lnTo>
                    <a:pt x="150977" y="3940"/>
                  </a:lnTo>
                  <a:lnTo>
                    <a:pt x="155469" y="3594"/>
                  </a:lnTo>
                  <a:lnTo>
                    <a:pt x="159270" y="3248"/>
                  </a:lnTo>
                  <a:lnTo>
                    <a:pt x="160860" y="3076"/>
                  </a:lnTo>
                  <a:lnTo>
                    <a:pt x="162277" y="2903"/>
                  </a:lnTo>
                  <a:lnTo>
                    <a:pt x="162484" y="899"/>
                  </a:lnTo>
                  <a:lnTo>
                    <a:pt x="161171" y="795"/>
                  </a:lnTo>
                  <a:lnTo>
                    <a:pt x="159650" y="657"/>
                  </a:lnTo>
                  <a:lnTo>
                    <a:pt x="156126" y="415"/>
                  </a:lnTo>
                  <a:lnTo>
                    <a:pt x="151910" y="207"/>
                  </a:lnTo>
                  <a:lnTo>
                    <a:pt x="147107" y="0"/>
                  </a:lnTo>
                  <a:close/>
                  <a:moveTo>
                    <a:pt x="18073" y="380"/>
                  </a:moveTo>
                  <a:lnTo>
                    <a:pt x="12959" y="657"/>
                  </a:lnTo>
                  <a:lnTo>
                    <a:pt x="8605" y="968"/>
                  </a:lnTo>
                  <a:lnTo>
                    <a:pt x="7913" y="3905"/>
                  </a:lnTo>
                  <a:lnTo>
                    <a:pt x="10298" y="4112"/>
                  </a:lnTo>
                  <a:lnTo>
                    <a:pt x="12924" y="4285"/>
                  </a:lnTo>
                  <a:lnTo>
                    <a:pt x="15827" y="4458"/>
                  </a:lnTo>
                  <a:lnTo>
                    <a:pt x="18971" y="4631"/>
                  </a:lnTo>
                  <a:lnTo>
                    <a:pt x="18591" y="2972"/>
                  </a:lnTo>
                  <a:lnTo>
                    <a:pt x="18384" y="2074"/>
                  </a:lnTo>
                  <a:lnTo>
                    <a:pt x="18073" y="380"/>
                  </a:lnTo>
                  <a:close/>
                  <a:moveTo>
                    <a:pt x="137085" y="2454"/>
                  </a:moveTo>
                  <a:lnTo>
                    <a:pt x="133768" y="2730"/>
                  </a:lnTo>
                  <a:lnTo>
                    <a:pt x="130070" y="2972"/>
                  </a:lnTo>
                  <a:lnTo>
                    <a:pt x="129759" y="3663"/>
                  </a:lnTo>
                  <a:lnTo>
                    <a:pt x="129483" y="4285"/>
                  </a:lnTo>
                  <a:lnTo>
                    <a:pt x="129241" y="5011"/>
                  </a:lnTo>
                  <a:lnTo>
                    <a:pt x="137154" y="4700"/>
                  </a:lnTo>
                  <a:lnTo>
                    <a:pt x="137085" y="3663"/>
                  </a:lnTo>
                  <a:lnTo>
                    <a:pt x="137085" y="2454"/>
                  </a:lnTo>
                  <a:close/>
                  <a:moveTo>
                    <a:pt x="25295" y="69"/>
                  </a:moveTo>
                  <a:lnTo>
                    <a:pt x="23913" y="104"/>
                  </a:lnTo>
                  <a:lnTo>
                    <a:pt x="24259" y="4838"/>
                  </a:lnTo>
                  <a:lnTo>
                    <a:pt x="30064" y="5045"/>
                  </a:lnTo>
                  <a:lnTo>
                    <a:pt x="36353" y="5253"/>
                  </a:lnTo>
                  <a:lnTo>
                    <a:pt x="43057" y="5425"/>
                  </a:lnTo>
                  <a:lnTo>
                    <a:pt x="50176" y="5564"/>
                  </a:lnTo>
                  <a:lnTo>
                    <a:pt x="57640" y="5667"/>
                  </a:lnTo>
                  <a:lnTo>
                    <a:pt x="65450" y="5736"/>
                  </a:lnTo>
                  <a:lnTo>
                    <a:pt x="73501" y="5806"/>
                  </a:lnTo>
                  <a:lnTo>
                    <a:pt x="81830" y="5806"/>
                  </a:lnTo>
                  <a:lnTo>
                    <a:pt x="92231" y="5771"/>
                  </a:lnTo>
                  <a:lnTo>
                    <a:pt x="102321" y="5667"/>
                  </a:lnTo>
                  <a:lnTo>
                    <a:pt x="112032" y="5495"/>
                  </a:lnTo>
                  <a:lnTo>
                    <a:pt x="121224" y="5253"/>
                  </a:lnTo>
                  <a:lnTo>
                    <a:pt x="121535" y="3318"/>
                  </a:lnTo>
                  <a:lnTo>
                    <a:pt x="115142" y="3525"/>
                  </a:lnTo>
                  <a:lnTo>
                    <a:pt x="108300" y="3629"/>
                  </a:lnTo>
                  <a:lnTo>
                    <a:pt x="101216" y="3698"/>
                  </a:lnTo>
                  <a:lnTo>
                    <a:pt x="93890" y="3732"/>
                  </a:lnTo>
                  <a:lnTo>
                    <a:pt x="88153" y="3732"/>
                  </a:lnTo>
                  <a:lnTo>
                    <a:pt x="82417" y="3698"/>
                  </a:lnTo>
                  <a:lnTo>
                    <a:pt x="76715" y="3629"/>
                  </a:lnTo>
                  <a:lnTo>
                    <a:pt x="71082" y="3525"/>
                  </a:lnTo>
                  <a:lnTo>
                    <a:pt x="65588" y="3421"/>
                  </a:lnTo>
                  <a:lnTo>
                    <a:pt x="60266" y="3283"/>
                  </a:lnTo>
                  <a:lnTo>
                    <a:pt x="55152" y="3110"/>
                  </a:lnTo>
                  <a:lnTo>
                    <a:pt x="50314" y="2937"/>
                  </a:lnTo>
                  <a:lnTo>
                    <a:pt x="45753" y="2730"/>
                  </a:lnTo>
                  <a:lnTo>
                    <a:pt x="41571" y="2523"/>
                  </a:lnTo>
                  <a:lnTo>
                    <a:pt x="37805" y="2281"/>
                  </a:lnTo>
                  <a:lnTo>
                    <a:pt x="34487" y="2039"/>
                  </a:lnTo>
                  <a:lnTo>
                    <a:pt x="31619" y="1797"/>
                  </a:lnTo>
                  <a:lnTo>
                    <a:pt x="29338" y="1521"/>
                  </a:lnTo>
                  <a:lnTo>
                    <a:pt x="28405" y="1382"/>
                  </a:lnTo>
                  <a:lnTo>
                    <a:pt x="27645" y="1210"/>
                  </a:lnTo>
                  <a:lnTo>
                    <a:pt x="27023" y="1071"/>
                  </a:lnTo>
                  <a:lnTo>
                    <a:pt x="26574" y="933"/>
                  </a:lnTo>
                  <a:lnTo>
                    <a:pt x="26228" y="760"/>
                  </a:lnTo>
                  <a:lnTo>
                    <a:pt x="25883" y="588"/>
                  </a:lnTo>
                  <a:lnTo>
                    <a:pt x="25572" y="346"/>
                  </a:lnTo>
                  <a:lnTo>
                    <a:pt x="25295" y="69"/>
                  </a:lnTo>
                  <a:close/>
                </a:path>
              </a:pathLst>
            </a:custGeom>
            <a:solidFill>
              <a:srgbClr val="E6E6E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" name="Google Shape;1446;p16">
              <a:extLst>
                <a:ext uri="{FF2B5EF4-FFF2-40B4-BE49-F238E27FC236}">
                  <a16:creationId xmlns:a16="http://schemas.microsoft.com/office/drawing/2014/main" id="{C67972EE-EA3B-C3E8-CA57-CEDD09F3283A}"/>
                </a:ext>
              </a:extLst>
            </p:cNvPr>
            <p:cNvSpPr/>
            <p:nvPr/>
          </p:nvSpPr>
          <p:spPr>
            <a:xfrm>
              <a:off x="4260075" y="4628500"/>
              <a:ext cx="197875" cy="63950"/>
            </a:xfrm>
            <a:custGeom>
              <a:avLst/>
              <a:gdLst/>
              <a:ahLst/>
              <a:cxnLst/>
              <a:rect l="l" t="t" r="r" b="b"/>
              <a:pathLst>
                <a:path w="7915" h="2558" fill="none" extrusionOk="0">
                  <a:moveTo>
                    <a:pt x="7845" y="1"/>
                  </a:moveTo>
                  <a:lnTo>
                    <a:pt x="7845" y="1"/>
                  </a:lnTo>
                  <a:lnTo>
                    <a:pt x="4528" y="277"/>
                  </a:lnTo>
                  <a:lnTo>
                    <a:pt x="830" y="519"/>
                  </a:lnTo>
                  <a:lnTo>
                    <a:pt x="830" y="519"/>
                  </a:lnTo>
                  <a:lnTo>
                    <a:pt x="519" y="1210"/>
                  </a:lnTo>
                  <a:lnTo>
                    <a:pt x="519" y="1210"/>
                  </a:lnTo>
                  <a:lnTo>
                    <a:pt x="243" y="1832"/>
                  </a:lnTo>
                  <a:lnTo>
                    <a:pt x="1" y="2558"/>
                  </a:lnTo>
                  <a:lnTo>
                    <a:pt x="1" y="2558"/>
                  </a:lnTo>
                  <a:lnTo>
                    <a:pt x="7914" y="2247"/>
                  </a:lnTo>
                  <a:lnTo>
                    <a:pt x="7914" y="2247"/>
                  </a:lnTo>
                  <a:lnTo>
                    <a:pt x="7845" y="1210"/>
                  </a:lnTo>
                  <a:lnTo>
                    <a:pt x="784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" name="Google Shape;1447;p16">
              <a:extLst>
                <a:ext uri="{FF2B5EF4-FFF2-40B4-BE49-F238E27FC236}">
                  <a16:creationId xmlns:a16="http://schemas.microsoft.com/office/drawing/2014/main" id="{29BF25C2-731C-DA02-D652-37E1EBD0CC3A}"/>
                </a:ext>
              </a:extLst>
            </p:cNvPr>
            <p:cNvSpPr/>
            <p:nvPr/>
          </p:nvSpPr>
          <p:spPr>
            <a:xfrm>
              <a:off x="1029075" y="4603450"/>
              <a:ext cx="96775" cy="50125"/>
            </a:xfrm>
            <a:custGeom>
              <a:avLst/>
              <a:gdLst/>
              <a:ahLst/>
              <a:cxnLst/>
              <a:rect l="l" t="t" r="r" b="b"/>
              <a:pathLst>
                <a:path w="3871" h="2005" fill="none" extrusionOk="0">
                  <a:moveTo>
                    <a:pt x="3870" y="0"/>
                  </a:moveTo>
                  <a:lnTo>
                    <a:pt x="3870" y="0"/>
                  </a:lnTo>
                  <a:lnTo>
                    <a:pt x="2212" y="242"/>
                  </a:lnTo>
                  <a:lnTo>
                    <a:pt x="1520" y="381"/>
                  </a:lnTo>
                  <a:lnTo>
                    <a:pt x="968" y="519"/>
                  </a:lnTo>
                  <a:lnTo>
                    <a:pt x="553" y="623"/>
                  </a:lnTo>
                  <a:lnTo>
                    <a:pt x="242" y="761"/>
                  </a:lnTo>
                  <a:lnTo>
                    <a:pt x="35" y="899"/>
                  </a:lnTo>
                  <a:lnTo>
                    <a:pt x="0" y="968"/>
                  </a:lnTo>
                  <a:lnTo>
                    <a:pt x="0" y="1037"/>
                  </a:lnTo>
                  <a:lnTo>
                    <a:pt x="0" y="1037"/>
                  </a:lnTo>
                  <a:lnTo>
                    <a:pt x="0" y="1106"/>
                  </a:lnTo>
                  <a:lnTo>
                    <a:pt x="35" y="1141"/>
                  </a:lnTo>
                  <a:lnTo>
                    <a:pt x="207" y="1279"/>
                  </a:lnTo>
                  <a:lnTo>
                    <a:pt x="518" y="1417"/>
                  </a:lnTo>
                  <a:lnTo>
                    <a:pt x="898" y="1521"/>
                  </a:lnTo>
                  <a:lnTo>
                    <a:pt x="1417" y="1659"/>
                  </a:lnTo>
                  <a:lnTo>
                    <a:pt x="2039" y="1763"/>
                  </a:lnTo>
                  <a:lnTo>
                    <a:pt x="3594" y="2005"/>
                  </a:lnTo>
                  <a:lnTo>
                    <a:pt x="3594" y="2005"/>
                  </a:lnTo>
                  <a:lnTo>
                    <a:pt x="387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1448;p16">
              <a:extLst>
                <a:ext uri="{FF2B5EF4-FFF2-40B4-BE49-F238E27FC236}">
                  <a16:creationId xmlns:a16="http://schemas.microsoft.com/office/drawing/2014/main" id="{1F4722FC-B739-D055-D5E1-E67387AB1E46}"/>
                </a:ext>
              </a:extLst>
            </p:cNvPr>
            <p:cNvSpPr/>
            <p:nvPr/>
          </p:nvSpPr>
          <p:spPr>
            <a:xfrm>
              <a:off x="1226900" y="4576675"/>
              <a:ext cx="276475" cy="106275"/>
            </a:xfrm>
            <a:custGeom>
              <a:avLst/>
              <a:gdLst/>
              <a:ahLst/>
              <a:cxnLst/>
              <a:rect l="l" t="t" r="r" b="b"/>
              <a:pathLst>
                <a:path w="11059" h="4251" fill="none" extrusionOk="0">
                  <a:moveTo>
                    <a:pt x="10160" y="0"/>
                  </a:moveTo>
                  <a:lnTo>
                    <a:pt x="10160" y="0"/>
                  </a:lnTo>
                  <a:lnTo>
                    <a:pt x="5046" y="277"/>
                  </a:lnTo>
                  <a:lnTo>
                    <a:pt x="692" y="588"/>
                  </a:lnTo>
                  <a:lnTo>
                    <a:pt x="692" y="588"/>
                  </a:lnTo>
                  <a:lnTo>
                    <a:pt x="0" y="3525"/>
                  </a:lnTo>
                  <a:lnTo>
                    <a:pt x="0" y="3525"/>
                  </a:lnTo>
                  <a:lnTo>
                    <a:pt x="2385" y="3732"/>
                  </a:lnTo>
                  <a:lnTo>
                    <a:pt x="5011" y="3905"/>
                  </a:lnTo>
                  <a:lnTo>
                    <a:pt x="7914" y="4078"/>
                  </a:lnTo>
                  <a:lnTo>
                    <a:pt x="11058" y="4251"/>
                  </a:lnTo>
                  <a:lnTo>
                    <a:pt x="11058" y="4251"/>
                  </a:lnTo>
                  <a:lnTo>
                    <a:pt x="10678" y="2592"/>
                  </a:lnTo>
                  <a:lnTo>
                    <a:pt x="10678" y="2592"/>
                  </a:lnTo>
                  <a:lnTo>
                    <a:pt x="10471" y="1694"/>
                  </a:lnTo>
                  <a:lnTo>
                    <a:pt x="1016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" name="Google Shape;1449;p16">
              <a:extLst>
                <a:ext uri="{FF2B5EF4-FFF2-40B4-BE49-F238E27FC236}">
                  <a16:creationId xmlns:a16="http://schemas.microsoft.com/office/drawing/2014/main" id="{79761CDB-A575-E2F1-33BE-248B97A7770B}"/>
                </a:ext>
              </a:extLst>
            </p:cNvPr>
            <p:cNvSpPr/>
            <p:nvPr/>
          </p:nvSpPr>
          <p:spPr>
            <a:xfrm>
              <a:off x="1626900" y="4568900"/>
              <a:ext cx="2440550" cy="143425"/>
            </a:xfrm>
            <a:custGeom>
              <a:avLst/>
              <a:gdLst/>
              <a:ahLst/>
              <a:cxnLst/>
              <a:rect l="l" t="t" r="r" b="b"/>
              <a:pathLst>
                <a:path w="97622" h="5737" fill="none" extrusionOk="0">
                  <a:moveTo>
                    <a:pt x="1382" y="0"/>
                  </a:moveTo>
                  <a:lnTo>
                    <a:pt x="1382" y="0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346" y="4769"/>
                  </a:lnTo>
                  <a:lnTo>
                    <a:pt x="346" y="4769"/>
                  </a:lnTo>
                  <a:lnTo>
                    <a:pt x="6151" y="4976"/>
                  </a:lnTo>
                  <a:lnTo>
                    <a:pt x="12440" y="5184"/>
                  </a:lnTo>
                  <a:lnTo>
                    <a:pt x="19144" y="5356"/>
                  </a:lnTo>
                  <a:lnTo>
                    <a:pt x="26263" y="5495"/>
                  </a:lnTo>
                  <a:lnTo>
                    <a:pt x="33727" y="5598"/>
                  </a:lnTo>
                  <a:lnTo>
                    <a:pt x="41537" y="5667"/>
                  </a:lnTo>
                  <a:lnTo>
                    <a:pt x="49588" y="5737"/>
                  </a:lnTo>
                  <a:lnTo>
                    <a:pt x="57917" y="5737"/>
                  </a:lnTo>
                  <a:lnTo>
                    <a:pt x="57917" y="5737"/>
                  </a:lnTo>
                  <a:lnTo>
                    <a:pt x="68318" y="5702"/>
                  </a:lnTo>
                  <a:lnTo>
                    <a:pt x="78408" y="5598"/>
                  </a:lnTo>
                  <a:lnTo>
                    <a:pt x="88119" y="5426"/>
                  </a:lnTo>
                  <a:lnTo>
                    <a:pt x="97311" y="5184"/>
                  </a:lnTo>
                  <a:lnTo>
                    <a:pt x="97311" y="5184"/>
                  </a:lnTo>
                  <a:lnTo>
                    <a:pt x="97622" y="3249"/>
                  </a:lnTo>
                  <a:lnTo>
                    <a:pt x="97622" y="3249"/>
                  </a:lnTo>
                  <a:lnTo>
                    <a:pt x="91229" y="3456"/>
                  </a:lnTo>
                  <a:lnTo>
                    <a:pt x="84387" y="3560"/>
                  </a:lnTo>
                  <a:lnTo>
                    <a:pt x="77303" y="3629"/>
                  </a:lnTo>
                  <a:lnTo>
                    <a:pt x="69977" y="3663"/>
                  </a:lnTo>
                  <a:lnTo>
                    <a:pt x="69977" y="3663"/>
                  </a:lnTo>
                  <a:lnTo>
                    <a:pt x="64240" y="3663"/>
                  </a:lnTo>
                  <a:lnTo>
                    <a:pt x="58504" y="3629"/>
                  </a:lnTo>
                  <a:lnTo>
                    <a:pt x="52802" y="3560"/>
                  </a:lnTo>
                  <a:lnTo>
                    <a:pt x="47169" y="3456"/>
                  </a:lnTo>
                  <a:lnTo>
                    <a:pt x="41675" y="3352"/>
                  </a:lnTo>
                  <a:lnTo>
                    <a:pt x="36353" y="3214"/>
                  </a:lnTo>
                  <a:lnTo>
                    <a:pt x="31239" y="3041"/>
                  </a:lnTo>
                  <a:lnTo>
                    <a:pt x="26401" y="2868"/>
                  </a:lnTo>
                  <a:lnTo>
                    <a:pt x="21840" y="2661"/>
                  </a:lnTo>
                  <a:lnTo>
                    <a:pt x="17658" y="2454"/>
                  </a:lnTo>
                  <a:lnTo>
                    <a:pt x="13892" y="2212"/>
                  </a:lnTo>
                  <a:lnTo>
                    <a:pt x="10574" y="1970"/>
                  </a:lnTo>
                  <a:lnTo>
                    <a:pt x="7706" y="1728"/>
                  </a:lnTo>
                  <a:lnTo>
                    <a:pt x="5425" y="1452"/>
                  </a:lnTo>
                  <a:lnTo>
                    <a:pt x="4492" y="1313"/>
                  </a:lnTo>
                  <a:lnTo>
                    <a:pt x="3732" y="1141"/>
                  </a:lnTo>
                  <a:lnTo>
                    <a:pt x="3110" y="1002"/>
                  </a:lnTo>
                  <a:lnTo>
                    <a:pt x="2661" y="864"/>
                  </a:lnTo>
                  <a:lnTo>
                    <a:pt x="2661" y="864"/>
                  </a:lnTo>
                  <a:lnTo>
                    <a:pt x="2315" y="691"/>
                  </a:lnTo>
                  <a:lnTo>
                    <a:pt x="1970" y="519"/>
                  </a:lnTo>
                  <a:lnTo>
                    <a:pt x="1659" y="277"/>
                  </a:lnTo>
                  <a:lnTo>
                    <a:pt x="138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" name="Google Shape;1450;p16">
              <a:extLst>
                <a:ext uri="{FF2B5EF4-FFF2-40B4-BE49-F238E27FC236}">
                  <a16:creationId xmlns:a16="http://schemas.microsoft.com/office/drawing/2014/main" id="{14F34A46-6CED-3273-9EE9-5A7D37AE9B5D}"/>
                </a:ext>
              </a:extLst>
            </p:cNvPr>
            <p:cNvSpPr/>
            <p:nvPr/>
          </p:nvSpPr>
          <p:spPr>
            <a:xfrm>
              <a:off x="4674750" y="4567175"/>
              <a:ext cx="416450" cy="106275"/>
            </a:xfrm>
            <a:custGeom>
              <a:avLst/>
              <a:gdLst/>
              <a:ahLst/>
              <a:cxnLst/>
              <a:rect l="l" t="t" r="r" b="b"/>
              <a:pathLst>
                <a:path w="16658" h="4251" fill="none" extrusionOk="0">
                  <a:moveTo>
                    <a:pt x="1280" y="0"/>
                  </a:moveTo>
                  <a:lnTo>
                    <a:pt x="1280" y="0"/>
                  </a:lnTo>
                  <a:lnTo>
                    <a:pt x="1107" y="346"/>
                  </a:lnTo>
                  <a:lnTo>
                    <a:pt x="1107" y="346"/>
                  </a:lnTo>
                  <a:lnTo>
                    <a:pt x="1003" y="518"/>
                  </a:lnTo>
                  <a:lnTo>
                    <a:pt x="796" y="657"/>
                  </a:lnTo>
                  <a:lnTo>
                    <a:pt x="519" y="829"/>
                  </a:lnTo>
                  <a:lnTo>
                    <a:pt x="174" y="968"/>
                  </a:lnTo>
                  <a:lnTo>
                    <a:pt x="174" y="968"/>
                  </a:lnTo>
                  <a:lnTo>
                    <a:pt x="1" y="2903"/>
                  </a:lnTo>
                  <a:lnTo>
                    <a:pt x="1" y="3663"/>
                  </a:lnTo>
                  <a:lnTo>
                    <a:pt x="1" y="4251"/>
                  </a:lnTo>
                  <a:lnTo>
                    <a:pt x="1" y="4251"/>
                  </a:lnTo>
                  <a:lnTo>
                    <a:pt x="5150" y="3940"/>
                  </a:lnTo>
                  <a:lnTo>
                    <a:pt x="9642" y="3594"/>
                  </a:lnTo>
                  <a:lnTo>
                    <a:pt x="13443" y="3248"/>
                  </a:lnTo>
                  <a:lnTo>
                    <a:pt x="15033" y="3076"/>
                  </a:lnTo>
                  <a:lnTo>
                    <a:pt x="16450" y="2903"/>
                  </a:lnTo>
                  <a:lnTo>
                    <a:pt x="16657" y="899"/>
                  </a:lnTo>
                  <a:lnTo>
                    <a:pt x="16657" y="899"/>
                  </a:lnTo>
                  <a:lnTo>
                    <a:pt x="15344" y="795"/>
                  </a:lnTo>
                  <a:lnTo>
                    <a:pt x="13823" y="657"/>
                  </a:lnTo>
                  <a:lnTo>
                    <a:pt x="10299" y="415"/>
                  </a:lnTo>
                  <a:lnTo>
                    <a:pt x="6083" y="207"/>
                  </a:lnTo>
                  <a:lnTo>
                    <a:pt x="128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" name="Google Shape;1451;p16">
              <a:extLst>
                <a:ext uri="{FF2B5EF4-FFF2-40B4-BE49-F238E27FC236}">
                  <a16:creationId xmlns:a16="http://schemas.microsoft.com/office/drawing/2014/main" id="{84AD4633-2F3E-10B8-2EDA-66CEAA0EF8AE}"/>
                </a:ext>
              </a:extLst>
            </p:cNvPr>
            <p:cNvSpPr/>
            <p:nvPr/>
          </p:nvSpPr>
          <p:spPr>
            <a:xfrm>
              <a:off x="1544825" y="238125"/>
              <a:ext cx="3225000" cy="4422375"/>
            </a:xfrm>
            <a:custGeom>
              <a:avLst/>
              <a:gdLst/>
              <a:ahLst/>
              <a:cxnLst/>
              <a:rect l="l" t="t" r="r" b="b"/>
              <a:pathLst>
                <a:path w="129000" h="176895" extrusionOk="0">
                  <a:moveTo>
                    <a:pt x="61545" y="0"/>
                  </a:moveTo>
                  <a:lnTo>
                    <a:pt x="56051" y="69"/>
                  </a:lnTo>
                  <a:lnTo>
                    <a:pt x="50591" y="173"/>
                  </a:lnTo>
                  <a:lnTo>
                    <a:pt x="45200" y="311"/>
                  </a:lnTo>
                  <a:lnTo>
                    <a:pt x="39913" y="518"/>
                  </a:lnTo>
                  <a:lnTo>
                    <a:pt x="34764" y="795"/>
                  </a:lnTo>
                  <a:lnTo>
                    <a:pt x="29822" y="1106"/>
                  </a:lnTo>
                  <a:lnTo>
                    <a:pt x="27438" y="1313"/>
                  </a:lnTo>
                  <a:lnTo>
                    <a:pt x="25123" y="1520"/>
                  </a:lnTo>
                  <a:lnTo>
                    <a:pt x="22877" y="1728"/>
                  </a:lnTo>
                  <a:lnTo>
                    <a:pt x="20699" y="1970"/>
                  </a:lnTo>
                  <a:lnTo>
                    <a:pt x="18626" y="2246"/>
                  </a:lnTo>
                  <a:lnTo>
                    <a:pt x="16622" y="2523"/>
                  </a:lnTo>
                  <a:lnTo>
                    <a:pt x="14687" y="2799"/>
                  </a:lnTo>
                  <a:lnTo>
                    <a:pt x="12855" y="3145"/>
                  </a:lnTo>
                  <a:lnTo>
                    <a:pt x="11127" y="3456"/>
                  </a:lnTo>
                  <a:lnTo>
                    <a:pt x="9503" y="3836"/>
                  </a:lnTo>
                  <a:lnTo>
                    <a:pt x="7983" y="4181"/>
                  </a:lnTo>
                  <a:lnTo>
                    <a:pt x="6600" y="4596"/>
                  </a:lnTo>
                  <a:lnTo>
                    <a:pt x="5322" y="5011"/>
                  </a:lnTo>
                  <a:lnTo>
                    <a:pt x="4147" y="5460"/>
                  </a:lnTo>
                  <a:lnTo>
                    <a:pt x="3145" y="5909"/>
                  </a:lnTo>
                  <a:lnTo>
                    <a:pt x="2661" y="6151"/>
                  </a:lnTo>
                  <a:lnTo>
                    <a:pt x="2246" y="6393"/>
                  </a:lnTo>
                  <a:lnTo>
                    <a:pt x="1866" y="6669"/>
                  </a:lnTo>
                  <a:lnTo>
                    <a:pt x="1486" y="6911"/>
                  </a:lnTo>
                  <a:lnTo>
                    <a:pt x="1175" y="7188"/>
                  </a:lnTo>
                  <a:lnTo>
                    <a:pt x="899" y="7464"/>
                  </a:lnTo>
                  <a:lnTo>
                    <a:pt x="657" y="7706"/>
                  </a:lnTo>
                  <a:lnTo>
                    <a:pt x="449" y="8017"/>
                  </a:lnTo>
                  <a:lnTo>
                    <a:pt x="277" y="8294"/>
                  </a:lnTo>
                  <a:lnTo>
                    <a:pt x="138" y="8570"/>
                  </a:lnTo>
                  <a:lnTo>
                    <a:pt x="35" y="8881"/>
                  </a:lnTo>
                  <a:lnTo>
                    <a:pt x="0" y="9192"/>
                  </a:lnTo>
                  <a:lnTo>
                    <a:pt x="0" y="9503"/>
                  </a:lnTo>
                  <a:lnTo>
                    <a:pt x="35" y="9814"/>
                  </a:lnTo>
                  <a:lnTo>
                    <a:pt x="553" y="12924"/>
                  </a:lnTo>
                  <a:lnTo>
                    <a:pt x="1037" y="16103"/>
                  </a:lnTo>
                  <a:lnTo>
                    <a:pt x="1452" y="19282"/>
                  </a:lnTo>
                  <a:lnTo>
                    <a:pt x="1866" y="22496"/>
                  </a:lnTo>
                  <a:lnTo>
                    <a:pt x="2212" y="25745"/>
                  </a:lnTo>
                  <a:lnTo>
                    <a:pt x="2523" y="29027"/>
                  </a:lnTo>
                  <a:lnTo>
                    <a:pt x="2799" y="32310"/>
                  </a:lnTo>
                  <a:lnTo>
                    <a:pt x="3041" y="35628"/>
                  </a:lnTo>
                  <a:lnTo>
                    <a:pt x="3248" y="38945"/>
                  </a:lnTo>
                  <a:lnTo>
                    <a:pt x="3421" y="42297"/>
                  </a:lnTo>
                  <a:lnTo>
                    <a:pt x="3594" y="45684"/>
                  </a:lnTo>
                  <a:lnTo>
                    <a:pt x="3698" y="49036"/>
                  </a:lnTo>
                  <a:lnTo>
                    <a:pt x="3801" y="52422"/>
                  </a:lnTo>
                  <a:lnTo>
                    <a:pt x="3870" y="55809"/>
                  </a:lnTo>
                  <a:lnTo>
                    <a:pt x="3905" y="59195"/>
                  </a:lnTo>
                  <a:lnTo>
                    <a:pt x="3940" y="62582"/>
                  </a:lnTo>
                  <a:lnTo>
                    <a:pt x="3940" y="65968"/>
                  </a:lnTo>
                  <a:lnTo>
                    <a:pt x="3905" y="69355"/>
                  </a:lnTo>
                  <a:lnTo>
                    <a:pt x="3801" y="76093"/>
                  </a:lnTo>
                  <a:lnTo>
                    <a:pt x="3663" y="82797"/>
                  </a:lnTo>
                  <a:lnTo>
                    <a:pt x="3421" y="89397"/>
                  </a:lnTo>
                  <a:lnTo>
                    <a:pt x="3179" y="95929"/>
                  </a:lnTo>
                  <a:lnTo>
                    <a:pt x="2903" y="102321"/>
                  </a:lnTo>
                  <a:lnTo>
                    <a:pt x="2281" y="114693"/>
                  </a:lnTo>
                  <a:lnTo>
                    <a:pt x="1693" y="126373"/>
                  </a:lnTo>
                  <a:lnTo>
                    <a:pt x="1452" y="131902"/>
                  </a:lnTo>
                  <a:lnTo>
                    <a:pt x="1210" y="137154"/>
                  </a:lnTo>
                  <a:lnTo>
                    <a:pt x="1071" y="142165"/>
                  </a:lnTo>
                  <a:lnTo>
                    <a:pt x="968" y="146899"/>
                  </a:lnTo>
                  <a:lnTo>
                    <a:pt x="933" y="151322"/>
                  </a:lnTo>
                  <a:lnTo>
                    <a:pt x="933" y="153430"/>
                  </a:lnTo>
                  <a:lnTo>
                    <a:pt x="968" y="155435"/>
                  </a:lnTo>
                  <a:lnTo>
                    <a:pt x="1037" y="157370"/>
                  </a:lnTo>
                  <a:lnTo>
                    <a:pt x="1141" y="159201"/>
                  </a:lnTo>
                  <a:lnTo>
                    <a:pt x="1244" y="160929"/>
                  </a:lnTo>
                  <a:lnTo>
                    <a:pt x="1417" y="162588"/>
                  </a:lnTo>
                  <a:lnTo>
                    <a:pt x="1590" y="164143"/>
                  </a:lnTo>
                  <a:lnTo>
                    <a:pt x="1797" y="165594"/>
                  </a:lnTo>
                  <a:lnTo>
                    <a:pt x="2039" y="166942"/>
                  </a:lnTo>
                  <a:lnTo>
                    <a:pt x="2315" y="168186"/>
                  </a:lnTo>
                  <a:lnTo>
                    <a:pt x="2626" y="169326"/>
                  </a:lnTo>
                  <a:lnTo>
                    <a:pt x="2972" y="170363"/>
                  </a:lnTo>
                  <a:lnTo>
                    <a:pt x="3352" y="171296"/>
                  </a:lnTo>
                  <a:lnTo>
                    <a:pt x="3559" y="171711"/>
                  </a:lnTo>
                  <a:lnTo>
                    <a:pt x="3767" y="172091"/>
                  </a:lnTo>
                  <a:lnTo>
                    <a:pt x="4009" y="172436"/>
                  </a:lnTo>
                  <a:lnTo>
                    <a:pt x="4251" y="172782"/>
                  </a:lnTo>
                  <a:lnTo>
                    <a:pt x="4493" y="173058"/>
                  </a:lnTo>
                  <a:lnTo>
                    <a:pt x="4769" y="173335"/>
                  </a:lnTo>
                  <a:lnTo>
                    <a:pt x="5045" y="173577"/>
                  </a:lnTo>
                  <a:lnTo>
                    <a:pt x="5322" y="173784"/>
                  </a:lnTo>
                  <a:lnTo>
                    <a:pt x="5633" y="173957"/>
                  </a:lnTo>
                  <a:lnTo>
                    <a:pt x="5944" y="174095"/>
                  </a:lnTo>
                  <a:lnTo>
                    <a:pt x="6359" y="174233"/>
                  </a:lnTo>
                  <a:lnTo>
                    <a:pt x="6911" y="174372"/>
                  </a:lnTo>
                  <a:lnTo>
                    <a:pt x="7637" y="174510"/>
                  </a:lnTo>
                  <a:lnTo>
                    <a:pt x="8466" y="174648"/>
                  </a:lnTo>
                  <a:lnTo>
                    <a:pt x="10574" y="174890"/>
                  </a:lnTo>
                  <a:lnTo>
                    <a:pt x="13132" y="175132"/>
                  </a:lnTo>
                  <a:lnTo>
                    <a:pt x="16138" y="175374"/>
                  </a:lnTo>
                  <a:lnTo>
                    <a:pt x="19559" y="175616"/>
                  </a:lnTo>
                  <a:lnTo>
                    <a:pt x="23360" y="175823"/>
                  </a:lnTo>
                  <a:lnTo>
                    <a:pt x="27507" y="175996"/>
                  </a:lnTo>
                  <a:lnTo>
                    <a:pt x="31930" y="176169"/>
                  </a:lnTo>
                  <a:lnTo>
                    <a:pt x="36595" y="176341"/>
                  </a:lnTo>
                  <a:lnTo>
                    <a:pt x="41502" y="176480"/>
                  </a:lnTo>
                  <a:lnTo>
                    <a:pt x="46548" y="176618"/>
                  </a:lnTo>
                  <a:lnTo>
                    <a:pt x="51766" y="176721"/>
                  </a:lnTo>
                  <a:lnTo>
                    <a:pt x="57087" y="176791"/>
                  </a:lnTo>
                  <a:lnTo>
                    <a:pt x="62478" y="176860"/>
                  </a:lnTo>
                  <a:lnTo>
                    <a:pt x="67869" y="176894"/>
                  </a:lnTo>
                  <a:lnTo>
                    <a:pt x="78616" y="176894"/>
                  </a:lnTo>
                  <a:lnTo>
                    <a:pt x="83834" y="176860"/>
                  </a:lnTo>
                  <a:lnTo>
                    <a:pt x="88983" y="176791"/>
                  </a:lnTo>
                  <a:lnTo>
                    <a:pt x="93924" y="176687"/>
                  </a:lnTo>
                  <a:lnTo>
                    <a:pt x="98659" y="176549"/>
                  </a:lnTo>
                  <a:lnTo>
                    <a:pt x="103151" y="176410"/>
                  </a:lnTo>
                  <a:lnTo>
                    <a:pt x="107367" y="176238"/>
                  </a:lnTo>
                  <a:lnTo>
                    <a:pt x="111272" y="175996"/>
                  </a:lnTo>
                  <a:lnTo>
                    <a:pt x="114831" y="175754"/>
                  </a:lnTo>
                  <a:lnTo>
                    <a:pt x="117941" y="175477"/>
                  </a:lnTo>
                  <a:lnTo>
                    <a:pt x="119358" y="175305"/>
                  </a:lnTo>
                  <a:lnTo>
                    <a:pt x="120637" y="175166"/>
                  </a:lnTo>
                  <a:lnTo>
                    <a:pt x="121811" y="174994"/>
                  </a:lnTo>
                  <a:lnTo>
                    <a:pt x="122883" y="174786"/>
                  </a:lnTo>
                  <a:lnTo>
                    <a:pt x="123816" y="174613"/>
                  </a:lnTo>
                  <a:lnTo>
                    <a:pt x="124576" y="174406"/>
                  </a:lnTo>
                  <a:lnTo>
                    <a:pt x="125232" y="174199"/>
                  </a:lnTo>
                  <a:lnTo>
                    <a:pt x="125751" y="173957"/>
                  </a:lnTo>
                  <a:lnTo>
                    <a:pt x="125958" y="173853"/>
                  </a:lnTo>
                  <a:lnTo>
                    <a:pt x="126096" y="173750"/>
                  </a:lnTo>
                  <a:lnTo>
                    <a:pt x="126235" y="173611"/>
                  </a:lnTo>
                  <a:lnTo>
                    <a:pt x="126304" y="173508"/>
                  </a:lnTo>
                  <a:lnTo>
                    <a:pt x="126442" y="173231"/>
                  </a:lnTo>
                  <a:lnTo>
                    <a:pt x="126546" y="172920"/>
                  </a:lnTo>
                  <a:lnTo>
                    <a:pt x="126788" y="172160"/>
                  </a:lnTo>
                  <a:lnTo>
                    <a:pt x="126995" y="171158"/>
                  </a:lnTo>
                  <a:lnTo>
                    <a:pt x="127202" y="169983"/>
                  </a:lnTo>
                  <a:lnTo>
                    <a:pt x="127410" y="168601"/>
                  </a:lnTo>
                  <a:lnTo>
                    <a:pt x="127582" y="167080"/>
                  </a:lnTo>
                  <a:lnTo>
                    <a:pt x="127755" y="165352"/>
                  </a:lnTo>
                  <a:lnTo>
                    <a:pt x="127928" y="163452"/>
                  </a:lnTo>
                  <a:lnTo>
                    <a:pt x="128066" y="161378"/>
                  </a:lnTo>
                  <a:lnTo>
                    <a:pt x="128204" y="159167"/>
                  </a:lnTo>
                  <a:lnTo>
                    <a:pt x="128446" y="154329"/>
                  </a:lnTo>
                  <a:lnTo>
                    <a:pt x="128654" y="148938"/>
                  </a:lnTo>
                  <a:lnTo>
                    <a:pt x="128826" y="143063"/>
                  </a:lnTo>
                  <a:lnTo>
                    <a:pt x="128930" y="136740"/>
                  </a:lnTo>
                  <a:lnTo>
                    <a:pt x="128999" y="130105"/>
                  </a:lnTo>
                  <a:lnTo>
                    <a:pt x="128999" y="123124"/>
                  </a:lnTo>
                  <a:lnTo>
                    <a:pt x="128999" y="115868"/>
                  </a:lnTo>
                  <a:lnTo>
                    <a:pt x="128930" y="108438"/>
                  </a:lnTo>
                  <a:lnTo>
                    <a:pt x="128826" y="100870"/>
                  </a:lnTo>
                  <a:lnTo>
                    <a:pt x="128688" y="93199"/>
                  </a:lnTo>
                  <a:lnTo>
                    <a:pt x="128515" y="85493"/>
                  </a:lnTo>
                  <a:lnTo>
                    <a:pt x="128273" y="77786"/>
                  </a:lnTo>
                  <a:lnTo>
                    <a:pt x="128032" y="70184"/>
                  </a:lnTo>
                  <a:lnTo>
                    <a:pt x="127721" y="62720"/>
                  </a:lnTo>
                  <a:lnTo>
                    <a:pt x="127375" y="55428"/>
                  </a:lnTo>
                  <a:lnTo>
                    <a:pt x="126995" y="48379"/>
                  </a:lnTo>
                  <a:lnTo>
                    <a:pt x="126580" y="41640"/>
                  </a:lnTo>
                  <a:lnTo>
                    <a:pt x="126131" y="35213"/>
                  </a:lnTo>
                  <a:lnTo>
                    <a:pt x="125613" y="29235"/>
                  </a:lnTo>
                  <a:lnTo>
                    <a:pt x="125371" y="26436"/>
                  </a:lnTo>
                  <a:lnTo>
                    <a:pt x="125094" y="23706"/>
                  </a:lnTo>
                  <a:lnTo>
                    <a:pt x="124818" y="21149"/>
                  </a:lnTo>
                  <a:lnTo>
                    <a:pt x="124507" y="18730"/>
                  </a:lnTo>
                  <a:lnTo>
                    <a:pt x="124196" y="16414"/>
                  </a:lnTo>
                  <a:lnTo>
                    <a:pt x="123885" y="14306"/>
                  </a:lnTo>
                  <a:lnTo>
                    <a:pt x="123574" y="12302"/>
                  </a:lnTo>
                  <a:lnTo>
                    <a:pt x="123263" y="10505"/>
                  </a:lnTo>
                  <a:lnTo>
                    <a:pt x="122917" y="8846"/>
                  </a:lnTo>
                  <a:lnTo>
                    <a:pt x="122572" y="7395"/>
                  </a:lnTo>
                  <a:lnTo>
                    <a:pt x="122226" y="6116"/>
                  </a:lnTo>
                  <a:lnTo>
                    <a:pt x="121846" y="5045"/>
                  </a:lnTo>
                  <a:lnTo>
                    <a:pt x="121673" y="4561"/>
                  </a:lnTo>
                  <a:lnTo>
                    <a:pt x="121500" y="4147"/>
                  </a:lnTo>
                  <a:lnTo>
                    <a:pt x="121293" y="3767"/>
                  </a:lnTo>
                  <a:lnTo>
                    <a:pt x="121120" y="3456"/>
                  </a:lnTo>
                  <a:lnTo>
                    <a:pt x="120913" y="3214"/>
                  </a:lnTo>
                  <a:lnTo>
                    <a:pt x="120706" y="3006"/>
                  </a:lnTo>
                  <a:lnTo>
                    <a:pt x="120533" y="2834"/>
                  </a:lnTo>
                  <a:lnTo>
                    <a:pt x="120325" y="2765"/>
                  </a:lnTo>
                  <a:lnTo>
                    <a:pt x="119842" y="2626"/>
                  </a:lnTo>
                  <a:lnTo>
                    <a:pt x="119220" y="2488"/>
                  </a:lnTo>
                  <a:lnTo>
                    <a:pt x="118425" y="2350"/>
                  </a:lnTo>
                  <a:lnTo>
                    <a:pt x="117526" y="2212"/>
                  </a:lnTo>
                  <a:lnTo>
                    <a:pt x="115315" y="1935"/>
                  </a:lnTo>
                  <a:lnTo>
                    <a:pt x="112585" y="1659"/>
                  </a:lnTo>
                  <a:lnTo>
                    <a:pt x="109406" y="1417"/>
                  </a:lnTo>
                  <a:lnTo>
                    <a:pt x="105812" y="1175"/>
                  </a:lnTo>
                  <a:lnTo>
                    <a:pt x="101872" y="933"/>
                  </a:lnTo>
                  <a:lnTo>
                    <a:pt x="97553" y="726"/>
                  </a:lnTo>
                  <a:lnTo>
                    <a:pt x="92957" y="518"/>
                  </a:lnTo>
                  <a:lnTo>
                    <a:pt x="88119" y="346"/>
                  </a:lnTo>
                  <a:lnTo>
                    <a:pt x="83074" y="207"/>
                  </a:lnTo>
                  <a:lnTo>
                    <a:pt x="77856" y="104"/>
                  </a:lnTo>
                  <a:lnTo>
                    <a:pt x="72499" y="35"/>
                  </a:lnTo>
                  <a:lnTo>
                    <a:pt x="67040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5" name="Google Shape;1452;p16">
              <a:extLst>
                <a:ext uri="{FF2B5EF4-FFF2-40B4-BE49-F238E27FC236}">
                  <a16:creationId xmlns:a16="http://schemas.microsoft.com/office/drawing/2014/main" id="{AA330AC0-C5D8-8BE7-337B-C1D3E060FB93}"/>
                </a:ext>
              </a:extLst>
            </p:cNvPr>
            <p:cNvSpPr/>
            <p:nvPr/>
          </p:nvSpPr>
          <p:spPr>
            <a:xfrm>
              <a:off x="1544825" y="238125"/>
              <a:ext cx="3225000" cy="4422375"/>
            </a:xfrm>
            <a:custGeom>
              <a:avLst/>
              <a:gdLst/>
              <a:ahLst/>
              <a:cxnLst/>
              <a:rect l="l" t="t" r="r" b="b"/>
              <a:pathLst>
                <a:path w="129000" h="176895" fill="none" extrusionOk="0">
                  <a:moveTo>
                    <a:pt x="35" y="9814"/>
                  </a:moveTo>
                  <a:lnTo>
                    <a:pt x="35" y="9814"/>
                  </a:lnTo>
                  <a:lnTo>
                    <a:pt x="553" y="12924"/>
                  </a:lnTo>
                  <a:lnTo>
                    <a:pt x="1037" y="16103"/>
                  </a:lnTo>
                  <a:lnTo>
                    <a:pt x="1452" y="19282"/>
                  </a:lnTo>
                  <a:lnTo>
                    <a:pt x="1866" y="22496"/>
                  </a:lnTo>
                  <a:lnTo>
                    <a:pt x="2212" y="25745"/>
                  </a:lnTo>
                  <a:lnTo>
                    <a:pt x="2523" y="29027"/>
                  </a:lnTo>
                  <a:lnTo>
                    <a:pt x="2799" y="32310"/>
                  </a:lnTo>
                  <a:lnTo>
                    <a:pt x="3041" y="35628"/>
                  </a:lnTo>
                  <a:lnTo>
                    <a:pt x="3248" y="38945"/>
                  </a:lnTo>
                  <a:lnTo>
                    <a:pt x="3421" y="42297"/>
                  </a:lnTo>
                  <a:lnTo>
                    <a:pt x="3594" y="45684"/>
                  </a:lnTo>
                  <a:lnTo>
                    <a:pt x="3698" y="49036"/>
                  </a:lnTo>
                  <a:lnTo>
                    <a:pt x="3801" y="52422"/>
                  </a:lnTo>
                  <a:lnTo>
                    <a:pt x="3870" y="55809"/>
                  </a:lnTo>
                  <a:lnTo>
                    <a:pt x="3905" y="59195"/>
                  </a:lnTo>
                  <a:lnTo>
                    <a:pt x="3940" y="62582"/>
                  </a:lnTo>
                  <a:lnTo>
                    <a:pt x="3940" y="65968"/>
                  </a:lnTo>
                  <a:lnTo>
                    <a:pt x="3905" y="69355"/>
                  </a:lnTo>
                  <a:lnTo>
                    <a:pt x="3801" y="76093"/>
                  </a:lnTo>
                  <a:lnTo>
                    <a:pt x="3663" y="82797"/>
                  </a:lnTo>
                  <a:lnTo>
                    <a:pt x="3421" y="89397"/>
                  </a:lnTo>
                  <a:lnTo>
                    <a:pt x="3179" y="95929"/>
                  </a:lnTo>
                  <a:lnTo>
                    <a:pt x="2903" y="102321"/>
                  </a:lnTo>
                  <a:lnTo>
                    <a:pt x="2281" y="114693"/>
                  </a:lnTo>
                  <a:lnTo>
                    <a:pt x="1693" y="126373"/>
                  </a:lnTo>
                  <a:lnTo>
                    <a:pt x="1452" y="131902"/>
                  </a:lnTo>
                  <a:lnTo>
                    <a:pt x="1210" y="137154"/>
                  </a:lnTo>
                  <a:lnTo>
                    <a:pt x="1071" y="142165"/>
                  </a:lnTo>
                  <a:lnTo>
                    <a:pt x="968" y="146899"/>
                  </a:lnTo>
                  <a:lnTo>
                    <a:pt x="933" y="151322"/>
                  </a:lnTo>
                  <a:lnTo>
                    <a:pt x="933" y="153430"/>
                  </a:lnTo>
                  <a:lnTo>
                    <a:pt x="968" y="155435"/>
                  </a:lnTo>
                  <a:lnTo>
                    <a:pt x="1037" y="157370"/>
                  </a:lnTo>
                  <a:lnTo>
                    <a:pt x="1141" y="159201"/>
                  </a:lnTo>
                  <a:lnTo>
                    <a:pt x="1244" y="160929"/>
                  </a:lnTo>
                  <a:lnTo>
                    <a:pt x="1417" y="162588"/>
                  </a:lnTo>
                  <a:lnTo>
                    <a:pt x="1590" y="164143"/>
                  </a:lnTo>
                  <a:lnTo>
                    <a:pt x="1797" y="165594"/>
                  </a:lnTo>
                  <a:lnTo>
                    <a:pt x="2039" y="166942"/>
                  </a:lnTo>
                  <a:lnTo>
                    <a:pt x="2315" y="168186"/>
                  </a:lnTo>
                  <a:lnTo>
                    <a:pt x="2626" y="169326"/>
                  </a:lnTo>
                  <a:lnTo>
                    <a:pt x="2972" y="170363"/>
                  </a:lnTo>
                  <a:lnTo>
                    <a:pt x="3352" y="171296"/>
                  </a:lnTo>
                  <a:lnTo>
                    <a:pt x="3559" y="171711"/>
                  </a:lnTo>
                  <a:lnTo>
                    <a:pt x="3767" y="172091"/>
                  </a:lnTo>
                  <a:lnTo>
                    <a:pt x="4009" y="172436"/>
                  </a:lnTo>
                  <a:lnTo>
                    <a:pt x="4251" y="172782"/>
                  </a:lnTo>
                  <a:lnTo>
                    <a:pt x="4493" y="173058"/>
                  </a:lnTo>
                  <a:lnTo>
                    <a:pt x="4769" y="173335"/>
                  </a:lnTo>
                  <a:lnTo>
                    <a:pt x="5045" y="173577"/>
                  </a:lnTo>
                  <a:lnTo>
                    <a:pt x="5322" y="173784"/>
                  </a:lnTo>
                  <a:lnTo>
                    <a:pt x="5633" y="173957"/>
                  </a:lnTo>
                  <a:lnTo>
                    <a:pt x="5944" y="174095"/>
                  </a:lnTo>
                  <a:lnTo>
                    <a:pt x="5944" y="174095"/>
                  </a:lnTo>
                  <a:lnTo>
                    <a:pt x="6359" y="174233"/>
                  </a:lnTo>
                  <a:lnTo>
                    <a:pt x="6911" y="174372"/>
                  </a:lnTo>
                  <a:lnTo>
                    <a:pt x="7637" y="174510"/>
                  </a:lnTo>
                  <a:lnTo>
                    <a:pt x="8466" y="174648"/>
                  </a:lnTo>
                  <a:lnTo>
                    <a:pt x="10574" y="174890"/>
                  </a:lnTo>
                  <a:lnTo>
                    <a:pt x="13132" y="175132"/>
                  </a:lnTo>
                  <a:lnTo>
                    <a:pt x="16138" y="175374"/>
                  </a:lnTo>
                  <a:lnTo>
                    <a:pt x="19559" y="175616"/>
                  </a:lnTo>
                  <a:lnTo>
                    <a:pt x="23360" y="175823"/>
                  </a:lnTo>
                  <a:lnTo>
                    <a:pt x="27507" y="175996"/>
                  </a:lnTo>
                  <a:lnTo>
                    <a:pt x="31930" y="176169"/>
                  </a:lnTo>
                  <a:lnTo>
                    <a:pt x="36595" y="176341"/>
                  </a:lnTo>
                  <a:lnTo>
                    <a:pt x="41502" y="176480"/>
                  </a:lnTo>
                  <a:lnTo>
                    <a:pt x="46548" y="176618"/>
                  </a:lnTo>
                  <a:lnTo>
                    <a:pt x="51766" y="176721"/>
                  </a:lnTo>
                  <a:lnTo>
                    <a:pt x="57087" y="176791"/>
                  </a:lnTo>
                  <a:lnTo>
                    <a:pt x="62478" y="176860"/>
                  </a:lnTo>
                  <a:lnTo>
                    <a:pt x="67869" y="176894"/>
                  </a:lnTo>
                  <a:lnTo>
                    <a:pt x="73260" y="176894"/>
                  </a:lnTo>
                  <a:lnTo>
                    <a:pt x="78616" y="176894"/>
                  </a:lnTo>
                  <a:lnTo>
                    <a:pt x="83834" y="176860"/>
                  </a:lnTo>
                  <a:lnTo>
                    <a:pt x="88983" y="176791"/>
                  </a:lnTo>
                  <a:lnTo>
                    <a:pt x="93924" y="176687"/>
                  </a:lnTo>
                  <a:lnTo>
                    <a:pt x="98659" y="176549"/>
                  </a:lnTo>
                  <a:lnTo>
                    <a:pt x="103151" y="176410"/>
                  </a:lnTo>
                  <a:lnTo>
                    <a:pt x="107367" y="176238"/>
                  </a:lnTo>
                  <a:lnTo>
                    <a:pt x="111272" y="175996"/>
                  </a:lnTo>
                  <a:lnTo>
                    <a:pt x="114831" y="175754"/>
                  </a:lnTo>
                  <a:lnTo>
                    <a:pt x="117941" y="175477"/>
                  </a:lnTo>
                  <a:lnTo>
                    <a:pt x="119358" y="175305"/>
                  </a:lnTo>
                  <a:lnTo>
                    <a:pt x="120637" y="175166"/>
                  </a:lnTo>
                  <a:lnTo>
                    <a:pt x="121811" y="174994"/>
                  </a:lnTo>
                  <a:lnTo>
                    <a:pt x="122883" y="174786"/>
                  </a:lnTo>
                  <a:lnTo>
                    <a:pt x="123816" y="174613"/>
                  </a:lnTo>
                  <a:lnTo>
                    <a:pt x="124576" y="174406"/>
                  </a:lnTo>
                  <a:lnTo>
                    <a:pt x="125232" y="174199"/>
                  </a:lnTo>
                  <a:lnTo>
                    <a:pt x="125751" y="173957"/>
                  </a:lnTo>
                  <a:lnTo>
                    <a:pt x="125958" y="173853"/>
                  </a:lnTo>
                  <a:lnTo>
                    <a:pt x="126096" y="173750"/>
                  </a:lnTo>
                  <a:lnTo>
                    <a:pt x="126235" y="173611"/>
                  </a:lnTo>
                  <a:lnTo>
                    <a:pt x="126304" y="173508"/>
                  </a:lnTo>
                  <a:lnTo>
                    <a:pt x="126304" y="173508"/>
                  </a:lnTo>
                  <a:lnTo>
                    <a:pt x="126442" y="173231"/>
                  </a:lnTo>
                  <a:lnTo>
                    <a:pt x="126546" y="172920"/>
                  </a:lnTo>
                  <a:lnTo>
                    <a:pt x="126788" y="172160"/>
                  </a:lnTo>
                  <a:lnTo>
                    <a:pt x="126995" y="171158"/>
                  </a:lnTo>
                  <a:lnTo>
                    <a:pt x="127202" y="169983"/>
                  </a:lnTo>
                  <a:lnTo>
                    <a:pt x="127410" y="168601"/>
                  </a:lnTo>
                  <a:lnTo>
                    <a:pt x="127582" y="167080"/>
                  </a:lnTo>
                  <a:lnTo>
                    <a:pt x="127755" y="165352"/>
                  </a:lnTo>
                  <a:lnTo>
                    <a:pt x="127928" y="163452"/>
                  </a:lnTo>
                  <a:lnTo>
                    <a:pt x="128066" y="161378"/>
                  </a:lnTo>
                  <a:lnTo>
                    <a:pt x="128204" y="159167"/>
                  </a:lnTo>
                  <a:lnTo>
                    <a:pt x="128446" y="154329"/>
                  </a:lnTo>
                  <a:lnTo>
                    <a:pt x="128654" y="148938"/>
                  </a:lnTo>
                  <a:lnTo>
                    <a:pt x="128826" y="143063"/>
                  </a:lnTo>
                  <a:lnTo>
                    <a:pt x="128930" y="136740"/>
                  </a:lnTo>
                  <a:lnTo>
                    <a:pt x="128999" y="130105"/>
                  </a:lnTo>
                  <a:lnTo>
                    <a:pt x="128999" y="123124"/>
                  </a:lnTo>
                  <a:lnTo>
                    <a:pt x="128999" y="115868"/>
                  </a:lnTo>
                  <a:lnTo>
                    <a:pt x="128930" y="108438"/>
                  </a:lnTo>
                  <a:lnTo>
                    <a:pt x="128826" y="100870"/>
                  </a:lnTo>
                  <a:lnTo>
                    <a:pt x="128688" y="93199"/>
                  </a:lnTo>
                  <a:lnTo>
                    <a:pt x="128515" y="85493"/>
                  </a:lnTo>
                  <a:lnTo>
                    <a:pt x="128273" y="77786"/>
                  </a:lnTo>
                  <a:lnTo>
                    <a:pt x="128032" y="70184"/>
                  </a:lnTo>
                  <a:lnTo>
                    <a:pt x="127721" y="62720"/>
                  </a:lnTo>
                  <a:lnTo>
                    <a:pt x="127375" y="55428"/>
                  </a:lnTo>
                  <a:lnTo>
                    <a:pt x="126995" y="48379"/>
                  </a:lnTo>
                  <a:lnTo>
                    <a:pt x="126580" y="41640"/>
                  </a:lnTo>
                  <a:lnTo>
                    <a:pt x="126131" y="35213"/>
                  </a:lnTo>
                  <a:lnTo>
                    <a:pt x="125613" y="29235"/>
                  </a:lnTo>
                  <a:lnTo>
                    <a:pt x="125371" y="26436"/>
                  </a:lnTo>
                  <a:lnTo>
                    <a:pt x="125094" y="23706"/>
                  </a:lnTo>
                  <a:lnTo>
                    <a:pt x="124818" y="21149"/>
                  </a:lnTo>
                  <a:lnTo>
                    <a:pt x="124507" y="18730"/>
                  </a:lnTo>
                  <a:lnTo>
                    <a:pt x="124196" y="16414"/>
                  </a:lnTo>
                  <a:lnTo>
                    <a:pt x="123885" y="14306"/>
                  </a:lnTo>
                  <a:lnTo>
                    <a:pt x="123574" y="12302"/>
                  </a:lnTo>
                  <a:lnTo>
                    <a:pt x="123263" y="10505"/>
                  </a:lnTo>
                  <a:lnTo>
                    <a:pt x="122917" y="8846"/>
                  </a:lnTo>
                  <a:lnTo>
                    <a:pt x="122572" y="7395"/>
                  </a:lnTo>
                  <a:lnTo>
                    <a:pt x="122226" y="6116"/>
                  </a:lnTo>
                  <a:lnTo>
                    <a:pt x="121846" y="5045"/>
                  </a:lnTo>
                  <a:lnTo>
                    <a:pt x="121673" y="4561"/>
                  </a:lnTo>
                  <a:lnTo>
                    <a:pt x="121500" y="4147"/>
                  </a:lnTo>
                  <a:lnTo>
                    <a:pt x="121293" y="3767"/>
                  </a:lnTo>
                  <a:lnTo>
                    <a:pt x="121120" y="3456"/>
                  </a:lnTo>
                  <a:lnTo>
                    <a:pt x="120913" y="3214"/>
                  </a:lnTo>
                  <a:lnTo>
                    <a:pt x="120706" y="3006"/>
                  </a:lnTo>
                  <a:lnTo>
                    <a:pt x="120533" y="2834"/>
                  </a:lnTo>
                  <a:lnTo>
                    <a:pt x="120325" y="2765"/>
                  </a:lnTo>
                  <a:lnTo>
                    <a:pt x="120325" y="2765"/>
                  </a:lnTo>
                  <a:lnTo>
                    <a:pt x="119842" y="2626"/>
                  </a:lnTo>
                  <a:lnTo>
                    <a:pt x="119220" y="2488"/>
                  </a:lnTo>
                  <a:lnTo>
                    <a:pt x="118425" y="2350"/>
                  </a:lnTo>
                  <a:lnTo>
                    <a:pt x="117526" y="2212"/>
                  </a:lnTo>
                  <a:lnTo>
                    <a:pt x="115315" y="1935"/>
                  </a:lnTo>
                  <a:lnTo>
                    <a:pt x="112585" y="1659"/>
                  </a:lnTo>
                  <a:lnTo>
                    <a:pt x="109406" y="1417"/>
                  </a:lnTo>
                  <a:lnTo>
                    <a:pt x="105812" y="1175"/>
                  </a:lnTo>
                  <a:lnTo>
                    <a:pt x="101872" y="933"/>
                  </a:lnTo>
                  <a:lnTo>
                    <a:pt x="97553" y="726"/>
                  </a:lnTo>
                  <a:lnTo>
                    <a:pt x="92957" y="518"/>
                  </a:lnTo>
                  <a:lnTo>
                    <a:pt x="88119" y="346"/>
                  </a:lnTo>
                  <a:lnTo>
                    <a:pt x="83074" y="207"/>
                  </a:lnTo>
                  <a:lnTo>
                    <a:pt x="77856" y="104"/>
                  </a:lnTo>
                  <a:lnTo>
                    <a:pt x="72499" y="35"/>
                  </a:lnTo>
                  <a:lnTo>
                    <a:pt x="67040" y="0"/>
                  </a:lnTo>
                  <a:lnTo>
                    <a:pt x="61545" y="0"/>
                  </a:lnTo>
                  <a:lnTo>
                    <a:pt x="56051" y="69"/>
                  </a:lnTo>
                  <a:lnTo>
                    <a:pt x="50591" y="173"/>
                  </a:lnTo>
                  <a:lnTo>
                    <a:pt x="45200" y="311"/>
                  </a:lnTo>
                  <a:lnTo>
                    <a:pt x="39913" y="518"/>
                  </a:lnTo>
                  <a:lnTo>
                    <a:pt x="34764" y="795"/>
                  </a:lnTo>
                  <a:lnTo>
                    <a:pt x="29822" y="1106"/>
                  </a:lnTo>
                  <a:lnTo>
                    <a:pt x="27438" y="1313"/>
                  </a:lnTo>
                  <a:lnTo>
                    <a:pt x="25123" y="1520"/>
                  </a:lnTo>
                  <a:lnTo>
                    <a:pt x="22877" y="1728"/>
                  </a:lnTo>
                  <a:lnTo>
                    <a:pt x="20699" y="1970"/>
                  </a:lnTo>
                  <a:lnTo>
                    <a:pt x="18626" y="2246"/>
                  </a:lnTo>
                  <a:lnTo>
                    <a:pt x="16622" y="2523"/>
                  </a:lnTo>
                  <a:lnTo>
                    <a:pt x="14687" y="2799"/>
                  </a:lnTo>
                  <a:lnTo>
                    <a:pt x="12855" y="3145"/>
                  </a:lnTo>
                  <a:lnTo>
                    <a:pt x="11127" y="3456"/>
                  </a:lnTo>
                  <a:lnTo>
                    <a:pt x="9503" y="3836"/>
                  </a:lnTo>
                  <a:lnTo>
                    <a:pt x="7983" y="4181"/>
                  </a:lnTo>
                  <a:lnTo>
                    <a:pt x="6600" y="4596"/>
                  </a:lnTo>
                  <a:lnTo>
                    <a:pt x="5322" y="5011"/>
                  </a:lnTo>
                  <a:lnTo>
                    <a:pt x="4147" y="5460"/>
                  </a:lnTo>
                  <a:lnTo>
                    <a:pt x="3145" y="5909"/>
                  </a:lnTo>
                  <a:lnTo>
                    <a:pt x="2661" y="6151"/>
                  </a:lnTo>
                  <a:lnTo>
                    <a:pt x="2246" y="6393"/>
                  </a:lnTo>
                  <a:lnTo>
                    <a:pt x="1866" y="6669"/>
                  </a:lnTo>
                  <a:lnTo>
                    <a:pt x="1486" y="6911"/>
                  </a:lnTo>
                  <a:lnTo>
                    <a:pt x="1175" y="7188"/>
                  </a:lnTo>
                  <a:lnTo>
                    <a:pt x="899" y="7464"/>
                  </a:lnTo>
                  <a:lnTo>
                    <a:pt x="657" y="7706"/>
                  </a:lnTo>
                  <a:lnTo>
                    <a:pt x="449" y="8017"/>
                  </a:lnTo>
                  <a:lnTo>
                    <a:pt x="277" y="8294"/>
                  </a:lnTo>
                  <a:lnTo>
                    <a:pt x="138" y="8570"/>
                  </a:lnTo>
                  <a:lnTo>
                    <a:pt x="35" y="8881"/>
                  </a:lnTo>
                  <a:lnTo>
                    <a:pt x="0" y="9192"/>
                  </a:lnTo>
                  <a:lnTo>
                    <a:pt x="0" y="9503"/>
                  </a:lnTo>
                  <a:lnTo>
                    <a:pt x="35" y="981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" name="Google Shape;1453;p16">
              <a:extLst>
                <a:ext uri="{FF2B5EF4-FFF2-40B4-BE49-F238E27FC236}">
                  <a16:creationId xmlns:a16="http://schemas.microsoft.com/office/drawing/2014/main" id="{CD06E2BD-3F22-83FD-3935-3103DE947FEC}"/>
                </a:ext>
              </a:extLst>
            </p:cNvPr>
            <p:cNvSpPr/>
            <p:nvPr/>
          </p:nvSpPr>
          <p:spPr>
            <a:xfrm>
              <a:off x="3648425" y="917150"/>
              <a:ext cx="567625" cy="568475"/>
            </a:xfrm>
            <a:custGeom>
              <a:avLst/>
              <a:gdLst/>
              <a:ahLst/>
              <a:cxnLst/>
              <a:rect l="l" t="t" r="r" b="b"/>
              <a:pathLst>
                <a:path w="22705" h="22739" extrusionOk="0">
                  <a:moveTo>
                    <a:pt x="10748" y="0"/>
                  </a:moveTo>
                  <a:lnTo>
                    <a:pt x="10195" y="35"/>
                  </a:lnTo>
                  <a:lnTo>
                    <a:pt x="9608" y="104"/>
                  </a:lnTo>
                  <a:lnTo>
                    <a:pt x="9055" y="208"/>
                  </a:lnTo>
                  <a:lnTo>
                    <a:pt x="8502" y="346"/>
                  </a:lnTo>
                  <a:lnTo>
                    <a:pt x="7983" y="484"/>
                  </a:lnTo>
                  <a:lnTo>
                    <a:pt x="7431" y="691"/>
                  </a:lnTo>
                  <a:lnTo>
                    <a:pt x="6912" y="899"/>
                  </a:lnTo>
                  <a:lnTo>
                    <a:pt x="6428" y="1106"/>
                  </a:lnTo>
                  <a:lnTo>
                    <a:pt x="5945" y="1348"/>
                  </a:lnTo>
                  <a:lnTo>
                    <a:pt x="5461" y="1624"/>
                  </a:lnTo>
                  <a:lnTo>
                    <a:pt x="5012" y="1935"/>
                  </a:lnTo>
                  <a:lnTo>
                    <a:pt x="4562" y="2246"/>
                  </a:lnTo>
                  <a:lnTo>
                    <a:pt x="4113" y="2592"/>
                  </a:lnTo>
                  <a:lnTo>
                    <a:pt x="3698" y="2938"/>
                  </a:lnTo>
                  <a:lnTo>
                    <a:pt x="3318" y="3318"/>
                  </a:lnTo>
                  <a:lnTo>
                    <a:pt x="2938" y="3732"/>
                  </a:lnTo>
                  <a:lnTo>
                    <a:pt x="2593" y="4147"/>
                  </a:lnTo>
                  <a:lnTo>
                    <a:pt x="2247" y="4562"/>
                  </a:lnTo>
                  <a:lnTo>
                    <a:pt x="1936" y="5011"/>
                  </a:lnTo>
                  <a:lnTo>
                    <a:pt x="1625" y="5460"/>
                  </a:lnTo>
                  <a:lnTo>
                    <a:pt x="1349" y="5944"/>
                  </a:lnTo>
                  <a:lnTo>
                    <a:pt x="1107" y="6428"/>
                  </a:lnTo>
                  <a:lnTo>
                    <a:pt x="899" y="6946"/>
                  </a:lnTo>
                  <a:lnTo>
                    <a:pt x="692" y="7465"/>
                  </a:lnTo>
                  <a:lnTo>
                    <a:pt x="519" y="7983"/>
                  </a:lnTo>
                  <a:lnTo>
                    <a:pt x="347" y="8536"/>
                  </a:lnTo>
                  <a:lnTo>
                    <a:pt x="208" y="9089"/>
                  </a:lnTo>
                  <a:lnTo>
                    <a:pt x="139" y="9642"/>
                  </a:lnTo>
                  <a:lnTo>
                    <a:pt x="36" y="10194"/>
                  </a:lnTo>
                  <a:lnTo>
                    <a:pt x="1" y="10782"/>
                  </a:lnTo>
                  <a:lnTo>
                    <a:pt x="1" y="11369"/>
                  </a:lnTo>
                  <a:lnTo>
                    <a:pt x="1" y="11957"/>
                  </a:lnTo>
                  <a:lnTo>
                    <a:pt x="36" y="12544"/>
                  </a:lnTo>
                  <a:lnTo>
                    <a:pt x="139" y="13097"/>
                  </a:lnTo>
                  <a:lnTo>
                    <a:pt x="208" y="13650"/>
                  </a:lnTo>
                  <a:lnTo>
                    <a:pt x="347" y="14203"/>
                  </a:lnTo>
                  <a:lnTo>
                    <a:pt x="519" y="14756"/>
                  </a:lnTo>
                  <a:lnTo>
                    <a:pt x="692" y="15274"/>
                  </a:lnTo>
                  <a:lnTo>
                    <a:pt x="899" y="15793"/>
                  </a:lnTo>
                  <a:lnTo>
                    <a:pt x="1107" y="16311"/>
                  </a:lnTo>
                  <a:lnTo>
                    <a:pt x="1349" y="16795"/>
                  </a:lnTo>
                  <a:lnTo>
                    <a:pt x="1625" y="17279"/>
                  </a:lnTo>
                  <a:lnTo>
                    <a:pt x="1936" y="17728"/>
                  </a:lnTo>
                  <a:lnTo>
                    <a:pt x="2247" y="18177"/>
                  </a:lnTo>
                  <a:lnTo>
                    <a:pt x="2593" y="18626"/>
                  </a:lnTo>
                  <a:lnTo>
                    <a:pt x="2938" y="19041"/>
                  </a:lnTo>
                  <a:lnTo>
                    <a:pt x="3318" y="19421"/>
                  </a:lnTo>
                  <a:lnTo>
                    <a:pt x="3698" y="19801"/>
                  </a:lnTo>
                  <a:lnTo>
                    <a:pt x="4113" y="20147"/>
                  </a:lnTo>
                  <a:lnTo>
                    <a:pt x="4562" y="20492"/>
                  </a:lnTo>
                  <a:lnTo>
                    <a:pt x="5012" y="20803"/>
                  </a:lnTo>
                  <a:lnTo>
                    <a:pt x="5461" y="21114"/>
                  </a:lnTo>
                  <a:lnTo>
                    <a:pt x="5945" y="21391"/>
                  </a:lnTo>
                  <a:lnTo>
                    <a:pt x="6428" y="21633"/>
                  </a:lnTo>
                  <a:lnTo>
                    <a:pt x="6912" y="21875"/>
                  </a:lnTo>
                  <a:lnTo>
                    <a:pt x="7431" y="22047"/>
                  </a:lnTo>
                  <a:lnTo>
                    <a:pt x="7983" y="22255"/>
                  </a:lnTo>
                  <a:lnTo>
                    <a:pt x="8502" y="22393"/>
                  </a:lnTo>
                  <a:lnTo>
                    <a:pt x="9055" y="22531"/>
                  </a:lnTo>
                  <a:lnTo>
                    <a:pt x="9608" y="22635"/>
                  </a:lnTo>
                  <a:lnTo>
                    <a:pt x="10195" y="22704"/>
                  </a:lnTo>
                  <a:lnTo>
                    <a:pt x="10748" y="22738"/>
                  </a:lnTo>
                  <a:lnTo>
                    <a:pt x="11819" y="22738"/>
                  </a:lnTo>
                  <a:lnTo>
                    <a:pt x="12338" y="22704"/>
                  </a:lnTo>
                  <a:lnTo>
                    <a:pt x="13271" y="22600"/>
                  </a:lnTo>
                  <a:lnTo>
                    <a:pt x="14204" y="22393"/>
                  </a:lnTo>
                  <a:lnTo>
                    <a:pt x="15102" y="22116"/>
                  </a:lnTo>
                  <a:lnTo>
                    <a:pt x="15966" y="21771"/>
                  </a:lnTo>
                  <a:lnTo>
                    <a:pt x="16795" y="21356"/>
                  </a:lnTo>
                  <a:lnTo>
                    <a:pt x="17590" y="20872"/>
                  </a:lnTo>
                  <a:lnTo>
                    <a:pt x="18350" y="20354"/>
                  </a:lnTo>
                  <a:lnTo>
                    <a:pt x="19042" y="19732"/>
                  </a:lnTo>
                  <a:lnTo>
                    <a:pt x="19664" y="19110"/>
                  </a:lnTo>
                  <a:lnTo>
                    <a:pt x="20286" y="18384"/>
                  </a:lnTo>
                  <a:lnTo>
                    <a:pt x="20804" y="17659"/>
                  </a:lnTo>
                  <a:lnTo>
                    <a:pt x="21288" y="16864"/>
                  </a:lnTo>
                  <a:lnTo>
                    <a:pt x="21702" y="16034"/>
                  </a:lnTo>
                  <a:lnTo>
                    <a:pt x="22048" y="15171"/>
                  </a:lnTo>
                  <a:lnTo>
                    <a:pt x="22324" y="14272"/>
                  </a:lnTo>
                  <a:lnTo>
                    <a:pt x="22497" y="13546"/>
                  </a:lnTo>
                  <a:lnTo>
                    <a:pt x="22601" y="12855"/>
                  </a:lnTo>
                  <a:lnTo>
                    <a:pt x="22670" y="12130"/>
                  </a:lnTo>
                  <a:lnTo>
                    <a:pt x="22705" y="11369"/>
                  </a:lnTo>
                  <a:lnTo>
                    <a:pt x="22670" y="10609"/>
                  </a:lnTo>
                  <a:lnTo>
                    <a:pt x="22601" y="9883"/>
                  </a:lnTo>
                  <a:lnTo>
                    <a:pt x="22497" y="9158"/>
                  </a:lnTo>
                  <a:lnTo>
                    <a:pt x="22324" y="8467"/>
                  </a:lnTo>
                  <a:lnTo>
                    <a:pt x="22117" y="7776"/>
                  </a:lnTo>
                  <a:lnTo>
                    <a:pt x="21875" y="7084"/>
                  </a:lnTo>
                  <a:lnTo>
                    <a:pt x="21564" y="6428"/>
                  </a:lnTo>
                  <a:lnTo>
                    <a:pt x="21253" y="5806"/>
                  </a:lnTo>
                  <a:lnTo>
                    <a:pt x="20873" y="5184"/>
                  </a:lnTo>
                  <a:lnTo>
                    <a:pt x="20458" y="4562"/>
                  </a:lnTo>
                  <a:lnTo>
                    <a:pt x="19975" y="3974"/>
                  </a:lnTo>
                  <a:lnTo>
                    <a:pt x="19491" y="3421"/>
                  </a:lnTo>
                  <a:lnTo>
                    <a:pt x="18938" y="2938"/>
                  </a:lnTo>
                  <a:lnTo>
                    <a:pt x="18385" y="2454"/>
                  </a:lnTo>
                  <a:lnTo>
                    <a:pt x="17798" y="2005"/>
                  </a:lnTo>
                  <a:lnTo>
                    <a:pt x="17175" y="1590"/>
                  </a:lnTo>
                  <a:lnTo>
                    <a:pt x="16519" y="1244"/>
                  </a:lnTo>
                  <a:lnTo>
                    <a:pt x="15828" y="899"/>
                  </a:lnTo>
                  <a:lnTo>
                    <a:pt x="15137" y="622"/>
                  </a:lnTo>
                  <a:lnTo>
                    <a:pt x="14411" y="415"/>
                  </a:lnTo>
                  <a:lnTo>
                    <a:pt x="13685" y="242"/>
                  </a:lnTo>
                  <a:lnTo>
                    <a:pt x="12925" y="104"/>
                  </a:lnTo>
                  <a:lnTo>
                    <a:pt x="12130" y="0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7" name="Google Shape;1454;p16">
              <a:extLst>
                <a:ext uri="{FF2B5EF4-FFF2-40B4-BE49-F238E27FC236}">
                  <a16:creationId xmlns:a16="http://schemas.microsoft.com/office/drawing/2014/main" id="{D05235F0-0946-0851-A8E6-AFC092F39CCE}"/>
                </a:ext>
              </a:extLst>
            </p:cNvPr>
            <p:cNvSpPr/>
            <p:nvPr/>
          </p:nvSpPr>
          <p:spPr>
            <a:xfrm>
              <a:off x="3699400" y="968125"/>
              <a:ext cx="465675" cy="466525"/>
            </a:xfrm>
            <a:custGeom>
              <a:avLst/>
              <a:gdLst/>
              <a:ahLst/>
              <a:cxnLst/>
              <a:rect l="l" t="t" r="r" b="b"/>
              <a:pathLst>
                <a:path w="18627" h="18661" extrusionOk="0">
                  <a:moveTo>
                    <a:pt x="8813" y="0"/>
                  </a:moveTo>
                  <a:lnTo>
                    <a:pt x="8363" y="35"/>
                  </a:lnTo>
                  <a:lnTo>
                    <a:pt x="7880" y="104"/>
                  </a:lnTo>
                  <a:lnTo>
                    <a:pt x="7430" y="173"/>
                  </a:lnTo>
                  <a:lnTo>
                    <a:pt x="6981" y="277"/>
                  </a:lnTo>
                  <a:lnTo>
                    <a:pt x="6532" y="415"/>
                  </a:lnTo>
                  <a:lnTo>
                    <a:pt x="6117" y="553"/>
                  </a:lnTo>
                  <a:lnTo>
                    <a:pt x="5668" y="726"/>
                  </a:lnTo>
                  <a:lnTo>
                    <a:pt x="5253" y="899"/>
                  </a:lnTo>
                  <a:lnTo>
                    <a:pt x="4873" y="1106"/>
                  </a:lnTo>
                  <a:lnTo>
                    <a:pt x="4459" y="1348"/>
                  </a:lnTo>
                  <a:lnTo>
                    <a:pt x="4113" y="1590"/>
                  </a:lnTo>
                  <a:lnTo>
                    <a:pt x="3733" y="1832"/>
                  </a:lnTo>
                  <a:lnTo>
                    <a:pt x="3387" y="2108"/>
                  </a:lnTo>
                  <a:lnTo>
                    <a:pt x="3042" y="2419"/>
                  </a:lnTo>
                  <a:lnTo>
                    <a:pt x="2731" y="2730"/>
                  </a:lnTo>
                  <a:lnTo>
                    <a:pt x="2420" y="3041"/>
                  </a:lnTo>
                  <a:lnTo>
                    <a:pt x="2109" y="3387"/>
                  </a:lnTo>
                  <a:lnTo>
                    <a:pt x="1832" y="3732"/>
                  </a:lnTo>
                  <a:lnTo>
                    <a:pt x="1590" y="4112"/>
                  </a:lnTo>
                  <a:lnTo>
                    <a:pt x="1348" y="4492"/>
                  </a:lnTo>
                  <a:lnTo>
                    <a:pt x="1107" y="4873"/>
                  </a:lnTo>
                  <a:lnTo>
                    <a:pt x="899" y="5287"/>
                  </a:lnTo>
                  <a:lnTo>
                    <a:pt x="726" y="5702"/>
                  </a:lnTo>
                  <a:lnTo>
                    <a:pt x="554" y="6117"/>
                  </a:lnTo>
                  <a:lnTo>
                    <a:pt x="415" y="6566"/>
                  </a:lnTo>
                  <a:lnTo>
                    <a:pt x="277" y="6981"/>
                  </a:lnTo>
                  <a:lnTo>
                    <a:pt x="174" y="7464"/>
                  </a:lnTo>
                  <a:lnTo>
                    <a:pt x="104" y="7914"/>
                  </a:lnTo>
                  <a:lnTo>
                    <a:pt x="35" y="8363"/>
                  </a:lnTo>
                  <a:lnTo>
                    <a:pt x="1" y="8847"/>
                  </a:lnTo>
                  <a:lnTo>
                    <a:pt x="1" y="9330"/>
                  </a:lnTo>
                  <a:lnTo>
                    <a:pt x="1" y="9814"/>
                  </a:lnTo>
                  <a:lnTo>
                    <a:pt x="35" y="10298"/>
                  </a:lnTo>
                  <a:lnTo>
                    <a:pt x="104" y="10747"/>
                  </a:lnTo>
                  <a:lnTo>
                    <a:pt x="174" y="11231"/>
                  </a:lnTo>
                  <a:lnTo>
                    <a:pt x="277" y="11680"/>
                  </a:lnTo>
                  <a:lnTo>
                    <a:pt x="415" y="12095"/>
                  </a:lnTo>
                  <a:lnTo>
                    <a:pt x="554" y="12544"/>
                  </a:lnTo>
                  <a:lnTo>
                    <a:pt x="726" y="12959"/>
                  </a:lnTo>
                  <a:lnTo>
                    <a:pt x="899" y="13373"/>
                  </a:lnTo>
                  <a:lnTo>
                    <a:pt x="1107" y="13788"/>
                  </a:lnTo>
                  <a:lnTo>
                    <a:pt x="1348" y="14168"/>
                  </a:lnTo>
                  <a:lnTo>
                    <a:pt x="1590" y="14548"/>
                  </a:lnTo>
                  <a:lnTo>
                    <a:pt x="1832" y="14929"/>
                  </a:lnTo>
                  <a:lnTo>
                    <a:pt x="2109" y="15274"/>
                  </a:lnTo>
                  <a:lnTo>
                    <a:pt x="2420" y="15620"/>
                  </a:lnTo>
                  <a:lnTo>
                    <a:pt x="2731" y="15931"/>
                  </a:lnTo>
                  <a:lnTo>
                    <a:pt x="3042" y="16242"/>
                  </a:lnTo>
                  <a:lnTo>
                    <a:pt x="3387" y="16553"/>
                  </a:lnTo>
                  <a:lnTo>
                    <a:pt x="3733" y="16829"/>
                  </a:lnTo>
                  <a:lnTo>
                    <a:pt x="4113" y="17071"/>
                  </a:lnTo>
                  <a:lnTo>
                    <a:pt x="4459" y="17313"/>
                  </a:lnTo>
                  <a:lnTo>
                    <a:pt x="4873" y="17555"/>
                  </a:lnTo>
                  <a:lnTo>
                    <a:pt x="5253" y="17762"/>
                  </a:lnTo>
                  <a:lnTo>
                    <a:pt x="5668" y="17935"/>
                  </a:lnTo>
                  <a:lnTo>
                    <a:pt x="6117" y="18108"/>
                  </a:lnTo>
                  <a:lnTo>
                    <a:pt x="6532" y="18246"/>
                  </a:lnTo>
                  <a:lnTo>
                    <a:pt x="6981" y="18384"/>
                  </a:lnTo>
                  <a:lnTo>
                    <a:pt x="7430" y="18488"/>
                  </a:lnTo>
                  <a:lnTo>
                    <a:pt x="7880" y="18557"/>
                  </a:lnTo>
                  <a:lnTo>
                    <a:pt x="8363" y="18626"/>
                  </a:lnTo>
                  <a:lnTo>
                    <a:pt x="8813" y="18661"/>
                  </a:lnTo>
                  <a:lnTo>
                    <a:pt x="9296" y="18661"/>
                  </a:lnTo>
                  <a:lnTo>
                    <a:pt x="10091" y="18626"/>
                  </a:lnTo>
                  <a:lnTo>
                    <a:pt x="10886" y="18522"/>
                  </a:lnTo>
                  <a:lnTo>
                    <a:pt x="11646" y="18384"/>
                  </a:lnTo>
                  <a:lnTo>
                    <a:pt x="12407" y="18142"/>
                  </a:lnTo>
                  <a:lnTo>
                    <a:pt x="13098" y="17866"/>
                  </a:lnTo>
                  <a:lnTo>
                    <a:pt x="13789" y="17520"/>
                  </a:lnTo>
                  <a:lnTo>
                    <a:pt x="14445" y="17140"/>
                  </a:lnTo>
                  <a:lnTo>
                    <a:pt x="15033" y="16691"/>
                  </a:lnTo>
                  <a:lnTo>
                    <a:pt x="15620" y="16207"/>
                  </a:lnTo>
                  <a:lnTo>
                    <a:pt x="16139" y="15689"/>
                  </a:lnTo>
                  <a:lnTo>
                    <a:pt x="16622" y="15101"/>
                  </a:lnTo>
                  <a:lnTo>
                    <a:pt x="17072" y="14479"/>
                  </a:lnTo>
                  <a:lnTo>
                    <a:pt x="17452" y="13823"/>
                  </a:lnTo>
                  <a:lnTo>
                    <a:pt x="17797" y="13166"/>
                  </a:lnTo>
                  <a:lnTo>
                    <a:pt x="18074" y="12440"/>
                  </a:lnTo>
                  <a:lnTo>
                    <a:pt x="18316" y="11715"/>
                  </a:lnTo>
                  <a:lnTo>
                    <a:pt x="18454" y="11127"/>
                  </a:lnTo>
                  <a:lnTo>
                    <a:pt x="18558" y="10540"/>
                  </a:lnTo>
                  <a:lnTo>
                    <a:pt x="18592" y="9952"/>
                  </a:lnTo>
                  <a:lnTo>
                    <a:pt x="18627" y="9330"/>
                  </a:lnTo>
                  <a:lnTo>
                    <a:pt x="18592" y="8708"/>
                  </a:lnTo>
                  <a:lnTo>
                    <a:pt x="18558" y="8121"/>
                  </a:lnTo>
                  <a:lnTo>
                    <a:pt x="18454" y="7499"/>
                  </a:lnTo>
                  <a:lnTo>
                    <a:pt x="18316" y="6946"/>
                  </a:lnTo>
                  <a:lnTo>
                    <a:pt x="18143" y="6359"/>
                  </a:lnTo>
                  <a:lnTo>
                    <a:pt x="17936" y="5806"/>
                  </a:lnTo>
                  <a:lnTo>
                    <a:pt x="17694" y="5287"/>
                  </a:lnTo>
                  <a:lnTo>
                    <a:pt x="17452" y="4769"/>
                  </a:lnTo>
                  <a:lnTo>
                    <a:pt x="17106" y="4251"/>
                  </a:lnTo>
                  <a:lnTo>
                    <a:pt x="16761" y="3732"/>
                  </a:lnTo>
                  <a:lnTo>
                    <a:pt x="16381" y="3283"/>
                  </a:lnTo>
                  <a:lnTo>
                    <a:pt x="16000" y="2834"/>
                  </a:lnTo>
                  <a:lnTo>
                    <a:pt x="15551" y="2385"/>
                  </a:lnTo>
                  <a:lnTo>
                    <a:pt x="15067" y="2004"/>
                  </a:lnTo>
                  <a:lnTo>
                    <a:pt x="14584" y="1624"/>
                  </a:lnTo>
                  <a:lnTo>
                    <a:pt x="14065" y="1313"/>
                  </a:lnTo>
                  <a:lnTo>
                    <a:pt x="13547" y="1002"/>
                  </a:lnTo>
                  <a:lnTo>
                    <a:pt x="12994" y="760"/>
                  </a:lnTo>
                  <a:lnTo>
                    <a:pt x="12407" y="519"/>
                  </a:lnTo>
                  <a:lnTo>
                    <a:pt x="11819" y="346"/>
                  </a:lnTo>
                  <a:lnTo>
                    <a:pt x="11232" y="173"/>
                  </a:lnTo>
                  <a:lnTo>
                    <a:pt x="10575" y="69"/>
                  </a:lnTo>
                  <a:lnTo>
                    <a:pt x="99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8" name="Google Shape;1455;p16">
              <a:extLst>
                <a:ext uri="{FF2B5EF4-FFF2-40B4-BE49-F238E27FC236}">
                  <a16:creationId xmlns:a16="http://schemas.microsoft.com/office/drawing/2014/main" id="{D1D7DBBE-DB24-B8AA-692D-B2F0D811B6A8}"/>
                </a:ext>
              </a:extLst>
            </p:cNvPr>
            <p:cNvSpPr/>
            <p:nvPr/>
          </p:nvSpPr>
          <p:spPr>
            <a:xfrm>
              <a:off x="3753825" y="1023400"/>
              <a:ext cx="355975" cy="355975"/>
            </a:xfrm>
            <a:custGeom>
              <a:avLst/>
              <a:gdLst/>
              <a:ahLst/>
              <a:cxnLst/>
              <a:rect l="l" t="t" r="r" b="b"/>
              <a:pathLst>
                <a:path w="14239" h="14239" extrusionOk="0">
                  <a:moveTo>
                    <a:pt x="7119" y="1"/>
                  </a:moveTo>
                  <a:lnTo>
                    <a:pt x="6394" y="35"/>
                  </a:lnTo>
                  <a:lnTo>
                    <a:pt x="5703" y="139"/>
                  </a:lnTo>
                  <a:lnTo>
                    <a:pt x="5012" y="312"/>
                  </a:lnTo>
                  <a:lnTo>
                    <a:pt x="4355" y="554"/>
                  </a:lnTo>
                  <a:lnTo>
                    <a:pt x="3733" y="865"/>
                  </a:lnTo>
                  <a:lnTo>
                    <a:pt x="3145" y="1210"/>
                  </a:lnTo>
                  <a:lnTo>
                    <a:pt x="2593" y="1625"/>
                  </a:lnTo>
                  <a:lnTo>
                    <a:pt x="2109" y="2074"/>
                  </a:lnTo>
                  <a:lnTo>
                    <a:pt x="1625" y="2592"/>
                  </a:lnTo>
                  <a:lnTo>
                    <a:pt x="1245" y="3145"/>
                  </a:lnTo>
                  <a:lnTo>
                    <a:pt x="865" y="3733"/>
                  </a:lnTo>
                  <a:lnTo>
                    <a:pt x="588" y="4355"/>
                  </a:lnTo>
                  <a:lnTo>
                    <a:pt x="346" y="5011"/>
                  </a:lnTo>
                  <a:lnTo>
                    <a:pt x="174" y="5668"/>
                  </a:lnTo>
                  <a:lnTo>
                    <a:pt x="70" y="6394"/>
                  </a:lnTo>
                  <a:lnTo>
                    <a:pt x="1" y="7119"/>
                  </a:lnTo>
                  <a:lnTo>
                    <a:pt x="70" y="7845"/>
                  </a:lnTo>
                  <a:lnTo>
                    <a:pt x="174" y="8571"/>
                  </a:lnTo>
                  <a:lnTo>
                    <a:pt x="346" y="9227"/>
                  </a:lnTo>
                  <a:lnTo>
                    <a:pt x="588" y="9884"/>
                  </a:lnTo>
                  <a:lnTo>
                    <a:pt x="865" y="10506"/>
                  </a:lnTo>
                  <a:lnTo>
                    <a:pt x="1245" y="11093"/>
                  </a:lnTo>
                  <a:lnTo>
                    <a:pt x="1625" y="11646"/>
                  </a:lnTo>
                  <a:lnTo>
                    <a:pt x="2109" y="12165"/>
                  </a:lnTo>
                  <a:lnTo>
                    <a:pt x="2593" y="12614"/>
                  </a:lnTo>
                  <a:lnTo>
                    <a:pt x="3145" y="13029"/>
                  </a:lnTo>
                  <a:lnTo>
                    <a:pt x="3733" y="13374"/>
                  </a:lnTo>
                  <a:lnTo>
                    <a:pt x="4355" y="13685"/>
                  </a:lnTo>
                  <a:lnTo>
                    <a:pt x="5012" y="13927"/>
                  </a:lnTo>
                  <a:lnTo>
                    <a:pt x="5703" y="14100"/>
                  </a:lnTo>
                  <a:lnTo>
                    <a:pt x="6394" y="14203"/>
                  </a:lnTo>
                  <a:lnTo>
                    <a:pt x="7119" y="14238"/>
                  </a:lnTo>
                  <a:lnTo>
                    <a:pt x="7845" y="14203"/>
                  </a:lnTo>
                  <a:lnTo>
                    <a:pt x="8571" y="14100"/>
                  </a:lnTo>
                  <a:lnTo>
                    <a:pt x="9227" y="13927"/>
                  </a:lnTo>
                  <a:lnTo>
                    <a:pt x="9884" y="13685"/>
                  </a:lnTo>
                  <a:lnTo>
                    <a:pt x="10506" y="13374"/>
                  </a:lnTo>
                  <a:lnTo>
                    <a:pt x="11093" y="13029"/>
                  </a:lnTo>
                  <a:lnTo>
                    <a:pt x="11646" y="12614"/>
                  </a:lnTo>
                  <a:lnTo>
                    <a:pt x="12165" y="12165"/>
                  </a:lnTo>
                  <a:lnTo>
                    <a:pt x="12614" y="11646"/>
                  </a:lnTo>
                  <a:lnTo>
                    <a:pt x="13029" y="11093"/>
                  </a:lnTo>
                  <a:lnTo>
                    <a:pt x="13374" y="10506"/>
                  </a:lnTo>
                  <a:lnTo>
                    <a:pt x="13685" y="9884"/>
                  </a:lnTo>
                  <a:lnTo>
                    <a:pt x="13927" y="9227"/>
                  </a:lnTo>
                  <a:lnTo>
                    <a:pt x="14100" y="8571"/>
                  </a:lnTo>
                  <a:lnTo>
                    <a:pt x="14204" y="7845"/>
                  </a:lnTo>
                  <a:lnTo>
                    <a:pt x="14238" y="7119"/>
                  </a:lnTo>
                  <a:lnTo>
                    <a:pt x="14204" y="6394"/>
                  </a:lnTo>
                  <a:lnTo>
                    <a:pt x="14100" y="5668"/>
                  </a:lnTo>
                  <a:lnTo>
                    <a:pt x="13927" y="5011"/>
                  </a:lnTo>
                  <a:lnTo>
                    <a:pt x="13685" y="4355"/>
                  </a:lnTo>
                  <a:lnTo>
                    <a:pt x="13374" y="3733"/>
                  </a:lnTo>
                  <a:lnTo>
                    <a:pt x="13029" y="3145"/>
                  </a:lnTo>
                  <a:lnTo>
                    <a:pt x="12614" y="2592"/>
                  </a:lnTo>
                  <a:lnTo>
                    <a:pt x="12165" y="2074"/>
                  </a:lnTo>
                  <a:lnTo>
                    <a:pt x="11646" y="1625"/>
                  </a:lnTo>
                  <a:lnTo>
                    <a:pt x="11093" y="1210"/>
                  </a:lnTo>
                  <a:lnTo>
                    <a:pt x="10506" y="865"/>
                  </a:lnTo>
                  <a:lnTo>
                    <a:pt x="9884" y="554"/>
                  </a:lnTo>
                  <a:lnTo>
                    <a:pt x="9227" y="312"/>
                  </a:lnTo>
                  <a:lnTo>
                    <a:pt x="8571" y="139"/>
                  </a:lnTo>
                  <a:lnTo>
                    <a:pt x="7845" y="35"/>
                  </a:lnTo>
                  <a:lnTo>
                    <a:pt x="7119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9" name="Google Shape;1456;p16">
              <a:extLst>
                <a:ext uri="{FF2B5EF4-FFF2-40B4-BE49-F238E27FC236}">
                  <a16:creationId xmlns:a16="http://schemas.microsoft.com/office/drawing/2014/main" id="{318BBEBD-B674-DDC9-F91D-2975D8657102}"/>
                </a:ext>
              </a:extLst>
            </p:cNvPr>
            <p:cNvSpPr/>
            <p:nvPr/>
          </p:nvSpPr>
          <p:spPr>
            <a:xfrm>
              <a:off x="3809125" y="1077825"/>
              <a:ext cx="246250" cy="247100"/>
            </a:xfrm>
            <a:custGeom>
              <a:avLst/>
              <a:gdLst/>
              <a:ahLst/>
              <a:cxnLst/>
              <a:rect l="l" t="t" r="r" b="b"/>
              <a:pathLst>
                <a:path w="9850" h="9884" extrusionOk="0">
                  <a:moveTo>
                    <a:pt x="4907" y="1"/>
                  </a:moveTo>
                  <a:lnTo>
                    <a:pt x="4424" y="35"/>
                  </a:lnTo>
                  <a:lnTo>
                    <a:pt x="3940" y="104"/>
                  </a:lnTo>
                  <a:lnTo>
                    <a:pt x="3456" y="243"/>
                  </a:lnTo>
                  <a:lnTo>
                    <a:pt x="3007" y="415"/>
                  </a:lnTo>
                  <a:lnTo>
                    <a:pt x="2558" y="623"/>
                  </a:lnTo>
                  <a:lnTo>
                    <a:pt x="2178" y="865"/>
                  </a:lnTo>
                  <a:lnTo>
                    <a:pt x="1797" y="1141"/>
                  </a:lnTo>
                  <a:lnTo>
                    <a:pt x="1452" y="1452"/>
                  </a:lnTo>
                  <a:lnTo>
                    <a:pt x="1106" y="1798"/>
                  </a:lnTo>
                  <a:lnTo>
                    <a:pt x="830" y="2178"/>
                  </a:lnTo>
                  <a:lnTo>
                    <a:pt x="588" y="2593"/>
                  </a:lnTo>
                  <a:lnTo>
                    <a:pt x="381" y="3042"/>
                  </a:lnTo>
                  <a:lnTo>
                    <a:pt x="208" y="3491"/>
                  </a:lnTo>
                  <a:lnTo>
                    <a:pt x="104" y="3940"/>
                  </a:lnTo>
                  <a:lnTo>
                    <a:pt x="35" y="4424"/>
                  </a:lnTo>
                  <a:lnTo>
                    <a:pt x="0" y="4942"/>
                  </a:lnTo>
                  <a:lnTo>
                    <a:pt x="35" y="5461"/>
                  </a:lnTo>
                  <a:lnTo>
                    <a:pt x="104" y="5945"/>
                  </a:lnTo>
                  <a:lnTo>
                    <a:pt x="208" y="6394"/>
                  </a:lnTo>
                  <a:lnTo>
                    <a:pt x="381" y="6878"/>
                  </a:lnTo>
                  <a:lnTo>
                    <a:pt x="588" y="7292"/>
                  </a:lnTo>
                  <a:lnTo>
                    <a:pt x="830" y="7707"/>
                  </a:lnTo>
                  <a:lnTo>
                    <a:pt x="1106" y="8087"/>
                  </a:lnTo>
                  <a:lnTo>
                    <a:pt x="1452" y="8433"/>
                  </a:lnTo>
                  <a:lnTo>
                    <a:pt x="1797" y="8744"/>
                  </a:lnTo>
                  <a:lnTo>
                    <a:pt x="2178" y="9020"/>
                  </a:lnTo>
                  <a:lnTo>
                    <a:pt x="2558" y="9262"/>
                  </a:lnTo>
                  <a:lnTo>
                    <a:pt x="3007" y="9504"/>
                  </a:lnTo>
                  <a:lnTo>
                    <a:pt x="3456" y="9642"/>
                  </a:lnTo>
                  <a:lnTo>
                    <a:pt x="3940" y="9780"/>
                  </a:lnTo>
                  <a:lnTo>
                    <a:pt x="4424" y="9849"/>
                  </a:lnTo>
                  <a:lnTo>
                    <a:pt x="4907" y="9884"/>
                  </a:lnTo>
                  <a:lnTo>
                    <a:pt x="5426" y="9849"/>
                  </a:lnTo>
                  <a:lnTo>
                    <a:pt x="5910" y="9780"/>
                  </a:lnTo>
                  <a:lnTo>
                    <a:pt x="6393" y="9642"/>
                  </a:lnTo>
                  <a:lnTo>
                    <a:pt x="6843" y="9504"/>
                  </a:lnTo>
                  <a:lnTo>
                    <a:pt x="7257" y="9262"/>
                  </a:lnTo>
                  <a:lnTo>
                    <a:pt x="7672" y="9020"/>
                  </a:lnTo>
                  <a:lnTo>
                    <a:pt x="8052" y="8744"/>
                  </a:lnTo>
                  <a:lnTo>
                    <a:pt x="8398" y="8433"/>
                  </a:lnTo>
                  <a:lnTo>
                    <a:pt x="8709" y="8087"/>
                  </a:lnTo>
                  <a:lnTo>
                    <a:pt x="8985" y="7707"/>
                  </a:lnTo>
                  <a:lnTo>
                    <a:pt x="9227" y="7292"/>
                  </a:lnTo>
                  <a:lnTo>
                    <a:pt x="9434" y="6878"/>
                  </a:lnTo>
                  <a:lnTo>
                    <a:pt x="9607" y="6394"/>
                  </a:lnTo>
                  <a:lnTo>
                    <a:pt x="9745" y="5945"/>
                  </a:lnTo>
                  <a:lnTo>
                    <a:pt x="9814" y="5461"/>
                  </a:lnTo>
                  <a:lnTo>
                    <a:pt x="9849" y="4942"/>
                  </a:lnTo>
                  <a:lnTo>
                    <a:pt x="9814" y="4424"/>
                  </a:lnTo>
                  <a:lnTo>
                    <a:pt x="9745" y="3940"/>
                  </a:lnTo>
                  <a:lnTo>
                    <a:pt x="9607" y="3491"/>
                  </a:lnTo>
                  <a:lnTo>
                    <a:pt x="9434" y="3042"/>
                  </a:lnTo>
                  <a:lnTo>
                    <a:pt x="9227" y="2593"/>
                  </a:lnTo>
                  <a:lnTo>
                    <a:pt x="8985" y="2178"/>
                  </a:lnTo>
                  <a:lnTo>
                    <a:pt x="8709" y="1798"/>
                  </a:lnTo>
                  <a:lnTo>
                    <a:pt x="8398" y="1452"/>
                  </a:lnTo>
                  <a:lnTo>
                    <a:pt x="8052" y="1141"/>
                  </a:lnTo>
                  <a:lnTo>
                    <a:pt x="7672" y="865"/>
                  </a:lnTo>
                  <a:lnTo>
                    <a:pt x="7257" y="623"/>
                  </a:lnTo>
                  <a:lnTo>
                    <a:pt x="6843" y="415"/>
                  </a:lnTo>
                  <a:lnTo>
                    <a:pt x="6393" y="243"/>
                  </a:lnTo>
                  <a:lnTo>
                    <a:pt x="5910" y="104"/>
                  </a:lnTo>
                  <a:lnTo>
                    <a:pt x="5426" y="35"/>
                  </a:lnTo>
                  <a:lnTo>
                    <a:pt x="490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0" name="Google Shape;1457;p16">
              <a:extLst>
                <a:ext uri="{FF2B5EF4-FFF2-40B4-BE49-F238E27FC236}">
                  <a16:creationId xmlns:a16="http://schemas.microsoft.com/office/drawing/2014/main" id="{C0F403CC-5E10-68F9-FBA6-4E4A7612602B}"/>
                </a:ext>
              </a:extLst>
            </p:cNvPr>
            <p:cNvSpPr/>
            <p:nvPr/>
          </p:nvSpPr>
          <p:spPr>
            <a:xfrm>
              <a:off x="3867875" y="1137450"/>
              <a:ext cx="127875" cy="127875"/>
            </a:xfrm>
            <a:custGeom>
              <a:avLst/>
              <a:gdLst/>
              <a:ahLst/>
              <a:cxnLst/>
              <a:rect l="l" t="t" r="r" b="b"/>
              <a:pathLst>
                <a:path w="5115" h="5115" extrusionOk="0">
                  <a:moveTo>
                    <a:pt x="2316" y="0"/>
                  </a:moveTo>
                  <a:lnTo>
                    <a:pt x="2039" y="35"/>
                  </a:lnTo>
                  <a:lnTo>
                    <a:pt x="1797" y="104"/>
                  </a:lnTo>
                  <a:lnTo>
                    <a:pt x="1555" y="208"/>
                  </a:lnTo>
                  <a:lnTo>
                    <a:pt x="1348" y="311"/>
                  </a:lnTo>
                  <a:lnTo>
                    <a:pt x="1141" y="449"/>
                  </a:lnTo>
                  <a:lnTo>
                    <a:pt x="933" y="588"/>
                  </a:lnTo>
                  <a:lnTo>
                    <a:pt x="761" y="760"/>
                  </a:lnTo>
                  <a:lnTo>
                    <a:pt x="588" y="933"/>
                  </a:lnTo>
                  <a:lnTo>
                    <a:pt x="450" y="1141"/>
                  </a:lnTo>
                  <a:lnTo>
                    <a:pt x="311" y="1348"/>
                  </a:lnTo>
                  <a:lnTo>
                    <a:pt x="208" y="1555"/>
                  </a:lnTo>
                  <a:lnTo>
                    <a:pt x="139" y="1797"/>
                  </a:lnTo>
                  <a:lnTo>
                    <a:pt x="69" y="2039"/>
                  </a:lnTo>
                  <a:lnTo>
                    <a:pt x="35" y="2281"/>
                  </a:lnTo>
                  <a:lnTo>
                    <a:pt x="0" y="2557"/>
                  </a:lnTo>
                  <a:lnTo>
                    <a:pt x="35" y="2834"/>
                  </a:lnTo>
                  <a:lnTo>
                    <a:pt x="69" y="3076"/>
                  </a:lnTo>
                  <a:lnTo>
                    <a:pt x="139" y="3318"/>
                  </a:lnTo>
                  <a:lnTo>
                    <a:pt x="208" y="3560"/>
                  </a:lnTo>
                  <a:lnTo>
                    <a:pt x="311" y="3767"/>
                  </a:lnTo>
                  <a:lnTo>
                    <a:pt x="450" y="4009"/>
                  </a:lnTo>
                  <a:lnTo>
                    <a:pt x="588" y="4182"/>
                  </a:lnTo>
                  <a:lnTo>
                    <a:pt x="761" y="4389"/>
                  </a:lnTo>
                  <a:lnTo>
                    <a:pt x="933" y="4527"/>
                  </a:lnTo>
                  <a:lnTo>
                    <a:pt x="1141" y="4700"/>
                  </a:lnTo>
                  <a:lnTo>
                    <a:pt x="1348" y="4804"/>
                  </a:lnTo>
                  <a:lnTo>
                    <a:pt x="1555" y="4907"/>
                  </a:lnTo>
                  <a:lnTo>
                    <a:pt x="1797" y="5011"/>
                  </a:lnTo>
                  <a:lnTo>
                    <a:pt x="2039" y="5080"/>
                  </a:lnTo>
                  <a:lnTo>
                    <a:pt x="2316" y="5115"/>
                  </a:lnTo>
                  <a:lnTo>
                    <a:pt x="2834" y="5115"/>
                  </a:lnTo>
                  <a:lnTo>
                    <a:pt x="3076" y="5080"/>
                  </a:lnTo>
                  <a:lnTo>
                    <a:pt x="3318" y="5011"/>
                  </a:lnTo>
                  <a:lnTo>
                    <a:pt x="3560" y="4907"/>
                  </a:lnTo>
                  <a:lnTo>
                    <a:pt x="3801" y="4804"/>
                  </a:lnTo>
                  <a:lnTo>
                    <a:pt x="4009" y="4700"/>
                  </a:lnTo>
                  <a:lnTo>
                    <a:pt x="4182" y="4527"/>
                  </a:lnTo>
                  <a:lnTo>
                    <a:pt x="4389" y="4389"/>
                  </a:lnTo>
                  <a:lnTo>
                    <a:pt x="4527" y="4182"/>
                  </a:lnTo>
                  <a:lnTo>
                    <a:pt x="4700" y="4009"/>
                  </a:lnTo>
                  <a:lnTo>
                    <a:pt x="4804" y="3767"/>
                  </a:lnTo>
                  <a:lnTo>
                    <a:pt x="4907" y="3560"/>
                  </a:lnTo>
                  <a:lnTo>
                    <a:pt x="5011" y="3318"/>
                  </a:lnTo>
                  <a:lnTo>
                    <a:pt x="5080" y="3076"/>
                  </a:lnTo>
                  <a:lnTo>
                    <a:pt x="5115" y="2834"/>
                  </a:lnTo>
                  <a:lnTo>
                    <a:pt x="5115" y="2557"/>
                  </a:lnTo>
                  <a:lnTo>
                    <a:pt x="5115" y="2281"/>
                  </a:lnTo>
                  <a:lnTo>
                    <a:pt x="5080" y="2039"/>
                  </a:lnTo>
                  <a:lnTo>
                    <a:pt x="5011" y="1797"/>
                  </a:lnTo>
                  <a:lnTo>
                    <a:pt x="4907" y="1555"/>
                  </a:lnTo>
                  <a:lnTo>
                    <a:pt x="4804" y="1348"/>
                  </a:lnTo>
                  <a:lnTo>
                    <a:pt x="4700" y="1141"/>
                  </a:lnTo>
                  <a:lnTo>
                    <a:pt x="4527" y="933"/>
                  </a:lnTo>
                  <a:lnTo>
                    <a:pt x="4389" y="760"/>
                  </a:lnTo>
                  <a:lnTo>
                    <a:pt x="4182" y="588"/>
                  </a:lnTo>
                  <a:lnTo>
                    <a:pt x="4009" y="449"/>
                  </a:lnTo>
                  <a:lnTo>
                    <a:pt x="3801" y="311"/>
                  </a:lnTo>
                  <a:lnTo>
                    <a:pt x="3560" y="208"/>
                  </a:lnTo>
                  <a:lnTo>
                    <a:pt x="3318" y="104"/>
                  </a:lnTo>
                  <a:lnTo>
                    <a:pt x="3076" y="35"/>
                  </a:lnTo>
                  <a:lnTo>
                    <a:pt x="2834" y="0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1" name="Google Shape;1458;p16">
              <a:extLst>
                <a:ext uri="{FF2B5EF4-FFF2-40B4-BE49-F238E27FC236}">
                  <a16:creationId xmlns:a16="http://schemas.microsoft.com/office/drawing/2014/main" id="{CBA1CA43-F224-EF4E-4658-BE26DEDE3054}"/>
                </a:ext>
              </a:extLst>
            </p:cNvPr>
            <p:cNvSpPr/>
            <p:nvPr/>
          </p:nvSpPr>
          <p:spPr>
            <a:xfrm>
              <a:off x="2563375" y="2316675"/>
              <a:ext cx="334350" cy="120125"/>
            </a:xfrm>
            <a:custGeom>
              <a:avLst/>
              <a:gdLst/>
              <a:ahLst/>
              <a:cxnLst/>
              <a:rect l="l" t="t" r="r" b="b"/>
              <a:pathLst>
                <a:path w="13374" h="4805" extrusionOk="0">
                  <a:moveTo>
                    <a:pt x="13132" y="1"/>
                  </a:moveTo>
                  <a:lnTo>
                    <a:pt x="13062" y="35"/>
                  </a:lnTo>
                  <a:lnTo>
                    <a:pt x="12337" y="484"/>
                  </a:lnTo>
                  <a:lnTo>
                    <a:pt x="11266" y="1072"/>
                  </a:lnTo>
                  <a:lnTo>
                    <a:pt x="8570" y="2420"/>
                  </a:lnTo>
                  <a:lnTo>
                    <a:pt x="5978" y="3698"/>
                  </a:lnTo>
                  <a:lnTo>
                    <a:pt x="4596" y="4355"/>
                  </a:lnTo>
                  <a:lnTo>
                    <a:pt x="207" y="4355"/>
                  </a:lnTo>
                  <a:lnTo>
                    <a:pt x="104" y="4389"/>
                  </a:lnTo>
                  <a:lnTo>
                    <a:pt x="35" y="4424"/>
                  </a:lnTo>
                  <a:lnTo>
                    <a:pt x="0" y="4493"/>
                  </a:lnTo>
                  <a:lnTo>
                    <a:pt x="0" y="4597"/>
                  </a:lnTo>
                  <a:lnTo>
                    <a:pt x="0" y="4666"/>
                  </a:lnTo>
                  <a:lnTo>
                    <a:pt x="35" y="4735"/>
                  </a:lnTo>
                  <a:lnTo>
                    <a:pt x="104" y="4769"/>
                  </a:lnTo>
                  <a:lnTo>
                    <a:pt x="207" y="4804"/>
                  </a:lnTo>
                  <a:lnTo>
                    <a:pt x="4631" y="4804"/>
                  </a:lnTo>
                  <a:lnTo>
                    <a:pt x="4734" y="4769"/>
                  </a:lnTo>
                  <a:lnTo>
                    <a:pt x="5978" y="4182"/>
                  </a:lnTo>
                  <a:lnTo>
                    <a:pt x="8605" y="2903"/>
                  </a:lnTo>
                  <a:lnTo>
                    <a:pt x="11404" y="1452"/>
                  </a:lnTo>
                  <a:lnTo>
                    <a:pt x="12544" y="865"/>
                  </a:lnTo>
                  <a:lnTo>
                    <a:pt x="13304" y="381"/>
                  </a:lnTo>
                  <a:lnTo>
                    <a:pt x="13339" y="312"/>
                  </a:lnTo>
                  <a:lnTo>
                    <a:pt x="13373" y="243"/>
                  </a:lnTo>
                  <a:lnTo>
                    <a:pt x="13373" y="173"/>
                  </a:lnTo>
                  <a:lnTo>
                    <a:pt x="13339" y="104"/>
                  </a:lnTo>
                  <a:lnTo>
                    <a:pt x="13270" y="35"/>
                  </a:lnTo>
                  <a:lnTo>
                    <a:pt x="13201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2" name="Google Shape;1459;p16">
              <a:extLst>
                <a:ext uri="{FF2B5EF4-FFF2-40B4-BE49-F238E27FC236}">
                  <a16:creationId xmlns:a16="http://schemas.microsoft.com/office/drawing/2014/main" id="{D5CCB992-2FFF-9B6E-0AC2-B7FEB058C682}"/>
                </a:ext>
              </a:extLst>
            </p:cNvPr>
            <p:cNvSpPr/>
            <p:nvPr/>
          </p:nvSpPr>
          <p:spPr>
            <a:xfrm>
              <a:off x="2347400" y="2406525"/>
              <a:ext cx="179700" cy="49275"/>
            </a:xfrm>
            <a:custGeom>
              <a:avLst/>
              <a:gdLst/>
              <a:ahLst/>
              <a:cxnLst/>
              <a:rect l="l" t="t" r="r" b="b"/>
              <a:pathLst>
                <a:path w="7188" h="1971" extrusionOk="0">
                  <a:moveTo>
                    <a:pt x="415" y="1"/>
                  </a:moveTo>
                  <a:lnTo>
                    <a:pt x="242" y="35"/>
                  </a:lnTo>
                  <a:lnTo>
                    <a:pt x="104" y="104"/>
                  </a:lnTo>
                  <a:lnTo>
                    <a:pt x="35" y="242"/>
                  </a:lnTo>
                  <a:lnTo>
                    <a:pt x="0" y="415"/>
                  </a:lnTo>
                  <a:lnTo>
                    <a:pt x="0" y="1590"/>
                  </a:lnTo>
                  <a:lnTo>
                    <a:pt x="35" y="1728"/>
                  </a:lnTo>
                  <a:lnTo>
                    <a:pt x="104" y="1867"/>
                  </a:lnTo>
                  <a:lnTo>
                    <a:pt x="242" y="1936"/>
                  </a:lnTo>
                  <a:lnTo>
                    <a:pt x="415" y="1970"/>
                  </a:lnTo>
                  <a:lnTo>
                    <a:pt x="6773" y="1970"/>
                  </a:lnTo>
                  <a:lnTo>
                    <a:pt x="6946" y="1936"/>
                  </a:lnTo>
                  <a:lnTo>
                    <a:pt x="7084" y="1867"/>
                  </a:lnTo>
                  <a:lnTo>
                    <a:pt x="7153" y="1728"/>
                  </a:lnTo>
                  <a:lnTo>
                    <a:pt x="7188" y="1590"/>
                  </a:lnTo>
                  <a:lnTo>
                    <a:pt x="7188" y="415"/>
                  </a:lnTo>
                  <a:lnTo>
                    <a:pt x="7153" y="242"/>
                  </a:lnTo>
                  <a:lnTo>
                    <a:pt x="7084" y="104"/>
                  </a:lnTo>
                  <a:lnTo>
                    <a:pt x="6946" y="35"/>
                  </a:lnTo>
                  <a:lnTo>
                    <a:pt x="6773" y="1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3" name="Google Shape;1460;p16">
              <a:extLst>
                <a:ext uri="{FF2B5EF4-FFF2-40B4-BE49-F238E27FC236}">
                  <a16:creationId xmlns:a16="http://schemas.microsoft.com/office/drawing/2014/main" id="{1578F7AA-52A4-3B54-D9EC-7F1AF8102A51}"/>
                </a:ext>
              </a:extLst>
            </p:cNvPr>
            <p:cNvSpPr/>
            <p:nvPr/>
          </p:nvSpPr>
          <p:spPr>
            <a:xfrm>
              <a:off x="2347400" y="2406525"/>
              <a:ext cx="179700" cy="49275"/>
            </a:xfrm>
            <a:custGeom>
              <a:avLst/>
              <a:gdLst/>
              <a:ahLst/>
              <a:cxnLst/>
              <a:rect l="l" t="t" r="r" b="b"/>
              <a:pathLst>
                <a:path w="7188" h="1971" fill="none" extrusionOk="0">
                  <a:moveTo>
                    <a:pt x="6773" y="1"/>
                  </a:moveTo>
                  <a:lnTo>
                    <a:pt x="415" y="1"/>
                  </a:lnTo>
                  <a:lnTo>
                    <a:pt x="415" y="1"/>
                  </a:lnTo>
                  <a:lnTo>
                    <a:pt x="242" y="35"/>
                  </a:lnTo>
                  <a:lnTo>
                    <a:pt x="104" y="104"/>
                  </a:lnTo>
                  <a:lnTo>
                    <a:pt x="35" y="242"/>
                  </a:lnTo>
                  <a:lnTo>
                    <a:pt x="0" y="415"/>
                  </a:lnTo>
                  <a:lnTo>
                    <a:pt x="0" y="1590"/>
                  </a:lnTo>
                  <a:lnTo>
                    <a:pt x="0" y="1590"/>
                  </a:lnTo>
                  <a:lnTo>
                    <a:pt x="35" y="1728"/>
                  </a:lnTo>
                  <a:lnTo>
                    <a:pt x="104" y="1867"/>
                  </a:lnTo>
                  <a:lnTo>
                    <a:pt x="242" y="1936"/>
                  </a:lnTo>
                  <a:lnTo>
                    <a:pt x="415" y="1970"/>
                  </a:lnTo>
                  <a:lnTo>
                    <a:pt x="6773" y="1970"/>
                  </a:lnTo>
                  <a:lnTo>
                    <a:pt x="6773" y="1970"/>
                  </a:lnTo>
                  <a:lnTo>
                    <a:pt x="6946" y="1936"/>
                  </a:lnTo>
                  <a:lnTo>
                    <a:pt x="7084" y="1867"/>
                  </a:lnTo>
                  <a:lnTo>
                    <a:pt x="7153" y="1728"/>
                  </a:lnTo>
                  <a:lnTo>
                    <a:pt x="7188" y="1590"/>
                  </a:lnTo>
                  <a:lnTo>
                    <a:pt x="7188" y="415"/>
                  </a:lnTo>
                  <a:lnTo>
                    <a:pt x="7188" y="415"/>
                  </a:lnTo>
                  <a:lnTo>
                    <a:pt x="7153" y="242"/>
                  </a:lnTo>
                  <a:lnTo>
                    <a:pt x="7084" y="104"/>
                  </a:lnTo>
                  <a:lnTo>
                    <a:pt x="6946" y="35"/>
                  </a:lnTo>
                  <a:lnTo>
                    <a:pt x="6773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" name="Google Shape;1461;p16">
              <a:extLst>
                <a:ext uri="{FF2B5EF4-FFF2-40B4-BE49-F238E27FC236}">
                  <a16:creationId xmlns:a16="http://schemas.microsoft.com/office/drawing/2014/main" id="{76C97F81-A747-6F93-B76F-F8FFC8D14087}"/>
                </a:ext>
              </a:extLst>
            </p:cNvPr>
            <p:cNvSpPr/>
            <p:nvPr/>
          </p:nvSpPr>
          <p:spPr>
            <a:xfrm>
              <a:off x="2078725" y="2406525"/>
              <a:ext cx="109725" cy="49275"/>
            </a:xfrm>
            <a:custGeom>
              <a:avLst/>
              <a:gdLst/>
              <a:ahLst/>
              <a:cxnLst/>
              <a:rect l="l" t="t" r="r" b="b"/>
              <a:pathLst>
                <a:path w="4389" h="1971" extrusionOk="0">
                  <a:moveTo>
                    <a:pt x="242" y="1"/>
                  </a:moveTo>
                  <a:lnTo>
                    <a:pt x="138" y="35"/>
                  </a:lnTo>
                  <a:lnTo>
                    <a:pt x="69" y="104"/>
                  </a:lnTo>
                  <a:lnTo>
                    <a:pt x="35" y="208"/>
                  </a:lnTo>
                  <a:lnTo>
                    <a:pt x="0" y="346"/>
                  </a:lnTo>
                  <a:lnTo>
                    <a:pt x="0" y="1625"/>
                  </a:lnTo>
                  <a:lnTo>
                    <a:pt x="35" y="1763"/>
                  </a:lnTo>
                  <a:lnTo>
                    <a:pt x="69" y="1867"/>
                  </a:lnTo>
                  <a:lnTo>
                    <a:pt x="138" y="1970"/>
                  </a:lnTo>
                  <a:lnTo>
                    <a:pt x="4250" y="1970"/>
                  </a:lnTo>
                  <a:lnTo>
                    <a:pt x="4320" y="1867"/>
                  </a:lnTo>
                  <a:lnTo>
                    <a:pt x="4354" y="1763"/>
                  </a:lnTo>
                  <a:lnTo>
                    <a:pt x="4389" y="1625"/>
                  </a:lnTo>
                  <a:lnTo>
                    <a:pt x="4389" y="346"/>
                  </a:lnTo>
                  <a:lnTo>
                    <a:pt x="4354" y="208"/>
                  </a:lnTo>
                  <a:lnTo>
                    <a:pt x="4320" y="104"/>
                  </a:lnTo>
                  <a:lnTo>
                    <a:pt x="4250" y="35"/>
                  </a:lnTo>
                  <a:lnTo>
                    <a:pt x="4147" y="1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5" name="Google Shape;1462;p16">
              <a:extLst>
                <a:ext uri="{FF2B5EF4-FFF2-40B4-BE49-F238E27FC236}">
                  <a16:creationId xmlns:a16="http://schemas.microsoft.com/office/drawing/2014/main" id="{11CC744D-887A-D28F-A2E7-C4AC5167E07B}"/>
                </a:ext>
              </a:extLst>
            </p:cNvPr>
            <p:cNvSpPr/>
            <p:nvPr/>
          </p:nvSpPr>
          <p:spPr>
            <a:xfrm>
              <a:off x="2078725" y="2406525"/>
              <a:ext cx="109725" cy="49275"/>
            </a:xfrm>
            <a:custGeom>
              <a:avLst/>
              <a:gdLst/>
              <a:ahLst/>
              <a:cxnLst/>
              <a:rect l="l" t="t" r="r" b="b"/>
              <a:pathLst>
                <a:path w="4389" h="1971" fill="none" extrusionOk="0">
                  <a:moveTo>
                    <a:pt x="4147" y="1"/>
                  </a:moveTo>
                  <a:lnTo>
                    <a:pt x="242" y="1"/>
                  </a:lnTo>
                  <a:lnTo>
                    <a:pt x="242" y="1"/>
                  </a:lnTo>
                  <a:lnTo>
                    <a:pt x="138" y="35"/>
                  </a:lnTo>
                  <a:lnTo>
                    <a:pt x="69" y="104"/>
                  </a:lnTo>
                  <a:lnTo>
                    <a:pt x="35" y="208"/>
                  </a:lnTo>
                  <a:lnTo>
                    <a:pt x="0" y="346"/>
                  </a:lnTo>
                  <a:lnTo>
                    <a:pt x="0" y="1625"/>
                  </a:lnTo>
                  <a:lnTo>
                    <a:pt x="0" y="1625"/>
                  </a:lnTo>
                  <a:lnTo>
                    <a:pt x="35" y="1763"/>
                  </a:lnTo>
                  <a:lnTo>
                    <a:pt x="69" y="1867"/>
                  </a:lnTo>
                  <a:lnTo>
                    <a:pt x="138" y="1970"/>
                  </a:lnTo>
                  <a:lnTo>
                    <a:pt x="242" y="1970"/>
                  </a:lnTo>
                  <a:lnTo>
                    <a:pt x="4147" y="1970"/>
                  </a:lnTo>
                  <a:lnTo>
                    <a:pt x="4147" y="1970"/>
                  </a:lnTo>
                  <a:lnTo>
                    <a:pt x="4250" y="1970"/>
                  </a:lnTo>
                  <a:lnTo>
                    <a:pt x="4320" y="1867"/>
                  </a:lnTo>
                  <a:lnTo>
                    <a:pt x="4354" y="1763"/>
                  </a:lnTo>
                  <a:lnTo>
                    <a:pt x="4389" y="1625"/>
                  </a:lnTo>
                  <a:lnTo>
                    <a:pt x="4389" y="346"/>
                  </a:lnTo>
                  <a:lnTo>
                    <a:pt x="4389" y="346"/>
                  </a:lnTo>
                  <a:lnTo>
                    <a:pt x="4354" y="208"/>
                  </a:lnTo>
                  <a:lnTo>
                    <a:pt x="4320" y="104"/>
                  </a:lnTo>
                  <a:lnTo>
                    <a:pt x="4250" y="35"/>
                  </a:lnTo>
                  <a:lnTo>
                    <a:pt x="414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6" name="Google Shape;1463;p16">
              <a:extLst>
                <a:ext uri="{FF2B5EF4-FFF2-40B4-BE49-F238E27FC236}">
                  <a16:creationId xmlns:a16="http://schemas.microsoft.com/office/drawing/2014/main" id="{04335A1A-F6E3-9984-E7AC-FFBC4FC1AC95}"/>
                </a:ext>
              </a:extLst>
            </p:cNvPr>
            <p:cNvSpPr/>
            <p:nvPr/>
          </p:nvSpPr>
          <p:spPr>
            <a:xfrm>
              <a:off x="2210900" y="2406525"/>
              <a:ext cx="102825" cy="49275"/>
            </a:xfrm>
            <a:custGeom>
              <a:avLst/>
              <a:gdLst/>
              <a:ahLst/>
              <a:cxnLst/>
              <a:rect l="l" t="t" r="r" b="b"/>
              <a:pathLst>
                <a:path w="4113" h="1971" extrusionOk="0">
                  <a:moveTo>
                    <a:pt x="380" y="1"/>
                  </a:moveTo>
                  <a:lnTo>
                    <a:pt x="242" y="35"/>
                  </a:lnTo>
                  <a:lnTo>
                    <a:pt x="104" y="104"/>
                  </a:lnTo>
                  <a:lnTo>
                    <a:pt x="35" y="208"/>
                  </a:lnTo>
                  <a:lnTo>
                    <a:pt x="0" y="346"/>
                  </a:lnTo>
                  <a:lnTo>
                    <a:pt x="0" y="1625"/>
                  </a:lnTo>
                  <a:lnTo>
                    <a:pt x="35" y="1763"/>
                  </a:lnTo>
                  <a:lnTo>
                    <a:pt x="104" y="1867"/>
                  </a:lnTo>
                  <a:lnTo>
                    <a:pt x="242" y="1970"/>
                  </a:lnTo>
                  <a:lnTo>
                    <a:pt x="3905" y="1970"/>
                  </a:lnTo>
                  <a:lnTo>
                    <a:pt x="4009" y="1867"/>
                  </a:lnTo>
                  <a:lnTo>
                    <a:pt x="4078" y="1763"/>
                  </a:lnTo>
                  <a:lnTo>
                    <a:pt x="4112" y="1625"/>
                  </a:lnTo>
                  <a:lnTo>
                    <a:pt x="4112" y="346"/>
                  </a:lnTo>
                  <a:lnTo>
                    <a:pt x="4078" y="208"/>
                  </a:lnTo>
                  <a:lnTo>
                    <a:pt x="4009" y="104"/>
                  </a:lnTo>
                  <a:lnTo>
                    <a:pt x="3905" y="35"/>
                  </a:lnTo>
                  <a:lnTo>
                    <a:pt x="3767" y="1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7" name="Google Shape;1464;p16">
              <a:extLst>
                <a:ext uri="{FF2B5EF4-FFF2-40B4-BE49-F238E27FC236}">
                  <a16:creationId xmlns:a16="http://schemas.microsoft.com/office/drawing/2014/main" id="{8C7CF060-B9B1-96C1-ECFA-0D7D15DFDC6C}"/>
                </a:ext>
              </a:extLst>
            </p:cNvPr>
            <p:cNvSpPr/>
            <p:nvPr/>
          </p:nvSpPr>
          <p:spPr>
            <a:xfrm>
              <a:off x="2210900" y="2406525"/>
              <a:ext cx="102825" cy="49275"/>
            </a:xfrm>
            <a:custGeom>
              <a:avLst/>
              <a:gdLst/>
              <a:ahLst/>
              <a:cxnLst/>
              <a:rect l="l" t="t" r="r" b="b"/>
              <a:pathLst>
                <a:path w="4113" h="1971" fill="none" extrusionOk="0">
                  <a:moveTo>
                    <a:pt x="3767" y="1"/>
                  </a:moveTo>
                  <a:lnTo>
                    <a:pt x="380" y="1"/>
                  </a:lnTo>
                  <a:lnTo>
                    <a:pt x="380" y="1"/>
                  </a:lnTo>
                  <a:lnTo>
                    <a:pt x="242" y="35"/>
                  </a:lnTo>
                  <a:lnTo>
                    <a:pt x="104" y="104"/>
                  </a:lnTo>
                  <a:lnTo>
                    <a:pt x="35" y="208"/>
                  </a:lnTo>
                  <a:lnTo>
                    <a:pt x="0" y="346"/>
                  </a:lnTo>
                  <a:lnTo>
                    <a:pt x="0" y="1625"/>
                  </a:lnTo>
                  <a:lnTo>
                    <a:pt x="0" y="1625"/>
                  </a:lnTo>
                  <a:lnTo>
                    <a:pt x="35" y="1763"/>
                  </a:lnTo>
                  <a:lnTo>
                    <a:pt x="104" y="1867"/>
                  </a:lnTo>
                  <a:lnTo>
                    <a:pt x="242" y="1970"/>
                  </a:lnTo>
                  <a:lnTo>
                    <a:pt x="380" y="1970"/>
                  </a:lnTo>
                  <a:lnTo>
                    <a:pt x="3767" y="1970"/>
                  </a:lnTo>
                  <a:lnTo>
                    <a:pt x="3767" y="1970"/>
                  </a:lnTo>
                  <a:lnTo>
                    <a:pt x="3905" y="1970"/>
                  </a:lnTo>
                  <a:lnTo>
                    <a:pt x="4009" y="1867"/>
                  </a:lnTo>
                  <a:lnTo>
                    <a:pt x="4078" y="1763"/>
                  </a:lnTo>
                  <a:lnTo>
                    <a:pt x="4112" y="1625"/>
                  </a:lnTo>
                  <a:lnTo>
                    <a:pt x="4112" y="346"/>
                  </a:lnTo>
                  <a:lnTo>
                    <a:pt x="4112" y="346"/>
                  </a:lnTo>
                  <a:lnTo>
                    <a:pt x="4078" y="208"/>
                  </a:lnTo>
                  <a:lnTo>
                    <a:pt x="4009" y="104"/>
                  </a:lnTo>
                  <a:lnTo>
                    <a:pt x="3905" y="35"/>
                  </a:lnTo>
                  <a:lnTo>
                    <a:pt x="376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8" name="Google Shape;1465;p16">
              <a:extLst>
                <a:ext uri="{FF2B5EF4-FFF2-40B4-BE49-F238E27FC236}">
                  <a16:creationId xmlns:a16="http://schemas.microsoft.com/office/drawing/2014/main" id="{9E654106-856C-6E89-1AED-89B1B167AE87}"/>
                </a:ext>
              </a:extLst>
            </p:cNvPr>
            <p:cNvSpPr/>
            <p:nvPr/>
          </p:nvSpPr>
          <p:spPr>
            <a:xfrm>
              <a:off x="3308050" y="1624700"/>
              <a:ext cx="127900" cy="193525"/>
            </a:xfrm>
            <a:custGeom>
              <a:avLst/>
              <a:gdLst/>
              <a:ahLst/>
              <a:cxnLst/>
              <a:rect l="l" t="t" r="r" b="b"/>
              <a:pathLst>
                <a:path w="5116" h="7741" extrusionOk="0">
                  <a:moveTo>
                    <a:pt x="243" y="0"/>
                  </a:moveTo>
                  <a:lnTo>
                    <a:pt x="139" y="35"/>
                  </a:lnTo>
                  <a:lnTo>
                    <a:pt x="70" y="69"/>
                  </a:lnTo>
                  <a:lnTo>
                    <a:pt x="35" y="138"/>
                  </a:lnTo>
                  <a:lnTo>
                    <a:pt x="1" y="207"/>
                  </a:lnTo>
                  <a:lnTo>
                    <a:pt x="35" y="276"/>
                  </a:lnTo>
                  <a:lnTo>
                    <a:pt x="70" y="346"/>
                  </a:lnTo>
                  <a:lnTo>
                    <a:pt x="139" y="415"/>
                  </a:lnTo>
                  <a:lnTo>
                    <a:pt x="208" y="415"/>
                  </a:lnTo>
                  <a:lnTo>
                    <a:pt x="2696" y="587"/>
                  </a:lnTo>
                  <a:lnTo>
                    <a:pt x="3249" y="2488"/>
                  </a:lnTo>
                  <a:lnTo>
                    <a:pt x="3906" y="4769"/>
                  </a:lnTo>
                  <a:lnTo>
                    <a:pt x="4700" y="7568"/>
                  </a:lnTo>
                  <a:lnTo>
                    <a:pt x="4735" y="7637"/>
                  </a:lnTo>
                  <a:lnTo>
                    <a:pt x="4770" y="7706"/>
                  </a:lnTo>
                  <a:lnTo>
                    <a:pt x="4839" y="7741"/>
                  </a:lnTo>
                  <a:lnTo>
                    <a:pt x="4942" y="7741"/>
                  </a:lnTo>
                  <a:lnTo>
                    <a:pt x="5046" y="7706"/>
                  </a:lnTo>
                  <a:lnTo>
                    <a:pt x="5081" y="7637"/>
                  </a:lnTo>
                  <a:lnTo>
                    <a:pt x="5115" y="7568"/>
                  </a:lnTo>
                  <a:lnTo>
                    <a:pt x="5115" y="7464"/>
                  </a:lnTo>
                  <a:lnTo>
                    <a:pt x="4286" y="4561"/>
                  </a:lnTo>
                  <a:lnTo>
                    <a:pt x="3595" y="2177"/>
                  </a:lnTo>
                  <a:lnTo>
                    <a:pt x="3042" y="311"/>
                  </a:lnTo>
                  <a:lnTo>
                    <a:pt x="2973" y="207"/>
                  </a:lnTo>
                  <a:lnTo>
                    <a:pt x="2834" y="173"/>
                  </a:lnTo>
                  <a:lnTo>
                    <a:pt x="243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9" name="Google Shape;1466;p16">
              <a:extLst>
                <a:ext uri="{FF2B5EF4-FFF2-40B4-BE49-F238E27FC236}">
                  <a16:creationId xmlns:a16="http://schemas.microsoft.com/office/drawing/2014/main" id="{A403EE37-E0CA-41C9-7C64-D5AE43A34CF7}"/>
                </a:ext>
              </a:extLst>
            </p:cNvPr>
            <p:cNvSpPr/>
            <p:nvPr/>
          </p:nvSpPr>
          <p:spPr>
            <a:xfrm>
              <a:off x="3462700" y="1795750"/>
              <a:ext cx="85550" cy="41475"/>
            </a:xfrm>
            <a:custGeom>
              <a:avLst/>
              <a:gdLst/>
              <a:ahLst/>
              <a:cxnLst/>
              <a:rect l="l" t="t" r="r" b="b"/>
              <a:pathLst>
                <a:path w="3422" h="1659" extrusionOk="0">
                  <a:moveTo>
                    <a:pt x="208" y="0"/>
                  </a:moveTo>
                  <a:lnTo>
                    <a:pt x="104" y="69"/>
                  </a:lnTo>
                  <a:lnTo>
                    <a:pt x="35" y="173"/>
                  </a:lnTo>
                  <a:lnTo>
                    <a:pt x="0" y="311"/>
                  </a:lnTo>
                  <a:lnTo>
                    <a:pt x="0" y="1348"/>
                  </a:lnTo>
                  <a:lnTo>
                    <a:pt x="35" y="1452"/>
                  </a:lnTo>
                  <a:lnTo>
                    <a:pt x="104" y="1555"/>
                  </a:lnTo>
                  <a:lnTo>
                    <a:pt x="208" y="1624"/>
                  </a:lnTo>
                  <a:lnTo>
                    <a:pt x="311" y="1659"/>
                  </a:lnTo>
                  <a:lnTo>
                    <a:pt x="3145" y="1659"/>
                  </a:lnTo>
                  <a:lnTo>
                    <a:pt x="3249" y="1624"/>
                  </a:lnTo>
                  <a:lnTo>
                    <a:pt x="3352" y="1555"/>
                  </a:lnTo>
                  <a:lnTo>
                    <a:pt x="3421" y="1452"/>
                  </a:lnTo>
                  <a:lnTo>
                    <a:pt x="3421" y="1348"/>
                  </a:lnTo>
                  <a:lnTo>
                    <a:pt x="3421" y="311"/>
                  </a:lnTo>
                  <a:lnTo>
                    <a:pt x="3421" y="173"/>
                  </a:lnTo>
                  <a:lnTo>
                    <a:pt x="3352" y="69"/>
                  </a:lnTo>
                  <a:lnTo>
                    <a:pt x="3249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" name="Google Shape;1467;p16">
              <a:extLst>
                <a:ext uri="{FF2B5EF4-FFF2-40B4-BE49-F238E27FC236}">
                  <a16:creationId xmlns:a16="http://schemas.microsoft.com/office/drawing/2014/main" id="{D33EA757-7454-1E2D-8C7D-D4D68A645973}"/>
                </a:ext>
              </a:extLst>
            </p:cNvPr>
            <p:cNvSpPr/>
            <p:nvPr/>
          </p:nvSpPr>
          <p:spPr>
            <a:xfrm>
              <a:off x="3462700" y="1795750"/>
              <a:ext cx="85550" cy="41475"/>
            </a:xfrm>
            <a:custGeom>
              <a:avLst/>
              <a:gdLst/>
              <a:ahLst/>
              <a:cxnLst/>
              <a:rect l="l" t="t" r="r" b="b"/>
              <a:pathLst>
                <a:path w="3422" h="1659" fill="none" extrusionOk="0">
                  <a:moveTo>
                    <a:pt x="3145" y="0"/>
                  </a:moveTo>
                  <a:lnTo>
                    <a:pt x="311" y="0"/>
                  </a:lnTo>
                  <a:lnTo>
                    <a:pt x="311" y="0"/>
                  </a:lnTo>
                  <a:lnTo>
                    <a:pt x="208" y="0"/>
                  </a:lnTo>
                  <a:lnTo>
                    <a:pt x="104" y="69"/>
                  </a:lnTo>
                  <a:lnTo>
                    <a:pt x="35" y="173"/>
                  </a:lnTo>
                  <a:lnTo>
                    <a:pt x="0" y="311"/>
                  </a:lnTo>
                  <a:lnTo>
                    <a:pt x="0" y="1348"/>
                  </a:lnTo>
                  <a:lnTo>
                    <a:pt x="0" y="1348"/>
                  </a:lnTo>
                  <a:lnTo>
                    <a:pt x="35" y="1452"/>
                  </a:lnTo>
                  <a:lnTo>
                    <a:pt x="104" y="1555"/>
                  </a:lnTo>
                  <a:lnTo>
                    <a:pt x="208" y="1624"/>
                  </a:lnTo>
                  <a:lnTo>
                    <a:pt x="311" y="1659"/>
                  </a:lnTo>
                  <a:lnTo>
                    <a:pt x="3145" y="1659"/>
                  </a:lnTo>
                  <a:lnTo>
                    <a:pt x="3145" y="1659"/>
                  </a:lnTo>
                  <a:lnTo>
                    <a:pt x="3249" y="1624"/>
                  </a:lnTo>
                  <a:lnTo>
                    <a:pt x="3352" y="1555"/>
                  </a:lnTo>
                  <a:lnTo>
                    <a:pt x="3421" y="1452"/>
                  </a:lnTo>
                  <a:lnTo>
                    <a:pt x="3421" y="1348"/>
                  </a:lnTo>
                  <a:lnTo>
                    <a:pt x="3421" y="311"/>
                  </a:lnTo>
                  <a:lnTo>
                    <a:pt x="3421" y="311"/>
                  </a:lnTo>
                  <a:lnTo>
                    <a:pt x="3421" y="173"/>
                  </a:lnTo>
                  <a:lnTo>
                    <a:pt x="3352" y="69"/>
                  </a:lnTo>
                  <a:lnTo>
                    <a:pt x="3249" y="0"/>
                  </a:lnTo>
                  <a:lnTo>
                    <a:pt x="314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1468;p16">
              <a:extLst>
                <a:ext uri="{FF2B5EF4-FFF2-40B4-BE49-F238E27FC236}">
                  <a16:creationId xmlns:a16="http://schemas.microsoft.com/office/drawing/2014/main" id="{2B7518F3-496A-6E74-4307-84A3C5806945}"/>
                </a:ext>
              </a:extLst>
            </p:cNvPr>
            <p:cNvSpPr/>
            <p:nvPr/>
          </p:nvSpPr>
          <p:spPr>
            <a:xfrm>
              <a:off x="3576725" y="1794025"/>
              <a:ext cx="149500" cy="41475"/>
            </a:xfrm>
            <a:custGeom>
              <a:avLst/>
              <a:gdLst/>
              <a:ahLst/>
              <a:cxnLst/>
              <a:rect l="l" t="t" r="r" b="b"/>
              <a:pathLst>
                <a:path w="5980" h="1659" extrusionOk="0">
                  <a:moveTo>
                    <a:pt x="346" y="0"/>
                  </a:moveTo>
                  <a:lnTo>
                    <a:pt x="208" y="35"/>
                  </a:lnTo>
                  <a:lnTo>
                    <a:pt x="104" y="104"/>
                  </a:lnTo>
                  <a:lnTo>
                    <a:pt x="35" y="207"/>
                  </a:lnTo>
                  <a:lnTo>
                    <a:pt x="1" y="346"/>
                  </a:lnTo>
                  <a:lnTo>
                    <a:pt x="1" y="1313"/>
                  </a:lnTo>
                  <a:lnTo>
                    <a:pt x="35" y="1451"/>
                  </a:lnTo>
                  <a:lnTo>
                    <a:pt x="104" y="1555"/>
                  </a:lnTo>
                  <a:lnTo>
                    <a:pt x="208" y="1624"/>
                  </a:lnTo>
                  <a:lnTo>
                    <a:pt x="346" y="1659"/>
                  </a:lnTo>
                  <a:lnTo>
                    <a:pt x="5633" y="1659"/>
                  </a:lnTo>
                  <a:lnTo>
                    <a:pt x="5772" y="1624"/>
                  </a:lnTo>
                  <a:lnTo>
                    <a:pt x="5875" y="1555"/>
                  </a:lnTo>
                  <a:lnTo>
                    <a:pt x="5944" y="1451"/>
                  </a:lnTo>
                  <a:lnTo>
                    <a:pt x="5979" y="1313"/>
                  </a:lnTo>
                  <a:lnTo>
                    <a:pt x="5979" y="346"/>
                  </a:lnTo>
                  <a:lnTo>
                    <a:pt x="5944" y="207"/>
                  </a:lnTo>
                  <a:lnTo>
                    <a:pt x="5875" y="104"/>
                  </a:lnTo>
                  <a:lnTo>
                    <a:pt x="5772" y="35"/>
                  </a:lnTo>
                  <a:lnTo>
                    <a:pt x="5633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" name="Google Shape;1469;p16">
              <a:extLst>
                <a:ext uri="{FF2B5EF4-FFF2-40B4-BE49-F238E27FC236}">
                  <a16:creationId xmlns:a16="http://schemas.microsoft.com/office/drawing/2014/main" id="{CBA3E8B3-9671-3182-FCD0-AEDEF3356892}"/>
                </a:ext>
              </a:extLst>
            </p:cNvPr>
            <p:cNvSpPr/>
            <p:nvPr/>
          </p:nvSpPr>
          <p:spPr>
            <a:xfrm>
              <a:off x="3576725" y="1794025"/>
              <a:ext cx="149500" cy="41475"/>
            </a:xfrm>
            <a:custGeom>
              <a:avLst/>
              <a:gdLst/>
              <a:ahLst/>
              <a:cxnLst/>
              <a:rect l="l" t="t" r="r" b="b"/>
              <a:pathLst>
                <a:path w="5980" h="1659" fill="none" extrusionOk="0">
                  <a:moveTo>
                    <a:pt x="5633" y="0"/>
                  </a:moveTo>
                  <a:lnTo>
                    <a:pt x="346" y="0"/>
                  </a:lnTo>
                  <a:lnTo>
                    <a:pt x="346" y="0"/>
                  </a:lnTo>
                  <a:lnTo>
                    <a:pt x="208" y="35"/>
                  </a:lnTo>
                  <a:lnTo>
                    <a:pt x="104" y="104"/>
                  </a:lnTo>
                  <a:lnTo>
                    <a:pt x="35" y="207"/>
                  </a:lnTo>
                  <a:lnTo>
                    <a:pt x="1" y="346"/>
                  </a:lnTo>
                  <a:lnTo>
                    <a:pt x="1" y="1313"/>
                  </a:lnTo>
                  <a:lnTo>
                    <a:pt x="1" y="1313"/>
                  </a:lnTo>
                  <a:lnTo>
                    <a:pt x="35" y="1451"/>
                  </a:lnTo>
                  <a:lnTo>
                    <a:pt x="104" y="1555"/>
                  </a:lnTo>
                  <a:lnTo>
                    <a:pt x="208" y="1624"/>
                  </a:lnTo>
                  <a:lnTo>
                    <a:pt x="346" y="1659"/>
                  </a:lnTo>
                  <a:lnTo>
                    <a:pt x="5633" y="1659"/>
                  </a:lnTo>
                  <a:lnTo>
                    <a:pt x="5633" y="1659"/>
                  </a:lnTo>
                  <a:lnTo>
                    <a:pt x="5772" y="1624"/>
                  </a:lnTo>
                  <a:lnTo>
                    <a:pt x="5875" y="1555"/>
                  </a:lnTo>
                  <a:lnTo>
                    <a:pt x="5944" y="1451"/>
                  </a:lnTo>
                  <a:lnTo>
                    <a:pt x="5979" y="1313"/>
                  </a:lnTo>
                  <a:lnTo>
                    <a:pt x="5979" y="346"/>
                  </a:lnTo>
                  <a:lnTo>
                    <a:pt x="5979" y="346"/>
                  </a:lnTo>
                  <a:lnTo>
                    <a:pt x="5944" y="207"/>
                  </a:lnTo>
                  <a:lnTo>
                    <a:pt x="5875" y="104"/>
                  </a:lnTo>
                  <a:lnTo>
                    <a:pt x="5772" y="35"/>
                  </a:lnTo>
                  <a:lnTo>
                    <a:pt x="563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" name="Google Shape;1470;p16">
              <a:extLst>
                <a:ext uri="{FF2B5EF4-FFF2-40B4-BE49-F238E27FC236}">
                  <a16:creationId xmlns:a16="http://schemas.microsoft.com/office/drawing/2014/main" id="{E2512C87-686B-3AF3-C1B0-418164A084E8}"/>
                </a:ext>
              </a:extLst>
            </p:cNvPr>
            <p:cNvSpPr/>
            <p:nvPr/>
          </p:nvSpPr>
          <p:spPr>
            <a:xfrm>
              <a:off x="3784075" y="1794025"/>
              <a:ext cx="137375" cy="41475"/>
            </a:xfrm>
            <a:custGeom>
              <a:avLst/>
              <a:gdLst/>
              <a:ahLst/>
              <a:cxnLst/>
              <a:rect l="l" t="t" r="r" b="b"/>
              <a:pathLst>
                <a:path w="5495" h="1659" extrusionOk="0">
                  <a:moveTo>
                    <a:pt x="311" y="0"/>
                  </a:moveTo>
                  <a:lnTo>
                    <a:pt x="173" y="35"/>
                  </a:lnTo>
                  <a:lnTo>
                    <a:pt x="69" y="104"/>
                  </a:lnTo>
                  <a:lnTo>
                    <a:pt x="35" y="207"/>
                  </a:lnTo>
                  <a:lnTo>
                    <a:pt x="0" y="311"/>
                  </a:lnTo>
                  <a:lnTo>
                    <a:pt x="0" y="1348"/>
                  </a:lnTo>
                  <a:lnTo>
                    <a:pt x="35" y="1486"/>
                  </a:lnTo>
                  <a:lnTo>
                    <a:pt x="69" y="1590"/>
                  </a:lnTo>
                  <a:lnTo>
                    <a:pt x="173" y="1624"/>
                  </a:lnTo>
                  <a:lnTo>
                    <a:pt x="311" y="1659"/>
                  </a:lnTo>
                  <a:lnTo>
                    <a:pt x="5218" y="1659"/>
                  </a:lnTo>
                  <a:lnTo>
                    <a:pt x="5322" y="1624"/>
                  </a:lnTo>
                  <a:lnTo>
                    <a:pt x="5426" y="1590"/>
                  </a:lnTo>
                  <a:lnTo>
                    <a:pt x="5495" y="1486"/>
                  </a:lnTo>
                  <a:lnTo>
                    <a:pt x="5495" y="1348"/>
                  </a:lnTo>
                  <a:lnTo>
                    <a:pt x="5495" y="311"/>
                  </a:lnTo>
                  <a:lnTo>
                    <a:pt x="5495" y="207"/>
                  </a:lnTo>
                  <a:lnTo>
                    <a:pt x="5426" y="104"/>
                  </a:lnTo>
                  <a:lnTo>
                    <a:pt x="5322" y="35"/>
                  </a:lnTo>
                  <a:lnTo>
                    <a:pt x="5218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Google Shape;1471;p16">
              <a:extLst>
                <a:ext uri="{FF2B5EF4-FFF2-40B4-BE49-F238E27FC236}">
                  <a16:creationId xmlns:a16="http://schemas.microsoft.com/office/drawing/2014/main" id="{B35F2F92-9729-9A58-0871-1B3E3DD9EC11}"/>
                </a:ext>
              </a:extLst>
            </p:cNvPr>
            <p:cNvSpPr/>
            <p:nvPr/>
          </p:nvSpPr>
          <p:spPr>
            <a:xfrm>
              <a:off x="3784075" y="1794025"/>
              <a:ext cx="137375" cy="41475"/>
            </a:xfrm>
            <a:custGeom>
              <a:avLst/>
              <a:gdLst/>
              <a:ahLst/>
              <a:cxnLst/>
              <a:rect l="l" t="t" r="r" b="b"/>
              <a:pathLst>
                <a:path w="5495" h="1659" fill="none" extrusionOk="0">
                  <a:moveTo>
                    <a:pt x="5218" y="0"/>
                  </a:moveTo>
                  <a:lnTo>
                    <a:pt x="311" y="0"/>
                  </a:lnTo>
                  <a:lnTo>
                    <a:pt x="311" y="0"/>
                  </a:lnTo>
                  <a:lnTo>
                    <a:pt x="173" y="35"/>
                  </a:lnTo>
                  <a:lnTo>
                    <a:pt x="69" y="104"/>
                  </a:lnTo>
                  <a:lnTo>
                    <a:pt x="35" y="207"/>
                  </a:lnTo>
                  <a:lnTo>
                    <a:pt x="0" y="311"/>
                  </a:lnTo>
                  <a:lnTo>
                    <a:pt x="0" y="1348"/>
                  </a:lnTo>
                  <a:lnTo>
                    <a:pt x="0" y="1348"/>
                  </a:lnTo>
                  <a:lnTo>
                    <a:pt x="35" y="1486"/>
                  </a:lnTo>
                  <a:lnTo>
                    <a:pt x="69" y="1590"/>
                  </a:lnTo>
                  <a:lnTo>
                    <a:pt x="173" y="1624"/>
                  </a:lnTo>
                  <a:lnTo>
                    <a:pt x="311" y="1659"/>
                  </a:lnTo>
                  <a:lnTo>
                    <a:pt x="5218" y="1659"/>
                  </a:lnTo>
                  <a:lnTo>
                    <a:pt x="5218" y="1659"/>
                  </a:lnTo>
                  <a:lnTo>
                    <a:pt x="5322" y="1624"/>
                  </a:lnTo>
                  <a:lnTo>
                    <a:pt x="5426" y="1590"/>
                  </a:lnTo>
                  <a:lnTo>
                    <a:pt x="5495" y="1486"/>
                  </a:lnTo>
                  <a:lnTo>
                    <a:pt x="5495" y="1348"/>
                  </a:lnTo>
                  <a:lnTo>
                    <a:pt x="5495" y="311"/>
                  </a:lnTo>
                  <a:lnTo>
                    <a:pt x="5495" y="311"/>
                  </a:lnTo>
                  <a:lnTo>
                    <a:pt x="5495" y="207"/>
                  </a:lnTo>
                  <a:lnTo>
                    <a:pt x="5426" y="104"/>
                  </a:lnTo>
                  <a:lnTo>
                    <a:pt x="5322" y="35"/>
                  </a:lnTo>
                  <a:lnTo>
                    <a:pt x="521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5" name="Google Shape;1472;p16">
              <a:extLst>
                <a:ext uri="{FF2B5EF4-FFF2-40B4-BE49-F238E27FC236}">
                  <a16:creationId xmlns:a16="http://schemas.microsoft.com/office/drawing/2014/main" id="{E292F75B-1D52-5ED1-1727-7B39B9E7B87B}"/>
                </a:ext>
              </a:extLst>
            </p:cNvPr>
            <p:cNvSpPr/>
            <p:nvPr/>
          </p:nvSpPr>
          <p:spPr>
            <a:xfrm>
              <a:off x="2479575" y="3152075"/>
              <a:ext cx="228950" cy="151225"/>
            </a:xfrm>
            <a:custGeom>
              <a:avLst/>
              <a:gdLst/>
              <a:ahLst/>
              <a:cxnLst/>
              <a:rect l="l" t="t" r="r" b="b"/>
              <a:pathLst>
                <a:path w="9158" h="6049" extrusionOk="0">
                  <a:moveTo>
                    <a:pt x="208" y="1"/>
                  </a:moveTo>
                  <a:lnTo>
                    <a:pt x="104" y="35"/>
                  </a:lnTo>
                  <a:lnTo>
                    <a:pt x="35" y="70"/>
                  </a:lnTo>
                  <a:lnTo>
                    <a:pt x="0" y="139"/>
                  </a:lnTo>
                  <a:lnTo>
                    <a:pt x="0" y="208"/>
                  </a:lnTo>
                  <a:lnTo>
                    <a:pt x="0" y="312"/>
                  </a:lnTo>
                  <a:lnTo>
                    <a:pt x="35" y="381"/>
                  </a:lnTo>
                  <a:lnTo>
                    <a:pt x="104" y="415"/>
                  </a:lnTo>
                  <a:lnTo>
                    <a:pt x="5045" y="415"/>
                  </a:lnTo>
                  <a:lnTo>
                    <a:pt x="8778" y="5944"/>
                  </a:lnTo>
                  <a:lnTo>
                    <a:pt x="8881" y="6014"/>
                  </a:lnTo>
                  <a:lnTo>
                    <a:pt x="8950" y="6048"/>
                  </a:lnTo>
                  <a:lnTo>
                    <a:pt x="9089" y="6014"/>
                  </a:lnTo>
                  <a:lnTo>
                    <a:pt x="9158" y="5944"/>
                  </a:lnTo>
                  <a:lnTo>
                    <a:pt x="9158" y="5875"/>
                  </a:lnTo>
                  <a:lnTo>
                    <a:pt x="9158" y="5806"/>
                  </a:lnTo>
                  <a:lnTo>
                    <a:pt x="9158" y="5703"/>
                  </a:lnTo>
                  <a:lnTo>
                    <a:pt x="5356" y="104"/>
                  </a:lnTo>
                  <a:lnTo>
                    <a:pt x="5287" y="35"/>
                  </a:lnTo>
                  <a:lnTo>
                    <a:pt x="5184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6" name="Google Shape;1473;p16">
              <a:extLst>
                <a:ext uri="{FF2B5EF4-FFF2-40B4-BE49-F238E27FC236}">
                  <a16:creationId xmlns:a16="http://schemas.microsoft.com/office/drawing/2014/main" id="{B798E834-B7F5-39A5-12A7-5C244FD663C1}"/>
                </a:ext>
              </a:extLst>
            </p:cNvPr>
            <p:cNvSpPr/>
            <p:nvPr/>
          </p:nvSpPr>
          <p:spPr>
            <a:xfrm>
              <a:off x="2011325" y="3137400"/>
              <a:ext cx="144300" cy="39750"/>
            </a:xfrm>
            <a:custGeom>
              <a:avLst/>
              <a:gdLst/>
              <a:ahLst/>
              <a:cxnLst/>
              <a:rect l="l" t="t" r="r" b="b"/>
              <a:pathLst>
                <a:path w="5772" h="1590" extrusionOk="0">
                  <a:moveTo>
                    <a:pt x="346" y="0"/>
                  </a:moveTo>
                  <a:lnTo>
                    <a:pt x="208" y="35"/>
                  </a:lnTo>
                  <a:lnTo>
                    <a:pt x="104" y="104"/>
                  </a:lnTo>
                  <a:lnTo>
                    <a:pt x="35" y="208"/>
                  </a:lnTo>
                  <a:lnTo>
                    <a:pt x="1" y="346"/>
                  </a:lnTo>
                  <a:lnTo>
                    <a:pt x="1" y="1279"/>
                  </a:lnTo>
                  <a:lnTo>
                    <a:pt x="35" y="1417"/>
                  </a:lnTo>
                  <a:lnTo>
                    <a:pt x="104" y="1521"/>
                  </a:lnTo>
                  <a:lnTo>
                    <a:pt x="208" y="1590"/>
                  </a:lnTo>
                  <a:lnTo>
                    <a:pt x="5564" y="1590"/>
                  </a:lnTo>
                  <a:lnTo>
                    <a:pt x="5668" y="1521"/>
                  </a:lnTo>
                  <a:lnTo>
                    <a:pt x="5737" y="1417"/>
                  </a:lnTo>
                  <a:lnTo>
                    <a:pt x="5772" y="1279"/>
                  </a:lnTo>
                  <a:lnTo>
                    <a:pt x="5772" y="346"/>
                  </a:lnTo>
                  <a:lnTo>
                    <a:pt x="5737" y="208"/>
                  </a:lnTo>
                  <a:lnTo>
                    <a:pt x="5668" y="104"/>
                  </a:lnTo>
                  <a:lnTo>
                    <a:pt x="5564" y="35"/>
                  </a:lnTo>
                  <a:lnTo>
                    <a:pt x="5461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" name="Google Shape;1474;p16">
              <a:extLst>
                <a:ext uri="{FF2B5EF4-FFF2-40B4-BE49-F238E27FC236}">
                  <a16:creationId xmlns:a16="http://schemas.microsoft.com/office/drawing/2014/main" id="{656E1B11-C915-1C62-3B50-F186D8412EED}"/>
                </a:ext>
              </a:extLst>
            </p:cNvPr>
            <p:cNvSpPr/>
            <p:nvPr/>
          </p:nvSpPr>
          <p:spPr>
            <a:xfrm>
              <a:off x="2011325" y="3137400"/>
              <a:ext cx="144300" cy="39750"/>
            </a:xfrm>
            <a:custGeom>
              <a:avLst/>
              <a:gdLst/>
              <a:ahLst/>
              <a:cxnLst/>
              <a:rect l="l" t="t" r="r" b="b"/>
              <a:pathLst>
                <a:path w="5772" h="1590" fill="none" extrusionOk="0">
                  <a:moveTo>
                    <a:pt x="5461" y="0"/>
                  </a:moveTo>
                  <a:lnTo>
                    <a:pt x="346" y="0"/>
                  </a:lnTo>
                  <a:lnTo>
                    <a:pt x="346" y="0"/>
                  </a:lnTo>
                  <a:lnTo>
                    <a:pt x="208" y="35"/>
                  </a:lnTo>
                  <a:lnTo>
                    <a:pt x="104" y="104"/>
                  </a:lnTo>
                  <a:lnTo>
                    <a:pt x="35" y="208"/>
                  </a:lnTo>
                  <a:lnTo>
                    <a:pt x="1" y="346"/>
                  </a:lnTo>
                  <a:lnTo>
                    <a:pt x="1" y="1279"/>
                  </a:lnTo>
                  <a:lnTo>
                    <a:pt x="1" y="1279"/>
                  </a:lnTo>
                  <a:lnTo>
                    <a:pt x="35" y="1417"/>
                  </a:lnTo>
                  <a:lnTo>
                    <a:pt x="104" y="1521"/>
                  </a:lnTo>
                  <a:lnTo>
                    <a:pt x="208" y="1590"/>
                  </a:lnTo>
                  <a:lnTo>
                    <a:pt x="346" y="1590"/>
                  </a:lnTo>
                  <a:lnTo>
                    <a:pt x="5461" y="1590"/>
                  </a:lnTo>
                  <a:lnTo>
                    <a:pt x="5461" y="1590"/>
                  </a:lnTo>
                  <a:lnTo>
                    <a:pt x="5564" y="1590"/>
                  </a:lnTo>
                  <a:lnTo>
                    <a:pt x="5668" y="1521"/>
                  </a:lnTo>
                  <a:lnTo>
                    <a:pt x="5737" y="1417"/>
                  </a:lnTo>
                  <a:lnTo>
                    <a:pt x="5772" y="1279"/>
                  </a:lnTo>
                  <a:lnTo>
                    <a:pt x="5772" y="346"/>
                  </a:lnTo>
                  <a:lnTo>
                    <a:pt x="5772" y="346"/>
                  </a:lnTo>
                  <a:lnTo>
                    <a:pt x="5737" y="208"/>
                  </a:lnTo>
                  <a:lnTo>
                    <a:pt x="5668" y="104"/>
                  </a:lnTo>
                  <a:lnTo>
                    <a:pt x="5564" y="35"/>
                  </a:lnTo>
                  <a:lnTo>
                    <a:pt x="546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" name="Google Shape;1475;p16">
              <a:extLst>
                <a:ext uri="{FF2B5EF4-FFF2-40B4-BE49-F238E27FC236}">
                  <a16:creationId xmlns:a16="http://schemas.microsoft.com/office/drawing/2014/main" id="{A42F38A6-38FF-7CE6-CB92-C9036D706850}"/>
                </a:ext>
              </a:extLst>
            </p:cNvPr>
            <p:cNvSpPr/>
            <p:nvPr/>
          </p:nvSpPr>
          <p:spPr>
            <a:xfrm>
              <a:off x="2207425" y="3137400"/>
              <a:ext cx="132225" cy="39750"/>
            </a:xfrm>
            <a:custGeom>
              <a:avLst/>
              <a:gdLst/>
              <a:ahLst/>
              <a:cxnLst/>
              <a:rect l="l" t="t" r="r" b="b"/>
              <a:pathLst>
                <a:path w="5289" h="1590" extrusionOk="0">
                  <a:moveTo>
                    <a:pt x="277" y="0"/>
                  </a:moveTo>
                  <a:lnTo>
                    <a:pt x="174" y="35"/>
                  </a:lnTo>
                  <a:lnTo>
                    <a:pt x="70" y="104"/>
                  </a:lnTo>
                  <a:lnTo>
                    <a:pt x="1" y="173"/>
                  </a:lnTo>
                  <a:lnTo>
                    <a:pt x="1" y="311"/>
                  </a:lnTo>
                  <a:lnTo>
                    <a:pt x="1" y="1313"/>
                  </a:lnTo>
                  <a:lnTo>
                    <a:pt x="1" y="1417"/>
                  </a:lnTo>
                  <a:lnTo>
                    <a:pt x="70" y="1521"/>
                  </a:lnTo>
                  <a:lnTo>
                    <a:pt x="174" y="1590"/>
                  </a:lnTo>
                  <a:lnTo>
                    <a:pt x="5115" y="1590"/>
                  </a:lnTo>
                  <a:lnTo>
                    <a:pt x="5219" y="1521"/>
                  </a:lnTo>
                  <a:lnTo>
                    <a:pt x="5288" y="1417"/>
                  </a:lnTo>
                  <a:lnTo>
                    <a:pt x="5288" y="1313"/>
                  </a:lnTo>
                  <a:lnTo>
                    <a:pt x="5288" y="311"/>
                  </a:lnTo>
                  <a:lnTo>
                    <a:pt x="5288" y="173"/>
                  </a:lnTo>
                  <a:lnTo>
                    <a:pt x="5219" y="104"/>
                  </a:lnTo>
                  <a:lnTo>
                    <a:pt x="5115" y="35"/>
                  </a:lnTo>
                  <a:lnTo>
                    <a:pt x="5012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" name="Google Shape;1476;p16">
              <a:extLst>
                <a:ext uri="{FF2B5EF4-FFF2-40B4-BE49-F238E27FC236}">
                  <a16:creationId xmlns:a16="http://schemas.microsoft.com/office/drawing/2014/main" id="{01B39147-4853-1951-6DE8-E6456F972D1F}"/>
                </a:ext>
              </a:extLst>
            </p:cNvPr>
            <p:cNvSpPr/>
            <p:nvPr/>
          </p:nvSpPr>
          <p:spPr>
            <a:xfrm>
              <a:off x="2207425" y="3137400"/>
              <a:ext cx="132225" cy="39750"/>
            </a:xfrm>
            <a:custGeom>
              <a:avLst/>
              <a:gdLst/>
              <a:ahLst/>
              <a:cxnLst/>
              <a:rect l="l" t="t" r="r" b="b"/>
              <a:pathLst>
                <a:path w="5289" h="1590" fill="none" extrusionOk="0">
                  <a:moveTo>
                    <a:pt x="5012" y="0"/>
                  </a:moveTo>
                  <a:lnTo>
                    <a:pt x="277" y="0"/>
                  </a:lnTo>
                  <a:lnTo>
                    <a:pt x="277" y="0"/>
                  </a:lnTo>
                  <a:lnTo>
                    <a:pt x="174" y="35"/>
                  </a:lnTo>
                  <a:lnTo>
                    <a:pt x="70" y="104"/>
                  </a:lnTo>
                  <a:lnTo>
                    <a:pt x="1" y="173"/>
                  </a:lnTo>
                  <a:lnTo>
                    <a:pt x="1" y="311"/>
                  </a:lnTo>
                  <a:lnTo>
                    <a:pt x="1" y="1313"/>
                  </a:lnTo>
                  <a:lnTo>
                    <a:pt x="1" y="1313"/>
                  </a:lnTo>
                  <a:lnTo>
                    <a:pt x="1" y="1417"/>
                  </a:lnTo>
                  <a:lnTo>
                    <a:pt x="70" y="1521"/>
                  </a:lnTo>
                  <a:lnTo>
                    <a:pt x="174" y="1590"/>
                  </a:lnTo>
                  <a:lnTo>
                    <a:pt x="277" y="1590"/>
                  </a:lnTo>
                  <a:lnTo>
                    <a:pt x="5012" y="1590"/>
                  </a:lnTo>
                  <a:lnTo>
                    <a:pt x="5012" y="1590"/>
                  </a:lnTo>
                  <a:lnTo>
                    <a:pt x="5115" y="1590"/>
                  </a:lnTo>
                  <a:lnTo>
                    <a:pt x="5219" y="1521"/>
                  </a:lnTo>
                  <a:lnTo>
                    <a:pt x="5288" y="1417"/>
                  </a:lnTo>
                  <a:lnTo>
                    <a:pt x="5288" y="1313"/>
                  </a:lnTo>
                  <a:lnTo>
                    <a:pt x="5288" y="311"/>
                  </a:lnTo>
                  <a:lnTo>
                    <a:pt x="5288" y="311"/>
                  </a:lnTo>
                  <a:lnTo>
                    <a:pt x="5288" y="173"/>
                  </a:lnTo>
                  <a:lnTo>
                    <a:pt x="5219" y="104"/>
                  </a:lnTo>
                  <a:lnTo>
                    <a:pt x="5115" y="35"/>
                  </a:lnTo>
                  <a:lnTo>
                    <a:pt x="501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" name="Google Shape;1477;p16">
              <a:extLst>
                <a:ext uri="{FF2B5EF4-FFF2-40B4-BE49-F238E27FC236}">
                  <a16:creationId xmlns:a16="http://schemas.microsoft.com/office/drawing/2014/main" id="{BF227325-3C71-2802-2364-6532739B9946}"/>
                </a:ext>
              </a:extLst>
            </p:cNvPr>
            <p:cNvSpPr/>
            <p:nvPr/>
          </p:nvSpPr>
          <p:spPr>
            <a:xfrm>
              <a:off x="2354300" y="3137400"/>
              <a:ext cx="82950" cy="39750"/>
            </a:xfrm>
            <a:custGeom>
              <a:avLst/>
              <a:gdLst/>
              <a:ahLst/>
              <a:cxnLst/>
              <a:rect l="l" t="t" r="r" b="b"/>
              <a:pathLst>
                <a:path w="3318" h="1590" extrusionOk="0">
                  <a:moveTo>
                    <a:pt x="312" y="0"/>
                  </a:moveTo>
                  <a:lnTo>
                    <a:pt x="173" y="35"/>
                  </a:lnTo>
                  <a:lnTo>
                    <a:pt x="104" y="104"/>
                  </a:lnTo>
                  <a:lnTo>
                    <a:pt x="35" y="173"/>
                  </a:lnTo>
                  <a:lnTo>
                    <a:pt x="1" y="311"/>
                  </a:lnTo>
                  <a:lnTo>
                    <a:pt x="1" y="1313"/>
                  </a:lnTo>
                  <a:lnTo>
                    <a:pt x="35" y="1417"/>
                  </a:lnTo>
                  <a:lnTo>
                    <a:pt x="104" y="1521"/>
                  </a:lnTo>
                  <a:lnTo>
                    <a:pt x="173" y="1590"/>
                  </a:lnTo>
                  <a:lnTo>
                    <a:pt x="3111" y="1590"/>
                  </a:lnTo>
                  <a:lnTo>
                    <a:pt x="3214" y="1521"/>
                  </a:lnTo>
                  <a:lnTo>
                    <a:pt x="3283" y="1417"/>
                  </a:lnTo>
                  <a:lnTo>
                    <a:pt x="3318" y="1313"/>
                  </a:lnTo>
                  <a:lnTo>
                    <a:pt x="3318" y="311"/>
                  </a:lnTo>
                  <a:lnTo>
                    <a:pt x="3283" y="173"/>
                  </a:lnTo>
                  <a:lnTo>
                    <a:pt x="3214" y="104"/>
                  </a:lnTo>
                  <a:lnTo>
                    <a:pt x="3111" y="35"/>
                  </a:lnTo>
                  <a:lnTo>
                    <a:pt x="3007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" name="Google Shape;1478;p16">
              <a:extLst>
                <a:ext uri="{FF2B5EF4-FFF2-40B4-BE49-F238E27FC236}">
                  <a16:creationId xmlns:a16="http://schemas.microsoft.com/office/drawing/2014/main" id="{157681C0-B600-9689-B64F-16656F44050A}"/>
                </a:ext>
              </a:extLst>
            </p:cNvPr>
            <p:cNvSpPr/>
            <p:nvPr/>
          </p:nvSpPr>
          <p:spPr>
            <a:xfrm>
              <a:off x="2354300" y="3137400"/>
              <a:ext cx="82950" cy="39750"/>
            </a:xfrm>
            <a:custGeom>
              <a:avLst/>
              <a:gdLst/>
              <a:ahLst/>
              <a:cxnLst/>
              <a:rect l="l" t="t" r="r" b="b"/>
              <a:pathLst>
                <a:path w="3318" h="1590" fill="none" extrusionOk="0">
                  <a:moveTo>
                    <a:pt x="3007" y="0"/>
                  </a:moveTo>
                  <a:lnTo>
                    <a:pt x="312" y="0"/>
                  </a:lnTo>
                  <a:lnTo>
                    <a:pt x="312" y="0"/>
                  </a:lnTo>
                  <a:lnTo>
                    <a:pt x="173" y="35"/>
                  </a:lnTo>
                  <a:lnTo>
                    <a:pt x="104" y="104"/>
                  </a:lnTo>
                  <a:lnTo>
                    <a:pt x="35" y="173"/>
                  </a:lnTo>
                  <a:lnTo>
                    <a:pt x="1" y="311"/>
                  </a:lnTo>
                  <a:lnTo>
                    <a:pt x="1" y="1313"/>
                  </a:lnTo>
                  <a:lnTo>
                    <a:pt x="1" y="1313"/>
                  </a:lnTo>
                  <a:lnTo>
                    <a:pt x="35" y="1417"/>
                  </a:lnTo>
                  <a:lnTo>
                    <a:pt x="104" y="1521"/>
                  </a:lnTo>
                  <a:lnTo>
                    <a:pt x="173" y="1590"/>
                  </a:lnTo>
                  <a:lnTo>
                    <a:pt x="312" y="1590"/>
                  </a:lnTo>
                  <a:lnTo>
                    <a:pt x="3007" y="1590"/>
                  </a:lnTo>
                  <a:lnTo>
                    <a:pt x="3007" y="1590"/>
                  </a:lnTo>
                  <a:lnTo>
                    <a:pt x="3111" y="1590"/>
                  </a:lnTo>
                  <a:lnTo>
                    <a:pt x="3214" y="1521"/>
                  </a:lnTo>
                  <a:lnTo>
                    <a:pt x="3283" y="1417"/>
                  </a:lnTo>
                  <a:lnTo>
                    <a:pt x="3318" y="1313"/>
                  </a:lnTo>
                  <a:lnTo>
                    <a:pt x="3318" y="311"/>
                  </a:lnTo>
                  <a:lnTo>
                    <a:pt x="3318" y="311"/>
                  </a:lnTo>
                  <a:lnTo>
                    <a:pt x="3283" y="173"/>
                  </a:lnTo>
                  <a:lnTo>
                    <a:pt x="3214" y="104"/>
                  </a:lnTo>
                  <a:lnTo>
                    <a:pt x="3111" y="35"/>
                  </a:lnTo>
                  <a:lnTo>
                    <a:pt x="300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2" name="Google Shape;1479;p16">
              <a:extLst>
                <a:ext uri="{FF2B5EF4-FFF2-40B4-BE49-F238E27FC236}">
                  <a16:creationId xmlns:a16="http://schemas.microsoft.com/office/drawing/2014/main" id="{811F72A5-EE5D-D222-0A7D-DEF45F61CCB4}"/>
                </a:ext>
              </a:extLst>
            </p:cNvPr>
            <p:cNvSpPr/>
            <p:nvPr/>
          </p:nvSpPr>
          <p:spPr>
            <a:xfrm>
              <a:off x="3341750" y="3169350"/>
              <a:ext cx="82950" cy="254875"/>
            </a:xfrm>
            <a:custGeom>
              <a:avLst/>
              <a:gdLst/>
              <a:ahLst/>
              <a:cxnLst/>
              <a:rect l="l" t="t" r="r" b="b"/>
              <a:pathLst>
                <a:path w="3318" h="10195" extrusionOk="0">
                  <a:moveTo>
                    <a:pt x="208" y="1"/>
                  </a:moveTo>
                  <a:lnTo>
                    <a:pt x="139" y="35"/>
                  </a:lnTo>
                  <a:lnTo>
                    <a:pt x="70" y="70"/>
                  </a:lnTo>
                  <a:lnTo>
                    <a:pt x="35" y="139"/>
                  </a:lnTo>
                  <a:lnTo>
                    <a:pt x="0" y="243"/>
                  </a:lnTo>
                  <a:lnTo>
                    <a:pt x="70" y="3145"/>
                  </a:lnTo>
                  <a:lnTo>
                    <a:pt x="173" y="6325"/>
                  </a:lnTo>
                  <a:lnTo>
                    <a:pt x="277" y="9988"/>
                  </a:lnTo>
                  <a:lnTo>
                    <a:pt x="311" y="10057"/>
                  </a:lnTo>
                  <a:lnTo>
                    <a:pt x="346" y="10126"/>
                  </a:lnTo>
                  <a:lnTo>
                    <a:pt x="415" y="10160"/>
                  </a:lnTo>
                  <a:lnTo>
                    <a:pt x="519" y="10195"/>
                  </a:lnTo>
                  <a:lnTo>
                    <a:pt x="3111" y="10195"/>
                  </a:lnTo>
                  <a:lnTo>
                    <a:pt x="3180" y="10160"/>
                  </a:lnTo>
                  <a:lnTo>
                    <a:pt x="3249" y="10126"/>
                  </a:lnTo>
                  <a:lnTo>
                    <a:pt x="3318" y="10057"/>
                  </a:lnTo>
                  <a:lnTo>
                    <a:pt x="3318" y="9953"/>
                  </a:lnTo>
                  <a:lnTo>
                    <a:pt x="3318" y="9884"/>
                  </a:lnTo>
                  <a:lnTo>
                    <a:pt x="3249" y="9815"/>
                  </a:lnTo>
                  <a:lnTo>
                    <a:pt x="3180" y="9780"/>
                  </a:lnTo>
                  <a:lnTo>
                    <a:pt x="3111" y="9746"/>
                  </a:lnTo>
                  <a:lnTo>
                    <a:pt x="692" y="9746"/>
                  </a:lnTo>
                  <a:lnTo>
                    <a:pt x="588" y="5703"/>
                  </a:lnTo>
                  <a:lnTo>
                    <a:pt x="450" y="208"/>
                  </a:lnTo>
                  <a:lnTo>
                    <a:pt x="415" y="139"/>
                  </a:lnTo>
                  <a:lnTo>
                    <a:pt x="381" y="70"/>
                  </a:lnTo>
                  <a:lnTo>
                    <a:pt x="311" y="35"/>
                  </a:lnTo>
                  <a:lnTo>
                    <a:pt x="208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3" name="Google Shape;1480;p16">
              <a:extLst>
                <a:ext uri="{FF2B5EF4-FFF2-40B4-BE49-F238E27FC236}">
                  <a16:creationId xmlns:a16="http://schemas.microsoft.com/office/drawing/2014/main" id="{DF39345D-B50A-6562-67EC-9F70B05FEEC6}"/>
                </a:ext>
              </a:extLst>
            </p:cNvPr>
            <p:cNvSpPr/>
            <p:nvPr/>
          </p:nvSpPr>
          <p:spPr>
            <a:xfrm>
              <a:off x="3703725" y="3394850"/>
              <a:ext cx="141700" cy="43200"/>
            </a:xfrm>
            <a:custGeom>
              <a:avLst/>
              <a:gdLst/>
              <a:ahLst/>
              <a:cxnLst/>
              <a:rect l="l" t="t" r="r" b="b"/>
              <a:pathLst>
                <a:path w="5668" h="1728" extrusionOk="0">
                  <a:moveTo>
                    <a:pt x="242" y="0"/>
                  </a:moveTo>
                  <a:lnTo>
                    <a:pt x="104" y="104"/>
                  </a:lnTo>
                  <a:lnTo>
                    <a:pt x="35" y="207"/>
                  </a:lnTo>
                  <a:lnTo>
                    <a:pt x="1" y="346"/>
                  </a:lnTo>
                  <a:lnTo>
                    <a:pt x="1" y="1348"/>
                  </a:lnTo>
                  <a:lnTo>
                    <a:pt x="35" y="1486"/>
                  </a:lnTo>
                  <a:lnTo>
                    <a:pt x="104" y="1624"/>
                  </a:lnTo>
                  <a:lnTo>
                    <a:pt x="242" y="1693"/>
                  </a:lnTo>
                  <a:lnTo>
                    <a:pt x="381" y="1728"/>
                  </a:lnTo>
                  <a:lnTo>
                    <a:pt x="5668" y="1728"/>
                  </a:lnTo>
                  <a:lnTo>
                    <a:pt x="5322" y="1313"/>
                  </a:lnTo>
                  <a:lnTo>
                    <a:pt x="5011" y="899"/>
                  </a:lnTo>
                  <a:lnTo>
                    <a:pt x="4424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4" name="Google Shape;1481;p16">
              <a:extLst>
                <a:ext uri="{FF2B5EF4-FFF2-40B4-BE49-F238E27FC236}">
                  <a16:creationId xmlns:a16="http://schemas.microsoft.com/office/drawing/2014/main" id="{28C3CA45-AB3E-ED60-F999-14CA32A903F8}"/>
                </a:ext>
              </a:extLst>
            </p:cNvPr>
            <p:cNvSpPr/>
            <p:nvPr/>
          </p:nvSpPr>
          <p:spPr>
            <a:xfrm>
              <a:off x="3703725" y="3394850"/>
              <a:ext cx="141700" cy="43200"/>
            </a:xfrm>
            <a:custGeom>
              <a:avLst/>
              <a:gdLst/>
              <a:ahLst/>
              <a:cxnLst/>
              <a:rect l="l" t="t" r="r" b="b"/>
              <a:pathLst>
                <a:path w="5668" h="1728" fill="none" extrusionOk="0">
                  <a:moveTo>
                    <a:pt x="4424" y="0"/>
                  </a:moveTo>
                  <a:lnTo>
                    <a:pt x="381" y="0"/>
                  </a:lnTo>
                  <a:lnTo>
                    <a:pt x="381" y="0"/>
                  </a:lnTo>
                  <a:lnTo>
                    <a:pt x="242" y="0"/>
                  </a:lnTo>
                  <a:lnTo>
                    <a:pt x="104" y="104"/>
                  </a:lnTo>
                  <a:lnTo>
                    <a:pt x="35" y="207"/>
                  </a:lnTo>
                  <a:lnTo>
                    <a:pt x="1" y="346"/>
                  </a:lnTo>
                  <a:lnTo>
                    <a:pt x="1" y="1348"/>
                  </a:lnTo>
                  <a:lnTo>
                    <a:pt x="1" y="1348"/>
                  </a:lnTo>
                  <a:lnTo>
                    <a:pt x="35" y="1486"/>
                  </a:lnTo>
                  <a:lnTo>
                    <a:pt x="104" y="1624"/>
                  </a:lnTo>
                  <a:lnTo>
                    <a:pt x="242" y="1693"/>
                  </a:lnTo>
                  <a:lnTo>
                    <a:pt x="381" y="1728"/>
                  </a:lnTo>
                  <a:lnTo>
                    <a:pt x="5668" y="1728"/>
                  </a:lnTo>
                  <a:lnTo>
                    <a:pt x="5668" y="1728"/>
                  </a:lnTo>
                  <a:lnTo>
                    <a:pt x="5322" y="1313"/>
                  </a:lnTo>
                  <a:lnTo>
                    <a:pt x="5011" y="899"/>
                  </a:lnTo>
                  <a:lnTo>
                    <a:pt x="442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5" name="Google Shape;1482;p16">
              <a:extLst>
                <a:ext uri="{FF2B5EF4-FFF2-40B4-BE49-F238E27FC236}">
                  <a16:creationId xmlns:a16="http://schemas.microsoft.com/office/drawing/2014/main" id="{DB466B68-0F89-0083-831E-F4696D91A3BC}"/>
                </a:ext>
              </a:extLst>
            </p:cNvPr>
            <p:cNvSpPr/>
            <p:nvPr/>
          </p:nvSpPr>
          <p:spPr>
            <a:xfrm>
              <a:off x="3470475" y="3394850"/>
              <a:ext cx="95050" cy="43200"/>
            </a:xfrm>
            <a:custGeom>
              <a:avLst/>
              <a:gdLst/>
              <a:ahLst/>
              <a:cxnLst/>
              <a:rect l="l" t="t" r="r" b="b"/>
              <a:pathLst>
                <a:path w="3802" h="1728" extrusionOk="0">
                  <a:moveTo>
                    <a:pt x="104" y="0"/>
                  </a:moveTo>
                  <a:lnTo>
                    <a:pt x="35" y="69"/>
                  </a:lnTo>
                  <a:lnTo>
                    <a:pt x="0" y="173"/>
                  </a:lnTo>
                  <a:lnTo>
                    <a:pt x="0" y="311"/>
                  </a:lnTo>
                  <a:lnTo>
                    <a:pt x="0" y="1417"/>
                  </a:lnTo>
                  <a:lnTo>
                    <a:pt x="0" y="1521"/>
                  </a:lnTo>
                  <a:lnTo>
                    <a:pt x="35" y="1624"/>
                  </a:lnTo>
                  <a:lnTo>
                    <a:pt x="104" y="1693"/>
                  </a:lnTo>
                  <a:lnTo>
                    <a:pt x="208" y="1728"/>
                  </a:lnTo>
                  <a:lnTo>
                    <a:pt x="3594" y="1728"/>
                  </a:lnTo>
                  <a:lnTo>
                    <a:pt x="3663" y="1693"/>
                  </a:lnTo>
                  <a:lnTo>
                    <a:pt x="3732" y="1624"/>
                  </a:lnTo>
                  <a:lnTo>
                    <a:pt x="3802" y="1521"/>
                  </a:lnTo>
                  <a:lnTo>
                    <a:pt x="3802" y="1417"/>
                  </a:lnTo>
                  <a:lnTo>
                    <a:pt x="3802" y="311"/>
                  </a:lnTo>
                  <a:lnTo>
                    <a:pt x="3802" y="173"/>
                  </a:lnTo>
                  <a:lnTo>
                    <a:pt x="3732" y="69"/>
                  </a:lnTo>
                  <a:lnTo>
                    <a:pt x="3663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6" name="Google Shape;1483;p16">
              <a:extLst>
                <a:ext uri="{FF2B5EF4-FFF2-40B4-BE49-F238E27FC236}">
                  <a16:creationId xmlns:a16="http://schemas.microsoft.com/office/drawing/2014/main" id="{BE7C3AA1-BD17-A1D7-3C34-009D0BBDF3AE}"/>
                </a:ext>
              </a:extLst>
            </p:cNvPr>
            <p:cNvSpPr/>
            <p:nvPr/>
          </p:nvSpPr>
          <p:spPr>
            <a:xfrm>
              <a:off x="3470475" y="3394850"/>
              <a:ext cx="95050" cy="43200"/>
            </a:xfrm>
            <a:custGeom>
              <a:avLst/>
              <a:gdLst/>
              <a:ahLst/>
              <a:cxnLst/>
              <a:rect l="l" t="t" r="r" b="b"/>
              <a:pathLst>
                <a:path w="3802" h="1728" fill="none" extrusionOk="0">
                  <a:moveTo>
                    <a:pt x="3594" y="0"/>
                  </a:moveTo>
                  <a:lnTo>
                    <a:pt x="208" y="0"/>
                  </a:lnTo>
                  <a:lnTo>
                    <a:pt x="208" y="0"/>
                  </a:lnTo>
                  <a:lnTo>
                    <a:pt x="104" y="0"/>
                  </a:lnTo>
                  <a:lnTo>
                    <a:pt x="35" y="69"/>
                  </a:lnTo>
                  <a:lnTo>
                    <a:pt x="0" y="173"/>
                  </a:lnTo>
                  <a:lnTo>
                    <a:pt x="0" y="311"/>
                  </a:lnTo>
                  <a:lnTo>
                    <a:pt x="0" y="1417"/>
                  </a:lnTo>
                  <a:lnTo>
                    <a:pt x="0" y="1417"/>
                  </a:lnTo>
                  <a:lnTo>
                    <a:pt x="0" y="1521"/>
                  </a:lnTo>
                  <a:lnTo>
                    <a:pt x="35" y="1624"/>
                  </a:lnTo>
                  <a:lnTo>
                    <a:pt x="104" y="1693"/>
                  </a:lnTo>
                  <a:lnTo>
                    <a:pt x="208" y="1728"/>
                  </a:lnTo>
                  <a:lnTo>
                    <a:pt x="3594" y="1728"/>
                  </a:lnTo>
                  <a:lnTo>
                    <a:pt x="3594" y="1728"/>
                  </a:lnTo>
                  <a:lnTo>
                    <a:pt x="3663" y="1693"/>
                  </a:lnTo>
                  <a:lnTo>
                    <a:pt x="3732" y="1624"/>
                  </a:lnTo>
                  <a:lnTo>
                    <a:pt x="3802" y="1521"/>
                  </a:lnTo>
                  <a:lnTo>
                    <a:pt x="3802" y="1417"/>
                  </a:lnTo>
                  <a:lnTo>
                    <a:pt x="3802" y="311"/>
                  </a:lnTo>
                  <a:lnTo>
                    <a:pt x="3802" y="311"/>
                  </a:lnTo>
                  <a:lnTo>
                    <a:pt x="3802" y="173"/>
                  </a:lnTo>
                  <a:lnTo>
                    <a:pt x="3732" y="69"/>
                  </a:lnTo>
                  <a:lnTo>
                    <a:pt x="3663" y="0"/>
                  </a:lnTo>
                  <a:lnTo>
                    <a:pt x="359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7" name="Google Shape;1484;p16">
              <a:extLst>
                <a:ext uri="{FF2B5EF4-FFF2-40B4-BE49-F238E27FC236}">
                  <a16:creationId xmlns:a16="http://schemas.microsoft.com/office/drawing/2014/main" id="{8DDEAAAF-3242-72DD-AFBE-E08773EC7ACE}"/>
                </a:ext>
              </a:extLst>
            </p:cNvPr>
            <p:cNvSpPr/>
            <p:nvPr/>
          </p:nvSpPr>
          <p:spPr>
            <a:xfrm>
              <a:off x="3585375" y="3394850"/>
              <a:ext cx="89875" cy="43200"/>
            </a:xfrm>
            <a:custGeom>
              <a:avLst/>
              <a:gdLst/>
              <a:ahLst/>
              <a:cxnLst/>
              <a:rect l="l" t="t" r="r" b="b"/>
              <a:pathLst>
                <a:path w="3595" h="1728" extrusionOk="0">
                  <a:moveTo>
                    <a:pt x="208" y="0"/>
                  </a:moveTo>
                  <a:lnTo>
                    <a:pt x="104" y="69"/>
                  </a:lnTo>
                  <a:lnTo>
                    <a:pt x="35" y="173"/>
                  </a:lnTo>
                  <a:lnTo>
                    <a:pt x="0" y="311"/>
                  </a:lnTo>
                  <a:lnTo>
                    <a:pt x="0" y="1382"/>
                  </a:lnTo>
                  <a:lnTo>
                    <a:pt x="35" y="1521"/>
                  </a:lnTo>
                  <a:lnTo>
                    <a:pt x="104" y="1624"/>
                  </a:lnTo>
                  <a:lnTo>
                    <a:pt x="208" y="1693"/>
                  </a:lnTo>
                  <a:lnTo>
                    <a:pt x="311" y="1728"/>
                  </a:lnTo>
                  <a:lnTo>
                    <a:pt x="3249" y="1728"/>
                  </a:lnTo>
                  <a:lnTo>
                    <a:pt x="3387" y="1693"/>
                  </a:lnTo>
                  <a:lnTo>
                    <a:pt x="3491" y="1624"/>
                  </a:lnTo>
                  <a:lnTo>
                    <a:pt x="3560" y="1521"/>
                  </a:lnTo>
                  <a:lnTo>
                    <a:pt x="3594" y="1382"/>
                  </a:lnTo>
                  <a:lnTo>
                    <a:pt x="3594" y="311"/>
                  </a:lnTo>
                  <a:lnTo>
                    <a:pt x="3560" y="173"/>
                  </a:lnTo>
                  <a:lnTo>
                    <a:pt x="3491" y="69"/>
                  </a:lnTo>
                  <a:lnTo>
                    <a:pt x="3387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8" name="Google Shape;1485;p16">
              <a:extLst>
                <a:ext uri="{FF2B5EF4-FFF2-40B4-BE49-F238E27FC236}">
                  <a16:creationId xmlns:a16="http://schemas.microsoft.com/office/drawing/2014/main" id="{2470CDCD-43C0-5B99-EF1E-EFB5955133CD}"/>
                </a:ext>
              </a:extLst>
            </p:cNvPr>
            <p:cNvSpPr/>
            <p:nvPr/>
          </p:nvSpPr>
          <p:spPr>
            <a:xfrm>
              <a:off x="3585375" y="3394850"/>
              <a:ext cx="89875" cy="43200"/>
            </a:xfrm>
            <a:custGeom>
              <a:avLst/>
              <a:gdLst/>
              <a:ahLst/>
              <a:cxnLst/>
              <a:rect l="l" t="t" r="r" b="b"/>
              <a:pathLst>
                <a:path w="3595" h="1728" fill="none" extrusionOk="0">
                  <a:moveTo>
                    <a:pt x="3249" y="0"/>
                  </a:moveTo>
                  <a:lnTo>
                    <a:pt x="311" y="0"/>
                  </a:lnTo>
                  <a:lnTo>
                    <a:pt x="311" y="0"/>
                  </a:lnTo>
                  <a:lnTo>
                    <a:pt x="208" y="0"/>
                  </a:lnTo>
                  <a:lnTo>
                    <a:pt x="104" y="69"/>
                  </a:lnTo>
                  <a:lnTo>
                    <a:pt x="35" y="173"/>
                  </a:lnTo>
                  <a:lnTo>
                    <a:pt x="0" y="311"/>
                  </a:lnTo>
                  <a:lnTo>
                    <a:pt x="0" y="1382"/>
                  </a:lnTo>
                  <a:lnTo>
                    <a:pt x="0" y="1382"/>
                  </a:lnTo>
                  <a:lnTo>
                    <a:pt x="35" y="1521"/>
                  </a:lnTo>
                  <a:lnTo>
                    <a:pt x="104" y="1624"/>
                  </a:lnTo>
                  <a:lnTo>
                    <a:pt x="208" y="1693"/>
                  </a:lnTo>
                  <a:lnTo>
                    <a:pt x="311" y="1728"/>
                  </a:lnTo>
                  <a:lnTo>
                    <a:pt x="3249" y="1728"/>
                  </a:lnTo>
                  <a:lnTo>
                    <a:pt x="3249" y="1728"/>
                  </a:lnTo>
                  <a:lnTo>
                    <a:pt x="3387" y="1693"/>
                  </a:lnTo>
                  <a:lnTo>
                    <a:pt x="3491" y="1624"/>
                  </a:lnTo>
                  <a:lnTo>
                    <a:pt x="3560" y="1521"/>
                  </a:lnTo>
                  <a:lnTo>
                    <a:pt x="3594" y="1382"/>
                  </a:lnTo>
                  <a:lnTo>
                    <a:pt x="3594" y="311"/>
                  </a:lnTo>
                  <a:lnTo>
                    <a:pt x="3594" y="311"/>
                  </a:lnTo>
                  <a:lnTo>
                    <a:pt x="3560" y="173"/>
                  </a:lnTo>
                  <a:lnTo>
                    <a:pt x="3491" y="69"/>
                  </a:lnTo>
                  <a:lnTo>
                    <a:pt x="3387" y="0"/>
                  </a:lnTo>
                  <a:lnTo>
                    <a:pt x="3249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Google Shape;1486;p16">
              <a:extLst>
                <a:ext uri="{FF2B5EF4-FFF2-40B4-BE49-F238E27FC236}">
                  <a16:creationId xmlns:a16="http://schemas.microsoft.com/office/drawing/2014/main" id="{869629CB-BDD8-3F5C-F675-AE4E6100E136}"/>
                </a:ext>
              </a:extLst>
            </p:cNvPr>
            <p:cNvSpPr/>
            <p:nvPr/>
          </p:nvSpPr>
          <p:spPr>
            <a:xfrm>
              <a:off x="2139175" y="3630675"/>
              <a:ext cx="415575" cy="415575"/>
            </a:xfrm>
            <a:custGeom>
              <a:avLst/>
              <a:gdLst/>
              <a:ahLst/>
              <a:cxnLst/>
              <a:rect l="l" t="t" r="r" b="b"/>
              <a:pathLst>
                <a:path w="16623" h="16623" extrusionOk="0">
                  <a:moveTo>
                    <a:pt x="8294" y="2489"/>
                  </a:moveTo>
                  <a:lnTo>
                    <a:pt x="8882" y="2524"/>
                  </a:lnTo>
                  <a:lnTo>
                    <a:pt x="9469" y="2627"/>
                  </a:lnTo>
                  <a:lnTo>
                    <a:pt x="10022" y="2765"/>
                  </a:lnTo>
                  <a:lnTo>
                    <a:pt x="10575" y="2973"/>
                  </a:lnTo>
                  <a:lnTo>
                    <a:pt x="11059" y="3215"/>
                  </a:lnTo>
                  <a:lnTo>
                    <a:pt x="11543" y="3491"/>
                  </a:lnTo>
                  <a:lnTo>
                    <a:pt x="11992" y="3837"/>
                  </a:lnTo>
                  <a:lnTo>
                    <a:pt x="12407" y="4217"/>
                  </a:lnTo>
                  <a:lnTo>
                    <a:pt x="12787" y="4632"/>
                  </a:lnTo>
                  <a:lnTo>
                    <a:pt x="13132" y="5081"/>
                  </a:lnTo>
                  <a:lnTo>
                    <a:pt x="13409" y="5565"/>
                  </a:lnTo>
                  <a:lnTo>
                    <a:pt x="13651" y="6048"/>
                  </a:lnTo>
                  <a:lnTo>
                    <a:pt x="13858" y="6601"/>
                  </a:lnTo>
                  <a:lnTo>
                    <a:pt x="13996" y="7154"/>
                  </a:lnTo>
                  <a:lnTo>
                    <a:pt x="14065" y="7707"/>
                  </a:lnTo>
                  <a:lnTo>
                    <a:pt x="14100" y="8329"/>
                  </a:lnTo>
                  <a:lnTo>
                    <a:pt x="14065" y="8917"/>
                  </a:lnTo>
                  <a:lnTo>
                    <a:pt x="13996" y="9469"/>
                  </a:lnTo>
                  <a:lnTo>
                    <a:pt x="13858" y="10057"/>
                  </a:lnTo>
                  <a:lnTo>
                    <a:pt x="13651" y="10575"/>
                  </a:lnTo>
                  <a:lnTo>
                    <a:pt x="13409" y="11094"/>
                  </a:lnTo>
                  <a:lnTo>
                    <a:pt x="13132" y="11577"/>
                  </a:lnTo>
                  <a:lnTo>
                    <a:pt x="12787" y="11992"/>
                  </a:lnTo>
                  <a:lnTo>
                    <a:pt x="12407" y="12407"/>
                  </a:lnTo>
                  <a:lnTo>
                    <a:pt x="11992" y="12787"/>
                  </a:lnTo>
                  <a:lnTo>
                    <a:pt x="11543" y="13132"/>
                  </a:lnTo>
                  <a:lnTo>
                    <a:pt x="11059" y="13409"/>
                  </a:lnTo>
                  <a:lnTo>
                    <a:pt x="10575" y="13651"/>
                  </a:lnTo>
                  <a:lnTo>
                    <a:pt x="10022" y="13858"/>
                  </a:lnTo>
                  <a:lnTo>
                    <a:pt x="9469" y="13996"/>
                  </a:lnTo>
                  <a:lnTo>
                    <a:pt x="8882" y="14100"/>
                  </a:lnTo>
                  <a:lnTo>
                    <a:pt x="8294" y="14135"/>
                  </a:lnTo>
                  <a:lnTo>
                    <a:pt x="7707" y="14100"/>
                  </a:lnTo>
                  <a:lnTo>
                    <a:pt x="7120" y="13996"/>
                  </a:lnTo>
                  <a:lnTo>
                    <a:pt x="6567" y="13858"/>
                  </a:lnTo>
                  <a:lnTo>
                    <a:pt x="6048" y="13651"/>
                  </a:lnTo>
                  <a:lnTo>
                    <a:pt x="5530" y="13409"/>
                  </a:lnTo>
                  <a:lnTo>
                    <a:pt x="5046" y="13132"/>
                  </a:lnTo>
                  <a:lnTo>
                    <a:pt x="4597" y="12787"/>
                  </a:lnTo>
                  <a:lnTo>
                    <a:pt x="4182" y="12407"/>
                  </a:lnTo>
                  <a:lnTo>
                    <a:pt x="3837" y="11992"/>
                  </a:lnTo>
                  <a:lnTo>
                    <a:pt x="3491" y="11577"/>
                  </a:lnTo>
                  <a:lnTo>
                    <a:pt x="3180" y="11094"/>
                  </a:lnTo>
                  <a:lnTo>
                    <a:pt x="2938" y="10575"/>
                  </a:lnTo>
                  <a:lnTo>
                    <a:pt x="2765" y="10057"/>
                  </a:lnTo>
                  <a:lnTo>
                    <a:pt x="2627" y="9469"/>
                  </a:lnTo>
                  <a:lnTo>
                    <a:pt x="2524" y="8917"/>
                  </a:lnTo>
                  <a:lnTo>
                    <a:pt x="2489" y="8329"/>
                  </a:lnTo>
                  <a:lnTo>
                    <a:pt x="2524" y="7707"/>
                  </a:lnTo>
                  <a:lnTo>
                    <a:pt x="2627" y="7154"/>
                  </a:lnTo>
                  <a:lnTo>
                    <a:pt x="2765" y="6601"/>
                  </a:lnTo>
                  <a:lnTo>
                    <a:pt x="2938" y="6048"/>
                  </a:lnTo>
                  <a:lnTo>
                    <a:pt x="3180" y="5565"/>
                  </a:lnTo>
                  <a:lnTo>
                    <a:pt x="3491" y="5081"/>
                  </a:lnTo>
                  <a:lnTo>
                    <a:pt x="3837" y="4632"/>
                  </a:lnTo>
                  <a:lnTo>
                    <a:pt x="4182" y="4217"/>
                  </a:lnTo>
                  <a:lnTo>
                    <a:pt x="4597" y="3837"/>
                  </a:lnTo>
                  <a:lnTo>
                    <a:pt x="5046" y="3491"/>
                  </a:lnTo>
                  <a:lnTo>
                    <a:pt x="5530" y="3215"/>
                  </a:lnTo>
                  <a:lnTo>
                    <a:pt x="6048" y="2973"/>
                  </a:lnTo>
                  <a:lnTo>
                    <a:pt x="6567" y="2765"/>
                  </a:lnTo>
                  <a:lnTo>
                    <a:pt x="7120" y="2627"/>
                  </a:lnTo>
                  <a:lnTo>
                    <a:pt x="7707" y="2524"/>
                  </a:lnTo>
                  <a:lnTo>
                    <a:pt x="8294" y="2489"/>
                  </a:lnTo>
                  <a:close/>
                  <a:moveTo>
                    <a:pt x="7880" y="1"/>
                  </a:moveTo>
                  <a:lnTo>
                    <a:pt x="7465" y="36"/>
                  </a:lnTo>
                  <a:lnTo>
                    <a:pt x="7050" y="105"/>
                  </a:lnTo>
                  <a:lnTo>
                    <a:pt x="6636" y="174"/>
                  </a:lnTo>
                  <a:lnTo>
                    <a:pt x="5841" y="381"/>
                  </a:lnTo>
                  <a:lnTo>
                    <a:pt x="5081" y="658"/>
                  </a:lnTo>
                  <a:lnTo>
                    <a:pt x="4355" y="1003"/>
                  </a:lnTo>
                  <a:lnTo>
                    <a:pt x="3664" y="1418"/>
                  </a:lnTo>
                  <a:lnTo>
                    <a:pt x="3007" y="1902"/>
                  </a:lnTo>
                  <a:lnTo>
                    <a:pt x="2420" y="2454"/>
                  </a:lnTo>
                  <a:lnTo>
                    <a:pt x="1902" y="3042"/>
                  </a:lnTo>
                  <a:lnTo>
                    <a:pt x="1418" y="3664"/>
                  </a:lnTo>
                  <a:lnTo>
                    <a:pt x="1003" y="4355"/>
                  </a:lnTo>
                  <a:lnTo>
                    <a:pt x="658" y="5081"/>
                  </a:lnTo>
                  <a:lnTo>
                    <a:pt x="381" y="5841"/>
                  </a:lnTo>
                  <a:lnTo>
                    <a:pt x="174" y="6636"/>
                  </a:lnTo>
                  <a:lnTo>
                    <a:pt x="105" y="7050"/>
                  </a:lnTo>
                  <a:lnTo>
                    <a:pt x="36" y="7465"/>
                  </a:lnTo>
                  <a:lnTo>
                    <a:pt x="1" y="7880"/>
                  </a:lnTo>
                  <a:lnTo>
                    <a:pt x="1" y="8329"/>
                  </a:lnTo>
                  <a:lnTo>
                    <a:pt x="1" y="8744"/>
                  </a:lnTo>
                  <a:lnTo>
                    <a:pt x="36" y="9158"/>
                  </a:lnTo>
                  <a:lnTo>
                    <a:pt x="105" y="9573"/>
                  </a:lnTo>
                  <a:lnTo>
                    <a:pt x="174" y="9988"/>
                  </a:lnTo>
                  <a:lnTo>
                    <a:pt x="381" y="10783"/>
                  </a:lnTo>
                  <a:lnTo>
                    <a:pt x="658" y="11543"/>
                  </a:lnTo>
                  <a:lnTo>
                    <a:pt x="1003" y="12269"/>
                  </a:lnTo>
                  <a:lnTo>
                    <a:pt x="1418" y="12960"/>
                  </a:lnTo>
                  <a:lnTo>
                    <a:pt x="1902" y="13582"/>
                  </a:lnTo>
                  <a:lnTo>
                    <a:pt x="2420" y="14204"/>
                  </a:lnTo>
                  <a:lnTo>
                    <a:pt x="3007" y="14722"/>
                  </a:lnTo>
                  <a:lnTo>
                    <a:pt x="3664" y="15206"/>
                  </a:lnTo>
                  <a:lnTo>
                    <a:pt x="4355" y="15620"/>
                  </a:lnTo>
                  <a:lnTo>
                    <a:pt x="5081" y="15966"/>
                  </a:lnTo>
                  <a:lnTo>
                    <a:pt x="5841" y="16242"/>
                  </a:lnTo>
                  <a:lnTo>
                    <a:pt x="6636" y="16450"/>
                  </a:lnTo>
                  <a:lnTo>
                    <a:pt x="7050" y="16519"/>
                  </a:lnTo>
                  <a:lnTo>
                    <a:pt x="7465" y="16588"/>
                  </a:lnTo>
                  <a:lnTo>
                    <a:pt x="7880" y="16623"/>
                  </a:lnTo>
                  <a:lnTo>
                    <a:pt x="8744" y="16623"/>
                  </a:lnTo>
                  <a:lnTo>
                    <a:pt x="9158" y="16588"/>
                  </a:lnTo>
                  <a:lnTo>
                    <a:pt x="9573" y="16519"/>
                  </a:lnTo>
                  <a:lnTo>
                    <a:pt x="9988" y="16450"/>
                  </a:lnTo>
                  <a:lnTo>
                    <a:pt x="10783" y="16242"/>
                  </a:lnTo>
                  <a:lnTo>
                    <a:pt x="11543" y="15966"/>
                  </a:lnTo>
                  <a:lnTo>
                    <a:pt x="12268" y="15620"/>
                  </a:lnTo>
                  <a:lnTo>
                    <a:pt x="12960" y="15206"/>
                  </a:lnTo>
                  <a:lnTo>
                    <a:pt x="13582" y="14722"/>
                  </a:lnTo>
                  <a:lnTo>
                    <a:pt x="14169" y="14204"/>
                  </a:lnTo>
                  <a:lnTo>
                    <a:pt x="14722" y="13582"/>
                  </a:lnTo>
                  <a:lnTo>
                    <a:pt x="15206" y="12960"/>
                  </a:lnTo>
                  <a:lnTo>
                    <a:pt x="15620" y="12269"/>
                  </a:lnTo>
                  <a:lnTo>
                    <a:pt x="15966" y="11543"/>
                  </a:lnTo>
                  <a:lnTo>
                    <a:pt x="16242" y="10783"/>
                  </a:lnTo>
                  <a:lnTo>
                    <a:pt x="16450" y="9988"/>
                  </a:lnTo>
                  <a:lnTo>
                    <a:pt x="16519" y="9573"/>
                  </a:lnTo>
                  <a:lnTo>
                    <a:pt x="16553" y="9158"/>
                  </a:lnTo>
                  <a:lnTo>
                    <a:pt x="16588" y="8744"/>
                  </a:lnTo>
                  <a:lnTo>
                    <a:pt x="16623" y="8329"/>
                  </a:lnTo>
                  <a:lnTo>
                    <a:pt x="16588" y="7880"/>
                  </a:lnTo>
                  <a:lnTo>
                    <a:pt x="16553" y="7465"/>
                  </a:lnTo>
                  <a:lnTo>
                    <a:pt x="16519" y="7050"/>
                  </a:lnTo>
                  <a:lnTo>
                    <a:pt x="16450" y="6636"/>
                  </a:lnTo>
                  <a:lnTo>
                    <a:pt x="16242" y="5841"/>
                  </a:lnTo>
                  <a:lnTo>
                    <a:pt x="15966" y="5081"/>
                  </a:lnTo>
                  <a:lnTo>
                    <a:pt x="15620" y="4355"/>
                  </a:lnTo>
                  <a:lnTo>
                    <a:pt x="15206" y="3664"/>
                  </a:lnTo>
                  <a:lnTo>
                    <a:pt x="14722" y="3042"/>
                  </a:lnTo>
                  <a:lnTo>
                    <a:pt x="14169" y="2454"/>
                  </a:lnTo>
                  <a:lnTo>
                    <a:pt x="13582" y="1902"/>
                  </a:lnTo>
                  <a:lnTo>
                    <a:pt x="12960" y="1418"/>
                  </a:lnTo>
                  <a:lnTo>
                    <a:pt x="12268" y="1003"/>
                  </a:lnTo>
                  <a:lnTo>
                    <a:pt x="11543" y="658"/>
                  </a:lnTo>
                  <a:lnTo>
                    <a:pt x="10783" y="381"/>
                  </a:lnTo>
                  <a:lnTo>
                    <a:pt x="9988" y="174"/>
                  </a:lnTo>
                  <a:lnTo>
                    <a:pt x="9573" y="105"/>
                  </a:lnTo>
                  <a:lnTo>
                    <a:pt x="9158" y="36"/>
                  </a:lnTo>
                  <a:lnTo>
                    <a:pt x="8744" y="1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Google Shape;1487;p16">
              <a:extLst>
                <a:ext uri="{FF2B5EF4-FFF2-40B4-BE49-F238E27FC236}">
                  <a16:creationId xmlns:a16="http://schemas.microsoft.com/office/drawing/2014/main" id="{76166EF8-6A9F-4B17-89AA-10B319D4F703}"/>
                </a:ext>
              </a:extLst>
            </p:cNvPr>
            <p:cNvSpPr/>
            <p:nvPr/>
          </p:nvSpPr>
          <p:spPr>
            <a:xfrm>
              <a:off x="2614325" y="1158175"/>
              <a:ext cx="958100" cy="2681600"/>
            </a:xfrm>
            <a:custGeom>
              <a:avLst/>
              <a:gdLst/>
              <a:ahLst/>
              <a:cxnLst/>
              <a:rect l="l" t="t" r="r" b="b"/>
              <a:pathLst>
                <a:path w="38324" h="107264" extrusionOk="0">
                  <a:moveTo>
                    <a:pt x="29996" y="1"/>
                  </a:moveTo>
                  <a:lnTo>
                    <a:pt x="28026" y="70"/>
                  </a:lnTo>
                  <a:lnTo>
                    <a:pt x="26195" y="208"/>
                  </a:lnTo>
                  <a:lnTo>
                    <a:pt x="24467" y="381"/>
                  </a:lnTo>
                  <a:lnTo>
                    <a:pt x="22808" y="588"/>
                  </a:lnTo>
                  <a:lnTo>
                    <a:pt x="21288" y="899"/>
                  </a:lnTo>
                  <a:lnTo>
                    <a:pt x="19836" y="1245"/>
                  </a:lnTo>
                  <a:lnTo>
                    <a:pt x="18489" y="1659"/>
                  </a:lnTo>
                  <a:lnTo>
                    <a:pt x="17832" y="1867"/>
                  </a:lnTo>
                  <a:lnTo>
                    <a:pt x="17210" y="2109"/>
                  </a:lnTo>
                  <a:lnTo>
                    <a:pt x="16623" y="2350"/>
                  </a:lnTo>
                  <a:lnTo>
                    <a:pt x="16035" y="2627"/>
                  </a:lnTo>
                  <a:lnTo>
                    <a:pt x="15482" y="2903"/>
                  </a:lnTo>
                  <a:lnTo>
                    <a:pt x="14964" y="3214"/>
                  </a:lnTo>
                  <a:lnTo>
                    <a:pt x="14446" y="3525"/>
                  </a:lnTo>
                  <a:lnTo>
                    <a:pt x="13927" y="3871"/>
                  </a:lnTo>
                  <a:lnTo>
                    <a:pt x="13478" y="4216"/>
                  </a:lnTo>
                  <a:lnTo>
                    <a:pt x="13029" y="4562"/>
                  </a:lnTo>
                  <a:lnTo>
                    <a:pt x="12579" y="4942"/>
                  </a:lnTo>
                  <a:lnTo>
                    <a:pt x="12165" y="5322"/>
                  </a:lnTo>
                  <a:lnTo>
                    <a:pt x="11577" y="5910"/>
                  </a:lnTo>
                  <a:lnTo>
                    <a:pt x="11059" y="6532"/>
                  </a:lnTo>
                  <a:lnTo>
                    <a:pt x="10575" y="7188"/>
                  </a:lnTo>
                  <a:lnTo>
                    <a:pt x="10126" y="7879"/>
                  </a:lnTo>
                  <a:lnTo>
                    <a:pt x="9711" y="8605"/>
                  </a:lnTo>
                  <a:lnTo>
                    <a:pt x="9331" y="9365"/>
                  </a:lnTo>
                  <a:lnTo>
                    <a:pt x="8986" y="10160"/>
                  </a:lnTo>
                  <a:lnTo>
                    <a:pt x="8709" y="10990"/>
                  </a:lnTo>
                  <a:lnTo>
                    <a:pt x="8433" y="11853"/>
                  </a:lnTo>
                  <a:lnTo>
                    <a:pt x="8225" y="12752"/>
                  </a:lnTo>
                  <a:lnTo>
                    <a:pt x="8053" y="13685"/>
                  </a:lnTo>
                  <a:lnTo>
                    <a:pt x="7914" y="14652"/>
                  </a:lnTo>
                  <a:lnTo>
                    <a:pt x="7811" y="15655"/>
                  </a:lnTo>
                  <a:lnTo>
                    <a:pt x="7742" y="16691"/>
                  </a:lnTo>
                  <a:lnTo>
                    <a:pt x="7707" y="17763"/>
                  </a:lnTo>
                  <a:lnTo>
                    <a:pt x="7742" y="18868"/>
                  </a:lnTo>
                  <a:lnTo>
                    <a:pt x="7776" y="19559"/>
                  </a:lnTo>
                  <a:lnTo>
                    <a:pt x="7845" y="20216"/>
                  </a:lnTo>
                  <a:lnTo>
                    <a:pt x="7983" y="20873"/>
                  </a:lnTo>
                  <a:lnTo>
                    <a:pt x="8122" y="21495"/>
                  </a:lnTo>
                  <a:lnTo>
                    <a:pt x="8329" y="22117"/>
                  </a:lnTo>
                  <a:lnTo>
                    <a:pt x="8536" y="22704"/>
                  </a:lnTo>
                  <a:lnTo>
                    <a:pt x="8813" y="23292"/>
                  </a:lnTo>
                  <a:lnTo>
                    <a:pt x="9089" y="23879"/>
                  </a:lnTo>
                  <a:lnTo>
                    <a:pt x="9435" y="24432"/>
                  </a:lnTo>
                  <a:lnTo>
                    <a:pt x="9780" y="24950"/>
                  </a:lnTo>
                  <a:lnTo>
                    <a:pt x="10161" y="25503"/>
                  </a:lnTo>
                  <a:lnTo>
                    <a:pt x="10575" y="25987"/>
                  </a:lnTo>
                  <a:lnTo>
                    <a:pt x="11024" y="26505"/>
                  </a:lnTo>
                  <a:lnTo>
                    <a:pt x="11474" y="26989"/>
                  </a:lnTo>
                  <a:lnTo>
                    <a:pt x="11957" y="27473"/>
                  </a:lnTo>
                  <a:lnTo>
                    <a:pt x="12476" y="27922"/>
                  </a:lnTo>
                  <a:lnTo>
                    <a:pt x="13547" y="28855"/>
                  </a:lnTo>
                  <a:lnTo>
                    <a:pt x="14687" y="29719"/>
                  </a:lnTo>
                  <a:lnTo>
                    <a:pt x="15897" y="30548"/>
                  </a:lnTo>
                  <a:lnTo>
                    <a:pt x="17141" y="31378"/>
                  </a:lnTo>
                  <a:lnTo>
                    <a:pt x="18420" y="32138"/>
                  </a:lnTo>
                  <a:lnTo>
                    <a:pt x="19733" y="32933"/>
                  </a:lnTo>
                  <a:lnTo>
                    <a:pt x="22394" y="34453"/>
                  </a:lnTo>
                  <a:lnTo>
                    <a:pt x="25193" y="36043"/>
                  </a:lnTo>
                  <a:lnTo>
                    <a:pt x="26540" y="36838"/>
                  </a:lnTo>
                  <a:lnTo>
                    <a:pt x="27853" y="37667"/>
                  </a:lnTo>
                  <a:lnTo>
                    <a:pt x="29132" y="38496"/>
                  </a:lnTo>
                  <a:lnTo>
                    <a:pt x="30307" y="39326"/>
                  </a:lnTo>
                  <a:lnTo>
                    <a:pt x="31413" y="40224"/>
                  </a:lnTo>
                  <a:lnTo>
                    <a:pt x="31897" y="40673"/>
                  </a:lnTo>
                  <a:lnTo>
                    <a:pt x="32415" y="41123"/>
                  </a:lnTo>
                  <a:lnTo>
                    <a:pt x="32864" y="41572"/>
                  </a:lnTo>
                  <a:lnTo>
                    <a:pt x="33313" y="42056"/>
                  </a:lnTo>
                  <a:lnTo>
                    <a:pt x="33728" y="42539"/>
                  </a:lnTo>
                  <a:lnTo>
                    <a:pt x="34074" y="43058"/>
                  </a:lnTo>
                  <a:lnTo>
                    <a:pt x="34419" y="43542"/>
                  </a:lnTo>
                  <a:lnTo>
                    <a:pt x="34730" y="44095"/>
                  </a:lnTo>
                  <a:lnTo>
                    <a:pt x="35007" y="44613"/>
                  </a:lnTo>
                  <a:lnTo>
                    <a:pt x="35248" y="45166"/>
                  </a:lnTo>
                  <a:lnTo>
                    <a:pt x="35456" y="45719"/>
                  </a:lnTo>
                  <a:lnTo>
                    <a:pt x="35594" y="46306"/>
                  </a:lnTo>
                  <a:lnTo>
                    <a:pt x="35732" y="46928"/>
                  </a:lnTo>
                  <a:lnTo>
                    <a:pt x="35801" y="47516"/>
                  </a:lnTo>
                  <a:lnTo>
                    <a:pt x="35836" y="48138"/>
                  </a:lnTo>
                  <a:lnTo>
                    <a:pt x="35801" y="48794"/>
                  </a:lnTo>
                  <a:lnTo>
                    <a:pt x="35767" y="49485"/>
                  </a:lnTo>
                  <a:lnTo>
                    <a:pt x="35629" y="50142"/>
                  </a:lnTo>
                  <a:lnTo>
                    <a:pt x="35525" y="50591"/>
                  </a:lnTo>
                  <a:lnTo>
                    <a:pt x="35387" y="50971"/>
                  </a:lnTo>
                  <a:lnTo>
                    <a:pt x="35248" y="51386"/>
                  </a:lnTo>
                  <a:lnTo>
                    <a:pt x="35041" y="51731"/>
                  </a:lnTo>
                  <a:lnTo>
                    <a:pt x="34834" y="52112"/>
                  </a:lnTo>
                  <a:lnTo>
                    <a:pt x="34557" y="52457"/>
                  </a:lnTo>
                  <a:lnTo>
                    <a:pt x="34281" y="52768"/>
                  </a:lnTo>
                  <a:lnTo>
                    <a:pt x="34004" y="53114"/>
                  </a:lnTo>
                  <a:lnTo>
                    <a:pt x="33659" y="53390"/>
                  </a:lnTo>
                  <a:lnTo>
                    <a:pt x="33313" y="53701"/>
                  </a:lnTo>
                  <a:lnTo>
                    <a:pt x="32933" y="53978"/>
                  </a:lnTo>
                  <a:lnTo>
                    <a:pt x="32519" y="54254"/>
                  </a:lnTo>
                  <a:lnTo>
                    <a:pt x="31655" y="54772"/>
                  </a:lnTo>
                  <a:lnTo>
                    <a:pt x="30722" y="55222"/>
                  </a:lnTo>
                  <a:lnTo>
                    <a:pt x="29719" y="55671"/>
                  </a:lnTo>
                  <a:lnTo>
                    <a:pt x="28648" y="56086"/>
                  </a:lnTo>
                  <a:lnTo>
                    <a:pt x="27508" y="56466"/>
                  </a:lnTo>
                  <a:lnTo>
                    <a:pt x="26333" y="56811"/>
                  </a:lnTo>
                  <a:lnTo>
                    <a:pt x="25123" y="57157"/>
                  </a:lnTo>
                  <a:lnTo>
                    <a:pt x="23879" y="57502"/>
                  </a:lnTo>
                  <a:lnTo>
                    <a:pt x="21322" y="58159"/>
                  </a:lnTo>
                  <a:lnTo>
                    <a:pt x="18454" y="58919"/>
                  </a:lnTo>
                  <a:lnTo>
                    <a:pt x="17037" y="59299"/>
                  </a:lnTo>
                  <a:lnTo>
                    <a:pt x="15620" y="59714"/>
                  </a:lnTo>
                  <a:lnTo>
                    <a:pt x="14273" y="60163"/>
                  </a:lnTo>
                  <a:lnTo>
                    <a:pt x="12925" y="60647"/>
                  </a:lnTo>
                  <a:lnTo>
                    <a:pt x="11646" y="61165"/>
                  </a:lnTo>
                  <a:lnTo>
                    <a:pt x="10437" y="61718"/>
                  </a:lnTo>
                  <a:lnTo>
                    <a:pt x="9746" y="62098"/>
                  </a:lnTo>
                  <a:lnTo>
                    <a:pt x="9089" y="62479"/>
                  </a:lnTo>
                  <a:lnTo>
                    <a:pt x="8502" y="62859"/>
                  </a:lnTo>
                  <a:lnTo>
                    <a:pt x="7914" y="63273"/>
                  </a:lnTo>
                  <a:lnTo>
                    <a:pt x="7396" y="63688"/>
                  </a:lnTo>
                  <a:lnTo>
                    <a:pt x="6878" y="64137"/>
                  </a:lnTo>
                  <a:lnTo>
                    <a:pt x="6428" y="64586"/>
                  </a:lnTo>
                  <a:lnTo>
                    <a:pt x="6014" y="65070"/>
                  </a:lnTo>
                  <a:lnTo>
                    <a:pt x="5634" y="65554"/>
                  </a:lnTo>
                  <a:lnTo>
                    <a:pt x="5288" y="66038"/>
                  </a:lnTo>
                  <a:lnTo>
                    <a:pt x="4977" y="66556"/>
                  </a:lnTo>
                  <a:lnTo>
                    <a:pt x="4701" y="67075"/>
                  </a:lnTo>
                  <a:lnTo>
                    <a:pt x="4459" y="67627"/>
                  </a:lnTo>
                  <a:lnTo>
                    <a:pt x="4286" y="68215"/>
                  </a:lnTo>
                  <a:lnTo>
                    <a:pt x="4113" y="68768"/>
                  </a:lnTo>
                  <a:lnTo>
                    <a:pt x="3975" y="69390"/>
                  </a:lnTo>
                  <a:lnTo>
                    <a:pt x="3906" y="69908"/>
                  </a:lnTo>
                  <a:lnTo>
                    <a:pt x="3871" y="70461"/>
                  </a:lnTo>
                  <a:lnTo>
                    <a:pt x="3837" y="70979"/>
                  </a:lnTo>
                  <a:lnTo>
                    <a:pt x="3837" y="71498"/>
                  </a:lnTo>
                  <a:lnTo>
                    <a:pt x="3871" y="72051"/>
                  </a:lnTo>
                  <a:lnTo>
                    <a:pt x="3940" y="72569"/>
                  </a:lnTo>
                  <a:lnTo>
                    <a:pt x="4044" y="73053"/>
                  </a:lnTo>
                  <a:lnTo>
                    <a:pt x="4148" y="73571"/>
                  </a:lnTo>
                  <a:lnTo>
                    <a:pt x="4321" y="74089"/>
                  </a:lnTo>
                  <a:lnTo>
                    <a:pt x="4493" y="74608"/>
                  </a:lnTo>
                  <a:lnTo>
                    <a:pt x="4701" y="75092"/>
                  </a:lnTo>
                  <a:lnTo>
                    <a:pt x="4943" y="75610"/>
                  </a:lnTo>
                  <a:lnTo>
                    <a:pt x="5219" y="76094"/>
                  </a:lnTo>
                  <a:lnTo>
                    <a:pt x="5530" y="76578"/>
                  </a:lnTo>
                  <a:lnTo>
                    <a:pt x="5841" y="77096"/>
                  </a:lnTo>
                  <a:lnTo>
                    <a:pt x="6221" y="77580"/>
                  </a:lnTo>
                  <a:lnTo>
                    <a:pt x="6878" y="78374"/>
                  </a:lnTo>
                  <a:lnTo>
                    <a:pt x="7569" y="79169"/>
                  </a:lnTo>
                  <a:lnTo>
                    <a:pt x="8329" y="79930"/>
                  </a:lnTo>
                  <a:lnTo>
                    <a:pt x="9124" y="80690"/>
                  </a:lnTo>
                  <a:lnTo>
                    <a:pt x="9953" y="81415"/>
                  </a:lnTo>
                  <a:lnTo>
                    <a:pt x="10817" y="82107"/>
                  </a:lnTo>
                  <a:lnTo>
                    <a:pt x="12510" y="83523"/>
                  </a:lnTo>
                  <a:lnTo>
                    <a:pt x="13962" y="84698"/>
                  </a:lnTo>
                  <a:lnTo>
                    <a:pt x="15344" y="85839"/>
                  </a:lnTo>
                  <a:lnTo>
                    <a:pt x="16001" y="86426"/>
                  </a:lnTo>
                  <a:lnTo>
                    <a:pt x="16623" y="87014"/>
                  </a:lnTo>
                  <a:lnTo>
                    <a:pt x="17210" y="87636"/>
                  </a:lnTo>
                  <a:lnTo>
                    <a:pt x="17763" y="88223"/>
                  </a:lnTo>
                  <a:lnTo>
                    <a:pt x="18281" y="88845"/>
                  </a:lnTo>
                  <a:lnTo>
                    <a:pt x="18731" y="89467"/>
                  </a:lnTo>
                  <a:lnTo>
                    <a:pt x="19111" y="90124"/>
                  </a:lnTo>
                  <a:lnTo>
                    <a:pt x="19456" y="90780"/>
                  </a:lnTo>
                  <a:lnTo>
                    <a:pt x="19733" y="91437"/>
                  </a:lnTo>
                  <a:lnTo>
                    <a:pt x="19940" y="92162"/>
                  </a:lnTo>
                  <a:lnTo>
                    <a:pt x="20044" y="92854"/>
                  </a:lnTo>
                  <a:lnTo>
                    <a:pt x="20078" y="93234"/>
                  </a:lnTo>
                  <a:lnTo>
                    <a:pt x="20078" y="93579"/>
                  </a:lnTo>
                  <a:lnTo>
                    <a:pt x="20078" y="94063"/>
                  </a:lnTo>
                  <a:lnTo>
                    <a:pt x="20044" y="94547"/>
                  </a:lnTo>
                  <a:lnTo>
                    <a:pt x="19975" y="94996"/>
                  </a:lnTo>
                  <a:lnTo>
                    <a:pt x="19905" y="95445"/>
                  </a:lnTo>
                  <a:lnTo>
                    <a:pt x="19802" y="95895"/>
                  </a:lnTo>
                  <a:lnTo>
                    <a:pt x="19664" y="96344"/>
                  </a:lnTo>
                  <a:lnTo>
                    <a:pt x="19491" y="96758"/>
                  </a:lnTo>
                  <a:lnTo>
                    <a:pt x="19318" y="97173"/>
                  </a:lnTo>
                  <a:lnTo>
                    <a:pt x="19111" y="97588"/>
                  </a:lnTo>
                  <a:lnTo>
                    <a:pt x="18869" y="97968"/>
                  </a:lnTo>
                  <a:lnTo>
                    <a:pt x="18627" y="98383"/>
                  </a:lnTo>
                  <a:lnTo>
                    <a:pt x="18350" y="98763"/>
                  </a:lnTo>
                  <a:lnTo>
                    <a:pt x="18039" y="99143"/>
                  </a:lnTo>
                  <a:lnTo>
                    <a:pt x="17728" y="99488"/>
                  </a:lnTo>
                  <a:lnTo>
                    <a:pt x="17383" y="99869"/>
                  </a:lnTo>
                  <a:lnTo>
                    <a:pt x="17003" y="100214"/>
                  </a:lnTo>
                  <a:lnTo>
                    <a:pt x="16208" y="100871"/>
                  </a:lnTo>
                  <a:lnTo>
                    <a:pt x="15379" y="101458"/>
                  </a:lnTo>
                  <a:lnTo>
                    <a:pt x="14480" y="102011"/>
                  </a:lnTo>
                  <a:lnTo>
                    <a:pt x="13513" y="102495"/>
                  </a:lnTo>
                  <a:lnTo>
                    <a:pt x="12545" y="102944"/>
                  </a:lnTo>
                  <a:lnTo>
                    <a:pt x="11508" y="103324"/>
                  </a:lnTo>
                  <a:lnTo>
                    <a:pt x="10472" y="103670"/>
                  </a:lnTo>
                  <a:lnTo>
                    <a:pt x="9400" y="103981"/>
                  </a:lnTo>
                  <a:lnTo>
                    <a:pt x="8364" y="104223"/>
                  </a:lnTo>
                  <a:lnTo>
                    <a:pt x="7292" y="104430"/>
                  </a:lnTo>
                  <a:lnTo>
                    <a:pt x="6256" y="104568"/>
                  </a:lnTo>
                  <a:lnTo>
                    <a:pt x="5219" y="104706"/>
                  </a:lnTo>
                  <a:lnTo>
                    <a:pt x="4182" y="104741"/>
                  </a:lnTo>
                  <a:lnTo>
                    <a:pt x="3215" y="104776"/>
                  </a:lnTo>
                  <a:lnTo>
                    <a:pt x="2282" y="104741"/>
                  </a:lnTo>
                  <a:lnTo>
                    <a:pt x="1383" y="104672"/>
                  </a:lnTo>
                  <a:lnTo>
                    <a:pt x="1141" y="104672"/>
                  </a:lnTo>
                  <a:lnTo>
                    <a:pt x="899" y="104706"/>
                  </a:lnTo>
                  <a:lnTo>
                    <a:pt x="692" y="104810"/>
                  </a:lnTo>
                  <a:lnTo>
                    <a:pt x="485" y="104948"/>
                  </a:lnTo>
                  <a:lnTo>
                    <a:pt x="312" y="105121"/>
                  </a:lnTo>
                  <a:lnTo>
                    <a:pt x="174" y="105294"/>
                  </a:lnTo>
                  <a:lnTo>
                    <a:pt x="70" y="105536"/>
                  </a:lnTo>
                  <a:lnTo>
                    <a:pt x="1" y="105778"/>
                  </a:lnTo>
                  <a:lnTo>
                    <a:pt x="1" y="106020"/>
                  </a:lnTo>
                  <a:lnTo>
                    <a:pt x="70" y="106261"/>
                  </a:lnTo>
                  <a:lnTo>
                    <a:pt x="139" y="106503"/>
                  </a:lnTo>
                  <a:lnTo>
                    <a:pt x="277" y="106711"/>
                  </a:lnTo>
                  <a:lnTo>
                    <a:pt x="450" y="106884"/>
                  </a:lnTo>
                  <a:lnTo>
                    <a:pt x="658" y="107022"/>
                  </a:lnTo>
                  <a:lnTo>
                    <a:pt x="865" y="107091"/>
                  </a:lnTo>
                  <a:lnTo>
                    <a:pt x="1107" y="107160"/>
                  </a:lnTo>
                  <a:lnTo>
                    <a:pt x="2213" y="107229"/>
                  </a:lnTo>
                  <a:lnTo>
                    <a:pt x="3353" y="107264"/>
                  </a:lnTo>
                  <a:lnTo>
                    <a:pt x="4321" y="107264"/>
                  </a:lnTo>
                  <a:lnTo>
                    <a:pt x="5288" y="107195"/>
                  </a:lnTo>
                  <a:lnTo>
                    <a:pt x="6290" y="107091"/>
                  </a:lnTo>
                  <a:lnTo>
                    <a:pt x="7327" y="106953"/>
                  </a:lnTo>
                  <a:lnTo>
                    <a:pt x="8329" y="106780"/>
                  </a:lnTo>
                  <a:lnTo>
                    <a:pt x="9366" y="106573"/>
                  </a:lnTo>
                  <a:lnTo>
                    <a:pt x="10402" y="106296"/>
                  </a:lnTo>
                  <a:lnTo>
                    <a:pt x="11405" y="106020"/>
                  </a:lnTo>
                  <a:lnTo>
                    <a:pt x="12407" y="105674"/>
                  </a:lnTo>
                  <a:lnTo>
                    <a:pt x="13409" y="105294"/>
                  </a:lnTo>
                  <a:lnTo>
                    <a:pt x="14376" y="104845"/>
                  </a:lnTo>
                  <a:lnTo>
                    <a:pt x="15309" y="104395"/>
                  </a:lnTo>
                  <a:lnTo>
                    <a:pt x="16208" y="103877"/>
                  </a:lnTo>
                  <a:lnTo>
                    <a:pt x="17072" y="103324"/>
                  </a:lnTo>
                  <a:lnTo>
                    <a:pt x="17901" y="102702"/>
                  </a:lnTo>
                  <a:lnTo>
                    <a:pt x="18661" y="102080"/>
                  </a:lnTo>
                  <a:lnTo>
                    <a:pt x="19145" y="101631"/>
                  </a:lnTo>
                  <a:lnTo>
                    <a:pt x="19594" y="101182"/>
                  </a:lnTo>
                  <a:lnTo>
                    <a:pt x="20009" y="100698"/>
                  </a:lnTo>
                  <a:lnTo>
                    <a:pt x="20389" y="100214"/>
                  </a:lnTo>
                  <a:lnTo>
                    <a:pt x="20735" y="99730"/>
                  </a:lnTo>
                  <a:lnTo>
                    <a:pt x="21046" y="99247"/>
                  </a:lnTo>
                  <a:lnTo>
                    <a:pt x="21357" y="98728"/>
                  </a:lnTo>
                  <a:lnTo>
                    <a:pt x="21599" y="98210"/>
                  </a:lnTo>
                  <a:lnTo>
                    <a:pt x="21841" y="97657"/>
                  </a:lnTo>
                  <a:lnTo>
                    <a:pt x="22048" y="97104"/>
                  </a:lnTo>
                  <a:lnTo>
                    <a:pt x="22221" y="96551"/>
                  </a:lnTo>
                  <a:lnTo>
                    <a:pt x="22359" y="95998"/>
                  </a:lnTo>
                  <a:lnTo>
                    <a:pt x="22463" y="95411"/>
                  </a:lnTo>
                  <a:lnTo>
                    <a:pt x="22532" y="94823"/>
                  </a:lnTo>
                  <a:lnTo>
                    <a:pt x="22566" y="94201"/>
                  </a:lnTo>
                  <a:lnTo>
                    <a:pt x="22601" y="93579"/>
                  </a:lnTo>
                  <a:lnTo>
                    <a:pt x="22566" y="93130"/>
                  </a:lnTo>
                  <a:lnTo>
                    <a:pt x="22532" y="92646"/>
                  </a:lnTo>
                  <a:lnTo>
                    <a:pt x="22463" y="92197"/>
                  </a:lnTo>
                  <a:lnTo>
                    <a:pt x="22394" y="91713"/>
                  </a:lnTo>
                  <a:lnTo>
                    <a:pt x="22290" y="91299"/>
                  </a:lnTo>
                  <a:lnTo>
                    <a:pt x="22152" y="90849"/>
                  </a:lnTo>
                  <a:lnTo>
                    <a:pt x="22013" y="90435"/>
                  </a:lnTo>
                  <a:lnTo>
                    <a:pt x="21841" y="89985"/>
                  </a:lnTo>
                  <a:lnTo>
                    <a:pt x="21460" y="89191"/>
                  </a:lnTo>
                  <a:lnTo>
                    <a:pt x="21011" y="88396"/>
                  </a:lnTo>
                  <a:lnTo>
                    <a:pt x="20493" y="87636"/>
                  </a:lnTo>
                  <a:lnTo>
                    <a:pt x="19905" y="86910"/>
                  </a:lnTo>
                  <a:lnTo>
                    <a:pt x="19283" y="86184"/>
                  </a:lnTo>
                  <a:lnTo>
                    <a:pt x="18627" y="85493"/>
                  </a:lnTo>
                  <a:lnTo>
                    <a:pt x="17901" y="84802"/>
                  </a:lnTo>
                  <a:lnTo>
                    <a:pt x="17175" y="84145"/>
                  </a:lnTo>
                  <a:lnTo>
                    <a:pt x="15655" y="82832"/>
                  </a:lnTo>
                  <a:lnTo>
                    <a:pt x="14100" y="81554"/>
                  </a:lnTo>
                  <a:lnTo>
                    <a:pt x="12476" y="80241"/>
                  </a:lnTo>
                  <a:lnTo>
                    <a:pt x="11681" y="79584"/>
                  </a:lnTo>
                  <a:lnTo>
                    <a:pt x="10921" y="78927"/>
                  </a:lnTo>
                  <a:lnTo>
                    <a:pt x="10195" y="78271"/>
                  </a:lnTo>
                  <a:lnTo>
                    <a:pt x="9539" y="77614"/>
                  </a:lnTo>
                  <a:lnTo>
                    <a:pt x="8882" y="76923"/>
                  </a:lnTo>
                  <a:lnTo>
                    <a:pt x="8329" y="76197"/>
                  </a:lnTo>
                  <a:lnTo>
                    <a:pt x="7811" y="75506"/>
                  </a:lnTo>
                  <a:lnTo>
                    <a:pt x="7327" y="74781"/>
                  </a:lnTo>
                  <a:lnTo>
                    <a:pt x="6981" y="74020"/>
                  </a:lnTo>
                  <a:lnTo>
                    <a:pt x="6809" y="73606"/>
                  </a:lnTo>
                  <a:lnTo>
                    <a:pt x="6670" y="73226"/>
                  </a:lnTo>
                  <a:lnTo>
                    <a:pt x="6567" y="72811"/>
                  </a:lnTo>
                  <a:lnTo>
                    <a:pt x="6463" y="72431"/>
                  </a:lnTo>
                  <a:lnTo>
                    <a:pt x="6394" y="72016"/>
                  </a:lnTo>
                  <a:lnTo>
                    <a:pt x="6359" y="71567"/>
                  </a:lnTo>
                  <a:lnTo>
                    <a:pt x="6325" y="71152"/>
                  </a:lnTo>
                  <a:lnTo>
                    <a:pt x="6359" y="70703"/>
                  </a:lnTo>
                  <a:lnTo>
                    <a:pt x="6394" y="70254"/>
                  </a:lnTo>
                  <a:lnTo>
                    <a:pt x="6463" y="69804"/>
                  </a:lnTo>
                  <a:lnTo>
                    <a:pt x="6532" y="69355"/>
                  </a:lnTo>
                  <a:lnTo>
                    <a:pt x="6670" y="68906"/>
                  </a:lnTo>
                  <a:lnTo>
                    <a:pt x="6809" y="68491"/>
                  </a:lnTo>
                  <a:lnTo>
                    <a:pt x="7016" y="68077"/>
                  </a:lnTo>
                  <a:lnTo>
                    <a:pt x="7223" y="67697"/>
                  </a:lnTo>
                  <a:lnTo>
                    <a:pt x="7465" y="67282"/>
                  </a:lnTo>
                  <a:lnTo>
                    <a:pt x="7707" y="66902"/>
                  </a:lnTo>
                  <a:lnTo>
                    <a:pt x="8018" y="66556"/>
                  </a:lnTo>
                  <a:lnTo>
                    <a:pt x="8364" y="66211"/>
                  </a:lnTo>
                  <a:lnTo>
                    <a:pt x="8709" y="65865"/>
                  </a:lnTo>
                  <a:lnTo>
                    <a:pt x="9124" y="65519"/>
                  </a:lnTo>
                  <a:lnTo>
                    <a:pt x="9539" y="65174"/>
                  </a:lnTo>
                  <a:lnTo>
                    <a:pt x="9988" y="64863"/>
                  </a:lnTo>
                  <a:lnTo>
                    <a:pt x="10472" y="64552"/>
                  </a:lnTo>
                  <a:lnTo>
                    <a:pt x="11024" y="64275"/>
                  </a:lnTo>
                  <a:lnTo>
                    <a:pt x="11577" y="63964"/>
                  </a:lnTo>
                  <a:lnTo>
                    <a:pt x="12683" y="63446"/>
                  </a:lnTo>
                  <a:lnTo>
                    <a:pt x="13893" y="62962"/>
                  </a:lnTo>
                  <a:lnTo>
                    <a:pt x="15137" y="62513"/>
                  </a:lnTo>
                  <a:lnTo>
                    <a:pt x="16450" y="62098"/>
                  </a:lnTo>
                  <a:lnTo>
                    <a:pt x="17798" y="61684"/>
                  </a:lnTo>
                  <a:lnTo>
                    <a:pt x="19180" y="61304"/>
                  </a:lnTo>
                  <a:lnTo>
                    <a:pt x="21944" y="60578"/>
                  </a:lnTo>
                  <a:lnTo>
                    <a:pt x="24709" y="59887"/>
                  </a:lnTo>
                  <a:lnTo>
                    <a:pt x="26056" y="59507"/>
                  </a:lnTo>
                  <a:lnTo>
                    <a:pt x="27404" y="59127"/>
                  </a:lnTo>
                  <a:lnTo>
                    <a:pt x="28683" y="58677"/>
                  </a:lnTo>
                  <a:lnTo>
                    <a:pt x="29961" y="58228"/>
                  </a:lnTo>
                  <a:lnTo>
                    <a:pt x="31171" y="57744"/>
                  </a:lnTo>
                  <a:lnTo>
                    <a:pt x="32311" y="57226"/>
                  </a:lnTo>
                  <a:lnTo>
                    <a:pt x="32864" y="56950"/>
                  </a:lnTo>
                  <a:lnTo>
                    <a:pt x="33382" y="56639"/>
                  </a:lnTo>
                  <a:lnTo>
                    <a:pt x="33901" y="56327"/>
                  </a:lnTo>
                  <a:lnTo>
                    <a:pt x="34385" y="55982"/>
                  </a:lnTo>
                  <a:lnTo>
                    <a:pt x="34834" y="55636"/>
                  </a:lnTo>
                  <a:lnTo>
                    <a:pt x="35283" y="55291"/>
                  </a:lnTo>
                  <a:lnTo>
                    <a:pt x="35698" y="54911"/>
                  </a:lnTo>
                  <a:lnTo>
                    <a:pt x="36078" y="54531"/>
                  </a:lnTo>
                  <a:lnTo>
                    <a:pt x="36458" y="54116"/>
                  </a:lnTo>
                  <a:lnTo>
                    <a:pt x="36769" y="53667"/>
                  </a:lnTo>
                  <a:lnTo>
                    <a:pt x="37080" y="53217"/>
                  </a:lnTo>
                  <a:lnTo>
                    <a:pt x="37356" y="52768"/>
                  </a:lnTo>
                  <a:lnTo>
                    <a:pt x="37598" y="52250"/>
                  </a:lnTo>
                  <a:lnTo>
                    <a:pt x="37806" y="51731"/>
                  </a:lnTo>
                  <a:lnTo>
                    <a:pt x="37944" y="51213"/>
                  </a:lnTo>
                  <a:lnTo>
                    <a:pt x="38082" y="50626"/>
                  </a:lnTo>
                  <a:lnTo>
                    <a:pt x="38220" y="49865"/>
                  </a:lnTo>
                  <a:lnTo>
                    <a:pt x="38289" y="49105"/>
                  </a:lnTo>
                  <a:lnTo>
                    <a:pt x="38324" y="48345"/>
                  </a:lnTo>
                  <a:lnTo>
                    <a:pt x="38324" y="47619"/>
                  </a:lnTo>
                  <a:lnTo>
                    <a:pt x="38255" y="46894"/>
                  </a:lnTo>
                  <a:lnTo>
                    <a:pt x="38151" y="46168"/>
                  </a:lnTo>
                  <a:lnTo>
                    <a:pt x="37978" y="45442"/>
                  </a:lnTo>
                  <a:lnTo>
                    <a:pt x="37771" y="44751"/>
                  </a:lnTo>
                  <a:lnTo>
                    <a:pt x="37529" y="44060"/>
                  </a:lnTo>
                  <a:lnTo>
                    <a:pt x="37218" y="43403"/>
                  </a:lnTo>
                  <a:lnTo>
                    <a:pt x="36873" y="42712"/>
                  </a:lnTo>
                  <a:lnTo>
                    <a:pt x="36458" y="42056"/>
                  </a:lnTo>
                  <a:lnTo>
                    <a:pt x="36009" y="41399"/>
                  </a:lnTo>
                  <a:lnTo>
                    <a:pt x="35490" y="40777"/>
                  </a:lnTo>
                  <a:lnTo>
                    <a:pt x="34937" y="40121"/>
                  </a:lnTo>
                  <a:lnTo>
                    <a:pt x="34350" y="39499"/>
                  </a:lnTo>
                  <a:lnTo>
                    <a:pt x="33797" y="38980"/>
                  </a:lnTo>
                  <a:lnTo>
                    <a:pt x="33210" y="38496"/>
                  </a:lnTo>
                  <a:lnTo>
                    <a:pt x="32622" y="37978"/>
                  </a:lnTo>
                  <a:lnTo>
                    <a:pt x="32035" y="37494"/>
                  </a:lnTo>
                  <a:lnTo>
                    <a:pt x="30722" y="36561"/>
                  </a:lnTo>
                  <a:lnTo>
                    <a:pt x="29374" y="35663"/>
                  </a:lnTo>
                  <a:lnTo>
                    <a:pt x="27992" y="34764"/>
                  </a:lnTo>
                  <a:lnTo>
                    <a:pt x="26540" y="33935"/>
                  </a:lnTo>
                  <a:lnTo>
                    <a:pt x="23638" y="32276"/>
                  </a:lnTo>
                  <a:lnTo>
                    <a:pt x="21115" y="30825"/>
                  </a:lnTo>
                  <a:lnTo>
                    <a:pt x="19871" y="30099"/>
                  </a:lnTo>
                  <a:lnTo>
                    <a:pt x="18696" y="29374"/>
                  </a:lnTo>
                  <a:lnTo>
                    <a:pt x="17521" y="28648"/>
                  </a:lnTo>
                  <a:lnTo>
                    <a:pt x="16450" y="27888"/>
                  </a:lnTo>
                  <a:lnTo>
                    <a:pt x="15413" y="27127"/>
                  </a:lnTo>
                  <a:lnTo>
                    <a:pt x="14446" y="26333"/>
                  </a:lnTo>
                  <a:lnTo>
                    <a:pt x="13547" y="25538"/>
                  </a:lnTo>
                  <a:lnTo>
                    <a:pt x="13132" y="25123"/>
                  </a:lnTo>
                  <a:lnTo>
                    <a:pt x="12752" y="24674"/>
                  </a:lnTo>
                  <a:lnTo>
                    <a:pt x="12372" y="24259"/>
                  </a:lnTo>
                  <a:lnTo>
                    <a:pt x="12027" y="23810"/>
                  </a:lnTo>
                  <a:lnTo>
                    <a:pt x="11716" y="23361"/>
                  </a:lnTo>
                  <a:lnTo>
                    <a:pt x="11439" y="22911"/>
                  </a:lnTo>
                  <a:lnTo>
                    <a:pt x="11163" y="22428"/>
                  </a:lnTo>
                  <a:lnTo>
                    <a:pt x="10955" y="21944"/>
                  </a:lnTo>
                  <a:lnTo>
                    <a:pt x="10748" y="21460"/>
                  </a:lnTo>
                  <a:lnTo>
                    <a:pt x="10575" y="20942"/>
                  </a:lnTo>
                  <a:lnTo>
                    <a:pt x="10437" y="20423"/>
                  </a:lnTo>
                  <a:lnTo>
                    <a:pt x="10333" y="19905"/>
                  </a:lnTo>
                  <a:lnTo>
                    <a:pt x="10264" y="19352"/>
                  </a:lnTo>
                  <a:lnTo>
                    <a:pt x="10230" y="18799"/>
                  </a:lnTo>
                  <a:lnTo>
                    <a:pt x="10230" y="17832"/>
                  </a:lnTo>
                  <a:lnTo>
                    <a:pt x="10230" y="16899"/>
                  </a:lnTo>
                  <a:lnTo>
                    <a:pt x="10299" y="15966"/>
                  </a:lnTo>
                  <a:lnTo>
                    <a:pt x="10368" y="15102"/>
                  </a:lnTo>
                  <a:lnTo>
                    <a:pt x="10472" y="14272"/>
                  </a:lnTo>
                  <a:lnTo>
                    <a:pt x="10644" y="13443"/>
                  </a:lnTo>
                  <a:lnTo>
                    <a:pt x="10817" y="12683"/>
                  </a:lnTo>
                  <a:lnTo>
                    <a:pt x="11024" y="11923"/>
                  </a:lnTo>
                  <a:lnTo>
                    <a:pt x="11266" y="11231"/>
                  </a:lnTo>
                  <a:lnTo>
                    <a:pt x="11543" y="10540"/>
                  </a:lnTo>
                  <a:lnTo>
                    <a:pt x="11854" y="9884"/>
                  </a:lnTo>
                  <a:lnTo>
                    <a:pt x="12199" y="9262"/>
                  </a:lnTo>
                  <a:lnTo>
                    <a:pt x="12579" y="8674"/>
                  </a:lnTo>
                  <a:lnTo>
                    <a:pt x="12994" y="8121"/>
                  </a:lnTo>
                  <a:lnTo>
                    <a:pt x="13443" y="7603"/>
                  </a:lnTo>
                  <a:lnTo>
                    <a:pt x="13893" y="7119"/>
                  </a:lnTo>
                  <a:lnTo>
                    <a:pt x="14273" y="6774"/>
                  </a:lnTo>
                  <a:lnTo>
                    <a:pt x="14653" y="6428"/>
                  </a:lnTo>
                  <a:lnTo>
                    <a:pt x="15068" y="6117"/>
                  </a:lnTo>
                  <a:lnTo>
                    <a:pt x="15482" y="5841"/>
                  </a:lnTo>
                  <a:lnTo>
                    <a:pt x="15931" y="5530"/>
                  </a:lnTo>
                  <a:lnTo>
                    <a:pt x="16381" y="5253"/>
                  </a:lnTo>
                  <a:lnTo>
                    <a:pt x="16864" y="5011"/>
                  </a:lnTo>
                  <a:lnTo>
                    <a:pt x="17383" y="4769"/>
                  </a:lnTo>
                  <a:lnTo>
                    <a:pt x="18454" y="4320"/>
                  </a:lnTo>
                  <a:lnTo>
                    <a:pt x="19594" y="3905"/>
                  </a:lnTo>
                  <a:lnTo>
                    <a:pt x="20838" y="3560"/>
                  </a:lnTo>
                  <a:lnTo>
                    <a:pt x="22152" y="3249"/>
                  </a:lnTo>
                  <a:lnTo>
                    <a:pt x="23603" y="3007"/>
                  </a:lnTo>
                  <a:lnTo>
                    <a:pt x="25089" y="2800"/>
                  </a:lnTo>
                  <a:lnTo>
                    <a:pt x="26713" y="2661"/>
                  </a:lnTo>
                  <a:lnTo>
                    <a:pt x="28441" y="2558"/>
                  </a:lnTo>
                  <a:lnTo>
                    <a:pt x="30238" y="2489"/>
                  </a:lnTo>
                  <a:lnTo>
                    <a:pt x="32173" y="2489"/>
                  </a:lnTo>
                  <a:lnTo>
                    <a:pt x="34212" y="2558"/>
                  </a:lnTo>
                  <a:lnTo>
                    <a:pt x="36354" y="2627"/>
                  </a:lnTo>
                  <a:lnTo>
                    <a:pt x="36596" y="2627"/>
                  </a:lnTo>
                  <a:lnTo>
                    <a:pt x="36838" y="2558"/>
                  </a:lnTo>
                  <a:lnTo>
                    <a:pt x="37045" y="2454"/>
                  </a:lnTo>
                  <a:lnTo>
                    <a:pt x="37253" y="2316"/>
                  </a:lnTo>
                  <a:lnTo>
                    <a:pt x="37426" y="2143"/>
                  </a:lnTo>
                  <a:lnTo>
                    <a:pt x="37529" y="1936"/>
                  </a:lnTo>
                  <a:lnTo>
                    <a:pt x="37633" y="1694"/>
                  </a:lnTo>
                  <a:lnTo>
                    <a:pt x="37667" y="1452"/>
                  </a:lnTo>
                  <a:lnTo>
                    <a:pt x="37667" y="1210"/>
                  </a:lnTo>
                  <a:lnTo>
                    <a:pt x="37598" y="968"/>
                  </a:lnTo>
                  <a:lnTo>
                    <a:pt x="37495" y="726"/>
                  </a:lnTo>
                  <a:lnTo>
                    <a:pt x="37356" y="553"/>
                  </a:lnTo>
                  <a:lnTo>
                    <a:pt x="37184" y="381"/>
                  </a:lnTo>
                  <a:lnTo>
                    <a:pt x="36976" y="277"/>
                  </a:lnTo>
                  <a:lnTo>
                    <a:pt x="36734" y="173"/>
                  </a:lnTo>
                  <a:lnTo>
                    <a:pt x="36493" y="139"/>
                  </a:lnTo>
                  <a:lnTo>
                    <a:pt x="34212" y="35"/>
                  </a:lnTo>
                  <a:lnTo>
                    <a:pt x="32035" y="1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Google Shape;1488;p16">
              <a:extLst>
                <a:ext uri="{FF2B5EF4-FFF2-40B4-BE49-F238E27FC236}">
                  <a16:creationId xmlns:a16="http://schemas.microsoft.com/office/drawing/2014/main" id="{57B4DD25-2127-8DE6-320E-001030EDF4B1}"/>
                </a:ext>
              </a:extLst>
            </p:cNvPr>
            <p:cNvSpPr/>
            <p:nvPr/>
          </p:nvSpPr>
          <p:spPr>
            <a:xfrm>
              <a:off x="2582375" y="3288575"/>
              <a:ext cx="286850" cy="267850"/>
            </a:xfrm>
            <a:custGeom>
              <a:avLst/>
              <a:gdLst/>
              <a:ahLst/>
              <a:cxnLst/>
              <a:rect l="l" t="t" r="r" b="b"/>
              <a:pathLst>
                <a:path w="11474" h="10714" extrusionOk="0">
                  <a:moveTo>
                    <a:pt x="1279" y="1"/>
                  </a:moveTo>
                  <a:lnTo>
                    <a:pt x="1037" y="35"/>
                  </a:lnTo>
                  <a:lnTo>
                    <a:pt x="795" y="104"/>
                  </a:lnTo>
                  <a:lnTo>
                    <a:pt x="553" y="208"/>
                  </a:lnTo>
                  <a:lnTo>
                    <a:pt x="346" y="381"/>
                  </a:lnTo>
                  <a:lnTo>
                    <a:pt x="208" y="588"/>
                  </a:lnTo>
                  <a:lnTo>
                    <a:pt x="70" y="795"/>
                  </a:lnTo>
                  <a:lnTo>
                    <a:pt x="0" y="1037"/>
                  </a:lnTo>
                  <a:lnTo>
                    <a:pt x="0" y="1279"/>
                  </a:lnTo>
                  <a:lnTo>
                    <a:pt x="0" y="1521"/>
                  </a:lnTo>
                  <a:lnTo>
                    <a:pt x="70" y="1763"/>
                  </a:lnTo>
                  <a:lnTo>
                    <a:pt x="208" y="2005"/>
                  </a:lnTo>
                  <a:lnTo>
                    <a:pt x="346" y="2178"/>
                  </a:lnTo>
                  <a:lnTo>
                    <a:pt x="1590" y="3422"/>
                  </a:lnTo>
                  <a:lnTo>
                    <a:pt x="4354" y="6083"/>
                  </a:lnTo>
                  <a:lnTo>
                    <a:pt x="5806" y="7465"/>
                  </a:lnTo>
                  <a:lnTo>
                    <a:pt x="6946" y="8502"/>
                  </a:lnTo>
                  <a:lnTo>
                    <a:pt x="7845" y="9296"/>
                  </a:lnTo>
                  <a:lnTo>
                    <a:pt x="8501" y="9849"/>
                  </a:lnTo>
                  <a:lnTo>
                    <a:pt x="8985" y="10195"/>
                  </a:lnTo>
                  <a:lnTo>
                    <a:pt x="9331" y="10437"/>
                  </a:lnTo>
                  <a:lnTo>
                    <a:pt x="9538" y="10540"/>
                  </a:lnTo>
                  <a:lnTo>
                    <a:pt x="9711" y="10609"/>
                  </a:lnTo>
                  <a:lnTo>
                    <a:pt x="9953" y="10679"/>
                  </a:lnTo>
                  <a:lnTo>
                    <a:pt x="10195" y="10713"/>
                  </a:lnTo>
                  <a:lnTo>
                    <a:pt x="10367" y="10679"/>
                  </a:lnTo>
                  <a:lnTo>
                    <a:pt x="10575" y="10644"/>
                  </a:lnTo>
                  <a:lnTo>
                    <a:pt x="10747" y="10575"/>
                  </a:lnTo>
                  <a:lnTo>
                    <a:pt x="10886" y="10506"/>
                  </a:lnTo>
                  <a:lnTo>
                    <a:pt x="11058" y="10368"/>
                  </a:lnTo>
                  <a:lnTo>
                    <a:pt x="11162" y="10229"/>
                  </a:lnTo>
                  <a:lnTo>
                    <a:pt x="11300" y="10091"/>
                  </a:lnTo>
                  <a:lnTo>
                    <a:pt x="11369" y="9884"/>
                  </a:lnTo>
                  <a:lnTo>
                    <a:pt x="11439" y="9642"/>
                  </a:lnTo>
                  <a:lnTo>
                    <a:pt x="11473" y="9400"/>
                  </a:lnTo>
                  <a:lnTo>
                    <a:pt x="11439" y="9158"/>
                  </a:lnTo>
                  <a:lnTo>
                    <a:pt x="11369" y="8916"/>
                  </a:lnTo>
                  <a:lnTo>
                    <a:pt x="11266" y="8709"/>
                  </a:lnTo>
                  <a:lnTo>
                    <a:pt x="11093" y="8536"/>
                  </a:lnTo>
                  <a:lnTo>
                    <a:pt x="10920" y="8363"/>
                  </a:lnTo>
                  <a:lnTo>
                    <a:pt x="10678" y="8260"/>
                  </a:lnTo>
                  <a:lnTo>
                    <a:pt x="10471" y="8121"/>
                  </a:lnTo>
                  <a:lnTo>
                    <a:pt x="10229" y="7914"/>
                  </a:lnTo>
                  <a:lnTo>
                    <a:pt x="9503" y="7327"/>
                  </a:lnTo>
                  <a:lnTo>
                    <a:pt x="8536" y="6497"/>
                  </a:lnTo>
                  <a:lnTo>
                    <a:pt x="7430" y="5495"/>
                  </a:lnTo>
                  <a:lnTo>
                    <a:pt x="4873" y="3042"/>
                  </a:lnTo>
                  <a:lnTo>
                    <a:pt x="2177" y="381"/>
                  </a:lnTo>
                  <a:lnTo>
                    <a:pt x="1970" y="208"/>
                  </a:lnTo>
                  <a:lnTo>
                    <a:pt x="1763" y="104"/>
                  </a:lnTo>
                  <a:lnTo>
                    <a:pt x="1521" y="35"/>
                  </a:lnTo>
                  <a:lnTo>
                    <a:pt x="1279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Google Shape;1489;p16">
              <a:extLst>
                <a:ext uri="{FF2B5EF4-FFF2-40B4-BE49-F238E27FC236}">
                  <a16:creationId xmlns:a16="http://schemas.microsoft.com/office/drawing/2014/main" id="{5A37B8C3-7481-737E-3282-A4F5D91B0DD2}"/>
                </a:ext>
              </a:extLst>
            </p:cNvPr>
            <p:cNvSpPr/>
            <p:nvPr/>
          </p:nvSpPr>
          <p:spPr>
            <a:xfrm>
              <a:off x="2575450" y="3304125"/>
              <a:ext cx="307600" cy="245375"/>
            </a:xfrm>
            <a:custGeom>
              <a:avLst/>
              <a:gdLst/>
              <a:ahLst/>
              <a:cxnLst/>
              <a:rect l="l" t="t" r="r" b="b"/>
              <a:pathLst>
                <a:path w="12304" h="9815" extrusionOk="0">
                  <a:moveTo>
                    <a:pt x="10921" y="1"/>
                  </a:moveTo>
                  <a:lnTo>
                    <a:pt x="10506" y="70"/>
                  </a:lnTo>
                  <a:lnTo>
                    <a:pt x="10091" y="139"/>
                  </a:lnTo>
                  <a:lnTo>
                    <a:pt x="9677" y="243"/>
                  </a:lnTo>
                  <a:lnTo>
                    <a:pt x="9262" y="346"/>
                  </a:lnTo>
                  <a:lnTo>
                    <a:pt x="8467" y="657"/>
                  </a:lnTo>
                  <a:lnTo>
                    <a:pt x="7672" y="1037"/>
                  </a:lnTo>
                  <a:lnTo>
                    <a:pt x="6878" y="1452"/>
                  </a:lnTo>
                  <a:lnTo>
                    <a:pt x="6152" y="1970"/>
                  </a:lnTo>
                  <a:lnTo>
                    <a:pt x="5426" y="2489"/>
                  </a:lnTo>
                  <a:lnTo>
                    <a:pt x="4735" y="3076"/>
                  </a:lnTo>
                  <a:lnTo>
                    <a:pt x="4044" y="3664"/>
                  </a:lnTo>
                  <a:lnTo>
                    <a:pt x="3422" y="4251"/>
                  </a:lnTo>
                  <a:lnTo>
                    <a:pt x="2800" y="4873"/>
                  </a:lnTo>
                  <a:lnTo>
                    <a:pt x="2213" y="5495"/>
                  </a:lnTo>
                  <a:lnTo>
                    <a:pt x="1176" y="6670"/>
                  </a:lnTo>
                  <a:lnTo>
                    <a:pt x="312" y="7707"/>
                  </a:lnTo>
                  <a:lnTo>
                    <a:pt x="139" y="7949"/>
                  </a:lnTo>
                  <a:lnTo>
                    <a:pt x="70" y="8156"/>
                  </a:lnTo>
                  <a:lnTo>
                    <a:pt x="1" y="8398"/>
                  </a:lnTo>
                  <a:lnTo>
                    <a:pt x="1" y="8640"/>
                  </a:lnTo>
                  <a:lnTo>
                    <a:pt x="35" y="8882"/>
                  </a:lnTo>
                  <a:lnTo>
                    <a:pt x="139" y="9124"/>
                  </a:lnTo>
                  <a:lnTo>
                    <a:pt x="277" y="9331"/>
                  </a:lnTo>
                  <a:lnTo>
                    <a:pt x="450" y="9504"/>
                  </a:lnTo>
                  <a:lnTo>
                    <a:pt x="658" y="9642"/>
                  </a:lnTo>
                  <a:lnTo>
                    <a:pt x="865" y="9746"/>
                  </a:lnTo>
                  <a:lnTo>
                    <a:pt x="1072" y="9815"/>
                  </a:lnTo>
                  <a:lnTo>
                    <a:pt x="1280" y="9815"/>
                  </a:lnTo>
                  <a:lnTo>
                    <a:pt x="1556" y="9780"/>
                  </a:lnTo>
                  <a:lnTo>
                    <a:pt x="1798" y="9711"/>
                  </a:lnTo>
                  <a:lnTo>
                    <a:pt x="2040" y="9573"/>
                  </a:lnTo>
                  <a:lnTo>
                    <a:pt x="2247" y="9365"/>
                  </a:lnTo>
                  <a:lnTo>
                    <a:pt x="3042" y="8432"/>
                  </a:lnTo>
                  <a:lnTo>
                    <a:pt x="3975" y="7396"/>
                  </a:lnTo>
                  <a:lnTo>
                    <a:pt x="5012" y="6290"/>
                  </a:lnTo>
                  <a:lnTo>
                    <a:pt x="5565" y="5737"/>
                  </a:lnTo>
                  <a:lnTo>
                    <a:pt x="6117" y="5219"/>
                  </a:lnTo>
                  <a:lnTo>
                    <a:pt x="6705" y="4735"/>
                  </a:lnTo>
                  <a:lnTo>
                    <a:pt x="7327" y="4251"/>
                  </a:lnTo>
                  <a:lnTo>
                    <a:pt x="7949" y="3802"/>
                  </a:lnTo>
                  <a:lnTo>
                    <a:pt x="8571" y="3422"/>
                  </a:lnTo>
                  <a:lnTo>
                    <a:pt x="9227" y="3111"/>
                  </a:lnTo>
                  <a:lnTo>
                    <a:pt x="9850" y="2834"/>
                  </a:lnTo>
                  <a:lnTo>
                    <a:pt x="10506" y="2662"/>
                  </a:lnTo>
                  <a:lnTo>
                    <a:pt x="10852" y="2592"/>
                  </a:lnTo>
                  <a:lnTo>
                    <a:pt x="11163" y="2558"/>
                  </a:lnTo>
                  <a:lnTo>
                    <a:pt x="11405" y="2489"/>
                  </a:lnTo>
                  <a:lnTo>
                    <a:pt x="11646" y="2420"/>
                  </a:lnTo>
                  <a:lnTo>
                    <a:pt x="11854" y="2281"/>
                  </a:lnTo>
                  <a:lnTo>
                    <a:pt x="12027" y="2109"/>
                  </a:lnTo>
                  <a:lnTo>
                    <a:pt x="12165" y="1901"/>
                  </a:lnTo>
                  <a:lnTo>
                    <a:pt x="12268" y="1659"/>
                  </a:lnTo>
                  <a:lnTo>
                    <a:pt x="12303" y="1417"/>
                  </a:lnTo>
                  <a:lnTo>
                    <a:pt x="12303" y="1176"/>
                  </a:lnTo>
                  <a:lnTo>
                    <a:pt x="12268" y="899"/>
                  </a:lnTo>
                  <a:lnTo>
                    <a:pt x="12165" y="692"/>
                  </a:lnTo>
                  <a:lnTo>
                    <a:pt x="12027" y="484"/>
                  </a:lnTo>
                  <a:lnTo>
                    <a:pt x="11854" y="312"/>
                  </a:lnTo>
                  <a:lnTo>
                    <a:pt x="11646" y="173"/>
                  </a:lnTo>
                  <a:lnTo>
                    <a:pt x="11439" y="70"/>
                  </a:lnTo>
                  <a:lnTo>
                    <a:pt x="11197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Google Shape;1490;p16">
              <a:extLst>
                <a:ext uri="{FF2B5EF4-FFF2-40B4-BE49-F238E27FC236}">
                  <a16:creationId xmlns:a16="http://schemas.microsoft.com/office/drawing/2014/main" id="{F06D12AF-61A2-F58F-D005-187B9CBA5C6F}"/>
                </a:ext>
              </a:extLst>
            </p:cNvPr>
            <p:cNvSpPr/>
            <p:nvPr/>
          </p:nvSpPr>
          <p:spPr>
            <a:xfrm>
              <a:off x="2291225" y="1164225"/>
              <a:ext cx="229825" cy="150350"/>
            </a:xfrm>
            <a:custGeom>
              <a:avLst/>
              <a:gdLst/>
              <a:ahLst/>
              <a:cxnLst/>
              <a:rect l="l" t="t" r="r" b="b"/>
              <a:pathLst>
                <a:path w="9193" h="6014" extrusionOk="0">
                  <a:moveTo>
                    <a:pt x="139" y="0"/>
                  </a:moveTo>
                  <a:lnTo>
                    <a:pt x="70" y="35"/>
                  </a:lnTo>
                  <a:lnTo>
                    <a:pt x="1" y="104"/>
                  </a:lnTo>
                  <a:lnTo>
                    <a:pt x="1" y="208"/>
                  </a:lnTo>
                  <a:lnTo>
                    <a:pt x="1" y="277"/>
                  </a:lnTo>
                  <a:lnTo>
                    <a:pt x="70" y="346"/>
                  </a:lnTo>
                  <a:lnTo>
                    <a:pt x="139" y="381"/>
                  </a:lnTo>
                  <a:lnTo>
                    <a:pt x="208" y="415"/>
                  </a:lnTo>
                  <a:lnTo>
                    <a:pt x="5081" y="415"/>
                  </a:lnTo>
                  <a:lnTo>
                    <a:pt x="8813" y="5944"/>
                  </a:lnTo>
                  <a:lnTo>
                    <a:pt x="8882" y="6013"/>
                  </a:lnTo>
                  <a:lnTo>
                    <a:pt x="8986" y="6013"/>
                  </a:lnTo>
                  <a:lnTo>
                    <a:pt x="9089" y="5979"/>
                  </a:lnTo>
                  <a:lnTo>
                    <a:pt x="9158" y="5944"/>
                  </a:lnTo>
                  <a:lnTo>
                    <a:pt x="9193" y="5840"/>
                  </a:lnTo>
                  <a:lnTo>
                    <a:pt x="9193" y="5771"/>
                  </a:lnTo>
                  <a:lnTo>
                    <a:pt x="9158" y="5702"/>
                  </a:lnTo>
                  <a:lnTo>
                    <a:pt x="5357" y="70"/>
                  </a:lnTo>
                  <a:lnTo>
                    <a:pt x="5288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4" name="Google Shape;1491;p16">
              <a:extLst>
                <a:ext uri="{FF2B5EF4-FFF2-40B4-BE49-F238E27FC236}">
                  <a16:creationId xmlns:a16="http://schemas.microsoft.com/office/drawing/2014/main" id="{1242679E-9FBC-A841-FE87-D019A6795D2B}"/>
                </a:ext>
              </a:extLst>
            </p:cNvPr>
            <p:cNvSpPr/>
            <p:nvPr/>
          </p:nvSpPr>
          <p:spPr>
            <a:xfrm>
              <a:off x="1823850" y="1149550"/>
              <a:ext cx="143450" cy="39750"/>
            </a:xfrm>
            <a:custGeom>
              <a:avLst/>
              <a:gdLst/>
              <a:ahLst/>
              <a:cxnLst/>
              <a:rect l="l" t="t" r="r" b="b"/>
              <a:pathLst>
                <a:path w="5738" h="1590" extrusionOk="0">
                  <a:moveTo>
                    <a:pt x="174" y="0"/>
                  </a:moveTo>
                  <a:lnTo>
                    <a:pt x="70" y="69"/>
                  </a:lnTo>
                  <a:lnTo>
                    <a:pt x="1" y="173"/>
                  </a:lnTo>
                  <a:lnTo>
                    <a:pt x="1" y="311"/>
                  </a:lnTo>
                  <a:lnTo>
                    <a:pt x="1" y="1244"/>
                  </a:lnTo>
                  <a:lnTo>
                    <a:pt x="1" y="1382"/>
                  </a:lnTo>
                  <a:lnTo>
                    <a:pt x="70" y="1486"/>
                  </a:lnTo>
                  <a:lnTo>
                    <a:pt x="174" y="1555"/>
                  </a:lnTo>
                  <a:lnTo>
                    <a:pt x="312" y="1590"/>
                  </a:lnTo>
                  <a:lnTo>
                    <a:pt x="5426" y="1590"/>
                  </a:lnTo>
                  <a:lnTo>
                    <a:pt x="5564" y="1555"/>
                  </a:lnTo>
                  <a:lnTo>
                    <a:pt x="5668" y="1486"/>
                  </a:lnTo>
                  <a:lnTo>
                    <a:pt x="5737" y="1382"/>
                  </a:lnTo>
                  <a:lnTo>
                    <a:pt x="5737" y="1244"/>
                  </a:lnTo>
                  <a:lnTo>
                    <a:pt x="5737" y="311"/>
                  </a:lnTo>
                  <a:lnTo>
                    <a:pt x="5737" y="173"/>
                  </a:lnTo>
                  <a:lnTo>
                    <a:pt x="5668" y="69"/>
                  </a:lnTo>
                  <a:lnTo>
                    <a:pt x="5564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Google Shape;1492;p16">
              <a:extLst>
                <a:ext uri="{FF2B5EF4-FFF2-40B4-BE49-F238E27FC236}">
                  <a16:creationId xmlns:a16="http://schemas.microsoft.com/office/drawing/2014/main" id="{4DA8D033-6CCF-9715-039D-887F5C84C46A}"/>
                </a:ext>
              </a:extLst>
            </p:cNvPr>
            <p:cNvSpPr/>
            <p:nvPr/>
          </p:nvSpPr>
          <p:spPr>
            <a:xfrm>
              <a:off x="1823850" y="1149550"/>
              <a:ext cx="143450" cy="39750"/>
            </a:xfrm>
            <a:custGeom>
              <a:avLst/>
              <a:gdLst/>
              <a:ahLst/>
              <a:cxnLst/>
              <a:rect l="l" t="t" r="r" b="b"/>
              <a:pathLst>
                <a:path w="5738" h="1590" fill="none" extrusionOk="0">
                  <a:moveTo>
                    <a:pt x="5426" y="0"/>
                  </a:moveTo>
                  <a:lnTo>
                    <a:pt x="312" y="0"/>
                  </a:lnTo>
                  <a:lnTo>
                    <a:pt x="312" y="0"/>
                  </a:lnTo>
                  <a:lnTo>
                    <a:pt x="174" y="0"/>
                  </a:lnTo>
                  <a:lnTo>
                    <a:pt x="70" y="69"/>
                  </a:lnTo>
                  <a:lnTo>
                    <a:pt x="1" y="173"/>
                  </a:lnTo>
                  <a:lnTo>
                    <a:pt x="1" y="311"/>
                  </a:lnTo>
                  <a:lnTo>
                    <a:pt x="1" y="1244"/>
                  </a:lnTo>
                  <a:lnTo>
                    <a:pt x="1" y="1244"/>
                  </a:lnTo>
                  <a:lnTo>
                    <a:pt x="1" y="1382"/>
                  </a:lnTo>
                  <a:lnTo>
                    <a:pt x="70" y="1486"/>
                  </a:lnTo>
                  <a:lnTo>
                    <a:pt x="174" y="1555"/>
                  </a:lnTo>
                  <a:lnTo>
                    <a:pt x="312" y="1590"/>
                  </a:lnTo>
                  <a:lnTo>
                    <a:pt x="5426" y="1590"/>
                  </a:lnTo>
                  <a:lnTo>
                    <a:pt x="5426" y="1590"/>
                  </a:lnTo>
                  <a:lnTo>
                    <a:pt x="5564" y="1555"/>
                  </a:lnTo>
                  <a:lnTo>
                    <a:pt x="5668" y="1486"/>
                  </a:lnTo>
                  <a:lnTo>
                    <a:pt x="5737" y="1382"/>
                  </a:lnTo>
                  <a:lnTo>
                    <a:pt x="5737" y="1244"/>
                  </a:lnTo>
                  <a:lnTo>
                    <a:pt x="5737" y="311"/>
                  </a:lnTo>
                  <a:lnTo>
                    <a:pt x="5737" y="311"/>
                  </a:lnTo>
                  <a:lnTo>
                    <a:pt x="5737" y="173"/>
                  </a:lnTo>
                  <a:lnTo>
                    <a:pt x="5668" y="69"/>
                  </a:lnTo>
                  <a:lnTo>
                    <a:pt x="5564" y="0"/>
                  </a:lnTo>
                  <a:lnTo>
                    <a:pt x="542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Google Shape;1493;p16">
              <a:extLst>
                <a:ext uri="{FF2B5EF4-FFF2-40B4-BE49-F238E27FC236}">
                  <a16:creationId xmlns:a16="http://schemas.microsoft.com/office/drawing/2014/main" id="{E26AEF1A-6350-A9F7-AE87-953A653D3411}"/>
                </a:ext>
              </a:extLst>
            </p:cNvPr>
            <p:cNvSpPr/>
            <p:nvPr/>
          </p:nvSpPr>
          <p:spPr>
            <a:xfrm>
              <a:off x="2019100" y="1149550"/>
              <a:ext cx="133075" cy="39750"/>
            </a:xfrm>
            <a:custGeom>
              <a:avLst/>
              <a:gdLst/>
              <a:ahLst/>
              <a:cxnLst/>
              <a:rect l="l" t="t" r="r" b="b"/>
              <a:pathLst>
                <a:path w="5323" h="1590" extrusionOk="0">
                  <a:moveTo>
                    <a:pt x="173" y="0"/>
                  </a:moveTo>
                  <a:lnTo>
                    <a:pt x="70" y="69"/>
                  </a:lnTo>
                  <a:lnTo>
                    <a:pt x="1" y="173"/>
                  </a:lnTo>
                  <a:lnTo>
                    <a:pt x="1" y="276"/>
                  </a:lnTo>
                  <a:lnTo>
                    <a:pt x="1" y="1279"/>
                  </a:lnTo>
                  <a:lnTo>
                    <a:pt x="1" y="1417"/>
                  </a:lnTo>
                  <a:lnTo>
                    <a:pt x="70" y="1486"/>
                  </a:lnTo>
                  <a:lnTo>
                    <a:pt x="173" y="1555"/>
                  </a:lnTo>
                  <a:lnTo>
                    <a:pt x="277" y="1590"/>
                  </a:lnTo>
                  <a:lnTo>
                    <a:pt x="5011" y="1590"/>
                  </a:lnTo>
                  <a:lnTo>
                    <a:pt x="5115" y="1555"/>
                  </a:lnTo>
                  <a:lnTo>
                    <a:pt x="5219" y="1486"/>
                  </a:lnTo>
                  <a:lnTo>
                    <a:pt x="5288" y="1417"/>
                  </a:lnTo>
                  <a:lnTo>
                    <a:pt x="5322" y="1279"/>
                  </a:lnTo>
                  <a:lnTo>
                    <a:pt x="5322" y="276"/>
                  </a:lnTo>
                  <a:lnTo>
                    <a:pt x="5288" y="173"/>
                  </a:lnTo>
                  <a:lnTo>
                    <a:pt x="5219" y="69"/>
                  </a:lnTo>
                  <a:lnTo>
                    <a:pt x="5115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7" name="Google Shape;1494;p16">
              <a:extLst>
                <a:ext uri="{FF2B5EF4-FFF2-40B4-BE49-F238E27FC236}">
                  <a16:creationId xmlns:a16="http://schemas.microsoft.com/office/drawing/2014/main" id="{A3DCBC56-8104-14FA-23AB-511FE8FCF4E6}"/>
                </a:ext>
              </a:extLst>
            </p:cNvPr>
            <p:cNvSpPr/>
            <p:nvPr/>
          </p:nvSpPr>
          <p:spPr>
            <a:xfrm>
              <a:off x="2019100" y="1149550"/>
              <a:ext cx="133075" cy="39750"/>
            </a:xfrm>
            <a:custGeom>
              <a:avLst/>
              <a:gdLst/>
              <a:ahLst/>
              <a:cxnLst/>
              <a:rect l="l" t="t" r="r" b="b"/>
              <a:pathLst>
                <a:path w="5323" h="1590" fill="none" extrusionOk="0">
                  <a:moveTo>
                    <a:pt x="5011" y="0"/>
                  </a:moveTo>
                  <a:lnTo>
                    <a:pt x="277" y="0"/>
                  </a:lnTo>
                  <a:lnTo>
                    <a:pt x="277" y="0"/>
                  </a:lnTo>
                  <a:lnTo>
                    <a:pt x="173" y="0"/>
                  </a:lnTo>
                  <a:lnTo>
                    <a:pt x="70" y="69"/>
                  </a:lnTo>
                  <a:lnTo>
                    <a:pt x="1" y="173"/>
                  </a:lnTo>
                  <a:lnTo>
                    <a:pt x="1" y="276"/>
                  </a:lnTo>
                  <a:lnTo>
                    <a:pt x="1" y="1279"/>
                  </a:lnTo>
                  <a:lnTo>
                    <a:pt x="1" y="1279"/>
                  </a:lnTo>
                  <a:lnTo>
                    <a:pt x="1" y="1417"/>
                  </a:lnTo>
                  <a:lnTo>
                    <a:pt x="70" y="1486"/>
                  </a:lnTo>
                  <a:lnTo>
                    <a:pt x="173" y="1555"/>
                  </a:lnTo>
                  <a:lnTo>
                    <a:pt x="277" y="1590"/>
                  </a:lnTo>
                  <a:lnTo>
                    <a:pt x="5011" y="1590"/>
                  </a:lnTo>
                  <a:lnTo>
                    <a:pt x="5011" y="1590"/>
                  </a:lnTo>
                  <a:lnTo>
                    <a:pt x="5115" y="1555"/>
                  </a:lnTo>
                  <a:lnTo>
                    <a:pt x="5219" y="1486"/>
                  </a:lnTo>
                  <a:lnTo>
                    <a:pt x="5288" y="1417"/>
                  </a:lnTo>
                  <a:lnTo>
                    <a:pt x="5322" y="1279"/>
                  </a:lnTo>
                  <a:lnTo>
                    <a:pt x="5322" y="276"/>
                  </a:lnTo>
                  <a:lnTo>
                    <a:pt x="5322" y="276"/>
                  </a:lnTo>
                  <a:lnTo>
                    <a:pt x="5288" y="173"/>
                  </a:lnTo>
                  <a:lnTo>
                    <a:pt x="5219" y="69"/>
                  </a:lnTo>
                  <a:lnTo>
                    <a:pt x="5115" y="0"/>
                  </a:lnTo>
                  <a:lnTo>
                    <a:pt x="501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8" name="Google Shape;1495;p16">
              <a:extLst>
                <a:ext uri="{FF2B5EF4-FFF2-40B4-BE49-F238E27FC236}">
                  <a16:creationId xmlns:a16="http://schemas.microsoft.com/office/drawing/2014/main" id="{08C85126-A74E-0B58-04C0-E5735D79A093}"/>
                </a:ext>
              </a:extLst>
            </p:cNvPr>
            <p:cNvSpPr/>
            <p:nvPr/>
          </p:nvSpPr>
          <p:spPr>
            <a:xfrm>
              <a:off x="2165975" y="1149550"/>
              <a:ext cx="82950" cy="39750"/>
            </a:xfrm>
            <a:custGeom>
              <a:avLst/>
              <a:gdLst/>
              <a:ahLst/>
              <a:cxnLst/>
              <a:rect l="l" t="t" r="r" b="b"/>
              <a:pathLst>
                <a:path w="3318" h="1590" extrusionOk="0">
                  <a:moveTo>
                    <a:pt x="208" y="0"/>
                  </a:moveTo>
                  <a:lnTo>
                    <a:pt x="104" y="69"/>
                  </a:lnTo>
                  <a:lnTo>
                    <a:pt x="35" y="173"/>
                  </a:lnTo>
                  <a:lnTo>
                    <a:pt x="0" y="276"/>
                  </a:lnTo>
                  <a:lnTo>
                    <a:pt x="0" y="1279"/>
                  </a:lnTo>
                  <a:lnTo>
                    <a:pt x="35" y="1417"/>
                  </a:lnTo>
                  <a:lnTo>
                    <a:pt x="104" y="1486"/>
                  </a:lnTo>
                  <a:lnTo>
                    <a:pt x="208" y="1555"/>
                  </a:lnTo>
                  <a:lnTo>
                    <a:pt x="311" y="1590"/>
                  </a:lnTo>
                  <a:lnTo>
                    <a:pt x="3007" y="1590"/>
                  </a:lnTo>
                  <a:lnTo>
                    <a:pt x="3145" y="1555"/>
                  </a:lnTo>
                  <a:lnTo>
                    <a:pt x="3214" y="1486"/>
                  </a:lnTo>
                  <a:lnTo>
                    <a:pt x="3283" y="1417"/>
                  </a:lnTo>
                  <a:lnTo>
                    <a:pt x="3318" y="1279"/>
                  </a:lnTo>
                  <a:lnTo>
                    <a:pt x="3318" y="276"/>
                  </a:lnTo>
                  <a:lnTo>
                    <a:pt x="3283" y="173"/>
                  </a:lnTo>
                  <a:lnTo>
                    <a:pt x="3214" y="69"/>
                  </a:lnTo>
                  <a:lnTo>
                    <a:pt x="3145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9" name="Google Shape;1496;p16">
              <a:extLst>
                <a:ext uri="{FF2B5EF4-FFF2-40B4-BE49-F238E27FC236}">
                  <a16:creationId xmlns:a16="http://schemas.microsoft.com/office/drawing/2014/main" id="{8FE4D5CD-CC7E-D738-DC01-5C882C897406}"/>
                </a:ext>
              </a:extLst>
            </p:cNvPr>
            <p:cNvSpPr/>
            <p:nvPr/>
          </p:nvSpPr>
          <p:spPr>
            <a:xfrm>
              <a:off x="2165975" y="1149550"/>
              <a:ext cx="82950" cy="39750"/>
            </a:xfrm>
            <a:custGeom>
              <a:avLst/>
              <a:gdLst/>
              <a:ahLst/>
              <a:cxnLst/>
              <a:rect l="l" t="t" r="r" b="b"/>
              <a:pathLst>
                <a:path w="3318" h="1590" fill="none" extrusionOk="0">
                  <a:moveTo>
                    <a:pt x="3007" y="0"/>
                  </a:moveTo>
                  <a:lnTo>
                    <a:pt x="311" y="0"/>
                  </a:lnTo>
                  <a:lnTo>
                    <a:pt x="311" y="0"/>
                  </a:lnTo>
                  <a:lnTo>
                    <a:pt x="208" y="0"/>
                  </a:lnTo>
                  <a:lnTo>
                    <a:pt x="104" y="69"/>
                  </a:lnTo>
                  <a:lnTo>
                    <a:pt x="35" y="173"/>
                  </a:lnTo>
                  <a:lnTo>
                    <a:pt x="0" y="276"/>
                  </a:lnTo>
                  <a:lnTo>
                    <a:pt x="0" y="1279"/>
                  </a:lnTo>
                  <a:lnTo>
                    <a:pt x="0" y="1279"/>
                  </a:lnTo>
                  <a:lnTo>
                    <a:pt x="35" y="1417"/>
                  </a:lnTo>
                  <a:lnTo>
                    <a:pt x="104" y="1486"/>
                  </a:lnTo>
                  <a:lnTo>
                    <a:pt x="208" y="1555"/>
                  </a:lnTo>
                  <a:lnTo>
                    <a:pt x="311" y="1590"/>
                  </a:lnTo>
                  <a:lnTo>
                    <a:pt x="3007" y="1590"/>
                  </a:lnTo>
                  <a:lnTo>
                    <a:pt x="3007" y="1590"/>
                  </a:lnTo>
                  <a:lnTo>
                    <a:pt x="3145" y="1555"/>
                  </a:lnTo>
                  <a:lnTo>
                    <a:pt x="3214" y="1486"/>
                  </a:lnTo>
                  <a:lnTo>
                    <a:pt x="3283" y="1417"/>
                  </a:lnTo>
                  <a:lnTo>
                    <a:pt x="3318" y="1279"/>
                  </a:lnTo>
                  <a:lnTo>
                    <a:pt x="3318" y="276"/>
                  </a:lnTo>
                  <a:lnTo>
                    <a:pt x="3318" y="276"/>
                  </a:lnTo>
                  <a:lnTo>
                    <a:pt x="3283" y="173"/>
                  </a:lnTo>
                  <a:lnTo>
                    <a:pt x="3214" y="69"/>
                  </a:lnTo>
                  <a:lnTo>
                    <a:pt x="3145" y="0"/>
                  </a:lnTo>
                  <a:lnTo>
                    <a:pt x="300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0" name="Google Shape;1497;p16">
              <a:extLst>
                <a:ext uri="{FF2B5EF4-FFF2-40B4-BE49-F238E27FC236}">
                  <a16:creationId xmlns:a16="http://schemas.microsoft.com/office/drawing/2014/main" id="{726DAADA-504D-E165-39CC-07CFD61F4288}"/>
                </a:ext>
              </a:extLst>
            </p:cNvPr>
            <p:cNvSpPr/>
            <p:nvPr/>
          </p:nvSpPr>
          <p:spPr>
            <a:xfrm>
              <a:off x="2394050" y="1300725"/>
              <a:ext cx="286825" cy="266975"/>
            </a:xfrm>
            <a:custGeom>
              <a:avLst/>
              <a:gdLst/>
              <a:ahLst/>
              <a:cxnLst/>
              <a:rect l="l" t="t" r="r" b="b"/>
              <a:pathLst>
                <a:path w="11473" h="10679" extrusionOk="0">
                  <a:moveTo>
                    <a:pt x="1037" y="0"/>
                  </a:moveTo>
                  <a:lnTo>
                    <a:pt x="795" y="69"/>
                  </a:lnTo>
                  <a:lnTo>
                    <a:pt x="588" y="208"/>
                  </a:lnTo>
                  <a:lnTo>
                    <a:pt x="380" y="380"/>
                  </a:lnTo>
                  <a:lnTo>
                    <a:pt x="207" y="553"/>
                  </a:lnTo>
                  <a:lnTo>
                    <a:pt x="104" y="795"/>
                  </a:lnTo>
                  <a:lnTo>
                    <a:pt x="35" y="1037"/>
                  </a:lnTo>
                  <a:lnTo>
                    <a:pt x="0" y="1279"/>
                  </a:lnTo>
                  <a:lnTo>
                    <a:pt x="35" y="1521"/>
                  </a:lnTo>
                  <a:lnTo>
                    <a:pt x="104" y="1763"/>
                  </a:lnTo>
                  <a:lnTo>
                    <a:pt x="207" y="1970"/>
                  </a:lnTo>
                  <a:lnTo>
                    <a:pt x="380" y="2177"/>
                  </a:lnTo>
                  <a:lnTo>
                    <a:pt x="1590" y="3387"/>
                  </a:lnTo>
                  <a:lnTo>
                    <a:pt x="4354" y="6048"/>
                  </a:lnTo>
                  <a:lnTo>
                    <a:pt x="5806" y="7430"/>
                  </a:lnTo>
                  <a:lnTo>
                    <a:pt x="6980" y="8467"/>
                  </a:lnTo>
                  <a:lnTo>
                    <a:pt x="7844" y="9261"/>
                  </a:lnTo>
                  <a:lnTo>
                    <a:pt x="8536" y="9814"/>
                  </a:lnTo>
                  <a:lnTo>
                    <a:pt x="8985" y="10160"/>
                  </a:lnTo>
                  <a:lnTo>
                    <a:pt x="9330" y="10402"/>
                  </a:lnTo>
                  <a:lnTo>
                    <a:pt x="9572" y="10506"/>
                  </a:lnTo>
                  <a:lnTo>
                    <a:pt x="9710" y="10575"/>
                  </a:lnTo>
                  <a:lnTo>
                    <a:pt x="9952" y="10644"/>
                  </a:lnTo>
                  <a:lnTo>
                    <a:pt x="10194" y="10678"/>
                  </a:lnTo>
                  <a:lnTo>
                    <a:pt x="10402" y="10678"/>
                  </a:lnTo>
                  <a:lnTo>
                    <a:pt x="10574" y="10644"/>
                  </a:lnTo>
                  <a:lnTo>
                    <a:pt x="10747" y="10575"/>
                  </a:lnTo>
                  <a:lnTo>
                    <a:pt x="10920" y="10471"/>
                  </a:lnTo>
                  <a:lnTo>
                    <a:pt x="11058" y="10367"/>
                  </a:lnTo>
                  <a:lnTo>
                    <a:pt x="11196" y="10229"/>
                  </a:lnTo>
                  <a:lnTo>
                    <a:pt x="11300" y="10056"/>
                  </a:lnTo>
                  <a:lnTo>
                    <a:pt x="11369" y="9884"/>
                  </a:lnTo>
                  <a:lnTo>
                    <a:pt x="11473" y="9642"/>
                  </a:lnTo>
                  <a:lnTo>
                    <a:pt x="11473" y="9400"/>
                  </a:lnTo>
                  <a:lnTo>
                    <a:pt x="11438" y="9123"/>
                  </a:lnTo>
                  <a:lnTo>
                    <a:pt x="11369" y="8916"/>
                  </a:lnTo>
                  <a:lnTo>
                    <a:pt x="11265" y="8709"/>
                  </a:lnTo>
                  <a:lnTo>
                    <a:pt x="11093" y="8501"/>
                  </a:lnTo>
                  <a:lnTo>
                    <a:pt x="10920" y="8328"/>
                  </a:lnTo>
                  <a:lnTo>
                    <a:pt x="10678" y="8225"/>
                  </a:lnTo>
                  <a:lnTo>
                    <a:pt x="10505" y="8087"/>
                  </a:lnTo>
                  <a:lnTo>
                    <a:pt x="10229" y="7914"/>
                  </a:lnTo>
                  <a:lnTo>
                    <a:pt x="9503" y="7326"/>
                  </a:lnTo>
                  <a:lnTo>
                    <a:pt x="8570" y="6462"/>
                  </a:lnTo>
                  <a:lnTo>
                    <a:pt x="7430" y="5460"/>
                  </a:lnTo>
                  <a:lnTo>
                    <a:pt x="4873" y="3007"/>
                  </a:lnTo>
                  <a:lnTo>
                    <a:pt x="2177" y="380"/>
                  </a:lnTo>
                  <a:lnTo>
                    <a:pt x="1970" y="208"/>
                  </a:lnTo>
                  <a:lnTo>
                    <a:pt x="1762" y="69"/>
                  </a:lnTo>
                  <a:lnTo>
                    <a:pt x="1521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1" name="Google Shape;1498;p16">
              <a:extLst>
                <a:ext uri="{FF2B5EF4-FFF2-40B4-BE49-F238E27FC236}">
                  <a16:creationId xmlns:a16="http://schemas.microsoft.com/office/drawing/2014/main" id="{B99C99C2-5CDB-5C3C-E4F2-1DD380560441}"/>
                </a:ext>
              </a:extLst>
            </p:cNvPr>
            <p:cNvSpPr/>
            <p:nvPr/>
          </p:nvSpPr>
          <p:spPr>
            <a:xfrm>
              <a:off x="2387125" y="1316275"/>
              <a:ext cx="308450" cy="245375"/>
            </a:xfrm>
            <a:custGeom>
              <a:avLst/>
              <a:gdLst/>
              <a:ahLst/>
              <a:cxnLst/>
              <a:rect l="l" t="t" r="r" b="b"/>
              <a:pathLst>
                <a:path w="12338" h="9815" extrusionOk="0">
                  <a:moveTo>
                    <a:pt x="10920" y="0"/>
                  </a:moveTo>
                  <a:lnTo>
                    <a:pt x="10506" y="35"/>
                  </a:lnTo>
                  <a:lnTo>
                    <a:pt x="10091" y="104"/>
                  </a:lnTo>
                  <a:lnTo>
                    <a:pt x="9676" y="208"/>
                  </a:lnTo>
                  <a:lnTo>
                    <a:pt x="9262" y="346"/>
                  </a:lnTo>
                  <a:lnTo>
                    <a:pt x="8467" y="622"/>
                  </a:lnTo>
                  <a:lnTo>
                    <a:pt x="7672" y="1003"/>
                  </a:lnTo>
                  <a:lnTo>
                    <a:pt x="6912" y="1452"/>
                  </a:lnTo>
                  <a:lnTo>
                    <a:pt x="6152" y="1936"/>
                  </a:lnTo>
                  <a:lnTo>
                    <a:pt x="5426" y="2454"/>
                  </a:lnTo>
                  <a:lnTo>
                    <a:pt x="4735" y="3041"/>
                  </a:lnTo>
                  <a:lnTo>
                    <a:pt x="4044" y="3629"/>
                  </a:lnTo>
                  <a:lnTo>
                    <a:pt x="3422" y="4251"/>
                  </a:lnTo>
                  <a:lnTo>
                    <a:pt x="2800" y="4873"/>
                  </a:lnTo>
                  <a:lnTo>
                    <a:pt x="2247" y="5460"/>
                  </a:lnTo>
                  <a:lnTo>
                    <a:pt x="1210" y="6635"/>
                  </a:lnTo>
                  <a:lnTo>
                    <a:pt x="312" y="7706"/>
                  </a:lnTo>
                  <a:lnTo>
                    <a:pt x="173" y="7914"/>
                  </a:lnTo>
                  <a:lnTo>
                    <a:pt x="70" y="8156"/>
                  </a:lnTo>
                  <a:lnTo>
                    <a:pt x="1" y="8398"/>
                  </a:lnTo>
                  <a:lnTo>
                    <a:pt x="1" y="8639"/>
                  </a:lnTo>
                  <a:lnTo>
                    <a:pt x="70" y="8881"/>
                  </a:lnTo>
                  <a:lnTo>
                    <a:pt x="139" y="9089"/>
                  </a:lnTo>
                  <a:lnTo>
                    <a:pt x="277" y="9331"/>
                  </a:lnTo>
                  <a:lnTo>
                    <a:pt x="484" y="9503"/>
                  </a:lnTo>
                  <a:lnTo>
                    <a:pt x="657" y="9642"/>
                  </a:lnTo>
                  <a:lnTo>
                    <a:pt x="865" y="9711"/>
                  </a:lnTo>
                  <a:lnTo>
                    <a:pt x="1072" y="9780"/>
                  </a:lnTo>
                  <a:lnTo>
                    <a:pt x="1279" y="9814"/>
                  </a:lnTo>
                  <a:lnTo>
                    <a:pt x="1556" y="9780"/>
                  </a:lnTo>
                  <a:lnTo>
                    <a:pt x="1832" y="9676"/>
                  </a:lnTo>
                  <a:lnTo>
                    <a:pt x="2074" y="9538"/>
                  </a:lnTo>
                  <a:lnTo>
                    <a:pt x="2281" y="9331"/>
                  </a:lnTo>
                  <a:lnTo>
                    <a:pt x="3042" y="8398"/>
                  </a:lnTo>
                  <a:lnTo>
                    <a:pt x="3975" y="7361"/>
                  </a:lnTo>
                  <a:lnTo>
                    <a:pt x="5011" y="6290"/>
                  </a:lnTo>
                  <a:lnTo>
                    <a:pt x="5564" y="5737"/>
                  </a:lnTo>
                  <a:lnTo>
                    <a:pt x="6117" y="5218"/>
                  </a:lnTo>
                  <a:lnTo>
                    <a:pt x="6739" y="4700"/>
                  </a:lnTo>
                  <a:lnTo>
                    <a:pt x="7327" y="4216"/>
                  </a:lnTo>
                  <a:lnTo>
                    <a:pt x="7949" y="3802"/>
                  </a:lnTo>
                  <a:lnTo>
                    <a:pt x="8571" y="3421"/>
                  </a:lnTo>
                  <a:lnTo>
                    <a:pt x="9227" y="3076"/>
                  </a:lnTo>
                  <a:lnTo>
                    <a:pt x="9884" y="2834"/>
                  </a:lnTo>
                  <a:lnTo>
                    <a:pt x="10506" y="2627"/>
                  </a:lnTo>
                  <a:lnTo>
                    <a:pt x="10851" y="2558"/>
                  </a:lnTo>
                  <a:lnTo>
                    <a:pt x="11162" y="2523"/>
                  </a:lnTo>
                  <a:lnTo>
                    <a:pt x="11439" y="2488"/>
                  </a:lnTo>
                  <a:lnTo>
                    <a:pt x="11646" y="2385"/>
                  </a:lnTo>
                  <a:lnTo>
                    <a:pt x="11853" y="2247"/>
                  </a:lnTo>
                  <a:lnTo>
                    <a:pt x="12026" y="2074"/>
                  </a:lnTo>
                  <a:lnTo>
                    <a:pt x="12164" y="1866"/>
                  </a:lnTo>
                  <a:lnTo>
                    <a:pt x="12268" y="1659"/>
                  </a:lnTo>
                  <a:lnTo>
                    <a:pt x="12337" y="1417"/>
                  </a:lnTo>
                  <a:lnTo>
                    <a:pt x="12337" y="1141"/>
                  </a:lnTo>
                  <a:lnTo>
                    <a:pt x="12268" y="899"/>
                  </a:lnTo>
                  <a:lnTo>
                    <a:pt x="12164" y="657"/>
                  </a:lnTo>
                  <a:lnTo>
                    <a:pt x="12061" y="450"/>
                  </a:lnTo>
                  <a:lnTo>
                    <a:pt x="11888" y="277"/>
                  </a:lnTo>
                  <a:lnTo>
                    <a:pt x="11681" y="139"/>
                  </a:lnTo>
                  <a:lnTo>
                    <a:pt x="11439" y="35"/>
                  </a:lnTo>
                  <a:lnTo>
                    <a:pt x="11197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2" name="Google Shape;1499;p16">
              <a:extLst>
                <a:ext uri="{FF2B5EF4-FFF2-40B4-BE49-F238E27FC236}">
                  <a16:creationId xmlns:a16="http://schemas.microsoft.com/office/drawing/2014/main" id="{90E45371-2CDE-75D3-0C2C-8712FAB9D16B}"/>
                </a:ext>
              </a:extLst>
            </p:cNvPr>
            <p:cNvSpPr/>
            <p:nvPr/>
          </p:nvSpPr>
          <p:spPr>
            <a:xfrm>
              <a:off x="3095525" y="2814300"/>
              <a:ext cx="353375" cy="327450"/>
            </a:xfrm>
            <a:custGeom>
              <a:avLst/>
              <a:gdLst/>
              <a:ahLst/>
              <a:cxnLst/>
              <a:rect l="l" t="t" r="r" b="b"/>
              <a:pathLst>
                <a:path w="14135" h="13098" extrusionOk="0">
                  <a:moveTo>
                    <a:pt x="1279" y="0"/>
                  </a:moveTo>
                  <a:lnTo>
                    <a:pt x="1038" y="35"/>
                  </a:lnTo>
                  <a:lnTo>
                    <a:pt x="830" y="104"/>
                  </a:lnTo>
                  <a:lnTo>
                    <a:pt x="588" y="208"/>
                  </a:lnTo>
                  <a:lnTo>
                    <a:pt x="381" y="380"/>
                  </a:lnTo>
                  <a:lnTo>
                    <a:pt x="243" y="588"/>
                  </a:lnTo>
                  <a:lnTo>
                    <a:pt x="105" y="795"/>
                  </a:lnTo>
                  <a:lnTo>
                    <a:pt x="35" y="1037"/>
                  </a:lnTo>
                  <a:lnTo>
                    <a:pt x="1" y="1279"/>
                  </a:lnTo>
                  <a:lnTo>
                    <a:pt x="35" y="1521"/>
                  </a:lnTo>
                  <a:lnTo>
                    <a:pt x="105" y="1763"/>
                  </a:lnTo>
                  <a:lnTo>
                    <a:pt x="243" y="1970"/>
                  </a:lnTo>
                  <a:lnTo>
                    <a:pt x="381" y="2177"/>
                  </a:lnTo>
                  <a:lnTo>
                    <a:pt x="1971" y="3767"/>
                  </a:lnTo>
                  <a:lnTo>
                    <a:pt x="3629" y="5356"/>
                  </a:lnTo>
                  <a:lnTo>
                    <a:pt x="5564" y="7222"/>
                  </a:lnTo>
                  <a:lnTo>
                    <a:pt x="7396" y="8950"/>
                  </a:lnTo>
                  <a:lnTo>
                    <a:pt x="8882" y="10298"/>
                  </a:lnTo>
                  <a:lnTo>
                    <a:pt x="10022" y="11300"/>
                  </a:lnTo>
                  <a:lnTo>
                    <a:pt x="10886" y="12026"/>
                  </a:lnTo>
                  <a:lnTo>
                    <a:pt x="11474" y="12475"/>
                  </a:lnTo>
                  <a:lnTo>
                    <a:pt x="11888" y="12751"/>
                  </a:lnTo>
                  <a:lnTo>
                    <a:pt x="12165" y="12924"/>
                  </a:lnTo>
                  <a:lnTo>
                    <a:pt x="12372" y="12993"/>
                  </a:lnTo>
                  <a:lnTo>
                    <a:pt x="12614" y="13063"/>
                  </a:lnTo>
                  <a:lnTo>
                    <a:pt x="12856" y="13097"/>
                  </a:lnTo>
                  <a:lnTo>
                    <a:pt x="13029" y="13063"/>
                  </a:lnTo>
                  <a:lnTo>
                    <a:pt x="13201" y="13028"/>
                  </a:lnTo>
                  <a:lnTo>
                    <a:pt x="13374" y="12959"/>
                  </a:lnTo>
                  <a:lnTo>
                    <a:pt x="13547" y="12855"/>
                  </a:lnTo>
                  <a:lnTo>
                    <a:pt x="13685" y="12751"/>
                  </a:lnTo>
                  <a:lnTo>
                    <a:pt x="13823" y="12613"/>
                  </a:lnTo>
                  <a:lnTo>
                    <a:pt x="13962" y="12475"/>
                  </a:lnTo>
                  <a:lnTo>
                    <a:pt x="14031" y="12268"/>
                  </a:lnTo>
                  <a:lnTo>
                    <a:pt x="14100" y="12026"/>
                  </a:lnTo>
                  <a:lnTo>
                    <a:pt x="14134" y="11784"/>
                  </a:lnTo>
                  <a:lnTo>
                    <a:pt x="14100" y="11542"/>
                  </a:lnTo>
                  <a:lnTo>
                    <a:pt x="14031" y="11300"/>
                  </a:lnTo>
                  <a:lnTo>
                    <a:pt x="13893" y="11093"/>
                  </a:lnTo>
                  <a:lnTo>
                    <a:pt x="13754" y="10885"/>
                  </a:lnTo>
                  <a:lnTo>
                    <a:pt x="13547" y="10747"/>
                  </a:lnTo>
                  <a:lnTo>
                    <a:pt x="13340" y="10609"/>
                  </a:lnTo>
                  <a:lnTo>
                    <a:pt x="13098" y="10471"/>
                  </a:lnTo>
                  <a:lnTo>
                    <a:pt x="12752" y="10229"/>
                  </a:lnTo>
                  <a:lnTo>
                    <a:pt x="11819" y="9469"/>
                  </a:lnTo>
                  <a:lnTo>
                    <a:pt x="10575" y="8397"/>
                  </a:lnTo>
                  <a:lnTo>
                    <a:pt x="9124" y="7084"/>
                  </a:lnTo>
                  <a:lnTo>
                    <a:pt x="7500" y="5529"/>
                  </a:lnTo>
                  <a:lnTo>
                    <a:pt x="5772" y="3871"/>
                  </a:lnTo>
                  <a:lnTo>
                    <a:pt x="3975" y="2143"/>
                  </a:lnTo>
                  <a:lnTo>
                    <a:pt x="2212" y="380"/>
                  </a:lnTo>
                  <a:lnTo>
                    <a:pt x="2005" y="208"/>
                  </a:lnTo>
                  <a:lnTo>
                    <a:pt x="1763" y="104"/>
                  </a:lnTo>
                  <a:lnTo>
                    <a:pt x="1556" y="35"/>
                  </a:lnTo>
                  <a:lnTo>
                    <a:pt x="1279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3" name="Google Shape;1500;p16">
              <a:extLst>
                <a:ext uri="{FF2B5EF4-FFF2-40B4-BE49-F238E27FC236}">
                  <a16:creationId xmlns:a16="http://schemas.microsoft.com/office/drawing/2014/main" id="{0CD889D6-8BD1-0B40-0235-7766EA540D0E}"/>
                </a:ext>
              </a:extLst>
            </p:cNvPr>
            <p:cNvSpPr/>
            <p:nvPr/>
          </p:nvSpPr>
          <p:spPr>
            <a:xfrm>
              <a:off x="3087750" y="2834150"/>
              <a:ext cx="379300" cy="298950"/>
            </a:xfrm>
            <a:custGeom>
              <a:avLst/>
              <a:gdLst/>
              <a:ahLst/>
              <a:cxnLst/>
              <a:rect l="l" t="t" r="r" b="b"/>
              <a:pathLst>
                <a:path w="15172" h="11958" extrusionOk="0">
                  <a:moveTo>
                    <a:pt x="13789" y="1"/>
                  </a:moveTo>
                  <a:lnTo>
                    <a:pt x="13236" y="70"/>
                  </a:lnTo>
                  <a:lnTo>
                    <a:pt x="12718" y="174"/>
                  </a:lnTo>
                  <a:lnTo>
                    <a:pt x="12199" y="277"/>
                  </a:lnTo>
                  <a:lnTo>
                    <a:pt x="11681" y="450"/>
                  </a:lnTo>
                  <a:lnTo>
                    <a:pt x="11163" y="623"/>
                  </a:lnTo>
                  <a:lnTo>
                    <a:pt x="10644" y="830"/>
                  </a:lnTo>
                  <a:lnTo>
                    <a:pt x="10160" y="1038"/>
                  </a:lnTo>
                  <a:lnTo>
                    <a:pt x="9642" y="1314"/>
                  </a:lnTo>
                  <a:lnTo>
                    <a:pt x="8675" y="1867"/>
                  </a:lnTo>
                  <a:lnTo>
                    <a:pt x="7742" y="2489"/>
                  </a:lnTo>
                  <a:lnTo>
                    <a:pt x="6808" y="3180"/>
                  </a:lnTo>
                  <a:lnTo>
                    <a:pt x="5910" y="3906"/>
                  </a:lnTo>
                  <a:lnTo>
                    <a:pt x="5081" y="4666"/>
                  </a:lnTo>
                  <a:lnTo>
                    <a:pt x="4251" y="5426"/>
                  </a:lnTo>
                  <a:lnTo>
                    <a:pt x="3491" y="6221"/>
                  </a:lnTo>
                  <a:lnTo>
                    <a:pt x="2731" y="7016"/>
                  </a:lnTo>
                  <a:lnTo>
                    <a:pt x="1418" y="8502"/>
                  </a:lnTo>
                  <a:lnTo>
                    <a:pt x="277" y="9850"/>
                  </a:lnTo>
                  <a:lnTo>
                    <a:pt x="139" y="10057"/>
                  </a:lnTo>
                  <a:lnTo>
                    <a:pt x="35" y="10299"/>
                  </a:lnTo>
                  <a:lnTo>
                    <a:pt x="1" y="10541"/>
                  </a:lnTo>
                  <a:lnTo>
                    <a:pt x="1" y="10783"/>
                  </a:lnTo>
                  <a:lnTo>
                    <a:pt x="35" y="11024"/>
                  </a:lnTo>
                  <a:lnTo>
                    <a:pt x="139" y="11266"/>
                  </a:lnTo>
                  <a:lnTo>
                    <a:pt x="277" y="11474"/>
                  </a:lnTo>
                  <a:lnTo>
                    <a:pt x="450" y="11646"/>
                  </a:lnTo>
                  <a:lnTo>
                    <a:pt x="623" y="11785"/>
                  </a:lnTo>
                  <a:lnTo>
                    <a:pt x="830" y="11888"/>
                  </a:lnTo>
                  <a:lnTo>
                    <a:pt x="1038" y="11923"/>
                  </a:lnTo>
                  <a:lnTo>
                    <a:pt x="1279" y="11957"/>
                  </a:lnTo>
                  <a:lnTo>
                    <a:pt x="1556" y="11923"/>
                  </a:lnTo>
                  <a:lnTo>
                    <a:pt x="1798" y="11819"/>
                  </a:lnTo>
                  <a:lnTo>
                    <a:pt x="2040" y="11681"/>
                  </a:lnTo>
                  <a:lnTo>
                    <a:pt x="2247" y="11474"/>
                  </a:lnTo>
                  <a:lnTo>
                    <a:pt x="3284" y="10264"/>
                  </a:lnTo>
                  <a:lnTo>
                    <a:pt x="4493" y="8882"/>
                  </a:lnTo>
                  <a:lnTo>
                    <a:pt x="5150" y="8191"/>
                  </a:lnTo>
                  <a:lnTo>
                    <a:pt x="5841" y="7465"/>
                  </a:lnTo>
                  <a:lnTo>
                    <a:pt x="6567" y="6739"/>
                  </a:lnTo>
                  <a:lnTo>
                    <a:pt x="7327" y="6048"/>
                  </a:lnTo>
                  <a:lnTo>
                    <a:pt x="8122" y="5392"/>
                  </a:lnTo>
                  <a:lnTo>
                    <a:pt x="8916" y="4770"/>
                  </a:lnTo>
                  <a:lnTo>
                    <a:pt x="9746" y="4217"/>
                  </a:lnTo>
                  <a:lnTo>
                    <a:pt x="10575" y="3699"/>
                  </a:lnTo>
                  <a:lnTo>
                    <a:pt x="11439" y="3284"/>
                  </a:lnTo>
                  <a:lnTo>
                    <a:pt x="11854" y="3111"/>
                  </a:lnTo>
                  <a:lnTo>
                    <a:pt x="12268" y="2938"/>
                  </a:lnTo>
                  <a:lnTo>
                    <a:pt x="12718" y="2800"/>
                  </a:lnTo>
                  <a:lnTo>
                    <a:pt x="13132" y="2696"/>
                  </a:lnTo>
                  <a:lnTo>
                    <a:pt x="13582" y="2593"/>
                  </a:lnTo>
                  <a:lnTo>
                    <a:pt x="14031" y="2558"/>
                  </a:lnTo>
                  <a:lnTo>
                    <a:pt x="14273" y="2489"/>
                  </a:lnTo>
                  <a:lnTo>
                    <a:pt x="14515" y="2420"/>
                  </a:lnTo>
                  <a:lnTo>
                    <a:pt x="14722" y="2282"/>
                  </a:lnTo>
                  <a:lnTo>
                    <a:pt x="14895" y="2109"/>
                  </a:lnTo>
                  <a:lnTo>
                    <a:pt x="15033" y="1902"/>
                  </a:lnTo>
                  <a:lnTo>
                    <a:pt x="15137" y="1660"/>
                  </a:lnTo>
                  <a:lnTo>
                    <a:pt x="15171" y="1418"/>
                  </a:lnTo>
                  <a:lnTo>
                    <a:pt x="15171" y="1176"/>
                  </a:lnTo>
                  <a:lnTo>
                    <a:pt x="15137" y="899"/>
                  </a:lnTo>
                  <a:lnTo>
                    <a:pt x="15033" y="658"/>
                  </a:lnTo>
                  <a:lnTo>
                    <a:pt x="14895" y="485"/>
                  </a:lnTo>
                  <a:lnTo>
                    <a:pt x="14722" y="277"/>
                  </a:lnTo>
                  <a:lnTo>
                    <a:pt x="14515" y="139"/>
                  </a:lnTo>
                  <a:lnTo>
                    <a:pt x="14273" y="70"/>
                  </a:lnTo>
                  <a:lnTo>
                    <a:pt x="14031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4" name="Google Shape;1501;p16">
              <a:extLst>
                <a:ext uri="{FF2B5EF4-FFF2-40B4-BE49-F238E27FC236}">
                  <a16:creationId xmlns:a16="http://schemas.microsoft.com/office/drawing/2014/main" id="{F4F0A09C-4BF2-270F-572C-1389E6CEEF70}"/>
                </a:ext>
              </a:extLst>
            </p:cNvPr>
            <p:cNvSpPr/>
            <p:nvPr/>
          </p:nvSpPr>
          <p:spPr>
            <a:xfrm>
              <a:off x="2876975" y="2150800"/>
              <a:ext cx="352500" cy="326600"/>
            </a:xfrm>
            <a:custGeom>
              <a:avLst/>
              <a:gdLst/>
              <a:ahLst/>
              <a:cxnLst/>
              <a:rect l="l" t="t" r="r" b="b"/>
              <a:pathLst>
                <a:path w="14100" h="13064" extrusionOk="0">
                  <a:moveTo>
                    <a:pt x="1037" y="1"/>
                  </a:moveTo>
                  <a:lnTo>
                    <a:pt x="795" y="70"/>
                  </a:lnTo>
                  <a:lnTo>
                    <a:pt x="553" y="208"/>
                  </a:lnTo>
                  <a:lnTo>
                    <a:pt x="380" y="381"/>
                  </a:lnTo>
                  <a:lnTo>
                    <a:pt x="207" y="554"/>
                  </a:lnTo>
                  <a:lnTo>
                    <a:pt x="69" y="796"/>
                  </a:lnTo>
                  <a:lnTo>
                    <a:pt x="0" y="1038"/>
                  </a:lnTo>
                  <a:lnTo>
                    <a:pt x="0" y="1279"/>
                  </a:lnTo>
                  <a:lnTo>
                    <a:pt x="0" y="1521"/>
                  </a:lnTo>
                  <a:lnTo>
                    <a:pt x="69" y="1763"/>
                  </a:lnTo>
                  <a:lnTo>
                    <a:pt x="207" y="1971"/>
                  </a:lnTo>
                  <a:lnTo>
                    <a:pt x="380" y="2178"/>
                  </a:lnTo>
                  <a:lnTo>
                    <a:pt x="1970" y="3768"/>
                  </a:lnTo>
                  <a:lnTo>
                    <a:pt x="3594" y="5357"/>
                  </a:lnTo>
                  <a:lnTo>
                    <a:pt x="5529" y="7189"/>
                  </a:lnTo>
                  <a:lnTo>
                    <a:pt x="7395" y="8951"/>
                  </a:lnTo>
                  <a:lnTo>
                    <a:pt x="8847" y="10299"/>
                  </a:lnTo>
                  <a:lnTo>
                    <a:pt x="9987" y="11301"/>
                  </a:lnTo>
                  <a:lnTo>
                    <a:pt x="10851" y="11992"/>
                  </a:lnTo>
                  <a:lnTo>
                    <a:pt x="11438" y="12476"/>
                  </a:lnTo>
                  <a:lnTo>
                    <a:pt x="11888" y="12752"/>
                  </a:lnTo>
                  <a:lnTo>
                    <a:pt x="12164" y="12890"/>
                  </a:lnTo>
                  <a:lnTo>
                    <a:pt x="12337" y="12994"/>
                  </a:lnTo>
                  <a:lnTo>
                    <a:pt x="12579" y="13063"/>
                  </a:lnTo>
                  <a:lnTo>
                    <a:pt x="12993" y="13063"/>
                  </a:lnTo>
                  <a:lnTo>
                    <a:pt x="13201" y="13029"/>
                  </a:lnTo>
                  <a:lnTo>
                    <a:pt x="13373" y="12960"/>
                  </a:lnTo>
                  <a:lnTo>
                    <a:pt x="13512" y="12856"/>
                  </a:lnTo>
                  <a:lnTo>
                    <a:pt x="13684" y="12752"/>
                  </a:lnTo>
                  <a:lnTo>
                    <a:pt x="13823" y="12614"/>
                  </a:lnTo>
                  <a:lnTo>
                    <a:pt x="13926" y="12441"/>
                  </a:lnTo>
                  <a:lnTo>
                    <a:pt x="13995" y="12268"/>
                  </a:lnTo>
                  <a:lnTo>
                    <a:pt x="14065" y="12026"/>
                  </a:lnTo>
                  <a:lnTo>
                    <a:pt x="14099" y="11785"/>
                  </a:lnTo>
                  <a:lnTo>
                    <a:pt x="14065" y="11543"/>
                  </a:lnTo>
                  <a:lnTo>
                    <a:pt x="13995" y="11301"/>
                  </a:lnTo>
                  <a:lnTo>
                    <a:pt x="13892" y="11093"/>
                  </a:lnTo>
                  <a:lnTo>
                    <a:pt x="13719" y="10886"/>
                  </a:lnTo>
                  <a:lnTo>
                    <a:pt x="13512" y="10748"/>
                  </a:lnTo>
                  <a:lnTo>
                    <a:pt x="13304" y="10610"/>
                  </a:lnTo>
                  <a:lnTo>
                    <a:pt x="13062" y="10471"/>
                  </a:lnTo>
                  <a:lnTo>
                    <a:pt x="12717" y="10230"/>
                  </a:lnTo>
                  <a:lnTo>
                    <a:pt x="11784" y="9469"/>
                  </a:lnTo>
                  <a:lnTo>
                    <a:pt x="10574" y="8398"/>
                  </a:lnTo>
                  <a:lnTo>
                    <a:pt x="9123" y="7050"/>
                  </a:lnTo>
                  <a:lnTo>
                    <a:pt x="7464" y="5530"/>
                  </a:lnTo>
                  <a:lnTo>
                    <a:pt x="5736" y="3871"/>
                  </a:lnTo>
                  <a:lnTo>
                    <a:pt x="3940" y="2143"/>
                  </a:lnTo>
                  <a:lnTo>
                    <a:pt x="2177" y="381"/>
                  </a:lnTo>
                  <a:lnTo>
                    <a:pt x="1970" y="208"/>
                  </a:lnTo>
                  <a:lnTo>
                    <a:pt x="1762" y="70"/>
                  </a:lnTo>
                  <a:lnTo>
                    <a:pt x="1521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5" name="Google Shape;1502;p16">
              <a:extLst>
                <a:ext uri="{FF2B5EF4-FFF2-40B4-BE49-F238E27FC236}">
                  <a16:creationId xmlns:a16="http://schemas.microsoft.com/office/drawing/2014/main" id="{F67B4003-EACB-154C-A10B-D42268C221DA}"/>
                </a:ext>
              </a:extLst>
            </p:cNvPr>
            <p:cNvSpPr/>
            <p:nvPr/>
          </p:nvSpPr>
          <p:spPr>
            <a:xfrm>
              <a:off x="2868325" y="2170675"/>
              <a:ext cx="379275" cy="298950"/>
            </a:xfrm>
            <a:custGeom>
              <a:avLst/>
              <a:gdLst/>
              <a:ahLst/>
              <a:cxnLst/>
              <a:rect l="l" t="t" r="r" b="b"/>
              <a:pathLst>
                <a:path w="15171" h="11958" extrusionOk="0">
                  <a:moveTo>
                    <a:pt x="13789" y="1"/>
                  </a:moveTo>
                  <a:lnTo>
                    <a:pt x="13270" y="70"/>
                  </a:lnTo>
                  <a:lnTo>
                    <a:pt x="12717" y="139"/>
                  </a:lnTo>
                  <a:lnTo>
                    <a:pt x="12199" y="277"/>
                  </a:lnTo>
                  <a:lnTo>
                    <a:pt x="11681" y="450"/>
                  </a:lnTo>
                  <a:lnTo>
                    <a:pt x="11162" y="623"/>
                  </a:lnTo>
                  <a:lnTo>
                    <a:pt x="10678" y="830"/>
                  </a:lnTo>
                  <a:lnTo>
                    <a:pt x="10160" y="1037"/>
                  </a:lnTo>
                  <a:lnTo>
                    <a:pt x="9676" y="1279"/>
                  </a:lnTo>
                  <a:lnTo>
                    <a:pt x="8674" y="1867"/>
                  </a:lnTo>
                  <a:lnTo>
                    <a:pt x="7741" y="2489"/>
                  </a:lnTo>
                  <a:lnTo>
                    <a:pt x="6808" y="3180"/>
                  </a:lnTo>
                  <a:lnTo>
                    <a:pt x="5944" y="3906"/>
                  </a:lnTo>
                  <a:lnTo>
                    <a:pt x="5080" y="4666"/>
                  </a:lnTo>
                  <a:lnTo>
                    <a:pt x="4251" y="5426"/>
                  </a:lnTo>
                  <a:lnTo>
                    <a:pt x="3491" y="6221"/>
                  </a:lnTo>
                  <a:lnTo>
                    <a:pt x="2765" y="7016"/>
                  </a:lnTo>
                  <a:lnTo>
                    <a:pt x="1417" y="8502"/>
                  </a:lnTo>
                  <a:lnTo>
                    <a:pt x="277" y="9849"/>
                  </a:lnTo>
                  <a:lnTo>
                    <a:pt x="139" y="10057"/>
                  </a:lnTo>
                  <a:lnTo>
                    <a:pt x="35" y="10298"/>
                  </a:lnTo>
                  <a:lnTo>
                    <a:pt x="1" y="10540"/>
                  </a:lnTo>
                  <a:lnTo>
                    <a:pt x="1" y="10782"/>
                  </a:lnTo>
                  <a:lnTo>
                    <a:pt x="35" y="11024"/>
                  </a:lnTo>
                  <a:lnTo>
                    <a:pt x="139" y="11231"/>
                  </a:lnTo>
                  <a:lnTo>
                    <a:pt x="277" y="11473"/>
                  </a:lnTo>
                  <a:lnTo>
                    <a:pt x="450" y="11646"/>
                  </a:lnTo>
                  <a:lnTo>
                    <a:pt x="657" y="11784"/>
                  </a:lnTo>
                  <a:lnTo>
                    <a:pt x="830" y="11854"/>
                  </a:lnTo>
                  <a:lnTo>
                    <a:pt x="1072" y="11923"/>
                  </a:lnTo>
                  <a:lnTo>
                    <a:pt x="1279" y="11957"/>
                  </a:lnTo>
                  <a:lnTo>
                    <a:pt x="1556" y="11923"/>
                  </a:lnTo>
                  <a:lnTo>
                    <a:pt x="1797" y="11819"/>
                  </a:lnTo>
                  <a:lnTo>
                    <a:pt x="2039" y="11681"/>
                  </a:lnTo>
                  <a:lnTo>
                    <a:pt x="2247" y="11473"/>
                  </a:lnTo>
                  <a:lnTo>
                    <a:pt x="3283" y="10264"/>
                  </a:lnTo>
                  <a:lnTo>
                    <a:pt x="4493" y="8882"/>
                  </a:lnTo>
                  <a:lnTo>
                    <a:pt x="5149" y="8191"/>
                  </a:lnTo>
                  <a:lnTo>
                    <a:pt x="5841" y="7465"/>
                  </a:lnTo>
                  <a:lnTo>
                    <a:pt x="6566" y="6739"/>
                  </a:lnTo>
                  <a:lnTo>
                    <a:pt x="7327" y="6048"/>
                  </a:lnTo>
                  <a:lnTo>
                    <a:pt x="8121" y="5391"/>
                  </a:lnTo>
                  <a:lnTo>
                    <a:pt x="8916" y="4769"/>
                  </a:lnTo>
                  <a:lnTo>
                    <a:pt x="9745" y="4217"/>
                  </a:lnTo>
                  <a:lnTo>
                    <a:pt x="10575" y="3698"/>
                  </a:lnTo>
                  <a:lnTo>
                    <a:pt x="11439" y="3284"/>
                  </a:lnTo>
                  <a:lnTo>
                    <a:pt x="11853" y="3076"/>
                  </a:lnTo>
                  <a:lnTo>
                    <a:pt x="12303" y="2938"/>
                  </a:lnTo>
                  <a:lnTo>
                    <a:pt x="12717" y="2800"/>
                  </a:lnTo>
                  <a:lnTo>
                    <a:pt x="13167" y="2696"/>
                  </a:lnTo>
                  <a:lnTo>
                    <a:pt x="13581" y="2592"/>
                  </a:lnTo>
                  <a:lnTo>
                    <a:pt x="14030" y="2558"/>
                  </a:lnTo>
                  <a:lnTo>
                    <a:pt x="14272" y="2489"/>
                  </a:lnTo>
                  <a:lnTo>
                    <a:pt x="14514" y="2385"/>
                  </a:lnTo>
                  <a:lnTo>
                    <a:pt x="14722" y="2247"/>
                  </a:lnTo>
                  <a:lnTo>
                    <a:pt x="14894" y="2074"/>
                  </a:lnTo>
                  <a:lnTo>
                    <a:pt x="15033" y="1901"/>
                  </a:lnTo>
                  <a:lnTo>
                    <a:pt x="15136" y="1659"/>
                  </a:lnTo>
                  <a:lnTo>
                    <a:pt x="15171" y="1417"/>
                  </a:lnTo>
                  <a:lnTo>
                    <a:pt x="15171" y="1141"/>
                  </a:lnTo>
                  <a:lnTo>
                    <a:pt x="15136" y="899"/>
                  </a:lnTo>
                  <a:lnTo>
                    <a:pt x="15033" y="657"/>
                  </a:lnTo>
                  <a:lnTo>
                    <a:pt x="14894" y="450"/>
                  </a:lnTo>
                  <a:lnTo>
                    <a:pt x="14722" y="277"/>
                  </a:lnTo>
                  <a:lnTo>
                    <a:pt x="14514" y="139"/>
                  </a:lnTo>
                  <a:lnTo>
                    <a:pt x="14307" y="35"/>
                  </a:lnTo>
                  <a:lnTo>
                    <a:pt x="14065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6" name="Google Shape;1503;p16">
              <a:extLst>
                <a:ext uri="{FF2B5EF4-FFF2-40B4-BE49-F238E27FC236}">
                  <a16:creationId xmlns:a16="http://schemas.microsoft.com/office/drawing/2014/main" id="{2D6206AE-7CEB-8C4B-FD01-8B893909DADE}"/>
                </a:ext>
              </a:extLst>
            </p:cNvPr>
            <p:cNvSpPr/>
            <p:nvPr/>
          </p:nvSpPr>
          <p:spPr>
            <a:xfrm>
              <a:off x="3008275" y="1469175"/>
              <a:ext cx="309300" cy="287725"/>
            </a:xfrm>
            <a:custGeom>
              <a:avLst/>
              <a:gdLst/>
              <a:ahLst/>
              <a:cxnLst/>
              <a:rect l="l" t="t" r="r" b="b"/>
              <a:pathLst>
                <a:path w="12372" h="11509" extrusionOk="0">
                  <a:moveTo>
                    <a:pt x="1210" y="1"/>
                  </a:moveTo>
                  <a:lnTo>
                    <a:pt x="968" y="35"/>
                  </a:lnTo>
                  <a:lnTo>
                    <a:pt x="761" y="105"/>
                  </a:lnTo>
                  <a:lnTo>
                    <a:pt x="554" y="208"/>
                  </a:lnTo>
                  <a:lnTo>
                    <a:pt x="381" y="346"/>
                  </a:lnTo>
                  <a:lnTo>
                    <a:pt x="208" y="554"/>
                  </a:lnTo>
                  <a:lnTo>
                    <a:pt x="104" y="761"/>
                  </a:lnTo>
                  <a:lnTo>
                    <a:pt x="35" y="968"/>
                  </a:lnTo>
                  <a:lnTo>
                    <a:pt x="1" y="1210"/>
                  </a:lnTo>
                  <a:lnTo>
                    <a:pt x="35" y="1452"/>
                  </a:lnTo>
                  <a:lnTo>
                    <a:pt x="104" y="1660"/>
                  </a:lnTo>
                  <a:lnTo>
                    <a:pt x="208" y="1867"/>
                  </a:lnTo>
                  <a:lnTo>
                    <a:pt x="381" y="2040"/>
                  </a:lnTo>
                  <a:lnTo>
                    <a:pt x="2869" y="4528"/>
                  </a:lnTo>
                  <a:lnTo>
                    <a:pt x="4389" y="6014"/>
                  </a:lnTo>
                  <a:lnTo>
                    <a:pt x="5944" y="7465"/>
                  </a:lnTo>
                  <a:lnTo>
                    <a:pt x="7465" y="8882"/>
                  </a:lnTo>
                  <a:lnTo>
                    <a:pt x="8847" y="10057"/>
                  </a:lnTo>
                  <a:lnTo>
                    <a:pt x="9435" y="10541"/>
                  </a:lnTo>
                  <a:lnTo>
                    <a:pt x="9953" y="10921"/>
                  </a:lnTo>
                  <a:lnTo>
                    <a:pt x="10402" y="11232"/>
                  </a:lnTo>
                  <a:lnTo>
                    <a:pt x="10748" y="11404"/>
                  </a:lnTo>
                  <a:lnTo>
                    <a:pt x="10955" y="11474"/>
                  </a:lnTo>
                  <a:lnTo>
                    <a:pt x="11197" y="11508"/>
                  </a:lnTo>
                  <a:lnTo>
                    <a:pt x="11370" y="11474"/>
                  </a:lnTo>
                  <a:lnTo>
                    <a:pt x="11543" y="11439"/>
                  </a:lnTo>
                  <a:lnTo>
                    <a:pt x="11681" y="11370"/>
                  </a:lnTo>
                  <a:lnTo>
                    <a:pt x="11854" y="11301"/>
                  </a:lnTo>
                  <a:lnTo>
                    <a:pt x="11992" y="11197"/>
                  </a:lnTo>
                  <a:lnTo>
                    <a:pt x="12095" y="11059"/>
                  </a:lnTo>
                  <a:lnTo>
                    <a:pt x="12199" y="10921"/>
                  </a:lnTo>
                  <a:lnTo>
                    <a:pt x="12303" y="10748"/>
                  </a:lnTo>
                  <a:lnTo>
                    <a:pt x="12372" y="10506"/>
                  </a:lnTo>
                  <a:lnTo>
                    <a:pt x="12372" y="10264"/>
                  </a:lnTo>
                  <a:lnTo>
                    <a:pt x="12372" y="10057"/>
                  </a:lnTo>
                  <a:lnTo>
                    <a:pt x="12303" y="9815"/>
                  </a:lnTo>
                  <a:lnTo>
                    <a:pt x="12165" y="9642"/>
                  </a:lnTo>
                  <a:lnTo>
                    <a:pt x="12026" y="9469"/>
                  </a:lnTo>
                  <a:lnTo>
                    <a:pt x="11854" y="9297"/>
                  </a:lnTo>
                  <a:lnTo>
                    <a:pt x="11646" y="9193"/>
                  </a:lnTo>
                  <a:lnTo>
                    <a:pt x="11439" y="9055"/>
                  </a:lnTo>
                  <a:lnTo>
                    <a:pt x="11128" y="8847"/>
                  </a:lnTo>
                  <a:lnTo>
                    <a:pt x="10333" y="8191"/>
                  </a:lnTo>
                  <a:lnTo>
                    <a:pt x="9262" y="7258"/>
                  </a:lnTo>
                  <a:lnTo>
                    <a:pt x="8018" y="6117"/>
                  </a:lnTo>
                  <a:lnTo>
                    <a:pt x="5115" y="3387"/>
                  </a:lnTo>
                  <a:lnTo>
                    <a:pt x="2040" y="346"/>
                  </a:lnTo>
                  <a:lnTo>
                    <a:pt x="1867" y="208"/>
                  </a:lnTo>
                  <a:lnTo>
                    <a:pt x="1659" y="105"/>
                  </a:lnTo>
                  <a:lnTo>
                    <a:pt x="1452" y="35"/>
                  </a:lnTo>
                  <a:lnTo>
                    <a:pt x="1210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7" name="Google Shape;1504;p16">
              <a:extLst>
                <a:ext uri="{FF2B5EF4-FFF2-40B4-BE49-F238E27FC236}">
                  <a16:creationId xmlns:a16="http://schemas.microsoft.com/office/drawing/2014/main" id="{56C81528-0EC1-229B-685F-09B1F914F501}"/>
                </a:ext>
              </a:extLst>
            </p:cNvPr>
            <p:cNvSpPr/>
            <p:nvPr/>
          </p:nvSpPr>
          <p:spPr>
            <a:xfrm>
              <a:off x="3001375" y="1486450"/>
              <a:ext cx="332625" cy="262675"/>
            </a:xfrm>
            <a:custGeom>
              <a:avLst/>
              <a:gdLst/>
              <a:ahLst/>
              <a:cxnLst/>
              <a:rect l="l" t="t" r="r" b="b"/>
              <a:pathLst>
                <a:path w="13305" h="10507" extrusionOk="0">
                  <a:moveTo>
                    <a:pt x="11991" y="1"/>
                  </a:moveTo>
                  <a:lnTo>
                    <a:pt x="11542" y="70"/>
                  </a:lnTo>
                  <a:lnTo>
                    <a:pt x="11058" y="139"/>
                  </a:lnTo>
                  <a:lnTo>
                    <a:pt x="10609" y="277"/>
                  </a:lnTo>
                  <a:lnTo>
                    <a:pt x="10160" y="381"/>
                  </a:lnTo>
                  <a:lnTo>
                    <a:pt x="9711" y="554"/>
                  </a:lnTo>
                  <a:lnTo>
                    <a:pt x="9261" y="727"/>
                  </a:lnTo>
                  <a:lnTo>
                    <a:pt x="8397" y="1141"/>
                  </a:lnTo>
                  <a:lnTo>
                    <a:pt x="7568" y="1625"/>
                  </a:lnTo>
                  <a:lnTo>
                    <a:pt x="6739" y="2178"/>
                  </a:lnTo>
                  <a:lnTo>
                    <a:pt x="5944" y="2766"/>
                  </a:lnTo>
                  <a:lnTo>
                    <a:pt x="5149" y="3388"/>
                  </a:lnTo>
                  <a:lnTo>
                    <a:pt x="4423" y="4044"/>
                  </a:lnTo>
                  <a:lnTo>
                    <a:pt x="3732" y="4735"/>
                  </a:lnTo>
                  <a:lnTo>
                    <a:pt x="3041" y="5392"/>
                  </a:lnTo>
                  <a:lnTo>
                    <a:pt x="2419" y="6083"/>
                  </a:lnTo>
                  <a:lnTo>
                    <a:pt x="1244" y="7396"/>
                  </a:lnTo>
                  <a:lnTo>
                    <a:pt x="277" y="8536"/>
                  </a:lnTo>
                  <a:lnTo>
                    <a:pt x="138" y="8744"/>
                  </a:lnTo>
                  <a:lnTo>
                    <a:pt x="35" y="8951"/>
                  </a:lnTo>
                  <a:lnTo>
                    <a:pt x="0" y="9193"/>
                  </a:lnTo>
                  <a:lnTo>
                    <a:pt x="0" y="9435"/>
                  </a:lnTo>
                  <a:lnTo>
                    <a:pt x="35" y="9642"/>
                  </a:lnTo>
                  <a:lnTo>
                    <a:pt x="138" y="9850"/>
                  </a:lnTo>
                  <a:lnTo>
                    <a:pt x="242" y="10057"/>
                  </a:lnTo>
                  <a:lnTo>
                    <a:pt x="415" y="10230"/>
                  </a:lnTo>
                  <a:lnTo>
                    <a:pt x="588" y="10368"/>
                  </a:lnTo>
                  <a:lnTo>
                    <a:pt x="795" y="10437"/>
                  </a:lnTo>
                  <a:lnTo>
                    <a:pt x="1002" y="10506"/>
                  </a:lnTo>
                  <a:lnTo>
                    <a:pt x="1175" y="10506"/>
                  </a:lnTo>
                  <a:lnTo>
                    <a:pt x="1452" y="10472"/>
                  </a:lnTo>
                  <a:lnTo>
                    <a:pt x="1693" y="10402"/>
                  </a:lnTo>
                  <a:lnTo>
                    <a:pt x="1901" y="10264"/>
                  </a:lnTo>
                  <a:lnTo>
                    <a:pt x="2108" y="10091"/>
                  </a:lnTo>
                  <a:lnTo>
                    <a:pt x="3007" y="9020"/>
                  </a:lnTo>
                  <a:lnTo>
                    <a:pt x="4043" y="7845"/>
                  </a:lnTo>
                  <a:lnTo>
                    <a:pt x="4596" y="7223"/>
                  </a:lnTo>
                  <a:lnTo>
                    <a:pt x="5184" y="6636"/>
                  </a:lnTo>
                  <a:lnTo>
                    <a:pt x="5840" y="6014"/>
                  </a:lnTo>
                  <a:lnTo>
                    <a:pt x="6462" y="5426"/>
                  </a:lnTo>
                  <a:lnTo>
                    <a:pt x="7153" y="4839"/>
                  </a:lnTo>
                  <a:lnTo>
                    <a:pt x="7845" y="4321"/>
                  </a:lnTo>
                  <a:lnTo>
                    <a:pt x="8536" y="3837"/>
                  </a:lnTo>
                  <a:lnTo>
                    <a:pt x="9261" y="3388"/>
                  </a:lnTo>
                  <a:lnTo>
                    <a:pt x="9987" y="3007"/>
                  </a:lnTo>
                  <a:lnTo>
                    <a:pt x="10713" y="2731"/>
                  </a:lnTo>
                  <a:lnTo>
                    <a:pt x="11093" y="2593"/>
                  </a:lnTo>
                  <a:lnTo>
                    <a:pt x="11473" y="2524"/>
                  </a:lnTo>
                  <a:lnTo>
                    <a:pt x="11853" y="2455"/>
                  </a:lnTo>
                  <a:lnTo>
                    <a:pt x="12199" y="2385"/>
                  </a:lnTo>
                  <a:lnTo>
                    <a:pt x="12441" y="2351"/>
                  </a:lnTo>
                  <a:lnTo>
                    <a:pt x="12682" y="2247"/>
                  </a:lnTo>
                  <a:lnTo>
                    <a:pt x="12855" y="2143"/>
                  </a:lnTo>
                  <a:lnTo>
                    <a:pt x="13028" y="1971"/>
                  </a:lnTo>
                  <a:lnTo>
                    <a:pt x="13166" y="1763"/>
                  </a:lnTo>
                  <a:lnTo>
                    <a:pt x="13235" y="1556"/>
                  </a:lnTo>
                  <a:lnTo>
                    <a:pt x="13304" y="1349"/>
                  </a:lnTo>
                  <a:lnTo>
                    <a:pt x="13304" y="1107"/>
                  </a:lnTo>
                  <a:lnTo>
                    <a:pt x="13235" y="865"/>
                  </a:lnTo>
                  <a:lnTo>
                    <a:pt x="13166" y="623"/>
                  </a:lnTo>
                  <a:lnTo>
                    <a:pt x="13028" y="450"/>
                  </a:lnTo>
                  <a:lnTo>
                    <a:pt x="12855" y="277"/>
                  </a:lnTo>
                  <a:lnTo>
                    <a:pt x="12682" y="139"/>
                  </a:lnTo>
                  <a:lnTo>
                    <a:pt x="12475" y="70"/>
                  </a:lnTo>
                  <a:lnTo>
                    <a:pt x="12233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8" name="Google Shape;1505;p16">
              <a:extLst>
                <a:ext uri="{FF2B5EF4-FFF2-40B4-BE49-F238E27FC236}">
                  <a16:creationId xmlns:a16="http://schemas.microsoft.com/office/drawing/2014/main" id="{23F7B446-309F-F979-0339-13AB930D47CE}"/>
                </a:ext>
              </a:extLst>
            </p:cNvPr>
            <p:cNvSpPr/>
            <p:nvPr/>
          </p:nvSpPr>
          <p:spPr>
            <a:xfrm>
              <a:off x="3994875" y="2391850"/>
              <a:ext cx="120100" cy="181425"/>
            </a:xfrm>
            <a:custGeom>
              <a:avLst/>
              <a:gdLst/>
              <a:ahLst/>
              <a:cxnLst/>
              <a:rect l="l" t="t" r="r" b="b"/>
              <a:pathLst>
                <a:path w="4804" h="7257" extrusionOk="0">
                  <a:moveTo>
                    <a:pt x="207" y="0"/>
                  </a:moveTo>
                  <a:lnTo>
                    <a:pt x="138" y="35"/>
                  </a:lnTo>
                  <a:lnTo>
                    <a:pt x="69" y="69"/>
                  </a:lnTo>
                  <a:lnTo>
                    <a:pt x="35" y="104"/>
                  </a:lnTo>
                  <a:lnTo>
                    <a:pt x="0" y="207"/>
                  </a:lnTo>
                  <a:lnTo>
                    <a:pt x="35" y="277"/>
                  </a:lnTo>
                  <a:lnTo>
                    <a:pt x="69" y="346"/>
                  </a:lnTo>
                  <a:lnTo>
                    <a:pt x="104" y="380"/>
                  </a:lnTo>
                  <a:lnTo>
                    <a:pt x="207" y="415"/>
                  </a:lnTo>
                  <a:lnTo>
                    <a:pt x="2523" y="553"/>
                  </a:lnTo>
                  <a:lnTo>
                    <a:pt x="3041" y="2315"/>
                  </a:lnTo>
                  <a:lnTo>
                    <a:pt x="3663" y="4492"/>
                  </a:lnTo>
                  <a:lnTo>
                    <a:pt x="4389" y="7119"/>
                  </a:lnTo>
                  <a:lnTo>
                    <a:pt x="4423" y="7188"/>
                  </a:lnTo>
                  <a:lnTo>
                    <a:pt x="4492" y="7222"/>
                  </a:lnTo>
                  <a:lnTo>
                    <a:pt x="4527" y="7257"/>
                  </a:lnTo>
                  <a:lnTo>
                    <a:pt x="4665" y="7257"/>
                  </a:lnTo>
                  <a:lnTo>
                    <a:pt x="4734" y="7222"/>
                  </a:lnTo>
                  <a:lnTo>
                    <a:pt x="4769" y="7153"/>
                  </a:lnTo>
                  <a:lnTo>
                    <a:pt x="4803" y="7084"/>
                  </a:lnTo>
                  <a:lnTo>
                    <a:pt x="4803" y="7015"/>
                  </a:lnTo>
                  <a:lnTo>
                    <a:pt x="4009" y="4251"/>
                  </a:lnTo>
                  <a:lnTo>
                    <a:pt x="3387" y="2039"/>
                  </a:lnTo>
                  <a:lnTo>
                    <a:pt x="2868" y="311"/>
                  </a:lnTo>
                  <a:lnTo>
                    <a:pt x="2799" y="207"/>
                  </a:lnTo>
                  <a:lnTo>
                    <a:pt x="2661" y="173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9" name="Google Shape;1506;p16">
              <a:extLst>
                <a:ext uri="{FF2B5EF4-FFF2-40B4-BE49-F238E27FC236}">
                  <a16:creationId xmlns:a16="http://schemas.microsoft.com/office/drawing/2014/main" id="{E6AFBE14-6AF6-BEEB-75D2-60D8A3D38DCB}"/>
                </a:ext>
              </a:extLst>
            </p:cNvPr>
            <p:cNvSpPr/>
            <p:nvPr/>
          </p:nvSpPr>
          <p:spPr>
            <a:xfrm>
              <a:off x="4140000" y="2552525"/>
              <a:ext cx="80375" cy="38900"/>
            </a:xfrm>
            <a:custGeom>
              <a:avLst/>
              <a:gdLst/>
              <a:ahLst/>
              <a:cxnLst/>
              <a:rect l="l" t="t" r="r" b="b"/>
              <a:pathLst>
                <a:path w="3215" h="1556" extrusionOk="0">
                  <a:moveTo>
                    <a:pt x="173" y="1"/>
                  </a:moveTo>
                  <a:lnTo>
                    <a:pt x="104" y="70"/>
                  </a:lnTo>
                  <a:lnTo>
                    <a:pt x="35" y="173"/>
                  </a:lnTo>
                  <a:lnTo>
                    <a:pt x="1" y="277"/>
                  </a:lnTo>
                  <a:lnTo>
                    <a:pt x="1" y="1245"/>
                  </a:lnTo>
                  <a:lnTo>
                    <a:pt x="35" y="1348"/>
                  </a:lnTo>
                  <a:lnTo>
                    <a:pt x="104" y="1452"/>
                  </a:lnTo>
                  <a:lnTo>
                    <a:pt x="173" y="1521"/>
                  </a:lnTo>
                  <a:lnTo>
                    <a:pt x="277" y="1556"/>
                  </a:lnTo>
                  <a:lnTo>
                    <a:pt x="2938" y="1556"/>
                  </a:lnTo>
                  <a:lnTo>
                    <a:pt x="3042" y="1521"/>
                  </a:lnTo>
                  <a:lnTo>
                    <a:pt x="3145" y="1452"/>
                  </a:lnTo>
                  <a:lnTo>
                    <a:pt x="3180" y="1348"/>
                  </a:lnTo>
                  <a:lnTo>
                    <a:pt x="3214" y="1245"/>
                  </a:lnTo>
                  <a:lnTo>
                    <a:pt x="3214" y="277"/>
                  </a:lnTo>
                  <a:lnTo>
                    <a:pt x="3180" y="173"/>
                  </a:lnTo>
                  <a:lnTo>
                    <a:pt x="3145" y="70"/>
                  </a:lnTo>
                  <a:lnTo>
                    <a:pt x="3042" y="1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0" name="Google Shape;1507;p16">
              <a:extLst>
                <a:ext uri="{FF2B5EF4-FFF2-40B4-BE49-F238E27FC236}">
                  <a16:creationId xmlns:a16="http://schemas.microsoft.com/office/drawing/2014/main" id="{ED301C77-4C4D-A0CD-E90D-E5069ADCD52A}"/>
                </a:ext>
              </a:extLst>
            </p:cNvPr>
            <p:cNvSpPr/>
            <p:nvPr/>
          </p:nvSpPr>
          <p:spPr>
            <a:xfrm>
              <a:off x="4140000" y="2552525"/>
              <a:ext cx="80375" cy="38900"/>
            </a:xfrm>
            <a:custGeom>
              <a:avLst/>
              <a:gdLst/>
              <a:ahLst/>
              <a:cxnLst/>
              <a:rect l="l" t="t" r="r" b="b"/>
              <a:pathLst>
                <a:path w="3215" h="1556" fill="none" extrusionOk="0">
                  <a:moveTo>
                    <a:pt x="2938" y="1"/>
                  </a:moveTo>
                  <a:lnTo>
                    <a:pt x="277" y="1"/>
                  </a:lnTo>
                  <a:lnTo>
                    <a:pt x="277" y="1"/>
                  </a:lnTo>
                  <a:lnTo>
                    <a:pt x="173" y="1"/>
                  </a:lnTo>
                  <a:lnTo>
                    <a:pt x="104" y="70"/>
                  </a:lnTo>
                  <a:lnTo>
                    <a:pt x="35" y="173"/>
                  </a:lnTo>
                  <a:lnTo>
                    <a:pt x="1" y="277"/>
                  </a:lnTo>
                  <a:lnTo>
                    <a:pt x="1" y="1245"/>
                  </a:lnTo>
                  <a:lnTo>
                    <a:pt x="1" y="1245"/>
                  </a:lnTo>
                  <a:lnTo>
                    <a:pt x="35" y="1348"/>
                  </a:lnTo>
                  <a:lnTo>
                    <a:pt x="104" y="1452"/>
                  </a:lnTo>
                  <a:lnTo>
                    <a:pt x="173" y="1521"/>
                  </a:lnTo>
                  <a:lnTo>
                    <a:pt x="277" y="1556"/>
                  </a:lnTo>
                  <a:lnTo>
                    <a:pt x="2938" y="1556"/>
                  </a:lnTo>
                  <a:lnTo>
                    <a:pt x="2938" y="1556"/>
                  </a:lnTo>
                  <a:lnTo>
                    <a:pt x="3042" y="1521"/>
                  </a:lnTo>
                  <a:lnTo>
                    <a:pt x="3145" y="1452"/>
                  </a:lnTo>
                  <a:lnTo>
                    <a:pt x="3180" y="1348"/>
                  </a:lnTo>
                  <a:lnTo>
                    <a:pt x="3214" y="1245"/>
                  </a:lnTo>
                  <a:lnTo>
                    <a:pt x="3214" y="277"/>
                  </a:lnTo>
                  <a:lnTo>
                    <a:pt x="3214" y="277"/>
                  </a:lnTo>
                  <a:lnTo>
                    <a:pt x="3180" y="173"/>
                  </a:lnTo>
                  <a:lnTo>
                    <a:pt x="3145" y="70"/>
                  </a:lnTo>
                  <a:lnTo>
                    <a:pt x="3042" y="1"/>
                  </a:lnTo>
                  <a:lnTo>
                    <a:pt x="2938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1" name="Google Shape;1508;p16">
              <a:extLst>
                <a:ext uri="{FF2B5EF4-FFF2-40B4-BE49-F238E27FC236}">
                  <a16:creationId xmlns:a16="http://schemas.microsoft.com/office/drawing/2014/main" id="{BDFAC9CB-C161-F627-B9BA-2228DC85F40E}"/>
                </a:ext>
              </a:extLst>
            </p:cNvPr>
            <p:cNvSpPr/>
            <p:nvPr/>
          </p:nvSpPr>
          <p:spPr>
            <a:xfrm>
              <a:off x="4247125" y="2550800"/>
              <a:ext cx="139975" cy="38900"/>
            </a:xfrm>
            <a:custGeom>
              <a:avLst/>
              <a:gdLst/>
              <a:ahLst/>
              <a:cxnLst/>
              <a:rect l="l" t="t" r="r" b="b"/>
              <a:pathLst>
                <a:path w="5599" h="1556" extrusionOk="0">
                  <a:moveTo>
                    <a:pt x="312" y="0"/>
                  </a:moveTo>
                  <a:lnTo>
                    <a:pt x="173" y="35"/>
                  </a:lnTo>
                  <a:lnTo>
                    <a:pt x="70" y="104"/>
                  </a:lnTo>
                  <a:lnTo>
                    <a:pt x="35" y="208"/>
                  </a:lnTo>
                  <a:lnTo>
                    <a:pt x="1" y="311"/>
                  </a:lnTo>
                  <a:lnTo>
                    <a:pt x="1" y="1245"/>
                  </a:lnTo>
                  <a:lnTo>
                    <a:pt x="35" y="1348"/>
                  </a:lnTo>
                  <a:lnTo>
                    <a:pt x="70" y="1452"/>
                  </a:lnTo>
                  <a:lnTo>
                    <a:pt x="173" y="1521"/>
                  </a:lnTo>
                  <a:lnTo>
                    <a:pt x="312" y="1556"/>
                  </a:lnTo>
                  <a:lnTo>
                    <a:pt x="5288" y="1556"/>
                  </a:lnTo>
                  <a:lnTo>
                    <a:pt x="5426" y="1521"/>
                  </a:lnTo>
                  <a:lnTo>
                    <a:pt x="5530" y="1452"/>
                  </a:lnTo>
                  <a:lnTo>
                    <a:pt x="5599" y="1348"/>
                  </a:lnTo>
                  <a:lnTo>
                    <a:pt x="5599" y="1245"/>
                  </a:lnTo>
                  <a:lnTo>
                    <a:pt x="5599" y="311"/>
                  </a:lnTo>
                  <a:lnTo>
                    <a:pt x="5599" y="208"/>
                  </a:lnTo>
                  <a:lnTo>
                    <a:pt x="5530" y="104"/>
                  </a:lnTo>
                  <a:lnTo>
                    <a:pt x="5426" y="35"/>
                  </a:lnTo>
                  <a:lnTo>
                    <a:pt x="5288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" name="Google Shape;1509;p16">
              <a:extLst>
                <a:ext uri="{FF2B5EF4-FFF2-40B4-BE49-F238E27FC236}">
                  <a16:creationId xmlns:a16="http://schemas.microsoft.com/office/drawing/2014/main" id="{B0FE4BFE-6163-FE13-F72A-DE0FCDF4134E}"/>
                </a:ext>
              </a:extLst>
            </p:cNvPr>
            <p:cNvSpPr/>
            <p:nvPr/>
          </p:nvSpPr>
          <p:spPr>
            <a:xfrm>
              <a:off x="4247125" y="2550800"/>
              <a:ext cx="139975" cy="38900"/>
            </a:xfrm>
            <a:custGeom>
              <a:avLst/>
              <a:gdLst/>
              <a:ahLst/>
              <a:cxnLst/>
              <a:rect l="l" t="t" r="r" b="b"/>
              <a:pathLst>
                <a:path w="5599" h="1556" fill="none" extrusionOk="0">
                  <a:moveTo>
                    <a:pt x="5288" y="0"/>
                  </a:moveTo>
                  <a:lnTo>
                    <a:pt x="312" y="0"/>
                  </a:lnTo>
                  <a:lnTo>
                    <a:pt x="312" y="0"/>
                  </a:lnTo>
                  <a:lnTo>
                    <a:pt x="173" y="35"/>
                  </a:lnTo>
                  <a:lnTo>
                    <a:pt x="70" y="104"/>
                  </a:lnTo>
                  <a:lnTo>
                    <a:pt x="35" y="208"/>
                  </a:lnTo>
                  <a:lnTo>
                    <a:pt x="1" y="311"/>
                  </a:lnTo>
                  <a:lnTo>
                    <a:pt x="1" y="1245"/>
                  </a:lnTo>
                  <a:lnTo>
                    <a:pt x="1" y="1245"/>
                  </a:lnTo>
                  <a:lnTo>
                    <a:pt x="35" y="1348"/>
                  </a:lnTo>
                  <a:lnTo>
                    <a:pt x="70" y="1452"/>
                  </a:lnTo>
                  <a:lnTo>
                    <a:pt x="173" y="1521"/>
                  </a:lnTo>
                  <a:lnTo>
                    <a:pt x="312" y="1556"/>
                  </a:lnTo>
                  <a:lnTo>
                    <a:pt x="5288" y="1556"/>
                  </a:lnTo>
                  <a:lnTo>
                    <a:pt x="5288" y="1556"/>
                  </a:lnTo>
                  <a:lnTo>
                    <a:pt x="5426" y="1521"/>
                  </a:lnTo>
                  <a:lnTo>
                    <a:pt x="5530" y="1452"/>
                  </a:lnTo>
                  <a:lnTo>
                    <a:pt x="5599" y="1348"/>
                  </a:lnTo>
                  <a:lnTo>
                    <a:pt x="5599" y="1245"/>
                  </a:lnTo>
                  <a:lnTo>
                    <a:pt x="5599" y="311"/>
                  </a:lnTo>
                  <a:lnTo>
                    <a:pt x="5599" y="311"/>
                  </a:lnTo>
                  <a:lnTo>
                    <a:pt x="5599" y="208"/>
                  </a:lnTo>
                  <a:lnTo>
                    <a:pt x="5530" y="104"/>
                  </a:lnTo>
                  <a:lnTo>
                    <a:pt x="5426" y="35"/>
                  </a:lnTo>
                  <a:lnTo>
                    <a:pt x="528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3" name="Google Shape;1510;p16">
              <a:extLst>
                <a:ext uri="{FF2B5EF4-FFF2-40B4-BE49-F238E27FC236}">
                  <a16:creationId xmlns:a16="http://schemas.microsoft.com/office/drawing/2014/main" id="{A6DD0913-BC58-D5AC-96C1-9D68B0AC0764}"/>
                </a:ext>
              </a:extLst>
            </p:cNvPr>
            <p:cNvSpPr/>
            <p:nvPr/>
          </p:nvSpPr>
          <p:spPr>
            <a:xfrm>
              <a:off x="4441500" y="2550800"/>
              <a:ext cx="129625" cy="38900"/>
            </a:xfrm>
            <a:custGeom>
              <a:avLst/>
              <a:gdLst/>
              <a:ahLst/>
              <a:cxnLst/>
              <a:rect l="l" t="t" r="r" b="b"/>
              <a:pathLst>
                <a:path w="5185" h="1556" extrusionOk="0">
                  <a:moveTo>
                    <a:pt x="277" y="0"/>
                  </a:moveTo>
                  <a:lnTo>
                    <a:pt x="174" y="35"/>
                  </a:lnTo>
                  <a:lnTo>
                    <a:pt x="70" y="70"/>
                  </a:lnTo>
                  <a:lnTo>
                    <a:pt x="35" y="173"/>
                  </a:lnTo>
                  <a:lnTo>
                    <a:pt x="1" y="277"/>
                  </a:lnTo>
                  <a:lnTo>
                    <a:pt x="1" y="1279"/>
                  </a:lnTo>
                  <a:lnTo>
                    <a:pt x="35" y="1383"/>
                  </a:lnTo>
                  <a:lnTo>
                    <a:pt x="70" y="1486"/>
                  </a:lnTo>
                  <a:lnTo>
                    <a:pt x="174" y="1521"/>
                  </a:lnTo>
                  <a:lnTo>
                    <a:pt x="277" y="1556"/>
                  </a:lnTo>
                  <a:lnTo>
                    <a:pt x="4873" y="1556"/>
                  </a:lnTo>
                  <a:lnTo>
                    <a:pt x="5011" y="1521"/>
                  </a:lnTo>
                  <a:lnTo>
                    <a:pt x="5081" y="1486"/>
                  </a:lnTo>
                  <a:lnTo>
                    <a:pt x="5150" y="1383"/>
                  </a:lnTo>
                  <a:lnTo>
                    <a:pt x="5184" y="1279"/>
                  </a:lnTo>
                  <a:lnTo>
                    <a:pt x="5184" y="277"/>
                  </a:lnTo>
                  <a:lnTo>
                    <a:pt x="5150" y="173"/>
                  </a:lnTo>
                  <a:lnTo>
                    <a:pt x="5081" y="70"/>
                  </a:lnTo>
                  <a:lnTo>
                    <a:pt x="5011" y="35"/>
                  </a:lnTo>
                  <a:lnTo>
                    <a:pt x="4873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" name="Google Shape;1511;p16">
              <a:extLst>
                <a:ext uri="{FF2B5EF4-FFF2-40B4-BE49-F238E27FC236}">
                  <a16:creationId xmlns:a16="http://schemas.microsoft.com/office/drawing/2014/main" id="{7FB87C3A-DB46-32D5-7867-C56E74BBD183}"/>
                </a:ext>
              </a:extLst>
            </p:cNvPr>
            <p:cNvSpPr/>
            <p:nvPr/>
          </p:nvSpPr>
          <p:spPr>
            <a:xfrm>
              <a:off x="4441500" y="2550800"/>
              <a:ext cx="129625" cy="38900"/>
            </a:xfrm>
            <a:custGeom>
              <a:avLst/>
              <a:gdLst/>
              <a:ahLst/>
              <a:cxnLst/>
              <a:rect l="l" t="t" r="r" b="b"/>
              <a:pathLst>
                <a:path w="5185" h="1556" fill="none" extrusionOk="0">
                  <a:moveTo>
                    <a:pt x="4873" y="0"/>
                  </a:moveTo>
                  <a:lnTo>
                    <a:pt x="277" y="0"/>
                  </a:lnTo>
                  <a:lnTo>
                    <a:pt x="277" y="0"/>
                  </a:lnTo>
                  <a:lnTo>
                    <a:pt x="174" y="35"/>
                  </a:lnTo>
                  <a:lnTo>
                    <a:pt x="70" y="70"/>
                  </a:lnTo>
                  <a:lnTo>
                    <a:pt x="35" y="173"/>
                  </a:lnTo>
                  <a:lnTo>
                    <a:pt x="1" y="277"/>
                  </a:lnTo>
                  <a:lnTo>
                    <a:pt x="1" y="1279"/>
                  </a:lnTo>
                  <a:lnTo>
                    <a:pt x="1" y="1279"/>
                  </a:lnTo>
                  <a:lnTo>
                    <a:pt x="35" y="1383"/>
                  </a:lnTo>
                  <a:lnTo>
                    <a:pt x="70" y="1486"/>
                  </a:lnTo>
                  <a:lnTo>
                    <a:pt x="174" y="1521"/>
                  </a:lnTo>
                  <a:lnTo>
                    <a:pt x="277" y="1556"/>
                  </a:lnTo>
                  <a:lnTo>
                    <a:pt x="4873" y="1556"/>
                  </a:lnTo>
                  <a:lnTo>
                    <a:pt x="4873" y="1556"/>
                  </a:lnTo>
                  <a:lnTo>
                    <a:pt x="5011" y="1521"/>
                  </a:lnTo>
                  <a:lnTo>
                    <a:pt x="5081" y="1486"/>
                  </a:lnTo>
                  <a:lnTo>
                    <a:pt x="5150" y="1383"/>
                  </a:lnTo>
                  <a:lnTo>
                    <a:pt x="5184" y="1279"/>
                  </a:lnTo>
                  <a:lnTo>
                    <a:pt x="5184" y="277"/>
                  </a:lnTo>
                  <a:lnTo>
                    <a:pt x="5184" y="277"/>
                  </a:lnTo>
                  <a:lnTo>
                    <a:pt x="5150" y="173"/>
                  </a:lnTo>
                  <a:lnTo>
                    <a:pt x="5081" y="70"/>
                  </a:lnTo>
                  <a:lnTo>
                    <a:pt x="5011" y="35"/>
                  </a:lnTo>
                  <a:lnTo>
                    <a:pt x="487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" name="Google Shape;1512;p16">
              <a:extLst>
                <a:ext uri="{FF2B5EF4-FFF2-40B4-BE49-F238E27FC236}">
                  <a16:creationId xmlns:a16="http://schemas.microsoft.com/office/drawing/2014/main" id="{E3EDB3EE-4AC1-24CB-9AF0-D9D2A9985204}"/>
                </a:ext>
              </a:extLst>
            </p:cNvPr>
            <p:cNvSpPr/>
            <p:nvPr/>
          </p:nvSpPr>
          <p:spPr>
            <a:xfrm>
              <a:off x="3714100" y="2246700"/>
              <a:ext cx="290300" cy="268700"/>
            </a:xfrm>
            <a:custGeom>
              <a:avLst/>
              <a:gdLst/>
              <a:ahLst/>
              <a:cxnLst/>
              <a:rect l="l" t="t" r="r" b="b"/>
              <a:pathLst>
                <a:path w="11612" h="10748" extrusionOk="0">
                  <a:moveTo>
                    <a:pt x="899" y="1"/>
                  </a:moveTo>
                  <a:lnTo>
                    <a:pt x="691" y="70"/>
                  </a:lnTo>
                  <a:lnTo>
                    <a:pt x="519" y="173"/>
                  </a:lnTo>
                  <a:lnTo>
                    <a:pt x="311" y="312"/>
                  </a:lnTo>
                  <a:lnTo>
                    <a:pt x="173" y="484"/>
                  </a:lnTo>
                  <a:lnTo>
                    <a:pt x="69" y="692"/>
                  </a:lnTo>
                  <a:lnTo>
                    <a:pt x="35" y="899"/>
                  </a:lnTo>
                  <a:lnTo>
                    <a:pt x="0" y="1106"/>
                  </a:lnTo>
                  <a:lnTo>
                    <a:pt x="35" y="1314"/>
                  </a:lnTo>
                  <a:lnTo>
                    <a:pt x="69" y="1521"/>
                  </a:lnTo>
                  <a:lnTo>
                    <a:pt x="173" y="1728"/>
                  </a:lnTo>
                  <a:lnTo>
                    <a:pt x="311" y="1901"/>
                  </a:lnTo>
                  <a:lnTo>
                    <a:pt x="2661" y="4217"/>
                  </a:lnTo>
                  <a:lnTo>
                    <a:pt x="4112" y="5599"/>
                  </a:lnTo>
                  <a:lnTo>
                    <a:pt x="5564" y="6981"/>
                  </a:lnTo>
                  <a:lnTo>
                    <a:pt x="6981" y="8294"/>
                  </a:lnTo>
                  <a:lnTo>
                    <a:pt x="8259" y="9400"/>
                  </a:lnTo>
                  <a:lnTo>
                    <a:pt x="8847" y="9849"/>
                  </a:lnTo>
                  <a:lnTo>
                    <a:pt x="9330" y="10229"/>
                  </a:lnTo>
                  <a:lnTo>
                    <a:pt x="9745" y="10506"/>
                  </a:lnTo>
                  <a:lnTo>
                    <a:pt x="10056" y="10679"/>
                  </a:lnTo>
                  <a:lnTo>
                    <a:pt x="10263" y="10748"/>
                  </a:lnTo>
                  <a:lnTo>
                    <a:pt x="10644" y="10748"/>
                  </a:lnTo>
                  <a:lnTo>
                    <a:pt x="10816" y="10713"/>
                  </a:lnTo>
                  <a:lnTo>
                    <a:pt x="10955" y="10644"/>
                  </a:lnTo>
                  <a:lnTo>
                    <a:pt x="11093" y="10575"/>
                  </a:lnTo>
                  <a:lnTo>
                    <a:pt x="11231" y="10471"/>
                  </a:lnTo>
                  <a:lnTo>
                    <a:pt x="11335" y="10333"/>
                  </a:lnTo>
                  <a:lnTo>
                    <a:pt x="11438" y="10195"/>
                  </a:lnTo>
                  <a:lnTo>
                    <a:pt x="11508" y="10057"/>
                  </a:lnTo>
                  <a:lnTo>
                    <a:pt x="11577" y="9849"/>
                  </a:lnTo>
                  <a:lnTo>
                    <a:pt x="11611" y="9607"/>
                  </a:lnTo>
                  <a:lnTo>
                    <a:pt x="11577" y="9400"/>
                  </a:lnTo>
                  <a:lnTo>
                    <a:pt x="11508" y="9193"/>
                  </a:lnTo>
                  <a:lnTo>
                    <a:pt x="11404" y="9020"/>
                  </a:lnTo>
                  <a:lnTo>
                    <a:pt x="11266" y="8847"/>
                  </a:lnTo>
                  <a:lnTo>
                    <a:pt x="11093" y="8709"/>
                  </a:lnTo>
                  <a:lnTo>
                    <a:pt x="10886" y="8605"/>
                  </a:lnTo>
                  <a:lnTo>
                    <a:pt x="10713" y="8467"/>
                  </a:lnTo>
                  <a:lnTo>
                    <a:pt x="10436" y="8294"/>
                  </a:lnTo>
                  <a:lnTo>
                    <a:pt x="9676" y="7672"/>
                  </a:lnTo>
                  <a:lnTo>
                    <a:pt x="8674" y="6808"/>
                  </a:lnTo>
                  <a:lnTo>
                    <a:pt x="7499" y="5702"/>
                  </a:lnTo>
                  <a:lnTo>
                    <a:pt x="4804" y="3145"/>
                  </a:lnTo>
                  <a:lnTo>
                    <a:pt x="1901" y="312"/>
                  </a:lnTo>
                  <a:lnTo>
                    <a:pt x="1728" y="173"/>
                  </a:lnTo>
                  <a:lnTo>
                    <a:pt x="1555" y="70"/>
                  </a:lnTo>
                  <a:lnTo>
                    <a:pt x="1348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" name="Google Shape;1513;p16">
              <a:extLst>
                <a:ext uri="{FF2B5EF4-FFF2-40B4-BE49-F238E27FC236}">
                  <a16:creationId xmlns:a16="http://schemas.microsoft.com/office/drawing/2014/main" id="{24C89B23-1359-6186-9043-C23EBBE61B87}"/>
                </a:ext>
              </a:extLst>
            </p:cNvPr>
            <p:cNvSpPr/>
            <p:nvPr/>
          </p:nvSpPr>
          <p:spPr>
            <a:xfrm>
              <a:off x="3707175" y="2262250"/>
              <a:ext cx="311900" cy="246250"/>
            </a:xfrm>
            <a:custGeom>
              <a:avLst/>
              <a:gdLst/>
              <a:ahLst/>
              <a:cxnLst/>
              <a:rect l="l" t="t" r="r" b="b"/>
              <a:pathLst>
                <a:path w="12476" h="9850" extrusionOk="0">
                  <a:moveTo>
                    <a:pt x="11266" y="1"/>
                  </a:moveTo>
                  <a:lnTo>
                    <a:pt x="10817" y="70"/>
                  </a:lnTo>
                  <a:lnTo>
                    <a:pt x="10402" y="139"/>
                  </a:lnTo>
                  <a:lnTo>
                    <a:pt x="9953" y="243"/>
                  </a:lnTo>
                  <a:lnTo>
                    <a:pt x="9538" y="381"/>
                  </a:lnTo>
                  <a:lnTo>
                    <a:pt x="9124" y="519"/>
                  </a:lnTo>
                  <a:lnTo>
                    <a:pt x="8709" y="692"/>
                  </a:lnTo>
                  <a:lnTo>
                    <a:pt x="7880" y="1072"/>
                  </a:lnTo>
                  <a:lnTo>
                    <a:pt x="7085" y="1521"/>
                  </a:lnTo>
                  <a:lnTo>
                    <a:pt x="6325" y="2039"/>
                  </a:lnTo>
                  <a:lnTo>
                    <a:pt x="5564" y="2592"/>
                  </a:lnTo>
                  <a:lnTo>
                    <a:pt x="4839" y="3180"/>
                  </a:lnTo>
                  <a:lnTo>
                    <a:pt x="4148" y="3802"/>
                  </a:lnTo>
                  <a:lnTo>
                    <a:pt x="3491" y="4424"/>
                  </a:lnTo>
                  <a:lnTo>
                    <a:pt x="2869" y="5080"/>
                  </a:lnTo>
                  <a:lnTo>
                    <a:pt x="2247" y="5702"/>
                  </a:lnTo>
                  <a:lnTo>
                    <a:pt x="1176" y="6912"/>
                  </a:lnTo>
                  <a:lnTo>
                    <a:pt x="277" y="8018"/>
                  </a:lnTo>
                  <a:lnTo>
                    <a:pt x="139" y="8191"/>
                  </a:lnTo>
                  <a:lnTo>
                    <a:pt x="35" y="8398"/>
                  </a:lnTo>
                  <a:lnTo>
                    <a:pt x="1" y="8605"/>
                  </a:lnTo>
                  <a:lnTo>
                    <a:pt x="1" y="8847"/>
                  </a:lnTo>
                  <a:lnTo>
                    <a:pt x="35" y="9054"/>
                  </a:lnTo>
                  <a:lnTo>
                    <a:pt x="139" y="9262"/>
                  </a:lnTo>
                  <a:lnTo>
                    <a:pt x="243" y="9435"/>
                  </a:lnTo>
                  <a:lnTo>
                    <a:pt x="415" y="9607"/>
                  </a:lnTo>
                  <a:lnTo>
                    <a:pt x="554" y="9711"/>
                  </a:lnTo>
                  <a:lnTo>
                    <a:pt x="761" y="9780"/>
                  </a:lnTo>
                  <a:lnTo>
                    <a:pt x="934" y="9849"/>
                  </a:lnTo>
                  <a:lnTo>
                    <a:pt x="1107" y="9849"/>
                  </a:lnTo>
                  <a:lnTo>
                    <a:pt x="1348" y="9815"/>
                  </a:lnTo>
                  <a:lnTo>
                    <a:pt x="1590" y="9746"/>
                  </a:lnTo>
                  <a:lnTo>
                    <a:pt x="1798" y="9642"/>
                  </a:lnTo>
                  <a:lnTo>
                    <a:pt x="1971" y="9469"/>
                  </a:lnTo>
                  <a:lnTo>
                    <a:pt x="2800" y="8467"/>
                  </a:lnTo>
                  <a:lnTo>
                    <a:pt x="3802" y="7361"/>
                  </a:lnTo>
                  <a:lnTo>
                    <a:pt x="4873" y="6221"/>
                  </a:lnTo>
                  <a:lnTo>
                    <a:pt x="5461" y="5633"/>
                  </a:lnTo>
                  <a:lnTo>
                    <a:pt x="6083" y="5080"/>
                  </a:lnTo>
                  <a:lnTo>
                    <a:pt x="6705" y="4528"/>
                  </a:lnTo>
                  <a:lnTo>
                    <a:pt x="7361" y="4044"/>
                  </a:lnTo>
                  <a:lnTo>
                    <a:pt x="8018" y="3595"/>
                  </a:lnTo>
                  <a:lnTo>
                    <a:pt x="8674" y="3180"/>
                  </a:lnTo>
                  <a:lnTo>
                    <a:pt x="9366" y="2834"/>
                  </a:lnTo>
                  <a:lnTo>
                    <a:pt x="10057" y="2558"/>
                  </a:lnTo>
                  <a:lnTo>
                    <a:pt x="10748" y="2350"/>
                  </a:lnTo>
                  <a:lnTo>
                    <a:pt x="11093" y="2281"/>
                  </a:lnTo>
                  <a:lnTo>
                    <a:pt x="11474" y="2247"/>
                  </a:lnTo>
                  <a:lnTo>
                    <a:pt x="11681" y="2212"/>
                  </a:lnTo>
                  <a:lnTo>
                    <a:pt x="11888" y="2109"/>
                  </a:lnTo>
                  <a:lnTo>
                    <a:pt x="12061" y="2005"/>
                  </a:lnTo>
                  <a:lnTo>
                    <a:pt x="12234" y="1832"/>
                  </a:lnTo>
                  <a:lnTo>
                    <a:pt x="12337" y="1659"/>
                  </a:lnTo>
                  <a:lnTo>
                    <a:pt x="12441" y="1452"/>
                  </a:lnTo>
                  <a:lnTo>
                    <a:pt x="12476" y="1245"/>
                  </a:lnTo>
                  <a:lnTo>
                    <a:pt x="12476" y="1037"/>
                  </a:lnTo>
                  <a:lnTo>
                    <a:pt x="12441" y="795"/>
                  </a:lnTo>
                  <a:lnTo>
                    <a:pt x="12337" y="588"/>
                  </a:lnTo>
                  <a:lnTo>
                    <a:pt x="12234" y="415"/>
                  </a:lnTo>
                  <a:lnTo>
                    <a:pt x="12061" y="277"/>
                  </a:lnTo>
                  <a:lnTo>
                    <a:pt x="11888" y="139"/>
                  </a:lnTo>
                  <a:lnTo>
                    <a:pt x="11681" y="70"/>
                  </a:lnTo>
                  <a:lnTo>
                    <a:pt x="11474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" name="Google Shape;1514;p16">
              <a:extLst>
                <a:ext uri="{FF2B5EF4-FFF2-40B4-BE49-F238E27FC236}">
                  <a16:creationId xmlns:a16="http://schemas.microsoft.com/office/drawing/2014/main" id="{FC81E2DC-8F0B-61AF-0086-9A35FED33F4A}"/>
                </a:ext>
              </a:extLst>
            </p:cNvPr>
            <p:cNvSpPr/>
            <p:nvPr/>
          </p:nvSpPr>
          <p:spPr>
            <a:xfrm>
              <a:off x="3439375" y="1069200"/>
              <a:ext cx="171075" cy="244500"/>
            </a:xfrm>
            <a:custGeom>
              <a:avLst/>
              <a:gdLst/>
              <a:ahLst/>
              <a:cxnLst/>
              <a:rect l="l" t="t" r="r" b="b"/>
              <a:pathLst>
                <a:path w="6843" h="9780" extrusionOk="0">
                  <a:moveTo>
                    <a:pt x="1072" y="0"/>
                  </a:moveTo>
                  <a:lnTo>
                    <a:pt x="830" y="69"/>
                  </a:lnTo>
                  <a:lnTo>
                    <a:pt x="622" y="173"/>
                  </a:lnTo>
                  <a:lnTo>
                    <a:pt x="415" y="311"/>
                  </a:lnTo>
                  <a:lnTo>
                    <a:pt x="242" y="519"/>
                  </a:lnTo>
                  <a:lnTo>
                    <a:pt x="104" y="726"/>
                  </a:lnTo>
                  <a:lnTo>
                    <a:pt x="35" y="968"/>
                  </a:lnTo>
                  <a:lnTo>
                    <a:pt x="0" y="1210"/>
                  </a:lnTo>
                  <a:lnTo>
                    <a:pt x="35" y="1452"/>
                  </a:lnTo>
                  <a:lnTo>
                    <a:pt x="104" y="1659"/>
                  </a:lnTo>
                  <a:lnTo>
                    <a:pt x="208" y="1901"/>
                  </a:lnTo>
                  <a:lnTo>
                    <a:pt x="346" y="2074"/>
                  </a:lnTo>
                  <a:lnTo>
                    <a:pt x="519" y="2246"/>
                  </a:lnTo>
                  <a:lnTo>
                    <a:pt x="1037" y="2661"/>
                  </a:lnTo>
                  <a:lnTo>
                    <a:pt x="1797" y="3283"/>
                  </a:lnTo>
                  <a:lnTo>
                    <a:pt x="3698" y="4907"/>
                  </a:lnTo>
                  <a:lnTo>
                    <a:pt x="588" y="7603"/>
                  </a:lnTo>
                  <a:lnTo>
                    <a:pt x="415" y="7775"/>
                  </a:lnTo>
                  <a:lnTo>
                    <a:pt x="311" y="7983"/>
                  </a:lnTo>
                  <a:lnTo>
                    <a:pt x="208" y="8225"/>
                  </a:lnTo>
                  <a:lnTo>
                    <a:pt x="173" y="8467"/>
                  </a:lnTo>
                  <a:lnTo>
                    <a:pt x="173" y="8708"/>
                  </a:lnTo>
                  <a:lnTo>
                    <a:pt x="242" y="8950"/>
                  </a:lnTo>
                  <a:lnTo>
                    <a:pt x="346" y="9158"/>
                  </a:lnTo>
                  <a:lnTo>
                    <a:pt x="484" y="9365"/>
                  </a:lnTo>
                  <a:lnTo>
                    <a:pt x="691" y="9538"/>
                  </a:lnTo>
                  <a:lnTo>
                    <a:pt x="899" y="9676"/>
                  </a:lnTo>
                  <a:lnTo>
                    <a:pt x="1175" y="9780"/>
                  </a:lnTo>
                  <a:lnTo>
                    <a:pt x="1624" y="9780"/>
                  </a:lnTo>
                  <a:lnTo>
                    <a:pt x="1866" y="9711"/>
                  </a:lnTo>
                  <a:lnTo>
                    <a:pt x="2039" y="9641"/>
                  </a:lnTo>
                  <a:lnTo>
                    <a:pt x="2246" y="9503"/>
                  </a:lnTo>
                  <a:lnTo>
                    <a:pt x="6428" y="5840"/>
                  </a:lnTo>
                  <a:lnTo>
                    <a:pt x="6601" y="5668"/>
                  </a:lnTo>
                  <a:lnTo>
                    <a:pt x="6739" y="5426"/>
                  </a:lnTo>
                  <a:lnTo>
                    <a:pt x="6842" y="5184"/>
                  </a:lnTo>
                  <a:lnTo>
                    <a:pt x="6842" y="4907"/>
                  </a:lnTo>
                  <a:lnTo>
                    <a:pt x="6842" y="4665"/>
                  </a:lnTo>
                  <a:lnTo>
                    <a:pt x="6739" y="4389"/>
                  </a:lnTo>
                  <a:lnTo>
                    <a:pt x="6601" y="4182"/>
                  </a:lnTo>
                  <a:lnTo>
                    <a:pt x="6428" y="3974"/>
                  </a:lnTo>
                  <a:lnTo>
                    <a:pt x="4389" y="2212"/>
                  </a:lnTo>
                  <a:lnTo>
                    <a:pt x="3007" y="1037"/>
                  </a:lnTo>
                  <a:lnTo>
                    <a:pt x="2005" y="208"/>
                  </a:lnTo>
                  <a:lnTo>
                    <a:pt x="1763" y="104"/>
                  </a:lnTo>
                  <a:lnTo>
                    <a:pt x="1521" y="35"/>
                  </a:lnTo>
                  <a:lnTo>
                    <a:pt x="1279" y="0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" name="Google Shape;1515;p16">
              <a:extLst>
                <a:ext uri="{FF2B5EF4-FFF2-40B4-BE49-F238E27FC236}">
                  <a16:creationId xmlns:a16="http://schemas.microsoft.com/office/drawing/2014/main" id="{F416CCAC-08A7-038C-8BCF-8F1B79C4FB75}"/>
                </a:ext>
              </a:extLst>
            </p:cNvPr>
            <p:cNvSpPr/>
            <p:nvPr/>
          </p:nvSpPr>
          <p:spPr>
            <a:xfrm>
              <a:off x="5291600" y="4589625"/>
              <a:ext cx="1321800" cy="71725"/>
            </a:xfrm>
            <a:custGeom>
              <a:avLst/>
              <a:gdLst/>
              <a:ahLst/>
              <a:cxnLst/>
              <a:rect l="l" t="t" r="r" b="b"/>
              <a:pathLst>
                <a:path w="52872" h="2869" extrusionOk="0">
                  <a:moveTo>
                    <a:pt x="26021" y="1"/>
                  </a:moveTo>
                  <a:lnTo>
                    <a:pt x="20769" y="35"/>
                  </a:lnTo>
                  <a:lnTo>
                    <a:pt x="15896" y="104"/>
                  </a:lnTo>
                  <a:lnTo>
                    <a:pt x="11473" y="242"/>
                  </a:lnTo>
                  <a:lnTo>
                    <a:pt x="7603" y="415"/>
                  </a:lnTo>
                  <a:lnTo>
                    <a:pt x="5944" y="519"/>
                  </a:lnTo>
                  <a:lnTo>
                    <a:pt x="4423" y="623"/>
                  </a:lnTo>
                  <a:lnTo>
                    <a:pt x="3145" y="761"/>
                  </a:lnTo>
                  <a:lnTo>
                    <a:pt x="2039" y="864"/>
                  </a:lnTo>
                  <a:lnTo>
                    <a:pt x="1141" y="1003"/>
                  </a:lnTo>
                  <a:lnTo>
                    <a:pt x="519" y="1141"/>
                  </a:lnTo>
                  <a:lnTo>
                    <a:pt x="277" y="1210"/>
                  </a:lnTo>
                  <a:lnTo>
                    <a:pt x="138" y="1279"/>
                  </a:lnTo>
                  <a:lnTo>
                    <a:pt x="35" y="1348"/>
                  </a:lnTo>
                  <a:lnTo>
                    <a:pt x="0" y="1452"/>
                  </a:lnTo>
                  <a:lnTo>
                    <a:pt x="35" y="1521"/>
                  </a:lnTo>
                  <a:lnTo>
                    <a:pt x="138" y="1590"/>
                  </a:lnTo>
                  <a:lnTo>
                    <a:pt x="277" y="1659"/>
                  </a:lnTo>
                  <a:lnTo>
                    <a:pt x="519" y="1728"/>
                  </a:lnTo>
                  <a:lnTo>
                    <a:pt x="1141" y="1867"/>
                  </a:lnTo>
                  <a:lnTo>
                    <a:pt x="2039" y="2005"/>
                  </a:lnTo>
                  <a:lnTo>
                    <a:pt x="3145" y="2109"/>
                  </a:lnTo>
                  <a:lnTo>
                    <a:pt x="4423" y="2247"/>
                  </a:lnTo>
                  <a:lnTo>
                    <a:pt x="5944" y="2350"/>
                  </a:lnTo>
                  <a:lnTo>
                    <a:pt x="7603" y="2454"/>
                  </a:lnTo>
                  <a:lnTo>
                    <a:pt x="11473" y="2627"/>
                  </a:lnTo>
                  <a:lnTo>
                    <a:pt x="15896" y="2765"/>
                  </a:lnTo>
                  <a:lnTo>
                    <a:pt x="20769" y="2869"/>
                  </a:lnTo>
                  <a:lnTo>
                    <a:pt x="28682" y="2869"/>
                  </a:lnTo>
                  <a:lnTo>
                    <a:pt x="31308" y="2834"/>
                  </a:lnTo>
                  <a:lnTo>
                    <a:pt x="36284" y="2731"/>
                  </a:lnTo>
                  <a:lnTo>
                    <a:pt x="40846" y="2558"/>
                  </a:lnTo>
                  <a:lnTo>
                    <a:pt x="44854" y="2316"/>
                  </a:lnTo>
                  <a:lnTo>
                    <a:pt x="46582" y="2178"/>
                  </a:lnTo>
                  <a:lnTo>
                    <a:pt x="48172" y="2039"/>
                  </a:lnTo>
                  <a:lnTo>
                    <a:pt x="49554" y="1901"/>
                  </a:lnTo>
                  <a:lnTo>
                    <a:pt x="50694" y="1763"/>
                  </a:lnTo>
                  <a:lnTo>
                    <a:pt x="51627" y="1625"/>
                  </a:lnTo>
                  <a:lnTo>
                    <a:pt x="52319" y="1452"/>
                  </a:lnTo>
                  <a:lnTo>
                    <a:pt x="52560" y="1383"/>
                  </a:lnTo>
                  <a:lnTo>
                    <a:pt x="52733" y="1314"/>
                  </a:lnTo>
                  <a:lnTo>
                    <a:pt x="52837" y="1245"/>
                  </a:lnTo>
                  <a:lnTo>
                    <a:pt x="52871" y="1141"/>
                  </a:lnTo>
                  <a:lnTo>
                    <a:pt x="52837" y="1072"/>
                  </a:lnTo>
                  <a:lnTo>
                    <a:pt x="52733" y="1003"/>
                  </a:lnTo>
                  <a:lnTo>
                    <a:pt x="52560" y="934"/>
                  </a:lnTo>
                  <a:lnTo>
                    <a:pt x="52319" y="864"/>
                  </a:lnTo>
                  <a:lnTo>
                    <a:pt x="51627" y="761"/>
                  </a:lnTo>
                  <a:lnTo>
                    <a:pt x="50694" y="623"/>
                  </a:lnTo>
                  <a:lnTo>
                    <a:pt x="49554" y="519"/>
                  </a:lnTo>
                  <a:lnTo>
                    <a:pt x="48172" y="450"/>
                  </a:lnTo>
                  <a:lnTo>
                    <a:pt x="44854" y="277"/>
                  </a:lnTo>
                  <a:lnTo>
                    <a:pt x="40846" y="139"/>
                  </a:lnTo>
                  <a:lnTo>
                    <a:pt x="36284" y="70"/>
                  </a:lnTo>
                  <a:lnTo>
                    <a:pt x="31308" y="1"/>
                  </a:lnTo>
                  <a:close/>
                </a:path>
              </a:pathLst>
            </a:custGeom>
            <a:solidFill>
              <a:srgbClr val="E6E6E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Google Shape;1516;p16">
              <a:extLst>
                <a:ext uri="{FF2B5EF4-FFF2-40B4-BE49-F238E27FC236}">
                  <a16:creationId xmlns:a16="http://schemas.microsoft.com/office/drawing/2014/main" id="{A6D0A6D7-2602-482B-F049-A5E21A7AA220}"/>
                </a:ext>
              </a:extLst>
            </p:cNvPr>
            <p:cNvSpPr/>
            <p:nvPr/>
          </p:nvSpPr>
          <p:spPr>
            <a:xfrm>
              <a:off x="5291600" y="4589625"/>
              <a:ext cx="1321800" cy="71725"/>
            </a:xfrm>
            <a:custGeom>
              <a:avLst/>
              <a:gdLst/>
              <a:ahLst/>
              <a:cxnLst/>
              <a:rect l="l" t="t" r="r" b="b"/>
              <a:pathLst>
                <a:path w="52872" h="2869" fill="none" extrusionOk="0">
                  <a:moveTo>
                    <a:pt x="26021" y="1"/>
                  </a:moveTo>
                  <a:lnTo>
                    <a:pt x="26021" y="1"/>
                  </a:lnTo>
                  <a:lnTo>
                    <a:pt x="20769" y="35"/>
                  </a:lnTo>
                  <a:lnTo>
                    <a:pt x="15896" y="104"/>
                  </a:lnTo>
                  <a:lnTo>
                    <a:pt x="11473" y="242"/>
                  </a:lnTo>
                  <a:lnTo>
                    <a:pt x="7603" y="415"/>
                  </a:lnTo>
                  <a:lnTo>
                    <a:pt x="5944" y="519"/>
                  </a:lnTo>
                  <a:lnTo>
                    <a:pt x="4423" y="623"/>
                  </a:lnTo>
                  <a:lnTo>
                    <a:pt x="3145" y="761"/>
                  </a:lnTo>
                  <a:lnTo>
                    <a:pt x="2039" y="864"/>
                  </a:lnTo>
                  <a:lnTo>
                    <a:pt x="1141" y="1003"/>
                  </a:lnTo>
                  <a:lnTo>
                    <a:pt x="519" y="1141"/>
                  </a:lnTo>
                  <a:lnTo>
                    <a:pt x="277" y="1210"/>
                  </a:lnTo>
                  <a:lnTo>
                    <a:pt x="138" y="1279"/>
                  </a:lnTo>
                  <a:lnTo>
                    <a:pt x="35" y="1348"/>
                  </a:lnTo>
                  <a:lnTo>
                    <a:pt x="0" y="1452"/>
                  </a:lnTo>
                  <a:lnTo>
                    <a:pt x="0" y="1452"/>
                  </a:lnTo>
                  <a:lnTo>
                    <a:pt x="35" y="1521"/>
                  </a:lnTo>
                  <a:lnTo>
                    <a:pt x="138" y="1590"/>
                  </a:lnTo>
                  <a:lnTo>
                    <a:pt x="277" y="1659"/>
                  </a:lnTo>
                  <a:lnTo>
                    <a:pt x="519" y="1728"/>
                  </a:lnTo>
                  <a:lnTo>
                    <a:pt x="1141" y="1867"/>
                  </a:lnTo>
                  <a:lnTo>
                    <a:pt x="2039" y="2005"/>
                  </a:lnTo>
                  <a:lnTo>
                    <a:pt x="3145" y="2109"/>
                  </a:lnTo>
                  <a:lnTo>
                    <a:pt x="4423" y="2247"/>
                  </a:lnTo>
                  <a:lnTo>
                    <a:pt x="5944" y="2350"/>
                  </a:lnTo>
                  <a:lnTo>
                    <a:pt x="7603" y="2454"/>
                  </a:lnTo>
                  <a:lnTo>
                    <a:pt x="11473" y="2627"/>
                  </a:lnTo>
                  <a:lnTo>
                    <a:pt x="15896" y="2765"/>
                  </a:lnTo>
                  <a:lnTo>
                    <a:pt x="20769" y="2869"/>
                  </a:lnTo>
                  <a:lnTo>
                    <a:pt x="26021" y="2869"/>
                  </a:lnTo>
                  <a:lnTo>
                    <a:pt x="26021" y="2869"/>
                  </a:lnTo>
                  <a:lnTo>
                    <a:pt x="28682" y="2869"/>
                  </a:lnTo>
                  <a:lnTo>
                    <a:pt x="31308" y="2834"/>
                  </a:lnTo>
                  <a:lnTo>
                    <a:pt x="36284" y="2731"/>
                  </a:lnTo>
                  <a:lnTo>
                    <a:pt x="40846" y="2558"/>
                  </a:lnTo>
                  <a:lnTo>
                    <a:pt x="44854" y="2316"/>
                  </a:lnTo>
                  <a:lnTo>
                    <a:pt x="46582" y="2178"/>
                  </a:lnTo>
                  <a:lnTo>
                    <a:pt x="48172" y="2039"/>
                  </a:lnTo>
                  <a:lnTo>
                    <a:pt x="49554" y="1901"/>
                  </a:lnTo>
                  <a:lnTo>
                    <a:pt x="50694" y="1763"/>
                  </a:lnTo>
                  <a:lnTo>
                    <a:pt x="51627" y="1625"/>
                  </a:lnTo>
                  <a:lnTo>
                    <a:pt x="52319" y="1452"/>
                  </a:lnTo>
                  <a:lnTo>
                    <a:pt x="52560" y="1383"/>
                  </a:lnTo>
                  <a:lnTo>
                    <a:pt x="52733" y="1314"/>
                  </a:lnTo>
                  <a:lnTo>
                    <a:pt x="52837" y="1245"/>
                  </a:lnTo>
                  <a:lnTo>
                    <a:pt x="52871" y="1141"/>
                  </a:lnTo>
                  <a:lnTo>
                    <a:pt x="52871" y="1141"/>
                  </a:lnTo>
                  <a:lnTo>
                    <a:pt x="52837" y="1072"/>
                  </a:lnTo>
                  <a:lnTo>
                    <a:pt x="52733" y="1003"/>
                  </a:lnTo>
                  <a:lnTo>
                    <a:pt x="52560" y="934"/>
                  </a:lnTo>
                  <a:lnTo>
                    <a:pt x="52319" y="864"/>
                  </a:lnTo>
                  <a:lnTo>
                    <a:pt x="51627" y="761"/>
                  </a:lnTo>
                  <a:lnTo>
                    <a:pt x="50694" y="623"/>
                  </a:lnTo>
                  <a:lnTo>
                    <a:pt x="49554" y="519"/>
                  </a:lnTo>
                  <a:lnTo>
                    <a:pt x="48172" y="450"/>
                  </a:lnTo>
                  <a:lnTo>
                    <a:pt x="44854" y="277"/>
                  </a:lnTo>
                  <a:lnTo>
                    <a:pt x="40846" y="139"/>
                  </a:lnTo>
                  <a:lnTo>
                    <a:pt x="36284" y="70"/>
                  </a:lnTo>
                  <a:lnTo>
                    <a:pt x="31308" y="1"/>
                  </a:lnTo>
                  <a:lnTo>
                    <a:pt x="2602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" name="Google Shape;1517;p16">
              <a:extLst>
                <a:ext uri="{FF2B5EF4-FFF2-40B4-BE49-F238E27FC236}">
                  <a16:creationId xmlns:a16="http://schemas.microsoft.com/office/drawing/2014/main" id="{F0518A0D-C627-E52B-322C-610F7A75EA49}"/>
                </a:ext>
              </a:extLst>
            </p:cNvPr>
            <p:cNvSpPr/>
            <p:nvPr/>
          </p:nvSpPr>
          <p:spPr>
            <a:xfrm>
              <a:off x="5116225" y="1564225"/>
              <a:ext cx="209950" cy="269550"/>
            </a:xfrm>
            <a:custGeom>
              <a:avLst/>
              <a:gdLst/>
              <a:ahLst/>
              <a:cxnLst/>
              <a:rect l="l" t="t" r="r" b="b"/>
              <a:pathLst>
                <a:path w="8398" h="10782" extrusionOk="0">
                  <a:moveTo>
                    <a:pt x="311" y="0"/>
                  </a:moveTo>
                  <a:lnTo>
                    <a:pt x="208" y="35"/>
                  </a:lnTo>
                  <a:lnTo>
                    <a:pt x="138" y="69"/>
                  </a:lnTo>
                  <a:lnTo>
                    <a:pt x="69" y="138"/>
                  </a:lnTo>
                  <a:lnTo>
                    <a:pt x="35" y="207"/>
                  </a:lnTo>
                  <a:lnTo>
                    <a:pt x="0" y="277"/>
                  </a:lnTo>
                  <a:lnTo>
                    <a:pt x="35" y="415"/>
                  </a:lnTo>
                  <a:lnTo>
                    <a:pt x="138" y="622"/>
                  </a:lnTo>
                  <a:lnTo>
                    <a:pt x="311" y="829"/>
                  </a:lnTo>
                  <a:lnTo>
                    <a:pt x="726" y="1348"/>
                  </a:lnTo>
                  <a:lnTo>
                    <a:pt x="1210" y="1901"/>
                  </a:lnTo>
                  <a:lnTo>
                    <a:pt x="1728" y="2488"/>
                  </a:lnTo>
                  <a:lnTo>
                    <a:pt x="1935" y="2799"/>
                  </a:lnTo>
                  <a:lnTo>
                    <a:pt x="2108" y="3076"/>
                  </a:lnTo>
                  <a:lnTo>
                    <a:pt x="2246" y="3352"/>
                  </a:lnTo>
                  <a:lnTo>
                    <a:pt x="2350" y="3628"/>
                  </a:lnTo>
                  <a:lnTo>
                    <a:pt x="2350" y="3870"/>
                  </a:lnTo>
                  <a:lnTo>
                    <a:pt x="2350" y="3974"/>
                  </a:lnTo>
                  <a:lnTo>
                    <a:pt x="2281" y="4078"/>
                  </a:lnTo>
                  <a:lnTo>
                    <a:pt x="2143" y="4285"/>
                  </a:lnTo>
                  <a:lnTo>
                    <a:pt x="1832" y="4596"/>
                  </a:lnTo>
                  <a:lnTo>
                    <a:pt x="1452" y="5011"/>
                  </a:lnTo>
                  <a:lnTo>
                    <a:pt x="1106" y="5495"/>
                  </a:lnTo>
                  <a:lnTo>
                    <a:pt x="933" y="5736"/>
                  </a:lnTo>
                  <a:lnTo>
                    <a:pt x="795" y="5978"/>
                  </a:lnTo>
                  <a:lnTo>
                    <a:pt x="691" y="6220"/>
                  </a:lnTo>
                  <a:lnTo>
                    <a:pt x="657" y="6462"/>
                  </a:lnTo>
                  <a:lnTo>
                    <a:pt x="657" y="6704"/>
                  </a:lnTo>
                  <a:lnTo>
                    <a:pt x="691" y="6946"/>
                  </a:lnTo>
                  <a:lnTo>
                    <a:pt x="830" y="7153"/>
                  </a:lnTo>
                  <a:lnTo>
                    <a:pt x="1037" y="7326"/>
                  </a:lnTo>
                  <a:lnTo>
                    <a:pt x="1210" y="7464"/>
                  </a:lnTo>
                  <a:lnTo>
                    <a:pt x="1383" y="7568"/>
                  </a:lnTo>
                  <a:lnTo>
                    <a:pt x="1728" y="7706"/>
                  </a:lnTo>
                  <a:lnTo>
                    <a:pt x="2074" y="7775"/>
                  </a:lnTo>
                  <a:lnTo>
                    <a:pt x="2385" y="7844"/>
                  </a:lnTo>
                  <a:lnTo>
                    <a:pt x="2696" y="7913"/>
                  </a:lnTo>
                  <a:lnTo>
                    <a:pt x="3041" y="8017"/>
                  </a:lnTo>
                  <a:lnTo>
                    <a:pt x="3179" y="8121"/>
                  </a:lnTo>
                  <a:lnTo>
                    <a:pt x="3352" y="8259"/>
                  </a:lnTo>
                  <a:lnTo>
                    <a:pt x="3525" y="8397"/>
                  </a:lnTo>
                  <a:lnTo>
                    <a:pt x="3663" y="8570"/>
                  </a:lnTo>
                  <a:lnTo>
                    <a:pt x="4320" y="9296"/>
                  </a:lnTo>
                  <a:lnTo>
                    <a:pt x="4873" y="9814"/>
                  </a:lnTo>
                  <a:lnTo>
                    <a:pt x="6013" y="10782"/>
                  </a:lnTo>
                  <a:lnTo>
                    <a:pt x="6428" y="10436"/>
                  </a:lnTo>
                  <a:lnTo>
                    <a:pt x="6842" y="10056"/>
                  </a:lnTo>
                  <a:lnTo>
                    <a:pt x="7292" y="9607"/>
                  </a:lnTo>
                  <a:lnTo>
                    <a:pt x="7741" y="9123"/>
                  </a:lnTo>
                  <a:lnTo>
                    <a:pt x="8121" y="8639"/>
                  </a:lnTo>
                  <a:lnTo>
                    <a:pt x="8259" y="8432"/>
                  </a:lnTo>
                  <a:lnTo>
                    <a:pt x="8328" y="8259"/>
                  </a:lnTo>
                  <a:lnTo>
                    <a:pt x="8397" y="8086"/>
                  </a:lnTo>
                  <a:lnTo>
                    <a:pt x="8363" y="7983"/>
                  </a:lnTo>
                  <a:lnTo>
                    <a:pt x="8086" y="7533"/>
                  </a:lnTo>
                  <a:lnTo>
                    <a:pt x="7672" y="7050"/>
                  </a:lnTo>
                  <a:lnTo>
                    <a:pt x="7153" y="6531"/>
                  </a:lnTo>
                  <a:lnTo>
                    <a:pt x="6428" y="5875"/>
                  </a:lnTo>
                  <a:lnTo>
                    <a:pt x="5806" y="5322"/>
                  </a:lnTo>
                  <a:lnTo>
                    <a:pt x="5218" y="4769"/>
                  </a:lnTo>
                  <a:lnTo>
                    <a:pt x="4665" y="4181"/>
                  </a:lnTo>
                  <a:lnTo>
                    <a:pt x="4043" y="3628"/>
                  </a:lnTo>
                  <a:lnTo>
                    <a:pt x="3698" y="3248"/>
                  </a:lnTo>
                  <a:lnTo>
                    <a:pt x="3179" y="2661"/>
                  </a:lnTo>
                  <a:lnTo>
                    <a:pt x="2627" y="1970"/>
                  </a:lnTo>
                  <a:lnTo>
                    <a:pt x="2039" y="1279"/>
                  </a:lnTo>
                  <a:lnTo>
                    <a:pt x="1452" y="657"/>
                  </a:lnTo>
                  <a:lnTo>
                    <a:pt x="1175" y="415"/>
                  </a:lnTo>
                  <a:lnTo>
                    <a:pt x="899" y="207"/>
                  </a:lnTo>
                  <a:lnTo>
                    <a:pt x="657" y="69"/>
                  </a:lnTo>
                  <a:lnTo>
                    <a:pt x="415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" name="Google Shape;1518;p16">
              <a:extLst>
                <a:ext uri="{FF2B5EF4-FFF2-40B4-BE49-F238E27FC236}">
                  <a16:creationId xmlns:a16="http://schemas.microsoft.com/office/drawing/2014/main" id="{DFF9C6B2-30A3-7D18-84F9-F578855870DF}"/>
                </a:ext>
              </a:extLst>
            </p:cNvPr>
            <p:cNvSpPr/>
            <p:nvPr/>
          </p:nvSpPr>
          <p:spPr>
            <a:xfrm>
              <a:off x="5966300" y="1826850"/>
              <a:ext cx="175400" cy="295475"/>
            </a:xfrm>
            <a:custGeom>
              <a:avLst/>
              <a:gdLst/>
              <a:ahLst/>
              <a:cxnLst/>
              <a:rect l="l" t="t" r="r" b="b"/>
              <a:pathLst>
                <a:path w="7016" h="11819" extrusionOk="0">
                  <a:moveTo>
                    <a:pt x="2489" y="0"/>
                  </a:moveTo>
                  <a:lnTo>
                    <a:pt x="1176" y="3594"/>
                  </a:lnTo>
                  <a:lnTo>
                    <a:pt x="1279" y="3905"/>
                  </a:lnTo>
                  <a:lnTo>
                    <a:pt x="1314" y="4389"/>
                  </a:lnTo>
                  <a:lnTo>
                    <a:pt x="1348" y="5564"/>
                  </a:lnTo>
                  <a:lnTo>
                    <a:pt x="1348" y="6289"/>
                  </a:lnTo>
                  <a:lnTo>
                    <a:pt x="1279" y="7015"/>
                  </a:lnTo>
                  <a:lnTo>
                    <a:pt x="1210" y="7706"/>
                  </a:lnTo>
                  <a:lnTo>
                    <a:pt x="1107" y="8017"/>
                  </a:lnTo>
                  <a:lnTo>
                    <a:pt x="1037" y="8294"/>
                  </a:lnTo>
                  <a:lnTo>
                    <a:pt x="934" y="8605"/>
                  </a:lnTo>
                  <a:lnTo>
                    <a:pt x="865" y="8950"/>
                  </a:lnTo>
                  <a:lnTo>
                    <a:pt x="761" y="9711"/>
                  </a:lnTo>
                  <a:lnTo>
                    <a:pt x="657" y="10125"/>
                  </a:lnTo>
                  <a:lnTo>
                    <a:pt x="519" y="10540"/>
                  </a:lnTo>
                  <a:lnTo>
                    <a:pt x="346" y="10989"/>
                  </a:lnTo>
                  <a:lnTo>
                    <a:pt x="70" y="11438"/>
                  </a:lnTo>
                  <a:lnTo>
                    <a:pt x="1" y="11577"/>
                  </a:lnTo>
                  <a:lnTo>
                    <a:pt x="1" y="11646"/>
                  </a:lnTo>
                  <a:lnTo>
                    <a:pt x="35" y="11680"/>
                  </a:lnTo>
                  <a:lnTo>
                    <a:pt x="139" y="11749"/>
                  </a:lnTo>
                  <a:lnTo>
                    <a:pt x="312" y="11784"/>
                  </a:lnTo>
                  <a:lnTo>
                    <a:pt x="519" y="11819"/>
                  </a:lnTo>
                  <a:lnTo>
                    <a:pt x="796" y="11819"/>
                  </a:lnTo>
                  <a:lnTo>
                    <a:pt x="1383" y="11715"/>
                  </a:lnTo>
                  <a:lnTo>
                    <a:pt x="2040" y="11611"/>
                  </a:lnTo>
                  <a:lnTo>
                    <a:pt x="2592" y="11473"/>
                  </a:lnTo>
                  <a:lnTo>
                    <a:pt x="3180" y="11335"/>
                  </a:lnTo>
                  <a:lnTo>
                    <a:pt x="7016" y="10263"/>
                  </a:lnTo>
                  <a:lnTo>
                    <a:pt x="6981" y="9918"/>
                  </a:lnTo>
                  <a:lnTo>
                    <a:pt x="6947" y="9538"/>
                  </a:lnTo>
                  <a:lnTo>
                    <a:pt x="6843" y="9123"/>
                  </a:lnTo>
                  <a:lnTo>
                    <a:pt x="6739" y="8674"/>
                  </a:lnTo>
                  <a:lnTo>
                    <a:pt x="6428" y="7706"/>
                  </a:lnTo>
                  <a:lnTo>
                    <a:pt x="6083" y="6704"/>
                  </a:lnTo>
                  <a:lnTo>
                    <a:pt x="5357" y="4804"/>
                  </a:lnTo>
                  <a:lnTo>
                    <a:pt x="5081" y="3974"/>
                  </a:lnTo>
                  <a:lnTo>
                    <a:pt x="4977" y="3594"/>
                  </a:lnTo>
                  <a:lnTo>
                    <a:pt x="4908" y="3283"/>
                  </a:lnTo>
                  <a:lnTo>
                    <a:pt x="4804" y="2972"/>
                  </a:lnTo>
                  <a:lnTo>
                    <a:pt x="4700" y="2661"/>
                  </a:lnTo>
                  <a:lnTo>
                    <a:pt x="4562" y="2350"/>
                  </a:lnTo>
                  <a:lnTo>
                    <a:pt x="4389" y="2039"/>
                  </a:lnTo>
                  <a:lnTo>
                    <a:pt x="4009" y="1486"/>
                  </a:lnTo>
                  <a:lnTo>
                    <a:pt x="3560" y="1002"/>
                  </a:lnTo>
                  <a:lnTo>
                    <a:pt x="3145" y="588"/>
                  </a:lnTo>
                  <a:lnTo>
                    <a:pt x="2800" y="277"/>
                  </a:lnTo>
                  <a:lnTo>
                    <a:pt x="2489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" name="Google Shape;1519;p16">
              <a:extLst>
                <a:ext uri="{FF2B5EF4-FFF2-40B4-BE49-F238E27FC236}">
                  <a16:creationId xmlns:a16="http://schemas.microsoft.com/office/drawing/2014/main" id="{B1D64FE5-E9E1-47C4-BB38-D323068F0E10}"/>
                </a:ext>
              </a:extLst>
            </p:cNvPr>
            <p:cNvSpPr/>
            <p:nvPr/>
          </p:nvSpPr>
          <p:spPr>
            <a:xfrm>
              <a:off x="5966300" y="1826850"/>
              <a:ext cx="175400" cy="295475"/>
            </a:xfrm>
            <a:custGeom>
              <a:avLst/>
              <a:gdLst/>
              <a:ahLst/>
              <a:cxnLst/>
              <a:rect l="l" t="t" r="r" b="b"/>
              <a:pathLst>
                <a:path w="7016" h="11819" fill="none" extrusionOk="0">
                  <a:moveTo>
                    <a:pt x="3180" y="11335"/>
                  </a:moveTo>
                  <a:lnTo>
                    <a:pt x="7016" y="10263"/>
                  </a:lnTo>
                  <a:lnTo>
                    <a:pt x="7016" y="10263"/>
                  </a:lnTo>
                  <a:lnTo>
                    <a:pt x="6981" y="9918"/>
                  </a:lnTo>
                  <a:lnTo>
                    <a:pt x="6947" y="9538"/>
                  </a:lnTo>
                  <a:lnTo>
                    <a:pt x="6843" y="9123"/>
                  </a:lnTo>
                  <a:lnTo>
                    <a:pt x="6739" y="8674"/>
                  </a:lnTo>
                  <a:lnTo>
                    <a:pt x="6428" y="7706"/>
                  </a:lnTo>
                  <a:lnTo>
                    <a:pt x="6083" y="6704"/>
                  </a:lnTo>
                  <a:lnTo>
                    <a:pt x="5357" y="4804"/>
                  </a:lnTo>
                  <a:lnTo>
                    <a:pt x="5081" y="3974"/>
                  </a:lnTo>
                  <a:lnTo>
                    <a:pt x="4977" y="3594"/>
                  </a:lnTo>
                  <a:lnTo>
                    <a:pt x="4908" y="3283"/>
                  </a:lnTo>
                  <a:lnTo>
                    <a:pt x="4908" y="3283"/>
                  </a:lnTo>
                  <a:lnTo>
                    <a:pt x="4804" y="2972"/>
                  </a:lnTo>
                  <a:lnTo>
                    <a:pt x="4700" y="2661"/>
                  </a:lnTo>
                  <a:lnTo>
                    <a:pt x="4562" y="2350"/>
                  </a:lnTo>
                  <a:lnTo>
                    <a:pt x="4389" y="2039"/>
                  </a:lnTo>
                  <a:lnTo>
                    <a:pt x="4009" y="1486"/>
                  </a:lnTo>
                  <a:lnTo>
                    <a:pt x="3560" y="1002"/>
                  </a:lnTo>
                  <a:lnTo>
                    <a:pt x="3145" y="588"/>
                  </a:lnTo>
                  <a:lnTo>
                    <a:pt x="2800" y="277"/>
                  </a:lnTo>
                  <a:lnTo>
                    <a:pt x="2489" y="0"/>
                  </a:lnTo>
                  <a:lnTo>
                    <a:pt x="1176" y="3594"/>
                  </a:lnTo>
                  <a:lnTo>
                    <a:pt x="1279" y="3905"/>
                  </a:lnTo>
                  <a:lnTo>
                    <a:pt x="1279" y="3905"/>
                  </a:lnTo>
                  <a:lnTo>
                    <a:pt x="1314" y="4389"/>
                  </a:lnTo>
                  <a:lnTo>
                    <a:pt x="1348" y="5564"/>
                  </a:lnTo>
                  <a:lnTo>
                    <a:pt x="1348" y="6289"/>
                  </a:lnTo>
                  <a:lnTo>
                    <a:pt x="1279" y="7015"/>
                  </a:lnTo>
                  <a:lnTo>
                    <a:pt x="1210" y="7706"/>
                  </a:lnTo>
                  <a:lnTo>
                    <a:pt x="1107" y="8017"/>
                  </a:lnTo>
                  <a:lnTo>
                    <a:pt x="1037" y="8294"/>
                  </a:lnTo>
                  <a:lnTo>
                    <a:pt x="1037" y="8294"/>
                  </a:lnTo>
                  <a:lnTo>
                    <a:pt x="934" y="8605"/>
                  </a:lnTo>
                  <a:lnTo>
                    <a:pt x="865" y="8950"/>
                  </a:lnTo>
                  <a:lnTo>
                    <a:pt x="761" y="9711"/>
                  </a:lnTo>
                  <a:lnTo>
                    <a:pt x="657" y="10125"/>
                  </a:lnTo>
                  <a:lnTo>
                    <a:pt x="519" y="10540"/>
                  </a:lnTo>
                  <a:lnTo>
                    <a:pt x="346" y="10989"/>
                  </a:lnTo>
                  <a:lnTo>
                    <a:pt x="70" y="11438"/>
                  </a:lnTo>
                  <a:lnTo>
                    <a:pt x="70" y="11438"/>
                  </a:lnTo>
                  <a:lnTo>
                    <a:pt x="1" y="11577"/>
                  </a:lnTo>
                  <a:lnTo>
                    <a:pt x="1" y="11646"/>
                  </a:lnTo>
                  <a:lnTo>
                    <a:pt x="35" y="11680"/>
                  </a:lnTo>
                  <a:lnTo>
                    <a:pt x="139" y="11749"/>
                  </a:lnTo>
                  <a:lnTo>
                    <a:pt x="312" y="11784"/>
                  </a:lnTo>
                  <a:lnTo>
                    <a:pt x="519" y="11819"/>
                  </a:lnTo>
                  <a:lnTo>
                    <a:pt x="796" y="11819"/>
                  </a:lnTo>
                  <a:lnTo>
                    <a:pt x="1383" y="11715"/>
                  </a:lnTo>
                  <a:lnTo>
                    <a:pt x="2040" y="11611"/>
                  </a:lnTo>
                  <a:lnTo>
                    <a:pt x="2592" y="11473"/>
                  </a:lnTo>
                  <a:lnTo>
                    <a:pt x="3180" y="1133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" name="Google Shape;1520;p16">
              <a:extLst>
                <a:ext uri="{FF2B5EF4-FFF2-40B4-BE49-F238E27FC236}">
                  <a16:creationId xmlns:a16="http://schemas.microsoft.com/office/drawing/2014/main" id="{0668FEE1-CA53-A902-41F5-A5E5C7B0B8A2}"/>
                </a:ext>
              </a:extLst>
            </p:cNvPr>
            <p:cNvSpPr/>
            <p:nvPr/>
          </p:nvSpPr>
          <p:spPr>
            <a:xfrm>
              <a:off x="5999125" y="1940025"/>
              <a:ext cx="900" cy="25925"/>
            </a:xfrm>
            <a:custGeom>
              <a:avLst/>
              <a:gdLst/>
              <a:ahLst/>
              <a:cxnLst/>
              <a:rect l="l" t="t" r="r" b="b"/>
              <a:pathLst>
                <a:path w="36" h="1037" extrusionOk="0">
                  <a:moveTo>
                    <a:pt x="1" y="0"/>
                  </a:moveTo>
                  <a:lnTo>
                    <a:pt x="1" y="35"/>
                  </a:lnTo>
                  <a:lnTo>
                    <a:pt x="1" y="518"/>
                  </a:lnTo>
                  <a:lnTo>
                    <a:pt x="35" y="1037"/>
                  </a:lnTo>
                  <a:lnTo>
                    <a:pt x="35" y="76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FDFE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" name="Google Shape;1521;p16">
              <a:extLst>
                <a:ext uri="{FF2B5EF4-FFF2-40B4-BE49-F238E27FC236}">
                  <a16:creationId xmlns:a16="http://schemas.microsoft.com/office/drawing/2014/main" id="{AEB23FA9-B9EA-485C-0CD7-B2F34F4D8DF6}"/>
                </a:ext>
              </a:extLst>
            </p:cNvPr>
            <p:cNvSpPr/>
            <p:nvPr/>
          </p:nvSpPr>
          <p:spPr>
            <a:xfrm>
              <a:off x="5996550" y="20177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" name="Google Shape;1522;p16">
              <a:extLst>
                <a:ext uri="{FF2B5EF4-FFF2-40B4-BE49-F238E27FC236}">
                  <a16:creationId xmlns:a16="http://schemas.microsoft.com/office/drawing/2014/main" id="{9CA392D2-81D1-BC4D-89B3-8D69F99278E6}"/>
                </a:ext>
              </a:extLst>
            </p:cNvPr>
            <p:cNvSpPr/>
            <p:nvPr/>
          </p:nvSpPr>
          <p:spPr>
            <a:xfrm>
              <a:off x="5999125" y="1940025"/>
              <a:ext cx="900" cy="40625"/>
            </a:xfrm>
            <a:custGeom>
              <a:avLst/>
              <a:gdLst/>
              <a:ahLst/>
              <a:cxnLst/>
              <a:rect l="l" t="t" r="r" b="b"/>
              <a:pathLst>
                <a:path w="36" h="1625" fill="none" extrusionOk="0">
                  <a:moveTo>
                    <a:pt x="1" y="0"/>
                  </a:moveTo>
                  <a:lnTo>
                    <a:pt x="1" y="35"/>
                  </a:lnTo>
                  <a:lnTo>
                    <a:pt x="1" y="35"/>
                  </a:lnTo>
                  <a:lnTo>
                    <a:pt x="1" y="518"/>
                  </a:lnTo>
                  <a:lnTo>
                    <a:pt x="35" y="1037"/>
                  </a:lnTo>
                  <a:lnTo>
                    <a:pt x="35" y="1624"/>
                  </a:lnTo>
                  <a:lnTo>
                    <a:pt x="35" y="1624"/>
                  </a:lnTo>
                  <a:lnTo>
                    <a:pt x="35" y="76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" name="Google Shape;1523;p16">
              <a:extLst>
                <a:ext uri="{FF2B5EF4-FFF2-40B4-BE49-F238E27FC236}">
                  <a16:creationId xmlns:a16="http://schemas.microsoft.com/office/drawing/2014/main" id="{C6F518CA-D93F-8ABF-5085-D14BCA066C9B}"/>
                </a:ext>
              </a:extLst>
            </p:cNvPr>
            <p:cNvSpPr/>
            <p:nvPr/>
          </p:nvSpPr>
          <p:spPr>
            <a:xfrm>
              <a:off x="5996550" y="1925325"/>
              <a:ext cx="79500" cy="98525"/>
            </a:xfrm>
            <a:custGeom>
              <a:avLst/>
              <a:gdLst/>
              <a:ahLst/>
              <a:cxnLst/>
              <a:rect l="l" t="t" r="r" b="b"/>
              <a:pathLst>
                <a:path w="3180" h="3941" extrusionOk="0">
                  <a:moveTo>
                    <a:pt x="1313" y="1"/>
                  </a:moveTo>
                  <a:lnTo>
                    <a:pt x="104" y="588"/>
                  </a:lnTo>
                  <a:lnTo>
                    <a:pt x="138" y="1348"/>
                  </a:lnTo>
                  <a:lnTo>
                    <a:pt x="138" y="2212"/>
                  </a:lnTo>
                  <a:lnTo>
                    <a:pt x="104" y="2973"/>
                  </a:lnTo>
                  <a:lnTo>
                    <a:pt x="69" y="3353"/>
                  </a:lnTo>
                  <a:lnTo>
                    <a:pt x="0" y="3698"/>
                  </a:lnTo>
                  <a:lnTo>
                    <a:pt x="277" y="3802"/>
                  </a:lnTo>
                  <a:lnTo>
                    <a:pt x="553" y="3871"/>
                  </a:lnTo>
                  <a:lnTo>
                    <a:pt x="830" y="3940"/>
                  </a:lnTo>
                  <a:lnTo>
                    <a:pt x="1071" y="3940"/>
                  </a:lnTo>
                  <a:lnTo>
                    <a:pt x="1382" y="3906"/>
                  </a:lnTo>
                  <a:lnTo>
                    <a:pt x="1659" y="3871"/>
                  </a:lnTo>
                  <a:lnTo>
                    <a:pt x="1935" y="3767"/>
                  </a:lnTo>
                  <a:lnTo>
                    <a:pt x="2143" y="3629"/>
                  </a:lnTo>
                  <a:lnTo>
                    <a:pt x="2385" y="3456"/>
                  </a:lnTo>
                  <a:lnTo>
                    <a:pt x="2557" y="3284"/>
                  </a:lnTo>
                  <a:lnTo>
                    <a:pt x="2730" y="3076"/>
                  </a:lnTo>
                  <a:lnTo>
                    <a:pt x="2868" y="2869"/>
                  </a:lnTo>
                  <a:lnTo>
                    <a:pt x="2972" y="2661"/>
                  </a:lnTo>
                  <a:lnTo>
                    <a:pt x="3076" y="2454"/>
                  </a:lnTo>
                  <a:lnTo>
                    <a:pt x="3145" y="2247"/>
                  </a:lnTo>
                  <a:lnTo>
                    <a:pt x="3179" y="2039"/>
                  </a:lnTo>
                  <a:lnTo>
                    <a:pt x="3179" y="1832"/>
                  </a:lnTo>
                  <a:lnTo>
                    <a:pt x="3179" y="1659"/>
                  </a:lnTo>
                  <a:lnTo>
                    <a:pt x="3110" y="1521"/>
                  </a:lnTo>
                  <a:lnTo>
                    <a:pt x="3041" y="1383"/>
                  </a:lnTo>
                  <a:lnTo>
                    <a:pt x="2626" y="1003"/>
                  </a:lnTo>
                  <a:lnTo>
                    <a:pt x="2039" y="554"/>
                  </a:lnTo>
                  <a:lnTo>
                    <a:pt x="1313" y="1"/>
                  </a:lnTo>
                  <a:close/>
                </a:path>
              </a:pathLst>
            </a:custGeom>
            <a:solidFill>
              <a:srgbClr val="D29A9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" name="Google Shape;1524;p16">
              <a:extLst>
                <a:ext uri="{FF2B5EF4-FFF2-40B4-BE49-F238E27FC236}">
                  <a16:creationId xmlns:a16="http://schemas.microsoft.com/office/drawing/2014/main" id="{5CC5D93A-7879-C535-F47C-85F323082141}"/>
                </a:ext>
              </a:extLst>
            </p:cNvPr>
            <p:cNvSpPr/>
            <p:nvPr/>
          </p:nvSpPr>
          <p:spPr>
            <a:xfrm>
              <a:off x="5996550" y="1925325"/>
              <a:ext cx="79500" cy="98525"/>
            </a:xfrm>
            <a:custGeom>
              <a:avLst/>
              <a:gdLst/>
              <a:ahLst/>
              <a:cxnLst/>
              <a:rect l="l" t="t" r="r" b="b"/>
              <a:pathLst>
                <a:path w="3180" h="3941" fill="none" extrusionOk="0">
                  <a:moveTo>
                    <a:pt x="1313" y="1"/>
                  </a:moveTo>
                  <a:lnTo>
                    <a:pt x="104" y="588"/>
                  </a:lnTo>
                  <a:lnTo>
                    <a:pt x="104" y="588"/>
                  </a:lnTo>
                  <a:lnTo>
                    <a:pt x="138" y="1348"/>
                  </a:lnTo>
                  <a:lnTo>
                    <a:pt x="138" y="2212"/>
                  </a:lnTo>
                  <a:lnTo>
                    <a:pt x="138" y="2212"/>
                  </a:lnTo>
                  <a:lnTo>
                    <a:pt x="104" y="2973"/>
                  </a:lnTo>
                  <a:lnTo>
                    <a:pt x="69" y="3353"/>
                  </a:lnTo>
                  <a:lnTo>
                    <a:pt x="0" y="3698"/>
                  </a:lnTo>
                  <a:lnTo>
                    <a:pt x="0" y="3698"/>
                  </a:lnTo>
                  <a:lnTo>
                    <a:pt x="0" y="3698"/>
                  </a:lnTo>
                  <a:lnTo>
                    <a:pt x="0" y="3698"/>
                  </a:lnTo>
                  <a:lnTo>
                    <a:pt x="277" y="3802"/>
                  </a:lnTo>
                  <a:lnTo>
                    <a:pt x="553" y="3871"/>
                  </a:lnTo>
                  <a:lnTo>
                    <a:pt x="830" y="3940"/>
                  </a:lnTo>
                  <a:lnTo>
                    <a:pt x="1071" y="3940"/>
                  </a:lnTo>
                  <a:lnTo>
                    <a:pt x="1071" y="3940"/>
                  </a:lnTo>
                  <a:lnTo>
                    <a:pt x="1382" y="3906"/>
                  </a:lnTo>
                  <a:lnTo>
                    <a:pt x="1659" y="3871"/>
                  </a:lnTo>
                  <a:lnTo>
                    <a:pt x="1935" y="3767"/>
                  </a:lnTo>
                  <a:lnTo>
                    <a:pt x="2143" y="3629"/>
                  </a:lnTo>
                  <a:lnTo>
                    <a:pt x="2385" y="3456"/>
                  </a:lnTo>
                  <a:lnTo>
                    <a:pt x="2557" y="3284"/>
                  </a:lnTo>
                  <a:lnTo>
                    <a:pt x="2730" y="3076"/>
                  </a:lnTo>
                  <a:lnTo>
                    <a:pt x="2868" y="2869"/>
                  </a:lnTo>
                  <a:lnTo>
                    <a:pt x="2972" y="2661"/>
                  </a:lnTo>
                  <a:lnTo>
                    <a:pt x="3076" y="2454"/>
                  </a:lnTo>
                  <a:lnTo>
                    <a:pt x="3145" y="2247"/>
                  </a:lnTo>
                  <a:lnTo>
                    <a:pt x="3179" y="2039"/>
                  </a:lnTo>
                  <a:lnTo>
                    <a:pt x="3179" y="1832"/>
                  </a:lnTo>
                  <a:lnTo>
                    <a:pt x="3179" y="1659"/>
                  </a:lnTo>
                  <a:lnTo>
                    <a:pt x="3110" y="1521"/>
                  </a:lnTo>
                  <a:lnTo>
                    <a:pt x="3041" y="1383"/>
                  </a:lnTo>
                  <a:lnTo>
                    <a:pt x="3041" y="1383"/>
                  </a:lnTo>
                  <a:lnTo>
                    <a:pt x="2626" y="1003"/>
                  </a:lnTo>
                  <a:lnTo>
                    <a:pt x="2039" y="554"/>
                  </a:lnTo>
                  <a:lnTo>
                    <a:pt x="1313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" name="Google Shape;1525;p16">
              <a:extLst>
                <a:ext uri="{FF2B5EF4-FFF2-40B4-BE49-F238E27FC236}">
                  <a16:creationId xmlns:a16="http://schemas.microsoft.com/office/drawing/2014/main" id="{C006AB40-B7B6-EDC7-D2A7-EEBDBEB54629}"/>
                </a:ext>
              </a:extLst>
            </p:cNvPr>
            <p:cNvSpPr/>
            <p:nvPr/>
          </p:nvSpPr>
          <p:spPr>
            <a:xfrm>
              <a:off x="5921375" y="1789700"/>
              <a:ext cx="179725" cy="175400"/>
            </a:xfrm>
            <a:custGeom>
              <a:avLst/>
              <a:gdLst/>
              <a:ahLst/>
              <a:cxnLst/>
              <a:rect l="l" t="t" r="r" b="b"/>
              <a:pathLst>
                <a:path w="7189" h="7016" extrusionOk="0">
                  <a:moveTo>
                    <a:pt x="2040" y="0"/>
                  </a:moveTo>
                  <a:lnTo>
                    <a:pt x="1832" y="553"/>
                  </a:lnTo>
                  <a:lnTo>
                    <a:pt x="1590" y="1037"/>
                  </a:lnTo>
                  <a:lnTo>
                    <a:pt x="1348" y="1452"/>
                  </a:lnTo>
                  <a:lnTo>
                    <a:pt x="1141" y="1832"/>
                  </a:lnTo>
                  <a:lnTo>
                    <a:pt x="726" y="2419"/>
                  </a:lnTo>
                  <a:lnTo>
                    <a:pt x="415" y="2868"/>
                  </a:lnTo>
                  <a:lnTo>
                    <a:pt x="208" y="3145"/>
                  </a:lnTo>
                  <a:lnTo>
                    <a:pt x="139" y="3283"/>
                  </a:lnTo>
                  <a:lnTo>
                    <a:pt x="104" y="3387"/>
                  </a:lnTo>
                  <a:lnTo>
                    <a:pt x="139" y="3456"/>
                  </a:lnTo>
                  <a:lnTo>
                    <a:pt x="208" y="3560"/>
                  </a:lnTo>
                  <a:lnTo>
                    <a:pt x="312" y="3629"/>
                  </a:lnTo>
                  <a:lnTo>
                    <a:pt x="485" y="3698"/>
                  </a:lnTo>
                  <a:lnTo>
                    <a:pt x="623" y="3801"/>
                  </a:lnTo>
                  <a:lnTo>
                    <a:pt x="692" y="3905"/>
                  </a:lnTo>
                  <a:lnTo>
                    <a:pt x="692" y="4078"/>
                  </a:lnTo>
                  <a:lnTo>
                    <a:pt x="692" y="4251"/>
                  </a:lnTo>
                  <a:lnTo>
                    <a:pt x="554" y="4700"/>
                  </a:lnTo>
                  <a:lnTo>
                    <a:pt x="346" y="5184"/>
                  </a:lnTo>
                  <a:lnTo>
                    <a:pt x="139" y="5668"/>
                  </a:lnTo>
                  <a:lnTo>
                    <a:pt x="70" y="5909"/>
                  </a:lnTo>
                  <a:lnTo>
                    <a:pt x="1" y="6117"/>
                  </a:lnTo>
                  <a:lnTo>
                    <a:pt x="1" y="6290"/>
                  </a:lnTo>
                  <a:lnTo>
                    <a:pt x="35" y="6462"/>
                  </a:lnTo>
                  <a:lnTo>
                    <a:pt x="104" y="6566"/>
                  </a:lnTo>
                  <a:lnTo>
                    <a:pt x="243" y="6670"/>
                  </a:lnTo>
                  <a:lnTo>
                    <a:pt x="623" y="6773"/>
                  </a:lnTo>
                  <a:lnTo>
                    <a:pt x="1037" y="6877"/>
                  </a:lnTo>
                  <a:lnTo>
                    <a:pt x="1487" y="6946"/>
                  </a:lnTo>
                  <a:lnTo>
                    <a:pt x="1901" y="6981"/>
                  </a:lnTo>
                  <a:lnTo>
                    <a:pt x="2316" y="7015"/>
                  </a:lnTo>
                  <a:lnTo>
                    <a:pt x="2731" y="6981"/>
                  </a:lnTo>
                  <a:lnTo>
                    <a:pt x="3145" y="6946"/>
                  </a:lnTo>
                  <a:lnTo>
                    <a:pt x="3526" y="6877"/>
                  </a:lnTo>
                  <a:lnTo>
                    <a:pt x="3906" y="6808"/>
                  </a:lnTo>
                  <a:lnTo>
                    <a:pt x="4251" y="6704"/>
                  </a:lnTo>
                  <a:lnTo>
                    <a:pt x="4562" y="6566"/>
                  </a:lnTo>
                  <a:lnTo>
                    <a:pt x="4873" y="6428"/>
                  </a:lnTo>
                  <a:lnTo>
                    <a:pt x="5115" y="6290"/>
                  </a:lnTo>
                  <a:lnTo>
                    <a:pt x="5357" y="6117"/>
                  </a:lnTo>
                  <a:lnTo>
                    <a:pt x="5530" y="5944"/>
                  </a:lnTo>
                  <a:lnTo>
                    <a:pt x="5668" y="5771"/>
                  </a:lnTo>
                  <a:lnTo>
                    <a:pt x="5944" y="5322"/>
                  </a:lnTo>
                  <a:lnTo>
                    <a:pt x="6186" y="4700"/>
                  </a:lnTo>
                  <a:lnTo>
                    <a:pt x="6428" y="4043"/>
                  </a:lnTo>
                  <a:lnTo>
                    <a:pt x="6670" y="3352"/>
                  </a:lnTo>
                  <a:lnTo>
                    <a:pt x="7050" y="2177"/>
                  </a:lnTo>
                  <a:lnTo>
                    <a:pt x="7189" y="1694"/>
                  </a:lnTo>
                  <a:lnTo>
                    <a:pt x="2040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" name="Google Shape;1526;p16">
              <a:extLst>
                <a:ext uri="{FF2B5EF4-FFF2-40B4-BE49-F238E27FC236}">
                  <a16:creationId xmlns:a16="http://schemas.microsoft.com/office/drawing/2014/main" id="{792C04E3-2E19-66EF-2C68-839709688C43}"/>
                </a:ext>
              </a:extLst>
            </p:cNvPr>
            <p:cNvSpPr/>
            <p:nvPr/>
          </p:nvSpPr>
          <p:spPr>
            <a:xfrm>
              <a:off x="5951625" y="1728350"/>
              <a:ext cx="200450" cy="213425"/>
            </a:xfrm>
            <a:custGeom>
              <a:avLst/>
              <a:gdLst/>
              <a:ahLst/>
              <a:cxnLst/>
              <a:rect l="l" t="t" r="r" b="b"/>
              <a:pathLst>
                <a:path w="8018" h="8537" extrusionOk="0">
                  <a:moveTo>
                    <a:pt x="933" y="1"/>
                  </a:moveTo>
                  <a:lnTo>
                    <a:pt x="761" y="35"/>
                  </a:lnTo>
                  <a:lnTo>
                    <a:pt x="622" y="104"/>
                  </a:lnTo>
                  <a:lnTo>
                    <a:pt x="484" y="208"/>
                  </a:lnTo>
                  <a:lnTo>
                    <a:pt x="346" y="346"/>
                  </a:lnTo>
                  <a:lnTo>
                    <a:pt x="242" y="519"/>
                  </a:lnTo>
                  <a:lnTo>
                    <a:pt x="138" y="726"/>
                  </a:lnTo>
                  <a:lnTo>
                    <a:pt x="35" y="1003"/>
                  </a:lnTo>
                  <a:lnTo>
                    <a:pt x="0" y="1210"/>
                  </a:lnTo>
                  <a:lnTo>
                    <a:pt x="0" y="1383"/>
                  </a:lnTo>
                  <a:lnTo>
                    <a:pt x="35" y="1556"/>
                  </a:lnTo>
                  <a:lnTo>
                    <a:pt x="69" y="1694"/>
                  </a:lnTo>
                  <a:lnTo>
                    <a:pt x="138" y="1832"/>
                  </a:lnTo>
                  <a:lnTo>
                    <a:pt x="208" y="1971"/>
                  </a:lnTo>
                  <a:lnTo>
                    <a:pt x="415" y="2212"/>
                  </a:lnTo>
                  <a:lnTo>
                    <a:pt x="657" y="2420"/>
                  </a:lnTo>
                  <a:lnTo>
                    <a:pt x="968" y="2593"/>
                  </a:lnTo>
                  <a:lnTo>
                    <a:pt x="1590" y="2938"/>
                  </a:lnTo>
                  <a:lnTo>
                    <a:pt x="1728" y="3007"/>
                  </a:lnTo>
                  <a:lnTo>
                    <a:pt x="1832" y="3111"/>
                  </a:lnTo>
                  <a:lnTo>
                    <a:pt x="1866" y="3180"/>
                  </a:lnTo>
                  <a:lnTo>
                    <a:pt x="1901" y="3249"/>
                  </a:lnTo>
                  <a:lnTo>
                    <a:pt x="1935" y="3353"/>
                  </a:lnTo>
                  <a:lnTo>
                    <a:pt x="1901" y="3422"/>
                  </a:lnTo>
                  <a:lnTo>
                    <a:pt x="1832" y="3595"/>
                  </a:lnTo>
                  <a:lnTo>
                    <a:pt x="1763" y="3733"/>
                  </a:lnTo>
                  <a:lnTo>
                    <a:pt x="1694" y="3906"/>
                  </a:lnTo>
                  <a:lnTo>
                    <a:pt x="1694" y="3975"/>
                  </a:lnTo>
                  <a:lnTo>
                    <a:pt x="1694" y="4044"/>
                  </a:lnTo>
                  <a:lnTo>
                    <a:pt x="1728" y="4113"/>
                  </a:lnTo>
                  <a:lnTo>
                    <a:pt x="1763" y="4182"/>
                  </a:lnTo>
                  <a:lnTo>
                    <a:pt x="1901" y="4320"/>
                  </a:lnTo>
                  <a:lnTo>
                    <a:pt x="2039" y="4389"/>
                  </a:lnTo>
                  <a:lnTo>
                    <a:pt x="2143" y="4459"/>
                  </a:lnTo>
                  <a:lnTo>
                    <a:pt x="2246" y="4493"/>
                  </a:lnTo>
                  <a:lnTo>
                    <a:pt x="2523" y="4528"/>
                  </a:lnTo>
                  <a:lnTo>
                    <a:pt x="2972" y="4562"/>
                  </a:lnTo>
                  <a:lnTo>
                    <a:pt x="3179" y="4631"/>
                  </a:lnTo>
                  <a:lnTo>
                    <a:pt x="3387" y="4700"/>
                  </a:lnTo>
                  <a:lnTo>
                    <a:pt x="3525" y="4804"/>
                  </a:lnTo>
                  <a:lnTo>
                    <a:pt x="3629" y="4942"/>
                  </a:lnTo>
                  <a:lnTo>
                    <a:pt x="3629" y="5011"/>
                  </a:lnTo>
                  <a:lnTo>
                    <a:pt x="3629" y="5115"/>
                  </a:lnTo>
                  <a:lnTo>
                    <a:pt x="3560" y="5288"/>
                  </a:lnTo>
                  <a:lnTo>
                    <a:pt x="3387" y="5530"/>
                  </a:lnTo>
                  <a:lnTo>
                    <a:pt x="3076" y="5806"/>
                  </a:lnTo>
                  <a:lnTo>
                    <a:pt x="2938" y="5944"/>
                  </a:lnTo>
                  <a:lnTo>
                    <a:pt x="2799" y="6083"/>
                  </a:lnTo>
                  <a:lnTo>
                    <a:pt x="2730" y="6186"/>
                  </a:lnTo>
                  <a:lnTo>
                    <a:pt x="2696" y="6290"/>
                  </a:lnTo>
                  <a:lnTo>
                    <a:pt x="2696" y="6394"/>
                  </a:lnTo>
                  <a:lnTo>
                    <a:pt x="2696" y="6497"/>
                  </a:lnTo>
                  <a:lnTo>
                    <a:pt x="2765" y="6567"/>
                  </a:lnTo>
                  <a:lnTo>
                    <a:pt x="2834" y="6601"/>
                  </a:lnTo>
                  <a:lnTo>
                    <a:pt x="3007" y="6670"/>
                  </a:lnTo>
                  <a:lnTo>
                    <a:pt x="3283" y="6705"/>
                  </a:lnTo>
                  <a:lnTo>
                    <a:pt x="3525" y="6636"/>
                  </a:lnTo>
                  <a:lnTo>
                    <a:pt x="3801" y="6567"/>
                  </a:lnTo>
                  <a:lnTo>
                    <a:pt x="4043" y="6428"/>
                  </a:lnTo>
                  <a:lnTo>
                    <a:pt x="4216" y="6290"/>
                  </a:lnTo>
                  <a:lnTo>
                    <a:pt x="4389" y="6186"/>
                  </a:lnTo>
                  <a:lnTo>
                    <a:pt x="4562" y="6117"/>
                  </a:lnTo>
                  <a:lnTo>
                    <a:pt x="4700" y="6083"/>
                  </a:lnTo>
                  <a:lnTo>
                    <a:pt x="4838" y="6083"/>
                  </a:lnTo>
                  <a:lnTo>
                    <a:pt x="4976" y="6186"/>
                  </a:lnTo>
                  <a:lnTo>
                    <a:pt x="5149" y="6394"/>
                  </a:lnTo>
                  <a:lnTo>
                    <a:pt x="5184" y="6497"/>
                  </a:lnTo>
                  <a:lnTo>
                    <a:pt x="5184" y="6601"/>
                  </a:lnTo>
                  <a:lnTo>
                    <a:pt x="5149" y="6843"/>
                  </a:lnTo>
                  <a:lnTo>
                    <a:pt x="5046" y="7119"/>
                  </a:lnTo>
                  <a:lnTo>
                    <a:pt x="4907" y="7396"/>
                  </a:lnTo>
                  <a:lnTo>
                    <a:pt x="4804" y="7707"/>
                  </a:lnTo>
                  <a:lnTo>
                    <a:pt x="4700" y="7983"/>
                  </a:lnTo>
                  <a:lnTo>
                    <a:pt x="4631" y="8260"/>
                  </a:lnTo>
                  <a:lnTo>
                    <a:pt x="4665" y="8363"/>
                  </a:lnTo>
                  <a:lnTo>
                    <a:pt x="4700" y="8467"/>
                  </a:lnTo>
                  <a:lnTo>
                    <a:pt x="4700" y="8502"/>
                  </a:lnTo>
                  <a:lnTo>
                    <a:pt x="4769" y="8536"/>
                  </a:lnTo>
                  <a:lnTo>
                    <a:pt x="4907" y="8536"/>
                  </a:lnTo>
                  <a:lnTo>
                    <a:pt x="5115" y="8502"/>
                  </a:lnTo>
                  <a:lnTo>
                    <a:pt x="5391" y="8433"/>
                  </a:lnTo>
                  <a:lnTo>
                    <a:pt x="5668" y="8329"/>
                  </a:lnTo>
                  <a:lnTo>
                    <a:pt x="5979" y="8156"/>
                  </a:lnTo>
                  <a:lnTo>
                    <a:pt x="6324" y="7983"/>
                  </a:lnTo>
                  <a:lnTo>
                    <a:pt x="6635" y="7776"/>
                  </a:lnTo>
                  <a:lnTo>
                    <a:pt x="6981" y="7534"/>
                  </a:lnTo>
                  <a:lnTo>
                    <a:pt x="7257" y="7292"/>
                  </a:lnTo>
                  <a:lnTo>
                    <a:pt x="7499" y="7016"/>
                  </a:lnTo>
                  <a:lnTo>
                    <a:pt x="7706" y="6705"/>
                  </a:lnTo>
                  <a:lnTo>
                    <a:pt x="7879" y="6394"/>
                  </a:lnTo>
                  <a:lnTo>
                    <a:pt x="7948" y="6117"/>
                  </a:lnTo>
                  <a:lnTo>
                    <a:pt x="7948" y="5944"/>
                  </a:lnTo>
                  <a:lnTo>
                    <a:pt x="7948" y="5772"/>
                  </a:lnTo>
                  <a:lnTo>
                    <a:pt x="7914" y="5633"/>
                  </a:lnTo>
                  <a:lnTo>
                    <a:pt x="7845" y="5461"/>
                  </a:lnTo>
                  <a:lnTo>
                    <a:pt x="7741" y="5219"/>
                  </a:lnTo>
                  <a:lnTo>
                    <a:pt x="7672" y="4942"/>
                  </a:lnTo>
                  <a:lnTo>
                    <a:pt x="7637" y="4700"/>
                  </a:lnTo>
                  <a:lnTo>
                    <a:pt x="7672" y="4459"/>
                  </a:lnTo>
                  <a:lnTo>
                    <a:pt x="7741" y="4009"/>
                  </a:lnTo>
                  <a:lnTo>
                    <a:pt x="7845" y="3560"/>
                  </a:lnTo>
                  <a:lnTo>
                    <a:pt x="7983" y="3145"/>
                  </a:lnTo>
                  <a:lnTo>
                    <a:pt x="8017" y="2904"/>
                  </a:lnTo>
                  <a:lnTo>
                    <a:pt x="8017" y="2696"/>
                  </a:lnTo>
                  <a:lnTo>
                    <a:pt x="7983" y="2454"/>
                  </a:lnTo>
                  <a:lnTo>
                    <a:pt x="7948" y="2212"/>
                  </a:lnTo>
                  <a:lnTo>
                    <a:pt x="7845" y="1936"/>
                  </a:lnTo>
                  <a:lnTo>
                    <a:pt x="7706" y="1694"/>
                  </a:lnTo>
                  <a:lnTo>
                    <a:pt x="7603" y="1556"/>
                  </a:lnTo>
                  <a:lnTo>
                    <a:pt x="7499" y="1452"/>
                  </a:lnTo>
                  <a:lnTo>
                    <a:pt x="7361" y="1348"/>
                  </a:lnTo>
                  <a:lnTo>
                    <a:pt x="7223" y="1314"/>
                  </a:lnTo>
                  <a:lnTo>
                    <a:pt x="6946" y="1245"/>
                  </a:lnTo>
                  <a:lnTo>
                    <a:pt x="6635" y="1210"/>
                  </a:lnTo>
                  <a:lnTo>
                    <a:pt x="5840" y="1210"/>
                  </a:lnTo>
                  <a:lnTo>
                    <a:pt x="5668" y="1176"/>
                  </a:lnTo>
                  <a:lnTo>
                    <a:pt x="5460" y="1072"/>
                  </a:lnTo>
                  <a:lnTo>
                    <a:pt x="5287" y="934"/>
                  </a:lnTo>
                  <a:lnTo>
                    <a:pt x="5184" y="796"/>
                  </a:lnTo>
                  <a:lnTo>
                    <a:pt x="5080" y="623"/>
                  </a:lnTo>
                  <a:lnTo>
                    <a:pt x="4976" y="485"/>
                  </a:lnTo>
                  <a:lnTo>
                    <a:pt x="4873" y="346"/>
                  </a:lnTo>
                  <a:lnTo>
                    <a:pt x="4665" y="208"/>
                  </a:lnTo>
                  <a:lnTo>
                    <a:pt x="4423" y="104"/>
                  </a:lnTo>
                  <a:lnTo>
                    <a:pt x="4251" y="35"/>
                  </a:lnTo>
                  <a:lnTo>
                    <a:pt x="4078" y="1"/>
                  </a:lnTo>
                  <a:lnTo>
                    <a:pt x="3905" y="1"/>
                  </a:lnTo>
                  <a:lnTo>
                    <a:pt x="3732" y="35"/>
                  </a:lnTo>
                  <a:lnTo>
                    <a:pt x="3456" y="139"/>
                  </a:lnTo>
                  <a:lnTo>
                    <a:pt x="3214" y="277"/>
                  </a:lnTo>
                  <a:lnTo>
                    <a:pt x="2972" y="415"/>
                  </a:lnTo>
                  <a:lnTo>
                    <a:pt x="2765" y="519"/>
                  </a:lnTo>
                  <a:lnTo>
                    <a:pt x="2592" y="588"/>
                  </a:lnTo>
                  <a:lnTo>
                    <a:pt x="2488" y="588"/>
                  </a:lnTo>
                  <a:lnTo>
                    <a:pt x="2385" y="554"/>
                  </a:lnTo>
                  <a:lnTo>
                    <a:pt x="2108" y="381"/>
                  </a:lnTo>
                  <a:lnTo>
                    <a:pt x="1763" y="208"/>
                  </a:lnTo>
                  <a:lnTo>
                    <a:pt x="1417" y="70"/>
                  </a:lnTo>
                  <a:lnTo>
                    <a:pt x="1072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" name="Google Shape;1527;p16">
              <a:extLst>
                <a:ext uri="{FF2B5EF4-FFF2-40B4-BE49-F238E27FC236}">
                  <a16:creationId xmlns:a16="http://schemas.microsoft.com/office/drawing/2014/main" id="{92B32BB2-EB30-A2A3-3780-1E591BF94193}"/>
                </a:ext>
              </a:extLst>
            </p:cNvPr>
            <p:cNvSpPr/>
            <p:nvPr/>
          </p:nvSpPr>
          <p:spPr>
            <a:xfrm>
              <a:off x="5788350" y="4358975"/>
              <a:ext cx="118375" cy="213400"/>
            </a:xfrm>
            <a:custGeom>
              <a:avLst/>
              <a:gdLst/>
              <a:ahLst/>
              <a:cxnLst/>
              <a:rect l="l" t="t" r="r" b="b"/>
              <a:pathLst>
                <a:path w="4735" h="8536" extrusionOk="0">
                  <a:moveTo>
                    <a:pt x="4734" y="0"/>
                  </a:moveTo>
                  <a:lnTo>
                    <a:pt x="35" y="173"/>
                  </a:lnTo>
                  <a:lnTo>
                    <a:pt x="0" y="2523"/>
                  </a:lnTo>
                  <a:lnTo>
                    <a:pt x="0" y="4527"/>
                  </a:lnTo>
                  <a:lnTo>
                    <a:pt x="35" y="5425"/>
                  </a:lnTo>
                  <a:lnTo>
                    <a:pt x="69" y="6186"/>
                  </a:lnTo>
                  <a:lnTo>
                    <a:pt x="1382" y="8535"/>
                  </a:lnTo>
                  <a:lnTo>
                    <a:pt x="4458" y="6462"/>
                  </a:lnTo>
                  <a:lnTo>
                    <a:pt x="473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" name="Google Shape;1528;p16">
              <a:extLst>
                <a:ext uri="{FF2B5EF4-FFF2-40B4-BE49-F238E27FC236}">
                  <a16:creationId xmlns:a16="http://schemas.microsoft.com/office/drawing/2014/main" id="{54CBC7DB-E76B-9F7C-14A2-860017592155}"/>
                </a:ext>
              </a:extLst>
            </p:cNvPr>
            <p:cNvSpPr/>
            <p:nvPr/>
          </p:nvSpPr>
          <p:spPr>
            <a:xfrm>
              <a:off x="5566325" y="4473875"/>
              <a:ext cx="349025" cy="152925"/>
            </a:xfrm>
            <a:custGeom>
              <a:avLst/>
              <a:gdLst/>
              <a:ahLst/>
              <a:cxnLst/>
              <a:rect l="l" t="t" r="r" b="b"/>
              <a:pathLst>
                <a:path w="13961" h="6117" extrusionOk="0">
                  <a:moveTo>
                    <a:pt x="13477" y="0"/>
                  </a:moveTo>
                  <a:lnTo>
                    <a:pt x="13097" y="104"/>
                  </a:lnTo>
                  <a:lnTo>
                    <a:pt x="12579" y="276"/>
                  </a:lnTo>
                  <a:lnTo>
                    <a:pt x="11957" y="449"/>
                  </a:lnTo>
                  <a:lnTo>
                    <a:pt x="11266" y="587"/>
                  </a:lnTo>
                  <a:lnTo>
                    <a:pt x="10920" y="657"/>
                  </a:lnTo>
                  <a:lnTo>
                    <a:pt x="10574" y="691"/>
                  </a:lnTo>
                  <a:lnTo>
                    <a:pt x="10194" y="691"/>
                  </a:lnTo>
                  <a:lnTo>
                    <a:pt x="9849" y="657"/>
                  </a:lnTo>
                  <a:lnTo>
                    <a:pt x="9503" y="622"/>
                  </a:lnTo>
                  <a:lnTo>
                    <a:pt x="9192" y="518"/>
                  </a:lnTo>
                  <a:lnTo>
                    <a:pt x="8881" y="380"/>
                  </a:lnTo>
                  <a:lnTo>
                    <a:pt x="8570" y="173"/>
                  </a:lnTo>
                  <a:lnTo>
                    <a:pt x="8501" y="138"/>
                  </a:lnTo>
                  <a:lnTo>
                    <a:pt x="8294" y="138"/>
                  </a:lnTo>
                  <a:lnTo>
                    <a:pt x="8190" y="173"/>
                  </a:lnTo>
                  <a:lnTo>
                    <a:pt x="7983" y="311"/>
                  </a:lnTo>
                  <a:lnTo>
                    <a:pt x="7775" y="553"/>
                  </a:lnTo>
                  <a:lnTo>
                    <a:pt x="7533" y="795"/>
                  </a:lnTo>
                  <a:lnTo>
                    <a:pt x="7361" y="1071"/>
                  </a:lnTo>
                  <a:lnTo>
                    <a:pt x="7222" y="1382"/>
                  </a:lnTo>
                  <a:lnTo>
                    <a:pt x="7119" y="1659"/>
                  </a:lnTo>
                  <a:lnTo>
                    <a:pt x="7050" y="1797"/>
                  </a:lnTo>
                  <a:lnTo>
                    <a:pt x="6981" y="1935"/>
                  </a:lnTo>
                  <a:lnTo>
                    <a:pt x="6877" y="2073"/>
                  </a:lnTo>
                  <a:lnTo>
                    <a:pt x="6739" y="2212"/>
                  </a:lnTo>
                  <a:lnTo>
                    <a:pt x="6428" y="2419"/>
                  </a:lnTo>
                  <a:lnTo>
                    <a:pt x="6047" y="2626"/>
                  </a:lnTo>
                  <a:lnTo>
                    <a:pt x="5598" y="2799"/>
                  </a:lnTo>
                  <a:lnTo>
                    <a:pt x="5080" y="2972"/>
                  </a:lnTo>
                  <a:lnTo>
                    <a:pt x="4562" y="3110"/>
                  </a:lnTo>
                  <a:lnTo>
                    <a:pt x="4009" y="3214"/>
                  </a:lnTo>
                  <a:lnTo>
                    <a:pt x="2903" y="3387"/>
                  </a:lnTo>
                  <a:lnTo>
                    <a:pt x="1901" y="3490"/>
                  </a:lnTo>
                  <a:lnTo>
                    <a:pt x="518" y="3663"/>
                  </a:lnTo>
                  <a:lnTo>
                    <a:pt x="415" y="3698"/>
                  </a:lnTo>
                  <a:lnTo>
                    <a:pt x="346" y="3767"/>
                  </a:lnTo>
                  <a:lnTo>
                    <a:pt x="242" y="3905"/>
                  </a:lnTo>
                  <a:lnTo>
                    <a:pt x="173" y="4078"/>
                  </a:lnTo>
                  <a:lnTo>
                    <a:pt x="104" y="4250"/>
                  </a:lnTo>
                  <a:lnTo>
                    <a:pt x="35" y="4458"/>
                  </a:lnTo>
                  <a:lnTo>
                    <a:pt x="0" y="4700"/>
                  </a:lnTo>
                  <a:lnTo>
                    <a:pt x="0" y="4907"/>
                  </a:lnTo>
                  <a:lnTo>
                    <a:pt x="35" y="5149"/>
                  </a:lnTo>
                  <a:lnTo>
                    <a:pt x="104" y="5356"/>
                  </a:lnTo>
                  <a:lnTo>
                    <a:pt x="242" y="5564"/>
                  </a:lnTo>
                  <a:lnTo>
                    <a:pt x="415" y="5736"/>
                  </a:lnTo>
                  <a:lnTo>
                    <a:pt x="622" y="5909"/>
                  </a:lnTo>
                  <a:lnTo>
                    <a:pt x="899" y="6013"/>
                  </a:lnTo>
                  <a:lnTo>
                    <a:pt x="1244" y="6082"/>
                  </a:lnTo>
                  <a:lnTo>
                    <a:pt x="1659" y="6117"/>
                  </a:lnTo>
                  <a:lnTo>
                    <a:pt x="7084" y="6117"/>
                  </a:lnTo>
                  <a:lnTo>
                    <a:pt x="12648" y="6082"/>
                  </a:lnTo>
                  <a:lnTo>
                    <a:pt x="12821" y="6047"/>
                  </a:lnTo>
                  <a:lnTo>
                    <a:pt x="12993" y="6013"/>
                  </a:lnTo>
                  <a:lnTo>
                    <a:pt x="13132" y="5944"/>
                  </a:lnTo>
                  <a:lnTo>
                    <a:pt x="13270" y="5875"/>
                  </a:lnTo>
                  <a:lnTo>
                    <a:pt x="13408" y="5771"/>
                  </a:lnTo>
                  <a:lnTo>
                    <a:pt x="13512" y="5633"/>
                  </a:lnTo>
                  <a:lnTo>
                    <a:pt x="13581" y="5494"/>
                  </a:lnTo>
                  <a:lnTo>
                    <a:pt x="13650" y="5322"/>
                  </a:lnTo>
                  <a:lnTo>
                    <a:pt x="13788" y="4631"/>
                  </a:lnTo>
                  <a:lnTo>
                    <a:pt x="13892" y="3836"/>
                  </a:lnTo>
                  <a:lnTo>
                    <a:pt x="13926" y="2937"/>
                  </a:lnTo>
                  <a:lnTo>
                    <a:pt x="13961" y="2073"/>
                  </a:lnTo>
                  <a:lnTo>
                    <a:pt x="13926" y="1279"/>
                  </a:lnTo>
                  <a:lnTo>
                    <a:pt x="13823" y="622"/>
                  </a:lnTo>
                  <a:lnTo>
                    <a:pt x="13754" y="380"/>
                  </a:lnTo>
                  <a:lnTo>
                    <a:pt x="13684" y="173"/>
                  </a:lnTo>
                  <a:lnTo>
                    <a:pt x="13581" y="35"/>
                  </a:lnTo>
                  <a:lnTo>
                    <a:pt x="1347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" name="Google Shape;1529;p16">
              <a:extLst>
                <a:ext uri="{FF2B5EF4-FFF2-40B4-BE49-F238E27FC236}">
                  <a16:creationId xmlns:a16="http://schemas.microsoft.com/office/drawing/2014/main" id="{8C4B5494-27F8-1CB8-BC8F-39D273CB371E}"/>
                </a:ext>
              </a:extLst>
            </p:cNvPr>
            <p:cNvSpPr/>
            <p:nvPr/>
          </p:nvSpPr>
          <p:spPr>
            <a:xfrm>
              <a:off x="6238425" y="4358975"/>
              <a:ext cx="118400" cy="213400"/>
            </a:xfrm>
            <a:custGeom>
              <a:avLst/>
              <a:gdLst/>
              <a:ahLst/>
              <a:cxnLst/>
              <a:rect l="l" t="t" r="r" b="b"/>
              <a:pathLst>
                <a:path w="4736" h="8536" extrusionOk="0">
                  <a:moveTo>
                    <a:pt x="4735" y="0"/>
                  </a:moveTo>
                  <a:lnTo>
                    <a:pt x="36" y="207"/>
                  </a:lnTo>
                  <a:lnTo>
                    <a:pt x="1" y="2557"/>
                  </a:lnTo>
                  <a:lnTo>
                    <a:pt x="36" y="4561"/>
                  </a:lnTo>
                  <a:lnTo>
                    <a:pt x="70" y="5460"/>
                  </a:lnTo>
                  <a:lnTo>
                    <a:pt x="105" y="6220"/>
                  </a:lnTo>
                  <a:lnTo>
                    <a:pt x="1418" y="8535"/>
                  </a:lnTo>
                  <a:lnTo>
                    <a:pt x="4528" y="6462"/>
                  </a:lnTo>
                  <a:lnTo>
                    <a:pt x="473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" name="Google Shape;1530;p16">
              <a:extLst>
                <a:ext uri="{FF2B5EF4-FFF2-40B4-BE49-F238E27FC236}">
                  <a16:creationId xmlns:a16="http://schemas.microsoft.com/office/drawing/2014/main" id="{DEE27466-D6DF-BFB1-D66A-759BC60D6852}"/>
                </a:ext>
              </a:extLst>
            </p:cNvPr>
            <p:cNvSpPr/>
            <p:nvPr/>
          </p:nvSpPr>
          <p:spPr>
            <a:xfrm>
              <a:off x="6019000" y="4457450"/>
              <a:ext cx="349050" cy="171950"/>
            </a:xfrm>
            <a:custGeom>
              <a:avLst/>
              <a:gdLst/>
              <a:ahLst/>
              <a:cxnLst/>
              <a:rect l="l" t="t" r="r" b="b"/>
              <a:pathLst>
                <a:path w="13962" h="6878" extrusionOk="0">
                  <a:moveTo>
                    <a:pt x="13547" y="0"/>
                  </a:moveTo>
                  <a:lnTo>
                    <a:pt x="13167" y="70"/>
                  </a:lnTo>
                  <a:lnTo>
                    <a:pt x="12717" y="104"/>
                  </a:lnTo>
                  <a:lnTo>
                    <a:pt x="11508" y="173"/>
                  </a:lnTo>
                  <a:lnTo>
                    <a:pt x="10022" y="242"/>
                  </a:lnTo>
                  <a:lnTo>
                    <a:pt x="8398" y="346"/>
                  </a:lnTo>
                  <a:lnTo>
                    <a:pt x="8225" y="381"/>
                  </a:lnTo>
                  <a:lnTo>
                    <a:pt x="8087" y="450"/>
                  </a:lnTo>
                  <a:lnTo>
                    <a:pt x="8018" y="553"/>
                  </a:lnTo>
                  <a:lnTo>
                    <a:pt x="7949" y="692"/>
                  </a:lnTo>
                  <a:lnTo>
                    <a:pt x="7880" y="1072"/>
                  </a:lnTo>
                  <a:lnTo>
                    <a:pt x="7776" y="1555"/>
                  </a:lnTo>
                  <a:lnTo>
                    <a:pt x="7741" y="1694"/>
                  </a:lnTo>
                  <a:lnTo>
                    <a:pt x="7638" y="1867"/>
                  </a:lnTo>
                  <a:lnTo>
                    <a:pt x="7534" y="2005"/>
                  </a:lnTo>
                  <a:lnTo>
                    <a:pt x="7396" y="2143"/>
                  </a:lnTo>
                  <a:lnTo>
                    <a:pt x="7050" y="2419"/>
                  </a:lnTo>
                  <a:lnTo>
                    <a:pt x="6601" y="2661"/>
                  </a:lnTo>
                  <a:lnTo>
                    <a:pt x="6117" y="2903"/>
                  </a:lnTo>
                  <a:lnTo>
                    <a:pt x="5564" y="3145"/>
                  </a:lnTo>
                  <a:lnTo>
                    <a:pt x="4942" y="3352"/>
                  </a:lnTo>
                  <a:lnTo>
                    <a:pt x="4355" y="3525"/>
                  </a:lnTo>
                  <a:lnTo>
                    <a:pt x="3111" y="3871"/>
                  </a:lnTo>
                  <a:lnTo>
                    <a:pt x="1970" y="4113"/>
                  </a:lnTo>
                  <a:lnTo>
                    <a:pt x="1072" y="4320"/>
                  </a:lnTo>
                  <a:lnTo>
                    <a:pt x="484" y="4424"/>
                  </a:lnTo>
                  <a:lnTo>
                    <a:pt x="415" y="4458"/>
                  </a:lnTo>
                  <a:lnTo>
                    <a:pt x="312" y="4527"/>
                  </a:lnTo>
                  <a:lnTo>
                    <a:pt x="208" y="4666"/>
                  </a:lnTo>
                  <a:lnTo>
                    <a:pt x="139" y="4838"/>
                  </a:lnTo>
                  <a:lnTo>
                    <a:pt x="70" y="5011"/>
                  </a:lnTo>
                  <a:lnTo>
                    <a:pt x="1" y="5218"/>
                  </a:lnTo>
                  <a:lnTo>
                    <a:pt x="1" y="5460"/>
                  </a:lnTo>
                  <a:lnTo>
                    <a:pt x="1" y="5668"/>
                  </a:lnTo>
                  <a:lnTo>
                    <a:pt x="35" y="5910"/>
                  </a:lnTo>
                  <a:lnTo>
                    <a:pt x="104" y="6117"/>
                  </a:lnTo>
                  <a:lnTo>
                    <a:pt x="208" y="6324"/>
                  </a:lnTo>
                  <a:lnTo>
                    <a:pt x="381" y="6497"/>
                  </a:lnTo>
                  <a:lnTo>
                    <a:pt x="623" y="6670"/>
                  </a:lnTo>
                  <a:lnTo>
                    <a:pt x="899" y="6774"/>
                  </a:lnTo>
                  <a:lnTo>
                    <a:pt x="1245" y="6843"/>
                  </a:lnTo>
                  <a:lnTo>
                    <a:pt x="1659" y="6877"/>
                  </a:lnTo>
                  <a:lnTo>
                    <a:pt x="7085" y="6808"/>
                  </a:lnTo>
                  <a:lnTo>
                    <a:pt x="12648" y="6739"/>
                  </a:lnTo>
                  <a:lnTo>
                    <a:pt x="12821" y="6704"/>
                  </a:lnTo>
                  <a:lnTo>
                    <a:pt x="12994" y="6670"/>
                  </a:lnTo>
                  <a:lnTo>
                    <a:pt x="13132" y="6601"/>
                  </a:lnTo>
                  <a:lnTo>
                    <a:pt x="13270" y="6532"/>
                  </a:lnTo>
                  <a:lnTo>
                    <a:pt x="13409" y="6393"/>
                  </a:lnTo>
                  <a:lnTo>
                    <a:pt x="13512" y="6290"/>
                  </a:lnTo>
                  <a:lnTo>
                    <a:pt x="13581" y="6117"/>
                  </a:lnTo>
                  <a:lnTo>
                    <a:pt x="13650" y="5979"/>
                  </a:lnTo>
                  <a:lnTo>
                    <a:pt x="13789" y="5253"/>
                  </a:lnTo>
                  <a:lnTo>
                    <a:pt x="13892" y="4389"/>
                  </a:lnTo>
                  <a:lnTo>
                    <a:pt x="13961" y="3387"/>
                  </a:lnTo>
                  <a:lnTo>
                    <a:pt x="13961" y="2419"/>
                  </a:lnTo>
                  <a:lnTo>
                    <a:pt x="13961" y="1486"/>
                  </a:lnTo>
                  <a:lnTo>
                    <a:pt x="13892" y="726"/>
                  </a:lnTo>
                  <a:lnTo>
                    <a:pt x="13823" y="450"/>
                  </a:lnTo>
                  <a:lnTo>
                    <a:pt x="13754" y="208"/>
                  </a:lnTo>
                  <a:lnTo>
                    <a:pt x="13650" y="70"/>
                  </a:lnTo>
                  <a:lnTo>
                    <a:pt x="13616" y="35"/>
                  </a:lnTo>
                  <a:lnTo>
                    <a:pt x="1354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" name="Google Shape;1531;p16">
              <a:extLst>
                <a:ext uri="{FF2B5EF4-FFF2-40B4-BE49-F238E27FC236}">
                  <a16:creationId xmlns:a16="http://schemas.microsoft.com/office/drawing/2014/main" id="{708A1192-1D01-5C01-BD48-48B9CAB17369}"/>
                </a:ext>
              </a:extLst>
            </p:cNvPr>
            <p:cNvSpPr/>
            <p:nvPr/>
          </p:nvSpPr>
          <p:spPr>
            <a:xfrm>
              <a:off x="5740825" y="2709750"/>
              <a:ext cx="672150" cy="1752050"/>
            </a:xfrm>
            <a:custGeom>
              <a:avLst/>
              <a:gdLst/>
              <a:ahLst/>
              <a:cxnLst/>
              <a:rect l="l" t="t" r="r" b="b"/>
              <a:pathLst>
                <a:path w="26886" h="70082" extrusionOk="0">
                  <a:moveTo>
                    <a:pt x="17210" y="1"/>
                  </a:moveTo>
                  <a:lnTo>
                    <a:pt x="16277" y="35"/>
                  </a:lnTo>
                  <a:lnTo>
                    <a:pt x="14445" y="174"/>
                  </a:lnTo>
                  <a:lnTo>
                    <a:pt x="12648" y="346"/>
                  </a:lnTo>
                  <a:lnTo>
                    <a:pt x="10989" y="554"/>
                  </a:lnTo>
                  <a:lnTo>
                    <a:pt x="9504" y="796"/>
                  </a:lnTo>
                  <a:lnTo>
                    <a:pt x="8225" y="1003"/>
                  </a:lnTo>
                  <a:lnTo>
                    <a:pt x="7257" y="1176"/>
                  </a:lnTo>
                  <a:lnTo>
                    <a:pt x="6428" y="1349"/>
                  </a:lnTo>
                  <a:lnTo>
                    <a:pt x="5910" y="4942"/>
                  </a:lnTo>
                  <a:lnTo>
                    <a:pt x="5149" y="9849"/>
                  </a:lnTo>
                  <a:lnTo>
                    <a:pt x="3283" y="21668"/>
                  </a:lnTo>
                  <a:lnTo>
                    <a:pt x="1486" y="32657"/>
                  </a:lnTo>
                  <a:lnTo>
                    <a:pt x="484" y="38600"/>
                  </a:lnTo>
                  <a:lnTo>
                    <a:pt x="415" y="39050"/>
                  </a:lnTo>
                  <a:lnTo>
                    <a:pt x="346" y="39602"/>
                  </a:lnTo>
                  <a:lnTo>
                    <a:pt x="242" y="41054"/>
                  </a:lnTo>
                  <a:lnTo>
                    <a:pt x="139" y="42885"/>
                  </a:lnTo>
                  <a:lnTo>
                    <a:pt x="104" y="45028"/>
                  </a:lnTo>
                  <a:lnTo>
                    <a:pt x="1" y="49935"/>
                  </a:lnTo>
                  <a:lnTo>
                    <a:pt x="1" y="55187"/>
                  </a:lnTo>
                  <a:lnTo>
                    <a:pt x="35" y="60267"/>
                  </a:lnTo>
                  <a:lnTo>
                    <a:pt x="70" y="64587"/>
                  </a:lnTo>
                  <a:lnTo>
                    <a:pt x="104" y="68734"/>
                  </a:lnTo>
                  <a:lnTo>
                    <a:pt x="312" y="69045"/>
                  </a:lnTo>
                  <a:lnTo>
                    <a:pt x="588" y="69321"/>
                  </a:lnTo>
                  <a:lnTo>
                    <a:pt x="934" y="69528"/>
                  </a:lnTo>
                  <a:lnTo>
                    <a:pt x="1279" y="69736"/>
                  </a:lnTo>
                  <a:lnTo>
                    <a:pt x="1694" y="69874"/>
                  </a:lnTo>
                  <a:lnTo>
                    <a:pt x="2143" y="69978"/>
                  </a:lnTo>
                  <a:lnTo>
                    <a:pt x="2592" y="70047"/>
                  </a:lnTo>
                  <a:lnTo>
                    <a:pt x="3111" y="70081"/>
                  </a:lnTo>
                  <a:lnTo>
                    <a:pt x="3594" y="70081"/>
                  </a:lnTo>
                  <a:lnTo>
                    <a:pt x="4113" y="70012"/>
                  </a:lnTo>
                  <a:lnTo>
                    <a:pt x="4631" y="69943"/>
                  </a:lnTo>
                  <a:lnTo>
                    <a:pt x="5115" y="69839"/>
                  </a:lnTo>
                  <a:lnTo>
                    <a:pt x="5633" y="69701"/>
                  </a:lnTo>
                  <a:lnTo>
                    <a:pt x="6082" y="69528"/>
                  </a:lnTo>
                  <a:lnTo>
                    <a:pt x="6566" y="69321"/>
                  </a:lnTo>
                  <a:lnTo>
                    <a:pt x="6981" y="69114"/>
                  </a:lnTo>
                  <a:lnTo>
                    <a:pt x="7050" y="68975"/>
                  </a:lnTo>
                  <a:lnTo>
                    <a:pt x="7085" y="68734"/>
                  </a:lnTo>
                  <a:lnTo>
                    <a:pt x="7188" y="67939"/>
                  </a:lnTo>
                  <a:lnTo>
                    <a:pt x="7257" y="66764"/>
                  </a:lnTo>
                  <a:lnTo>
                    <a:pt x="7292" y="65278"/>
                  </a:lnTo>
                  <a:lnTo>
                    <a:pt x="7326" y="61477"/>
                  </a:lnTo>
                  <a:lnTo>
                    <a:pt x="7396" y="56915"/>
                  </a:lnTo>
                  <a:lnTo>
                    <a:pt x="7465" y="52043"/>
                  </a:lnTo>
                  <a:lnTo>
                    <a:pt x="7568" y="49589"/>
                  </a:lnTo>
                  <a:lnTo>
                    <a:pt x="7672" y="47205"/>
                  </a:lnTo>
                  <a:lnTo>
                    <a:pt x="7810" y="44924"/>
                  </a:lnTo>
                  <a:lnTo>
                    <a:pt x="8018" y="42816"/>
                  </a:lnTo>
                  <a:lnTo>
                    <a:pt x="8121" y="41814"/>
                  </a:lnTo>
                  <a:lnTo>
                    <a:pt x="8259" y="40881"/>
                  </a:lnTo>
                  <a:lnTo>
                    <a:pt x="8398" y="40017"/>
                  </a:lnTo>
                  <a:lnTo>
                    <a:pt x="8536" y="39222"/>
                  </a:lnTo>
                  <a:lnTo>
                    <a:pt x="9020" y="37218"/>
                  </a:lnTo>
                  <a:lnTo>
                    <a:pt x="9573" y="35076"/>
                  </a:lnTo>
                  <a:lnTo>
                    <a:pt x="10195" y="32829"/>
                  </a:lnTo>
                  <a:lnTo>
                    <a:pt x="10886" y="30618"/>
                  </a:lnTo>
                  <a:lnTo>
                    <a:pt x="11542" y="28441"/>
                  </a:lnTo>
                  <a:lnTo>
                    <a:pt x="12233" y="26367"/>
                  </a:lnTo>
                  <a:lnTo>
                    <a:pt x="13408" y="22808"/>
                  </a:lnTo>
                  <a:lnTo>
                    <a:pt x="14203" y="20493"/>
                  </a:lnTo>
                  <a:lnTo>
                    <a:pt x="14549" y="19594"/>
                  </a:lnTo>
                  <a:lnTo>
                    <a:pt x="15620" y="26989"/>
                  </a:lnTo>
                  <a:lnTo>
                    <a:pt x="16000" y="29477"/>
                  </a:lnTo>
                  <a:lnTo>
                    <a:pt x="16277" y="31516"/>
                  </a:lnTo>
                  <a:lnTo>
                    <a:pt x="16518" y="33486"/>
                  </a:lnTo>
                  <a:lnTo>
                    <a:pt x="16691" y="35559"/>
                  </a:lnTo>
                  <a:lnTo>
                    <a:pt x="16864" y="38117"/>
                  </a:lnTo>
                  <a:lnTo>
                    <a:pt x="17037" y="41434"/>
                  </a:lnTo>
                  <a:lnTo>
                    <a:pt x="17486" y="50799"/>
                  </a:lnTo>
                  <a:lnTo>
                    <a:pt x="17866" y="59334"/>
                  </a:lnTo>
                  <a:lnTo>
                    <a:pt x="18246" y="67939"/>
                  </a:lnTo>
                  <a:lnTo>
                    <a:pt x="19352" y="68181"/>
                  </a:lnTo>
                  <a:lnTo>
                    <a:pt x="20320" y="68353"/>
                  </a:lnTo>
                  <a:lnTo>
                    <a:pt x="21184" y="68492"/>
                  </a:lnTo>
                  <a:lnTo>
                    <a:pt x="21978" y="68561"/>
                  </a:lnTo>
                  <a:lnTo>
                    <a:pt x="22739" y="68561"/>
                  </a:lnTo>
                  <a:lnTo>
                    <a:pt x="23084" y="68492"/>
                  </a:lnTo>
                  <a:lnTo>
                    <a:pt x="23464" y="68457"/>
                  </a:lnTo>
                  <a:lnTo>
                    <a:pt x="23844" y="68353"/>
                  </a:lnTo>
                  <a:lnTo>
                    <a:pt x="24225" y="68250"/>
                  </a:lnTo>
                  <a:lnTo>
                    <a:pt x="24605" y="68112"/>
                  </a:lnTo>
                  <a:lnTo>
                    <a:pt x="25019" y="67939"/>
                  </a:lnTo>
                  <a:lnTo>
                    <a:pt x="25054" y="66315"/>
                  </a:lnTo>
                  <a:lnTo>
                    <a:pt x="25123" y="63619"/>
                  </a:lnTo>
                  <a:lnTo>
                    <a:pt x="25296" y="56155"/>
                  </a:lnTo>
                  <a:lnTo>
                    <a:pt x="25399" y="51939"/>
                  </a:lnTo>
                  <a:lnTo>
                    <a:pt x="25469" y="47792"/>
                  </a:lnTo>
                  <a:lnTo>
                    <a:pt x="25503" y="44026"/>
                  </a:lnTo>
                  <a:lnTo>
                    <a:pt x="25469" y="42332"/>
                  </a:lnTo>
                  <a:lnTo>
                    <a:pt x="25469" y="40847"/>
                  </a:lnTo>
                  <a:lnTo>
                    <a:pt x="25434" y="39430"/>
                  </a:lnTo>
                  <a:lnTo>
                    <a:pt x="25434" y="37909"/>
                  </a:lnTo>
                  <a:lnTo>
                    <a:pt x="25469" y="34730"/>
                  </a:lnTo>
                  <a:lnTo>
                    <a:pt x="25572" y="31447"/>
                  </a:lnTo>
                  <a:lnTo>
                    <a:pt x="25745" y="28199"/>
                  </a:lnTo>
                  <a:lnTo>
                    <a:pt x="25952" y="25123"/>
                  </a:lnTo>
                  <a:lnTo>
                    <a:pt x="26125" y="22393"/>
                  </a:lnTo>
                  <a:lnTo>
                    <a:pt x="26332" y="20113"/>
                  </a:lnTo>
                  <a:lnTo>
                    <a:pt x="26505" y="18454"/>
                  </a:lnTo>
                  <a:lnTo>
                    <a:pt x="26643" y="17141"/>
                  </a:lnTo>
                  <a:lnTo>
                    <a:pt x="26747" y="15931"/>
                  </a:lnTo>
                  <a:lnTo>
                    <a:pt x="26816" y="14895"/>
                  </a:lnTo>
                  <a:lnTo>
                    <a:pt x="26851" y="13893"/>
                  </a:lnTo>
                  <a:lnTo>
                    <a:pt x="26885" y="12165"/>
                  </a:lnTo>
                  <a:lnTo>
                    <a:pt x="26851" y="10644"/>
                  </a:lnTo>
                  <a:lnTo>
                    <a:pt x="26782" y="9297"/>
                  </a:lnTo>
                  <a:lnTo>
                    <a:pt x="26713" y="7776"/>
                  </a:lnTo>
                  <a:lnTo>
                    <a:pt x="26713" y="7016"/>
                  </a:lnTo>
                  <a:lnTo>
                    <a:pt x="26713" y="6256"/>
                  </a:lnTo>
                  <a:lnTo>
                    <a:pt x="26678" y="5046"/>
                  </a:lnTo>
                  <a:lnTo>
                    <a:pt x="26609" y="3768"/>
                  </a:lnTo>
                  <a:lnTo>
                    <a:pt x="26574" y="3456"/>
                  </a:lnTo>
                  <a:lnTo>
                    <a:pt x="26505" y="3180"/>
                  </a:lnTo>
                  <a:lnTo>
                    <a:pt x="26402" y="2904"/>
                  </a:lnTo>
                  <a:lnTo>
                    <a:pt x="26263" y="2627"/>
                  </a:lnTo>
                  <a:lnTo>
                    <a:pt x="26125" y="2385"/>
                  </a:lnTo>
                  <a:lnTo>
                    <a:pt x="25952" y="2143"/>
                  </a:lnTo>
                  <a:lnTo>
                    <a:pt x="25780" y="1936"/>
                  </a:lnTo>
                  <a:lnTo>
                    <a:pt x="25572" y="1729"/>
                  </a:lnTo>
                  <a:lnTo>
                    <a:pt x="25330" y="1556"/>
                  </a:lnTo>
                  <a:lnTo>
                    <a:pt x="25088" y="1383"/>
                  </a:lnTo>
                  <a:lnTo>
                    <a:pt x="24501" y="1038"/>
                  </a:lnTo>
                  <a:lnTo>
                    <a:pt x="23879" y="796"/>
                  </a:lnTo>
                  <a:lnTo>
                    <a:pt x="23188" y="554"/>
                  </a:lnTo>
                  <a:lnTo>
                    <a:pt x="22462" y="381"/>
                  </a:lnTo>
                  <a:lnTo>
                    <a:pt x="21667" y="243"/>
                  </a:lnTo>
                  <a:lnTo>
                    <a:pt x="20838" y="139"/>
                  </a:lnTo>
                  <a:lnTo>
                    <a:pt x="19940" y="70"/>
                  </a:lnTo>
                  <a:lnTo>
                    <a:pt x="19076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" name="Google Shape;1532;p16">
              <a:extLst>
                <a:ext uri="{FF2B5EF4-FFF2-40B4-BE49-F238E27FC236}">
                  <a16:creationId xmlns:a16="http://schemas.microsoft.com/office/drawing/2014/main" id="{394633C0-083A-BAA1-D92A-542CECE6776D}"/>
                </a:ext>
              </a:extLst>
            </p:cNvPr>
            <p:cNvSpPr/>
            <p:nvPr/>
          </p:nvSpPr>
          <p:spPr>
            <a:xfrm>
              <a:off x="5740825" y="2709750"/>
              <a:ext cx="672150" cy="1752050"/>
            </a:xfrm>
            <a:custGeom>
              <a:avLst/>
              <a:gdLst/>
              <a:ahLst/>
              <a:cxnLst/>
              <a:rect l="l" t="t" r="r" b="b"/>
              <a:pathLst>
                <a:path w="26886" h="70082" fill="none" extrusionOk="0">
                  <a:moveTo>
                    <a:pt x="26747" y="15931"/>
                  </a:moveTo>
                  <a:lnTo>
                    <a:pt x="26747" y="15931"/>
                  </a:lnTo>
                  <a:lnTo>
                    <a:pt x="26643" y="17141"/>
                  </a:lnTo>
                  <a:lnTo>
                    <a:pt x="26505" y="18454"/>
                  </a:lnTo>
                  <a:lnTo>
                    <a:pt x="26505" y="18454"/>
                  </a:lnTo>
                  <a:lnTo>
                    <a:pt x="26332" y="20113"/>
                  </a:lnTo>
                  <a:lnTo>
                    <a:pt x="26125" y="22393"/>
                  </a:lnTo>
                  <a:lnTo>
                    <a:pt x="25952" y="25123"/>
                  </a:lnTo>
                  <a:lnTo>
                    <a:pt x="25745" y="28199"/>
                  </a:lnTo>
                  <a:lnTo>
                    <a:pt x="25572" y="31447"/>
                  </a:lnTo>
                  <a:lnTo>
                    <a:pt x="25469" y="34730"/>
                  </a:lnTo>
                  <a:lnTo>
                    <a:pt x="25434" y="37909"/>
                  </a:lnTo>
                  <a:lnTo>
                    <a:pt x="25434" y="39430"/>
                  </a:lnTo>
                  <a:lnTo>
                    <a:pt x="25469" y="40847"/>
                  </a:lnTo>
                  <a:lnTo>
                    <a:pt x="25469" y="40847"/>
                  </a:lnTo>
                  <a:lnTo>
                    <a:pt x="25469" y="42332"/>
                  </a:lnTo>
                  <a:lnTo>
                    <a:pt x="25503" y="44026"/>
                  </a:lnTo>
                  <a:lnTo>
                    <a:pt x="25469" y="47792"/>
                  </a:lnTo>
                  <a:lnTo>
                    <a:pt x="25399" y="51939"/>
                  </a:lnTo>
                  <a:lnTo>
                    <a:pt x="25296" y="56155"/>
                  </a:lnTo>
                  <a:lnTo>
                    <a:pt x="25123" y="63619"/>
                  </a:lnTo>
                  <a:lnTo>
                    <a:pt x="25054" y="66315"/>
                  </a:lnTo>
                  <a:lnTo>
                    <a:pt x="25019" y="67939"/>
                  </a:lnTo>
                  <a:lnTo>
                    <a:pt x="25019" y="67939"/>
                  </a:lnTo>
                  <a:lnTo>
                    <a:pt x="24605" y="68112"/>
                  </a:lnTo>
                  <a:lnTo>
                    <a:pt x="24225" y="68250"/>
                  </a:lnTo>
                  <a:lnTo>
                    <a:pt x="23844" y="68353"/>
                  </a:lnTo>
                  <a:lnTo>
                    <a:pt x="23464" y="68457"/>
                  </a:lnTo>
                  <a:lnTo>
                    <a:pt x="23084" y="68492"/>
                  </a:lnTo>
                  <a:lnTo>
                    <a:pt x="22739" y="68561"/>
                  </a:lnTo>
                  <a:lnTo>
                    <a:pt x="22358" y="68561"/>
                  </a:lnTo>
                  <a:lnTo>
                    <a:pt x="21978" y="68561"/>
                  </a:lnTo>
                  <a:lnTo>
                    <a:pt x="21184" y="68492"/>
                  </a:lnTo>
                  <a:lnTo>
                    <a:pt x="20320" y="68353"/>
                  </a:lnTo>
                  <a:lnTo>
                    <a:pt x="19352" y="68181"/>
                  </a:lnTo>
                  <a:lnTo>
                    <a:pt x="18246" y="67939"/>
                  </a:lnTo>
                  <a:lnTo>
                    <a:pt x="18246" y="67939"/>
                  </a:lnTo>
                  <a:lnTo>
                    <a:pt x="17866" y="59334"/>
                  </a:lnTo>
                  <a:lnTo>
                    <a:pt x="17486" y="50799"/>
                  </a:lnTo>
                  <a:lnTo>
                    <a:pt x="17037" y="41434"/>
                  </a:lnTo>
                  <a:lnTo>
                    <a:pt x="17037" y="41434"/>
                  </a:lnTo>
                  <a:lnTo>
                    <a:pt x="16864" y="38117"/>
                  </a:lnTo>
                  <a:lnTo>
                    <a:pt x="16691" y="35559"/>
                  </a:lnTo>
                  <a:lnTo>
                    <a:pt x="16518" y="33486"/>
                  </a:lnTo>
                  <a:lnTo>
                    <a:pt x="16277" y="31516"/>
                  </a:lnTo>
                  <a:lnTo>
                    <a:pt x="16000" y="29477"/>
                  </a:lnTo>
                  <a:lnTo>
                    <a:pt x="15620" y="26989"/>
                  </a:lnTo>
                  <a:lnTo>
                    <a:pt x="14549" y="19594"/>
                  </a:lnTo>
                  <a:lnTo>
                    <a:pt x="14549" y="19594"/>
                  </a:lnTo>
                  <a:lnTo>
                    <a:pt x="14549" y="19594"/>
                  </a:lnTo>
                  <a:lnTo>
                    <a:pt x="14203" y="20493"/>
                  </a:lnTo>
                  <a:lnTo>
                    <a:pt x="13408" y="22808"/>
                  </a:lnTo>
                  <a:lnTo>
                    <a:pt x="13408" y="22808"/>
                  </a:lnTo>
                  <a:lnTo>
                    <a:pt x="12233" y="26367"/>
                  </a:lnTo>
                  <a:lnTo>
                    <a:pt x="11542" y="28441"/>
                  </a:lnTo>
                  <a:lnTo>
                    <a:pt x="10886" y="30618"/>
                  </a:lnTo>
                  <a:lnTo>
                    <a:pt x="10195" y="32829"/>
                  </a:lnTo>
                  <a:lnTo>
                    <a:pt x="9573" y="35076"/>
                  </a:lnTo>
                  <a:lnTo>
                    <a:pt x="9020" y="37218"/>
                  </a:lnTo>
                  <a:lnTo>
                    <a:pt x="8536" y="39222"/>
                  </a:lnTo>
                  <a:lnTo>
                    <a:pt x="8536" y="39222"/>
                  </a:lnTo>
                  <a:lnTo>
                    <a:pt x="8398" y="40017"/>
                  </a:lnTo>
                  <a:lnTo>
                    <a:pt x="8259" y="40881"/>
                  </a:lnTo>
                  <a:lnTo>
                    <a:pt x="8121" y="41814"/>
                  </a:lnTo>
                  <a:lnTo>
                    <a:pt x="8018" y="42816"/>
                  </a:lnTo>
                  <a:lnTo>
                    <a:pt x="7810" y="44924"/>
                  </a:lnTo>
                  <a:lnTo>
                    <a:pt x="7672" y="47205"/>
                  </a:lnTo>
                  <a:lnTo>
                    <a:pt x="7568" y="49589"/>
                  </a:lnTo>
                  <a:lnTo>
                    <a:pt x="7465" y="52043"/>
                  </a:lnTo>
                  <a:lnTo>
                    <a:pt x="7396" y="56915"/>
                  </a:lnTo>
                  <a:lnTo>
                    <a:pt x="7326" y="61477"/>
                  </a:lnTo>
                  <a:lnTo>
                    <a:pt x="7292" y="65278"/>
                  </a:lnTo>
                  <a:lnTo>
                    <a:pt x="7257" y="66764"/>
                  </a:lnTo>
                  <a:lnTo>
                    <a:pt x="7188" y="67939"/>
                  </a:lnTo>
                  <a:lnTo>
                    <a:pt x="7085" y="68734"/>
                  </a:lnTo>
                  <a:lnTo>
                    <a:pt x="7050" y="68975"/>
                  </a:lnTo>
                  <a:lnTo>
                    <a:pt x="6981" y="69114"/>
                  </a:lnTo>
                  <a:lnTo>
                    <a:pt x="6981" y="69114"/>
                  </a:lnTo>
                  <a:lnTo>
                    <a:pt x="6566" y="69321"/>
                  </a:lnTo>
                  <a:lnTo>
                    <a:pt x="6082" y="69528"/>
                  </a:lnTo>
                  <a:lnTo>
                    <a:pt x="5633" y="69701"/>
                  </a:lnTo>
                  <a:lnTo>
                    <a:pt x="5115" y="69839"/>
                  </a:lnTo>
                  <a:lnTo>
                    <a:pt x="4631" y="69943"/>
                  </a:lnTo>
                  <a:lnTo>
                    <a:pt x="4113" y="70012"/>
                  </a:lnTo>
                  <a:lnTo>
                    <a:pt x="3594" y="70081"/>
                  </a:lnTo>
                  <a:lnTo>
                    <a:pt x="3111" y="70081"/>
                  </a:lnTo>
                  <a:lnTo>
                    <a:pt x="2592" y="70047"/>
                  </a:lnTo>
                  <a:lnTo>
                    <a:pt x="2143" y="69978"/>
                  </a:lnTo>
                  <a:lnTo>
                    <a:pt x="1694" y="69874"/>
                  </a:lnTo>
                  <a:lnTo>
                    <a:pt x="1279" y="69736"/>
                  </a:lnTo>
                  <a:lnTo>
                    <a:pt x="934" y="69528"/>
                  </a:lnTo>
                  <a:lnTo>
                    <a:pt x="588" y="69321"/>
                  </a:lnTo>
                  <a:lnTo>
                    <a:pt x="312" y="69045"/>
                  </a:lnTo>
                  <a:lnTo>
                    <a:pt x="104" y="68734"/>
                  </a:lnTo>
                  <a:lnTo>
                    <a:pt x="104" y="68734"/>
                  </a:lnTo>
                  <a:lnTo>
                    <a:pt x="70" y="64587"/>
                  </a:lnTo>
                  <a:lnTo>
                    <a:pt x="35" y="60267"/>
                  </a:lnTo>
                  <a:lnTo>
                    <a:pt x="1" y="55187"/>
                  </a:lnTo>
                  <a:lnTo>
                    <a:pt x="1" y="49935"/>
                  </a:lnTo>
                  <a:lnTo>
                    <a:pt x="104" y="45028"/>
                  </a:lnTo>
                  <a:lnTo>
                    <a:pt x="139" y="42885"/>
                  </a:lnTo>
                  <a:lnTo>
                    <a:pt x="242" y="41054"/>
                  </a:lnTo>
                  <a:lnTo>
                    <a:pt x="346" y="39602"/>
                  </a:lnTo>
                  <a:lnTo>
                    <a:pt x="415" y="39050"/>
                  </a:lnTo>
                  <a:lnTo>
                    <a:pt x="484" y="38600"/>
                  </a:lnTo>
                  <a:lnTo>
                    <a:pt x="484" y="38600"/>
                  </a:lnTo>
                  <a:lnTo>
                    <a:pt x="1486" y="32657"/>
                  </a:lnTo>
                  <a:lnTo>
                    <a:pt x="3283" y="21668"/>
                  </a:lnTo>
                  <a:lnTo>
                    <a:pt x="5149" y="9849"/>
                  </a:lnTo>
                  <a:lnTo>
                    <a:pt x="5910" y="4942"/>
                  </a:lnTo>
                  <a:lnTo>
                    <a:pt x="6428" y="1349"/>
                  </a:lnTo>
                  <a:lnTo>
                    <a:pt x="6428" y="1349"/>
                  </a:lnTo>
                  <a:lnTo>
                    <a:pt x="7257" y="1176"/>
                  </a:lnTo>
                  <a:lnTo>
                    <a:pt x="8225" y="1003"/>
                  </a:lnTo>
                  <a:lnTo>
                    <a:pt x="9504" y="796"/>
                  </a:lnTo>
                  <a:lnTo>
                    <a:pt x="10989" y="554"/>
                  </a:lnTo>
                  <a:lnTo>
                    <a:pt x="12648" y="346"/>
                  </a:lnTo>
                  <a:lnTo>
                    <a:pt x="14445" y="174"/>
                  </a:lnTo>
                  <a:lnTo>
                    <a:pt x="16277" y="35"/>
                  </a:lnTo>
                  <a:lnTo>
                    <a:pt x="17210" y="1"/>
                  </a:lnTo>
                  <a:lnTo>
                    <a:pt x="18143" y="1"/>
                  </a:lnTo>
                  <a:lnTo>
                    <a:pt x="19076" y="1"/>
                  </a:lnTo>
                  <a:lnTo>
                    <a:pt x="19940" y="70"/>
                  </a:lnTo>
                  <a:lnTo>
                    <a:pt x="20838" y="139"/>
                  </a:lnTo>
                  <a:lnTo>
                    <a:pt x="21667" y="243"/>
                  </a:lnTo>
                  <a:lnTo>
                    <a:pt x="22462" y="381"/>
                  </a:lnTo>
                  <a:lnTo>
                    <a:pt x="23188" y="554"/>
                  </a:lnTo>
                  <a:lnTo>
                    <a:pt x="23879" y="796"/>
                  </a:lnTo>
                  <a:lnTo>
                    <a:pt x="24501" y="1038"/>
                  </a:lnTo>
                  <a:lnTo>
                    <a:pt x="25088" y="1383"/>
                  </a:lnTo>
                  <a:lnTo>
                    <a:pt x="25330" y="1556"/>
                  </a:lnTo>
                  <a:lnTo>
                    <a:pt x="25572" y="1729"/>
                  </a:lnTo>
                  <a:lnTo>
                    <a:pt x="25780" y="1936"/>
                  </a:lnTo>
                  <a:lnTo>
                    <a:pt x="25952" y="2143"/>
                  </a:lnTo>
                  <a:lnTo>
                    <a:pt x="26125" y="2385"/>
                  </a:lnTo>
                  <a:lnTo>
                    <a:pt x="26263" y="2627"/>
                  </a:lnTo>
                  <a:lnTo>
                    <a:pt x="26402" y="2904"/>
                  </a:lnTo>
                  <a:lnTo>
                    <a:pt x="26505" y="3180"/>
                  </a:lnTo>
                  <a:lnTo>
                    <a:pt x="26574" y="3456"/>
                  </a:lnTo>
                  <a:lnTo>
                    <a:pt x="26609" y="3768"/>
                  </a:lnTo>
                  <a:lnTo>
                    <a:pt x="26609" y="3768"/>
                  </a:lnTo>
                  <a:lnTo>
                    <a:pt x="26678" y="5046"/>
                  </a:lnTo>
                  <a:lnTo>
                    <a:pt x="26713" y="6256"/>
                  </a:lnTo>
                  <a:lnTo>
                    <a:pt x="26713" y="6256"/>
                  </a:lnTo>
                  <a:lnTo>
                    <a:pt x="26713" y="7016"/>
                  </a:lnTo>
                  <a:lnTo>
                    <a:pt x="26713" y="7776"/>
                  </a:lnTo>
                  <a:lnTo>
                    <a:pt x="26782" y="9297"/>
                  </a:lnTo>
                  <a:lnTo>
                    <a:pt x="26782" y="9297"/>
                  </a:lnTo>
                  <a:lnTo>
                    <a:pt x="26851" y="10644"/>
                  </a:lnTo>
                  <a:lnTo>
                    <a:pt x="26885" y="12165"/>
                  </a:lnTo>
                  <a:lnTo>
                    <a:pt x="26851" y="13893"/>
                  </a:lnTo>
                  <a:lnTo>
                    <a:pt x="26816" y="14895"/>
                  </a:lnTo>
                  <a:lnTo>
                    <a:pt x="26747" y="1593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" name="Google Shape;1533;p16">
              <a:extLst>
                <a:ext uri="{FF2B5EF4-FFF2-40B4-BE49-F238E27FC236}">
                  <a16:creationId xmlns:a16="http://schemas.microsoft.com/office/drawing/2014/main" id="{FE5BCED7-07C2-0EBA-56B9-09B2E7FE9068}"/>
                </a:ext>
              </a:extLst>
            </p:cNvPr>
            <p:cNvSpPr/>
            <p:nvPr/>
          </p:nvSpPr>
          <p:spPr>
            <a:xfrm>
              <a:off x="6146000" y="3107150"/>
              <a:ext cx="1750" cy="900"/>
            </a:xfrm>
            <a:custGeom>
              <a:avLst/>
              <a:gdLst/>
              <a:ahLst/>
              <a:cxnLst/>
              <a:rect l="l" t="t" r="r" b="b"/>
              <a:pathLst>
                <a:path w="70" h="36" extrusionOk="0">
                  <a:moveTo>
                    <a:pt x="0" y="1"/>
                  </a:moveTo>
                  <a:lnTo>
                    <a:pt x="35" y="35"/>
                  </a:lnTo>
                  <a:lnTo>
                    <a:pt x="70" y="1"/>
                  </a:lnTo>
                  <a:close/>
                </a:path>
              </a:pathLst>
            </a:custGeom>
            <a:solidFill>
              <a:srgbClr val="34344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" name="Google Shape;1534;p16">
              <a:extLst>
                <a:ext uri="{FF2B5EF4-FFF2-40B4-BE49-F238E27FC236}">
                  <a16:creationId xmlns:a16="http://schemas.microsoft.com/office/drawing/2014/main" id="{6BB07E7E-B187-C328-F3EF-2E9D9C0BA37D}"/>
                </a:ext>
              </a:extLst>
            </p:cNvPr>
            <p:cNvSpPr/>
            <p:nvPr/>
          </p:nvSpPr>
          <p:spPr>
            <a:xfrm>
              <a:off x="6146000" y="3107150"/>
              <a:ext cx="1750" cy="900"/>
            </a:xfrm>
            <a:custGeom>
              <a:avLst/>
              <a:gdLst/>
              <a:ahLst/>
              <a:cxnLst/>
              <a:rect l="l" t="t" r="r" b="b"/>
              <a:pathLst>
                <a:path w="70" h="36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35" y="35"/>
                  </a:lnTo>
                  <a:lnTo>
                    <a:pt x="7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" name="Google Shape;1535;p16">
              <a:extLst>
                <a:ext uri="{FF2B5EF4-FFF2-40B4-BE49-F238E27FC236}">
                  <a16:creationId xmlns:a16="http://schemas.microsoft.com/office/drawing/2014/main" id="{80C29190-D70E-4D4F-EDF1-3DDA9E05F4A8}"/>
                </a:ext>
              </a:extLst>
            </p:cNvPr>
            <p:cNvSpPr/>
            <p:nvPr/>
          </p:nvSpPr>
          <p:spPr>
            <a:xfrm>
              <a:off x="6084650" y="31158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31314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" name="Google Shape;1536;p16">
              <a:extLst>
                <a:ext uri="{FF2B5EF4-FFF2-40B4-BE49-F238E27FC236}">
                  <a16:creationId xmlns:a16="http://schemas.microsoft.com/office/drawing/2014/main" id="{E3355545-EEC2-8190-314C-BB8DD3676BDD}"/>
                </a:ext>
              </a:extLst>
            </p:cNvPr>
            <p:cNvSpPr/>
            <p:nvPr/>
          </p:nvSpPr>
          <p:spPr>
            <a:xfrm>
              <a:off x="6084650" y="31158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" name="Google Shape;1537;p16">
              <a:extLst>
                <a:ext uri="{FF2B5EF4-FFF2-40B4-BE49-F238E27FC236}">
                  <a16:creationId xmlns:a16="http://schemas.microsoft.com/office/drawing/2014/main" id="{E9A6CF3B-BCD3-B374-3B1E-9B8F706E44CC}"/>
                </a:ext>
              </a:extLst>
            </p:cNvPr>
            <p:cNvSpPr/>
            <p:nvPr/>
          </p:nvSpPr>
          <p:spPr>
            <a:xfrm>
              <a:off x="6087250" y="3199600"/>
              <a:ext cx="17300" cy="47525"/>
            </a:xfrm>
            <a:custGeom>
              <a:avLst/>
              <a:gdLst/>
              <a:ahLst/>
              <a:cxnLst/>
              <a:rect l="l" t="t" r="r" b="b"/>
              <a:pathLst>
                <a:path w="692" h="1901" extrusionOk="0">
                  <a:moveTo>
                    <a:pt x="692" y="0"/>
                  </a:moveTo>
                  <a:lnTo>
                    <a:pt x="692" y="0"/>
                  </a:lnTo>
                  <a:lnTo>
                    <a:pt x="1" y="1901"/>
                  </a:lnTo>
                  <a:lnTo>
                    <a:pt x="1" y="1901"/>
                  </a:lnTo>
                  <a:lnTo>
                    <a:pt x="692" y="0"/>
                  </a:lnTo>
                  <a:close/>
                </a:path>
              </a:pathLst>
            </a:custGeom>
            <a:solidFill>
              <a:srgbClr val="8686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" name="Google Shape;1538;p16">
              <a:extLst>
                <a:ext uri="{FF2B5EF4-FFF2-40B4-BE49-F238E27FC236}">
                  <a16:creationId xmlns:a16="http://schemas.microsoft.com/office/drawing/2014/main" id="{0650282C-DEBC-D5AF-4D2C-6945731DE961}"/>
                </a:ext>
              </a:extLst>
            </p:cNvPr>
            <p:cNvSpPr/>
            <p:nvPr/>
          </p:nvSpPr>
          <p:spPr>
            <a:xfrm>
              <a:off x="6087250" y="3199600"/>
              <a:ext cx="17300" cy="47525"/>
            </a:xfrm>
            <a:custGeom>
              <a:avLst/>
              <a:gdLst/>
              <a:ahLst/>
              <a:cxnLst/>
              <a:rect l="l" t="t" r="r" b="b"/>
              <a:pathLst>
                <a:path w="692" h="1901" fill="none" extrusionOk="0">
                  <a:moveTo>
                    <a:pt x="692" y="0"/>
                  </a:moveTo>
                  <a:lnTo>
                    <a:pt x="692" y="0"/>
                  </a:lnTo>
                  <a:lnTo>
                    <a:pt x="1" y="1901"/>
                  </a:lnTo>
                  <a:lnTo>
                    <a:pt x="1" y="1901"/>
                  </a:lnTo>
                  <a:lnTo>
                    <a:pt x="69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" name="Google Shape;1539;p16">
              <a:extLst>
                <a:ext uri="{FF2B5EF4-FFF2-40B4-BE49-F238E27FC236}">
                  <a16:creationId xmlns:a16="http://schemas.microsoft.com/office/drawing/2014/main" id="{799BAD68-F8E2-B997-4E29-16780FFDEE4C}"/>
                </a:ext>
              </a:extLst>
            </p:cNvPr>
            <p:cNvSpPr/>
            <p:nvPr/>
          </p:nvSpPr>
          <p:spPr>
            <a:xfrm>
              <a:off x="6065650" y="3115800"/>
              <a:ext cx="38900" cy="193525"/>
            </a:xfrm>
            <a:custGeom>
              <a:avLst/>
              <a:gdLst/>
              <a:ahLst/>
              <a:cxnLst/>
              <a:rect l="l" t="t" r="r" b="b"/>
              <a:pathLst>
                <a:path w="1556" h="7741" extrusionOk="0">
                  <a:moveTo>
                    <a:pt x="761" y="0"/>
                  </a:moveTo>
                  <a:lnTo>
                    <a:pt x="1" y="7741"/>
                  </a:lnTo>
                  <a:lnTo>
                    <a:pt x="865" y="5253"/>
                  </a:lnTo>
                  <a:lnTo>
                    <a:pt x="1556" y="3352"/>
                  </a:lnTo>
                  <a:lnTo>
                    <a:pt x="1107" y="1625"/>
                  </a:lnTo>
                  <a:lnTo>
                    <a:pt x="865" y="588"/>
                  </a:lnTo>
                  <a:lnTo>
                    <a:pt x="796" y="139"/>
                  </a:lnTo>
                  <a:lnTo>
                    <a:pt x="761" y="0"/>
                  </a:lnTo>
                  <a:close/>
                </a:path>
              </a:pathLst>
            </a:custGeom>
            <a:solidFill>
              <a:srgbClr val="31314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3" name="Google Shape;1540;p16">
              <a:extLst>
                <a:ext uri="{FF2B5EF4-FFF2-40B4-BE49-F238E27FC236}">
                  <a16:creationId xmlns:a16="http://schemas.microsoft.com/office/drawing/2014/main" id="{547B4E7E-5A3A-0166-B718-570F426B24F3}"/>
                </a:ext>
              </a:extLst>
            </p:cNvPr>
            <p:cNvSpPr/>
            <p:nvPr/>
          </p:nvSpPr>
          <p:spPr>
            <a:xfrm>
              <a:off x="6065650" y="3115800"/>
              <a:ext cx="38900" cy="193525"/>
            </a:xfrm>
            <a:custGeom>
              <a:avLst/>
              <a:gdLst/>
              <a:ahLst/>
              <a:cxnLst/>
              <a:rect l="l" t="t" r="r" b="b"/>
              <a:pathLst>
                <a:path w="1556" h="7741" fill="none" extrusionOk="0">
                  <a:moveTo>
                    <a:pt x="761" y="0"/>
                  </a:moveTo>
                  <a:lnTo>
                    <a:pt x="1" y="7741"/>
                  </a:lnTo>
                  <a:lnTo>
                    <a:pt x="1" y="7741"/>
                  </a:lnTo>
                  <a:lnTo>
                    <a:pt x="865" y="5253"/>
                  </a:lnTo>
                  <a:lnTo>
                    <a:pt x="865" y="5253"/>
                  </a:lnTo>
                  <a:lnTo>
                    <a:pt x="1556" y="3352"/>
                  </a:lnTo>
                  <a:lnTo>
                    <a:pt x="1556" y="3352"/>
                  </a:lnTo>
                  <a:lnTo>
                    <a:pt x="1556" y="3352"/>
                  </a:lnTo>
                  <a:lnTo>
                    <a:pt x="1556" y="3352"/>
                  </a:lnTo>
                  <a:lnTo>
                    <a:pt x="1107" y="1625"/>
                  </a:lnTo>
                  <a:lnTo>
                    <a:pt x="865" y="588"/>
                  </a:lnTo>
                  <a:lnTo>
                    <a:pt x="796" y="139"/>
                  </a:lnTo>
                  <a:lnTo>
                    <a:pt x="76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4" name="Google Shape;1541;p16">
              <a:extLst>
                <a:ext uri="{FF2B5EF4-FFF2-40B4-BE49-F238E27FC236}">
                  <a16:creationId xmlns:a16="http://schemas.microsoft.com/office/drawing/2014/main" id="{86552BFB-27B3-DD13-BE83-B8160C374324}"/>
                </a:ext>
              </a:extLst>
            </p:cNvPr>
            <p:cNvSpPr/>
            <p:nvPr/>
          </p:nvSpPr>
          <p:spPr>
            <a:xfrm>
              <a:off x="6194375" y="2923150"/>
              <a:ext cx="105425" cy="96775"/>
            </a:xfrm>
            <a:custGeom>
              <a:avLst/>
              <a:gdLst/>
              <a:ahLst/>
              <a:cxnLst/>
              <a:rect l="l" t="t" r="r" b="b"/>
              <a:pathLst>
                <a:path w="4217" h="3871" extrusionOk="0">
                  <a:moveTo>
                    <a:pt x="1" y="0"/>
                  </a:moveTo>
                  <a:lnTo>
                    <a:pt x="104" y="311"/>
                  </a:lnTo>
                  <a:lnTo>
                    <a:pt x="243" y="622"/>
                  </a:lnTo>
                  <a:lnTo>
                    <a:pt x="415" y="899"/>
                  </a:lnTo>
                  <a:lnTo>
                    <a:pt x="588" y="1210"/>
                  </a:lnTo>
                  <a:lnTo>
                    <a:pt x="795" y="1486"/>
                  </a:lnTo>
                  <a:lnTo>
                    <a:pt x="1037" y="1763"/>
                  </a:lnTo>
                  <a:lnTo>
                    <a:pt x="1556" y="2246"/>
                  </a:lnTo>
                  <a:lnTo>
                    <a:pt x="2178" y="2730"/>
                  </a:lnTo>
                  <a:lnTo>
                    <a:pt x="2834" y="3145"/>
                  </a:lnTo>
                  <a:lnTo>
                    <a:pt x="3491" y="3525"/>
                  </a:lnTo>
                  <a:lnTo>
                    <a:pt x="4216" y="3871"/>
                  </a:lnTo>
                  <a:lnTo>
                    <a:pt x="3664" y="3594"/>
                  </a:lnTo>
                  <a:lnTo>
                    <a:pt x="3975" y="2938"/>
                  </a:lnTo>
                  <a:lnTo>
                    <a:pt x="3525" y="2834"/>
                  </a:lnTo>
                  <a:lnTo>
                    <a:pt x="3111" y="2696"/>
                  </a:lnTo>
                  <a:lnTo>
                    <a:pt x="2661" y="2523"/>
                  </a:lnTo>
                  <a:lnTo>
                    <a:pt x="2247" y="2316"/>
                  </a:lnTo>
                  <a:lnTo>
                    <a:pt x="1832" y="2074"/>
                  </a:lnTo>
                  <a:lnTo>
                    <a:pt x="1452" y="1797"/>
                  </a:lnTo>
                  <a:lnTo>
                    <a:pt x="1072" y="1452"/>
                  </a:lnTo>
                  <a:lnTo>
                    <a:pt x="692" y="1106"/>
                  </a:lnTo>
                  <a:lnTo>
                    <a:pt x="450" y="830"/>
                  </a:lnTo>
                  <a:lnTo>
                    <a:pt x="277" y="553"/>
                  </a:lnTo>
                  <a:lnTo>
                    <a:pt x="104" y="27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3838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5" name="Google Shape;1542;p16">
              <a:extLst>
                <a:ext uri="{FF2B5EF4-FFF2-40B4-BE49-F238E27FC236}">
                  <a16:creationId xmlns:a16="http://schemas.microsoft.com/office/drawing/2014/main" id="{C8931D33-C9BB-CD35-13B0-F281E085C270}"/>
                </a:ext>
              </a:extLst>
            </p:cNvPr>
            <p:cNvSpPr/>
            <p:nvPr/>
          </p:nvSpPr>
          <p:spPr>
            <a:xfrm>
              <a:off x="6194375" y="2923150"/>
              <a:ext cx="105425" cy="96775"/>
            </a:xfrm>
            <a:custGeom>
              <a:avLst/>
              <a:gdLst/>
              <a:ahLst/>
              <a:cxnLst/>
              <a:rect l="l" t="t" r="r" b="b"/>
              <a:pathLst>
                <a:path w="4217" h="387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04" y="311"/>
                  </a:lnTo>
                  <a:lnTo>
                    <a:pt x="243" y="622"/>
                  </a:lnTo>
                  <a:lnTo>
                    <a:pt x="415" y="899"/>
                  </a:lnTo>
                  <a:lnTo>
                    <a:pt x="588" y="1210"/>
                  </a:lnTo>
                  <a:lnTo>
                    <a:pt x="795" y="1486"/>
                  </a:lnTo>
                  <a:lnTo>
                    <a:pt x="1037" y="1763"/>
                  </a:lnTo>
                  <a:lnTo>
                    <a:pt x="1556" y="2246"/>
                  </a:lnTo>
                  <a:lnTo>
                    <a:pt x="2178" y="2730"/>
                  </a:lnTo>
                  <a:lnTo>
                    <a:pt x="2834" y="3145"/>
                  </a:lnTo>
                  <a:lnTo>
                    <a:pt x="3491" y="3525"/>
                  </a:lnTo>
                  <a:lnTo>
                    <a:pt x="4216" y="3871"/>
                  </a:lnTo>
                  <a:lnTo>
                    <a:pt x="4216" y="3871"/>
                  </a:lnTo>
                  <a:lnTo>
                    <a:pt x="3664" y="3594"/>
                  </a:lnTo>
                  <a:lnTo>
                    <a:pt x="3664" y="3594"/>
                  </a:lnTo>
                  <a:lnTo>
                    <a:pt x="3975" y="2938"/>
                  </a:lnTo>
                  <a:lnTo>
                    <a:pt x="3975" y="2938"/>
                  </a:lnTo>
                  <a:lnTo>
                    <a:pt x="3525" y="2834"/>
                  </a:lnTo>
                  <a:lnTo>
                    <a:pt x="3111" y="2696"/>
                  </a:lnTo>
                  <a:lnTo>
                    <a:pt x="2661" y="2523"/>
                  </a:lnTo>
                  <a:lnTo>
                    <a:pt x="2247" y="2316"/>
                  </a:lnTo>
                  <a:lnTo>
                    <a:pt x="1832" y="2074"/>
                  </a:lnTo>
                  <a:lnTo>
                    <a:pt x="1452" y="1797"/>
                  </a:lnTo>
                  <a:lnTo>
                    <a:pt x="1072" y="1452"/>
                  </a:lnTo>
                  <a:lnTo>
                    <a:pt x="692" y="1106"/>
                  </a:lnTo>
                  <a:lnTo>
                    <a:pt x="692" y="1106"/>
                  </a:lnTo>
                  <a:lnTo>
                    <a:pt x="450" y="830"/>
                  </a:lnTo>
                  <a:lnTo>
                    <a:pt x="277" y="553"/>
                  </a:lnTo>
                  <a:lnTo>
                    <a:pt x="104" y="277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6" name="Google Shape;1543;p16">
              <a:extLst>
                <a:ext uri="{FF2B5EF4-FFF2-40B4-BE49-F238E27FC236}">
                  <a16:creationId xmlns:a16="http://schemas.microsoft.com/office/drawing/2014/main" id="{63FFFE31-B792-69A6-DEB1-66850B27AF5E}"/>
                </a:ext>
              </a:extLst>
            </p:cNvPr>
            <p:cNvSpPr/>
            <p:nvPr/>
          </p:nvSpPr>
          <p:spPr>
            <a:xfrm>
              <a:off x="6412075" y="3016450"/>
              <a:ext cx="900" cy="41500"/>
            </a:xfrm>
            <a:custGeom>
              <a:avLst/>
              <a:gdLst/>
              <a:ahLst/>
              <a:cxnLst/>
              <a:rect l="l" t="t" r="r" b="b"/>
              <a:pathLst>
                <a:path w="36" h="1660" extrusionOk="0">
                  <a:moveTo>
                    <a:pt x="35" y="0"/>
                  </a:moveTo>
                  <a:lnTo>
                    <a:pt x="1" y="1659"/>
                  </a:lnTo>
                  <a:lnTo>
                    <a:pt x="35" y="933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B1B1B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7" name="Google Shape;1544;p16">
              <a:extLst>
                <a:ext uri="{FF2B5EF4-FFF2-40B4-BE49-F238E27FC236}">
                  <a16:creationId xmlns:a16="http://schemas.microsoft.com/office/drawing/2014/main" id="{39DF4923-A202-EA3A-5030-A9D88C8D48DF}"/>
                </a:ext>
              </a:extLst>
            </p:cNvPr>
            <p:cNvSpPr/>
            <p:nvPr/>
          </p:nvSpPr>
          <p:spPr>
            <a:xfrm>
              <a:off x="6412075" y="3016450"/>
              <a:ext cx="900" cy="41500"/>
            </a:xfrm>
            <a:custGeom>
              <a:avLst/>
              <a:gdLst/>
              <a:ahLst/>
              <a:cxnLst/>
              <a:rect l="l" t="t" r="r" b="b"/>
              <a:pathLst>
                <a:path w="36" h="1660" fill="none" extrusionOk="0">
                  <a:moveTo>
                    <a:pt x="35" y="0"/>
                  </a:move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1" y="1659"/>
                  </a:lnTo>
                  <a:lnTo>
                    <a:pt x="1" y="1659"/>
                  </a:lnTo>
                  <a:lnTo>
                    <a:pt x="35" y="933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8" name="Google Shape;1545;p16">
              <a:extLst>
                <a:ext uri="{FF2B5EF4-FFF2-40B4-BE49-F238E27FC236}">
                  <a16:creationId xmlns:a16="http://schemas.microsoft.com/office/drawing/2014/main" id="{8DA9DFE5-2D75-1735-A109-DFECEA67B64B}"/>
                </a:ext>
              </a:extLst>
            </p:cNvPr>
            <p:cNvSpPr/>
            <p:nvPr/>
          </p:nvSpPr>
          <p:spPr>
            <a:xfrm>
              <a:off x="6391350" y="3016450"/>
              <a:ext cx="21625" cy="41500"/>
            </a:xfrm>
            <a:custGeom>
              <a:avLst/>
              <a:gdLst/>
              <a:ahLst/>
              <a:cxnLst/>
              <a:rect l="l" t="t" r="r" b="b"/>
              <a:pathLst>
                <a:path w="865" h="1660" extrusionOk="0">
                  <a:moveTo>
                    <a:pt x="864" y="0"/>
                  </a:moveTo>
                  <a:lnTo>
                    <a:pt x="104" y="1383"/>
                  </a:lnTo>
                  <a:lnTo>
                    <a:pt x="70" y="1417"/>
                  </a:lnTo>
                  <a:lnTo>
                    <a:pt x="0" y="1452"/>
                  </a:lnTo>
                  <a:lnTo>
                    <a:pt x="830" y="1659"/>
                  </a:lnTo>
                  <a:lnTo>
                    <a:pt x="864" y="0"/>
                  </a:lnTo>
                  <a:close/>
                </a:path>
              </a:pathLst>
            </a:custGeom>
            <a:solidFill>
              <a:srgbClr val="3838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" name="Google Shape;1546;p16">
              <a:extLst>
                <a:ext uri="{FF2B5EF4-FFF2-40B4-BE49-F238E27FC236}">
                  <a16:creationId xmlns:a16="http://schemas.microsoft.com/office/drawing/2014/main" id="{F8D38A29-7F5A-8A54-B3BE-5E21A73F25E8}"/>
                </a:ext>
              </a:extLst>
            </p:cNvPr>
            <p:cNvSpPr/>
            <p:nvPr/>
          </p:nvSpPr>
          <p:spPr>
            <a:xfrm>
              <a:off x="6391350" y="3016450"/>
              <a:ext cx="21625" cy="41500"/>
            </a:xfrm>
            <a:custGeom>
              <a:avLst/>
              <a:gdLst/>
              <a:ahLst/>
              <a:cxnLst/>
              <a:rect l="l" t="t" r="r" b="b"/>
              <a:pathLst>
                <a:path w="865" h="1660" fill="none" extrusionOk="0">
                  <a:moveTo>
                    <a:pt x="864" y="0"/>
                  </a:moveTo>
                  <a:lnTo>
                    <a:pt x="864" y="0"/>
                  </a:lnTo>
                  <a:lnTo>
                    <a:pt x="104" y="1383"/>
                  </a:lnTo>
                  <a:lnTo>
                    <a:pt x="104" y="1383"/>
                  </a:lnTo>
                  <a:lnTo>
                    <a:pt x="70" y="1417"/>
                  </a:lnTo>
                  <a:lnTo>
                    <a:pt x="0" y="1452"/>
                  </a:lnTo>
                  <a:lnTo>
                    <a:pt x="0" y="1452"/>
                  </a:lnTo>
                  <a:lnTo>
                    <a:pt x="830" y="1659"/>
                  </a:lnTo>
                  <a:lnTo>
                    <a:pt x="830" y="1659"/>
                  </a:lnTo>
                  <a:lnTo>
                    <a:pt x="830" y="1659"/>
                  </a:lnTo>
                  <a:lnTo>
                    <a:pt x="830" y="1659"/>
                  </a:lnTo>
                  <a:lnTo>
                    <a:pt x="86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0" name="Google Shape;1547;p16">
              <a:extLst>
                <a:ext uri="{FF2B5EF4-FFF2-40B4-BE49-F238E27FC236}">
                  <a16:creationId xmlns:a16="http://schemas.microsoft.com/office/drawing/2014/main" id="{BB33A116-CA96-F446-C9F9-DAA888073C3C}"/>
                </a:ext>
              </a:extLst>
            </p:cNvPr>
            <p:cNvSpPr/>
            <p:nvPr/>
          </p:nvSpPr>
          <p:spPr>
            <a:xfrm>
              <a:off x="5885950" y="1997025"/>
              <a:ext cx="484700" cy="919225"/>
            </a:xfrm>
            <a:custGeom>
              <a:avLst/>
              <a:gdLst/>
              <a:ahLst/>
              <a:cxnLst/>
              <a:rect l="l" t="t" r="r" b="b"/>
              <a:pathLst>
                <a:path w="19388" h="36769" extrusionOk="0">
                  <a:moveTo>
                    <a:pt x="8744" y="1"/>
                  </a:moveTo>
                  <a:lnTo>
                    <a:pt x="8502" y="70"/>
                  </a:lnTo>
                  <a:lnTo>
                    <a:pt x="8260" y="208"/>
                  </a:lnTo>
                  <a:lnTo>
                    <a:pt x="8087" y="381"/>
                  </a:lnTo>
                  <a:lnTo>
                    <a:pt x="7880" y="588"/>
                  </a:lnTo>
                  <a:lnTo>
                    <a:pt x="7534" y="1038"/>
                  </a:lnTo>
                  <a:lnTo>
                    <a:pt x="7154" y="1556"/>
                  </a:lnTo>
                  <a:lnTo>
                    <a:pt x="6981" y="1798"/>
                  </a:lnTo>
                  <a:lnTo>
                    <a:pt x="6774" y="2005"/>
                  </a:lnTo>
                  <a:lnTo>
                    <a:pt x="6567" y="2212"/>
                  </a:lnTo>
                  <a:lnTo>
                    <a:pt x="6325" y="2351"/>
                  </a:lnTo>
                  <a:lnTo>
                    <a:pt x="6048" y="2454"/>
                  </a:lnTo>
                  <a:lnTo>
                    <a:pt x="5737" y="2523"/>
                  </a:lnTo>
                  <a:lnTo>
                    <a:pt x="5461" y="2523"/>
                  </a:lnTo>
                  <a:lnTo>
                    <a:pt x="5254" y="2489"/>
                  </a:lnTo>
                  <a:lnTo>
                    <a:pt x="5081" y="2420"/>
                  </a:lnTo>
                  <a:lnTo>
                    <a:pt x="4977" y="2316"/>
                  </a:lnTo>
                  <a:lnTo>
                    <a:pt x="4839" y="2074"/>
                  </a:lnTo>
                  <a:lnTo>
                    <a:pt x="4735" y="1936"/>
                  </a:lnTo>
                  <a:lnTo>
                    <a:pt x="4597" y="1763"/>
                  </a:lnTo>
                  <a:lnTo>
                    <a:pt x="4424" y="1590"/>
                  </a:lnTo>
                  <a:lnTo>
                    <a:pt x="4321" y="1521"/>
                  </a:lnTo>
                  <a:lnTo>
                    <a:pt x="4217" y="1452"/>
                  </a:lnTo>
                  <a:lnTo>
                    <a:pt x="3975" y="1452"/>
                  </a:lnTo>
                  <a:lnTo>
                    <a:pt x="3837" y="1521"/>
                  </a:lnTo>
                  <a:lnTo>
                    <a:pt x="3699" y="1660"/>
                  </a:lnTo>
                  <a:lnTo>
                    <a:pt x="3318" y="2074"/>
                  </a:lnTo>
                  <a:lnTo>
                    <a:pt x="2938" y="2523"/>
                  </a:lnTo>
                  <a:lnTo>
                    <a:pt x="2593" y="2973"/>
                  </a:lnTo>
                  <a:lnTo>
                    <a:pt x="2282" y="3422"/>
                  </a:lnTo>
                  <a:lnTo>
                    <a:pt x="2005" y="3906"/>
                  </a:lnTo>
                  <a:lnTo>
                    <a:pt x="1729" y="4424"/>
                  </a:lnTo>
                  <a:lnTo>
                    <a:pt x="1487" y="4942"/>
                  </a:lnTo>
                  <a:lnTo>
                    <a:pt x="1280" y="5461"/>
                  </a:lnTo>
                  <a:lnTo>
                    <a:pt x="1072" y="6014"/>
                  </a:lnTo>
                  <a:lnTo>
                    <a:pt x="899" y="6567"/>
                  </a:lnTo>
                  <a:lnTo>
                    <a:pt x="727" y="7119"/>
                  </a:lnTo>
                  <a:lnTo>
                    <a:pt x="588" y="7707"/>
                  </a:lnTo>
                  <a:lnTo>
                    <a:pt x="347" y="8882"/>
                  </a:lnTo>
                  <a:lnTo>
                    <a:pt x="174" y="10091"/>
                  </a:lnTo>
                  <a:lnTo>
                    <a:pt x="36" y="11335"/>
                  </a:lnTo>
                  <a:lnTo>
                    <a:pt x="1" y="12614"/>
                  </a:lnTo>
                  <a:lnTo>
                    <a:pt x="1" y="13893"/>
                  </a:lnTo>
                  <a:lnTo>
                    <a:pt x="36" y="15171"/>
                  </a:lnTo>
                  <a:lnTo>
                    <a:pt x="105" y="16484"/>
                  </a:lnTo>
                  <a:lnTo>
                    <a:pt x="243" y="17763"/>
                  </a:lnTo>
                  <a:lnTo>
                    <a:pt x="381" y="19076"/>
                  </a:lnTo>
                  <a:lnTo>
                    <a:pt x="554" y="20320"/>
                  </a:lnTo>
                  <a:lnTo>
                    <a:pt x="761" y="21599"/>
                  </a:lnTo>
                  <a:lnTo>
                    <a:pt x="969" y="22808"/>
                  </a:lnTo>
                  <a:lnTo>
                    <a:pt x="1452" y="25158"/>
                  </a:lnTo>
                  <a:lnTo>
                    <a:pt x="1902" y="27300"/>
                  </a:lnTo>
                  <a:lnTo>
                    <a:pt x="2351" y="29236"/>
                  </a:lnTo>
                  <a:lnTo>
                    <a:pt x="2696" y="30894"/>
                  </a:lnTo>
                  <a:lnTo>
                    <a:pt x="2938" y="32207"/>
                  </a:lnTo>
                  <a:lnTo>
                    <a:pt x="3007" y="32726"/>
                  </a:lnTo>
                  <a:lnTo>
                    <a:pt x="3042" y="33140"/>
                  </a:lnTo>
                  <a:lnTo>
                    <a:pt x="3042" y="33451"/>
                  </a:lnTo>
                  <a:lnTo>
                    <a:pt x="3007" y="33555"/>
                  </a:lnTo>
                  <a:lnTo>
                    <a:pt x="2973" y="33659"/>
                  </a:lnTo>
                  <a:lnTo>
                    <a:pt x="2904" y="33762"/>
                  </a:lnTo>
                  <a:lnTo>
                    <a:pt x="2904" y="33901"/>
                  </a:lnTo>
                  <a:lnTo>
                    <a:pt x="2904" y="34039"/>
                  </a:lnTo>
                  <a:lnTo>
                    <a:pt x="2973" y="34177"/>
                  </a:lnTo>
                  <a:lnTo>
                    <a:pt x="3111" y="34315"/>
                  </a:lnTo>
                  <a:lnTo>
                    <a:pt x="3249" y="34488"/>
                  </a:lnTo>
                  <a:lnTo>
                    <a:pt x="3629" y="34799"/>
                  </a:lnTo>
                  <a:lnTo>
                    <a:pt x="4148" y="35110"/>
                  </a:lnTo>
                  <a:lnTo>
                    <a:pt x="4804" y="35387"/>
                  </a:lnTo>
                  <a:lnTo>
                    <a:pt x="5530" y="35698"/>
                  </a:lnTo>
                  <a:lnTo>
                    <a:pt x="6325" y="35974"/>
                  </a:lnTo>
                  <a:lnTo>
                    <a:pt x="7189" y="36216"/>
                  </a:lnTo>
                  <a:lnTo>
                    <a:pt x="8087" y="36423"/>
                  </a:lnTo>
                  <a:lnTo>
                    <a:pt x="9055" y="36596"/>
                  </a:lnTo>
                  <a:lnTo>
                    <a:pt x="10022" y="36700"/>
                  </a:lnTo>
                  <a:lnTo>
                    <a:pt x="10955" y="36769"/>
                  </a:lnTo>
                  <a:lnTo>
                    <a:pt x="11923" y="36769"/>
                  </a:lnTo>
                  <a:lnTo>
                    <a:pt x="12821" y="36700"/>
                  </a:lnTo>
                  <a:lnTo>
                    <a:pt x="13271" y="36631"/>
                  </a:lnTo>
                  <a:lnTo>
                    <a:pt x="13720" y="36527"/>
                  </a:lnTo>
                  <a:lnTo>
                    <a:pt x="14273" y="36389"/>
                  </a:lnTo>
                  <a:lnTo>
                    <a:pt x="14791" y="36181"/>
                  </a:lnTo>
                  <a:lnTo>
                    <a:pt x="15275" y="35974"/>
                  </a:lnTo>
                  <a:lnTo>
                    <a:pt x="15724" y="35732"/>
                  </a:lnTo>
                  <a:lnTo>
                    <a:pt x="16139" y="35490"/>
                  </a:lnTo>
                  <a:lnTo>
                    <a:pt x="16519" y="35214"/>
                  </a:lnTo>
                  <a:lnTo>
                    <a:pt x="16864" y="34903"/>
                  </a:lnTo>
                  <a:lnTo>
                    <a:pt x="17210" y="34592"/>
                  </a:lnTo>
                  <a:lnTo>
                    <a:pt x="17487" y="34281"/>
                  </a:lnTo>
                  <a:lnTo>
                    <a:pt x="17763" y="33935"/>
                  </a:lnTo>
                  <a:lnTo>
                    <a:pt x="18005" y="33590"/>
                  </a:lnTo>
                  <a:lnTo>
                    <a:pt x="18212" y="33210"/>
                  </a:lnTo>
                  <a:lnTo>
                    <a:pt x="18420" y="32829"/>
                  </a:lnTo>
                  <a:lnTo>
                    <a:pt x="18592" y="32484"/>
                  </a:lnTo>
                  <a:lnTo>
                    <a:pt x="18869" y="31724"/>
                  </a:lnTo>
                  <a:lnTo>
                    <a:pt x="19076" y="30963"/>
                  </a:lnTo>
                  <a:lnTo>
                    <a:pt x="19214" y="30238"/>
                  </a:lnTo>
                  <a:lnTo>
                    <a:pt x="19318" y="29547"/>
                  </a:lnTo>
                  <a:lnTo>
                    <a:pt x="19353" y="28890"/>
                  </a:lnTo>
                  <a:lnTo>
                    <a:pt x="19387" y="28303"/>
                  </a:lnTo>
                  <a:lnTo>
                    <a:pt x="19353" y="27784"/>
                  </a:lnTo>
                  <a:lnTo>
                    <a:pt x="19283" y="27093"/>
                  </a:lnTo>
                  <a:lnTo>
                    <a:pt x="18592" y="22946"/>
                  </a:lnTo>
                  <a:lnTo>
                    <a:pt x="17176" y="15137"/>
                  </a:lnTo>
                  <a:lnTo>
                    <a:pt x="15171" y="4113"/>
                  </a:lnTo>
                  <a:lnTo>
                    <a:pt x="14618" y="3837"/>
                  </a:lnTo>
                  <a:lnTo>
                    <a:pt x="14031" y="3491"/>
                  </a:lnTo>
                  <a:lnTo>
                    <a:pt x="13271" y="3007"/>
                  </a:lnTo>
                  <a:lnTo>
                    <a:pt x="12372" y="2420"/>
                  </a:lnTo>
                  <a:lnTo>
                    <a:pt x="11370" y="1694"/>
                  </a:lnTo>
                  <a:lnTo>
                    <a:pt x="10333" y="899"/>
                  </a:lnTo>
                  <a:lnTo>
                    <a:pt x="9297" y="35"/>
                  </a:lnTo>
                  <a:lnTo>
                    <a:pt x="9020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1" name="Google Shape;1548;p16">
              <a:extLst>
                <a:ext uri="{FF2B5EF4-FFF2-40B4-BE49-F238E27FC236}">
                  <a16:creationId xmlns:a16="http://schemas.microsoft.com/office/drawing/2014/main" id="{37A08E69-C07E-79F5-DCCC-49BCF887AE49}"/>
                </a:ext>
              </a:extLst>
            </p:cNvPr>
            <p:cNvSpPr/>
            <p:nvPr/>
          </p:nvSpPr>
          <p:spPr>
            <a:xfrm>
              <a:off x="5885950" y="1997025"/>
              <a:ext cx="484700" cy="919225"/>
            </a:xfrm>
            <a:custGeom>
              <a:avLst/>
              <a:gdLst/>
              <a:ahLst/>
              <a:cxnLst/>
              <a:rect l="l" t="t" r="r" b="b"/>
              <a:pathLst>
                <a:path w="19388" h="36769" fill="none" extrusionOk="0">
                  <a:moveTo>
                    <a:pt x="9297" y="35"/>
                  </a:moveTo>
                  <a:lnTo>
                    <a:pt x="9297" y="35"/>
                  </a:lnTo>
                  <a:lnTo>
                    <a:pt x="9020" y="1"/>
                  </a:lnTo>
                  <a:lnTo>
                    <a:pt x="8744" y="1"/>
                  </a:lnTo>
                  <a:lnTo>
                    <a:pt x="8502" y="70"/>
                  </a:lnTo>
                  <a:lnTo>
                    <a:pt x="8260" y="208"/>
                  </a:lnTo>
                  <a:lnTo>
                    <a:pt x="8087" y="381"/>
                  </a:lnTo>
                  <a:lnTo>
                    <a:pt x="7880" y="588"/>
                  </a:lnTo>
                  <a:lnTo>
                    <a:pt x="7534" y="1038"/>
                  </a:lnTo>
                  <a:lnTo>
                    <a:pt x="7154" y="1556"/>
                  </a:lnTo>
                  <a:lnTo>
                    <a:pt x="6981" y="1798"/>
                  </a:lnTo>
                  <a:lnTo>
                    <a:pt x="6774" y="2005"/>
                  </a:lnTo>
                  <a:lnTo>
                    <a:pt x="6567" y="2212"/>
                  </a:lnTo>
                  <a:lnTo>
                    <a:pt x="6325" y="2351"/>
                  </a:lnTo>
                  <a:lnTo>
                    <a:pt x="6048" y="2454"/>
                  </a:lnTo>
                  <a:lnTo>
                    <a:pt x="5737" y="2523"/>
                  </a:lnTo>
                  <a:lnTo>
                    <a:pt x="5737" y="2523"/>
                  </a:lnTo>
                  <a:lnTo>
                    <a:pt x="5461" y="2523"/>
                  </a:lnTo>
                  <a:lnTo>
                    <a:pt x="5254" y="2489"/>
                  </a:lnTo>
                  <a:lnTo>
                    <a:pt x="5081" y="2420"/>
                  </a:lnTo>
                  <a:lnTo>
                    <a:pt x="4977" y="2316"/>
                  </a:lnTo>
                  <a:lnTo>
                    <a:pt x="4839" y="2074"/>
                  </a:lnTo>
                  <a:lnTo>
                    <a:pt x="4735" y="1936"/>
                  </a:lnTo>
                  <a:lnTo>
                    <a:pt x="4597" y="1763"/>
                  </a:lnTo>
                  <a:lnTo>
                    <a:pt x="4597" y="1763"/>
                  </a:lnTo>
                  <a:lnTo>
                    <a:pt x="4424" y="1590"/>
                  </a:lnTo>
                  <a:lnTo>
                    <a:pt x="4321" y="1521"/>
                  </a:lnTo>
                  <a:lnTo>
                    <a:pt x="4217" y="1452"/>
                  </a:lnTo>
                  <a:lnTo>
                    <a:pt x="4079" y="1452"/>
                  </a:lnTo>
                  <a:lnTo>
                    <a:pt x="3975" y="1452"/>
                  </a:lnTo>
                  <a:lnTo>
                    <a:pt x="3837" y="1521"/>
                  </a:lnTo>
                  <a:lnTo>
                    <a:pt x="3699" y="1660"/>
                  </a:lnTo>
                  <a:lnTo>
                    <a:pt x="3699" y="1660"/>
                  </a:lnTo>
                  <a:lnTo>
                    <a:pt x="3318" y="2074"/>
                  </a:lnTo>
                  <a:lnTo>
                    <a:pt x="2938" y="2523"/>
                  </a:lnTo>
                  <a:lnTo>
                    <a:pt x="2593" y="2973"/>
                  </a:lnTo>
                  <a:lnTo>
                    <a:pt x="2282" y="3422"/>
                  </a:lnTo>
                  <a:lnTo>
                    <a:pt x="2005" y="3906"/>
                  </a:lnTo>
                  <a:lnTo>
                    <a:pt x="1729" y="4424"/>
                  </a:lnTo>
                  <a:lnTo>
                    <a:pt x="1487" y="4942"/>
                  </a:lnTo>
                  <a:lnTo>
                    <a:pt x="1280" y="5461"/>
                  </a:lnTo>
                  <a:lnTo>
                    <a:pt x="1072" y="6014"/>
                  </a:lnTo>
                  <a:lnTo>
                    <a:pt x="899" y="6567"/>
                  </a:lnTo>
                  <a:lnTo>
                    <a:pt x="727" y="7119"/>
                  </a:lnTo>
                  <a:lnTo>
                    <a:pt x="588" y="7707"/>
                  </a:lnTo>
                  <a:lnTo>
                    <a:pt x="347" y="8882"/>
                  </a:lnTo>
                  <a:lnTo>
                    <a:pt x="174" y="10091"/>
                  </a:lnTo>
                  <a:lnTo>
                    <a:pt x="36" y="11335"/>
                  </a:lnTo>
                  <a:lnTo>
                    <a:pt x="1" y="12614"/>
                  </a:lnTo>
                  <a:lnTo>
                    <a:pt x="1" y="13893"/>
                  </a:lnTo>
                  <a:lnTo>
                    <a:pt x="36" y="15171"/>
                  </a:lnTo>
                  <a:lnTo>
                    <a:pt x="105" y="16484"/>
                  </a:lnTo>
                  <a:lnTo>
                    <a:pt x="243" y="17763"/>
                  </a:lnTo>
                  <a:lnTo>
                    <a:pt x="381" y="19076"/>
                  </a:lnTo>
                  <a:lnTo>
                    <a:pt x="554" y="20320"/>
                  </a:lnTo>
                  <a:lnTo>
                    <a:pt x="761" y="21599"/>
                  </a:lnTo>
                  <a:lnTo>
                    <a:pt x="969" y="22808"/>
                  </a:lnTo>
                  <a:lnTo>
                    <a:pt x="1452" y="25158"/>
                  </a:lnTo>
                  <a:lnTo>
                    <a:pt x="1902" y="27300"/>
                  </a:lnTo>
                  <a:lnTo>
                    <a:pt x="2351" y="29236"/>
                  </a:lnTo>
                  <a:lnTo>
                    <a:pt x="2696" y="30894"/>
                  </a:lnTo>
                  <a:lnTo>
                    <a:pt x="2938" y="32207"/>
                  </a:lnTo>
                  <a:lnTo>
                    <a:pt x="3007" y="32726"/>
                  </a:lnTo>
                  <a:lnTo>
                    <a:pt x="3042" y="33140"/>
                  </a:lnTo>
                  <a:lnTo>
                    <a:pt x="3042" y="33451"/>
                  </a:lnTo>
                  <a:lnTo>
                    <a:pt x="3007" y="33555"/>
                  </a:lnTo>
                  <a:lnTo>
                    <a:pt x="2973" y="33659"/>
                  </a:lnTo>
                  <a:lnTo>
                    <a:pt x="2973" y="33659"/>
                  </a:lnTo>
                  <a:lnTo>
                    <a:pt x="2904" y="33762"/>
                  </a:lnTo>
                  <a:lnTo>
                    <a:pt x="2904" y="33901"/>
                  </a:lnTo>
                  <a:lnTo>
                    <a:pt x="2904" y="34039"/>
                  </a:lnTo>
                  <a:lnTo>
                    <a:pt x="2973" y="34177"/>
                  </a:lnTo>
                  <a:lnTo>
                    <a:pt x="3111" y="34315"/>
                  </a:lnTo>
                  <a:lnTo>
                    <a:pt x="3249" y="34488"/>
                  </a:lnTo>
                  <a:lnTo>
                    <a:pt x="3629" y="34799"/>
                  </a:lnTo>
                  <a:lnTo>
                    <a:pt x="4148" y="35110"/>
                  </a:lnTo>
                  <a:lnTo>
                    <a:pt x="4804" y="35387"/>
                  </a:lnTo>
                  <a:lnTo>
                    <a:pt x="5530" y="35698"/>
                  </a:lnTo>
                  <a:lnTo>
                    <a:pt x="6325" y="35974"/>
                  </a:lnTo>
                  <a:lnTo>
                    <a:pt x="7189" y="36216"/>
                  </a:lnTo>
                  <a:lnTo>
                    <a:pt x="8087" y="36423"/>
                  </a:lnTo>
                  <a:lnTo>
                    <a:pt x="9055" y="36596"/>
                  </a:lnTo>
                  <a:lnTo>
                    <a:pt x="10022" y="36700"/>
                  </a:lnTo>
                  <a:lnTo>
                    <a:pt x="10955" y="36769"/>
                  </a:lnTo>
                  <a:lnTo>
                    <a:pt x="11923" y="36769"/>
                  </a:lnTo>
                  <a:lnTo>
                    <a:pt x="12821" y="36700"/>
                  </a:lnTo>
                  <a:lnTo>
                    <a:pt x="13271" y="36631"/>
                  </a:lnTo>
                  <a:lnTo>
                    <a:pt x="13720" y="36527"/>
                  </a:lnTo>
                  <a:lnTo>
                    <a:pt x="13720" y="36527"/>
                  </a:lnTo>
                  <a:lnTo>
                    <a:pt x="14273" y="36389"/>
                  </a:lnTo>
                  <a:lnTo>
                    <a:pt x="14791" y="36181"/>
                  </a:lnTo>
                  <a:lnTo>
                    <a:pt x="15275" y="35974"/>
                  </a:lnTo>
                  <a:lnTo>
                    <a:pt x="15724" y="35732"/>
                  </a:lnTo>
                  <a:lnTo>
                    <a:pt x="16139" y="35490"/>
                  </a:lnTo>
                  <a:lnTo>
                    <a:pt x="16519" y="35214"/>
                  </a:lnTo>
                  <a:lnTo>
                    <a:pt x="16864" y="34903"/>
                  </a:lnTo>
                  <a:lnTo>
                    <a:pt x="17210" y="34592"/>
                  </a:lnTo>
                  <a:lnTo>
                    <a:pt x="17487" y="34281"/>
                  </a:lnTo>
                  <a:lnTo>
                    <a:pt x="17763" y="33935"/>
                  </a:lnTo>
                  <a:lnTo>
                    <a:pt x="18005" y="33590"/>
                  </a:lnTo>
                  <a:lnTo>
                    <a:pt x="18212" y="33210"/>
                  </a:lnTo>
                  <a:lnTo>
                    <a:pt x="18420" y="32829"/>
                  </a:lnTo>
                  <a:lnTo>
                    <a:pt x="18592" y="32484"/>
                  </a:lnTo>
                  <a:lnTo>
                    <a:pt x="18869" y="31724"/>
                  </a:lnTo>
                  <a:lnTo>
                    <a:pt x="19076" y="30963"/>
                  </a:lnTo>
                  <a:lnTo>
                    <a:pt x="19214" y="30238"/>
                  </a:lnTo>
                  <a:lnTo>
                    <a:pt x="19318" y="29547"/>
                  </a:lnTo>
                  <a:lnTo>
                    <a:pt x="19353" y="28890"/>
                  </a:lnTo>
                  <a:lnTo>
                    <a:pt x="19387" y="28303"/>
                  </a:lnTo>
                  <a:lnTo>
                    <a:pt x="19353" y="27784"/>
                  </a:lnTo>
                  <a:lnTo>
                    <a:pt x="19283" y="27093"/>
                  </a:lnTo>
                  <a:lnTo>
                    <a:pt x="19283" y="27093"/>
                  </a:lnTo>
                  <a:lnTo>
                    <a:pt x="18592" y="22946"/>
                  </a:lnTo>
                  <a:lnTo>
                    <a:pt x="17176" y="15137"/>
                  </a:lnTo>
                  <a:lnTo>
                    <a:pt x="15171" y="4113"/>
                  </a:lnTo>
                  <a:lnTo>
                    <a:pt x="15171" y="4113"/>
                  </a:lnTo>
                  <a:lnTo>
                    <a:pt x="14618" y="3837"/>
                  </a:lnTo>
                  <a:lnTo>
                    <a:pt x="14031" y="3491"/>
                  </a:lnTo>
                  <a:lnTo>
                    <a:pt x="13271" y="3007"/>
                  </a:lnTo>
                  <a:lnTo>
                    <a:pt x="12372" y="2420"/>
                  </a:lnTo>
                  <a:lnTo>
                    <a:pt x="11370" y="1694"/>
                  </a:lnTo>
                  <a:lnTo>
                    <a:pt x="10333" y="899"/>
                  </a:lnTo>
                  <a:lnTo>
                    <a:pt x="9297" y="3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2" name="Google Shape;1549;p16">
              <a:extLst>
                <a:ext uri="{FF2B5EF4-FFF2-40B4-BE49-F238E27FC236}">
                  <a16:creationId xmlns:a16="http://schemas.microsoft.com/office/drawing/2014/main" id="{C0304145-DA1E-10A0-1804-CF8760E6B14F}"/>
                </a:ext>
              </a:extLst>
            </p:cNvPr>
            <p:cNvSpPr/>
            <p:nvPr/>
          </p:nvSpPr>
          <p:spPr>
            <a:xfrm>
              <a:off x="5226800" y="1711950"/>
              <a:ext cx="787900" cy="1279475"/>
            </a:xfrm>
            <a:custGeom>
              <a:avLst/>
              <a:gdLst/>
              <a:ahLst/>
              <a:cxnLst/>
              <a:rect l="l" t="t" r="r" b="b"/>
              <a:pathLst>
                <a:path w="31516" h="51179" extrusionOk="0">
                  <a:moveTo>
                    <a:pt x="2489" y="0"/>
                  </a:moveTo>
                  <a:lnTo>
                    <a:pt x="2385" y="69"/>
                  </a:lnTo>
                  <a:lnTo>
                    <a:pt x="2143" y="208"/>
                  </a:lnTo>
                  <a:lnTo>
                    <a:pt x="1867" y="449"/>
                  </a:lnTo>
                  <a:lnTo>
                    <a:pt x="1625" y="760"/>
                  </a:lnTo>
                  <a:lnTo>
                    <a:pt x="1348" y="1141"/>
                  </a:lnTo>
                  <a:lnTo>
                    <a:pt x="1106" y="1590"/>
                  </a:lnTo>
                  <a:lnTo>
                    <a:pt x="864" y="2039"/>
                  </a:lnTo>
                  <a:lnTo>
                    <a:pt x="657" y="2523"/>
                  </a:lnTo>
                  <a:lnTo>
                    <a:pt x="450" y="3007"/>
                  </a:lnTo>
                  <a:lnTo>
                    <a:pt x="277" y="3456"/>
                  </a:lnTo>
                  <a:lnTo>
                    <a:pt x="139" y="3905"/>
                  </a:lnTo>
                  <a:lnTo>
                    <a:pt x="35" y="4320"/>
                  </a:lnTo>
                  <a:lnTo>
                    <a:pt x="0" y="4665"/>
                  </a:lnTo>
                  <a:lnTo>
                    <a:pt x="0" y="4942"/>
                  </a:lnTo>
                  <a:lnTo>
                    <a:pt x="35" y="5080"/>
                  </a:lnTo>
                  <a:lnTo>
                    <a:pt x="70" y="5149"/>
                  </a:lnTo>
                  <a:lnTo>
                    <a:pt x="242" y="5322"/>
                  </a:lnTo>
                  <a:lnTo>
                    <a:pt x="588" y="5667"/>
                  </a:lnTo>
                  <a:lnTo>
                    <a:pt x="1694" y="6670"/>
                  </a:lnTo>
                  <a:lnTo>
                    <a:pt x="3283" y="8052"/>
                  </a:lnTo>
                  <a:lnTo>
                    <a:pt x="5149" y="9641"/>
                  </a:lnTo>
                  <a:lnTo>
                    <a:pt x="7085" y="11266"/>
                  </a:lnTo>
                  <a:lnTo>
                    <a:pt x="8951" y="12786"/>
                  </a:lnTo>
                  <a:lnTo>
                    <a:pt x="10575" y="14030"/>
                  </a:lnTo>
                  <a:lnTo>
                    <a:pt x="11231" y="14479"/>
                  </a:lnTo>
                  <a:lnTo>
                    <a:pt x="11784" y="14825"/>
                  </a:lnTo>
                  <a:lnTo>
                    <a:pt x="12406" y="15240"/>
                  </a:lnTo>
                  <a:lnTo>
                    <a:pt x="13166" y="15758"/>
                  </a:lnTo>
                  <a:lnTo>
                    <a:pt x="14860" y="16967"/>
                  </a:lnTo>
                  <a:lnTo>
                    <a:pt x="16691" y="18350"/>
                  </a:lnTo>
                  <a:lnTo>
                    <a:pt x="18557" y="19801"/>
                  </a:lnTo>
                  <a:lnTo>
                    <a:pt x="21840" y="22393"/>
                  </a:lnTo>
                  <a:lnTo>
                    <a:pt x="23602" y="23810"/>
                  </a:lnTo>
                  <a:lnTo>
                    <a:pt x="23741" y="23982"/>
                  </a:lnTo>
                  <a:lnTo>
                    <a:pt x="23948" y="24224"/>
                  </a:lnTo>
                  <a:lnTo>
                    <a:pt x="24121" y="24535"/>
                  </a:lnTo>
                  <a:lnTo>
                    <a:pt x="24328" y="24915"/>
                  </a:lnTo>
                  <a:lnTo>
                    <a:pt x="24743" y="25848"/>
                  </a:lnTo>
                  <a:lnTo>
                    <a:pt x="25123" y="26885"/>
                  </a:lnTo>
                  <a:lnTo>
                    <a:pt x="25469" y="27991"/>
                  </a:lnTo>
                  <a:lnTo>
                    <a:pt x="25745" y="29028"/>
                  </a:lnTo>
                  <a:lnTo>
                    <a:pt x="25814" y="29511"/>
                  </a:lnTo>
                  <a:lnTo>
                    <a:pt x="25883" y="29961"/>
                  </a:lnTo>
                  <a:lnTo>
                    <a:pt x="25883" y="30375"/>
                  </a:lnTo>
                  <a:lnTo>
                    <a:pt x="25883" y="30721"/>
                  </a:lnTo>
                  <a:lnTo>
                    <a:pt x="25572" y="32587"/>
                  </a:lnTo>
                  <a:lnTo>
                    <a:pt x="25434" y="33451"/>
                  </a:lnTo>
                  <a:lnTo>
                    <a:pt x="25330" y="34176"/>
                  </a:lnTo>
                  <a:lnTo>
                    <a:pt x="25158" y="35421"/>
                  </a:lnTo>
                  <a:lnTo>
                    <a:pt x="24916" y="37183"/>
                  </a:lnTo>
                  <a:lnTo>
                    <a:pt x="24674" y="39325"/>
                  </a:lnTo>
                  <a:lnTo>
                    <a:pt x="24570" y="40500"/>
                  </a:lnTo>
                  <a:lnTo>
                    <a:pt x="24501" y="41675"/>
                  </a:lnTo>
                  <a:lnTo>
                    <a:pt x="24466" y="42885"/>
                  </a:lnTo>
                  <a:lnTo>
                    <a:pt x="24466" y="44060"/>
                  </a:lnTo>
                  <a:lnTo>
                    <a:pt x="24535" y="45235"/>
                  </a:lnTo>
                  <a:lnTo>
                    <a:pt x="24674" y="46306"/>
                  </a:lnTo>
                  <a:lnTo>
                    <a:pt x="24777" y="46824"/>
                  </a:lnTo>
                  <a:lnTo>
                    <a:pt x="24881" y="47342"/>
                  </a:lnTo>
                  <a:lnTo>
                    <a:pt x="25019" y="47792"/>
                  </a:lnTo>
                  <a:lnTo>
                    <a:pt x="25192" y="48241"/>
                  </a:lnTo>
                  <a:lnTo>
                    <a:pt x="25365" y="48656"/>
                  </a:lnTo>
                  <a:lnTo>
                    <a:pt x="25572" y="49036"/>
                  </a:lnTo>
                  <a:lnTo>
                    <a:pt x="25814" y="49381"/>
                  </a:lnTo>
                  <a:lnTo>
                    <a:pt x="26091" y="49692"/>
                  </a:lnTo>
                  <a:lnTo>
                    <a:pt x="26436" y="50038"/>
                  </a:lnTo>
                  <a:lnTo>
                    <a:pt x="26782" y="50349"/>
                  </a:lnTo>
                  <a:lnTo>
                    <a:pt x="27093" y="50591"/>
                  </a:lnTo>
                  <a:lnTo>
                    <a:pt x="27438" y="50764"/>
                  </a:lnTo>
                  <a:lnTo>
                    <a:pt x="27749" y="50936"/>
                  </a:lnTo>
                  <a:lnTo>
                    <a:pt x="28060" y="51040"/>
                  </a:lnTo>
                  <a:lnTo>
                    <a:pt x="28337" y="51144"/>
                  </a:lnTo>
                  <a:lnTo>
                    <a:pt x="28648" y="51178"/>
                  </a:lnTo>
                  <a:lnTo>
                    <a:pt x="28924" y="51178"/>
                  </a:lnTo>
                  <a:lnTo>
                    <a:pt x="29201" y="51144"/>
                  </a:lnTo>
                  <a:lnTo>
                    <a:pt x="29443" y="51109"/>
                  </a:lnTo>
                  <a:lnTo>
                    <a:pt x="29719" y="51005"/>
                  </a:lnTo>
                  <a:lnTo>
                    <a:pt x="29961" y="50902"/>
                  </a:lnTo>
                  <a:lnTo>
                    <a:pt x="30203" y="50764"/>
                  </a:lnTo>
                  <a:lnTo>
                    <a:pt x="30410" y="50591"/>
                  </a:lnTo>
                  <a:lnTo>
                    <a:pt x="30617" y="50418"/>
                  </a:lnTo>
                  <a:lnTo>
                    <a:pt x="30790" y="50245"/>
                  </a:lnTo>
                  <a:lnTo>
                    <a:pt x="30963" y="50038"/>
                  </a:lnTo>
                  <a:lnTo>
                    <a:pt x="31067" y="49761"/>
                  </a:lnTo>
                  <a:lnTo>
                    <a:pt x="31170" y="49485"/>
                  </a:lnTo>
                  <a:lnTo>
                    <a:pt x="31274" y="49174"/>
                  </a:lnTo>
                  <a:lnTo>
                    <a:pt x="31343" y="48828"/>
                  </a:lnTo>
                  <a:lnTo>
                    <a:pt x="31447" y="48034"/>
                  </a:lnTo>
                  <a:lnTo>
                    <a:pt x="31516" y="47135"/>
                  </a:lnTo>
                  <a:lnTo>
                    <a:pt x="31516" y="46168"/>
                  </a:lnTo>
                  <a:lnTo>
                    <a:pt x="31481" y="45062"/>
                  </a:lnTo>
                  <a:lnTo>
                    <a:pt x="31447" y="43921"/>
                  </a:lnTo>
                  <a:lnTo>
                    <a:pt x="31309" y="41399"/>
                  </a:lnTo>
                  <a:lnTo>
                    <a:pt x="31205" y="38669"/>
                  </a:lnTo>
                  <a:lnTo>
                    <a:pt x="31205" y="37252"/>
                  </a:lnTo>
                  <a:lnTo>
                    <a:pt x="31205" y="35801"/>
                  </a:lnTo>
                  <a:lnTo>
                    <a:pt x="31274" y="34349"/>
                  </a:lnTo>
                  <a:lnTo>
                    <a:pt x="31378" y="32863"/>
                  </a:lnTo>
                  <a:lnTo>
                    <a:pt x="31447" y="31758"/>
                  </a:lnTo>
                  <a:lnTo>
                    <a:pt x="31447" y="30721"/>
                  </a:lnTo>
                  <a:lnTo>
                    <a:pt x="31378" y="29719"/>
                  </a:lnTo>
                  <a:lnTo>
                    <a:pt x="31274" y="28751"/>
                  </a:lnTo>
                  <a:lnTo>
                    <a:pt x="31136" y="27818"/>
                  </a:lnTo>
                  <a:lnTo>
                    <a:pt x="30928" y="26920"/>
                  </a:lnTo>
                  <a:lnTo>
                    <a:pt x="30548" y="25192"/>
                  </a:lnTo>
                  <a:lnTo>
                    <a:pt x="30134" y="23499"/>
                  </a:lnTo>
                  <a:lnTo>
                    <a:pt x="29961" y="22669"/>
                  </a:lnTo>
                  <a:lnTo>
                    <a:pt x="29823" y="21840"/>
                  </a:lnTo>
                  <a:lnTo>
                    <a:pt x="29719" y="20976"/>
                  </a:lnTo>
                  <a:lnTo>
                    <a:pt x="29684" y="20112"/>
                  </a:lnTo>
                  <a:lnTo>
                    <a:pt x="29684" y="19214"/>
                  </a:lnTo>
                  <a:lnTo>
                    <a:pt x="29788" y="18281"/>
                  </a:lnTo>
                  <a:lnTo>
                    <a:pt x="29926" y="16967"/>
                  </a:lnTo>
                  <a:lnTo>
                    <a:pt x="30030" y="15862"/>
                  </a:lnTo>
                  <a:lnTo>
                    <a:pt x="30065" y="14963"/>
                  </a:lnTo>
                  <a:lnTo>
                    <a:pt x="30099" y="14272"/>
                  </a:lnTo>
                  <a:lnTo>
                    <a:pt x="30065" y="13339"/>
                  </a:lnTo>
                  <a:lnTo>
                    <a:pt x="30065" y="13063"/>
                  </a:lnTo>
                  <a:lnTo>
                    <a:pt x="29408" y="13235"/>
                  </a:lnTo>
                  <a:lnTo>
                    <a:pt x="28786" y="13374"/>
                  </a:lnTo>
                  <a:lnTo>
                    <a:pt x="28164" y="13477"/>
                  </a:lnTo>
                  <a:lnTo>
                    <a:pt x="27542" y="13581"/>
                  </a:lnTo>
                  <a:lnTo>
                    <a:pt x="26954" y="13615"/>
                  </a:lnTo>
                  <a:lnTo>
                    <a:pt x="26367" y="13650"/>
                  </a:lnTo>
                  <a:lnTo>
                    <a:pt x="25192" y="13650"/>
                  </a:lnTo>
                  <a:lnTo>
                    <a:pt x="24639" y="13581"/>
                  </a:lnTo>
                  <a:lnTo>
                    <a:pt x="24052" y="13512"/>
                  </a:lnTo>
                  <a:lnTo>
                    <a:pt x="22980" y="13339"/>
                  </a:lnTo>
                  <a:lnTo>
                    <a:pt x="21909" y="13097"/>
                  </a:lnTo>
                  <a:lnTo>
                    <a:pt x="20873" y="12752"/>
                  </a:lnTo>
                  <a:lnTo>
                    <a:pt x="19905" y="12406"/>
                  </a:lnTo>
                  <a:lnTo>
                    <a:pt x="18937" y="11991"/>
                  </a:lnTo>
                  <a:lnTo>
                    <a:pt x="18004" y="11577"/>
                  </a:lnTo>
                  <a:lnTo>
                    <a:pt x="17140" y="11127"/>
                  </a:lnTo>
                  <a:lnTo>
                    <a:pt x="15482" y="10194"/>
                  </a:lnTo>
                  <a:lnTo>
                    <a:pt x="13996" y="9365"/>
                  </a:lnTo>
                  <a:lnTo>
                    <a:pt x="13616" y="9089"/>
                  </a:lnTo>
                  <a:lnTo>
                    <a:pt x="13097" y="8708"/>
                  </a:lnTo>
                  <a:lnTo>
                    <a:pt x="11681" y="7603"/>
                  </a:lnTo>
                  <a:lnTo>
                    <a:pt x="9987" y="6186"/>
                  </a:lnTo>
                  <a:lnTo>
                    <a:pt x="8156" y="4596"/>
                  </a:lnTo>
                  <a:lnTo>
                    <a:pt x="4735" y="1659"/>
                  </a:lnTo>
                  <a:lnTo>
                    <a:pt x="3491" y="622"/>
                  </a:lnTo>
                  <a:lnTo>
                    <a:pt x="2800" y="69"/>
                  </a:lnTo>
                  <a:lnTo>
                    <a:pt x="2696" y="35"/>
                  </a:lnTo>
                  <a:lnTo>
                    <a:pt x="2592" y="0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" name="Google Shape;1550;p16">
              <a:extLst>
                <a:ext uri="{FF2B5EF4-FFF2-40B4-BE49-F238E27FC236}">
                  <a16:creationId xmlns:a16="http://schemas.microsoft.com/office/drawing/2014/main" id="{3A730444-0E52-5301-83D8-5DA376949C8E}"/>
                </a:ext>
              </a:extLst>
            </p:cNvPr>
            <p:cNvSpPr/>
            <p:nvPr/>
          </p:nvSpPr>
          <p:spPr>
            <a:xfrm>
              <a:off x="6280775" y="3011275"/>
              <a:ext cx="110600" cy="54450"/>
            </a:xfrm>
            <a:custGeom>
              <a:avLst/>
              <a:gdLst/>
              <a:ahLst/>
              <a:cxnLst/>
              <a:rect l="l" t="t" r="r" b="b"/>
              <a:pathLst>
                <a:path w="4424" h="2178" extrusionOk="0">
                  <a:moveTo>
                    <a:pt x="484" y="0"/>
                  </a:moveTo>
                  <a:lnTo>
                    <a:pt x="380" y="104"/>
                  </a:lnTo>
                  <a:lnTo>
                    <a:pt x="311" y="173"/>
                  </a:lnTo>
                  <a:lnTo>
                    <a:pt x="104" y="276"/>
                  </a:lnTo>
                  <a:lnTo>
                    <a:pt x="35" y="346"/>
                  </a:lnTo>
                  <a:lnTo>
                    <a:pt x="0" y="380"/>
                  </a:lnTo>
                  <a:lnTo>
                    <a:pt x="0" y="415"/>
                  </a:lnTo>
                  <a:lnTo>
                    <a:pt x="69" y="484"/>
                  </a:lnTo>
                  <a:lnTo>
                    <a:pt x="277" y="622"/>
                  </a:lnTo>
                  <a:lnTo>
                    <a:pt x="691" y="829"/>
                  </a:lnTo>
                  <a:lnTo>
                    <a:pt x="1832" y="1348"/>
                  </a:lnTo>
                  <a:lnTo>
                    <a:pt x="3387" y="2073"/>
                  </a:lnTo>
                  <a:lnTo>
                    <a:pt x="3456" y="2108"/>
                  </a:lnTo>
                  <a:lnTo>
                    <a:pt x="3490" y="2143"/>
                  </a:lnTo>
                  <a:lnTo>
                    <a:pt x="3594" y="2177"/>
                  </a:lnTo>
                  <a:lnTo>
                    <a:pt x="3698" y="2143"/>
                  </a:lnTo>
                  <a:lnTo>
                    <a:pt x="3801" y="2108"/>
                  </a:lnTo>
                  <a:lnTo>
                    <a:pt x="3905" y="2004"/>
                  </a:lnTo>
                  <a:lnTo>
                    <a:pt x="4043" y="1866"/>
                  </a:lnTo>
                  <a:lnTo>
                    <a:pt x="4182" y="1659"/>
                  </a:lnTo>
                  <a:lnTo>
                    <a:pt x="4251" y="1451"/>
                  </a:lnTo>
                  <a:lnTo>
                    <a:pt x="4354" y="1140"/>
                  </a:lnTo>
                  <a:lnTo>
                    <a:pt x="4389" y="899"/>
                  </a:lnTo>
                  <a:lnTo>
                    <a:pt x="4423" y="795"/>
                  </a:lnTo>
                  <a:lnTo>
                    <a:pt x="484" y="0"/>
                  </a:lnTo>
                  <a:close/>
                </a:path>
              </a:pathLst>
            </a:custGeom>
            <a:solidFill>
              <a:srgbClr val="E79E9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4" name="Google Shape;1551;p16">
              <a:extLst>
                <a:ext uri="{FF2B5EF4-FFF2-40B4-BE49-F238E27FC236}">
                  <a16:creationId xmlns:a16="http://schemas.microsoft.com/office/drawing/2014/main" id="{4EA0AA69-9EB6-A6DE-B8AC-D764020C6CEA}"/>
                </a:ext>
              </a:extLst>
            </p:cNvPr>
            <p:cNvSpPr/>
            <p:nvPr/>
          </p:nvSpPr>
          <p:spPr>
            <a:xfrm>
              <a:off x="6110575" y="1997900"/>
              <a:ext cx="331775" cy="1002150"/>
            </a:xfrm>
            <a:custGeom>
              <a:avLst/>
              <a:gdLst/>
              <a:ahLst/>
              <a:cxnLst/>
              <a:rect l="l" t="t" r="r" b="b"/>
              <a:pathLst>
                <a:path w="13271" h="40086" extrusionOk="0">
                  <a:moveTo>
                    <a:pt x="312" y="0"/>
                  </a:moveTo>
                  <a:lnTo>
                    <a:pt x="243" y="1037"/>
                  </a:lnTo>
                  <a:lnTo>
                    <a:pt x="173" y="2627"/>
                  </a:lnTo>
                  <a:lnTo>
                    <a:pt x="104" y="4631"/>
                  </a:lnTo>
                  <a:lnTo>
                    <a:pt x="35" y="6981"/>
                  </a:lnTo>
                  <a:lnTo>
                    <a:pt x="1" y="9573"/>
                  </a:lnTo>
                  <a:lnTo>
                    <a:pt x="35" y="12268"/>
                  </a:lnTo>
                  <a:lnTo>
                    <a:pt x="139" y="15067"/>
                  </a:lnTo>
                  <a:lnTo>
                    <a:pt x="208" y="16415"/>
                  </a:lnTo>
                  <a:lnTo>
                    <a:pt x="312" y="17762"/>
                  </a:lnTo>
                  <a:lnTo>
                    <a:pt x="450" y="19076"/>
                  </a:lnTo>
                  <a:lnTo>
                    <a:pt x="657" y="20492"/>
                  </a:lnTo>
                  <a:lnTo>
                    <a:pt x="934" y="21944"/>
                  </a:lnTo>
                  <a:lnTo>
                    <a:pt x="1245" y="23395"/>
                  </a:lnTo>
                  <a:lnTo>
                    <a:pt x="1590" y="24846"/>
                  </a:lnTo>
                  <a:lnTo>
                    <a:pt x="1970" y="26229"/>
                  </a:lnTo>
                  <a:lnTo>
                    <a:pt x="2627" y="28544"/>
                  </a:lnTo>
                  <a:lnTo>
                    <a:pt x="2869" y="29442"/>
                  </a:lnTo>
                  <a:lnTo>
                    <a:pt x="3007" y="30272"/>
                  </a:lnTo>
                  <a:lnTo>
                    <a:pt x="3111" y="31067"/>
                  </a:lnTo>
                  <a:lnTo>
                    <a:pt x="3180" y="31792"/>
                  </a:lnTo>
                  <a:lnTo>
                    <a:pt x="3214" y="32483"/>
                  </a:lnTo>
                  <a:lnTo>
                    <a:pt x="3180" y="33175"/>
                  </a:lnTo>
                  <a:lnTo>
                    <a:pt x="3145" y="34384"/>
                  </a:lnTo>
                  <a:lnTo>
                    <a:pt x="3111" y="35455"/>
                  </a:lnTo>
                  <a:lnTo>
                    <a:pt x="3145" y="35974"/>
                  </a:lnTo>
                  <a:lnTo>
                    <a:pt x="3214" y="36423"/>
                  </a:lnTo>
                  <a:lnTo>
                    <a:pt x="3318" y="36872"/>
                  </a:lnTo>
                  <a:lnTo>
                    <a:pt x="3491" y="37321"/>
                  </a:lnTo>
                  <a:lnTo>
                    <a:pt x="3733" y="37736"/>
                  </a:lnTo>
                  <a:lnTo>
                    <a:pt x="4044" y="38116"/>
                  </a:lnTo>
                  <a:lnTo>
                    <a:pt x="4493" y="38565"/>
                  </a:lnTo>
                  <a:lnTo>
                    <a:pt x="4977" y="38945"/>
                  </a:lnTo>
                  <a:lnTo>
                    <a:pt x="5495" y="39256"/>
                  </a:lnTo>
                  <a:lnTo>
                    <a:pt x="6013" y="39533"/>
                  </a:lnTo>
                  <a:lnTo>
                    <a:pt x="6566" y="39740"/>
                  </a:lnTo>
                  <a:lnTo>
                    <a:pt x="7119" y="39913"/>
                  </a:lnTo>
                  <a:lnTo>
                    <a:pt x="7672" y="40017"/>
                  </a:lnTo>
                  <a:lnTo>
                    <a:pt x="8225" y="40051"/>
                  </a:lnTo>
                  <a:lnTo>
                    <a:pt x="8813" y="40086"/>
                  </a:lnTo>
                  <a:lnTo>
                    <a:pt x="9400" y="40051"/>
                  </a:lnTo>
                  <a:lnTo>
                    <a:pt x="9953" y="39948"/>
                  </a:lnTo>
                  <a:lnTo>
                    <a:pt x="10540" y="39809"/>
                  </a:lnTo>
                  <a:lnTo>
                    <a:pt x="11093" y="39637"/>
                  </a:lnTo>
                  <a:lnTo>
                    <a:pt x="11646" y="39429"/>
                  </a:lnTo>
                  <a:lnTo>
                    <a:pt x="12164" y="39187"/>
                  </a:lnTo>
                  <a:lnTo>
                    <a:pt x="12683" y="38876"/>
                  </a:lnTo>
                  <a:lnTo>
                    <a:pt x="12787" y="38773"/>
                  </a:lnTo>
                  <a:lnTo>
                    <a:pt x="12925" y="38669"/>
                  </a:lnTo>
                  <a:lnTo>
                    <a:pt x="12994" y="38496"/>
                  </a:lnTo>
                  <a:lnTo>
                    <a:pt x="13098" y="38323"/>
                  </a:lnTo>
                  <a:lnTo>
                    <a:pt x="13201" y="37909"/>
                  </a:lnTo>
                  <a:lnTo>
                    <a:pt x="13236" y="37390"/>
                  </a:lnTo>
                  <a:lnTo>
                    <a:pt x="13270" y="36803"/>
                  </a:lnTo>
                  <a:lnTo>
                    <a:pt x="13201" y="36146"/>
                  </a:lnTo>
                  <a:lnTo>
                    <a:pt x="13132" y="35421"/>
                  </a:lnTo>
                  <a:lnTo>
                    <a:pt x="13028" y="34626"/>
                  </a:lnTo>
                  <a:lnTo>
                    <a:pt x="12717" y="32933"/>
                  </a:lnTo>
                  <a:lnTo>
                    <a:pt x="12303" y="31136"/>
                  </a:lnTo>
                  <a:lnTo>
                    <a:pt x="11473" y="27507"/>
                  </a:lnTo>
                  <a:lnTo>
                    <a:pt x="11128" y="25918"/>
                  </a:lnTo>
                  <a:lnTo>
                    <a:pt x="10817" y="24466"/>
                  </a:lnTo>
                  <a:lnTo>
                    <a:pt x="10713" y="23810"/>
                  </a:lnTo>
                  <a:lnTo>
                    <a:pt x="10644" y="23222"/>
                  </a:lnTo>
                  <a:lnTo>
                    <a:pt x="10609" y="22669"/>
                  </a:lnTo>
                  <a:lnTo>
                    <a:pt x="10575" y="22186"/>
                  </a:lnTo>
                  <a:lnTo>
                    <a:pt x="10644" y="20320"/>
                  </a:lnTo>
                  <a:lnTo>
                    <a:pt x="10713" y="19041"/>
                  </a:lnTo>
                  <a:lnTo>
                    <a:pt x="10748" y="17520"/>
                  </a:lnTo>
                  <a:lnTo>
                    <a:pt x="10782" y="16657"/>
                  </a:lnTo>
                  <a:lnTo>
                    <a:pt x="10748" y="15620"/>
                  </a:lnTo>
                  <a:lnTo>
                    <a:pt x="10644" y="12994"/>
                  </a:lnTo>
                  <a:lnTo>
                    <a:pt x="10575" y="11715"/>
                  </a:lnTo>
                  <a:lnTo>
                    <a:pt x="10402" y="10402"/>
                  </a:lnTo>
                  <a:lnTo>
                    <a:pt x="10160" y="9054"/>
                  </a:lnTo>
                  <a:lnTo>
                    <a:pt x="9884" y="7741"/>
                  </a:lnTo>
                  <a:lnTo>
                    <a:pt x="9711" y="7119"/>
                  </a:lnTo>
                  <a:lnTo>
                    <a:pt x="9504" y="6497"/>
                  </a:lnTo>
                  <a:lnTo>
                    <a:pt x="9331" y="5944"/>
                  </a:lnTo>
                  <a:lnTo>
                    <a:pt x="9089" y="5391"/>
                  </a:lnTo>
                  <a:lnTo>
                    <a:pt x="8882" y="4907"/>
                  </a:lnTo>
                  <a:lnTo>
                    <a:pt x="8640" y="4458"/>
                  </a:lnTo>
                  <a:lnTo>
                    <a:pt x="8363" y="4078"/>
                  </a:lnTo>
                  <a:lnTo>
                    <a:pt x="8087" y="3767"/>
                  </a:lnTo>
                  <a:lnTo>
                    <a:pt x="7430" y="3110"/>
                  </a:lnTo>
                  <a:lnTo>
                    <a:pt x="6774" y="2558"/>
                  </a:lnTo>
                  <a:lnTo>
                    <a:pt x="6083" y="2074"/>
                  </a:lnTo>
                  <a:lnTo>
                    <a:pt x="5391" y="1625"/>
                  </a:lnTo>
                  <a:lnTo>
                    <a:pt x="4735" y="1279"/>
                  </a:lnTo>
                  <a:lnTo>
                    <a:pt x="4113" y="968"/>
                  </a:lnTo>
                  <a:lnTo>
                    <a:pt x="3491" y="726"/>
                  </a:lnTo>
                  <a:lnTo>
                    <a:pt x="2903" y="519"/>
                  </a:lnTo>
                  <a:lnTo>
                    <a:pt x="2350" y="346"/>
                  </a:lnTo>
                  <a:lnTo>
                    <a:pt x="1867" y="242"/>
                  </a:lnTo>
                  <a:lnTo>
                    <a:pt x="1037" y="7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5" name="Google Shape;1552;p16">
              <a:extLst>
                <a:ext uri="{FF2B5EF4-FFF2-40B4-BE49-F238E27FC236}">
                  <a16:creationId xmlns:a16="http://schemas.microsoft.com/office/drawing/2014/main" id="{DE1749C8-064B-1D22-EF01-3BE71354BCC0}"/>
                </a:ext>
              </a:extLst>
            </p:cNvPr>
            <p:cNvSpPr/>
            <p:nvPr/>
          </p:nvSpPr>
          <p:spPr>
            <a:xfrm>
              <a:off x="6110575" y="1997900"/>
              <a:ext cx="331775" cy="1002150"/>
            </a:xfrm>
            <a:custGeom>
              <a:avLst/>
              <a:gdLst/>
              <a:ahLst/>
              <a:cxnLst/>
              <a:rect l="l" t="t" r="r" b="b"/>
              <a:pathLst>
                <a:path w="13271" h="40086" fill="none" extrusionOk="0">
                  <a:moveTo>
                    <a:pt x="12683" y="38876"/>
                  </a:moveTo>
                  <a:lnTo>
                    <a:pt x="12683" y="38876"/>
                  </a:lnTo>
                  <a:lnTo>
                    <a:pt x="12164" y="39187"/>
                  </a:lnTo>
                  <a:lnTo>
                    <a:pt x="11646" y="39429"/>
                  </a:lnTo>
                  <a:lnTo>
                    <a:pt x="11093" y="39637"/>
                  </a:lnTo>
                  <a:lnTo>
                    <a:pt x="10540" y="39809"/>
                  </a:lnTo>
                  <a:lnTo>
                    <a:pt x="9953" y="39948"/>
                  </a:lnTo>
                  <a:lnTo>
                    <a:pt x="9400" y="40051"/>
                  </a:lnTo>
                  <a:lnTo>
                    <a:pt x="8813" y="40086"/>
                  </a:lnTo>
                  <a:lnTo>
                    <a:pt x="8225" y="40051"/>
                  </a:lnTo>
                  <a:lnTo>
                    <a:pt x="7672" y="40017"/>
                  </a:lnTo>
                  <a:lnTo>
                    <a:pt x="7119" y="39913"/>
                  </a:lnTo>
                  <a:lnTo>
                    <a:pt x="6566" y="39740"/>
                  </a:lnTo>
                  <a:lnTo>
                    <a:pt x="6013" y="39533"/>
                  </a:lnTo>
                  <a:lnTo>
                    <a:pt x="5495" y="39256"/>
                  </a:lnTo>
                  <a:lnTo>
                    <a:pt x="4977" y="38945"/>
                  </a:lnTo>
                  <a:lnTo>
                    <a:pt x="4493" y="38565"/>
                  </a:lnTo>
                  <a:lnTo>
                    <a:pt x="4044" y="38116"/>
                  </a:lnTo>
                  <a:lnTo>
                    <a:pt x="4044" y="38116"/>
                  </a:lnTo>
                  <a:lnTo>
                    <a:pt x="3733" y="37736"/>
                  </a:lnTo>
                  <a:lnTo>
                    <a:pt x="3491" y="37321"/>
                  </a:lnTo>
                  <a:lnTo>
                    <a:pt x="3318" y="36872"/>
                  </a:lnTo>
                  <a:lnTo>
                    <a:pt x="3214" y="36423"/>
                  </a:lnTo>
                  <a:lnTo>
                    <a:pt x="3145" y="35974"/>
                  </a:lnTo>
                  <a:lnTo>
                    <a:pt x="3111" y="35455"/>
                  </a:lnTo>
                  <a:lnTo>
                    <a:pt x="3145" y="34384"/>
                  </a:lnTo>
                  <a:lnTo>
                    <a:pt x="3180" y="33175"/>
                  </a:lnTo>
                  <a:lnTo>
                    <a:pt x="3214" y="32483"/>
                  </a:lnTo>
                  <a:lnTo>
                    <a:pt x="3180" y="31792"/>
                  </a:lnTo>
                  <a:lnTo>
                    <a:pt x="3111" y="31067"/>
                  </a:lnTo>
                  <a:lnTo>
                    <a:pt x="3007" y="30272"/>
                  </a:lnTo>
                  <a:lnTo>
                    <a:pt x="2869" y="29442"/>
                  </a:lnTo>
                  <a:lnTo>
                    <a:pt x="2627" y="28544"/>
                  </a:lnTo>
                  <a:lnTo>
                    <a:pt x="2627" y="28544"/>
                  </a:lnTo>
                  <a:lnTo>
                    <a:pt x="1970" y="26229"/>
                  </a:lnTo>
                  <a:lnTo>
                    <a:pt x="1590" y="24846"/>
                  </a:lnTo>
                  <a:lnTo>
                    <a:pt x="1245" y="23395"/>
                  </a:lnTo>
                  <a:lnTo>
                    <a:pt x="934" y="21944"/>
                  </a:lnTo>
                  <a:lnTo>
                    <a:pt x="657" y="20492"/>
                  </a:lnTo>
                  <a:lnTo>
                    <a:pt x="450" y="19076"/>
                  </a:lnTo>
                  <a:lnTo>
                    <a:pt x="312" y="17762"/>
                  </a:lnTo>
                  <a:lnTo>
                    <a:pt x="312" y="17762"/>
                  </a:lnTo>
                  <a:lnTo>
                    <a:pt x="208" y="16415"/>
                  </a:lnTo>
                  <a:lnTo>
                    <a:pt x="139" y="15067"/>
                  </a:lnTo>
                  <a:lnTo>
                    <a:pt x="35" y="12268"/>
                  </a:lnTo>
                  <a:lnTo>
                    <a:pt x="1" y="9573"/>
                  </a:lnTo>
                  <a:lnTo>
                    <a:pt x="35" y="6981"/>
                  </a:lnTo>
                  <a:lnTo>
                    <a:pt x="104" y="4631"/>
                  </a:lnTo>
                  <a:lnTo>
                    <a:pt x="173" y="2627"/>
                  </a:lnTo>
                  <a:lnTo>
                    <a:pt x="243" y="1037"/>
                  </a:lnTo>
                  <a:lnTo>
                    <a:pt x="312" y="0"/>
                  </a:lnTo>
                  <a:lnTo>
                    <a:pt x="312" y="0"/>
                  </a:lnTo>
                  <a:lnTo>
                    <a:pt x="519" y="0"/>
                  </a:lnTo>
                  <a:lnTo>
                    <a:pt x="1037" y="70"/>
                  </a:lnTo>
                  <a:lnTo>
                    <a:pt x="1867" y="242"/>
                  </a:lnTo>
                  <a:lnTo>
                    <a:pt x="2350" y="346"/>
                  </a:lnTo>
                  <a:lnTo>
                    <a:pt x="2903" y="519"/>
                  </a:lnTo>
                  <a:lnTo>
                    <a:pt x="3491" y="726"/>
                  </a:lnTo>
                  <a:lnTo>
                    <a:pt x="4113" y="968"/>
                  </a:lnTo>
                  <a:lnTo>
                    <a:pt x="4735" y="1279"/>
                  </a:lnTo>
                  <a:lnTo>
                    <a:pt x="5391" y="1625"/>
                  </a:lnTo>
                  <a:lnTo>
                    <a:pt x="6083" y="2074"/>
                  </a:lnTo>
                  <a:lnTo>
                    <a:pt x="6774" y="2558"/>
                  </a:lnTo>
                  <a:lnTo>
                    <a:pt x="7430" y="3110"/>
                  </a:lnTo>
                  <a:lnTo>
                    <a:pt x="8087" y="3767"/>
                  </a:lnTo>
                  <a:lnTo>
                    <a:pt x="8087" y="3767"/>
                  </a:lnTo>
                  <a:lnTo>
                    <a:pt x="8363" y="4078"/>
                  </a:lnTo>
                  <a:lnTo>
                    <a:pt x="8640" y="4458"/>
                  </a:lnTo>
                  <a:lnTo>
                    <a:pt x="8882" y="4907"/>
                  </a:lnTo>
                  <a:lnTo>
                    <a:pt x="9089" y="5391"/>
                  </a:lnTo>
                  <a:lnTo>
                    <a:pt x="9331" y="5944"/>
                  </a:lnTo>
                  <a:lnTo>
                    <a:pt x="9504" y="6497"/>
                  </a:lnTo>
                  <a:lnTo>
                    <a:pt x="9711" y="7119"/>
                  </a:lnTo>
                  <a:lnTo>
                    <a:pt x="9884" y="7741"/>
                  </a:lnTo>
                  <a:lnTo>
                    <a:pt x="10160" y="9054"/>
                  </a:lnTo>
                  <a:lnTo>
                    <a:pt x="10402" y="10402"/>
                  </a:lnTo>
                  <a:lnTo>
                    <a:pt x="10575" y="11715"/>
                  </a:lnTo>
                  <a:lnTo>
                    <a:pt x="10644" y="12994"/>
                  </a:lnTo>
                  <a:lnTo>
                    <a:pt x="10644" y="12994"/>
                  </a:lnTo>
                  <a:lnTo>
                    <a:pt x="10748" y="15620"/>
                  </a:lnTo>
                  <a:lnTo>
                    <a:pt x="10748" y="15620"/>
                  </a:lnTo>
                  <a:lnTo>
                    <a:pt x="10782" y="16657"/>
                  </a:lnTo>
                  <a:lnTo>
                    <a:pt x="10748" y="17520"/>
                  </a:lnTo>
                  <a:lnTo>
                    <a:pt x="10713" y="19041"/>
                  </a:lnTo>
                  <a:lnTo>
                    <a:pt x="10713" y="19041"/>
                  </a:lnTo>
                  <a:lnTo>
                    <a:pt x="10644" y="20320"/>
                  </a:lnTo>
                  <a:lnTo>
                    <a:pt x="10644" y="20320"/>
                  </a:lnTo>
                  <a:lnTo>
                    <a:pt x="10644" y="20320"/>
                  </a:lnTo>
                  <a:lnTo>
                    <a:pt x="10575" y="22186"/>
                  </a:lnTo>
                  <a:lnTo>
                    <a:pt x="10575" y="22186"/>
                  </a:lnTo>
                  <a:lnTo>
                    <a:pt x="10609" y="22669"/>
                  </a:lnTo>
                  <a:lnTo>
                    <a:pt x="10644" y="23222"/>
                  </a:lnTo>
                  <a:lnTo>
                    <a:pt x="10713" y="23810"/>
                  </a:lnTo>
                  <a:lnTo>
                    <a:pt x="10817" y="24466"/>
                  </a:lnTo>
                  <a:lnTo>
                    <a:pt x="11128" y="25918"/>
                  </a:lnTo>
                  <a:lnTo>
                    <a:pt x="11473" y="27507"/>
                  </a:lnTo>
                  <a:lnTo>
                    <a:pt x="11473" y="27507"/>
                  </a:lnTo>
                  <a:lnTo>
                    <a:pt x="11473" y="27507"/>
                  </a:lnTo>
                  <a:lnTo>
                    <a:pt x="12303" y="31136"/>
                  </a:lnTo>
                  <a:lnTo>
                    <a:pt x="12717" y="32933"/>
                  </a:lnTo>
                  <a:lnTo>
                    <a:pt x="13028" y="34626"/>
                  </a:lnTo>
                  <a:lnTo>
                    <a:pt x="13132" y="35421"/>
                  </a:lnTo>
                  <a:lnTo>
                    <a:pt x="13201" y="36146"/>
                  </a:lnTo>
                  <a:lnTo>
                    <a:pt x="13270" y="36803"/>
                  </a:lnTo>
                  <a:lnTo>
                    <a:pt x="13236" y="37390"/>
                  </a:lnTo>
                  <a:lnTo>
                    <a:pt x="13201" y="37909"/>
                  </a:lnTo>
                  <a:lnTo>
                    <a:pt x="13098" y="38323"/>
                  </a:lnTo>
                  <a:lnTo>
                    <a:pt x="12994" y="38496"/>
                  </a:lnTo>
                  <a:lnTo>
                    <a:pt x="12925" y="38669"/>
                  </a:lnTo>
                  <a:lnTo>
                    <a:pt x="12787" y="38773"/>
                  </a:lnTo>
                  <a:lnTo>
                    <a:pt x="12683" y="38876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6" name="Google Shape;1553;p16">
              <a:extLst>
                <a:ext uri="{FF2B5EF4-FFF2-40B4-BE49-F238E27FC236}">
                  <a16:creationId xmlns:a16="http://schemas.microsoft.com/office/drawing/2014/main" id="{B9CCF617-74CC-C622-8AE7-84F72B9D0E51}"/>
                </a:ext>
              </a:extLst>
            </p:cNvPr>
            <p:cNvSpPr/>
            <p:nvPr/>
          </p:nvSpPr>
          <p:spPr>
            <a:xfrm>
              <a:off x="6154650" y="2061825"/>
              <a:ext cx="450100" cy="991800"/>
            </a:xfrm>
            <a:custGeom>
              <a:avLst/>
              <a:gdLst/>
              <a:ahLst/>
              <a:cxnLst/>
              <a:rect l="l" t="t" r="r" b="b"/>
              <a:pathLst>
                <a:path w="18004" h="39672" extrusionOk="0">
                  <a:moveTo>
                    <a:pt x="2695" y="1"/>
                  </a:moveTo>
                  <a:lnTo>
                    <a:pt x="2177" y="35"/>
                  </a:lnTo>
                  <a:lnTo>
                    <a:pt x="1659" y="104"/>
                  </a:lnTo>
                  <a:lnTo>
                    <a:pt x="1209" y="208"/>
                  </a:lnTo>
                  <a:lnTo>
                    <a:pt x="795" y="381"/>
                  </a:lnTo>
                  <a:lnTo>
                    <a:pt x="622" y="484"/>
                  </a:lnTo>
                  <a:lnTo>
                    <a:pt x="484" y="623"/>
                  </a:lnTo>
                  <a:lnTo>
                    <a:pt x="346" y="761"/>
                  </a:lnTo>
                  <a:lnTo>
                    <a:pt x="207" y="899"/>
                  </a:lnTo>
                  <a:lnTo>
                    <a:pt x="138" y="1072"/>
                  </a:lnTo>
                  <a:lnTo>
                    <a:pt x="69" y="1279"/>
                  </a:lnTo>
                  <a:lnTo>
                    <a:pt x="35" y="1486"/>
                  </a:lnTo>
                  <a:lnTo>
                    <a:pt x="0" y="1694"/>
                  </a:lnTo>
                  <a:lnTo>
                    <a:pt x="35" y="2143"/>
                  </a:lnTo>
                  <a:lnTo>
                    <a:pt x="69" y="2592"/>
                  </a:lnTo>
                  <a:lnTo>
                    <a:pt x="138" y="3007"/>
                  </a:lnTo>
                  <a:lnTo>
                    <a:pt x="242" y="3387"/>
                  </a:lnTo>
                  <a:lnTo>
                    <a:pt x="449" y="4113"/>
                  </a:lnTo>
                  <a:lnTo>
                    <a:pt x="691" y="4735"/>
                  </a:lnTo>
                  <a:lnTo>
                    <a:pt x="933" y="5219"/>
                  </a:lnTo>
                  <a:lnTo>
                    <a:pt x="1106" y="5599"/>
                  </a:lnTo>
                  <a:lnTo>
                    <a:pt x="1313" y="5910"/>
                  </a:lnTo>
                  <a:lnTo>
                    <a:pt x="2972" y="8605"/>
                  </a:lnTo>
                  <a:lnTo>
                    <a:pt x="4458" y="10920"/>
                  </a:lnTo>
                  <a:lnTo>
                    <a:pt x="5736" y="12890"/>
                  </a:lnTo>
                  <a:lnTo>
                    <a:pt x="6842" y="14549"/>
                  </a:lnTo>
                  <a:lnTo>
                    <a:pt x="7810" y="15931"/>
                  </a:lnTo>
                  <a:lnTo>
                    <a:pt x="8605" y="17071"/>
                  </a:lnTo>
                  <a:lnTo>
                    <a:pt x="9849" y="18730"/>
                  </a:lnTo>
                  <a:lnTo>
                    <a:pt x="10643" y="19767"/>
                  </a:lnTo>
                  <a:lnTo>
                    <a:pt x="10920" y="20147"/>
                  </a:lnTo>
                  <a:lnTo>
                    <a:pt x="11127" y="20458"/>
                  </a:lnTo>
                  <a:lnTo>
                    <a:pt x="11265" y="20734"/>
                  </a:lnTo>
                  <a:lnTo>
                    <a:pt x="11369" y="21045"/>
                  </a:lnTo>
                  <a:lnTo>
                    <a:pt x="11438" y="21426"/>
                  </a:lnTo>
                  <a:lnTo>
                    <a:pt x="11507" y="21840"/>
                  </a:lnTo>
                  <a:lnTo>
                    <a:pt x="11507" y="22117"/>
                  </a:lnTo>
                  <a:lnTo>
                    <a:pt x="11473" y="22428"/>
                  </a:lnTo>
                  <a:lnTo>
                    <a:pt x="11404" y="22808"/>
                  </a:lnTo>
                  <a:lnTo>
                    <a:pt x="11300" y="23257"/>
                  </a:lnTo>
                  <a:lnTo>
                    <a:pt x="11024" y="24259"/>
                  </a:lnTo>
                  <a:lnTo>
                    <a:pt x="10609" y="25434"/>
                  </a:lnTo>
                  <a:lnTo>
                    <a:pt x="10160" y="26713"/>
                  </a:lnTo>
                  <a:lnTo>
                    <a:pt x="9641" y="28060"/>
                  </a:lnTo>
                  <a:lnTo>
                    <a:pt x="8466" y="30894"/>
                  </a:lnTo>
                  <a:lnTo>
                    <a:pt x="7291" y="33589"/>
                  </a:lnTo>
                  <a:lnTo>
                    <a:pt x="6255" y="35870"/>
                  </a:lnTo>
                  <a:lnTo>
                    <a:pt x="5253" y="38047"/>
                  </a:lnTo>
                  <a:lnTo>
                    <a:pt x="5875" y="38393"/>
                  </a:lnTo>
                  <a:lnTo>
                    <a:pt x="6497" y="38704"/>
                  </a:lnTo>
                  <a:lnTo>
                    <a:pt x="7257" y="39049"/>
                  </a:lnTo>
                  <a:lnTo>
                    <a:pt x="8017" y="39360"/>
                  </a:lnTo>
                  <a:lnTo>
                    <a:pt x="8397" y="39499"/>
                  </a:lnTo>
                  <a:lnTo>
                    <a:pt x="8708" y="39602"/>
                  </a:lnTo>
                  <a:lnTo>
                    <a:pt x="9019" y="39671"/>
                  </a:lnTo>
                  <a:lnTo>
                    <a:pt x="9261" y="39671"/>
                  </a:lnTo>
                  <a:lnTo>
                    <a:pt x="9468" y="39637"/>
                  </a:lnTo>
                  <a:lnTo>
                    <a:pt x="9538" y="39602"/>
                  </a:lnTo>
                  <a:lnTo>
                    <a:pt x="9572" y="39568"/>
                  </a:lnTo>
                  <a:lnTo>
                    <a:pt x="10090" y="38669"/>
                  </a:lnTo>
                  <a:lnTo>
                    <a:pt x="11127" y="36734"/>
                  </a:lnTo>
                  <a:lnTo>
                    <a:pt x="12509" y="34039"/>
                  </a:lnTo>
                  <a:lnTo>
                    <a:pt x="14064" y="30894"/>
                  </a:lnTo>
                  <a:lnTo>
                    <a:pt x="14859" y="29270"/>
                  </a:lnTo>
                  <a:lnTo>
                    <a:pt x="15585" y="27646"/>
                  </a:lnTo>
                  <a:lnTo>
                    <a:pt x="16276" y="26091"/>
                  </a:lnTo>
                  <a:lnTo>
                    <a:pt x="16864" y="24605"/>
                  </a:lnTo>
                  <a:lnTo>
                    <a:pt x="17382" y="23222"/>
                  </a:lnTo>
                  <a:lnTo>
                    <a:pt x="17589" y="22600"/>
                  </a:lnTo>
                  <a:lnTo>
                    <a:pt x="17727" y="22048"/>
                  </a:lnTo>
                  <a:lnTo>
                    <a:pt x="17866" y="21495"/>
                  </a:lnTo>
                  <a:lnTo>
                    <a:pt x="17969" y="21045"/>
                  </a:lnTo>
                  <a:lnTo>
                    <a:pt x="18004" y="20631"/>
                  </a:lnTo>
                  <a:lnTo>
                    <a:pt x="18004" y="20285"/>
                  </a:lnTo>
                  <a:lnTo>
                    <a:pt x="17935" y="19905"/>
                  </a:lnTo>
                  <a:lnTo>
                    <a:pt x="17831" y="19490"/>
                  </a:lnTo>
                  <a:lnTo>
                    <a:pt x="17658" y="19007"/>
                  </a:lnTo>
                  <a:lnTo>
                    <a:pt x="17451" y="18488"/>
                  </a:lnTo>
                  <a:lnTo>
                    <a:pt x="16898" y="17313"/>
                  </a:lnTo>
                  <a:lnTo>
                    <a:pt x="16172" y="15966"/>
                  </a:lnTo>
                  <a:lnTo>
                    <a:pt x="15378" y="14549"/>
                  </a:lnTo>
                  <a:lnTo>
                    <a:pt x="14445" y="13028"/>
                  </a:lnTo>
                  <a:lnTo>
                    <a:pt x="13477" y="11473"/>
                  </a:lnTo>
                  <a:lnTo>
                    <a:pt x="12475" y="9918"/>
                  </a:lnTo>
                  <a:lnTo>
                    <a:pt x="10436" y="6877"/>
                  </a:lnTo>
                  <a:lnTo>
                    <a:pt x="8570" y="4251"/>
                  </a:lnTo>
                  <a:lnTo>
                    <a:pt x="7119" y="2281"/>
                  </a:lnTo>
                  <a:lnTo>
                    <a:pt x="6289" y="1210"/>
                  </a:lnTo>
                  <a:lnTo>
                    <a:pt x="6047" y="968"/>
                  </a:lnTo>
                  <a:lnTo>
                    <a:pt x="5702" y="726"/>
                  </a:lnTo>
                  <a:lnTo>
                    <a:pt x="5287" y="519"/>
                  </a:lnTo>
                  <a:lnTo>
                    <a:pt x="4803" y="346"/>
                  </a:lnTo>
                  <a:lnTo>
                    <a:pt x="4320" y="208"/>
                  </a:lnTo>
                  <a:lnTo>
                    <a:pt x="3767" y="104"/>
                  </a:lnTo>
                  <a:lnTo>
                    <a:pt x="3214" y="35"/>
                  </a:lnTo>
                  <a:lnTo>
                    <a:pt x="2695" y="1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7" name="Google Shape;1554;p16">
              <a:extLst>
                <a:ext uri="{FF2B5EF4-FFF2-40B4-BE49-F238E27FC236}">
                  <a16:creationId xmlns:a16="http://schemas.microsoft.com/office/drawing/2014/main" id="{904C48A6-CFB6-FF24-9309-CC82FF59090A}"/>
                </a:ext>
              </a:extLst>
            </p:cNvPr>
            <p:cNvSpPr/>
            <p:nvPr/>
          </p:nvSpPr>
          <p:spPr>
            <a:xfrm>
              <a:off x="6154650" y="2061825"/>
              <a:ext cx="450100" cy="991800"/>
            </a:xfrm>
            <a:custGeom>
              <a:avLst/>
              <a:gdLst/>
              <a:ahLst/>
              <a:cxnLst/>
              <a:rect l="l" t="t" r="r" b="b"/>
              <a:pathLst>
                <a:path w="18004" h="39672" fill="none" extrusionOk="0">
                  <a:moveTo>
                    <a:pt x="1313" y="5910"/>
                  </a:moveTo>
                  <a:lnTo>
                    <a:pt x="1313" y="5910"/>
                  </a:lnTo>
                  <a:lnTo>
                    <a:pt x="2972" y="8605"/>
                  </a:lnTo>
                  <a:lnTo>
                    <a:pt x="4458" y="10920"/>
                  </a:lnTo>
                  <a:lnTo>
                    <a:pt x="5736" y="12890"/>
                  </a:lnTo>
                  <a:lnTo>
                    <a:pt x="6842" y="14549"/>
                  </a:lnTo>
                  <a:lnTo>
                    <a:pt x="7810" y="15931"/>
                  </a:lnTo>
                  <a:lnTo>
                    <a:pt x="8605" y="17071"/>
                  </a:lnTo>
                  <a:lnTo>
                    <a:pt x="9849" y="18730"/>
                  </a:lnTo>
                  <a:lnTo>
                    <a:pt x="10643" y="19767"/>
                  </a:lnTo>
                  <a:lnTo>
                    <a:pt x="10920" y="20147"/>
                  </a:lnTo>
                  <a:lnTo>
                    <a:pt x="11127" y="20458"/>
                  </a:lnTo>
                  <a:lnTo>
                    <a:pt x="11265" y="20734"/>
                  </a:lnTo>
                  <a:lnTo>
                    <a:pt x="11369" y="21045"/>
                  </a:lnTo>
                  <a:lnTo>
                    <a:pt x="11438" y="21426"/>
                  </a:lnTo>
                  <a:lnTo>
                    <a:pt x="11507" y="21840"/>
                  </a:lnTo>
                  <a:lnTo>
                    <a:pt x="11507" y="21840"/>
                  </a:lnTo>
                  <a:lnTo>
                    <a:pt x="11507" y="22117"/>
                  </a:lnTo>
                  <a:lnTo>
                    <a:pt x="11473" y="22428"/>
                  </a:lnTo>
                  <a:lnTo>
                    <a:pt x="11404" y="22808"/>
                  </a:lnTo>
                  <a:lnTo>
                    <a:pt x="11300" y="23257"/>
                  </a:lnTo>
                  <a:lnTo>
                    <a:pt x="11024" y="24259"/>
                  </a:lnTo>
                  <a:lnTo>
                    <a:pt x="10609" y="25434"/>
                  </a:lnTo>
                  <a:lnTo>
                    <a:pt x="10160" y="26713"/>
                  </a:lnTo>
                  <a:lnTo>
                    <a:pt x="9641" y="28060"/>
                  </a:lnTo>
                  <a:lnTo>
                    <a:pt x="8466" y="30894"/>
                  </a:lnTo>
                  <a:lnTo>
                    <a:pt x="7291" y="33589"/>
                  </a:lnTo>
                  <a:lnTo>
                    <a:pt x="6255" y="35870"/>
                  </a:lnTo>
                  <a:lnTo>
                    <a:pt x="5253" y="38047"/>
                  </a:lnTo>
                  <a:lnTo>
                    <a:pt x="5253" y="38047"/>
                  </a:lnTo>
                  <a:lnTo>
                    <a:pt x="5875" y="38393"/>
                  </a:lnTo>
                  <a:lnTo>
                    <a:pt x="6497" y="38704"/>
                  </a:lnTo>
                  <a:lnTo>
                    <a:pt x="7257" y="39049"/>
                  </a:lnTo>
                  <a:lnTo>
                    <a:pt x="8017" y="39360"/>
                  </a:lnTo>
                  <a:lnTo>
                    <a:pt x="8397" y="39499"/>
                  </a:lnTo>
                  <a:lnTo>
                    <a:pt x="8708" y="39602"/>
                  </a:lnTo>
                  <a:lnTo>
                    <a:pt x="9019" y="39671"/>
                  </a:lnTo>
                  <a:lnTo>
                    <a:pt x="9261" y="39671"/>
                  </a:lnTo>
                  <a:lnTo>
                    <a:pt x="9468" y="39637"/>
                  </a:lnTo>
                  <a:lnTo>
                    <a:pt x="9538" y="39602"/>
                  </a:lnTo>
                  <a:lnTo>
                    <a:pt x="9572" y="39568"/>
                  </a:lnTo>
                  <a:lnTo>
                    <a:pt x="9572" y="39568"/>
                  </a:lnTo>
                  <a:lnTo>
                    <a:pt x="10090" y="38669"/>
                  </a:lnTo>
                  <a:lnTo>
                    <a:pt x="11127" y="36734"/>
                  </a:lnTo>
                  <a:lnTo>
                    <a:pt x="12509" y="34039"/>
                  </a:lnTo>
                  <a:lnTo>
                    <a:pt x="14064" y="30894"/>
                  </a:lnTo>
                  <a:lnTo>
                    <a:pt x="14859" y="29270"/>
                  </a:lnTo>
                  <a:lnTo>
                    <a:pt x="15585" y="27646"/>
                  </a:lnTo>
                  <a:lnTo>
                    <a:pt x="16276" y="26091"/>
                  </a:lnTo>
                  <a:lnTo>
                    <a:pt x="16864" y="24605"/>
                  </a:lnTo>
                  <a:lnTo>
                    <a:pt x="17382" y="23222"/>
                  </a:lnTo>
                  <a:lnTo>
                    <a:pt x="17589" y="22600"/>
                  </a:lnTo>
                  <a:lnTo>
                    <a:pt x="17727" y="22048"/>
                  </a:lnTo>
                  <a:lnTo>
                    <a:pt x="17866" y="21495"/>
                  </a:lnTo>
                  <a:lnTo>
                    <a:pt x="17969" y="21045"/>
                  </a:lnTo>
                  <a:lnTo>
                    <a:pt x="18004" y="20631"/>
                  </a:lnTo>
                  <a:lnTo>
                    <a:pt x="18004" y="20285"/>
                  </a:lnTo>
                  <a:lnTo>
                    <a:pt x="18004" y="20285"/>
                  </a:lnTo>
                  <a:lnTo>
                    <a:pt x="17935" y="19905"/>
                  </a:lnTo>
                  <a:lnTo>
                    <a:pt x="17831" y="19490"/>
                  </a:lnTo>
                  <a:lnTo>
                    <a:pt x="17658" y="19007"/>
                  </a:lnTo>
                  <a:lnTo>
                    <a:pt x="17451" y="18488"/>
                  </a:lnTo>
                  <a:lnTo>
                    <a:pt x="16898" y="17313"/>
                  </a:lnTo>
                  <a:lnTo>
                    <a:pt x="16172" y="15966"/>
                  </a:lnTo>
                  <a:lnTo>
                    <a:pt x="15378" y="14549"/>
                  </a:lnTo>
                  <a:lnTo>
                    <a:pt x="14445" y="13028"/>
                  </a:lnTo>
                  <a:lnTo>
                    <a:pt x="13477" y="11473"/>
                  </a:lnTo>
                  <a:lnTo>
                    <a:pt x="12475" y="9918"/>
                  </a:lnTo>
                  <a:lnTo>
                    <a:pt x="10436" y="6877"/>
                  </a:lnTo>
                  <a:lnTo>
                    <a:pt x="8570" y="4251"/>
                  </a:lnTo>
                  <a:lnTo>
                    <a:pt x="7119" y="2281"/>
                  </a:lnTo>
                  <a:lnTo>
                    <a:pt x="6289" y="1210"/>
                  </a:lnTo>
                  <a:lnTo>
                    <a:pt x="6289" y="1210"/>
                  </a:lnTo>
                  <a:lnTo>
                    <a:pt x="6047" y="968"/>
                  </a:lnTo>
                  <a:lnTo>
                    <a:pt x="5702" y="726"/>
                  </a:lnTo>
                  <a:lnTo>
                    <a:pt x="5287" y="519"/>
                  </a:lnTo>
                  <a:lnTo>
                    <a:pt x="4803" y="346"/>
                  </a:lnTo>
                  <a:lnTo>
                    <a:pt x="4320" y="208"/>
                  </a:lnTo>
                  <a:lnTo>
                    <a:pt x="3767" y="104"/>
                  </a:lnTo>
                  <a:lnTo>
                    <a:pt x="3214" y="35"/>
                  </a:lnTo>
                  <a:lnTo>
                    <a:pt x="2695" y="1"/>
                  </a:lnTo>
                  <a:lnTo>
                    <a:pt x="2177" y="35"/>
                  </a:lnTo>
                  <a:lnTo>
                    <a:pt x="1659" y="104"/>
                  </a:lnTo>
                  <a:lnTo>
                    <a:pt x="1209" y="208"/>
                  </a:lnTo>
                  <a:lnTo>
                    <a:pt x="795" y="381"/>
                  </a:lnTo>
                  <a:lnTo>
                    <a:pt x="622" y="484"/>
                  </a:lnTo>
                  <a:lnTo>
                    <a:pt x="484" y="623"/>
                  </a:lnTo>
                  <a:lnTo>
                    <a:pt x="346" y="761"/>
                  </a:lnTo>
                  <a:lnTo>
                    <a:pt x="207" y="899"/>
                  </a:lnTo>
                  <a:lnTo>
                    <a:pt x="138" y="1072"/>
                  </a:lnTo>
                  <a:lnTo>
                    <a:pt x="69" y="1279"/>
                  </a:lnTo>
                  <a:lnTo>
                    <a:pt x="35" y="1486"/>
                  </a:lnTo>
                  <a:lnTo>
                    <a:pt x="0" y="1694"/>
                  </a:lnTo>
                  <a:lnTo>
                    <a:pt x="0" y="1694"/>
                  </a:lnTo>
                  <a:lnTo>
                    <a:pt x="35" y="2143"/>
                  </a:lnTo>
                  <a:lnTo>
                    <a:pt x="69" y="2592"/>
                  </a:lnTo>
                  <a:lnTo>
                    <a:pt x="138" y="3007"/>
                  </a:lnTo>
                  <a:lnTo>
                    <a:pt x="242" y="3387"/>
                  </a:lnTo>
                  <a:lnTo>
                    <a:pt x="449" y="4113"/>
                  </a:lnTo>
                  <a:lnTo>
                    <a:pt x="691" y="4735"/>
                  </a:lnTo>
                  <a:lnTo>
                    <a:pt x="933" y="5219"/>
                  </a:lnTo>
                  <a:lnTo>
                    <a:pt x="1106" y="5599"/>
                  </a:lnTo>
                  <a:lnTo>
                    <a:pt x="1313" y="591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8" name="Google Shape;1555;p16">
              <a:extLst>
                <a:ext uri="{FF2B5EF4-FFF2-40B4-BE49-F238E27FC236}">
                  <a16:creationId xmlns:a16="http://schemas.microsoft.com/office/drawing/2014/main" id="{E0083373-2FB2-72B6-9F40-69563F17456F}"/>
                </a:ext>
              </a:extLst>
            </p:cNvPr>
            <p:cNvSpPr/>
            <p:nvPr/>
          </p:nvSpPr>
          <p:spPr>
            <a:xfrm>
              <a:off x="6302375" y="2405675"/>
              <a:ext cx="95050" cy="279925"/>
            </a:xfrm>
            <a:custGeom>
              <a:avLst/>
              <a:gdLst/>
              <a:ahLst/>
              <a:cxnLst/>
              <a:rect l="l" t="t" r="r" b="b"/>
              <a:pathLst>
                <a:path w="3802" h="11197" extrusionOk="0">
                  <a:moveTo>
                    <a:pt x="0" y="0"/>
                  </a:moveTo>
                  <a:lnTo>
                    <a:pt x="35" y="380"/>
                  </a:lnTo>
                  <a:lnTo>
                    <a:pt x="104" y="1313"/>
                  </a:lnTo>
                  <a:lnTo>
                    <a:pt x="277" y="2730"/>
                  </a:lnTo>
                  <a:lnTo>
                    <a:pt x="415" y="3525"/>
                  </a:lnTo>
                  <a:lnTo>
                    <a:pt x="588" y="4423"/>
                  </a:lnTo>
                  <a:lnTo>
                    <a:pt x="795" y="5322"/>
                  </a:lnTo>
                  <a:lnTo>
                    <a:pt x="1037" y="6255"/>
                  </a:lnTo>
                  <a:lnTo>
                    <a:pt x="1348" y="7188"/>
                  </a:lnTo>
                  <a:lnTo>
                    <a:pt x="1693" y="8121"/>
                  </a:lnTo>
                  <a:lnTo>
                    <a:pt x="2143" y="8985"/>
                  </a:lnTo>
                  <a:lnTo>
                    <a:pt x="2350" y="9399"/>
                  </a:lnTo>
                  <a:lnTo>
                    <a:pt x="2626" y="9814"/>
                  </a:lnTo>
                  <a:lnTo>
                    <a:pt x="2868" y="10194"/>
                  </a:lnTo>
                  <a:lnTo>
                    <a:pt x="3179" y="10540"/>
                  </a:lnTo>
                  <a:lnTo>
                    <a:pt x="3456" y="10885"/>
                  </a:lnTo>
                  <a:lnTo>
                    <a:pt x="3801" y="11196"/>
                  </a:lnTo>
                  <a:lnTo>
                    <a:pt x="3801" y="11196"/>
                  </a:lnTo>
                  <a:lnTo>
                    <a:pt x="3456" y="9641"/>
                  </a:lnTo>
                  <a:lnTo>
                    <a:pt x="3179" y="8259"/>
                  </a:lnTo>
                  <a:lnTo>
                    <a:pt x="2972" y="7015"/>
                  </a:lnTo>
                  <a:lnTo>
                    <a:pt x="2937" y="6462"/>
                  </a:lnTo>
                  <a:lnTo>
                    <a:pt x="2903" y="5978"/>
                  </a:lnTo>
                  <a:lnTo>
                    <a:pt x="2903" y="5875"/>
                  </a:lnTo>
                  <a:lnTo>
                    <a:pt x="2972" y="40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C46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9" name="Google Shape;1556;p16">
              <a:extLst>
                <a:ext uri="{FF2B5EF4-FFF2-40B4-BE49-F238E27FC236}">
                  <a16:creationId xmlns:a16="http://schemas.microsoft.com/office/drawing/2014/main" id="{FE9F6E8F-66C7-7521-831D-53B0499CFCE5}"/>
                </a:ext>
              </a:extLst>
            </p:cNvPr>
            <p:cNvSpPr/>
            <p:nvPr/>
          </p:nvSpPr>
          <p:spPr>
            <a:xfrm>
              <a:off x="6302375" y="2405675"/>
              <a:ext cx="95050" cy="279925"/>
            </a:xfrm>
            <a:custGeom>
              <a:avLst/>
              <a:gdLst/>
              <a:ahLst/>
              <a:cxnLst/>
              <a:rect l="l" t="t" r="r" b="b"/>
              <a:pathLst>
                <a:path w="3802" h="11197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35" y="380"/>
                  </a:lnTo>
                  <a:lnTo>
                    <a:pt x="104" y="1313"/>
                  </a:lnTo>
                  <a:lnTo>
                    <a:pt x="277" y="2730"/>
                  </a:lnTo>
                  <a:lnTo>
                    <a:pt x="415" y="3525"/>
                  </a:lnTo>
                  <a:lnTo>
                    <a:pt x="588" y="4423"/>
                  </a:lnTo>
                  <a:lnTo>
                    <a:pt x="795" y="5322"/>
                  </a:lnTo>
                  <a:lnTo>
                    <a:pt x="1037" y="6255"/>
                  </a:lnTo>
                  <a:lnTo>
                    <a:pt x="1348" y="7188"/>
                  </a:lnTo>
                  <a:lnTo>
                    <a:pt x="1693" y="8121"/>
                  </a:lnTo>
                  <a:lnTo>
                    <a:pt x="2143" y="8985"/>
                  </a:lnTo>
                  <a:lnTo>
                    <a:pt x="2350" y="9399"/>
                  </a:lnTo>
                  <a:lnTo>
                    <a:pt x="2626" y="9814"/>
                  </a:lnTo>
                  <a:lnTo>
                    <a:pt x="2868" y="10194"/>
                  </a:lnTo>
                  <a:lnTo>
                    <a:pt x="3179" y="10540"/>
                  </a:lnTo>
                  <a:lnTo>
                    <a:pt x="3456" y="10885"/>
                  </a:lnTo>
                  <a:lnTo>
                    <a:pt x="3801" y="11196"/>
                  </a:lnTo>
                  <a:lnTo>
                    <a:pt x="3801" y="11196"/>
                  </a:lnTo>
                  <a:lnTo>
                    <a:pt x="3456" y="9641"/>
                  </a:lnTo>
                  <a:lnTo>
                    <a:pt x="3179" y="8259"/>
                  </a:lnTo>
                  <a:lnTo>
                    <a:pt x="2972" y="7015"/>
                  </a:lnTo>
                  <a:lnTo>
                    <a:pt x="2937" y="6462"/>
                  </a:lnTo>
                  <a:lnTo>
                    <a:pt x="2903" y="5978"/>
                  </a:lnTo>
                  <a:lnTo>
                    <a:pt x="2903" y="5978"/>
                  </a:lnTo>
                  <a:lnTo>
                    <a:pt x="2903" y="5875"/>
                  </a:lnTo>
                  <a:lnTo>
                    <a:pt x="2903" y="5875"/>
                  </a:lnTo>
                  <a:lnTo>
                    <a:pt x="2972" y="4009"/>
                  </a:lnTo>
                  <a:lnTo>
                    <a:pt x="2972" y="4009"/>
                  </a:lnTo>
                  <a:lnTo>
                    <a:pt x="2972" y="400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0" name="Google Shape;1557;p16">
              <a:extLst>
                <a:ext uri="{FF2B5EF4-FFF2-40B4-BE49-F238E27FC236}">
                  <a16:creationId xmlns:a16="http://schemas.microsoft.com/office/drawing/2014/main" id="{874CF775-6D0A-4B3B-76F9-13550D89F8ED}"/>
                </a:ext>
              </a:extLst>
            </p:cNvPr>
            <p:cNvSpPr/>
            <p:nvPr/>
          </p:nvSpPr>
          <p:spPr>
            <a:xfrm>
              <a:off x="6402575" y="27071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C7C7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1" name="Google Shape;1558;p16">
              <a:extLst>
                <a:ext uri="{FF2B5EF4-FFF2-40B4-BE49-F238E27FC236}">
                  <a16:creationId xmlns:a16="http://schemas.microsoft.com/office/drawing/2014/main" id="{C2E141E4-3A7B-162B-ECB6-A40365968CE9}"/>
                </a:ext>
              </a:extLst>
            </p:cNvPr>
            <p:cNvSpPr/>
            <p:nvPr/>
          </p:nvSpPr>
          <p:spPr>
            <a:xfrm>
              <a:off x="6402575" y="27071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2" name="Google Shape;1559;p16">
              <a:extLst>
                <a:ext uri="{FF2B5EF4-FFF2-40B4-BE49-F238E27FC236}">
                  <a16:creationId xmlns:a16="http://schemas.microsoft.com/office/drawing/2014/main" id="{06903055-5D7C-0B72-6895-987580DCAC58}"/>
                </a:ext>
              </a:extLst>
            </p:cNvPr>
            <p:cNvSpPr/>
            <p:nvPr/>
          </p:nvSpPr>
          <p:spPr>
            <a:xfrm>
              <a:off x="6298900" y="2707175"/>
              <a:ext cx="108900" cy="279050"/>
            </a:xfrm>
            <a:custGeom>
              <a:avLst/>
              <a:gdLst/>
              <a:ahLst/>
              <a:cxnLst/>
              <a:rect l="l" t="t" r="r" b="b"/>
              <a:pathLst>
                <a:path w="4356" h="11162" extrusionOk="0">
                  <a:moveTo>
                    <a:pt x="4148" y="0"/>
                  </a:moveTo>
                  <a:lnTo>
                    <a:pt x="1" y="11162"/>
                  </a:lnTo>
                  <a:lnTo>
                    <a:pt x="865" y="9227"/>
                  </a:lnTo>
                  <a:lnTo>
                    <a:pt x="2005" y="6670"/>
                  </a:lnTo>
                  <a:lnTo>
                    <a:pt x="3215" y="3801"/>
                  </a:lnTo>
                  <a:lnTo>
                    <a:pt x="3802" y="2350"/>
                  </a:lnTo>
                  <a:lnTo>
                    <a:pt x="4355" y="968"/>
                  </a:lnTo>
                  <a:lnTo>
                    <a:pt x="4148" y="0"/>
                  </a:lnTo>
                  <a:close/>
                </a:path>
              </a:pathLst>
            </a:custGeom>
            <a:solidFill>
              <a:srgbClr val="AC46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3" name="Google Shape;1560;p16">
              <a:extLst>
                <a:ext uri="{FF2B5EF4-FFF2-40B4-BE49-F238E27FC236}">
                  <a16:creationId xmlns:a16="http://schemas.microsoft.com/office/drawing/2014/main" id="{58EEA07D-A2C6-65CC-B06B-093E70456AAA}"/>
                </a:ext>
              </a:extLst>
            </p:cNvPr>
            <p:cNvSpPr/>
            <p:nvPr/>
          </p:nvSpPr>
          <p:spPr>
            <a:xfrm>
              <a:off x="6298900" y="2707175"/>
              <a:ext cx="108900" cy="279050"/>
            </a:xfrm>
            <a:custGeom>
              <a:avLst/>
              <a:gdLst/>
              <a:ahLst/>
              <a:cxnLst/>
              <a:rect l="l" t="t" r="r" b="b"/>
              <a:pathLst>
                <a:path w="4356" h="11162" fill="none" extrusionOk="0">
                  <a:moveTo>
                    <a:pt x="4148" y="0"/>
                  </a:moveTo>
                  <a:lnTo>
                    <a:pt x="1" y="11162"/>
                  </a:lnTo>
                  <a:lnTo>
                    <a:pt x="1" y="11162"/>
                  </a:lnTo>
                  <a:lnTo>
                    <a:pt x="865" y="9227"/>
                  </a:lnTo>
                  <a:lnTo>
                    <a:pt x="2005" y="6670"/>
                  </a:lnTo>
                  <a:lnTo>
                    <a:pt x="3215" y="3801"/>
                  </a:lnTo>
                  <a:lnTo>
                    <a:pt x="3802" y="2350"/>
                  </a:lnTo>
                  <a:lnTo>
                    <a:pt x="4355" y="968"/>
                  </a:lnTo>
                  <a:lnTo>
                    <a:pt x="4148" y="0"/>
                  </a:lnTo>
                  <a:lnTo>
                    <a:pt x="4148" y="0"/>
                  </a:lnTo>
                  <a:lnTo>
                    <a:pt x="414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4" name="Google Shape;1561;p16">
              <a:extLst>
                <a:ext uri="{FF2B5EF4-FFF2-40B4-BE49-F238E27FC236}">
                  <a16:creationId xmlns:a16="http://schemas.microsoft.com/office/drawing/2014/main" id="{A4BE8BF2-FF64-08D3-9F5F-35C302EFE0F3}"/>
                </a:ext>
              </a:extLst>
            </p:cNvPr>
            <p:cNvSpPr/>
            <p:nvPr/>
          </p:nvSpPr>
          <p:spPr>
            <a:xfrm>
              <a:off x="6295450" y="2731350"/>
              <a:ext cx="115800" cy="263525"/>
            </a:xfrm>
            <a:custGeom>
              <a:avLst/>
              <a:gdLst/>
              <a:ahLst/>
              <a:cxnLst/>
              <a:rect l="l" t="t" r="r" b="b"/>
              <a:pathLst>
                <a:path w="4632" h="10541" extrusionOk="0">
                  <a:moveTo>
                    <a:pt x="4493" y="1"/>
                  </a:moveTo>
                  <a:lnTo>
                    <a:pt x="3940" y="1383"/>
                  </a:lnTo>
                  <a:lnTo>
                    <a:pt x="3353" y="2834"/>
                  </a:lnTo>
                  <a:lnTo>
                    <a:pt x="2143" y="5703"/>
                  </a:lnTo>
                  <a:lnTo>
                    <a:pt x="1003" y="8260"/>
                  </a:lnTo>
                  <a:lnTo>
                    <a:pt x="139" y="10195"/>
                  </a:lnTo>
                  <a:lnTo>
                    <a:pt x="1" y="10540"/>
                  </a:lnTo>
                  <a:lnTo>
                    <a:pt x="692" y="9124"/>
                  </a:lnTo>
                  <a:lnTo>
                    <a:pt x="2247" y="5979"/>
                  </a:lnTo>
                  <a:lnTo>
                    <a:pt x="3076" y="4217"/>
                  </a:lnTo>
                  <a:lnTo>
                    <a:pt x="3802" y="2627"/>
                  </a:lnTo>
                  <a:lnTo>
                    <a:pt x="4355" y="1348"/>
                  </a:lnTo>
                  <a:lnTo>
                    <a:pt x="4562" y="899"/>
                  </a:lnTo>
                  <a:lnTo>
                    <a:pt x="4631" y="588"/>
                  </a:lnTo>
                  <a:lnTo>
                    <a:pt x="4493" y="1"/>
                  </a:lnTo>
                  <a:close/>
                </a:path>
              </a:pathLst>
            </a:custGeom>
            <a:solidFill>
              <a:srgbClr val="AC46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5" name="Google Shape;1562;p16">
              <a:extLst>
                <a:ext uri="{FF2B5EF4-FFF2-40B4-BE49-F238E27FC236}">
                  <a16:creationId xmlns:a16="http://schemas.microsoft.com/office/drawing/2014/main" id="{9DCF25E2-4BBC-D203-829F-CEC3C589E0E2}"/>
                </a:ext>
              </a:extLst>
            </p:cNvPr>
            <p:cNvSpPr/>
            <p:nvPr/>
          </p:nvSpPr>
          <p:spPr>
            <a:xfrm>
              <a:off x="6295450" y="2731350"/>
              <a:ext cx="115800" cy="263525"/>
            </a:xfrm>
            <a:custGeom>
              <a:avLst/>
              <a:gdLst/>
              <a:ahLst/>
              <a:cxnLst/>
              <a:rect l="l" t="t" r="r" b="b"/>
              <a:pathLst>
                <a:path w="4632" h="10541" fill="none" extrusionOk="0">
                  <a:moveTo>
                    <a:pt x="4493" y="1"/>
                  </a:moveTo>
                  <a:lnTo>
                    <a:pt x="4493" y="1"/>
                  </a:lnTo>
                  <a:lnTo>
                    <a:pt x="3940" y="1383"/>
                  </a:lnTo>
                  <a:lnTo>
                    <a:pt x="3353" y="2834"/>
                  </a:lnTo>
                  <a:lnTo>
                    <a:pt x="2143" y="5703"/>
                  </a:lnTo>
                  <a:lnTo>
                    <a:pt x="1003" y="8260"/>
                  </a:lnTo>
                  <a:lnTo>
                    <a:pt x="139" y="10195"/>
                  </a:lnTo>
                  <a:lnTo>
                    <a:pt x="1" y="10540"/>
                  </a:lnTo>
                  <a:lnTo>
                    <a:pt x="1" y="10540"/>
                  </a:lnTo>
                  <a:lnTo>
                    <a:pt x="692" y="9124"/>
                  </a:lnTo>
                  <a:lnTo>
                    <a:pt x="2247" y="5979"/>
                  </a:lnTo>
                  <a:lnTo>
                    <a:pt x="3076" y="4217"/>
                  </a:lnTo>
                  <a:lnTo>
                    <a:pt x="3802" y="2627"/>
                  </a:lnTo>
                  <a:lnTo>
                    <a:pt x="4355" y="1348"/>
                  </a:lnTo>
                  <a:lnTo>
                    <a:pt x="4562" y="899"/>
                  </a:lnTo>
                  <a:lnTo>
                    <a:pt x="4631" y="588"/>
                  </a:lnTo>
                  <a:lnTo>
                    <a:pt x="4493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6" name="Google Shape;1563;p16">
              <a:extLst>
                <a:ext uri="{FF2B5EF4-FFF2-40B4-BE49-F238E27FC236}">
                  <a16:creationId xmlns:a16="http://schemas.microsoft.com/office/drawing/2014/main" id="{FD588467-5B9B-030A-23B6-40EEB2AB7B16}"/>
                </a:ext>
              </a:extLst>
            </p:cNvPr>
            <p:cNvSpPr/>
            <p:nvPr/>
          </p:nvSpPr>
          <p:spPr>
            <a:xfrm>
              <a:off x="6409500" y="2225100"/>
              <a:ext cx="15575" cy="23350"/>
            </a:xfrm>
            <a:custGeom>
              <a:avLst/>
              <a:gdLst/>
              <a:ahLst/>
              <a:cxnLst/>
              <a:rect l="l" t="t" r="r" b="b"/>
              <a:pathLst>
                <a:path w="623" h="934" extrusionOk="0">
                  <a:moveTo>
                    <a:pt x="0" y="1"/>
                  </a:moveTo>
                  <a:lnTo>
                    <a:pt x="622" y="934"/>
                  </a:lnTo>
                  <a:lnTo>
                    <a:pt x="311" y="41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7D7D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7" name="Google Shape;1564;p16">
              <a:extLst>
                <a:ext uri="{FF2B5EF4-FFF2-40B4-BE49-F238E27FC236}">
                  <a16:creationId xmlns:a16="http://schemas.microsoft.com/office/drawing/2014/main" id="{FFE91FFC-B033-1D31-1077-1CBF69C0141B}"/>
                </a:ext>
              </a:extLst>
            </p:cNvPr>
            <p:cNvSpPr/>
            <p:nvPr/>
          </p:nvSpPr>
          <p:spPr>
            <a:xfrm>
              <a:off x="6409500" y="2225100"/>
              <a:ext cx="15575" cy="23350"/>
            </a:xfrm>
            <a:custGeom>
              <a:avLst/>
              <a:gdLst/>
              <a:ahLst/>
              <a:cxnLst/>
              <a:rect l="l" t="t" r="r" b="b"/>
              <a:pathLst>
                <a:path w="623" h="934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622" y="934"/>
                  </a:lnTo>
                  <a:lnTo>
                    <a:pt x="622" y="934"/>
                  </a:lnTo>
                  <a:lnTo>
                    <a:pt x="311" y="415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8" name="Google Shape;1565;p16">
              <a:extLst>
                <a:ext uri="{FF2B5EF4-FFF2-40B4-BE49-F238E27FC236}">
                  <a16:creationId xmlns:a16="http://schemas.microsoft.com/office/drawing/2014/main" id="{5A119915-3C8A-9F74-7DA6-159BFCCD123A}"/>
                </a:ext>
              </a:extLst>
            </p:cNvPr>
            <p:cNvSpPr/>
            <p:nvPr/>
          </p:nvSpPr>
          <p:spPr>
            <a:xfrm>
              <a:off x="6037150" y="2058375"/>
              <a:ext cx="875" cy="25"/>
            </a:xfrm>
            <a:custGeom>
              <a:avLst/>
              <a:gdLst/>
              <a:ahLst/>
              <a:cxnLst/>
              <a:rect l="l" t="t" r="r" b="b"/>
              <a:pathLst>
                <a:path w="35" h="1" extrusionOk="0">
                  <a:moveTo>
                    <a:pt x="35" y="0"/>
                  </a:moveTo>
                  <a:lnTo>
                    <a:pt x="3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C9949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9" name="Google Shape;1566;p16">
              <a:extLst>
                <a:ext uri="{FF2B5EF4-FFF2-40B4-BE49-F238E27FC236}">
                  <a16:creationId xmlns:a16="http://schemas.microsoft.com/office/drawing/2014/main" id="{6C1F8015-92B9-C14D-D0FC-A1949E0EE217}"/>
                </a:ext>
              </a:extLst>
            </p:cNvPr>
            <p:cNvSpPr/>
            <p:nvPr/>
          </p:nvSpPr>
          <p:spPr>
            <a:xfrm>
              <a:off x="6037150" y="2058375"/>
              <a:ext cx="875" cy="25"/>
            </a:xfrm>
            <a:custGeom>
              <a:avLst/>
              <a:gdLst/>
              <a:ahLst/>
              <a:cxnLst/>
              <a:rect l="l" t="t" r="r" b="b"/>
              <a:pathLst>
                <a:path w="35" h="1" fill="none" extrusionOk="0">
                  <a:moveTo>
                    <a:pt x="35" y="0"/>
                  </a:moveTo>
                  <a:lnTo>
                    <a:pt x="3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0" name="Google Shape;1567;p16">
              <a:extLst>
                <a:ext uri="{FF2B5EF4-FFF2-40B4-BE49-F238E27FC236}">
                  <a16:creationId xmlns:a16="http://schemas.microsoft.com/office/drawing/2014/main" id="{F1F79C16-78DE-9CAB-3735-4D8C84657887}"/>
                </a:ext>
              </a:extLst>
            </p:cNvPr>
            <p:cNvSpPr/>
            <p:nvPr/>
          </p:nvSpPr>
          <p:spPr>
            <a:xfrm>
              <a:off x="6033700" y="2057500"/>
              <a:ext cx="78625" cy="137400"/>
            </a:xfrm>
            <a:custGeom>
              <a:avLst/>
              <a:gdLst/>
              <a:ahLst/>
              <a:cxnLst/>
              <a:rect l="l" t="t" r="r" b="b"/>
              <a:pathLst>
                <a:path w="3145" h="5496" extrusionOk="0">
                  <a:moveTo>
                    <a:pt x="242" y="1"/>
                  </a:moveTo>
                  <a:lnTo>
                    <a:pt x="173" y="35"/>
                  </a:lnTo>
                  <a:lnTo>
                    <a:pt x="138" y="35"/>
                  </a:lnTo>
                  <a:lnTo>
                    <a:pt x="35" y="104"/>
                  </a:lnTo>
                  <a:lnTo>
                    <a:pt x="0" y="243"/>
                  </a:lnTo>
                  <a:lnTo>
                    <a:pt x="0" y="381"/>
                  </a:lnTo>
                  <a:lnTo>
                    <a:pt x="0" y="554"/>
                  </a:lnTo>
                  <a:lnTo>
                    <a:pt x="69" y="726"/>
                  </a:lnTo>
                  <a:lnTo>
                    <a:pt x="173" y="899"/>
                  </a:lnTo>
                  <a:lnTo>
                    <a:pt x="242" y="1037"/>
                  </a:lnTo>
                  <a:lnTo>
                    <a:pt x="346" y="1072"/>
                  </a:lnTo>
                  <a:lnTo>
                    <a:pt x="380" y="1072"/>
                  </a:lnTo>
                  <a:lnTo>
                    <a:pt x="415" y="1107"/>
                  </a:lnTo>
                  <a:lnTo>
                    <a:pt x="484" y="1176"/>
                  </a:lnTo>
                  <a:lnTo>
                    <a:pt x="657" y="1521"/>
                  </a:lnTo>
                  <a:lnTo>
                    <a:pt x="1210" y="2627"/>
                  </a:lnTo>
                  <a:lnTo>
                    <a:pt x="1590" y="3353"/>
                  </a:lnTo>
                  <a:lnTo>
                    <a:pt x="2004" y="4078"/>
                  </a:lnTo>
                  <a:lnTo>
                    <a:pt x="2523" y="4804"/>
                  </a:lnTo>
                  <a:lnTo>
                    <a:pt x="2799" y="5150"/>
                  </a:lnTo>
                  <a:lnTo>
                    <a:pt x="3110" y="5495"/>
                  </a:lnTo>
                  <a:lnTo>
                    <a:pt x="3145" y="3145"/>
                  </a:lnTo>
                  <a:lnTo>
                    <a:pt x="2592" y="2662"/>
                  </a:lnTo>
                  <a:lnTo>
                    <a:pt x="2108" y="2178"/>
                  </a:lnTo>
                  <a:lnTo>
                    <a:pt x="1659" y="1659"/>
                  </a:lnTo>
                  <a:lnTo>
                    <a:pt x="1244" y="1210"/>
                  </a:lnTo>
                  <a:lnTo>
                    <a:pt x="1106" y="1037"/>
                  </a:lnTo>
                  <a:lnTo>
                    <a:pt x="1002" y="830"/>
                  </a:lnTo>
                  <a:lnTo>
                    <a:pt x="864" y="485"/>
                  </a:lnTo>
                  <a:lnTo>
                    <a:pt x="760" y="312"/>
                  </a:lnTo>
                  <a:lnTo>
                    <a:pt x="657" y="208"/>
                  </a:lnTo>
                  <a:lnTo>
                    <a:pt x="518" y="104"/>
                  </a:lnTo>
                  <a:lnTo>
                    <a:pt x="346" y="35"/>
                  </a:lnTo>
                  <a:lnTo>
                    <a:pt x="242" y="1"/>
                  </a:lnTo>
                  <a:close/>
                </a:path>
              </a:pathLst>
            </a:custGeom>
            <a:solidFill>
              <a:srgbClr val="D7D7D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1" name="Google Shape;1568;p16">
              <a:extLst>
                <a:ext uri="{FF2B5EF4-FFF2-40B4-BE49-F238E27FC236}">
                  <a16:creationId xmlns:a16="http://schemas.microsoft.com/office/drawing/2014/main" id="{4450DE53-B75F-4D8B-7040-BCD0FD107333}"/>
                </a:ext>
              </a:extLst>
            </p:cNvPr>
            <p:cNvSpPr/>
            <p:nvPr/>
          </p:nvSpPr>
          <p:spPr>
            <a:xfrm>
              <a:off x="6033700" y="2057500"/>
              <a:ext cx="78625" cy="137400"/>
            </a:xfrm>
            <a:custGeom>
              <a:avLst/>
              <a:gdLst/>
              <a:ahLst/>
              <a:cxnLst/>
              <a:rect l="l" t="t" r="r" b="b"/>
              <a:pathLst>
                <a:path w="3145" h="5496" fill="none" extrusionOk="0">
                  <a:moveTo>
                    <a:pt x="242" y="1"/>
                  </a:moveTo>
                  <a:lnTo>
                    <a:pt x="242" y="1"/>
                  </a:lnTo>
                  <a:lnTo>
                    <a:pt x="173" y="35"/>
                  </a:lnTo>
                  <a:lnTo>
                    <a:pt x="173" y="35"/>
                  </a:lnTo>
                  <a:lnTo>
                    <a:pt x="138" y="35"/>
                  </a:lnTo>
                  <a:lnTo>
                    <a:pt x="138" y="35"/>
                  </a:lnTo>
                  <a:lnTo>
                    <a:pt x="35" y="104"/>
                  </a:lnTo>
                  <a:lnTo>
                    <a:pt x="0" y="243"/>
                  </a:lnTo>
                  <a:lnTo>
                    <a:pt x="0" y="381"/>
                  </a:lnTo>
                  <a:lnTo>
                    <a:pt x="0" y="554"/>
                  </a:lnTo>
                  <a:lnTo>
                    <a:pt x="0" y="554"/>
                  </a:lnTo>
                  <a:lnTo>
                    <a:pt x="69" y="726"/>
                  </a:lnTo>
                  <a:lnTo>
                    <a:pt x="173" y="899"/>
                  </a:lnTo>
                  <a:lnTo>
                    <a:pt x="242" y="1037"/>
                  </a:lnTo>
                  <a:lnTo>
                    <a:pt x="346" y="1072"/>
                  </a:lnTo>
                  <a:lnTo>
                    <a:pt x="346" y="1072"/>
                  </a:lnTo>
                  <a:lnTo>
                    <a:pt x="380" y="1072"/>
                  </a:lnTo>
                  <a:lnTo>
                    <a:pt x="380" y="1072"/>
                  </a:lnTo>
                  <a:lnTo>
                    <a:pt x="380" y="1072"/>
                  </a:lnTo>
                  <a:lnTo>
                    <a:pt x="380" y="1072"/>
                  </a:lnTo>
                  <a:lnTo>
                    <a:pt x="415" y="1107"/>
                  </a:lnTo>
                  <a:lnTo>
                    <a:pt x="484" y="1176"/>
                  </a:lnTo>
                  <a:lnTo>
                    <a:pt x="657" y="1521"/>
                  </a:lnTo>
                  <a:lnTo>
                    <a:pt x="1210" y="2627"/>
                  </a:lnTo>
                  <a:lnTo>
                    <a:pt x="1590" y="3353"/>
                  </a:lnTo>
                  <a:lnTo>
                    <a:pt x="2004" y="4078"/>
                  </a:lnTo>
                  <a:lnTo>
                    <a:pt x="2523" y="4804"/>
                  </a:lnTo>
                  <a:lnTo>
                    <a:pt x="2799" y="5150"/>
                  </a:lnTo>
                  <a:lnTo>
                    <a:pt x="3110" y="5495"/>
                  </a:lnTo>
                  <a:lnTo>
                    <a:pt x="3110" y="5495"/>
                  </a:lnTo>
                  <a:lnTo>
                    <a:pt x="3145" y="3145"/>
                  </a:lnTo>
                  <a:lnTo>
                    <a:pt x="3145" y="3145"/>
                  </a:lnTo>
                  <a:lnTo>
                    <a:pt x="2592" y="2662"/>
                  </a:lnTo>
                  <a:lnTo>
                    <a:pt x="2108" y="2178"/>
                  </a:lnTo>
                  <a:lnTo>
                    <a:pt x="1659" y="1659"/>
                  </a:lnTo>
                  <a:lnTo>
                    <a:pt x="1244" y="1210"/>
                  </a:lnTo>
                  <a:lnTo>
                    <a:pt x="1244" y="1210"/>
                  </a:lnTo>
                  <a:lnTo>
                    <a:pt x="1106" y="1037"/>
                  </a:lnTo>
                  <a:lnTo>
                    <a:pt x="1002" y="830"/>
                  </a:lnTo>
                  <a:lnTo>
                    <a:pt x="864" y="485"/>
                  </a:lnTo>
                  <a:lnTo>
                    <a:pt x="760" y="312"/>
                  </a:lnTo>
                  <a:lnTo>
                    <a:pt x="657" y="208"/>
                  </a:lnTo>
                  <a:lnTo>
                    <a:pt x="518" y="104"/>
                  </a:lnTo>
                  <a:lnTo>
                    <a:pt x="346" y="35"/>
                  </a:lnTo>
                  <a:lnTo>
                    <a:pt x="346" y="35"/>
                  </a:lnTo>
                  <a:lnTo>
                    <a:pt x="24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2" name="Google Shape;1569;p16">
              <a:extLst>
                <a:ext uri="{FF2B5EF4-FFF2-40B4-BE49-F238E27FC236}">
                  <a16:creationId xmlns:a16="http://schemas.microsoft.com/office/drawing/2014/main" id="{7AE0AB0A-BB7E-7DF0-9F4D-B7CB18C574A3}"/>
                </a:ext>
              </a:extLst>
            </p:cNvPr>
            <p:cNvSpPr/>
            <p:nvPr/>
          </p:nvSpPr>
          <p:spPr>
            <a:xfrm>
              <a:off x="6111450" y="2136125"/>
              <a:ext cx="94175" cy="102825"/>
            </a:xfrm>
            <a:custGeom>
              <a:avLst/>
              <a:gdLst/>
              <a:ahLst/>
              <a:cxnLst/>
              <a:rect l="l" t="t" r="r" b="b"/>
              <a:pathLst>
                <a:path w="3767" h="4113" extrusionOk="0">
                  <a:moveTo>
                    <a:pt x="35" y="0"/>
                  </a:moveTo>
                  <a:lnTo>
                    <a:pt x="0" y="2350"/>
                  </a:lnTo>
                  <a:lnTo>
                    <a:pt x="380" y="2730"/>
                  </a:lnTo>
                  <a:lnTo>
                    <a:pt x="795" y="3041"/>
                  </a:lnTo>
                  <a:lnTo>
                    <a:pt x="1279" y="3352"/>
                  </a:lnTo>
                  <a:lnTo>
                    <a:pt x="1763" y="3594"/>
                  </a:lnTo>
                  <a:lnTo>
                    <a:pt x="2246" y="3802"/>
                  </a:lnTo>
                  <a:lnTo>
                    <a:pt x="2765" y="3940"/>
                  </a:lnTo>
                  <a:lnTo>
                    <a:pt x="3249" y="4044"/>
                  </a:lnTo>
                  <a:lnTo>
                    <a:pt x="3767" y="4113"/>
                  </a:lnTo>
                  <a:lnTo>
                    <a:pt x="3041" y="2938"/>
                  </a:lnTo>
                  <a:lnTo>
                    <a:pt x="2799" y="2523"/>
                  </a:lnTo>
                  <a:lnTo>
                    <a:pt x="2557" y="2074"/>
                  </a:lnTo>
                  <a:lnTo>
                    <a:pt x="2281" y="1452"/>
                  </a:lnTo>
                  <a:lnTo>
                    <a:pt x="1693" y="1175"/>
                  </a:lnTo>
                  <a:lnTo>
                    <a:pt x="1141" y="830"/>
                  </a:lnTo>
                  <a:lnTo>
                    <a:pt x="588" y="415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B94A6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3" name="Google Shape;1570;p16">
              <a:extLst>
                <a:ext uri="{FF2B5EF4-FFF2-40B4-BE49-F238E27FC236}">
                  <a16:creationId xmlns:a16="http://schemas.microsoft.com/office/drawing/2014/main" id="{CF72FC13-D2AB-21A4-82E4-8D6BFADDAD9E}"/>
                </a:ext>
              </a:extLst>
            </p:cNvPr>
            <p:cNvSpPr/>
            <p:nvPr/>
          </p:nvSpPr>
          <p:spPr>
            <a:xfrm>
              <a:off x="6111450" y="2136125"/>
              <a:ext cx="94175" cy="102825"/>
            </a:xfrm>
            <a:custGeom>
              <a:avLst/>
              <a:gdLst/>
              <a:ahLst/>
              <a:cxnLst/>
              <a:rect l="l" t="t" r="r" b="b"/>
              <a:pathLst>
                <a:path w="3767" h="4113" fill="none" extrusionOk="0">
                  <a:moveTo>
                    <a:pt x="35" y="0"/>
                  </a:moveTo>
                  <a:lnTo>
                    <a:pt x="35" y="0"/>
                  </a:lnTo>
                  <a:lnTo>
                    <a:pt x="0" y="2350"/>
                  </a:lnTo>
                  <a:lnTo>
                    <a:pt x="0" y="2350"/>
                  </a:lnTo>
                  <a:lnTo>
                    <a:pt x="380" y="2730"/>
                  </a:lnTo>
                  <a:lnTo>
                    <a:pt x="795" y="3041"/>
                  </a:lnTo>
                  <a:lnTo>
                    <a:pt x="795" y="3041"/>
                  </a:lnTo>
                  <a:lnTo>
                    <a:pt x="1279" y="3352"/>
                  </a:lnTo>
                  <a:lnTo>
                    <a:pt x="1763" y="3594"/>
                  </a:lnTo>
                  <a:lnTo>
                    <a:pt x="2246" y="3802"/>
                  </a:lnTo>
                  <a:lnTo>
                    <a:pt x="2765" y="3940"/>
                  </a:lnTo>
                  <a:lnTo>
                    <a:pt x="2765" y="3940"/>
                  </a:lnTo>
                  <a:lnTo>
                    <a:pt x="3249" y="4044"/>
                  </a:lnTo>
                  <a:lnTo>
                    <a:pt x="3767" y="4113"/>
                  </a:lnTo>
                  <a:lnTo>
                    <a:pt x="3767" y="4113"/>
                  </a:lnTo>
                  <a:lnTo>
                    <a:pt x="3041" y="2938"/>
                  </a:lnTo>
                  <a:lnTo>
                    <a:pt x="3041" y="2938"/>
                  </a:lnTo>
                  <a:lnTo>
                    <a:pt x="2799" y="2523"/>
                  </a:lnTo>
                  <a:lnTo>
                    <a:pt x="2557" y="2074"/>
                  </a:lnTo>
                  <a:lnTo>
                    <a:pt x="2281" y="1452"/>
                  </a:lnTo>
                  <a:lnTo>
                    <a:pt x="2281" y="1452"/>
                  </a:lnTo>
                  <a:lnTo>
                    <a:pt x="1693" y="1175"/>
                  </a:lnTo>
                  <a:lnTo>
                    <a:pt x="1141" y="830"/>
                  </a:lnTo>
                  <a:lnTo>
                    <a:pt x="1141" y="830"/>
                  </a:lnTo>
                  <a:lnTo>
                    <a:pt x="588" y="415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4" name="Google Shape;1571;p16">
              <a:extLst>
                <a:ext uri="{FF2B5EF4-FFF2-40B4-BE49-F238E27FC236}">
                  <a16:creationId xmlns:a16="http://schemas.microsoft.com/office/drawing/2014/main" id="{325981EE-3E4E-57F2-058F-48D7D4E96200}"/>
                </a:ext>
              </a:extLst>
            </p:cNvPr>
            <p:cNvSpPr/>
            <p:nvPr/>
          </p:nvSpPr>
          <p:spPr>
            <a:xfrm>
              <a:off x="6168450" y="2172400"/>
              <a:ext cx="256625" cy="76050"/>
            </a:xfrm>
            <a:custGeom>
              <a:avLst/>
              <a:gdLst/>
              <a:ahLst/>
              <a:cxnLst/>
              <a:rect l="l" t="t" r="r" b="b"/>
              <a:pathLst>
                <a:path w="10265" h="3042" extrusionOk="0">
                  <a:moveTo>
                    <a:pt x="1" y="1"/>
                  </a:moveTo>
                  <a:lnTo>
                    <a:pt x="277" y="623"/>
                  </a:lnTo>
                  <a:lnTo>
                    <a:pt x="519" y="1072"/>
                  </a:lnTo>
                  <a:lnTo>
                    <a:pt x="761" y="1487"/>
                  </a:lnTo>
                  <a:lnTo>
                    <a:pt x="1487" y="2662"/>
                  </a:lnTo>
                  <a:lnTo>
                    <a:pt x="2454" y="2765"/>
                  </a:lnTo>
                  <a:lnTo>
                    <a:pt x="3560" y="2834"/>
                  </a:lnTo>
                  <a:lnTo>
                    <a:pt x="5910" y="2938"/>
                  </a:lnTo>
                  <a:lnTo>
                    <a:pt x="8225" y="2973"/>
                  </a:lnTo>
                  <a:lnTo>
                    <a:pt x="10264" y="3042"/>
                  </a:lnTo>
                  <a:lnTo>
                    <a:pt x="9642" y="2109"/>
                  </a:lnTo>
                  <a:lnTo>
                    <a:pt x="8986" y="1348"/>
                  </a:lnTo>
                  <a:lnTo>
                    <a:pt x="8605" y="865"/>
                  </a:lnTo>
                  <a:lnTo>
                    <a:pt x="8156" y="174"/>
                  </a:lnTo>
                  <a:lnTo>
                    <a:pt x="6981" y="312"/>
                  </a:lnTo>
                  <a:lnTo>
                    <a:pt x="5668" y="450"/>
                  </a:lnTo>
                  <a:lnTo>
                    <a:pt x="4286" y="519"/>
                  </a:lnTo>
                  <a:lnTo>
                    <a:pt x="2973" y="554"/>
                  </a:lnTo>
                  <a:lnTo>
                    <a:pt x="1867" y="519"/>
                  </a:lnTo>
                  <a:lnTo>
                    <a:pt x="1418" y="450"/>
                  </a:lnTo>
                  <a:lnTo>
                    <a:pt x="1072" y="381"/>
                  </a:lnTo>
                  <a:lnTo>
                    <a:pt x="554" y="208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B94A6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5" name="Google Shape;1572;p16">
              <a:extLst>
                <a:ext uri="{FF2B5EF4-FFF2-40B4-BE49-F238E27FC236}">
                  <a16:creationId xmlns:a16="http://schemas.microsoft.com/office/drawing/2014/main" id="{31528218-39E3-E7B7-010C-016DF52FD9B4}"/>
                </a:ext>
              </a:extLst>
            </p:cNvPr>
            <p:cNvSpPr/>
            <p:nvPr/>
          </p:nvSpPr>
          <p:spPr>
            <a:xfrm>
              <a:off x="6168450" y="2172400"/>
              <a:ext cx="256625" cy="76050"/>
            </a:xfrm>
            <a:custGeom>
              <a:avLst/>
              <a:gdLst/>
              <a:ahLst/>
              <a:cxnLst/>
              <a:rect l="l" t="t" r="r" b="b"/>
              <a:pathLst>
                <a:path w="10265" h="3042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277" y="623"/>
                  </a:lnTo>
                  <a:lnTo>
                    <a:pt x="519" y="1072"/>
                  </a:lnTo>
                  <a:lnTo>
                    <a:pt x="761" y="1487"/>
                  </a:lnTo>
                  <a:lnTo>
                    <a:pt x="761" y="1487"/>
                  </a:lnTo>
                  <a:lnTo>
                    <a:pt x="1487" y="2662"/>
                  </a:lnTo>
                  <a:lnTo>
                    <a:pt x="1487" y="2662"/>
                  </a:lnTo>
                  <a:lnTo>
                    <a:pt x="2454" y="2765"/>
                  </a:lnTo>
                  <a:lnTo>
                    <a:pt x="3560" y="2834"/>
                  </a:lnTo>
                  <a:lnTo>
                    <a:pt x="5910" y="2938"/>
                  </a:lnTo>
                  <a:lnTo>
                    <a:pt x="8225" y="2973"/>
                  </a:lnTo>
                  <a:lnTo>
                    <a:pt x="10264" y="3042"/>
                  </a:lnTo>
                  <a:lnTo>
                    <a:pt x="10264" y="3042"/>
                  </a:lnTo>
                  <a:lnTo>
                    <a:pt x="10264" y="3042"/>
                  </a:lnTo>
                  <a:lnTo>
                    <a:pt x="10264" y="3042"/>
                  </a:lnTo>
                  <a:lnTo>
                    <a:pt x="9642" y="2109"/>
                  </a:lnTo>
                  <a:lnTo>
                    <a:pt x="9642" y="2109"/>
                  </a:lnTo>
                  <a:lnTo>
                    <a:pt x="8986" y="1348"/>
                  </a:lnTo>
                  <a:lnTo>
                    <a:pt x="8605" y="865"/>
                  </a:lnTo>
                  <a:lnTo>
                    <a:pt x="8156" y="174"/>
                  </a:lnTo>
                  <a:lnTo>
                    <a:pt x="8156" y="174"/>
                  </a:lnTo>
                  <a:lnTo>
                    <a:pt x="6981" y="312"/>
                  </a:lnTo>
                  <a:lnTo>
                    <a:pt x="5668" y="450"/>
                  </a:lnTo>
                  <a:lnTo>
                    <a:pt x="4286" y="519"/>
                  </a:lnTo>
                  <a:lnTo>
                    <a:pt x="2973" y="554"/>
                  </a:lnTo>
                  <a:lnTo>
                    <a:pt x="2973" y="554"/>
                  </a:lnTo>
                  <a:lnTo>
                    <a:pt x="1867" y="519"/>
                  </a:lnTo>
                  <a:lnTo>
                    <a:pt x="1418" y="450"/>
                  </a:lnTo>
                  <a:lnTo>
                    <a:pt x="1072" y="381"/>
                  </a:lnTo>
                  <a:lnTo>
                    <a:pt x="1072" y="381"/>
                  </a:lnTo>
                  <a:lnTo>
                    <a:pt x="554" y="208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6" name="Google Shape;1573;p16">
              <a:extLst>
                <a:ext uri="{FF2B5EF4-FFF2-40B4-BE49-F238E27FC236}">
                  <a16:creationId xmlns:a16="http://schemas.microsoft.com/office/drawing/2014/main" id="{24437B93-4BF5-24F8-2E17-C44962327C51}"/>
                </a:ext>
              </a:extLst>
            </p:cNvPr>
            <p:cNvSpPr/>
            <p:nvPr/>
          </p:nvSpPr>
          <p:spPr>
            <a:xfrm>
              <a:off x="6019000" y="2038500"/>
              <a:ext cx="1054850" cy="372375"/>
            </a:xfrm>
            <a:custGeom>
              <a:avLst/>
              <a:gdLst/>
              <a:ahLst/>
              <a:cxnLst/>
              <a:rect l="l" t="t" r="r" b="b"/>
              <a:pathLst>
                <a:path w="42194" h="14895" extrusionOk="0">
                  <a:moveTo>
                    <a:pt x="934" y="1"/>
                  </a:moveTo>
                  <a:lnTo>
                    <a:pt x="692" y="35"/>
                  </a:lnTo>
                  <a:lnTo>
                    <a:pt x="519" y="104"/>
                  </a:lnTo>
                  <a:lnTo>
                    <a:pt x="381" y="208"/>
                  </a:lnTo>
                  <a:lnTo>
                    <a:pt x="243" y="312"/>
                  </a:lnTo>
                  <a:lnTo>
                    <a:pt x="173" y="450"/>
                  </a:lnTo>
                  <a:lnTo>
                    <a:pt x="104" y="588"/>
                  </a:lnTo>
                  <a:lnTo>
                    <a:pt x="70" y="726"/>
                  </a:lnTo>
                  <a:lnTo>
                    <a:pt x="1" y="1003"/>
                  </a:lnTo>
                  <a:lnTo>
                    <a:pt x="1" y="1314"/>
                  </a:lnTo>
                  <a:lnTo>
                    <a:pt x="1" y="1486"/>
                  </a:lnTo>
                  <a:lnTo>
                    <a:pt x="35" y="1590"/>
                  </a:lnTo>
                  <a:lnTo>
                    <a:pt x="104" y="1694"/>
                  </a:lnTo>
                  <a:lnTo>
                    <a:pt x="208" y="1763"/>
                  </a:lnTo>
                  <a:lnTo>
                    <a:pt x="484" y="1867"/>
                  </a:lnTo>
                  <a:lnTo>
                    <a:pt x="692" y="1867"/>
                  </a:lnTo>
                  <a:lnTo>
                    <a:pt x="899" y="1797"/>
                  </a:lnTo>
                  <a:lnTo>
                    <a:pt x="1072" y="1728"/>
                  </a:lnTo>
                  <a:lnTo>
                    <a:pt x="1141" y="1763"/>
                  </a:lnTo>
                  <a:lnTo>
                    <a:pt x="1245" y="1867"/>
                  </a:lnTo>
                  <a:lnTo>
                    <a:pt x="1590" y="2350"/>
                  </a:lnTo>
                  <a:lnTo>
                    <a:pt x="2109" y="3076"/>
                  </a:lnTo>
                  <a:lnTo>
                    <a:pt x="2765" y="3905"/>
                  </a:lnTo>
                  <a:lnTo>
                    <a:pt x="3145" y="4355"/>
                  </a:lnTo>
                  <a:lnTo>
                    <a:pt x="3560" y="4804"/>
                  </a:lnTo>
                  <a:lnTo>
                    <a:pt x="4009" y="5219"/>
                  </a:lnTo>
                  <a:lnTo>
                    <a:pt x="4493" y="5599"/>
                  </a:lnTo>
                  <a:lnTo>
                    <a:pt x="5011" y="5979"/>
                  </a:lnTo>
                  <a:lnTo>
                    <a:pt x="5564" y="6290"/>
                  </a:lnTo>
                  <a:lnTo>
                    <a:pt x="6117" y="6532"/>
                  </a:lnTo>
                  <a:lnTo>
                    <a:pt x="6428" y="6635"/>
                  </a:lnTo>
                  <a:lnTo>
                    <a:pt x="6739" y="6704"/>
                  </a:lnTo>
                  <a:lnTo>
                    <a:pt x="7327" y="6843"/>
                  </a:lnTo>
                  <a:lnTo>
                    <a:pt x="7983" y="6912"/>
                  </a:lnTo>
                  <a:lnTo>
                    <a:pt x="8640" y="6981"/>
                  </a:lnTo>
                  <a:lnTo>
                    <a:pt x="9365" y="7015"/>
                  </a:lnTo>
                  <a:lnTo>
                    <a:pt x="10920" y="7085"/>
                  </a:lnTo>
                  <a:lnTo>
                    <a:pt x="12476" y="7085"/>
                  </a:lnTo>
                  <a:lnTo>
                    <a:pt x="14031" y="7119"/>
                  </a:lnTo>
                  <a:lnTo>
                    <a:pt x="15516" y="7154"/>
                  </a:lnTo>
                  <a:lnTo>
                    <a:pt x="16173" y="7223"/>
                  </a:lnTo>
                  <a:lnTo>
                    <a:pt x="16795" y="7257"/>
                  </a:lnTo>
                  <a:lnTo>
                    <a:pt x="17383" y="7361"/>
                  </a:lnTo>
                  <a:lnTo>
                    <a:pt x="17901" y="7465"/>
                  </a:lnTo>
                  <a:lnTo>
                    <a:pt x="18385" y="7638"/>
                  </a:lnTo>
                  <a:lnTo>
                    <a:pt x="18868" y="7845"/>
                  </a:lnTo>
                  <a:lnTo>
                    <a:pt x="19352" y="8156"/>
                  </a:lnTo>
                  <a:lnTo>
                    <a:pt x="19871" y="8501"/>
                  </a:lnTo>
                  <a:lnTo>
                    <a:pt x="20389" y="8916"/>
                  </a:lnTo>
                  <a:lnTo>
                    <a:pt x="20907" y="9331"/>
                  </a:lnTo>
                  <a:lnTo>
                    <a:pt x="22013" y="10264"/>
                  </a:lnTo>
                  <a:lnTo>
                    <a:pt x="23188" y="11197"/>
                  </a:lnTo>
                  <a:lnTo>
                    <a:pt x="23775" y="11681"/>
                  </a:lnTo>
                  <a:lnTo>
                    <a:pt x="24432" y="12130"/>
                  </a:lnTo>
                  <a:lnTo>
                    <a:pt x="25054" y="12510"/>
                  </a:lnTo>
                  <a:lnTo>
                    <a:pt x="25745" y="12890"/>
                  </a:lnTo>
                  <a:lnTo>
                    <a:pt x="26436" y="13201"/>
                  </a:lnTo>
                  <a:lnTo>
                    <a:pt x="27162" y="13478"/>
                  </a:lnTo>
                  <a:lnTo>
                    <a:pt x="27680" y="13616"/>
                  </a:lnTo>
                  <a:lnTo>
                    <a:pt x="28337" y="13754"/>
                  </a:lnTo>
                  <a:lnTo>
                    <a:pt x="29996" y="14030"/>
                  </a:lnTo>
                  <a:lnTo>
                    <a:pt x="31965" y="14307"/>
                  </a:lnTo>
                  <a:lnTo>
                    <a:pt x="34039" y="14514"/>
                  </a:lnTo>
                  <a:lnTo>
                    <a:pt x="36078" y="14722"/>
                  </a:lnTo>
                  <a:lnTo>
                    <a:pt x="37874" y="14825"/>
                  </a:lnTo>
                  <a:lnTo>
                    <a:pt x="39222" y="14894"/>
                  </a:lnTo>
                  <a:lnTo>
                    <a:pt x="39706" y="14894"/>
                  </a:lnTo>
                  <a:lnTo>
                    <a:pt x="40017" y="14860"/>
                  </a:lnTo>
                  <a:lnTo>
                    <a:pt x="40397" y="14722"/>
                  </a:lnTo>
                  <a:lnTo>
                    <a:pt x="40777" y="14583"/>
                  </a:lnTo>
                  <a:lnTo>
                    <a:pt x="41157" y="14376"/>
                  </a:lnTo>
                  <a:lnTo>
                    <a:pt x="41468" y="14134"/>
                  </a:lnTo>
                  <a:lnTo>
                    <a:pt x="41710" y="13892"/>
                  </a:lnTo>
                  <a:lnTo>
                    <a:pt x="41918" y="13650"/>
                  </a:lnTo>
                  <a:lnTo>
                    <a:pt x="42090" y="13408"/>
                  </a:lnTo>
                  <a:lnTo>
                    <a:pt x="42159" y="13167"/>
                  </a:lnTo>
                  <a:lnTo>
                    <a:pt x="42194" y="13063"/>
                  </a:lnTo>
                  <a:lnTo>
                    <a:pt x="42159" y="12959"/>
                  </a:lnTo>
                  <a:lnTo>
                    <a:pt x="42125" y="12856"/>
                  </a:lnTo>
                  <a:lnTo>
                    <a:pt x="42090" y="12752"/>
                  </a:lnTo>
                  <a:lnTo>
                    <a:pt x="41918" y="12545"/>
                  </a:lnTo>
                  <a:lnTo>
                    <a:pt x="41676" y="12337"/>
                  </a:lnTo>
                  <a:lnTo>
                    <a:pt x="41365" y="12164"/>
                  </a:lnTo>
                  <a:lnTo>
                    <a:pt x="40950" y="11957"/>
                  </a:lnTo>
                  <a:lnTo>
                    <a:pt x="40501" y="11784"/>
                  </a:lnTo>
                  <a:lnTo>
                    <a:pt x="39982" y="11611"/>
                  </a:lnTo>
                  <a:lnTo>
                    <a:pt x="39671" y="11508"/>
                  </a:lnTo>
                  <a:lnTo>
                    <a:pt x="39257" y="11473"/>
                  </a:lnTo>
                  <a:lnTo>
                    <a:pt x="38185" y="11473"/>
                  </a:lnTo>
                  <a:lnTo>
                    <a:pt x="36803" y="11508"/>
                  </a:lnTo>
                  <a:lnTo>
                    <a:pt x="35214" y="11577"/>
                  </a:lnTo>
                  <a:lnTo>
                    <a:pt x="33451" y="11577"/>
                  </a:lnTo>
                  <a:lnTo>
                    <a:pt x="32518" y="11542"/>
                  </a:lnTo>
                  <a:lnTo>
                    <a:pt x="31585" y="11473"/>
                  </a:lnTo>
                  <a:lnTo>
                    <a:pt x="30652" y="11335"/>
                  </a:lnTo>
                  <a:lnTo>
                    <a:pt x="29685" y="11197"/>
                  </a:lnTo>
                  <a:lnTo>
                    <a:pt x="28752" y="10955"/>
                  </a:lnTo>
                  <a:lnTo>
                    <a:pt x="27819" y="10678"/>
                  </a:lnTo>
                  <a:lnTo>
                    <a:pt x="26955" y="10367"/>
                  </a:lnTo>
                  <a:lnTo>
                    <a:pt x="26160" y="9987"/>
                  </a:lnTo>
                  <a:lnTo>
                    <a:pt x="25469" y="9607"/>
                  </a:lnTo>
                  <a:lnTo>
                    <a:pt x="24812" y="9193"/>
                  </a:lnTo>
                  <a:lnTo>
                    <a:pt x="24259" y="8778"/>
                  </a:lnTo>
                  <a:lnTo>
                    <a:pt x="23741" y="8329"/>
                  </a:lnTo>
                  <a:lnTo>
                    <a:pt x="23257" y="7879"/>
                  </a:lnTo>
                  <a:lnTo>
                    <a:pt x="22808" y="7430"/>
                  </a:lnTo>
                  <a:lnTo>
                    <a:pt x="21944" y="6532"/>
                  </a:lnTo>
                  <a:lnTo>
                    <a:pt x="21529" y="6117"/>
                  </a:lnTo>
                  <a:lnTo>
                    <a:pt x="21080" y="5702"/>
                  </a:lnTo>
                  <a:lnTo>
                    <a:pt x="20596" y="5322"/>
                  </a:lnTo>
                  <a:lnTo>
                    <a:pt x="20112" y="4977"/>
                  </a:lnTo>
                  <a:lnTo>
                    <a:pt x="19560" y="4666"/>
                  </a:lnTo>
                  <a:lnTo>
                    <a:pt x="18972" y="4389"/>
                  </a:lnTo>
                  <a:lnTo>
                    <a:pt x="18627" y="4286"/>
                  </a:lnTo>
                  <a:lnTo>
                    <a:pt x="18281" y="4182"/>
                  </a:lnTo>
                  <a:lnTo>
                    <a:pt x="17590" y="4044"/>
                  </a:lnTo>
                  <a:lnTo>
                    <a:pt x="16830" y="3975"/>
                  </a:lnTo>
                  <a:lnTo>
                    <a:pt x="16035" y="3940"/>
                  </a:lnTo>
                  <a:lnTo>
                    <a:pt x="15240" y="3975"/>
                  </a:lnTo>
                  <a:lnTo>
                    <a:pt x="14411" y="4044"/>
                  </a:lnTo>
                  <a:lnTo>
                    <a:pt x="12752" y="4251"/>
                  </a:lnTo>
                  <a:lnTo>
                    <a:pt x="11128" y="4458"/>
                  </a:lnTo>
                  <a:lnTo>
                    <a:pt x="9642" y="4666"/>
                  </a:lnTo>
                  <a:lnTo>
                    <a:pt x="8985" y="4735"/>
                  </a:lnTo>
                  <a:lnTo>
                    <a:pt x="8363" y="4735"/>
                  </a:lnTo>
                  <a:lnTo>
                    <a:pt x="7810" y="4700"/>
                  </a:lnTo>
                  <a:lnTo>
                    <a:pt x="7327" y="4631"/>
                  </a:lnTo>
                  <a:lnTo>
                    <a:pt x="6877" y="4493"/>
                  </a:lnTo>
                  <a:lnTo>
                    <a:pt x="6463" y="4320"/>
                  </a:lnTo>
                  <a:lnTo>
                    <a:pt x="6083" y="4147"/>
                  </a:lnTo>
                  <a:lnTo>
                    <a:pt x="5668" y="3940"/>
                  </a:lnTo>
                  <a:lnTo>
                    <a:pt x="4942" y="3491"/>
                  </a:lnTo>
                  <a:lnTo>
                    <a:pt x="4251" y="3007"/>
                  </a:lnTo>
                  <a:lnTo>
                    <a:pt x="3629" y="2454"/>
                  </a:lnTo>
                  <a:lnTo>
                    <a:pt x="3076" y="1901"/>
                  </a:lnTo>
                  <a:lnTo>
                    <a:pt x="2558" y="1348"/>
                  </a:lnTo>
                  <a:lnTo>
                    <a:pt x="2074" y="830"/>
                  </a:lnTo>
                  <a:lnTo>
                    <a:pt x="1867" y="519"/>
                  </a:lnTo>
                  <a:lnTo>
                    <a:pt x="1694" y="277"/>
                  </a:lnTo>
                  <a:lnTo>
                    <a:pt x="1590" y="208"/>
                  </a:lnTo>
                  <a:lnTo>
                    <a:pt x="1487" y="139"/>
                  </a:lnTo>
                  <a:lnTo>
                    <a:pt x="1348" y="70"/>
                  </a:lnTo>
                  <a:lnTo>
                    <a:pt x="1176" y="35"/>
                  </a:lnTo>
                  <a:lnTo>
                    <a:pt x="934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7" name="Google Shape;1574;p16">
              <a:extLst>
                <a:ext uri="{FF2B5EF4-FFF2-40B4-BE49-F238E27FC236}">
                  <a16:creationId xmlns:a16="http://schemas.microsoft.com/office/drawing/2014/main" id="{B2C0EF57-D8C5-EDC9-600C-CB9562C9ACD2}"/>
                </a:ext>
              </a:extLst>
            </p:cNvPr>
            <p:cNvSpPr/>
            <p:nvPr/>
          </p:nvSpPr>
          <p:spPr>
            <a:xfrm>
              <a:off x="546150" y="5054400"/>
              <a:ext cx="1569725" cy="83825"/>
            </a:xfrm>
            <a:custGeom>
              <a:avLst/>
              <a:gdLst/>
              <a:ahLst/>
              <a:cxnLst/>
              <a:rect l="l" t="t" r="r" b="b"/>
              <a:pathLst>
                <a:path w="62789" h="3353" extrusionOk="0">
                  <a:moveTo>
                    <a:pt x="31896" y="1"/>
                  </a:moveTo>
                  <a:lnTo>
                    <a:pt x="25606" y="35"/>
                  </a:lnTo>
                  <a:lnTo>
                    <a:pt x="19697" y="105"/>
                  </a:lnTo>
                  <a:lnTo>
                    <a:pt x="14272" y="208"/>
                  </a:lnTo>
                  <a:lnTo>
                    <a:pt x="9538" y="346"/>
                  </a:lnTo>
                  <a:lnTo>
                    <a:pt x="7430" y="416"/>
                  </a:lnTo>
                  <a:lnTo>
                    <a:pt x="5564" y="519"/>
                  </a:lnTo>
                  <a:lnTo>
                    <a:pt x="3939" y="623"/>
                  </a:lnTo>
                  <a:lnTo>
                    <a:pt x="2557" y="761"/>
                  </a:lnTo>
                  <a:lnTo>
                    <a:pt x="1451" y="899"/>
                  </a:lnTo>
                  <a:lnTo>
                    <a:pt x="657" y="1038"/>
                  </a:lnTo>
                  <a:lnTo>
                    <a:pt x="380" y="1107"/>
                  </a:lnTo>
                  <a:lnTo>
                    <a:pt x="173" y="1210"/>
                  </a:lnTo>
                  <a:lnTo>
                    <a:pt x="35" y="1280"/>
                  </a:lnTo>
                  <a:lnTo>
                    <a:pt x="0" y="1349"/>
                  </a:lnTo>
                  <a:lnTo>
                    <a:pt x="35" y="1452"/>
                  </a:lnTo>
                  <a:lnTo>
                    <a:pt x="173" y="1521"/>
                  </a:lnTo>
                  <a:lnTo>
                    <a:pt x="380" y="1625"/>
                  </a:lnTo>
                  <a:lnTo>
                    <a:pt x="657" y="1729"/>
                  </a:lnTo>
                  <a:lnTo>
                    <a:pt x="1451" y="1902"/>
                  </a:lnTo>
                  <a:lnTo>
                    <a:pt x="2557" y="2074"/>
                  </a:lnTo>
                  <a:lnTo>
                    <a:pt x="3939" y="2247"/>
                  </a:lnTo>
                  <a:lnTo>
                    <a:pt x="5564" y="2385"/>
                  </a:lnTo>
                  <a:lnTo>
                    <a:pt x="7430" y="2558"/>
                  </a:lnTo>
                  <a:lnTo>
                    <a:pt x="9538" y="2696"/>
                  </a:lnTo>
                  <a:lnTo>
                    <a:pt x="11818" y="2835"/>
                  </a:lnTo>
                  <a:lnTo>
                    <a:pt x="14272" y="2973"/>
                  </a:lnTo>
                  <a:lnTo>
                    <a:pt x="16933" y="3076"/>
                  </a:lnTo>
                  <a:lnTo>
                    <a:pt x="19697" y="3180"/>
                  </a:lnTo>
                  <a:lnTo>
                    <a:pt x="22600" y="3249"/>
                  </a:lnTo>
                  <a:lnTo>
                    <a:pt x="25606" y="3318"/>
                  </a:lnTo>
                  <a:lnTo>
                    <a:pt x="28716" y="3353"/>
                  </a:lnTo>
                  <a:lnTo>
                    <a:pt x="31896" y="3353"/>
                  </a:lnTo>
                  <a:lnTo>
                    <a:pt x="38116" y="3318"/>
                  </a:lnTo>
                  <a:lnTo>
                    <a:pt x="43921" y="3215"/>
                  </a:lnTo>
                  <a:lnTo>
                    <a:pt x="49174" y="3076"/>
                  </a:lnTo>
                  <a:lnTo>
                    <a:pt x="53735" y="2869"/>
                  </a:lnTo>
                  <a:lnTo>
                    <a:pt x="55739" y="2765"/>
                  </a:lnTo>
                  <a:lnTo>
                    <a:pt x="57536" y="2627"/>
                  </a:lnTo>
                  <a:lnTo>
                    <a:pt x="59057" y="2489"/>
                  </a:lnTo>
                  <a:lnTo>
                    <a:pt x="60370" y="2351"/>
                  </a:lnTo>
                  <a:lnTo>
                    <a:pt x="61407" y="2178"/>
                  </a:lnTo>
                  <a:lnTo>
                    <a:pt x="62167" y="2040"/>
                  </a:lnTo>
                  <a:lnTo>
                    <a:pt x="62443" y="1936"/>
                  </a:lnTo>
                  <a:lnTo>
                    <a:pt x="62651" y="1867"/>
                  </a:lnTo>
                  <a:lnTo>
                    <a:pt x="62754" y="1763"/>
                  </a:lnTo>
                  <a:lnTo>
                    <a:pt x="62789" y="1694"/>
                  </a:lnTo>
                  <a:lnTo>
                    <a:pt x="62754" y="1591"/>
                  </a:lnTo>
                  <a:lnTo>
                    <a:pt x="62651" y="1521"/>
                  </a:lnTo>
                  <a:lnTo>
                    <a:pt x="62443" y="1418"/>
                  </a:lnTo>
                  <a:lnTo>
                    <a:pt x="62167" y="1349"/>
                  </a:lnTo>
                  <a:lnTo>
                    <a:pt x="61407" y="1176"/>
                  </a:lnTo>
                  <a:lnTo>
                    <a:pt x="60370" y="1038"/>
                  </a:lnTo>
                  <a:lnTo>
                    <a:pt x="59057" y="899"/>
                  </a:lnTo>
                  <a:lnTo>
                    <a:pt x="57536" y="761"/>
                  </a:lnTo>
                  <a:lnTo>
                    <a:pt x="55739" y="623"/>
                  </a:lnTo>
                  <a:lnTo>
                    <a:pt x="53735" y="485"/>
                  </a:lnTo>
                  <a:lnTo>
                    <a:pt x="49174" y="312"/>
                  </a:lnTo>
                  <a:lnTo>
                    <a:pt x="43921" y="139"/>
                  </a:lnTo>
                  <a:lnTo>
                    <a:pt x="38116" y="35"/>
                  </a:lnTo>
                  <a:lnTo>
                    <a:pt x="31896" y="1"/>
                  </a:lnTo>
                  <a:close/>
                </a:path>
              </a:pathLst>
            </a:custGeom>
            <a:solidFill>
              <a:srgbClr val="E6E6E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" name="Google Shape;1575;p16">
              <a:extLst>
                <a:ext uri="{FF2B5EF4-FFF2-40B4-BE49-F238E27FC236}">
                  <a16:creationId xmlns:a16="http://schemas.microsoft.com/office/drawing/2014/main" id="{5D7DB684-790B-00BB-AEB1-6A2EF8DAB171}"/>
                </a:ext>
              </a:extLst>
            </p:cNvPr>
            <p:cNvSpPr/>
            <p:nvPr/>
          </p:nvSpPr>
          <p:spPr>
            <a:xfrm>
              <a:off x="546150" y="5054400"/>
              <a:ext cx="1569725" cy="83825"/>
            </a:xfrm>
            <a:custGeom>
              <a:avLst/>
              <a:gdLst/>
              <a:ahLst/>
              <a:cxnLst/>
              <a:rect l="l" t="t" r="r" b="b"/>
              <a:pathLst>
                <a:path w="62789" h="3353" fill="none" extrusionOk="0">
                  <a:moveTo>
                    <a:pt x="31896" y="1"/>
                  </a:moveTo>
                  <a:lnTo>
                    <a:pt x="31896" y="1"/>
                  </a:lnTo>
                  <a:lnTo>
                    <a:pt x="25606" y="35"/>
                  </a:lnTo>
                  <a:lnTo>
                    <a:pt x="19697" y="105"/>
                  </a:lnTo>
                  <a:lnTo>
                    <a:pt x="14272" y="208"/>
                  </a:lnTo>
                  <a:lnTo>
                    <a:pt x="9538" y="346"/>
                  </a:lnTo>
                  <a:lnTo>
                    <a:pt x="7430" y="416"/>
                  </a:lnTo>
                  <a:lnTo>
                    <a:pt x="5564" y="519"/>
                  </a:lnTo>
                  <a:lnTo>
                    <a:pt x="3939" y="623"/>
                  </a:lnTo>
                  <a:lnTo>
                    <a:pt x="2557" y="761"/>
                  </a:lnTo>
                  <a:lnTo>
                    <a:pt x="1451" y="899"/>
                  </a:lnTo>
                  <a:lnTo>
                    <a:pt x="657" y="1038"/>
                  </a:lnTo>
                  <a:lnTo>
                    <a:pt x="380" y="1107"/>
                  </a:lnTo>
                  <a:lnTo>
                    <a:pt x="173" y="1210"/>
                  </a:lnTo>
                  <a:lnTo>
                    <a:pt x="35" y="1280"/>
                  </a:lnTo>
                  <a:lnTo>
                    <a:pt x="0" y="1349"/>
                  </a:lnTo>
                  <a:lnTo>
                    <a:pt x="0" y="1349"/>
                  </a:lnTo>
                  <a:lnTo>
                    <a:pt x="35" y="1452"/>
                  </a:lnTo>
                  <a:lnTo>
                    <a:pt x="173" y="1521"/>
                  </a:lnTo>
                  <a:lnTo>
                    <a:pt x="380" y="1625"/>
                  </a:lnTo>
                  <a:lnTo>
                    <a:pt x="657" y="1729"/>
                  </a:lnTo>
                  <a:lnTo>
                    <a:pt x="1451" y="1902"/>
                  </a:lnTo>
                  <a:lnTo>
                    <a:pt x="2557" y="2074"/>
                  </a:lnTo>
                  <a:lnTo>
                    <a:pt x="3939" y="2247"/>
                  </a:lnTo>
                  <a:lnTo>
                    <a:pt x="5564" y="2385"/>
                  </a:lnTo>
                  <a:lnTo>
                    <a:pt x="7430" y="2558"/>
                  </a:lnTo>
                  <a:lnTo>
                    <a:pt x="9538" y="2696"/>
                  </a:lnTo>
                  <a:lnTo>
                    <a:pt x="11818" y="2835"/>
                  </a:lnTo>
                  <a:lnTo>
                    <a:pt x="14272" y="2973"/>
                  </a:lnTo>
                  <a:lnTo>
                    <a:pt x="16933" y="3076"/>
                  </a:lnTo>
                  <a:lnTo>
                    <a:pt x="19697" y="3180"/>
                  </a:lnTo>
                  <a:lnTo>
                    <a:pt x="22600" y="3249"/>
                  </a:lnTo>
                  <a:lnTo>
                    <a:pt x="25606" y="3318"/>
                  </a:lnTo>
                  <a:lnTo>
                    <a:pt x="28716" y="3353"/>
                  </a:lnTo>
                  <a:lnTo>
                    <a:pt x="31896" y="3353"/>
                  </a:lnTo>
                  <a:lnTo>
                    <a:pt x="31896" y="3353"/>
                  </a:lnTo>
                  <a:lnTo>
                    <a:pt x="38116" y="3318"/>
                  </a:lnTo>
                  <a:lnTo>
                    <a:pt x="43921" y="3215"/>
                  </a:lnTo>
                  <a:lnTo>
                    <a:pt x="49174" y="3076"/>
                  </a:lnTo>
                  <a:lnTo>
                    <a:pt x="53735" y="2869"/>
                  </a:lnTo>
                  <a:lnTo>
                    <a:pt x="55739" y="2765"/>
                  </a:lnTo>
                  <a:lnTo>
                    <a:pt x="57536" y="2627"/>
                  </a:lnTo>
                  <a:lnTo>
                    <a:pt x="59057" y="2489"/>
                  </a:lnTo>
                  <a:lnTo>
                    <a:pt x="60370" y="2351"/>
                  </a:lnTo>
                  <a:lnTo>
                    <a:pt x="61407" y="2178"/>
                  </a:lnTo>
                  <a:lnTo>
                    <a:pt x="62167" y="2040"/>
                  </a:lnTo>
                  <a:lnTo>
                    <a:pt x="62443" y="1936"/>
                  </a:lnTo>
                  <a:lnTo>
                    <a:pt x="62651" y="1867"/>
                  </a:lnTo>
                  <a:lnTo>
                    <a:pt x="62754" y="1763"/>
                  </a:lnTo>
                  <a:lnTo>
                    <a:pt x="62789" y="1694"/>
                  </a:lnTo>
                  <a:lnTo>
                    <a:pt x="62789" y="1694"/>
                  </a:lnTo>
                  <a:lnTo>
                    <a:pt x="62754" y="1591"/>
                  </a:lnTo>
                  <a:lnTo>
                    <a:pt x="62651" y="1521"/>
                  </a:lnTo>
                  <a:lnTo>
                    <a:pt x="62443" y="1418"/>
                  </a:lnTo>
                  <a:lnTo>
                    <a:pt x="62167" y="1349"/>
                  </a:lnTo>
                  <a:lnTo>
                    <a:pt x="61407" y="1176"/>
                  </a:lnTo>
                  <a:lnTo>
                    <a:pt x="60370" y="1038"/>
                  </a:lnTo>
                  <a:lnTo>
                    <a:pt x="59057" y="899"/>
                  </a:lnTo>
                  <a:lnTo>
                    <a:pt x="57536" y="761"/>
                  </a:lnTo>
                  <a:lnTo>
                    <a:pt x="55739" y="623"/>
                  </a:lnTo>
                  <a:lnTo>
                    <a:pt x="53735" y="485"/>
                  </a:lnTo>
                  <a:lnTo>
                    <a:pt x="49174" y="312"/>
                  </a:lnTo>
                  <a:lnTo>
                    <a:pt x="43921" y="139"/>
                  </a:lnTo>
                  <a:lnTo>
                    <a:pt x="38116" y="35"/>
                  </a:lnTo>
                  <a:lnTo>
                    <a:pt x="3189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" name="Google Shape;1576;p16">
              <a:extLst>
                <a:ext uri="{FF2B5EF4-FFF2-40B4-BE49-F238E27FC236}">
                  <a16:creationId xmlns:a16="http://schemas.microsoft.com/office/drawing/2014/main" id="{B9B6679C-79CC-738E-1F35-0B16B5EA5C75}"/>
                </a:ext>
              </a:extLst>
            </p:cNvPr>
            <p:cNvSpPr/>
            <p:nvPr/>
          </p:nvSpPr>
          <p:spPr>
            <a:xfrm>
              <a:off x="1044625" y="3889000"/>
              <a:ext cx="301525" cy="1136925"/>
            </a:xfrm>
            <a:custGeom>
              <a:avLst/>
              <a:gdLst/>
              <a:ahLst/>
              <a:cxnLst/>
              <a:rect l="l" t="t" r="r" b="b"/>
              <a:pathLst>
                <a:path w="12061" h="45477" extrusionOk="0">
                  <a:moveTo>
                    <a:pt x="11058" y="0"/>
                  </a:moveTo>
                  <a:lnTo>
                    <a:pt x="10021" y="864"/>
                  </a:lnTo>
                  <a:lnTo>
                    <a:pt x="8916" y="1797"/>
                  </a:lnTo>
                  <a:lnTo>
                    <a:pt x="7672" y="2903"/>
                  </a:lnTo>
                  <a:lnTo>
                    <a:pt x="6358" y="4113"/>
                  </a:lnTo>
                  <a:lnTo>
                    <a:pt x="5771" y="4700"/>
                  </a:lnTo>
                  <a:lnTo>
                    <a:pt x="5218" y="5287"/>
                  </a:lnTo>
                  <a:lnTo>
                    <a:pt x="4734" y="5840"/>
                  </a:lnTo>
                  <a:lnTo>
                    <a:pt x="4320" y="6359"/>
                  </a:lnTo>
                  <a:lnTo>
                    <a:pt x="4009" y="6808"/>
                  </a:lnTo>
                  <a:lnTo>
                    <a:pt x="3905" y="7015"/>
                  </a:lnTo>
                  <a:lnTo>
                    <a:pt x="3836" y="7188"/>
                  </a:lnTo>
                  <a:lnTo>
                    <a:pt x="3767" y="7672"/>
                  </a:lnTo>
                  <a:lnTo>
                    <a:pt x="3663" y="8501"/>
                  </a:lnTo>
                  <a:lnTo>
                    <a:pt x="3628" y="9538"/>
                  </a:lnTo>
                  <a:lnTo>
                    <a:pt x="3559" y="10817"/>
                  </a:lnTo>
                  <a:lnTo>
                    <a:pt x="3490" y="13823"/>
                  </a:lnTo>
                  <a:lnTo>
                    <a:pt x="3490" y="17175"/>
                  </a:lnTo>
                  <a:lnTo>
                    <a:pt x="3490" y="23464"/>
                  </a:lnTo>
                  <a:lnTo>
                    <a:pt x="3456" y="25779"/>
                  </a:lnTo>
                  <a:lnTo>
                    <a:pt x="3421" y="27023"/>
                  </a:lnTo>
                  <a:lnTo>
                    <a:pt x="3317" y="27887"/>
                  </a:lnTo>
                  <a:lnTo>
                    <a:pt x="3179" y="29235"/>
                  </a:lnTo>
                  <a:lnTo>
                    <a:pt x="2937" y="30859"/>
                  </a:lnTo>
                  <a:lnTo>
                    <a:pt x="2661" y="32691"/>
                  </a:lnTo>
                  <a:lnTo>
                    <a:pt x="2350" y="34488"/>
                  </a:lnTo>
                  <a:lnTo>
                    <a:pt x="2039" y="36215"/>
                  </a:lnTo>
                  <a:lnTo>
                    <a:pt x="1693" y="37667"/>
                  </a:lnTo>
                  <a:lnTo>
                    <a:pt x="1521" y="38254"/>
                  </a:lnTo>
                  <a:lnTo>
                    <a:pt x="1348" y="38738"/>
                  </a:lnTo>
                  <a:lnTo>
                    <a:pt x="1037" y="39429"/>
                  </a:lnTo>
                  <a:lnTo>
                    <a:pt x="760" y="39913"/>
                  </a:lnTo>
                  <a:lnTo>
                    <a:pt x="553" y="40224"/>
                  </a:lnTo>
                  <a:lnTo>
                    <a:pt x="346" y="40466"/>
                  </a:lnTo>
                  <a:lnTo>
                    <a:pt x="207" y="40639"/>
                  </a:lnTo>
                  <a:lnTo>
                    <a:pt x="69" y="40881"/>
                  </a:lnTo>
                  <a:lnTo>
                    <a:pt x="0" y="41192"/>
                  </a:lnTo>
                  <a:lnTo>
                    <a:pt x="0" y="41641"/>
                  </a:lnTo>
                  <a:lnTo>
                    <a:pt x="0" y="41779"/>
                  </a:lnTo>
                  <a:lnTo>
                    <a:pt x="69" y="41952"/>
                  </a:lnTo>
                  <a:lnTo>
                    <a:pt x="173" y="42090"/>
                  </a:lnTo>
                  <a:lnTo>
                    <a:pt x="311" y="42263"/>
                  </a:lnTo>
                  <a:lnTo>
                    <a:pt x="691" y="42608"/>
                  </a:lnTo>
                  <a:lnTo>
                    <a:pt x="1210" y="42954"/>
                  </a:lnTo>
                  <a:lnTo>
                    <a:pt x="1832" y="43300"/>
                  </a:lnTo>
                  <a:lnTo>
                    <a:pt x="2488" y="43645"/>
                  </a:lnTo>
                  <a:lnTo>
                    <a:pt x="3214" y="43991"/>
                  </a:lnTo>
                  <a:lnTo>
                    <a:pt x="3939" y="44336"/>
                  </a:lnTo>
                  <a:lnTo>
                    <a:pt x="4665" y="44613"/>
                  </a:lnTo>
                  <a:lnTo>
                    <a:pt x="5356" y="44889"/>
                  </a:lnTo>
                  <a:lnTo>
                    <a:pt x="6013" y="45096"/>
                  </a:lnTo>
                  <a:lnTo>
                    <a:pt x="6600" y="45304"/>
                  </a:lnTo>
                  <a:lnTo>
                    <a:pt x="7084" y="45407"/>
                  </a:lnTo>
                  <a:lnTo>
                    <a:pt x="7430" y="45477"/>
                  </a:lnTo>
                  <a:lnTo>
                    <a:pt x="7533" y="45477"/>
                  </a:lnTo>
                  <a:lnTo>
                    <a:pt x="7637" y="45442"/>
                  </a:lnTo>
                  <a:lnTo>
                    <a:pt x="7672" y="45407"/>
                  </a:lnTo>
                  <a:lnTo>
                    <a:pt x="7672" y="45338"/>
                  </a:lnTo>
                  <a:lnTo>
                    <a:pt x="7222" y="44474"/>
                  </a:lnTo>
                  <a:lnTo>
                    <a:pt x="6497" y="43161"/>
                  </a:lnTo>
                  <a:lnTo>
                    <a:pt x="5287" y="41053"/>
                  </a:lnTo>
                  <a:lnTo>
                    <a:pt x="5287" y="40915"/>
                  </a:lnTo>
                  <a:lnTo>
                    <a:pt x="5287" y="40639"/>
                  </a:lnTo>
                  <a:lnTo>
                    <a:pt x="5425" y="39809"/>
                  </a:lnTo>
                  <a:lnTo>
                    <a:pt x="5667" y="38531"/>
                  </a:lnTo>
                  <a:lnTo>
                    <a:pt x="5978" y="36907"/>
                  </a:lnTo>
                  <a:lnTo>
                    <a:pt x="6877" y="32898"/>
                  </a:lnTo>
                  <a:lnTo>
                    <a:pt x="7948" y="28233"/>
                  </a:lnTo>
                  <a:lnTo>
                    <a:pt x="10160" y="18937"/>
                  </a:lnTo>
                  <a:lnTo>
                    <a:pt x="11576" y="13028"/>
                  </a:lnTo>
                  <a:lnTo>
                    <a:pt x="11715" y="12302"/>
                  </a:lnTo>
                  <a:lnTo>
                    <a:pt x="11853" y="11542"/>
                  </a:lnTo>
                  <a:lnTo>
                    <a:pt x="11922" y="10817"/>
                  </a:lnTo>
                  <a:lnTo>
                    <a:pt x="11991" y="10056"/>
                  </a:lnTo>
                  <a:lnTo>
                    <a:pt x="12026" y="9296"/>
                  </a:lnTo>
                  <a:lnTo>
                    <a:pt x="12060" y="8501"/>
                  </a:lnTo>
                  <a:lnTo>
                    <a:pt x="12060" y="7706"/>
                  </a:lnTo>
                  <a:lnTo>
                    <a:pt x="12026" y="6912"/>
                  </a:lnTo>
                  <a:lnTo>
                    <a:pt x="11887" y="5253"/>
                  </a:lnTo>
                  <a:lnTo>
                    <a:pt x="11680" y="3560"/>
                  </a:lnTo>
                  <a:lnTo>
                    <a:pt x="11404" y="1832"/>
                  </a:lnTo>
                  <a:lnTo>
                    <a:pt x="11058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0" name="Google Shape;1577;p16">
              <a:extLst>
                <a:ext uri="{FF2B5EF4-FFF2-40B4-BE49-F238E27FC236}">
                  <a16:creationId xmlns:a16="http://schemas.microsoft.com/office/drawing/2014/main" id="{EDB40A1E-8B34-A47B-264A-1A0E0DACB5F7}"/>
                </a:ext>
              </a:extLst>
            </p:cNvPr>
            <p:cNvSpPr/>
            <p:nvPr/>
          </p:nvSpPr>
          <p:spPr>
            <a:xfrm>
              <a:off x="1044625" y="3889000"/>
              <a:ext cx="301525" cy="1136925"/>
            </a:xfrm>
            <a:custGeom>
              <a:avLst/>
              <a:gdLst/>
              <a:ahLst/>
              <a:cxnLst/>
              <a:rect l="l" t="t" r="r" b="b"/>
              <a:pathLst>
                <a:path w="12061" h="45477" fill="none" extrusionOk="0">
                  <a:moveTo>
                    <a:pt x="11058" y="0"/>
                  </a:moveTo>
                  <a:lnTo>
                    <a:pt x="11058" y="0"/>
                  </a:lnTo>
                  <a:lnTo>
                    <a:pt x="11404" y="1832"/>
                  </a:lnTo>
                  <a:lnTo>
                    <a:pt x="11680" y="3560"/>
                  </a:lnTo>
                  <a:lnTo>
                    <a:pt x="11887" y="5253"/>
                  </a:lnTo>
                  <a:lnTo>
                    <a:pt x="12026" y="6912"/>
                  </a:lnTo>
                  <a:lnTo>
                    <a:pt x="12060" y="7706"/>
                  </a:lnTo>
                  <a:lnTo>
                    <a:pt x="12060" y="8501"/>
                  </a:lnTo>
                  <a:lnTo>
                    <a:pt x="12026" y="9296"/>
                  </a:lnTo>
                  <a:lnTo>
                    <a:pt x="11991" y="10056"/>
                  </a:lnTo>
                  <a:lnTo>
                    <a:pt x="11922" y="10817"/>
                  </a:lnTo>
                  <a:lnTo>
                    <a:pt x="11853" y="11542"/>
                  </a:lnTo>
                  <a:lnTo>
                    <a:pt x="11715" y="12302"/>
                  </a:lnTo>
                  <a:lnTo>
                    <a:pt x="11576" y="13028"/>
                  </a:lnTo>
                  <a:lnTo>
                    <a:pt x="11576" y="13028"/>
                  </a:lnTo>
                  <a:lnTo>
                    <a:pt x="10160" y="18937"/>
                  </a:lnTo>
                  <a:lnTo>
                    <a:pt x="7948" y="28233"/>
                  </a:lnTo>
                  <a:lnTo>
                    <a:pt x="6877" y="32898"/>
                  </a:lnTo>
                  <a:lnTo>
                    <a:pt x="5978" y="36907"/>
                  </a:lnTo>
                  <a:lnTo>
                    <a:pt x="5667" y="38531"/>
                  </a:lnTo>
                  <a:lnTo>
                    <a:pt x="5425" y="39809"/>
                  </a:lnTo>
                  <a:lnTo>
                    <a:pt x="5287" y="40639"/>
                  </a:lnTo>
                  <a:lnTo>
                    <a:pt x="5287" y="40915"/>
                  </a:lnTo>
                  <a:lnTo>
                    <a:pt x="5287" y="41053"/>
                  </a:lnTo>
                  <a:lnTo>
                    <a:pt x="5287" y="41053"/>
                  </a:lnTo>
                  <a:lnTo>
                    <a:pt x="6497" y="43161"/>
                  </a:lnTo>
                  <a:lnTo>
                    <a:pt x="7222" y="44474"/>
                  </a:lnTo>
                  <a:lnTo>
                    <a:pt x="7672" y="45338"/>
                  </a:lnTo>
                  <a:lnTo>
                    <a:pt x="7672" y="45338"/>
                  </a:lnTo>
                  <a:lnTo>
                    <a:pt x="7672" y="45407"/>
                  </a:lnTo>
                  <a:lnTo>
                    <a:pt x="7637" y="45442"/>
                  </a:lnTo>
                  <a:lnTo>
                    <a:pt x="7533" y="45477"/>
                  </a:lnTo>
                  <a:lnTo>
                    <a:pt x="7430" y="45477"/>
                  </a:lnTo>
                  <a:lnTo>
                    <a:pt x="7084" y="45407"/>
                  </a:lnTo>
                  <a:lnTo>
                    <a:pt x="6600" y="45304"/>
                  </a:lnTo>
                  <a:lnTo>
                    <a:pt x="6013" y="45096"/>
                  </a:lnTo>
                  <a:lnTo>
                    <a:pt x="5356" y="44889"/>
                  </a:lnTo>
                  <a:lnTo>
                    <a:pt x="4665" y="44613"/>
                  </a:lnTo>
                  <a:lnTo>
                    <a:pt x="3939" y="44336"/>
                  </a:lnTo>
                  <a:lnTo>
                    <a:pt x="3214" y="43991"/>
                  </a:lnTo>
                  <a:lnTo>
                    <a:pt x="2488" y="43645"/>
                  </a:lnTo>
                  <a:lnTo>
                    <a:pt x="1832" y="43300"/>
                  </a:lnTo>
                  <a:lnTo>
                    <a:pt x="1210" y="42954"/>
                  </a:lnTo>
                  <a:lnTo>
                    <a:pt x="691" y="42608"/>
                  </a:lnTo>
                  <a:lnTo>
                    <a:pt x="311" y="42263"/>
                  </a:lnTo>
                  <a:lnTo>
                    <a:pt x="173" y="42090"/>
                  </a:lnTo>
                  <a:lnTo>
                    <a:pt x="69" y="41952"/>
                  </a:lnTo>
                  <a:lnTo>
                    <a:pt x="0" y="41779"/>
                  </a:lnTo>
                  <a:lnTo>
                    <a:pt x="0" y="41641"/>
                  </a:lnTo>
                  <a:lnTo>
                    <a:pt x="0" y="41641"/>
                  </a:lnTo>
                  <a:lnTo>
                    <a:pt x="0" y="41192"/>
                  </a:lnTo>
                  <a:lnTo>
                    <a:pt x="69" y="40881"/>
                  </a:lnTo>
                  <a:lnTo>
                    <a:pt x="207" y="40639"/>
                  </a:lnTo>
                  <a:lnTo>
                    <a:pt x="346" y="40466"/>
                  </a:lnTo>
                  <a:lnTo>
                    <a:pt x="553" y="40224"/>
                  </a:lnTo>
                  <a:lnTo>
                    <a:pt x="760" y="39913"/>
                  </a:lnTo>
                  <a:lnTo>
                    <a:pt x="1037" y="39429"/>
                  </a:lnTo>
                  <a:lnTo>
                    <a:pt x="1348" y="38738"/>
                  </a:lnTo>
                  <a:lnTo>
                    <a:pt x="1348" y="38738"/>
                  </a:lnTo>
                  <a:lnTo>
                    <a:pt x="1521" y="38254"/>
                  </a:lnTo>
                  <a:lnTo>
                    <a:pt x="1693" y="37667"/>
                  </a:lnTo>
                  <a:lnTo>
                    <a:pt x="2039" y="36215"/>
                  </a:lnTo>
                  <a:lnTo>
                    <a:pt x="2350" y="34488"/>
                  </a:lnTo>
                  <a:lnTo>
                    <a:pt x="2661" y="32691"/>
                  </a:lnTo>
                  <a:lnTo>
                    <a:pt x="2937" y="30859"/>
                  </a:lnTo>
                  <a:lnTo>
                    <a:pt x="3179" y="29235"/>
                  </a:lnTo>
                  <a:lnTo>
                    <a:pt x="3317" y="27887"/>
                  </a:lnTo>
                  <a:lnTo>
                    <a:pt x="3421" y="27023"/>
                  </a:lnTo>
                  <a:lnTo>
                    <a:pt x="3421" y="27023"/>
                  </a:lnTo>
                  <a:lnTo>
                    <a:pt x="3456" y="25779"/>
                  </a:lnTo>
                  <a:lnTo>
                    <a:pt x="3490" y="23464"/>
                  </a:lnTo>
                  <a:lnTo>
                    <a:pt x="3490" y="17175"/>
                  </a:lnTo>
                  <a:lnTo>
                    <a:pt x="3490" y="13823"/>
                  </a:lnTo>
                  <a:lnTo>
                    <a:pt x="3559" y="10817"/>
                  </a:lnTo>
                  <a:lnTo>
                    <a:pt x="3628" y="9538"/>
                  </a:lnTo>
                  <a:lnTo>
                    <a:pt x="3663" y="8501"/>
                  </a:lnTo>
                  <a:lnTo>
                    <a:pt x="3767" y="7672"/>
                  </a:lnTo>
                  <a:lnTo>
                    <a:pt x="3836" y="7188"/>
                  </a:lnTo>
                  <a:lnTo>
                    <a:pt x="3836" y="7188"/>
                  </a:lnTo>
                  <a:lnTo>
                    <a:pt x="3905" y="7015"/>
                  </a:lnTo>
                  <a:lnTo>
                    <a:pt x="4009" y="6808"/>
                  </a:lnTo>
                  <a:lnTo>
                    <a:pt x="4320" y="6359"/>
                  </a:lnTo>
                  <a:lnTo>
                    <a:pt x="4734" y="5840"/>
                  </a:lnTo>
                  <a:lnTo>
                    <a:pt x="5218" y="5287"/>
                  </a:lnTo>
                  <a:lnTo>
                    <a:pt x="5771" y="4700"/>
                  </a:lnTo>
                  <a:lnTo>
                    <a:pt x="6358" y="4113"/>
                  </a:lnTo>
                  <a:lnTo>
                    <a:pt x="7672" y="2903"/>
                  </a:lnTo>
                  <a:lnTo>
                    <a:pt x="8916" y="1797"/>
                  </a:lnTo>
                  <a:lnTo>
                    <a:pt x="10021" y="864"/>
                  </a:lnTo>
                  <a:lnTo>
                    <a:pt x="1105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" name="Google Shape;1578;p16">
              <a:extLst>
                <a:ext uri="{FF2B5EF4-FFF2-40B4-BE49-F238E27FC236}">
                  <a16:creationId xmlns:a16="http://schemas.microsoft.com/office/drawing/2014/main" id="{1974D2EE-6A69-D74B-D4FE-34E209ED670A}"/>
                </a:ext>
              </a:extLst>
            </p:cNvPr>
            <p:cNvSpPr/>
            <p:nvPr/>
          </p:nvSpPr>
          <p:spPr>
            <a:xfrm>
              <a:off x="1705500" y="3103700"/>
              <a:ext cx="170225" cy="94200"/>
            </a:xfrm>
            <a:custGeom>
              <a:avLst/>
              <a:gdLst/>
              <a:ahLst/>
              <a:cxnLst/>
              <a:rect l="l" t="t" r="r" b="b"/>
              <a:pathLst>
                <a:path w="6809" h="3768" extrusionOk="0">
                  <a:moveTo>
                    <a:pt x="3940" y="1"/>
                  </a:moveTo>
                  <a:lnTo>
                    <a:pt x="3767" y="35"/>
                  </a:lnTo>
                  <a:lnTo>
                    <a:pt x="3353" y="139"/>
                  </a:lnTo>
                  <a:lnTo>
                    <a:pt x="2938" y="346"/>
                  </a:lnTo>
                  <a:lnTo>
                    <a:pt x="2489" y="553"/>
                  </a:lnTo>
                  <a:lnTo>
                    <a:pt x="2074" y="761"/>
                  </a:lnTo>
                  <a:lnTo>
                    <a:pt x="1728" y="934"/>
                  </a:lnTo>
                  <a:lnTo>
                    <a:pt x="1417" y="1003"/>
                  </a:lnTo>
                  <a:lnTo>
                    <a:pt x="1314" y="1003"/>
                  </a:lnTo>
                  <a:lnTo>
                    <a:pt x="1210" y="968"/>
                  </a:lnTo>
                  <a:lnTo>
                    <a:pt x="1141" y="968"/>
                  </a:lnTo>
                  <a:lnTo>
                    <a:pt x="1072" y="1003"/>
                  </a:lnTo>
                  <a:lnTo>
                    <a:pt x="899" y="1175"/>
                  </a:lnTo>
                  <a:lnTo>
                    <a:pt x="692" y="1417"/>
                  </a:lnTo>
                  <a:lnTo>
                    <a:pt x="484" y="1728"/>
                  </a:lnTo>
                  <a:lnTo>
                    <a:pt x="139" y="2350"/>
                  </a:lnTo>
                  <a:lnTo>
                    <a:pt x="1" y="2627"/>
                  </a:lnTo>
                  <a:lnTo>
                    <a:pt x="277" y="2869"/>
                  </a:lnTo>
                  <a:lnTo>
                    <a:pt x="623" y="3076"/>
                  </a:lnTo>
                  <a:lnTo>
                    <a:pt x="968" y="3283"/>
                  </a:lnTo>
                  <a:lnTo>
                    <a:pt x="1314" y="3422"/>
                  </a:lnTo>
                  <a:lnTo>
                    <a:pt x="1694" y="3560"/>
                  </a:lnTo>
                  <a:lnTo>
                    <a:pt x="2109" y="3629"/>
                  </a:lnTo>
                  <a:lnTo>
                    <a:pt x="2489" y="3698"/>
                  </a:lnTo>
                  <a:lnTo>
                    <a:pt x="2869" y="3767"/>
                  </a:lnTo>
                  <a:lnTo>
                    <a:pt x="3664" y="3767"/>
                  </a:lnTo>
                  <a:lnTo>
                    <a:pt x="4044" y="3733"/>
                  </a:lnTo>
                  <a:lnTo>
                    <a:pt x="4389" y="3664"/>
                  </a:lnTo>
                  <a:lnTo>
                    <a:pt x="4735" y="3594"/>
                  </a:lnTo>
                  <a:lnTo>
                    <a:pt x="5046" y="3491"/>
                  </a:lnTo>
                  <a:lnTo>
                    <a:pt x="5322" y="3353"/>
                  </a:lnTo>
                  <a:lnTo>
                    <a:pt x="5564" y="3214"/>
                  </a:lnTo>
                  <a:lnTo>
                    <a:pt x="5806" y="3042"/>
                  </a:lnTo>
                  <a:lnTo>
                    <a:pt x="6013" y="2834"/>
                  </a:lnTo>
                  <a:lnTo>
                    <a:pt x="6221" y="2592"/>
                  </a:lnTo>
                  <a:lnTo>
                    <a:pt x="6394" y="2350"/>
                  </a:lnTo>
                  <a:lnTo>
                    <a:pt x="6532" y="2109"/>
                  </a:lnTo>
                  <a:lnTo>
                    <a:pt x="6635" y="1867"/>
                  </a:lnTo>
                  <a:lnTo>
                    <a:pt x="6739" y="1625"/>
                  </a:lnTo>
                  <a:lnTo>
                    <a:pt x="6774" y="1383"/>
                  </a:lnTo>
                  <a:lnTo>
                    <a:pt x="6808" y="1175"/>
                  </a:lnTo>
                  <a:lnTo>
                    <a:pt x="6774" y="968"/>
                  </a:lnTo>
                  <a:lnTo>
                    <a:pt x="6739" y="795"/>
                  </a:lnTo>
                  <a:lnTo>
                    <a:pt x="6635" y="692"/>
                  </a:lnTo>
                  <a:lnTo>
                    <a:pt x="6532" y="588"/>
                  </a:lnTo>
                  <a:lnTo>
                    <a:pt x="6152" y="588"/>
                  </a:lnTo>
                  <a:lnTo>
                    <a:pt x="5875" y="692"/>
                  </a:lnTo>
                  <a:lnTo>
                    <a:pt x="5495" y="864"/>
                  </a:lnTo>
                  <a:lnTo>
                    <a:pt x="5184" y="968"/>
                  </a:lnTo>
                  <a:lnTo>
                    <a:pt x="4908" y="1003"/>
                  </a:lnTo>
                  <a:lnTo>
                    <a:pt x="4700" y="1037"/>
                  </a:lnTo>
                  <a:lnTo>
                    <a:pt x="4562" y="1003"/>
                  </a:lnTo>
                  <a:lnTo>
                    <a:pt x="4458" y="934"/>
                  </a:lnTo>
                  <a:lnTo>
                    <a:pt x="4389" y="864"/>
                  </a:lnTo>
                  <a:lnTo>
                    <a:pt x="4355" y="761"/>
                  </a:lnTo>
                  <a:lnTo>
                    <a:pt x="4320" y="519"/>
                  </a:lnTo>
                  <a:lnTo>
                    <a:pt x="4286" y="277"/>
                  </a:lnTo>
                  <a:lnTo>
                    <a:pt x="4286" y="173"/>
                  </a:lnTo>
                  <a:lnTo>
                    <a:pt x="4251" y="104"/>
                  </a:lnTo>
                  <a:lnTo>
                    <a:pt x="4217" y="35"/>
                  </a:lnTo>
                  <a:lnTo>
                    <a:pt x="4113" y="1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2" name="Google Shape;1579;p16">
              <a:extLst>
                <a:ext uri="{FF2B5EF4-FFF2-40B4-BE49-F238E27FC236}">
                  <a16:creationId xmlns:a16="http://schemas.microsoft.com/office/drawing/2014/main" id="{39FD35B7-B2D4-C2AB-F676-969EB4B48D0A}"/>
                </a:ext>
              </a:extLst>
            </p:cNvPr>
            <p:cNvSpPr/>
            <p:nvPr/>
          </p:nvSpPr>
          <p:spPr>
            <a:xfrm>
              <a:off x="1874825" y="2241525"/>
              <a:ext cx="111475" cy="162425"/>
            </a:xfrm>
            <a:custGeom>
              <a:avLst/>
              <a:gdLst/>
              <a:ahLst/>
              <a:cxnLst/>
              <a:rect l="l" t="t" r="r" b="b"/>
              <a:pathLst>
                <a:path w="4459" h="6497" extrusionOk="0">
                  <a:moveTo>
                    <a:pt x="3353" y="0"/>
                  </a:moveTo>
                  <a:lnTo>
                    <a:pt x="3076" y="35"/>
                  </a:lnTo>
                  <a:lnTo>
                    <a:pt x="2800" y="69"/>
                  </a:lnTo>
                  <a:lnTo>
                    <a:pt x="2523" y="173"/>
                  </a:lnTo>
                  <a:lnTo>
                    <a:pt x="2212" y="277"/>
                  </a:lnTo>
                  <a:lnTo>
                    <a:pt x="1936" y="380"/>
                  </a:lnTo>
                  <a:lnTo>
                    <a:pt x="1694" y="553"/>
                  </a:lnTo>
                  <a:lnTo>
                    <a:pt x="1487" y="726"/>
                  </a:lnTo>
                  <a:lnTo>
                    <a:pt x="1279" y="968"/>
                  </a:lnTo>
                  <a:lnTo>
                    <a:pt x="1072" y="1210"/>
                  </a:lnTo>
                  <a:lnTo>
                    <a:pt x="865" y="1486"/>
                  </a:lnTo>
                  <a:lnTo>
                    <a:pt x="692" y="1797"/>
                  </a:lnTo>
                  <a:lnTo>
                    <a:pt x="519" y="2143"/>
                  </a:lnTo>
                  <a:lnTo>
                    <a:pt x="381" y="2488"/>
                  </a:lnTo>
                  <a:lnTo>
                    <a:pt x="243" y="2868"/>
                  </a:lnTo>
                  <a:lnTo>
                    <a:pt x="139" y="3249"/>
                  </a:lnTo>
                  <a:lnTo>
                    <a:pt x="70" y="3663"/>
                  </a:lnTo>
                  <a:lnTo>
                    <a:pt x="35" y="4043"/>
                  </a:lnTo>
                  <a:lnTo>
                    <a:pt x="1" y="4458"/>
                  </a:lnTo>
                  <a:lnTo>
                    <a:pt x="35" y="4838"/>
                  </a:lnTo>
                  <a:lnTo>
                    <a:pt x="70" y="5218"/>
                  </a:lnTo>
                  <a:lnTo>
                    <a:pt x="173" y="5598"/>
                  </a:lnTo>
                  <a:lnTo>
                    <a:pt x="277" y="5979"/>
                  </a:lnTo>
                  <a:lnTo>
                    <a:pt x="588" y="6151"/>
                  </a:lnTo>
                  <a:lnTo>
                    <a:pt x="899" y="6290"/>
                  </a:lnTo>
                  <a:lnTo>
                    <a:pt x="1314" y="6428"/>
                  </a:lnTo>
                  <a:lnTo>
                    <a:pt x="1521" y="6462"/>
                  </a:lnTo>
                  <a:lnTo>
                    <a:pt x="1763" y="6497"/>
                  </a:lnTo>
                  <a:lnTo>
                    <a:pt x="2005" y="6462"/>
                  </a:lnTo>
                  <a:lnTo>
                    <a:pt x="2281" y="6428"/>
                  </a:lnTo>
                  <a:lnTo>
                    <a:pt x="2523" y="6359"/>
                  </a:lnTo>
                  <a:lnTo>
                    <a:pt x="2765" y="6220"/>
                  </a:lnTo>
                  <a:lnTo>
                    <a:pt x="3007" y="6013"/>
                  </a:lnTo>
                  <a:lnTo>
                    <a:pt x="3214" y="5771"/>
                  </a:lnTo>
                  <a:lnTo>
                    <a:pt x="3387" y="5529"/>
                  </a:lnTo>
                  <a:lnTo>
                    <a:pt x="3491" y="5287"/>
                  </a:lnTo>
                  <a:lnTo>
                    <a:pt x="3560" y="5011"/>
                  </a:lnTo>
                  <a:lnTo>
                    <a:pt x="3629" y="4700"/>
                  </a:lnTo>
                  <a:lnTo>
                    <a:pt x="3664" y="4113"/>
                  </a:lnTo>
                  <a:lnTo>
                    <a:pt x="3664" y="3456"/>
                  </a:lnTo>
                  <a:lnTo>
                    <a:pt x="3664" y="2834"/>
                  </a:lnTo>
                  <a:lnTo>
                    <a:pt x="3664" y="2523"/>
                  </a:lnTo>
                  <a:lnTo>
                    <a:pt x="3698" y="2212"/>
                  </a:lnTo>
                  <a:lnTo>
                    <a:pt x="3767" y="1935"/>
                  </a:lnTo>
                  <a:lnTo>
                    <a:pt x="3871" y="1659"/>
                  </a:lnTo>
                  <a:lnTo>
                    <a:pt x="4009" y="1383"/>
                  </a:lnTo>
                  <a:lnTo>
                    <a:pt x="4182" y="1141"/>
                  </a:lnTo>
                  <a:lnTo>
                    <a:pt x="4355" y="933"/>
                  </a:lnTo>
                  <a:lnTo>
                    <a:pt x="4458" y="761"/>
                  </a:lnTo>
                  <a:lnTo>
                    <a:pt x="4458" y="588"/>
                  </a:lnTo>
                  <a:lnTo>
                    <a:pt x="4458" y="415"/>
                  </a:lnTo>
                  <a:lnTo>
                    <a:pt x="4355" y="311"/>
                  </a:lnTo>
                  <a:lnTo>
                    <a:pt x="4217" y="208"/>
                  </a:lnTo>
                  <a:lnTo>
                    <a:pt x="4044" y="104"/>
                  </a:lnTo>
                  <a:lnTo>
                    <a:pt x="3836" y="69"/>
                  </a:lnTo>
                  <a:lnTo>
                    <a:pt x="3595" y="35"/>
                  </a:lnTo>
                  <a:lnTo>
                    <a:pt x="3353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3" name="Google Shape;1580;p16">
              <a:extLst>
                <a:ext uri="{FF2B5EF4-FFF2-40B4-BE49-F238E27FC236}">
                  <a16:creationId xmlns:a16="http://schemas.microsoft.com/office/drawing/2014/main" id="{480109A7-43E9-348E-04EF-6B84C1B05CC3}"/>
                </a:ext>
              </a:extLst>
            </p:cNvPr>
            <p:cNvSpPr/>
            <p:nvPr/>
          </p:nvSpPr>
          <p:spPr>
            <a:xfrm>
              <a:off x="994500" y="4854850"/>
              <a:ext cx="305850" cy="254875"/>
            </a:xfrm>
            <a:custGeom>
              <a:avLst/>
              <a:gdLst/>
              <a:ahLst/>
              <a:cxnLst/>
              <a:rect l="l" t="t" r="r" b="b"/>
              <a:pathLst>
                <a:path w="12234" h="10195" extrusionOk="0">
                  <a:moveTo>
                    <a:pt x="2903" y="0"/>
                  </a:moveTo>
                  <a:lnTo>
                    <a:pt x="2731" y="70"/>
                  </a:lnTo>
                  <a:lnTo>
                    <a:pt x="1901" y="657"/>
                  </a:lnTo>
                  <a:lnTo>
                    <a:pt x="1072" y="1244"/>
                  </a:lnTo>
                  <a:lnTo>
                    <a:pt x="865" y="1452"/>
                  </a:lnTo>
                  <a:lnTo>
                    <a:pt x="657" y="1694"/>
                  </a:lnTo>
                  <a:lnTo>
                    <a:pt x="450" y="1970"/>
                  </a:lnTo>
                  <a:lnTo>
                    <a:pt x="277" y="2281"/>
                  </a:lnTo>
                  <a:lnTo>
                    <a:pt x="139" y="2558"/>
                  </a:lnTo>
                  <a:lnTo>
                    <a:pt x="35" y="2799"/>
                  </a:lnTo>
                  <a:lnTo>
                    <a:pt x="1" y="3041"/>
                  </a:lnTo>
                  <a:lnTo>
                    <a:pt x="1" y="3180"/>
                  </a:lnTo>
                  <a:lnTo>
                    <a:pt x="70" y="3352"/>
                  </a:lnTo>
                  <a:lnTo>
                    <a:pt x="243" y="3560"/>
                  </a:lnTo>
                  <a:lnTo>
                    <a:pt x="796" y="4113"/>
                  </a:lnTo>
                  <a:lnTo>
                    <a:pt x="1452" y="4700"/>
                  </a:lnTo>
                  <a:lnTo>
                    <a:pt x="2143" y="5357"/>
                  </a:lnTo>
                  <a:lnTo>
                    <a:pt x="2351" y="5357"/>
                  </a:lnTo>
                  <a:lnTo>
                    <a:pt x="2454" y="5322"/>
                  </a:lnTo>
                  <a:lnTo>
                    <a:pt x="2558" y="5218"/>
                  </a:lnTo>
                  <a:lnTo>
                    <a:pt x="2696" y="5115"/>
                  </a:lnTo>
                  <a:lnTo>
                    <a:pt x="2731" y="5115"/>
                  </a:lnTo>
                  <a:lnTo>
                    <a:pt x="2834" y="5184"/>
                  </a:lnTo>
                  <a:lnTo>
                    <a:pt x="3180" y="5460"/>
                  </a:lnTo>
                  <a:lnTo>
                    <a:pt x="4251" y="6428"/>
                  </a:lnTo>
                  <a:lnTo>
                    <a:pt x="6566" y="8674"/>
                  </a:lnTo>
                  <a:lnTo>
                    <a:pt x="6808" y="8847"/>
                  </a:lnTo>
                  <a:lnTo>
                    <a:pt x="7085" y="9054"/>
                  </a:lnTo>
                  <a:lnTo>
                    <a:pt x="7396" y="9227"/>
                  </a:lnTo>
                  <a:lnTo>
                    <a:pt x="7741" y="9400"/>
                  </a:lnTo>
                  <a:lnTo>
                    <a:pt x="8502" y="9711"/>
                  </a:lnTo>
                  <a:lnTo>
                    <a:pt x="9331" y="9953"/>
                  </a:lnTo>
                  <a:lnTo>
                    <a:pt x="9746" y="10056"/>
                  </a:lnTo>
                  <a:lnTo>
                    <a:pt x="10126" y="10125"/>
                  </a:lnTo>
                  <a:lnTo>
                    <a:pt x="10540" y="10160"/>
                  </a:lnTo>
                  <a:lnTo>
                    <a:pt x="10886" y="10195"/>
                  </a:lnTo>
                  <a:lnTo>
                    <a:pt x="11232" y="10160"/>
                  </a:lnTo>
                  <a:lnTo>
                    <a:pt x="11543" y="10125"/>
                  </a:lnTo>
                  <a:lnTo>
                    <a:pt x="11819" y="10022"/>
                  </a:lnTo>
                  <a:lnTo>
                    <a:pt x="12026" y="9918"/>
                  </a:lnTo>
                  <a:lnTo>
                    <a:pt x="12165" y="9711"/>
                  </a:lnTo>
                  <a:lnTo>
                    <a:pt x="12234" y="9503"/>
                  </a:lnTo>
                  <a:lnTo>
                    <a:pt x="12199" y="9296"/>
                  </a:lnTo>
                  <a:lnTo>
                    <a:pt x="12130" y="9054"/>
                  </a:lnTo>
                  <a:lnTo>
                    <a:pt x="12026" y="8812"/>
                  </a:lnTo>
                  <a:lnTo>
                    <a:pt x="11854" y="8536"/>
                  </a:lnTo>
                  <a:lnTo>
                    <a:pt x="11646" y="8294"/>
                  </a:lnTo>
                  <a:lnTo>
                    <a:pt x="11439" y="8017"/>
                  </a:lnTo>
                  <a:lnTo>
                    <a:pt x="10955" y="7534"/>
                  </a:lnTo>
                  <a:lnTo>
                    <a:pt x="10471" y="7050"/>
                  </a:lnTo>
                  <a:lnTo>
                    <a:pt x="10022" y="6670"/>
                  </a:lnTo>
                  <a:lnTo>
                    <a:pt x="9780" y="6428"/>
                  </a:lnTo>
                  <a:lnTo>
                    <a:pt x="9677" y="6324"/>
                  </a:lnTo>
                  <a:lnTo>
                    <a:pt x="9538" y="6255"/>
                  </a:lnTo>
                  <a:lnTo>
                    <a:pt x="9227" y="6082"/>
                  </a:lnTo>
                  <a:lnTo>
                    <a:pt x="8363" y="5840"/>
                  </a:lnTo>
                  <a:lnTo>
                    <a:pt x="7845" y="5668"/>
                  </a:lnTo>
                  <a:lnTo>
                    <a:pt x="7327" y="5460"/>
                  </a:lnTo>
                  <a:lnTo>
                    <a:pt x="6774" y="5149"/>
                  </a:lnTo>
                  <a:lnTo>
                    <a:pt x="6497" y="4977"/>
                  </a:lnTo>
                  <a:lnTo>
                    <a:pt x="6221" y="4769"/>
                  </a:lnTo>
                  <a:lnTo>
                    <a:pt x="5737" y="4355"/>
                  </a:lnTo>
                  <a:lnTo>
                    <a:pt x="5392" y="3940"/>
                  </a:lnTo>
                  <a:lnTo>
                    <a:pt x="5115" y="3560"/>
                  </a:lnTo>
                  <a:lnTo>
                    <a:pt x="4908" y="3180"/>
                  </a:lnTo>
                  <a:lnTo>
                    <a:pt x="4804" y="2834"/>
                  </a:lnTo>
                  <a:lnTo>
                    <a:pt x="4735" y="2523"/>
                  </a:lnTo>
                  <a:lnTo>
                    <a:pt x="4597" y="1970"/>
                  </a:lnTo>
                  <a:lnTo>
                    <a:pt x="4493" y="1625"/>
                  </a:lnTo>
                  <a:lnTo>
                    <a:pt x="4251" y="1175"/>
                  </a:lnTo>
                  <a:lnTo>
                    <a:pt x="4078" y="933"/>
                  </a:lnTo>
                  <a:lnTo>
                    <a:pt x="3871" y="657"/>
                  </a:lnTo>
                  <a:lnTo>
                    <a:pt x="3629" y="381"/>
                  </a:lnTo>
                  <a:lnTo>
                    <a:pt x="3353" y="104"/>
                  </a:lnTo>
                  <a:lnTo>
                    <a:pt x="3215" y="35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4" name="Google Shape;1581;p16">
              <a:extLst>
                <a:ext uri="{FF2B5EF4-FFF2-40B4-BE49-F238E27FC236}">
                  <a16:creationId xmlns:a16="http://schemas.microsoft.com/office/drawing/2014/main" id="{F8AEA65D-1A77-5317-AFAB-4ACCF0EC58B1}"/>
                </a:ext>
              </a:extLst>
            </p:cNvPr>
            <p:cNvSpPr/>
            <p:nvPr/>
          </p:nvSpPr>
          <p:spPr>
            <a:xfrm>
              <a:off x="1380675" y="3920100"/>
              <a:ext cx="415575" cy="1118775"/>
            </a:xfrm>
            <a:custGeom>
              <a:avLst/>
              <a:gdLst/>
              <a:ahLst/>
              <a:cxnLst/>
              <a:rect l="l" t="t" r="r" b="b"/>
              <a:pathLst>
                <a:path w="16623" h="44751" extrusionOk="0">
                  <a:moveTo>
                    <a:pt x="1175" y="0"/>
                  </a:moveTo>
                  <a:lnTo>
                    <a:pt x="968" y="35"/>
                  </a:lnTo>
                  <a:lnTo>
                    <a:pt x="726" y="69"/>
                  </a:lnTo>
                  <a:lnTo>
                    <a:pt x="519" y="173"/>
                  </a:lnTo>
                  <a:lnTo>
                    <a:pt x="346" y="277"/>
                  </a:lnTo>
                  <a:lnTo>
                    <a:pt x="173" y="450"/>
                  </a:lnTo>
                  <a:lnTo>
                    <a:pt x="70" y="692"/>
                  </a:lnTo>
                  <a:lnTo>
                    <a:pt x="0" y="968"/>
                  </a:lnTo>
                  <a:lnTo>
                    <a:pt x="0" y="1279"/>
                  </a:lnTo>
                  <a:lnTo>
                    <a:pt x="104" y="2350"/>
                  </a:lnTo>
                  <a:lnTo>
                    <a:pt x="415" y="4389"/>
                  </a:lnTo>
                  <a:lnTo>
                    <a:pt x="1348" y="10333"/>
                  </a:lnTo>
                  <a:lnTo>
                    <a:pt x="2039" y="14583"/>
                  </a:lnTo>
                  <a:lnTo>
                    <a:pt x="2834" y="19490"/>
                  </a:lnTo>
                  <a:lnTo>
                    <a:pt x="3594" y="23913"/>
                  </a:lnTo>
                  <a:lnTo>
                    <a:pt x="4182" y="27196"/>
                  </a:lnTo>
                  <a:lnTo>
                    <a:pt x="4389" y="28268"/>
                  </a:lnTo>
                  <a:lnTo>
                    <a:pt x="4527" y="28855"/>
                  </a:lnTo>
                  <a:lnTo>
                    <a:pt x="4735" y="29753"/>
                  </a:lnTo>
                  <a:lnTo>
                    <a:pt x="5046" y="31101"/>
                  </a:lnTo>
                  <a:lnTo>
                    <a:pt x="5426" y="32725"/>
                  </a:lnTo>
                  <a:lnTo>
                    <a:pt x="5771" y="34557"/>
                  </a:lnTo>
                  <a:lnTo>
                    <a:pt x="6117" y="36457"/>
                  </a:lnTo>
                  <a:lnTo>
                    <a:pt x="6393" y="38220"/>
                  </a:lnTo>
                  <a:lnTo>
                    <a:pt x="6497" y="39015"/>
                  </a:lnTo>
                  <a:lnTo>
                    <a:pt x="6601" y="39740"/>
                  </a:lnTo>
                  <a:lnTo>
                    <a:pt x="6635" y="40362"/>
                  </a:lnTo>
                  <a:lnTo>
                    <a:pt x="6635" y="40881"/>
                  </a:lnTo>
                  <a:lnTo>
                    <a:pt x="6566" y="41641"/>
                  </a:lnTo>
                  <a:lnTo>
                    <a:pt x="6463" y="42194"/>
                  </a:lnTo>
                  <a:lnTo>
                    <a:pt x="6359" y="42608"/>
                  </a:lnTo>
                  <a:lnTo>
                    <a:pt x="6255" y="42885"/>
                  </a:lnTo>
                  <a:lnTo>
                    <a:pt x="6186" y="43127"/>
                  </a:lnTo>
                  <a:lnTo>
                    <a:pt x="6151" y="43369"/>
                  </a:lnTo>
                  <a:lnTo>
                    <a:pt x="6186" y="43714"/>
                  </a:lnTo>
                  <a:lnTo>
                    <a:pt x="6324" y="44163"/>
                  </a:lnTo>
                  <a:lnTo>
                    <a:pt x="6393" y="44267"/>
                  </a:lnTo>
                  <a:lnTo>
                    <a:pt x="6532" y="44405"/>
                  </a:lnTo>
                  <a:lnTo>
                    <a:pt x="6704" y="44474"/>
                  </a:lnTo>
                  <a:lnTo>
                    <a:pt x="6912" y="44578"/>
                  </a:lnTo>
                  <a:lnTo>
                    <a:pt x="7188" y="44613"/>
                  </a:lnTo>
                  <a:lnTo>
                    <a:pt x="7499" y="44682"/>
                  </a:lnTo>
                  <a:lnTo>
                    <a:pt x="8225" y="44751"/>
                  </a:lnTo>
                  <a:lnTo>
                    <a:pt x="9054" y="44751"/>
                  </a:lnTo>
                  <a:lnTo>
                    <a:pt x="9953" y="44716"/>
                  </a:lnTo>
                  <a:lnTo>
                    <a:pt x="10886" y="44682"/>
                  </a:lnTo>
                  <a:lnTo>
                    <a:pt x="11853" y="44578"/>
                  </a:lnTo>
                  <a:lnTo>
                    <a:pt x="12821" y="44474"/>
                  </a:lnTo>
                  <a:lnTo>
                    <a:pt x="13719" y="44336"/>
                  </a:lnTo>
                  <a:lnTo>
                    <a:pt x="14583" y="44198"/>
                  </a:lnTo>
                  <a:lnTo>
                    <a:pt x="15309" y="44060"/>
                  </a:lnTo>
                  <a:lnTo>
                    <a:pt x="15896" y="43887"/>
                  </a:lnTo>
                  <a:lnTo>
                    <a:pt x="16346" y="43749"/>
                  </a:lnTo>
                  <a:lnTo>
                    <a:pt x="16484" y="43680"/>
                  </a:lnTo>
                  <a:lnTo>
                    <a:pt x="16588" y="43611"/>
                  </a:lnTo>
                  <a:lnTo>
                    <a:pt x="16622" y="43541"/>
                  </a:lnTo>
                  <a:lnTo>
                    <a:pt x="16588" y="43507"/>
                  </a:lnTo>
                  <a:lnTo>
                    <a:pt x="16449" y="43403"/>
                  </a:lnTo>
                  <a:lnTo>
                    <a:pt x="16207" y="43265"/>
                  </a:lnTo>
                  <a:lnTo>
                    <a:pt x="15620" y="43023"/>
                  </a:lnTo>
                  <a:lnTo>
                    <a:pt x="14860" y="42816"/>
                  </a:lnTo>
                  <a:lnTo>
                    <a:pt x="13996" y="42574"/>
                  </a:lnTo>
                  <a:lnTo>
                    <a:pt x="12372" y="42090"/>
                  </a:lnTo>
                  <a:lnTo>
                    <a:pt x="11750" y="41883"/>
                  </a:lnTo>
                  <a:lnTo>
                    <a:pt x="11508" y="41779"/>
                  </a:lnTo>
                  <a:lnTo>
                    <a:pt x="11335" y="41675"/>
                  </a:lnTo>
                  <a:lnTo>
                    <a:pt x="11300" y="41606"/>
                  </a:lnTo>
                  <a:lnTo>
                    <a:pt x="11266" y="41433"/>
                  </a:lnTo>
                  <a:lnTo>
                    <a:pt x="11162" y="40846"/>
                  </a:lnTo>
                  <a:lnTo>
                    <a:pt x="11024" y="39982"/>
                  </a:lnTo>
                  <a:lnTo>
                    <a:pt x="10920" y="38842"/>
                  </a:lnTo>
                  <a:lnTo>
                    <a:pt x="10609" y="35801"/>
                  </a:lnTo>
                  <a:lnTo>
                    <a:pt x="10298" y="32034"/>
                  </a:lnTo>
                  <a:lnTo>
                    <a:pt x="9642" y="23188"/>
                  </a:lnTo>
                  <a:lnTo>
                    <a:pt x="8951" y="14134"/>
                  </a:lnTo>
                  <a:lnTo>
                    <a:pt x="8640" y="9849"/>
                  </a:lnTo>
                  <a:lnTo>
                    <a:pt x="8329" y="5564"/>
                  </a:lnTo>
                  <a:lnTo>
                    <a:pt x="8190" y="4078"/>
                  </a:lnTo>
                  <a:lnTo>
                    <a:pt x="8087" y="3076"/>
                  </a:lnTo>
                  <a:lnTo>
                    <a:pt x="7948" y="2385"/>
                  </a:lnTo>
                  <a:lnTo>
                    <a:pt x="7810" y="1797"/>
                  </a:lnTo>
                  <a:lnTo>
                    <a:pt x="7637" y="1314"/>
                  </a:lnTo>
                  <a:lnTo>
                    <a:pt x="7465" y="933"/>
                  </a:lnTo>
                  <a:lnTo>
                    <a:pt x="7223" y="622"/>
                  </a:lnTo>
                  <a:lnTo>
                    <a:pt x="6946" y="380"/>
                  </a:lnTo>
                  <a:lnTo>
                    <a:pt x="6670" y="208"/>
                  </a:lnTo>
                  <a:lnTo>
                    <a:pt x="6324" y="104"/>
                  </a:lnTo>
                  <a:lnTo>
                    <a:pt x="5979" y="35"/>
                  </a:lnTo>
                  <a:lnTo>
                    <a:pt x="5564" y="0"/>
                  </a:lnTo>
                  <a:lnTo>
                    <a:pt x="5149" y="35"/>
                  </a:lnTo>
                  <a:lnTo>
                    <a:pt x="4666" y="35"/>
                  </a:lnTo>
                  <a:lnTo>
                    <a:pt x="3629" y="104"/>
                  </a:lnTo>
                  <a:lnTo>
                    <a:pt x="2454" y="173"/>
                  </a:lnTo>
                  <a:lnTo>
                    <a:pt x="2074" y="69"/>
                  </a:lnTo>
                  <a:lnTo>
                    <a:pt x="1659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" name="Google Shape;1582;p16">
              <a:extLst>
                <a:ext uri="{FF2B5EF4-FFF2-40B4-BE49-F238E27FC236}">
                  <a16:creationId xmlns:a16="http://schemas.microsoft.com/office/drawing/2014/main" id="{F7726374-E384-A9C6-0082-C50531FF9B5D}"/>
                </a:ext>
              </a:extLst>
            </p:cNvPr>
            <p:cNvSpPr/>
            <p:nvPr/>
          </p:nvSpPr>
          <p:spPr>
            <a:xfrm>
              <a:off x="1380675" y="3920100"/>
              <a:ext cx="415575" cy="1118775"/>
            </a:xfrm>
            <a:custGeom>
              <a:avLst/>
              <a:gdLst/>
              <a:ahLst/>
              <a:cxnLst/>
              <a:rect l="l" t="t" r="r" b="b"/>
              <a:pathLst>
                <a:path w="16623" h="44751" fill="none" extrusionOk="0">
                  <a:moveTo>
                    <a:pt x="0" y="1279"/>
                  </a:moveTo>
                  <a:lnTo>
                    <a:pt x="0" y="1279"/>
                  </a:lnTo>
                  <a:lnTo>
                    <a:pt x="104" y="2350"/>
                  </a:lnTo>
                  <a:lnTo>
                    <a:pt x="415" y="4389"/>
                  </a:lnTo>
                  <a:lnTo>
                    <a:pt x="1348" y="10333"/>
                  </a:lnTo>
                  <a:lnTo>
                    <a:pt x="1348" y="10333"/>
                  </a:lnTo>
                  <a:lnTo>
                    <a:pt x="2039" y="14583"/>
                  </a:lnTo>
                  <a:lnTo>
                    <a:pt x="2039" y="14583"/>
                  </a:lnTo>
                  <a:lnTo>
                    <a:pt x="2834" y="19490"/>
                  </a:lnTo>
                  <a:lnTo>
                    <a:pt x="3594" y="23913"/>
                  </a:lnTo>
                  <a:lnTo>
                    <a:pt x="4182" y="27196"/>
                  </a:lnTo>
                  <a:lnTo>
                    <a:pt x="4389" y="28268"/>
                  </a:lnTo>
                  <a:lnTo>
                    <a:pt x="4527" y="28855"/>
                  </a:lnTo>
                  <a:lnTo>
                    <a:pt x="4527" y="28855"/>
                  </a:lnTo>
                  <a:lnTo>
                    <a:pt x="4735" y="29753"/>
                  </a:lnTo>
                  <a:lnTo>
                    <a:pt x="5046" y="31101"/>
                  </a:lnTo>
                  <a:lnTo>
                    <a:pt x="5426" y="32725"/>
                  </a:lnTo>
                  <a:lnTo>
                    <a:pt x="5771" y="34557"/>
                  </a:lnTo>
                  <a:lnTo>
                    <a:pt x="6117" y="36457"/>
                  </a:lnTo>
                  <a:lnTo>
                    <a:pt x="6393" y="38220"/>
                  </a:lnTo>
                  <a:lnTo>
                    <a:pt x="6497" y="39015"/>
                  </a:lnTo>
                  <a:lnTo>
                    <a:pt x="6601" y="39740"/>
                  </a:lnTo>
                  <a:lnTo>
                    <a:pt x="6635" y="40362"/>
                  </a:lnTo>
                  <a:lnTo>
                    <a:pt x="6635" y="40881"/>
                  </a:lnTo>
                  <a:lnTo>
                    <a:pt x="6635" y="40881"/>
                  </a:lnTo>
                  <a:lnTo>
                    <a:pt x="6566" y="41641"/>
                  </a:lnTo>
                  <a:lnTo>
                    <a:pt x="6463" y="42194"/>
                  </a:lnTo>
                  <a:lnTo>
                    <a:pt x="6359" y="42608"/>
                  </a:lnTo>
                  <a:lnTo>
                    <a:pt x="6255" y="42885"/>
                  </a:lnTo>
                  <a:lnTo>
                    <a:pt x="6186" y="43127"/>
                  </a:lnTo>
                  <a:lnTo>
                    <a:pt x="6151" y="43369"/>
                  </a:lnTo>
                  <a:lnTo>
                    <a:pt x="6186" y="43714"/>
                  </a:lnTo>
                  <a:lnTo>
                    <a:pt x="6324" y="44163"/>
                  </a:lnTo>
                  <a:lnTo>
                    <a:pt x="6324" y="44163"/>
                  </a:lnTo>
                  <a:lnTo>
                    <a:pt x="6393" y="44267"/>
                  </a:lnTo>
                  <a:lnTo>
                    <a:pt x="6532" y="44405"/>
                  </a:lnTo>
                  <a:lnTo>
                    <a:pt x="6704" y="44474"/>
                  </a:lnTo>
                  <a:lnTo>
                    <a:pt x="6912" y="44578"/>
                  </a:lnTo>
                  <a:lnTo>
                    <a:pt x="7188" y="44613"/>
                  </a:lnTo>
                  <a:lnTo>
                    <a:pt x="7499" y="44682"/>
                  </a:lnTo>
                  <a:lnTo>
                    <a:pt x="8225" y="44751"/>
                  </a:lnTo>
                  <a:lnTo>
                    <a:pt x="9054" y="44751"/>
                  </a:lnTo>
                  <a:lnTo>
                    <a:pt x="9953" y="44716"/>
                  </a:lnTo>
                  <a:lnTo>
                    <a:pt x="10886" y="44682"/>
                  </a:lnTo>
                  <a:lnTo>
                    <a:pt x="11853" y="44578"/>
                  </a:lnTo>
                  <a:lnTo>
                    <a:pt x="12821" y="44474"/>
                  </a:lnTo>
                  <a:lnTo>
                    <a:pt x="13719" y="44336"/>
                  </a:lnTo>
                  <a:lnTo>
                    <a:pt x="14583" y="44198"/>
                  </a:lnTo>
                  <a:lnTo>
                    <a:pt x="15309" y="44060"/>
                  </a:lnTo>
                  <a:lnTo>
                    <a:pt x="15896" y="43887"/>
                  </a:lnTo>
                  <a:lnTo>
                    <a:pt x="16346" y="43749"/>
                  </a:lnTo>
                  <a:lnTo>
                    <a:pt x="16484" y="43680"/>
                  </a:lnTo>
                  <a:lnTo>
                    <a:pt x="16588" y="43611"/>
                  </a:lnTo>
                  <a:lnTo>
                    <a:pt x="16622" y="43541"/>
                  </a:lnTo>
                  <a:lnTo>
                    <a:pt x="16588" y="43507"/>
                  </a:lnTo>
                  <a:lnTo>
                    <a:pt x="16588" y="43507"/>
                  </a:lnTo>
                  <a:lnTo>
                    <a:pt x="16449" y="43403"/>
                  </a:lnTo>
                  <a:lnTo>
                    <a:pt x="16207" y="43265"/>
                  </a:lnTo>
                  <a:lnTo>
                    <a:pt x="15620" y="43023"/>
                  </a:lnTo>
                  <a:lnTo>
                    <a:pt x="14860" y="42816"/>
                  </a:lnTo>
                  <a:lnTo>
                    <a:pt x="13996" y="42574"/>
                  </a:lnTo>
                  <a:lnTo>
                    <a:pt x="12372" y="42090"/>
                  </a:lnTo>
                  <a:lnTo>
                    <a:pt x="11750" y="41883"/>
                  </a:lnTo>
                  <a:lnTo>
                    <a:pt x="11508" y="41779"/>
                  </a:lnTo>
                  <a:lnTo>
                    <a:pt x="11335" y="41675"/>
                  </a:lnTo>
                  <a:lnTo>
                    <a:pt x="11335" y="41675"/>
                  </a:lnTo>
                  <a:lnTo>
                    <a:pt x="11300" y="41606"/>
                  </a:lnTo>
                  <a:lnTo>
                    <a:pt x="11266" y="41433"/>
                  </a:lnTo>
                  <a:lnTo>
                    <a:pt x="11162" y="40846"/>
                  </a:lnTo>
                  <a:lnTo>
                    <a:pt x="11024" y="39982"/>
                  </a:lnTo>
                  <a:lnTo>
                    <a:pt x="10920" y="38842"/>
                  </a:lnTo>
                  <a:lnTo>
                    <a:pt x="10609" y="35801"/>
                  </a:lnTo>
                  <a:lnTo>
                    <a:pt x="10298" y="32034"/>
                  </a:lnTo>
                  <a:lnTo>
                    <a:pt x="9642" y="23188"/>
                  </a:lnTo>
                  <a:lnTo>
                    <a:pt x="8951" y="14134"/>
                  </a:lnTo>
                  <a:lnTo>
                    <a:pt x="8951" y="14134"/>
                  </a:lnTo>
                  <a:lnTo>
                    <a:pt x="8640" y="9849"/>
                  </a:lnTo>
                  <a:lnTo>
                    <a:pt x="8640" y="9849"/>
                  </a:lnTo>
                  <a:lnTo>
                    <a:pt x="8329" y="5564"/>
                  </a:lnTo>
                  <a:lnTo>
                    <a:pt x="8190" y="4078"/>
                  </a:lnTo>
                  <a:lnTo>
                    <a:pt x="8087" y="3076"/>
                  </a:lnTo>
                  <a:lnTo>
                    <a:pt x="8087" y="3076"/>
                  </a:lnTo>
                  <a:lnTo>
                    <a:pt x="7948" y="2385"/>
                  </a:lnTo>
                  <a:lnTo>
                    <a:pt x="7810" y="1797"/>
                  </a:lnTo>
                  <a:lnTo>
                    <a:pt x="7637" y="1314"/>
                  </a:lnTo>
                  <a:lnTo>
                    <a:pt x="7465" y="933"/>
                  </a:lnTo>
                  <a:lnTo>
                    <a:pt x="7223" y="622"/>
                  </a:lnTo>
                  <a:lnTo>
                    <a:pt x="6946" y="380"/>
                  </a:lnTo>
                  <a:lnTo>
                    <a:pt x="6670" y="208"/>
                  </a:lnTo>
                  <a:lnTo>
                    <a:pt x="6324" y="104"/>
                  </a:lnTo>
                  <a:lnTo>
                    <a:pt x="5979" y="35"/>
                  </a:lnTo>
                  <a:lnTo>
                    <a:pt x="5564" y="0"/>
                  </a:lnTo>
                  <a:lnTo>
                    <a:pt x="5149" y="35"/>
                  </a:lnTo>
                  <a:lnTo>
                    <a:pt x="4666" y="35"/>
                  </a:lnTo>
                  <a:lnTo>
                    <a:pt x="3629" y="104"/>
                  </a:lnTo>
                  <a:lnTo>
                    <a:pt x="2454" y="173"/>
                  </a:lnTo>
                  <a:lnTo>
                    <a:pt x="2454" y="173"/>
                  </a:lnTo>
                  <a:lnTo>
                    <a:pt x="2074" y="69"/>
                  </a:lnTo>
                  <a:lnTo>
                    <a:pt x="1659" y="0"/>
                  </a:lnTo>
                  <a:lnTo>
                    <a:pt x="1175" y="0"/>
                  </a:lnTo>
                  <a:lnTo>
                    <a:pt x="968" y="35"/>
                  </a:lnTo>
                  <a:lnTo>
                    <a:pt x="726" y="69"/>
                  </a:lnTo>
                  <a:lnTo>
                    <a:pt x="519" y="173"/>
                  </a:lnTo>
                  <a:lnTo>
                    <a:pt x="346" y="277"/>
                  </a:lnTo>
                  <a:lnTo>
                    <a:pt x="173" y="450"/>
                  </a:lnTo>
                  <a:lnTo>
                    <a:pt x="70" y="692"/>
                  </a:lnTo>
                  <a:lnTo>
                    <a:pt x="0" y="968"/>
                  </a:lnTo>
                  <a:lnTo>
                    <a:pt x="0" y="127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6" name="Google Shape;1583;p16">
              <a:extLst>
                <a:ext uri="{FF2B5EF4-FFF2-40B4-BE49-F238E27FC236}">
                  <a16:creationId xmlns:a16="http://schemas.microsoft.com/office/drawing/2014/main" id="{26A63CCE-E056-A39C-36B6-ADC7614A4345}"/>
                </a:ext>
              </a:extLst>
            </p:cNvPr>
            <p:cNvSpPr/>
            <p:nvPr/>
          </p:nvSpPr>
          <p:spPr>
            <a:xfrm>
              <a:off x="1514575" y="4975800"/>
              <a:ext cx="358550" cy="120975"/>
            </a:xfrm>
            <a:custGeom>
              <a:avLst/>
              <a:gdLst/>
              <a:ahLst/>
              <a:cxnLst/>
              <a:rect l="l" t="t" r="r" b="b"/>
              <a:pathLst>
                <a:path w="14342" h="4839" extrusionOk="0">
                  <a:moveTo>
                    <a:pt x="1037" y="0"/>
                  </a:moveTo>
                  <a:lnTo>
                    <a:pt x="899" y="35"/>
                  </a:lnTo>
                  <a:lnTo>
                    <a:pt x="726" y="104"/>
                  </a:lnTo>
                  <a:lnTo>
                    <a:pt x="623" y="208"/>
                  </a:lnTo>
                  <a:lnTo>
                    <a:pt x="554" y="380"/>
                  </a:lnTo>
                  <a:lnTo>
                    <a:pt x="277" y="1383"/>
                  </a:lnTo>
                  <a:lnTo>
                    <a:pt x="35" y="2419"/>
                  </a:lnTo>
                  <a:lnTo>
                    <a:pt x="1" y="2730"/>
                  </a:lnTo>
                  <a:lnTo>
                    <a:pt x="1" y="3076"/>
                  </a:lnTo>
                  <a:lnTo>
                    <a:pt x="35" y="3421"/>
                  </a:lnTo>
                  <a:lnTo>
                    <a:pt x="104" y="3767"/>
                  </a:lnTo>
                  <a:lnTo>
                    <a:pt x="173" y="4078"/>
                  </a:lnTo>
                  <a:lnTo>
                    <a:pt x="277" y="4320"/>
                  </a:lnTo>
                  <a:lnTo>
                    <a:pt x="381" y="4527"/>
                  </a:lnTo>
                  <a:lnTo>
                    <a:pt x="519" y="4665"/>
                  </a:lnTo>
                  <a:lnTo>
                    <a:pt x="692" y="4735"/>
                  </a:lnTo>
                  <a:lnTo>
                    <a:pt x="968" y="4769"/>
                  </a:lnTo>
                  <a:lnTo>
                    <a:pt x="1763" y="4804"/>
                  </a:lnTo>
                  <a:lnTo>
                    <a:pt x="2731" y="4838"/>
                  </a:lnTo>
                  <a:lnTo>
                    <a:pt x="3733" y="4838"/>
                  </a:lnTo>
                  <a:lnTo>
                    <a:pt x="3802" y="4769"/>
                  </a:lnTo>
                  <a:lnTo>
                    <a:pt x="3871" y="4700"/>
                  </a:lnTo>
                  <a:lnTo>
                    <a:pt x="3906" y="4596"/>
                  </a:lnTo>
                  <a:lnTo>
                    <a:pt x="3940" y="4458"/>
                  </a:lnTo>
                  <a:lnTo>
                    <a:pt x="3940" y="4285"/>
                  </a:lnTo>
                  <a:lnTo>
                    <a:pt x="3975" y="4285"/>
                  </a:lnTo>
                  <a:lnTo>
                    <a:pt x="4113" y="4251"/>
                  </a:lnTo>
                  <a:lnTo>
                    <a:pt x="4562" y="4285"/>
                  </a:lnTo>
                  <a:lnTo>
                    <a:pt x="6152" y="4493"/>
                  </a:lnTo>
                  <a:lnTo>
                    <a:pt x="8018" y="4700"/>
                  </a:lnTo>
                  <a:lnTo>
                    <a:pt x="8882" y="4804"/>
                  </a:lnTo>
                  <a:lnTo>
                    <a:pt x="9573" y="4838"/>
                  </a:lnTo>
                  <a:lnTo>
                    <a:pt x="10195" y="4838"/>
                  </a:lnTo>
                  <a:lnTo>
                    <a:pt x="10921" y="4735"/>
                  </a:lnTo>
                  <a:lnTo>
                    <a:pt x="11681" y="4562"/>
                  </a:lnTo>
                  <a:lnTo>
                    <a:pt x="12441" y="4354"/>
                  </a:lnTo>
                  <a:lnTo>
                    <a:pt x="12787" y="4216"/>
                  </a:lnTo>
                  <a:lnTo>
                    <a:pt x="13098" y="4078"/>
                  </a:lnTo>
                  <a:lnTo>
                    <a:pt x="13409" y="3905"/>
                  </a:lnTo>
                  <a:lnTo>
                    <a:pt x="13685" y="3732"/>
                  </a:lnTo>
                  <a:lnTo>
                    <a:pt x="13927" y="3525"/>
                  </a:lnTo>
                  <a:lnTo>
                    <a:pt x="14100" y="3318"/>
                  </a:lnTo>
                  <a:lnTo>
                    <a:pt x="14238" y="3110"/>
                  </a:lnTo>
                  <a:lnTo>
                    <a:pt x="14342" y="2868"/>
                  </a:lnTo>
                  <a:lnTo>
                    <a:pt x="14307" y="2627"/>
                  </a:lnTo>
                  <a:lnTo>
                    <a:pt x="14238" y="2385"/>
                  </a:lnTo>
                  <a:lnTo>
                    <a:pt x="14100" y="2177"/>
                  </a:lnTo>
                  <a:lnTo>
                    <a:pt x="13892" y="2005"/>
                  </a:lnTo>
                  <a:lnTo>
                    <a:pt x="13650" y="1797"/>
                  </a:lnTo>
                  <a:lnTo>
                    <a:pt x="13374" y="1659"/>
                  </a:lnTo>
                  <a:lnTo>
                    <a:pt x="13063" y="1486"/>
                  </a:lnTo>
                  <a:lnTo>
                    <a:pt x="12752" y="1383"/>
                  </a:lnTo>
                  <a:lnTo>
                    <a:pt x="12061" y="1141"/>
                  </a:lnTo>
                  <a:lnTo>
                    <a:pt x="11439" y="1002"/>
                  </a:lnTo>
                  <a:lnTo>
                    <a:pt x="10886" y="899"/>
                  </a:lnTo>
                  <a:lnTo>
                    <a:pt x="10506" y="830"/>
                  </a:lnTo>
                  <a:lnTo>
                    <a:pt x="10195" y="830"/>
                  </a:lnTo>
                  <a:lnTo>
                    <a:pt x="9815" y="899"/>
                  </a:lnTo>
                  <a:lnTo>
                    <a:pt x="8951" y="1141"/>
                  </a:lnTo>
                  <a:lnTo>
                    <a:pt x="8432" y="1279"/>
                  </a:lnTo>
                  <a:lnTo>
                    <a:pt x="7845" y="1417"/>
                  </a:lnTo>
                  <a:lnTo>
                    <a:pt x="7223" y="1555"/>
                  </a:lnTo>
                  <a:lnTo>
                    <a:pt x="6497" y="1624"/>
                  </a:lnTo>
                  <a:lnTo>
                    <a:pt x="5841" y="1624"/>
                  </a:lnTo>
                  <a:lnTo>
                    <a:pt x="5288" y="1555"/>
                  </a:lnTo>
                  <a:lnTo>
                    <a:pt x="4804" y="1452"/>
                  </a:lnTo>
                  <a:lnTo>
                    <a:pt x="4389" y="1279"/>
                  </a:lnTo>
                  <a:lnTo>
                    <a:pt x="4044" y="1106"/>
                  </a:lnTo>
                  <a:lnTo>
                    <a:pt x="3767" y="899"/>
                  </a:lnTo>
                  <a:lnTo>
                    <a:pt x="3318" y="553"/>
                  </a:lnTo>
                  <a:lnTo>
                    <a:pt x="3007" y="380"/>
                  </a:lnTo>
                  <a:lnTo>
                    <a:pt x="2489" y="173"/>
                  </a:lnTo>
                  <a:lnTo>
                    <a:pt x="2178" y="104"/>
                  </a:lnTo>
                  <a:lnTo>
                    <a:pt x="1832" y="35"/>
                  </a:lnTo>
                  <a:lnTo>
                    <a:pt x="145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7" name="Google Shape;1584;p16">
              <a:extLst>
                <a:ext uri="{FF2B5EF4-FFF2-40B4-BE49-F238E27FC236}">
                  <a16:creationId xmlns:a16="http://schemas.microsoft.com/office/drawing/2014/main" id="{9E7A53B5-715B-DEBC-30CD-EAE08623882A}"/>
                </a:ext>
              </a:extLst>
            </p:cNvPr>
            <p:cNvSpPr/>
            <p:nvPr/>
          </p:nvSpPr>
          <p:spPr>
            <a:xfrm>
              <a:off x="1318475" y="4255300"/>
              <a:ext cx="6075" cy="25925"/>
            </a:xfrm>
            <a:custGeom>
              <a:avLst/>
              <a:gdLst/>
              <a:ahLst/>
              <a:cxnLst/>
              <a:rect l="l" t="t" r="r" b="b"/>
              <a:pathLst>
                <a:path w="243" h="1037" extrusionOk="0">
                  <a:moveTo>
                    <a:pt x="242" y="0"/>
                  </a:moveTo>
                  <a:lnTo>
                    <a:pt x="242" y="0"/>
                  </a:lnTo>
                  <a:lnTo>
                    <a:pt x="0" y="1037"/>
                  </a:lnTo>
                  <a:lnTo>
                    <a:pt x="0" y="1037"/>
                  </a:lnTo>
                  <a:lnTo>
                    <a:pt x="242" y="0"/>
                  </a:lnTo>
                  <a:lnTo>
                    <a:pt x="242" y="0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8" name="Google Shape;1585;p16">
              <a:extLst>
                <a:ext uri="{FF2B5EF4-FFF2-40B4-BE49-F238E27FC236}">
                  <a16:creationId xmlns:a16="http://schemas.microsoft.com/office/drawing/2014/main" id="{1441D04C-7C84-926F-E544-FA31B453A112}"/>
                </a:ext>
              </a:extLst>
            </p:cNvPr>
            <p:cNvSpPr/>
            <p:nvPr/>
          </p:nvSpPr>
          <p:spPr>
            <a:xfrm>
              <a:off x="1318475" y="4255300"/>
              <a:ext cx="6075" cy="25925"/>
            </a:xfrm>
            <a:custGeom>
              <a:avLst/>
              <a:gdLst/>
              <a:ahLst/>
              <a:cxnLst/>
              <a:rect l="l" t="t" r="r" b="b"/>
              <a:pathLst>
                <a:path w="243" h="1037" fill="none" extrusionOk="0">
                  <a:moveTo>
                    <a:pt x="242" y="0"/>
                  </a:moveTo>
                  <a:lnTo>
                    <a:pt x="242" y="0"/>
                  </a:lnTo>
                  <a:lnTo>
                    <a:pt x="0" y="1037"/>
                  </a:lnTo>
                  <a:lnTo>
                    <a:pt x="0" y="1037"/>
                  </a:lnTo>
                  <a:lnTo>
                    <a:pt x="242" y="0"/>
                  </a:lnTo>
                  <a:lnTo>
                    <a:pt x="242" y="0"/>
                  </a:lnTo>
                  <a:lnTo>
                    <a:pt x="24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9" name="Google Shape;1586;p16">
              <a:extLst>
                <a:ext uri="{FF2B5EF4-FFF2-40B4-BE49-F238E27FC236}">
                  <a16:creationId xmlns:a16="http://schemas.microsoft.com/office/drawing/2014/main" id="{98DCA7C4-7FC0-5D42-0D76-481121CE5F73}"/>
                </a:ext>
              </a:extLst>
            </p:cNvPr>
            <p:cNvSpPr/>
            <p:nvPr/>
          </p:nvSpPr>
          <p:spPr>
            <a:xfrm>
              <a:off x="1131875" y="4228525"/>
              <a:ext cx="192675" cy="57900"/>
            </a:xfrm>
            <a:custGeom>
              <a:avLst/>
              <a:gdLst/>
              <a:ahLst/>
              <a:cxnLst/>
              <a:rect l="l" t="t" r="r" b="b"/>
              <a:pathLst>
                <a:path w="7707" h="2316" extrusionOk="0">
                  <a:moveTo>
                    <a:pt x="35" y="0"/>
                  </a:moveTo>
                  <a:lnTo>
                    <a:pt x="0" y="1279"/>
                  </a:lnTo>
                  <a:lnTo>
                    <a:pt x="449" y="1417"/>
                  </a:lnTo>
                  <a:lnTo>
                    <a:pt x="899" y="1555"/>
                  </a:lnTo>
                  <a:lnTo>
                    <a:pt x="1382" y="1693"/>
                  </a:lnTo>
                  <a:lnTo>
                    <a:pt x="1901" y="1762"/>
                  </a:lnTo>
                  <a:lnTo>
                    <a:pt x="2903" y="1935"/>
                  </a:lnTo>
                  <a:lnTo>
                    <a:pt x="3940" y="2039"/>
                  </a:lnTo>
                  <a:lnTo>
                    <a:pt x="5875" y="2143"/>
                  </a:lnTo>
                  <a:lnTo>
                    <a:pt x="6704" y="2212"/>
                  </a:lnTo>
                  <a:lnTo>
                    <a:pt x="7430" y="2315"/>
                  </a:lnTo>
                  <a:lnTo>
                    <a:pt x="7464" y="2108"/>
                  </a:lnTo>
                  <a:lnTo>
                    <a:pt x="7706" y="1071"/>
                  </a:lnTo>
                  <a:lnTo>
                    <a:pt x="6808" y="1071"/>
                  </a:lnTo>
                  <a:lnTo>
                    <a:pt x="5875" y="1002"/>
                  </a:lnTo>
                  <a:lnTo>
                    <a:pt x="4873" y="898"/>
                  </a:lnTo>
                  <a:lnTo>
                    <a:pt x="3871" y="760"/>
                  </a:lnTo>
                  <a:lnTo>
                    <a:pt x="2834" y="587"/>
                  </a:lnTo>
                  <a:lnTo>
                    <a:pt x="1866" y="415"/>
                  </a:lnTo>
                  <a:lnTo>
                    <a:pt x="899" y="207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0" name="Google Shape;1587;p16">
              <a:extLst>
                <a:ext uri="{FF2B5EF4-FFF2-40B4-BE49-F238E27FC236}">
                  <a16:creationId xmlns:a16="http://schemas.microsoft.com/office/drawing/2014/main" id="{C6250285-8470-1FC5-C358-F9635BD1B04D}"/>
                </a:ext>
              </a:extLst>
            </p:cNvPr>
            <p:cNvSpPr/>
            <p:nvPr/>
          </p:nvSpPr>
          <p:spPr>
            <a:xfrm>
              <a:off x="1131875" y="4228525"/>
              <a:ext cx="192675" cy="57900"/>
            </a:xfrm>
            <a:custGeom>
              <a:avLst/>
              <a:gdLst/>
              <a:ahLst/>
              <a:cxnLst/>
              <a:rect l="l" t="t" r="r" b="b"/>
              <a:pathLst>
                <a:path w="7707" h="2316" fill="none" extrusionOk="0">
                  <a:moveTo>
                    <a:pt x="35" y="0"/>
                  </a:moveTo>
                  <a:lnTo>
                    <a:pt x="35" y="0"/>
                  </a:lnTo>
                  <a:lnTo>
                    <a:pt x="0" y="1279"/>
                  </a:lnTo>
                  <a:lnTo>
                    <a:pt x="0" y="1279"/>
                  </a:lnTo>
                  <a:lnTo>
                    <a:pt x="449" y="1417"/>
                  </a:lnTo>
                  <a:lnTo>
                    <a:pt x="899" y="1555"/>
                  </a:lnTo>
                  <a:lnTo>
                    <a:pt x="1382" y="1693"/>
                  </a:lnTo>
                  <a:lnTo>
                    <a:pt x="1901" y="1762"/>
                  </a:lnTo>
                  <a:lnTo>
                    <a:pt x="2903" y="1935"/>
                  </a:lnTo>
                  <a:lnTo>
                    <a:pt x="3940" y="2039"/>
                  </a:lnTo>
                  <a:lnTo>
                    <a:pt x="5875" y="2143"/>
                  </a:lnTo>
                  <a:lnTo>
                    <a:pt x="6704" y="2212"/>
                  </a:lnTo>
                  <a:lnTo>
                    <a:pt x="7430" y="2315"/>
                  </a:lnTo>
                  <a:lnTo>
                    <a:pt x="7430" y="2315"/>
                  </a:lnTo>
                  <a:lnTo>
                    <a:pt x="7464" y="2108"/>
                  </a:lnTo>
                  <a:lnTo>
                    <a:pt x="7464" y="2108"/>
                  </a:lnTo>
                  <a:lnTo>
                    <a:pt x="7706" y="1071"/>
                  </a:lnTo>
                  <a:lnTo>
                    <a:pt x="7706" y="1071"/>
                  </a:lnTo>
                  <a:lnTo>
                    <a:pt x="6808" y="1071"/>
                  </a:lnTo>
                  <a:lnTo>
                    <a:pt x="5875" y="1002"/>
                  </a:lnTo>
                  <a:lnTo>
                    <a:pt x="4873" y="898"/>
                  </a:lnTo>
                  <a:lnTo>
                    <a:pt x="3871" y="760"/>
                  </a:lnTo>
                  <a:lnTo>
                    <a:pt x="2834" y="587"/>
                  </a:lnTo>
                  <a:lnTo>
                    <a:pt x="1866" y="415"/>
                  </a:lnTo>
                  <a:lnTo>
                    <a:pt x="899" y="207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1" name="Google Shape;1588;p16">
              <a:extLst>
                <a:ext uri="{FF2B5EF4-FFF2-40B4-BE49-F238E27FC236}">
                  <a16:creationId xmlns:a16="http://schemas.microsoft.com/office/drawing/2014/main" id="{DDC8BE50-94F8-E70B-E136-E100A7772AFF}"/>
                </a:ext>
              </a:extLst>
            </p:cNvPr>
            <p:cNvSpPr/>
            <p:nvPr/>
          </p:nvSpPr>
          <p:spPr>
            <a:xfrm>
              <a:off x="1423000" y="4233700"/>
              <a:ext cx="6950" cy="39750"/>
            </a:xfrm>
            <a:custGeom>
              <a:avLst/>
              <a:gdLst/>
              <a:ahLst/>
              <a:cxnLst/>
              <a:rect l="l" t="t" r="r" b="b"/>
              <a:pathLst>
                <a:path w="278" h="1590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277" y="1590"/>
                  </a:lnTo>
                  <a:lnTo>
                    <a:pt x="277" y="159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2" name="Google Shape;1589;p16">
              <a:extLst>
                <a:ext uri="{FF2B5EF4-FFF2-40B4-BE49-F238E27FC236}">
                  <a16:creationId xmlns:a16="http://schemas.microsoft.com/office/drawing/2014/main" id="{71E5EF8F-3A02-6703-A376-1D20D2DF0B4A}"/>
                </a:ext>
              </a:extLst>
            </p:cNvPr>
            <p:cNvSpPr/>
            <p:nvPr/>
          </p:nvSpPr>
          <p:spPr>
            <a:xfrm>
              <a:off x="1423000" y="4233700"/>
              <a:ext cx="6950" cy="39750"/>
            </a:xfrm>
            <a:custGeom>
              <a:avLst/>
              <a:gdLst/>
              <a:ahLst/>
              <a:cxnLst/>
              <a:rect l="l" t="t" r="r" b="b"/>
              <a:pathLst>
                <a:path w="278" h="1590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277" y="1590"/>
                  </a:lnTo>
                  <a:lnTo>
                    <a:pt x="277" y="159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3" name="Google Shape;1590;p16">
              <a:extLst>
                <a:ext uri="{FF2B5EF4-FFF2-40B4-BE49-F238E27FC236}">
                  <a16:creationId xmlns:a16="http://schemas.microsoft.com/office/drawing/2014/main" id="{A29395B4-4963-9B57-D592-1A398AAC7187}"/>
                </a:ext>
              </a:extLst>
            </p:cNvPr>
            <p:cNvSpPr/>
            <p:nvPr/>
          </p:nvSpPr>
          <p:spPr>
            <a:xfrm>
              <a:off x="1423000" y="4208650"/>
              <a:ext cx="181450" cy="68275"/>
            </a:xfrm>
            <a:custGeom>
              <a:avLst/>
              <a:gdLst/>
              <a:ahLst/>
              <a:cxnLst/>
              <a:rect l="l" t="t" r="r" b="b"/>
              <a:pathLst>
                <a:path w="7258" h="2731" extrusionOk="0">
                  <a:moveTo>
                    <a:pt x="3595" y="0"/>
                  </a:moveTo>
                  <a:lnTo>
                    <a:pt x="3007" y="69"/>
                  </a:lnTo>
                  <a:lnTo>
                    <a:pt x="2420" y="173"/>
                  </a:lnTo>
                  <a:lnTo>
                    <a:pt x="1901" y="311"/>
                  </a:lnTo>
                  <a:lnTo>
                    <a:pt x="1383" y="449"/>
                  </a:lnTo>
                  <a:lnTo>
                    <a:pt x="899" y="622"/>
                  </a:lnTo>
                  <a:lnTo>
                    <a:pt x="1" y="1002"/>
                  </a:lnTo>
                  <a:lnTo>
                    <a:pt x="277" y="2592"/>
                  </a:lnTo>
                  <a:lnTo>
                    <a:pt x="277" y="2730"/>
                  </a:lnTo>
                  <a:lnTo>
                    <a:pt x="623" y="2592"/>
                  </a:lnTo>
                  <a:lnTo>
                    <a:pt x="1003" y="2488"/>
                  </a:lnTo>
                  <a:lnTo>
                    <a:pt x="1383" y="2385"/>
                  </a:lnTo>
                  <a:lnTo>
                    <a:pt x="1763" y="2315"/>
                  </a:lnTo>
                  <a:lnTo>
                    <a:pt x="2558" y="2246"/>
                  </a:lnTo>
                  <a:lnTo>
                    <a:pt x="3387" y="2212"/>
                  </a:lnTo>
                  <a:lnTo>
                    <a:pt x="4389" y="2246"/>
                  </a:lnTo>
                  <a:lnTo>
                    <a:pt x="5392" y="2350"/>
                  </a:lnTo>
                  <a:lnTo>
                    <a:pt x="6359" y="2454"/>
                  </a:lnTo>
                  <a:lnTo>
                    <a:pt x="7258" y="2592"/>
                  </a:lnTo>
                  <a:lnTo>
                    <a:pt x="7119" y="449"/>
                  </a:lnTo>
                  <a:lnTo>
                    <a:pt x="6325" y="242"/>
                  </a:lnTo>
                  <a:lnTo>
                    <a:pt x="5564" y="104"/>
                  </a:lnTo>
                  <a:lnTo>
                    <a:pt x="4873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4" name="Google Shape;1591;p16">
              <a:extLst>
                <a:ext uri="{FF2B5EF4-FFF2-40B4-BE49-F238E27FC236}">
                  <a16:creationId xmlns:a16="http://schemas.microsoft.com/office/drawing/2014/main" id="{4248A868-FC34-56A6-3133-6FF812EBB63A}"/>
                </a:ext>
              </a:extLst>
            </p:cNvPr>
            <p:cNvSpPr/>
            <p:nvPr/>
          </p:nvSpPr>
          <p:spPr>
            <a:xfrm>
              <a:off x="1423000" y="4208650"/>
              <a:ext cx="181450" cy="68275"/>
            </a:xfrm>
            <a:custGeom>
              <a:avLst/>
              <a:gdLst/>
              <a:ahLst/>
              <a:cxnLst/>
              <a:rect l="l" t="t" r="r" b="b"/>
              <a:pathLst>
                <a:path w="7258" h="2731" fill="none" extrusionOk="0">
                  <a:moveTo>
                    <a:pt x="4217" y="0"/>
                  </a:moveTo>
                  <a:lnTo>
                    <a:pt x="4217" y="0"/>
                  </a:lnTo>
                  <a:lnTo>
                    <a:pt x="3595" y="0"/>
                  </a:lnTo>
                  <a:lnTo>
                    <a:pt x="3007" y="69"/>
                  </a:lnTo>
                  <a:lnTo>
                    <a:pt x="2420" y="173"/>
                  </a:lnTo>
                  <a:lnTo>
                    <a:pt x="1901" y="311"/>
                  </a:lnTo>
                  <a:lnTo>
                    <a:pt x="1383" y="449"/>
                  </a:lnTo>
                  <a:lnTo>
                    <a:pt x="899" y="622"/>
                  </a:lnTo>
                  <a:lnTo>
                    <a:pt x="1" y="1002"/>
                  </a:lnTo>
                  <a:lnTo>
                    <a:pt x="1" y="1002"/>
                  </a:lnTo>
                  <a:lnTo>
                    <a:pt x="277" y="2592"/>
                  </a:lnTo>
                  <a:lnTo>
                    <a:pt x="277" y="2592"/>
                  </a:lnTo>
                  <a:lnTo>
                    <a:pt x="277" y="2730"/>
                  </a:lnTo>
                  <a:lnTo>
                    <a:pt x="277" y="2730"/>
                  </a:lnTo>
                  <a:lnTo>
                    <a:pt x="623" y="2592"/>
                  </a:lnTo>
                  <a:lnTo>
                    <a:pt x="1003" y="2488"/>
                  </a:lnTo>
                  <a:lnTo>
                    <a:pt x="1383" y="2385"/>
                  </a:lnTo>
                  <a:lnTo>
                    <a:pt x="1763" y="2315"/>
                  </a:lnTo>
                  <a:lnTo>
                    <a:pt x="2558" y="2246"/>
                  </a:lnTo>
                  <a:lnTo>
                    <a:pt x="3387" y="2212"/>
                  </a:lnTo>
                  <a:lnTo>
                    <a:pt x="3387" y="2212"/>
                  </a:lnTo>
                  <a:lnTo>
                    <a:pt x="4389" y="2246"/>
                  </a:lnTo>
                  <a:lnTo>
                    <a:pt x="5392" y="2350"/>
                  </a:lnTo>
                  <a:lnTo>
                    <a:pt x="6359" y="2454"/>
                  </a:lnTo>
                  <a:lnTo>
                    <a:pt x="7258" y="2592"/>
                  </a:lnTo>
                  <a:lnTo>
                    <a:pt x="7258" y="2592"/>
                  </a:lnTo>
                  <a:lnTo>
                    <a:pt x="7119" y="449"/>
                  </a:lnTo>
                  <a:lnTo>
                    <a:pt x="7119" y="449"/>
                  </a:lnTo>
                  <a:lnTo>
                    <a:pt x="6325" y="242"/>
                  </a:lnTo>
                  <a:lnTo>
                    <a:pt x="5564" y="104"/>
                  </a:lnTo>
                  <a:lnTo>
                    <a:pt x="4873" y="0"/>
                  </a:lnTo>
                  <a:lnTo>
                    <a:pt x="421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5" name="Google Shape;1592;p16">
              <a:extLst>
                <a:ext uri="{FF2B5EF4-FFF2-40B4-BE49-F238E27FC236}">
                  <a16:creationId xmlns:a16="http://schemas.microsoft.com/office/drawing/2014/main" id="{4984C1B1-FCE3-ECBE-B6E1-00C8A90F20AD}"/>
                </a:ext>
              </a:extLst>
            </p:cNvPr>
            <p:cNvSpPr/>
            <p:nvPr/>
          </p:nvSpPr>
          <p:spPr>
            <a:xfrm>
              <a:off x="785450" y="3182325"/>
              <a:ext cx="901925" cy="1073000"/>
            </a:xfrm>
            <a:custGeom>
              <a:avLst/>
              <a:gdLst/>
              <a:ahLst/>
              <a:cxnLst/>
              <a:rect l="l" t="t" r="r" b="b"/>
              <a:pathLst>
                <a:path w="36077" h="42920" extrusionOk="0">
                  <a:moveTo>
                    <a:pt x="20872" y="0"/>
                  </a:moveTo>
                  <a:lnTo>
                    <a:pt x="20250" y="35"/>
                  </a:lnTo>
                  <a:lnTo>
                    <a:pt x="19663" y="104"/>
                  </a:lnTo>
                  <a:lnTo>
                    <a:pt x="19041" y="173"/>
                  </a:lnTo>
                  <a:lnTo>
                    <a:pt x="18453" y="311"/>
                  </a:lnTo>
                  <a:lnTo>
                    <a:pt x="17831" y="484"/>
                  </a:lnTo>
                  <a:lnTo>
                    <a:pt x="17244" y="691"/>
                  </a:lnTo>
                  <a:lnTo>
                    <a:pt x="16622" y="933"/>
                  </a:lnTo>
                  <a:lnTo>
                    <a:pt x="16034" y="1210"/>
                  </a:lnTo>
                  <a:lnTo>
                    <a:pt x="15239" y="1659"/>
                  </a:lnTo>
                  <a:lnTo>
                    <a:pt x="14445" y="2212"/>
                  </a:lnTo>
                  <a:lnTo>
                    <a:pt x="14065" y="2488"/>
                  </a:lnTo>
                  <a:lnTo>
                    <a:pt x="13684" y="2834"/>
                  </a:lnTo>
                  <a:lnTo>
                    <a:pt x="13304" y="3179"/>
                  </a:lnTo>
                  <a:lnTo>
                    <a:pt x="12924" y="3560"/>
                  </a:lnTo>
                  <a:lnTo>
                    <a:pt x="12890" y="3629"/>
                  </a:lnTo>
                  <a:lnTo>
                    <a:pt x="12302" y="4596"/>
                  </a:lnTo>
                  <a:lnTo>
                    <a:pt x="11784" y="5598"/>
                  </a:lnTo>
                  <a:lnTo>
                    <a:pt x="11335" y="6600"/>
                  </a:lnTo>
                  <a:lnTo>
                    <a:pt x="10920" y="7568"/>
                  </a:lnTo>
                  <a:lnTo>
                    <a:pt x="10574" y="8570"/>
                  </a:lnTo>
                  <a:lnTo>
                    <a:pt x="10263" y="9607"/>
                  </a:lnTo>
                  <a:lnTo>
                    <a:pt x="9987" y="10609"/>
                  </a:lnTo>
                  <a:lnTo>
                    <a:pt x="9710" y="11611"/>
                  </a:lnTo>
                  <a:lnTo>
                    <a:pt x="9503" y="12648"/>
                  </a:lnTo>
                  <a:lnTo>
                    <a:pt x="9330" y="13685"/>
                  </a:lnTo>
                  <a:lnTo>
                    <a:pt x="8950" y="15758"/>
                  </a:lnTo>
                  <a:lnTo>
                    <a:pt x="8639" y="17900"/>
                  </a:lnTo>
                  <a:lnTo>
                    <a:pt x="8294" y="20043"/>
                  </a:lnTo>
                  <a:lnTo>
                    <a:pt x="7914" y="22220"/>
                  </a:lnTo>
                  <a:lnTo>
                    <a:pt x="7672" y="23360"/>
                  </a:lnTo>
                  <a:lnTo>
                    <a:pt x="7430" y="24466"/>
                  </a:lnTo>
                  <a:lnTo>
                    <a:pt x="7119" y="25607"/>
                  </a:lnTo>
                  <a:lnTo>
                    <a:pt x="6773" y="26747"/>
                  </a:lnTo>
                  <a:lnTo>
                    <a:pt x="6393" y="27922"/>
                  </a:lnTo>
                  <a:lnTo>
                    <a:pt x="5944" y="29097"/>
                  </a:lnTo>
                  <a:lnTo>
                    <a:pt x="5460" y="30272"/>
                  </a:lnTo>
                  <a:lnTo>
                    <a:pt x="4907" y="31481"/>
                  </a:lnTo>
                  <a:lnTo>
                    <a:pt x="4285" y="32691"/>
                  </a:lnTo>
                  <a:lnTo>
                    <a:pt x="3594" y="33935"/>
                  </a:lnTo>
                  <a:lnTo>
                    <a:pt x="2834" y="35179"/>
                  </a:lnTo>
                  <a:lnTo>
                    <a:pt x="1970" y="36423"/>
                  </a:lnTo>
                  <a:lnTo>
                    <a:pt x="1037" y="37701"/>
                  </a:lnTo>
                  <a:lnTo>
                    <a:pt x="0" y="39014"/>
                  </a:lnTo>
                  <a:lnTo>
                    <a:pt x="242" y="39256"/>
                  </a:lnTo>
                  <a:lnTo>
                    <a:pt x="518" y="39498"/>
                  </a:lnTo>
                  <a:lnTo>
                    <a:pt x="864" y="39706"/>
                  </a:lnTo>
                  <a:lnTo>
                    <a:pt x="1175" y="39878"/>
                  </a:lnTo>
                  <a:lnTo>
                    <a:pt x="1555" y="40017"/>
                  </a:lnTo>
                  <a:lnTo>
                    <a:pt x="1935" y="40155"/>
                  </a:lnTo>
                  <a:lnTo>
                    <a:pt x="2350" y="40224"/>
                  </a:lnTo>
                  <a:lnTo>
                    <a:pt x="2799" y="40328"/>
                  </a:lnTo>
                  <a:lnTo>
                    <a:pt x="3698" y="40431"/>
                  </a:lnTo>
                  <a:lnTo>
                    <a:pt x="4631" y="40466"/>
                  </a:lnTo>
                  <a:lnTo>
                    <a:pt x="8639" y="40466"/>
                  </a:lnTo>
                  <a:lnTo>
                    <a:pt x="9261" y="40500"/>
                  </a:lnTo>
                  <a:lnTo>
                    <a:pt x="9849" y="40569"/>
                  </a:lnTo>
                  <a:lnTo>
                    <a:pt x="10367" y="40673"/>
                  </a:lnTo>
                  <a:lnTo>
                    <a:pt x="10851" y="40811"/>
                  </a:lnTo>
                  <a:lnTo>
                    <a:pt x="11300" y="40984"/>
                  </a:lnTo>
                  <a:lnTo>
                    <a:pt x="11646" y="41157"/>
                  </a:lnTo>
                  <a:lnTo>
                    <a:pt x="12095" y="41330"/>
                  </a:lnTo>
                  <a:lnTo>
                    <a:pt x="12613" y="41502"/>
                  </a:lnTo>
                  <a:lnTo>
                    <a:pt x="13235" y="41675"/>
                  </a:lnTo>
                  <a:lnTo>
                    <a:pt x="14479" y="41986"/>
                  </a:lnTo>
                  <a:lnTo>
                    <a:pt x="15861" y="42297"/>
                  </a:lnTo>
                  <a:lnTo>
                    <a:pt x="17313" y="42539"/>
                  </a:lnTo>
                  <a:lnTo>
                    <a:pt x="18764" y="42746"/>
                  </a:lnTo>
                  <a:lnTo>
                    <a:pt x="20216" y="42885"/>
                  </a:lnTo>
                  <a:lnTo>
                    <a:pt x="20872" y="42919"/>
                  </a:lnTo>
                  <a:lnTo>
                    <a:pt x="22151" y="42919"/>
                  </a:lnTo>
                  <a:lnTo>
                    <a:pt x="22704" y="42885"/>
                  </a:lnTo>
                  <a:lnTo>
                    <a:pt x="23187" y="42850"/>
                  </a:lnTo>
                  <a:lnTo>
                    <a:pt x="23637" y="42746"/>
                  </a:lnTo>
                  <a:lnTo>
                    <a:pt x="24155" y="42574"/>
                  </a:lnTo>
                  <a:lnTo>
                    <a:pt x="24673" y="42401"/>
                  </a:lnTo>
                  <a:lnTo>
                    <a:pt x="25745" y="41952"/>
                  </a:lnTo>
                  <a:lnTo>
                    <a:pt x="26332" y="41710"/>
                  </a:lnTo>
                  <a:lnTo>
                    <a:pt x="26920" y="41502"/>
                  </a:lnTo>
                  <a:lnTo>
                    <a:pt x="27542" y="41330"/>
                  </a:lnTo>
                  <a:lnTo>
                    <a:pt x="28233" y="41157"/>
                  </a:lnTo>
                  <a:lnTo>
                    <a:pt x="28924" y="41088"/>
                  </a:lnTo>
                  <a:lnTo>
                    <a:pt x="29684" y="41053"/>
                  </a:lnTo>
                  <a:lnTo>
                    <a:pt x="30513" y="41088"/>
                  </a:lnTo>
                  <a:lnTo>
                    <a:pt x="30963" y="41122"/>
                  </a:lnTo>
                  <a:lnTo>
                    <a:pt x="31412" y="41191"/>
                  </a:lnTo>
                  <a:lnTo>
                    <a:pt x="31861" y="41295"/>
                  </a:lnTo>
                  <a:lnTo>
                    <a:pt x="32345" y="41433"/>
                  </a:lnTo>
                  <a:lnTo>
                    <a:pt x="32863" y="41572"/>
                  </a:lnTo>
                  <a:lnTo>
                    <a:pt x="33382" y="41779"/>
                  </a:lnTo>
                  <a:lnTo>
                    <a:pt x="33934" y="41986"/>
                  </a:lnTo>
                  <a:lnTo>
                    <a:pt x="34487" y="42228"/>
                  </a:lnTo>
                  <a:lnTo>
                    <a:pt x="35075" y="42505"/>
                  </a:lnTo>
                  <a:lnTo>
                    <a:pt x="35697" y="42816"/>
                  </a:lnTo>
                  <a:lnTo>
                    <a:pt x="35835" y="42194"/>
                  </a:lnTo>
                  <a:lnTo>
                    <a:pt x="35939" y="41468"/>
                  </a:lnTo>
                  <a:lnTo>
                    <a:pt x="36008" y="40639"/>
                  </a:lnTo>
                  <a:lnTo>
                    <a:pt x="36042" y="39671"/>
                  </a:lnTo>
                  <a:lnTo>
                    <a:pt x="36077" y="38634"/>
                  </a:lnTo>
                  <a:lnTo>
                    <a:pt x="36042" y="37528"/>
                  </a:lnTo>
                  <a:lnTo>
                    <a:pt x="36008" y="36319"/>
                  </a:lnTo>
                  <a:lnTo>
                    <a:pt x="35939" y="35075"/>
                  </a:lnTo>
                  <a:lnTo>
                    <a:pt x="35766" y="32380"/>
                  </a:lnTo>
                  <a:lnTo>
                    <a:pt x="35455" y="29477"/>
                  </a:lnTo>
                  <a:lnTo>
                    <a:pt x="35109" y="26470"/>
                  </a:lnTo>
                  <a:lnTo>
                    <a:pt x="34695" y="23360"/>
                  </a:lnTo>
                  <a:lnTo>
                    <a:pt x="34211" y="20250"/>
                  </a:lnTo>
                  <a:lnTo>
                    <a:pt x="33693" y="17209"/>
                  </a:lnTo>
                  <a:lnTo>
                    <a:pt x="33140" y="14272"/>
                  </a:lnTo>
                  <a:lnTo>
                    <a:pt x="32552" y="11507"/>
                  </a:lnTo>
                  <a:lnTo>
                    <a:pt x="31965" y="8950"/>
                  </a:lnTo>
                  <a:lnTo>
                    <a:pt x="31377" y="6670"/>
                  </a:lnTo>
                  <a:lnTo>
                    <a:pt x="31101" y="5667"/>
                  </a:lnTo>
                  <a:lnTo>
                    <a:pt x="30790" y="4734"/>
                  </a:lnTo>
                  <a:lnTo>
                    <a:pt x="30513" y="3905"/>
                  </a:lnTo>
                  <a:lnTo>
                    <a:pt x="30237" y="3214"/>
                  </a:lnTo>
                  <a:lnTo>
                    <a:pt x="29995" y="2696"/>
                  </a:lnTo>
                  <a:lnTo>
                    <a:pt x="29753" y="2246"/>
                  </a:lnTo>
                  <a:lnTo>
                    <a:pt x="29442" y="2074"/>
                  </a:lnTo>
                  <a:lnTo>
                    <a:pt x="28509" y="1624"/>
                  </a:lnTo>
                  <a:lnTo>
                    <a:pt x="27853" y="1348"/>
                  </a:lnTo>
                  <a:lnTo>
                    <a:pt x="27092" y="1071"/>
                  </a:lnTo>
                  <a:lnTo>
                    <a:pt x="26228" y="760"/>
                  </a:lnTo>
                  <a:lnTo>
                    <a:pt x="25295" y="519"/>
                  </a:lnTo>
                  <a:lnTo>
                    <a:pt x="24259" y="277"/>
                  </a:lnTo>
                  <a:lnTo>
                    <a:pt x="23187" y="104"/>
                  </a:lnTo>
                  <a:lnTo>
                    <a:pt x="22600" y="35"/>
                  </a:lnTo>
                  <a:lnTo>
                    <a:pt x="22047" y="0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6" name="Google Shape;1593;p16">
              <a:extLst>
                <a:ext uri="{FF2B5EF4-FFF2-40B4-BE49-F238E27FC236}">
                  <a16:creationId xmlns:a16="http://schemas.microsoft.com/office/drawing/2014/main" id="{02D0DC09-142E-E72D-E191-D26E5BD13F5C}"/>
                </a:ext>
              </a:extLst>
            </p:cNvPr>
            <p:cNvSpPr/>
            <p:nvPr/>
          </p:nvSpPr>
          <p:spPr>
            <a:xfrm>
              <a:off x="785450" y="3182325"/>
              <a:ext cx="901925" cy="1073000"/>
            </a:xfrm>
            <a:custGeom>
              <a:avLst/>
              <a:gdLst/>
              <a:ahLst/>
              <a:cxnLst/>
              <a:rect l="l" t="t" r="r" b="b"/>
              <a:pathLst>
                <a:path w="36077" h="42920" fill="none" extrusionOk="0">
                  <a:moveTo>
                    <a:pt x="0" y="39014"/>
                  </a:moveTo>
                  <a:lnTo>
                    <a:pt x="0" y="39014"/>
                  </a:lnTo>
                  <a:lnTo>
                    <a:pt x="242" y="39256"/>
                  </a:lnTo>
                  <a:lnTo>
                    <a:pt x="518" y="39498"/>
                  </a:lnTo>
                  <a:lnTo>
                    <a:pt x="864" y="39706"/>
                  </a:lnTo>
                  <a:lnTo>
                    <a:pt x="1175" y="39878"/>
                  </a:lnTo>
                  <a:lnTo>
                    <a:pt x="1555" y="40017"/>
                  </a:lnTo>
                  <a:lnTo>
                    <a:pt x="1935" y="40155"/>
                  </a:lnTo>
                  <a:lnTo>
                    <a:pt x="2350" y="40224"/>
                  </a:lnTo>
                  <a:lnTo>
                    <a:pt x="2799" y="40328"/>
                  </a:lnTo>
                  <a:lnTo>
                    <a:pt x="3698" y="40431"/>
                  </a:lnTo>
                  <a:lnTo>
                    <a:pt x="4631" y="40466"/>
                  </a:lnTo>
                  <a:lnTo>
                    <a:pt x="5633" y="40466"/>
                  </a:lnTo>
                  <a:lnTo>
                    <a:pt x="6600" y="40466"/>
                  </a:lnTo>
                  <a:lnTo>
                    <a:pt x="6600" y="40466"/>
                  </a:lnTo>
                  <a:lnTo>
                    <a:pt x="7983" y="40466"/>
                  </a:lnTo>
                  <a:lnTo>
                    <a:pt x="8639" y="40466"/>
                  </a:lnTo>
                  <a:lnTo>
                    <a:pt x="9261" y="40500"/>
                  </a:lnTo>
                  <a:lnTo>
                    <a:pt x="9849" y="40569"/>
                  </a:lnTo>
                  <a:lnTo>
                    <a:pt x="10367" y="40673"/>
                  </a:lnTo>
                  <a:lnTo>
                    <a:pt x="10851" y="40811"/>
                  </a:lnTo>
                  <a:lnTo>
                    <a:pt x="11300" y="40984"/>
                  </a:lnTo>
                  <a:lnTo>
                    <a:pt x="11300" y="40984"/>
                  </a:lnTo>
                  <a:lnTo>
                    <a:pt x="11646" y="41157"/>
                  </a:lnTo>
                  <a:lnTo>
                    <a:pt x="12095" y="41330"/>
                  </a:lnTo>
                  <a:lnTo>
                    <a:pt x="12613" y="41502"/>
                  </a:lnTo>
                  <a:lnTo>
                    <a:pt x="13235" y="41675"/>
                  </a:lnTo>
                  <a:lnTo>
                    <a:pt x="13235" y="41675"/>
                  </a:lnTo>
                  <a:lnTo>
                    <a:pt x="14479" y="41986"/>
                  </a:lnTo>
                  <a:lnTo>
                    <a:pt x="15861" y="42297"/>
                  </a:lnTo>
                  <a:lnTo>
                    <a:pt x="17313" y="42539"/>
                  </a:lnTo>
                  <a:lnTo>
                    <a:pt x="18764" y="42746"/>
                  </a:lnTo>
                  <a:lnTo>
                    <a:pt x="20216" y="42885"/>
                  </a:lnTo>
                  <a:lnTo>
                    <a:pt x="20872" y="42919"/>
                  </a:lnTo>
                  <a:lnTo>
                    <a:pt x="21529" y="42919"/>
                  </a:lnTo>
                  <a:lnTo>
                    <a:pt x="22151" y="42919"/>
                  </a:lnTo>
                  <a:lnTo>
                    <a:pt x="22704" y="42885"/>
                  </a:lnTo>
                  <a:lnTo>
                    <a:pt x="23187" y="42850"/>
                  </a:lnTo>
                  <a:lnTo>
                    <a:pt x="23637" y="42746"/>
                  </a:lnTo>
                  <a:lnTo>
                    <a:pt x="23637" y="42746"/>
                  </a:lnTo>
                  <a:lnTo>
                    <a:pt x="24155" y="42574"/>
                  </a:lnTo>
                  <a:lnTo>
                    <a:pt x="24673" y="42401"/>
                  </a:lnTo>
                  <a:lnTo>
                    <a:pt x="25745" y="41952"/>
                  </a:lnTo>
                  <a:lnTo>
                    <a:pt x="26332" y="41710"/>
                  </a:lnTo>
                  <a:lnTo>
                    <a:pt x="26920" y="41502"/>
                  </a:lnTo>
                  <a:lnTo>
                    <a:pt x="27542" y="41330"/>
                  </a:lnTo>
                  <a:lnTo>
                    <a:pt x="28233" y="41157"/>
                  </a:lnTo>
                  <a:lnTo>
                    <a:pt x="28924" y="41088"/>
                  </a:lnTo>
                  <a:lnTo>
                    <a:pt x="29684" y="41053"/>
                  </a:lnTo>
                  <a:lnTo>
                    <a:pt x="30513" y="41088"/>
                  </a:lnTo>
                  <a:lnTo>
                    <a:pt x="30963" y="41122"/>
                  </a:lnTo>
                  <a:lnTo>
                    <a:pt x="31412" y="41191"/>
                  </a:lnTo>
                  <a:lnTo>
                    <a:pt x="31861" y="41295"/>
                  </a:lnTo>
                  <a:lnTo>
                    <a:pt x="32345" y="41433"/>
                  </a:lnTo>
                  <a:lnTo>
                    <a:pt x="32863" y="41572"/>
                  </a:lnTo>
                  <a:lnTo>
                    <a:pt x="33382" y="41779"/>
                  </a:lnTo>
                  <a:lnTo>
                    <a:pt x="33934" y="41986"/>
                  </a:lnTo>
                  <a:lnTo>
                    <a:pt x="34487" y="42228"/>
                  </a:lnTo>
                  <a:lnTo>
                    <a:pt x="35075" y="42505"/>
                  </a:lnTo>
                  <a:lnTo>
                    <a:pt x="35697" y="42816"/>
                  </a:lnTo>
                  <a:lnTo>
                    <a:pt x="35697" y="42816"/>
                  </a:lnTo>
                  <a:lnTo>
                    <a:pt x="35835" y="42194"/>
                  </a:lnTo>
                  <a:lnTo>
                    <a:pt x="35939" y="41468"/>
                  </a:lnTo>
                  <a:lnTo>
                    <a:pt x="36008" y="40639"/>
                  </a:lnTo>
                  <a:lnTo>
                    <a:pt x="36042" y="39671"/>
                  </a:lnTo>
                  <a:lnTo>
                    <a:pt x="36077" y="38634"/>
                  </a:lnTo>
                  <a:lnTo>
                    <a:pt x="36042" y="37528"/>
                  </a:lnTo>
                  <a:lnTo>
                    <a:pt x="36008" y="36319"/>
                  </a:lnTo>
                  <a:lnTo>
                    <a:pt x="35939" y="35075"/>
                  </a:lnTo>
                  <a:lnTo>
                    <a:pt x="35766" y="32380"/>
                  </a:lnTo>
                  <a:lnTo>
                    <a:pt x="35455" y="29477"/>
                  </a:lnTo>
                  <a:lnTo>
                    <a:pt x="35109" y="26470"/>
                  </a:lnTo>
                  <a:lnTo>
                    <a:pt x="34695" y="23360"/>
                  </a:lnTo>
                  <a:lnTo>
                    <a:pt x="34211" y="20250"/>
                  </a:lnTo>
                  <a:lnTo>
                    <a:pt x="33693" y="17209"/>
                  </a:lnTo>
                  <a:lnTo>
                    <a:pt x="33140" y="14272"/>
                  </a:lnTo>
                  <a:lnTo>
                    <a:pt x="32552" y="11507"/>
                  </a:lnTo>
                  <a:lnTo>
                    <a:pt x="31965" y="8950"/>
                  </a:lnTo>
                  <a:lnTo>
                    <a:pt x="31377" y="6670"/>
                  </a:lnTo>
                  <a:lnTo>
                    <a:pt x="31101" y="5667"/>
                  </a:lnTo>
                  <a:lnTo>
                    <a:pt x="30790" y="4734"/>
                  </a:lnTo>
                  <a:lnTo>
                    <a:pt x="30513" y="3905"/>
                  </a:lnTo>
                  <a:lnTo>
                    <a:pt x="30237" y="3214"/>
                  </a:lnTo>
                  <a:lnTo>
                    <a:pt x="30237" y="3214"/>
                  </a:lnTo>
                  <a:lnTo>
                    <a:pt x="30237" y="3214"/>
                  </a:lnTo>
                  <a:lnTo>
                    <a:pt x="29995" y="2696"/>
                  </a:lnTo>
                  <a:lnTo>
                    <a:pt x="29753" y="2246"/>
                  </a:lnTo>
                  <a:lnTo>
                    <a:pt x="29753" y="2246"/>
                  </a:lnTo>
                  <a:lnTo>
                    <a:pt x="29442" y="2074"/>
                  </a:lnTo>
                  <a:lnTo>
                    <a:pt x="28509" y="1624"/>
                  </a:lnTo>
                  <a:lnTo>
                    <a:pt x="27853" y="1348"/>
                  </a:lnTo>
                  <a:lnTo>
                    <a:pt x="27092" y="1071"/>
                  </a:lnTo>
                  <a:lnTo>
                    <a:pt x="26228" y="760"/>
                  </a:lnTo>
                  <a:lnTo>
                    <a:pt x="25295" y="519"/>
                  </a:lnTo>
                  <a:lnTo>
                    <a:pt x="24259" y="277"/>
                  </a:lnTo>
                  <a:lnTo>
                    <a:pt x="23187" y="104"/>
                  </a:lnTo>
                  <a:lnTo>
                    <a:pt x="22600" y="35"/>
                  </a:lnTo>
                  <a:lnTo>
                    <a:pt x="22047" y="0"/>
                  </a:lnTo>
                  <a:lnTo>
                    <a:pt x="21460" y="0"/>
                  </a:lnTo>
                  <a:lnTo>
                    <a:pt x="20872" y="0"/>
                  </a:lnTo>
                  <a:lnTo>
                    <a:pt x="20250" y="35"/>
                  </a:lnTo>
                  <a:lnTo>
                    <a:pt x="19663" y="104"/>
                  </a:lnTo>
                  <a:lnTo>
                    <a:pt x="19041" y="173"/>
                  </a:lnTo>
                  <a:lnTo>
                    <a:pt x="18453" y="311"/>
                  </a:lnTo>
                  <a:lnTo>
                    <a:pt x="17831" y="484"/>
                  </a:lnTo>
                  <a:lnTo>
                    <a:pt x="17244" y="691"/>
                  </a:lnTo>
                  <a:lnTo>
                    <a:pt x="16622" y="933"/>
                  </a:lnTo>
                  <a:lnTo>
                    <a:pt x="16034" y="1210"/>
                  </a:lnTo>
                  <a:lnTo>
                    <a:pt x="16034" y="1210"/>
                  </a:lnTo>
                  <a:lnTo>
                    <a:pt x="15239" y="1659"/>
                  </a:lnTo>
                  <a:lnTo>
                    <a:pt x="14445" y="2212"/>
                  </a:lnTo>
                  <a:lnTo>
                    <a:pt x="14065" y="2488"/>
                  </a:lnTo>
                  <a:lnTo>
                    <a:pt x="13684" y="2834"/>
                  </a:lnTo>
                  <a:lnTo>
                    <a:pt x="13304" y="3179"/>
                  </a:lnTo>
                  <a:lnTo>
                    <a:pt x="12924" y="3560"/>
                  </a:lnTo>
                  <a:lnTo>
                    <a:pt x="12924" y="3560"/>
                  </a:lnTo>
                  <a:lnTo>
                    <a:pt x="12890" y="3629"/>
                  </a:lnTo>
                  <a:lnTo>
                    <a:pt x="12890" y="3629"/>
                  </a:lnTo>
                  <a:lnTo>
                    <a:pt x="12302" y="4596"/>
                  </a:lnTo>
                  <a:lnTo>
                    <a:pt x="11784" y="5598"/>
                  </a:lnTo>
                  <a:lnTo>
                    <a:pt x="11335" y="6600"/>
                  </a:lnTo>
                  <a:lnTo>
                    <a:pt x="10920" y="7568"/>
                  </a:lnTo>
                  <a:lnTo>
                    <a:pt x="10574" y="8570"/>
                  </a:lnTo>
                  <a:lnTo>
                    <a:pt x="10263" y="9607"/>
                  </a:lnTo>
                  <a:lnTo>
                    <a:pt x="9987" y="10609"/>
                  </a:lnTo>
                  <a:lnTo>
                    <a:pt x="9710" y="11611"/>
                  </a:lnTo>
                  <a:lnTo>
                    <a:pt x="9503" y="12648"/>
                  </a:lnTo>
                  <a:lnTo>
                    <a:pt x="9330" y="13685"/>
                  </a:lnTo>
                  <a:lnTo>
                    <a:pt x="8950" y="15758"/>
                  </a:lnTo>
                  <a:lnTo>
                    <a:pt x="8639" y="17900"/>
                  </a:lnTo>
                  <a:lnTo>
                    <a:pt x="8294" y="20043"/>
                  </a:lnTo>
                  <a:lnTo>
                    <a:pt x="7914" y="22220"/>
                  </a:lnTo>
                  <a:lnTo>
                    <a:pt x="7672" y="23360"/>
                  </a:lnTo>
                  <a:lnTo>
                    <a:pt x="7430" y="24466"/>
                  </a:lnTo>
                  <a:lnTo>
                    <a:pt x="7119" y="25607"/>
                  </a:lnTo>
                  <a:lnTo>
                    <a:pt x="6773" y="26747"/>
                  </a:lnTo>
                  <a:lnTo>
                    <a:pt x="6393" y="27922"/>
                  </a:lnTo>
                  <a:lnTo>
                    <a:pt x="5944" y="29097"/>
                  </a:lnTo>
                  <a:lnTo>
                    <a:pt x="5460" y="30272"/>
                  </a:lnTo>
                  <a:lnTo>
                    <a:pt x="4907" y="31481"/>
                  </a:lnTo>
                  <a:lnTo>
                    <a:pt x="4285" y="32691"/>
                  </a:lnTo>
                  <a:lnTo>
                    <a:pt x="3594" y="33935"/>
                  </a:lnTo>
                  <a:lnTo>
                    <a:pt x="2834" y="35179"/>
                  </a:lnTo>
                  <a:lnTo>
                    <a:pt x="1970" y="36423"/>
                  </a:lnTo>
                  <a:lnTo>
                    <a:pt x="1037" y="37701"/>
                  </a:lnTo>
                  <a:lnTo>
                    <a:pt x="0" y="3901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7" name="Google Shape;1594;p16">
              <a:extLst>
                <a:ext uri="{FF2B5EF4-FFF2-40B4-BE49-F238E27FC236}">
                  <a16:creationId xmlns:a16="http://schemas.microsoft.com/office/drawing/2014/main" id="{EA2A2586-EADF-57BD-4282-E61E7F0B8709}"/>
                </a:ext>
              </a:extLst>
            </p:cNvPr>
            <p:cNvSpPr/>
            <p:nvPr/>
          </p:nvSpPr>
          <p:spPr>
            <a:xfrm>
              <a:off x="1082625" y="2352100"/>
              <a:ext cx="861350" cy="951200"/>
            </a:xfrm>
            <a:custGeom>
              <a:avLst/>
              <a:gdLst/>
              <a:ahLst/>
              <a:cxnLst/>
              <a:rect l="l" t="t" r="r" b="b"/>
              <a:pathLst>
                <a:path w="34454" h="38048" extrusionOk="0">
                  <a:moveTo>
                    <a:pt x="31620" y="1"/>
                  </a:moveTo>
                  <a:lnTo>
                    <a:pt x="31412" y="35"/>
                  </a:lnTo>
                  <a:lnTo>
                    <a:pt x="31309" y="35"/>
                  </a:lnTo>
                  <a:lnTo>
                    <a:pt x="31205" y="104"/>
                  </a:lnTo>
                  <a:lnTo>
                    <a:pt x="31136" y="173"/>
                  </a:lnTo>
                  <a:lnTo>
                    <a:pt x="31101" y="242"/>
                  </a:lnTo>
                  <a:lnTo>
                    <a:pt x="30721" y="934"/>
                  </a:lnTo>
                  <a:lnTo>
                    <a:pt x="29961" y="2247"/>
                  </a:lnTo>
                  <a:lnTo>
                    <a:pt x="28959" y="3940"/>
                  </a:lnTo>
                  <a:lnTo>
                    <a:pt x="27749" y="5806"/>
                  </a:lnTo>
                  <a:lnTo>
                    <a:pt x="27093" y="6774"/>
                  </a:lnTo>
                  <a:lnTo>
                    <a:pt x="26471" y="7707"/>
                  </a:lnTo>
                  <a:lnTo>
                    <a:pt x="25849" y="8570"/>
                  </a:lnTo>
                  <a:lnTo>
                    <a:pt x="25227" y="9365"/>
                  </a:lnTo>
                  <a:lnTo>
                    <a:pt x="24639" y="10056"/>
                  </a:lnTo>
                  <a:lnTo>
                    <a:pt x="24086" y="10644"/>
                  </a:lnTo>
                  <a:lnTo>
                    <a:pt x="23810" y="10851"/>
                  </a:lnTo>
                  <a:lnTo>
                    <a:pt x="23568" y="11059"/>
                  </a:lnTo>
                  <a:lnTo>
                    <a:pt x="23361" y="11197"/>
                  </a:lnTo>
                  <a:lnTo>
                    <a:pt x="23153" y="11300"/>
                  </a:lnTo>
                  <a:lnTo>
                    <a:pt x="22773" y="11370"/>
                  </a:lnTo>
                  <a:lnTo>
                    <a:pt x="22255" y="11439"/>
                  </a:lnTo>
                  <a:lnTo>
                    <a:pt x="21633" y="11439"/>
                  </a:lnTo>
                  <a:lnTo>
                    <a:pt x="20942" y="11404"/>
                  </a:lnTo>
                  <a:lnTo>
                    <a:pt x="20216" y="11335"/>
                  </a:lnTo>
                  <a:lnTo>
                    <a:pt x="19387" y="11231"/>
                  </a:lnTo>
                  <a:lnTo>
                    <a:pt x="18523" y="11093"/>
                  </a:lnTo>
                  <a:lnTo>
                    <a:pt x="17624" y="10920"/>
                  </a:lnTo>
                  <a:lnTo>
                    <a:pt x="16726" y="10748"/>
                  </a:lnTo>
                  <a:lnTo>
                    <a:pt x="15827" y="10540"/>
                  </a:lnTo>
                  <a:lnTo>
                    <a:pt x="14929" y="10298"/>
                  </a:lnTo>
                  <a:lnTo>
                    <a:pt x="14065" y="10022"/>
                  </a:lnTo>
                  <a:lnTo>
                    <a:pt x="13236" y="9780"/>
                  </a:lnTo>
                  <a:lnTo>
                    <a:pt x="12441" y="9504"/>
                  </a:lnTo>
                  <a:lnTo>
                    <a:pt x="11750" y="9193"/>
                  </a:lnTo>
                  <a:lnTo>
                    <a:pt x="11093" y="8916"/>
                  </a:lnTo>
                  <a:lnTo>
                    <a:pt x="10609" y="8847"/>
                  </a:lnTo>
                  <a:lnTo>
                    <a:pt x="9434" y="8709"/>
                  </a:lnTo>
                  <a:lnTo>
                    <a:pt x="8709" y="8640"/>
                  </a:lnTo>
                  <a:lnTo>
                    <a:pt x="7983" y="8570"/>
                  </a:lnTo>
                  <a:lnTo>
                    <a:pt x="6704" y="8570"/>
                  </a:lnTo>
                  <a:lnTo>
                    <a:pt x="6393" y="8640"/>
                  </a:lnTo>
                  <a:lnTo>
                    <a:pt x="6048" y="8743"/>
                  </a:lnTo>
                  <a:lnTo>
                    <a:pt x="5668" y="8916"/>
                  </a:lnTo>
                  <a:lnTo>
                    <a:pt x="5253" y="9123"/>
                  </a:lnTo>
                  <a:lnTo>
                    <a:pt x="4355" y="9676"/>
                  </a:lnTo>
                  <a:lnTo>
                    <a:pt x="3387" y="10298"/>
                  </a:lnTo>
                  <a:lnTo>
                    <a:pt x="2489" y="10989"/>
                  </a:lnTo>
                  <a:lnTo>
                    <a:pt x="1625" y="11715"/>
                  </a:lnTo>
                  <a:lnTo>
                    <a:pt x="934" y="12337"/>
                  </a:lnTo>
                  <a:lnTo>
                    <a:pt x="657" y="12648"/>
                  </a:lnTo>
                  <a:lnTo>
                    <a:pt x="415" y="12890"/>
                  </a:lnTo>
                  <a:lnTo>
                    <a:pt x="346" y="13063"/>
                  </a:lnTo>
                  <a:lnTo>
                    <a:pt x="242" y="13236"/>
                  </a:lnTo>
                  <a:lnTo>
                    <a:pt x="104" y="13616"/>
                  </a:lnTo>
                  <a:lnTo>
                    <a:pt x="35" y="14134"/>
                  </a:lnTo>
                  <a:lnTo>
                    <a:pt x="1" y="14687"/>
                  </a:lnTo>
                  <a:lnTo>
                    <a:pt x="1" y="15344"/>
                  </a:lnTo>
                  <a:lnTo>
                    <a:pt x="35" y="16035"/>
                  </a:lnTo>
                  <a:lnTo>
                    <a:pt x="139" y="16795"/>
                  </a:lnTo>
                  <a:lnTo>
                    <a:pt x="242" y="17590"/>
                  </a:lnTo>
                  <a:lnTo>
                    <a:pt x="381" y="18419"/>
                  </a:lnTo>
                  <a:lnTo>
                    <a:pt x="553" y="19283"/>
                  </a:lnTo>
                  <a:lnTo>
                    <a:pt x="968" y="21045"/>
                  </a:lnTo>
                  <a:lnTo>
                    <a:pt x="1452" y="22877"/>
                  </a:lnTo>
                  <a:lnTo>
                    <a:pt x="1936" y="24639"/>
                  </a:lnTo>
                  <a:lnTo>
                    <a:pt x="2005" y="24777"/>
                  </a:lnTo>
                  <a:lnTo>
                    <a:pt x="2108" y="24916"/>
                  </a:lnTo>
                  <a:lnTo>
                    <a:pt x="2350" y="25192"/>
                  </a:lnTo>
                  <a:lnTo>
                    <a:pt x="2730" y="25503"/>
                  </a:lnTo>
                  <a:lnTo>
                    <a:pt x="3214" y="25814"/>
                  </a:lnTo>
                  <a:lnTo>
                    <a:pt x="3663" y="26078"/>
                  </a:lnTo>
                  <a:lnTo>
                    <a:pt x="3663" y="26078"/>
                  </a:lnTo>
                  <a:lnTo>
                    <a:pt x="3663" y="26125"/>
                  </a:lnTo>
                  <a:lnTo>
                    <a:pt x="3663" y="26816"/>
                  </a:lnTo>
                  <a:lnTo>
                    <a:pt x="3629" y="27473"/>
                  </a:lnTo>
                  <a:lnTo>
                    <a:pt x="3525" y="28682"/>
                  </a:lnTo>
                  <a:lnTo>
                    <a:pt x="3456" y="29719"/>
                  </a:lnTo>
                  <a:lnTo>
                    <a:pt x="3318" y="30756"/>
                  </a:lnTo>
                  <a:lnTo>
                    <a:pt x="3145" y="31723"/>
                  </a:lnTo>
                  <a:lnTo>
                    <a:pt x="2903" y="32691"/>
                  </a:lnTo>
                  <a:lnTo>
                    <a:pt x="2627" y="33624"/>
                  </a:lnTo>
                  <a:lnTo>
                    <a:pt x="2281" y="34488"/>
                  </a:lnTo>
                  <a:lnTo>
                    <a:pt x="1936" y="35283"/>
                  </a:lnTo>
                  <a:lnTo>
                    <a:pt x="1486" y="36043"/>
                  </a:lnTo>
                  <a:lnTo>
                    <a:pt x="1037" y="36769"/>
                  </a:lnTo>
                  <a:lnTo>
                    <a:pt x="1003" y="36838"/>
                  </a:lnTo>
                  <a:lnTo>
                    <a:pt x="968" y="36976"/>
                  </a:lnTo>
                  <a:lnTo>
                    <a:pt x="968" y="37114"/>
                  </a:lnTo>
                  <a:lnTo>
                    <a:pt x="1072" y="37218"/>
                  </a:lnTo>
                  <a:lnTo>
                    <a:pt x="1210" y="37356"/>
                  </a:lnTo>
                  <a:lnTo>
                    <a:pt x="1417" y="37460"/>
                  </a:lnTo>
                  <a:lnTo>
                    <a:pt x="1659" y="37563"/>
                  </a:lnTo>
                  <a:lnTo>
                    <a:pt x="2316" y="37702"/>
                  </a:lnTo>
                  <a:lnTo>
                    <a:pt x="3145" y="37840"/>
                  </a:lnTo>
                  <a:lnTo>
                    <a:pt x="4113" y="37943"/>
                  </a:lnTo>
                  <a:lnTo>
                    <a:pt x="5219" y="38013"/>
                  </a:lnTo>
                  <a:lnTo>
                    <a:pt x="6393" y="38047"/>
                  </a:lnTo>
                  <a:lnTo>
                    <a:pt x="8259" y="38013"/>
                  </a:lnTo>
                  <a:lnTo>
                    <a:pt x="10160" y="37978"/>
                  </a:lnTo>
                  <a:lnTo>
                    <a:pt x="12061" y="37874"/>
                  </a:lnTo>
                  <a:lnTo>
                    <a:pt x="13858" y="37702"/>
                  </a:lnTo>
                  <a:lnTo>
                    <a:pt x="15447" y="37529"/>
                  </a:lnTo>
                  <a:lnTo>
                    <a:pt x="16760" y="37321"/>
                  </a:lnTo>
                  <a:lnTo>
                    <a:pt x="17279" y="37183"/>
                  </a:lnTo>
                  <a:lnTo>
                    <a:pt x="17693" y="37080"/>
                  </a:lnTo>
                  <a:lnTo>
                    <a:pt x="18004" y="36941"/>
                  </a:lnTo>
                  <a:lnTo>
                    <a:pt x="18177" y="36803"/>
                  </a:lnTo>
                  <a:lnTo>
                    <a:pt x="18281" y="36630"/>
                  </a:lnTo>
                  <a:lnTo>
                    <a:pt x="18350" y="36423"/>
                  </a:lnTo>
                  <a:lnTo>
                    <a:pt x="18350" y="36181"/>
                  </a:lnTo>
                  <a:lnTo>
                    <a:pt x="18350" y="35939"/>
                  </a:lnTo>
                  <a:lnTo>
                    <a:pt x="18281" y="35352"/>
                  </a:lnTo>
                  <a:lnTo>
                    <a:pt x="18143" y="34626"/>
                  </a:lnTo>
                  <a:lnTo>
                    <a:pt x="17970" y="33831"/>
                  </a:lnTo>
                  <a:lnTo>
                    <a:pt x="17728" y="32967"/>
                  </a:lnTo>
                  <a:lnTo>
                    <a:pt x="17451" y="32069"/>
                  </a:lnTo>
                  <a:lnTo>
                    <a:pt x="17172" y="31216"/>
                  </a:lnTo>
                  <a:lnTo>
                    <a:pt x="17172" y="31216"/>
                  </a:lnTo>
                  <a:lnTo>
                    <a:pt x="18626" y="31689"/>
                  </a:lnTo>
                  <a:lnTo>
                    <a:pt x="22462" y="32898"/>
                  </a:lnTo>
                  <a:lnTo>
                    <a:pt x="25227" y="33762"/>
                  </a:lnTo>
                  <a:lnTo>
                    <a:pt x="26056" y="34039"/>
                  </a:lnTo>
                  <a:lnTo>
                    <a:pt x="26402" y="34211"/>
                  </a:lnTo>
                  <a:lnTo>
                    <a:pt x="26436" y="34211"/>
                  </a:lnTo>
                  <a:lnTo>
                    <a:pt x="26471" y="34177"/>
                  </a:lnTo>
                  <a:lnTo>
                    <a:pt x="26540" y="34073"/>
                  </a:lnTo>
                  <a:lnTo>
                    <a:pt x="26678" y="33624"/>
                  </a:lnTo>
                  <a:lnTo>
                    <a:pt x="26851" y="32967"/>
                  </a:lnTo>
                  <a:lnTo>
                    <a:pt x="27058" y="32173"/>
                  </a:lnTo>
                  <a:lnTo>
                    <a:pt x="27196" y="31378"/>
                  </a:lnTo>
                  <a:lnTo>
                    <a:pt x="27300" y="30617"/>
                  </a:lnTo>
                  <a:lnTo>
                    <a:pt x="27300" y="30306"/>
                  </a:lnTo>
                  <a:lnTo>
                    <a:pt x="27300" y="30065"/>
                  </a:lnTo>
                  <a:lnTo>
                    <a:pt x="27265" y="29857"/>
                  </a:lnTo>
                  <a:lnTo>
                    <a:pt x="27231" y="29719"/>
                  </a:lnTo>
                  <a:lnTo>
                    <a:pt x="27093" y="29650"/>
                  </a:lnTo>
                  <a:lnTo>
                    <a:pt x="26851" y="29546"/>
                  </a:lnTo>
                  <a:lnTo>
                    <a:pt x="26160" y="29304"/>
                  </a:lnTo>
                  <a:lnTo>
                    <a:pt x="25227" y="29028"/>
                  </a:lnTo>
                  <a:lnTo>
                    <a:pt x="24155" y="28751"/>
                  </a:lnTo>
                  <a:lnTo>
                    <a:pt x="22151" y="28268"/>
                  </a:lnTo>
                  <a:lnTo>
                    <a:pt x="20976" y="27991"/>
                  </a:lnTo>
                  <a:lnTo>
                    <a:pt x="20112" y="27715"/>
                  </a:lnTo>
                  <a:lnTo>
                    <a:pt x="18937" y="27369"/>
                  </a:lnTo>
                  <a:lnTo>
                    <a:pt x="16035" y="26505"/>
                  </a:lnTo>
                  <a:lnTo>
                    <a:pt x="15566" y="26349"/>
                  </a:lnTo>
                  <a:lnTo>
                    <a:pt x="15566" y="26349"/>
                  </a:lnTo>
                  <a:lnTo>
                    <a:pt x="15447" y="25952"/>
                  </a:lnTo>
                  <a:lnTo>
                    <a:pt x="15274" y="25330"/>
                  </a:lnTo>
                  <a:lnTo>
                    <a:pt x="15171" y="24847"/>
                  </a:lnTo>
                  <a:lnTo>
                    <a:pt x="15136" y="24501"/>
                  </a:lnTo>
                  <a:lnTo>
                    <a:pt x="15171" y="24225"/>
                  </a:lnTo>
                  <a:lnTo>
                    <a:pt x="15274" y="23948"/>
                  </a:lnTo>
                  <a:lnTo>
                    <a:pt x="15447" y="23706"/>
                  </a:lnTo>
                  <a:lnTo>
                    <a:pt x="15620" y="23464"/>
                  </a:lnTo>
                  <a:lnTo>
                    <a:pt x="15862" y="23257"/>
                  </a:lnTo>
                  <a:lnTo>
                    <a:pt x="16104" y="23015"/>
                  </a:lnTo>
                  <a:lnTo>
                    <a:pt x="16657" y="22635"/>
                  </a:lnTo>
                  <a:lnTo>
                    <a:pt x="17210" y="22255"/>
                  </a:lnTo>
                  <a:lnTo>
                    <a:pt x="17728" y="21840"/>
                  </a:lnTo>
                  <a:lnTo>
                    <a:pt x="17935" y="21667"/>
                  </a:lnTo>
                  <a:lnTo>
                    <a:pt x="18108" y="21460"/>
                  </a:lnTo>
                  <a:lnTo>
                    <a:pt x="18212" y="21253"/>
                  </a:lnTo>
                  <a:lnTo>
                    <a:pt x="18315" y="21011"/>
                  </a:lnTo>
                  <a:lnTo>
                    <a:pt x="18315" y="20769"/>
                  </a:lnTo>
                  <a:lnTo>
                    <a:pt x="18246" y="20492"/>
                  </a:lnTo>
                  <a:lnTo>
                    <a:pt x="18143" y="20147"/>
                  </a:lnTo>
                  <a:lnTo>
                    <a:pt x="17970" y="19801"/>
                  </a:lnTo>
                  <a:lnTo>
                    <a:pt x="17521" y="19041"/>
                  </a:lnTo>
                  <a:lnTo>
                    <a:pt x="17037" y="18281"/>
                  </a:lnTo>
                  <a:lnTo>
                    <a:pt x="16173" y="17071"/>
                  </a:lnTo>
                  <a:lnTo>
                    <a:pt x="15966" y="16760"/>
                  </a:lnTo>
                  <a:lnTo>
                    <a:pt x="15966" y="16691"/>
                  </a:lnTo>
                  <a:lnTo>
                    <a:pt x="16035" y="16726"/>
                  </a:lnTo>
                  <a:lnTo>
                    <a:pt x="16242" y="16795"/>
                  </a:lnTo>
                  <a:lnTo>
                    <a:pt x="16484" y="16864"/>
                  </a:lnTo>
                  <a:lnTo>
                    <a:pt x="16726" y="16933"/>
                  </a:lnTo>
                  <a:lnTo>
                    <a:pt x="17037" y="16968"/>
                  </a:lnTo>
                  <a:lnTo>
                    <a:pt x="17659" y="17002"/>
                  </a:lnTo>
                  <a:lnTo>
                    <a:pt x="18385" y="16968"/>
                  </a:lnTo>
                  <a:lnTo>
                    <a:pt x="19145" y="16864"/>
                  </a:lnTo>
                  <a:lnTo>
                    <a:pt x="19974" y="16726"/>
                  </a:lnTo>
                  <a:lnTo>
                    <a:pt x="20838" y="16553"/>
                  </a:lnTo>
                  <a:lnTo>
                    <a:pt x="21702" y="16346"/>
                  </a:lnTo>
                  <a:lnTo>
                    <a:pt x="22566" y="16104"/>
                  </a:lnTo>
                  <a:lnTo>
                    <a:pt x="23430" y="15827"/>
                  </a:lnTo>
                  <a:lnTo>
                    <a:pt x="24225" y="15551"/>
                  </a:lnTo>
                  <a:lnTo>
                    <a:pt x="24985" y="15274"/>
                  </a:lnTo>
                  <a:lnTo>
                    <a:pt x="25641" y="14963"/>
                  </a:lnTo>
                  <a:lnTo>
                    <a:pt x="26229" y="14687"/>
                  </a:lnTo>
                  <a:lnTo>
                    <a:pt x="26713" y="14411"/>
                  </a:lnTo>
                  <a:lnTo>
                    <a:pt x="27058" y="14134"/>
                  </a:lnTo>
                  <a:lnTo>
                    <a:pt x="27404" y="13789"/>
                  </a:lnTo>
                  <a:lnTo>
                    <a:pt x="27818" y="13270"/>
                  </a:lnTo>
                  <a:lnTo>
                    <a:pt x="28302" y="12614"/>
                  </a:lnTo>
                  <a:lnTo>
                    <a:pt x="28855" y="11819"/>
                  </a:lnTo>
                  <a:lnTo>
                    <a:pt x="30065" y="9953"/>
                  </a:lnTo>
                  <a:lnTo>
                    <a:pt x="31274" y="7914"/>
                  </a:lnTo>
                  <a:lnTo>
                    <a:pt x="32449" y="5944"/>
                  </a:lnTo>
                  <a:lnTo>
                    <a:pt x="33451" y="4216"/>
                  </a:lnTo>
                  <a:lnTo>
                    <a:pt x="34419" y="2454"/>
                  </a:lnTo>
                  <a:lnTo>
                    <a:pt x="34453" y="2281"/>
                  </a:lnTo>
                  <a:lnTo>
                    <a:pt x="34419" y="2108"/>
                  </a:lnTo>
                  <a:lnTo>
                    <a:pt x="34280" y="1867"/>
                  </a:lnTo>
                  <a:lnTo>
                    <a:pt x="34108" y="1659"/>
                  </a:lnTo>
                  <a:lnTo>
                    <a:pt x="33900" y="1417"/>
                  </a:lnTo>
                  <a:lnTo>
                    <a:pt x="33658" y="1175"/>
                  </a:lnTo>
                  <a:lnTo>
                    <a:pt x="33382" y="934"/>
                  </a:lnTo>
                  <a:lnTo>
                    <a:pt x="33071" y="692"/>
                  </a:lnTo>
                  <a:lnTo>
                    <a:pt x="32760" y="484"/>
                  </a:lnTo>
                  <a:lnTo>
                    <a:pt x="32449" y="312"/>
                  </a:lnTo>
                  <a:lnTo>
                    <a:pt x="32173" y="173"/>
                  </a:lnTo>
                  <a:lnTo>
                    <a:pt x="31861" y="70"/>
                  </a:lnTo>
                  <a:lnTo>
                    <a:pt x="31620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8" name="Google Shape;1595;p16">
              <a:extLst>
                <a:ext uri="{FF2B5EF4-FFF2-40B4-BE49-F238E27FC236}">
                  <a16:creationId xmlns:a16="http://schemas.microsoft.com/office/drawing/2014/main" id="{3E174CC2-7C2A-D41D-7412-6F66AE49D7E5}"/>
                </a:ext>
              </a:extLst>
            </p:cNvPr>
            <p:cNvSpPr/>
            <p:nvPr/>
          </p:nvSpPr>
          <p:spPr>
            <a:xfrm>
              <a:off x="1082625" y="2352100"/>
              <a:ext cx="861350" cy="951200"/>
            </a:xfrm>
            <a:custGeom>
              <a:avLst/>
              <a:gdLst/>
              <a:ahLst/>
              <a:cxnLst/>
              <a:rect l="l" t="t" r="r" b="b"/>
              <a:pathLst>
                <a:path w="34454" h="38048" fill="none" extrusionOk="0">
                  <a:moveTo>
                    <a:pt x="26402" y="34211"/>
                  </a:moveTo>
                  <a:lnTo>
                    <a:pt x="26402" y="34211"/>
                  </a:lnTo>
                  <a:lnTo>
                    <a:pt x="26436" y="34211"/>
                  </a:lnTo>
                  <a:lnTo>
                    <a:pt x="26471" y="34177"/>
                  </a:lnTo>
                  <a:lnTo>
                    <a:pt x="26540" y="34073"/>
                  </a:lnTo>
                  <a:lnTo>
                    <a:pt x="26678" y="33624"/>
                  </a:lnTo>
                  <a:lnTo>
                    <a:pt x="26851" y="32967"/>
                  </a:lnTo>
                  <a:lnTo>
                    <a:pt x="27058" y="32173"/>
                  </a:lnTo>
                  <a:lnTo>
                    <a:pt x="27196" y="31378"/>
                  </a:lnTo>
                  <a:lnTo>
                    <a:pt x="27300" y="30617"/>
                  </a:lnTo>
                  <a:lnTo>
                    <a:pt x="27300" y="30306"/>
                  </a:lnTo>
                  <a:lnTo>
                    <a:pt x="27300" y="30065"/>
                  </a:lnTo>
                  <a:lnTo>
                    <a:pt x="27265" y="29857"/>
                  </a:lnTo>
                  <a:lnTo>
                    <a:pt x="27231" y="29719"/>
                  </a:lnTo>
                  <a:lnTo>
                    <a:pt x="27231" y="29719"/>
                  </a:lnTo>
                  <a:lnTo>
                    <a:pt x="27093" y="29650"/>
                  </a:lnTo>
                  <a:lnTo>
                    <a:pt x="26851" y="29546"/>
                  </a:lnTo>
                  <a:lnTo>
                    <a:pt x="26160" y="29304"/>
                  </a:lnTo>
                  <a:lnTo>
                    <a:pt x="25227" y="29028"/>
                  </a:lnTo>
                  <a:lnTo>
                    <a:pt x="24155" y="28751"/>
                  </a:lnTo>
                  <a:lnTo>
                    <a:pt x="22151" y="28268"/>
                  </a:lnTo>
                  <a:lnTo>
                    <a:pt x="20976" y="27991"/>
                  </a:lnTo>
                  <a:lnTo>
                    <a:pt x="20976" y="27991"/>
                  </a:lnTo>
                  <a:lnTo>
                    <a:pt x="20112" y="27715"/>
                  </a:lnTo>
                  <a:lnTo>
                    <a:pt x="18937" y="27369"/>
                  </a:lnTo>
                  <a:lnTo>
                    <a:pt x="16035" y="26505"/>
                  </a:lnTo>
                  <a:lnTo>
                    <a:pt x="14480" y="25987"/>
                  </a:lnTo>
                  <a:lnTo>
                    <a:pt x="12994" y="25469"/>
                  </a:lnTo>
                  <a:lnTo>
                    <a:pt x="12303" y="25192"/>
                  </a:lnTo>
                  <a:lnTo>
                    <a:pt x="11646" y="24916"/>
                  </a:lnTo>
                  <a:lnTo>
                    <a:pt x="11024" y="24605"/>
                  </a:lnTo>
                  <a:lnTo>
                    <a:pt x="10506" y="24328"/>
                  </a:lnTo>
                  <a:lnTo>
                    <a:pt x="10506" y="24328"/>
                  </a:lnTo>
                  <a:lnTo>
                    <a:pt x="9815" y="23914"/>
                  </a:lnTo>
                  <a:lnTo>
                    <a:pt x="9089" y="23533"/>
                  </a:lnTo>
                  <a:lnTo>
                    <a:pt x="7430" y="22704"/>
                  </a:lnTo>
                  <a:lnTo>
                    <a:pt x="6359" y="22151"/>
                  </a:lnTo>
                  <a:lnTo>
                    <a:pt x="5046" y="21425"/>
                  </a:lnTo>
                  <a:lnTo>
                    <a:pt x="3491" y="20527"/>
                  </a:lnTo>
                  <a:lnTo>
                    <a:pt x="1556" y="19387"/>
                  </a:lnTo>
                  <a:lnTo>
                    <a:pt x="1556" y="19387"/>
                  </a:lnTo>
                  <a:lnTo>
                    <a:pt x="1797" y="19663"/>
                  </a:lnTo>
                  <a:lnTo>
                    <a:pt x="2005" y="19940"/>
                  </a:lnTo>
                  <a:lnTo>
                    <a:pt x="2419" y="20527"/>
                  </a:lnTo>
                  <a:lnTo>
                    <a:pt x="2765" y="21184"/>
                  </a:lnTo>
                  <a:lnTo>
                    <a:pt x="3041" y="21840"/>
                  </a:lnTo>
                  <a:lnTo>
                    <a:pt x="3249" y="22531"/>
                  </a:lnTo>
                  <a:lnTo>
                    <a:pt x="3422" y="23257"/>
                  </a:lnTo>
                  <a:lnTo>
                    <a:pt x="3525" y="23983"/>
                  </a:lnTo>
                  <a:lnTo>
                    <a:pt x="3594" y="24708"/>
                  </a:lnTo>
                  <a:lnTo>
                    <a:pt x="3663" y="25399"/>
                  </a:lnTo>
                  <a:lnTo>
                    <a:pt x="3663" y="26125"/>
                  </a:lnTo>
                  <a:lnTo>
                    <a:pt x="3663" y="26816"/>
                  </a:lnTo>
                  <a:lnTo>
                    <a:pt x="3629" y="27473"/>
                  </a:lnTo>
                  <a:lnTo>
                    <a:pt x="3525" y="28682"/>
                  </a:lnTo>
                  <a:lnTo>
                    <a:pt x="3456" y="29719"/>
                  </a:lnTo>
                  <a:lnTo>
                    <a:pt x="3456" y="29719"/>
                  </a:lnTo>
                  <a:lnTo>
                    <a:pt x="3318" y="30756"/>
                  </a:lnTo>
                  <a:lnTo>
                    <a:pt x="3145" y="31723"/>
                  </a:lnTo>
                  <a:lnTo>
                    <a:pt x="2903" y="32691"/>
                  </a:lnTo>
                  <a:lnTo>
                    <a:pt x="2627" y="33624"/>
                  </a:lnTo>
                  <a:lnTo>
                    <a:pt x="2281" y="34488"/>
                  </a:lnTo>
                  <a:lnTo>
                    <a:pt x="1936" y="35283"/>
                  </a:lnTo>
                  <a:lnTo>
                    <a:pt x="1486" y="36043"/>
                  </a:lnTo>
                  <a:lnTo>
                    <a:pt x="1037" y="36769"/>
                  </a:lnTo>
                  <a:lnTo>
                    <a:pt x="1037" y="36769"/>
                  </a:lnTo>
                  <a:lnTo>
                    <a:pt x="1003" y="36838"/>
                  </a:lnTo>
                  <a:lnTo>
                    <a:pt x="1003" y="36838"/>
                  </a:lnTo>
                  <a:lnTo>
                    <a:pt x="968" y="36976"/>
                  </a:lnTo>
                  <a:lnTo>
                    <a:pt x="968" y="37114"/>
                  </a:lnTo>
                  <a:lnTo>
                    <a:pt x="1072" y="37218"/>
                  </a:lnTo>
                  <a:lnTo>
                    <a:pt x="1210" y="37356"/>
                  </a:lnTo>
                  <a:lnTo>
                    <a:pt x="1417" y="37460"/>
                  </a:lnTo>
                  <a:lnTo>
                    <a:pt x="1659" y="37563"/>
                  </a:lnTo>
                  <a:lnTo>
                    <a:pt x="2316" y="37702"/>
                  </a:lnTo>
                  <a:lnTo>
                    <a:pt x="3145" y="37840"/>
                  </a:lnTo>
                  <a:lnTo>
                    <a:pt x="4113" y="37943"/>
                  </a:lnTo>
                  <a:lnTo>
                    <a:pt x="5219" y="38013"/>
                  </a:lnTo>
                  <a:lnTo>
                    <a:pt x="6393" y="38047"/>
                  </a:lnTo>
                  <a:lnTo>
                    <a:pt x="6393" y="38047"/>
                  </a:lnTo>
                  <a:lnTo>
                    <a:pt x="8259" y="38013"/>
                  </a:lnTo>
                  <a:lnTo>
                    <a:pt x="10160" y="37978"/>
                  </a:lnTo>
                  <a:lnTo>
                    <a:pt x="12061" y="37874"/>
                  </a:lnTo>
                  <a:lnTo>
                    <a:pt x="13858" y="37702"/>
                  </a:lnTo>
                  <a:lnTo>
                    <a:pt x="15447" y="37529"/>
                  </a:lnTo>
                  <a:lnTo>
                    <a:pt x="16760" y="37321"/>
                  </a:lnTo>
                  <a:lnTo>
                    <a:pt x="17279" y="37183"/>
                  </a:lnTo>
                  <a:lnTo>
                    <a:pt x="17693" y="37080"/>
                  </a:lnTo>
                  <a:lnTo>
                    <a:pt x="18004" y="36941"/>
                  </a:lnTo>
                  <a:lnTo>
                    <a:pt x="18177" y="36803"/>
                  </a:lnTo>
                  <a:lnTo>
                    <a:pt x="18177" y="36803"/>
                  </a:lnTo>
                  <a:lnTo>
                    <a:pt x="18281" y="36630"/>
                  </a:lnTo>
                  <a:lnTo>
                    <a:pt x="18350" y="36423"/>
                  </a:lnTo>
                  <a:lnTo>
                    <a:pt x="18350" y="36423"/>
                  </a:lnTo>
                  <a:lnTo>
                    <a:pt x="18350" y="36181"/>
                  </a:lnTo>
                  <a:lnTo>
                    <a:pt x="18350" y="35939"/>
                  </a:lnTo>
                  <a:lnTo>
                    <a:pt x="18281" y="35352"/>
                  </a:lnTo>
                  <a:lnTo>
                    <a:pt x="18143" y="34626"/>
                  </a:lnTo>
                  <a:lnTo>
                    <a:pt x="17970" y="33831"/>
                  </a:lnTo>
                  <a:lnTo>
                    <a:pt x="17728" y="32967"/>
                  </a:lnTo>
                  <a:lnTo>
                    <a:pt x="17451" y="32069"/>
                  </a:lnTo>
                  <a:lnTo>
                    <a:pt x="16829" y="30168"/>
                  </a:lnTo>
                  <a:lnTo>
                    <a:pt x="16207" y="28337"/>
                  </a:lnTo>
                  <a:lnTo>
                    <a:pt x="15655" y="26643"/>
                  </a:lnTo>
                  <a:lnTo>
                    <a:pt x="15447" y="25952"/>
                  </a:lnTo>
                  <a:lnTo>
                    <a:pt x="15274" y="25330"/>
                  </a:lnTo>
                  <a:lnTo>
                    <a:pt x="15171" y="24847"/>
                  </a:lnTo>
                  <a:lnTo>
                    <a:pt x="15136" y="24501"/>
                  </a:lnTo>
                  <a:lnTo>
                    <a:pt x="15136" y="24501"/>
                  </a:lnTo>
                  <a:lnTo>
                    <a:pt x="15171" y="24225"/>
                  </a:lnTo>
                  <a:lnTo>
                    <a:pt x="15274" y="23948"/>
                  </a:lnTo>
                  <a:lnTo>
                    <a:pt x="15447" y="23706"/>
                  </a:lnTo>
                  <a:lnTo>
                    <a:pt x="15620" y="23464"/>
                  </a:lnTo>
                  <a:lnTo>
                    <a:pt x="15862" y="23257"/>
                  </a:lnTo>
                  <a:lnTo>
                    <a:pt x="16104" y="23015"/>
                  </a:lnTo>
                  <a:lnTo>
                    <a:pt x="16657" y="22635"/>
                  </a:lnTo>
                  <a:lnTo>
                    <a:pt x="17210" y="22255"/>
                  </a:lnTo>
                  <a:lnTo>
                    <a:pt x="17728" y="21840"/>
                  </a:lnTo>
                  <a:lnTo>
                    <a:pt x="17935" y="21667"/>
                  </a:lnTo>
                  <a:lnTo>
                    <a:pt x="18108" y="21460"/>
                  </a:lnTo>
                  <a:lnTo>
                    <a:pt x="18212" y="21253"/>
                  </a:lnTo>
                  <a:lnTo>
                    <a:pt x="18315" y="21011"/>
                  </a:lnTo>
                  <a:lnTo>
                    <a:pt x="18315" y="21011"/>
                  </a:lnTo>
                  <a:lnTo>
                    <a:pt x="18315" y="20769"/>
                  </a:lnTo>
                  <a:lnTo>
                    <a:pt x="18246" y="20492"/>
                  </a:lnTo>
                  <a:lnTo>
                    <a:pt x="18143" y="20147"/>
                  </a:lnTo>
                  <a:lnTo>
                    <a:pt x="17970" y="19801"/>
                  </a:lnTo>
                  <a:lnTo>
                    <a:pt x="17521" y="19041"/>
                  </a:lnTo>
                  <a:lnTo>
                    <a:pt x="17037" y="18281"/>
                  </a:lnTo>
                  <a:lnTo>
                    <a:pt x="16173" y="17071"/>
                  </a:lnTo>
                  <a:lnTo>
                    <a:pt x="15966" y="16760"/>
                  </a:lnTo>
                  <a:lnTo>
                    <a:pt x="15966" y="16691"/>
                  </a:lnTo>
                  <a:lnTo>
                    <a:pt x="16035" y="16726"/>
                  </a:lnTo>
                  <a:lnTo>
                    <a:pt x="16035" y="16726"/>
                  </a:lnTo>
                  <a:lnTo>
                    <a:pt x="16242" y="16795"/>
                  </a:lnTo>
                  <a:lnTo>
                    <a:pt x="16484" y="16864"/>
                  </a:lnTo>
                  <a:lnTo>
                    <a:pt x="16726" y="16933"/>
                  </a:lnTo>
                  <a:lnTo>
                    <a:pt x="17037" y="16968"/>
                  </a:lnTo>
                  <a:lnTo>
                    <a:pt x="17659" y="17002"/>
                  </a:lnTo>
                  <a:lnTo>
                    <a:pt x="18385" y="16968"/>
                  </a:lnTo>
                  <a:lnTo>
                    <a:pt x="19145" y="16864"/>
                  </a:lnTo>
                  <a:lnTo>
                    <a:pt x="19974" y="16726"/>
                  </a:lnTo>
                  <a:lnTo>
                    <a:pt x="20838" y="16553"/>
                  </a:lnTo>
                  <a:lnTo>
                    <a:pt x="21702" y="16346"/>
                  </a:lnTo>
                  <a:lnTo>
                    <a:pt x="22566" y="16104"/>
                  </a:lnTo>
                  <a:lnTo>
                    <a:pt x="23430" y="15827"/>
                  </a:lnTo>
                  <a:lnTo>
                    <a:pt x="24225" y="15551"/>
                  </a:lnTo>
                  <a:lnTo>
                    <a:pt x="24985" y="15274"/>
                  </a:lnTo>
                  <a:lnTo>
                    <a:pt x="25641" y="14963"/>
                  </a:lnTo>
                  <a:lnTo>
                    <a:pt x="26229" y="14687"/>
                  </a:lnTo>
                  <a:lnTo>
                    <a:pt x="26713" y="14411"/>
                  </a:lnTo>
                  <a:lnTo>
                    <a:pt x="27058" y="14134"/>
                  </a:lnTo>
                  <a:lnTo>
                    <a:pt x="27058" y="14134"/>
                  </a:lnTo>
                  <a:lnTo>
                    <a:pt x="27404" y="13789"/>
                  </a:lnTo>
                  <a:lnTo>
                    <a:pt x="27818" y="13270"/>
                  </a:lnTo>
                  <a:lnTo>
                    <a:pt x="28302" y="12614"/>
                  </a:lnTo>
                  <a:lnTo>
                    <a:pt x="28855" y="11819"/>
                  </a:lnTo>
                  <a:lnTo>
                    <a:pt x="30065" y="9953"/>
                  </a:lnTo>
                  <a:lnTo>
                    <a:pt x="31274" y="7914"/>
                  </a:lnTo>
                  <a:lnTo>
                    <a:pt x="32449" y="5944"/>
                  </a:lnTo>
                  <a:lnTo>
                    <a:pt x="33451" y="4216"/>
                  </a:lnTo>
                  <a:lnTo>
                    <a:pt x="34419" y="2454"/>
                  </a:lnTo>
                  <a:lnTo>
                    <a:pt x="34419" y="2454"/>
                  </a:lnTo>
                  <a:lnTo>
                    <a:pt x="34453" y="2281"/>
                  </a:lnTo>
                  <a:lnTo>
                    <a:pt x="34419" y="2108"/>
                  </a:lnTo>
                  <a:lnTo>
                    <a:pt x="34280" y="1867"/>
                  </a:lnTo>
                  <a:lnTo>
                    <a:pt x="34108" y="1659"/>
                  </a:lnTo>
                  <a:lnTo>
                    <a:pt x="33900" y="1417"/>
                  </a:lnTo>
                  <a:lnTo>
                    <a:pt x="33658" y="1175"/>
                  </a:lnTo>
                  <a:lnTo>
                    <a:pt x="33382" y="934"/>
                  </a:lnTo>
                  <a:lnTo>
                    <a:pt x="33071" y="692"/>
                  </a:lnTo>
                  <a:lnTo>
                    <a:pt x="32760" y="484"/>
                  </a:lnTo>
                  <a:lnTo>
                    <a:pt x="32449" y="312"/>
                  </a:lnTo>
                  <a:lnTo>
                    <a:pt x="32173" y="173"/>
                  </a:lnTo>
                  <a:lnTo>
                    <a:pt x="31861" y="70"/>
                  </a:lnTo>
                  <a:lnTo>
                    <a:pt x="31620" y="1"/>
                  </a:lnTo>
                  <a:lnTo>
                    <a:pt x="31412" y="35"/>
                  </a:lnTo>
                  <a:lnTo>
                    <a:pt x="31309" y="35"/>
                  </a:lnTo>
                  <a:lnTo>
                    <a:pt x="31205" y="104"/>
                  </a:lnTo>
                  <a:lnTo>
                    <a:pt x="31136" y="173"/>
                  </a:lnTo>
                  <a:lnTo>
                    <a:pt x="31101" y="242"/>
                  </a:lnTo>
                  <a:lnTo>
                    <a:pt x="31101" y="242"/>
                  </a:lnTo>
                  <a:lnTo>
                    <a:pt x="30721" y="934"/>
                  </a:lnTo>
                  <a:lnTo>
                    <a:pt x="29961" y="2247"/>
                  </a:lnTo>
                  <a:lnTo>
                    <a:pt x="28959" y="3940"/>
                  </a:lnTo>
                  <a:lnTo>
                    <a:pt x="27749" y="5806"/>
                  </a:lnTo>
                  <a:lnTo>
                    <a:pt x="27093" y="6774"/>
                  </a:lnTo>
                  <a:lnTo>
                    <a:pt x="26471" y="7707"/>
                  </a:lnTo>
                  <a:lnTo>
                    <a:pt x="25849" y="8570"/>
                  </a:lnTo>
                  <a:lnTo>
                    <a:pt x="25227" y="9365"/>
                  </a:lnTo>
                  <a:lnTo>
                    <a:pt x="24639" y="10056"/>
                  </a:lnTo>
                  <a:lnTo>
                    <a:pt x="24086" y="10644"/>
                  </a:lnTo>
                  <a:lnTo>
                    <a:pt x="23810" y="10851"/>
                  </a:lnTo>
                  <a:lnTo>
                    <a:pt x="23568" y="11059"/>
                  </a:lnTo>
                  <a:lnTo>
                    <a:pt x="23361" y="11197"/>
                  </a:lnTo>
                  <a:lnTo>
                    <a:pt x="23153" y="11300"/>
                  </a:lnTo>
                  <a:lnTo>
                    <a:pt x="23153" y="11300"/>
                  </a:lnTo>
                  <a:lnTo>
                    <a:pt x="22773" y="11370"/>
                  </a:lnTo>
                  <a:lnTo>
                    <a:pt x="22255" y="11439"/>
                  </a:lnTo>
                  <a:lnTo>
                    <a:pt x="21633" y="11439"/>
                  </a:lnTo>
                  <a:lnTo>
                    <a:pt x="20942" y="11404"/>
                  </a:lnTo>
                  <a:lnTo>
                    <a:pt x="20216" y="11335"/>
                  </a:lnTo>
                  <a:lnTo>
                    <a:pt x="19387" y="11231"/>
                  </a:lnTo>
                  <a:lnTo>
                    <a:pt x="18523" y="11093"/>
                  </a:lnTo>
                  <a:lnTo>
                    <a:pt x="17624" y="10920"/>
                  </a:lnTo>
                  <a:lnTo>
                    <a:pt x="16726" y="10748"/>
                  </a:lnTo>
                  <a:lnTo>
                    <a:pt x="15827" y="10540"/>
                  </a:lnTo>
                  <a:lnTo>
                    <a:pt x="14929" y="10298"/>
                  </a:lnTo>
                  <a:lnTo>
                    <a:pt x="14065" y="10022"/>
                  </a:lnTo>
                  <a:lnTo>
                    <a:pt x="13236" y="9780"/>
                  </a:lnTo>
                  <a:lnTo>
                    <a:pt x="12441" y="9504"/>
                  </a:lnTo>
                  <a:lnTo>
                    <a:pt x="11750" y="9193"/>
                  </a:lnTo>
                  <a:lnTo>
                    <a:pt x="11093" y="8916"/>
                  </a:lnTo>
                  <a:lnTo>
                    <a:pt x="11093" y="8916"/>
                  </a:lnTo>
                  <a:lnTo>
                    <a:pt x="10609" y="8847"/>
                  </a:lnTo>
                  <a:lnTo>
                    <a:pt x="9434" y="8709"/>
                  </a:lnTo>
                  <a:lnTo>
                    <a:pt x="8709" y="8640"/>
                  </a:lnTo>
                  <a:lnTo>
                    <a:pt x="7983" y="8570"/>
                  </a:lnTo>
                  <a:lnTo>
                    <a:pt x="7292" y="8570"/>
                  </a:lnTo>
                  <a:lnTo>
                    <a:pt x="6704" y="8570"/>
                  </a:lnTo>
                  <a:lnTo>
                    <a:pt x="6704" y="8570"/>
                  </a:lnTo>
                  <a:lnTo>
                    <a:pt x="6393" y="8640"/>
                  </a:lnTo>
                  <a:lnTo>
                    <a:pt x="6048" y="8743"/>
                  </a:lnTo>
                  <a:lnTo>
                    <a:pt x="5668" y="8916"/>
                  </a:lnTo>
                  <a:lnTo>
                    <a:pt x="5253" y="9123"/>
                  </a:lnTo>
                  <a:lnTo>
                    <a:pt x="4355" y="9676"/>
                  </a:lnTo>
                  <a:lnTo>
                    <a:pt x="3387" y="10298"/>
                  </a:lnTo>
                  <a:lnTo>
                    <a:pt x="2489" y="10989"/>
                  </a:lnTo>
                  <a:lnTo>
                    <a:pt x="1625" y="11715"/>
                  </a:lnTo>
                  <a:lnTo>
                    <a:pt x="934" y="12337"/>
                  </a:lnTo>
                  <a:lnTo>
                    <a:pt x="657" y="12648"/>
                  </a:lnTo>
                  <a:lnTo>
                    <a:pt x="415" y="12890"/>
                  </a:lnTo>
                  <a:lnTo>
                    <a:pt x="415" y="12890"/>
                  </a:lnTo>
                  <a:lnTo>
                    <a:pt x="346" y="13063"/>
                  </a:lnTo>
                  <a:lnTo>
                    <a:pt x="242" y="13236"/>
                  </a:lnTo>
                  <a:lnTo>
                    <a:pt x="104" y="13616"/>
                  </a:lnTo>
                  <a:lnTo>
                    <a:pt x="35" y="14134"/>
                  </a:lnTo>
                  <a:lnTo>
                    <a:pt x="1" y="14687"/>
                  </a:lnTo>
                  <a:lnTo>
                    <a:pt x="1" y="15344"/>
                  </a:lnTo>
                  <a:lnTo>
                    <a:pt x="35" y="16035"/>
                  </a:lnTo>
                  <a:lnTo>
                    <a:pt x="139" y="16795"/>
                  </a:lnTo>
                  <a:lnTo>
                    <a:pt x="242" y="17590"/>
                  </a:lnTo>
                  <a:lnTo>
                    <a:pt x="381" y="18419"/>
                  </a:lnTo>
                  <a:lnTo>
                    <a:pt x="553" y="19283"/>
                  </a:lnTo>
                  <a:lnTo>
                    <a:pt x="968" y="21045"/>
                  </a:lnTo>
                  <a:lnTo>
                    <a:pt x="1452" y="22877"/>
                  </a:lnTo>
                  <a:lnTo>
                    <a:pt x="1936" y="24639"/>
                  </a:lnTo>
                  <a:lnTo>
                    <a:pt x="1936" y="24639"/>
                  </a:lnTo>
                  <a:lnTo>
                    <a:pt x="2005" y="24777"/>
                  </a:lnTo>
                  <a:lnTo>
                    <a:pt x="2108" y="24916"/>
                  </a:lnTo>
                  <a:lnTo>
                    <a:pt x="2350" y="25192"/>
                  </a:lnTo>
                  <a:lnTo>
                    <a:pt x="2730" y="25503"/>
                  </a:lnTo>
                  <a:lnTo>
                    <a:pt x="3214" y="25814"/>
                  </a:lnTo>
                  <a:lnTo>
                    <a:pt x="3802" y="26160"/>
                  </a:lnTo>
                  <a:lnTo>
                    <a:pt x="4458" y="26505"/>
                  </a:lnTo>
                  <a:lnTo>
                    <a:pt x="5219" y="26851"/>
                  </a:lnTo>
                  <a:lnTo>
                    <a:pt x="6048" y="27231"/>
                  </a:lnTo>
                  <a:lnTo>
                    <a:pt x="7879" y="27957"/>
                  </a:lnTo>
                  <a:lnTo>
                    <a:pt x="9884" y="28751"/>
                  </a:lnTo>
                  <a:lnTo>
                    <a:pt x="12061" y="29512"/>
                  </a:lnTo>
                  <a:lnTo>
                    <a:pt x="14272" y="30272"/>
                  </a:lnTo>
                  <a:lnTo>
                    <a:pt x="18626" y="31689"/>
                  </a:lnTo>
                  <a:lnTo>
                    <a:pt x="22462" y="32898"/>
                  </a:lnTo>
                  <a:lnTo>
                    <a:pt x="25227" y="33762"/>
                  </a:lnTo>
                  <a:lnTo>
                    <a:pt x="26056" y="34039"/>
                  </a:lnTo>
                  <a:lnTo>
                    <a:pt x="26402" y="3421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9" name="Google Shape;1596;p16">
              <a:extLst>
                <a:ext uri="{FF2B5EF4-FFF2-40B4-BE49-F238E27FC236}">
                  <a16:creationId xmlns:a16="http://schemas.microsoft.com/office/drawing/2014/main" id="{0D21B8D6-9C44-12C2-45A2-D06F0CE9B32F}"/>
                </a:ext>
              </a:extLst>
            </p:cNvPr>
            <p:cNvSpPr/>
            <p:nvPr/>
          </p:nvSpPr>
          <p:spPr>
            <a:xfrm>
              <a:off x="1210475" y="2415175"/>
              <a:ext cx="134800" cy="251425"/>
            </a:xfrm>
            <a:custGeom>
              <a:avLst/>
              <a:gdLst/>
              <a:ahLst/>
              <a:cxnLst/>
              <a:rect l="l" t="t" r="r" b="b"/>
              <a:pathLst>
                <a:path w="5392" h="10057" extrusionOk="0">
                  <a:moveTo>
                    <a:pt x="3733" y="0"/>
                  </a:moveTo>
                  <a:lnTo>
                    <a:pt x="3629" y="35"/>
                  </a:lnTo>
                  <a:lnTo>
                    <a:pt x="3526" y="104"/>
                  </a:lnTo>
                  <a:lnTo>
                    <a:pt x="3422" y="207"/>
                  </a:lnTo>
                  <a:lnTo>
                    <a:pt x="3318" y="346"/>
                  </a:lnTo>
                  <a:lnTo>
                    <a:pt x="3076" y="760"/>
                  </a:lnTo>
                  <a:lnTo>
                    <a:pt x="2593" y="1797"/>
                  </a:lnTo>
                  <a:lnTo>
                    <a:pt x="2074" y="2799"/>
                  </a:lnTo>
                  <a:lnTo>
                    <a:pt x="1072" y="4665"/>
                  </a:lnTo>
                  <a:lnTo>
                    <a:pt x="1" y="6600"/>
                  </a:lnTo>
                  <a:lnTo>
                    <a:pt x="105" y="6808"/>
                  </a:lnTo>
                  <a:lnTo>
                    <a:pt x="346" y="7257"/>
                  </a:lnTo>
                  <a:lnTo>
                    <a:pt x="554" y="7568"/>
                  </a:lnTo>
                  <a:lnTo>
                    <a:pt x="796" y="7844"/>
                  </a:lnTo>
                  <a:lnTo>
                    <a:pt x="1038" y="8155"/>
                  </a:lnTo>
                  <a:lnTo>
                    <a:pt x="1349" y="8397"/>
                  </a:lnTo>
                  <a:lnTo>
                    <a:pt x="1729" y="8639"/>
                  </a:lnTo>
                  <a:lnTo>
                    <a:pt x="2212" y="8916"/>
                  </a:lnTo>
                  <a:lnTo>
                    <a:pt x="3318" y="9469"/>
                  </a:lnTo>
                  <a:lnTo>
                    <a:pt x="4355" y="9883"/>
                  </a:lnTo>
                  <a:lnTo>
                    <a:pt x="4701" y="10021"/>
                  </a:lnTo>
                  <a:lnTo>
                    <a:pt x="4942" y="10056"/>
                  </a:lnTo>
                  <a:lnTo>
                    <a:pt x="5081" y="10056"/>
                  </a:lnTo>
                  <a:lnTo>
                    <a:pt x="5184" y="9987"/>
                  </a:lnTo>
                  <a:lnTo>
                    <a:pt x="5288" y="9918"/>
                  </a:lnTo>
                  <a:lnTo>
                    <a:pt x="5323" y="9814"/>
                  </a:lnTo>
                  <a:lnTo>
                    <a:pt x="5357" y="9676"/>
                  </a:lnTo>
                  <a:lnTo>
                    <a:pt x="5392" y="9503"/>
                  </a:lnTo>
                  <a:lnTo>
                    <a:pt x="5357" y="9158"/>
                  </a:lnTo>
                  <a:lnTo>
                    <a:pt x="5288" y="8777"/>
                  </a:lnTo>
                  <a:lnTo>
                    <a:pt x="5184" y="8363"/>
                  </a:lnTo>
                  <a:lnTo>
                    <a:pt x="5046" y="8017"/>
                  </a:lnTo>
                  <a:lnTo>
                    <a:pt x="4873" y="7706"/>
                  </a:lnTo>
                  <a:lnTo>
                    <a:pt x="4735" y="7395"/>
                  </a:lnTo>
                  <a:lnTo>
                    <a:pt x="4631" y="7050"/>
                  </a:lnTo>
                  <a:lnTo>
                    <a:pt x="4562" y="6635"/>
                  </a:lnTo>
                  <a:lnTo>
                    <a:pt x="4528" y="6117"/>
                  </a:lnTo>
                  <a:lnTo>
                    <a:pt x="4528" y="5529"/>
                  </a:lnTo>
                  <a:lnTo>
                    <a:pt x="4597" y="4873"/>
                  </a:lnTo>
                  <a:lnTo>
                    <a:pt x="4701" y="4078"/>
                  </a:lnTo>
                  <a:lnTo>
                    <a:pt x="4873" y="3214"/>
                  </a:lnTo>
                  <a:lnTo>
                    <a:pt x="4770" y="2454"/>
                  </a:lnTo>
                  <a:lnTo>
                    <a:pt x="4666" y="1728"/>
                  </a:lnTo>
                  <a:lnTo>
                    <a:pt x="4459" y="1002"/>
                  </a:lnTo>
                  <a:lnTo>
                    <a:pt x="4355" y="657"/>
                  </a:lnTo>
                  <a:lnTo>
                    <a:pt x="4217" y="380"/>
                  </a:lnTo>
                  <a:lnTo>
                    <a:pt x="4079" y="173"/>
                  </a:lnTo>
                  <a:lnTo>
                    <a:pt x="3975" y="69"/>
                  </a:lnTo>
                  <a:lnTo>
                    <a:pt x="3906" y="35"/>
                  </a:lnTo>
                  <a:lnTo>
                    <a:pt x="3802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0" name="Google Shape;1597;p16">
              <a:extLst>
                <a:ext uri="{FF2B5EF4-FFF2-40B4-BE49-F238E27FC236}">
                  <a16:creationId xmlns:a16="http://schemas.microsoft.com/office/drawing/2014/main" id="{10B6F3F2-82AF-795E-3AA0-4710DD267B8F}"/>
                </a:ext>
              </a:extLst>
            </p:cNvPr>
            <p:cNvSpPr/>
            <p:nvPr/>
          </p:nvSpPr>
          <p:spPr>
            <a:xfrm>
              <a:off x="1210475" y="2415175"/>
              <a:ext cx="134800" cy="251425"/>
            </a:xfrm>
            <a:custGeom>
              <a:avLst/>
              <a:gdLst/>
              <a:ahLst/>
              <a:cxnLst/>
              <a:rect l="l" t="t" r="r" b="b"/>
              <a:pathLst>
                <a:path w="5392" h="10057" fill="none" extrusionOk="0">
                  <a:moveTo>
                    <a:pt x="4873" y="3214"/>
                  </a:moveTo>
                  <a:lnTo>
                    <a:pt x="4873" y="3214"/>
                  </a:lnTo>
                  <a:lnTo>
                    <a:pt x="4701" y="4078"/>
                  </a:lnTo>
                  <a:lnTo>
                    <a:pt x="4597" y="4873"/>
                  </a:lnTo>
                  <a:lnTo>
                    <a:pt x="4528" y="5529"/>
                  </a:lnTo>
                  <a:lnTo>
                    <a:pt x="4528" y="6117"/>
                  </a:lnTo>
                  <a:lnTo>
                    <a:pt x="4562" y="6635"/>
                  </a:lnTo>
                  <a:lnTo>
                    <a:pt x="4631" y="7050"/>
                  </a:lnTo>
                  <a:lnTo>
                    <a:pt x="4735" y="7395"/>
                  </a:lnTo>
                  <a:lnTo>
                    <a:pt x="4873" y="7706"/>
                  </a:lnTo>
                  <a:lnTo>
                    <a:pt x="4873" y="7706"/>
                  </a:lnTo>
                  <a:lnTo>
                    <a:pt x="5046" y="8017"/>
                  </a:lnTo>
                  <a:lnTo>
                    <a:pt x="5184" y="8363"/>
                  </a:lnTo>
                  <a:lnTo>
                    <a:pt x="5288" y="8777"/>
                  </a:lnTo>
                  <a:lnTo>
                    <a:pt x="5357" y="9158"/>
                  </a:lnTo>
                  <a:lnTo>
                    <a:pt x="5392" y="9503"/>
                  </a:lnTo>
                  <a:lnTo>
                    <a:pt x="5357" y="9676"/>
                  </a:lnTo>
                  <a:lnTo>
                    <a:pt x="5323" y="9814"/>
                  </a:lnTo>
                  <a:lnTo>
                    <a:pt x="5288" y="9918"/>
                  </a:lnTo>
                  <a:lnTo>
                    <a:pt x="5184" y="9987"/>
                  </a:lnTo>
                  <a:lnTo>
                    <a:pt x="5081" y="10056"/>
                  </a:lnTo>
                  <a:lnTo>
                    <a:pt x="4942" y="10056"/>
                  </a:lnTo>
                  <a:lnTo>
                    <a:pt x="4942" y="10056"/>
                  </a:lnTo>
                  <a:lnTo>
                    <a:pt x="4701" y="10021"/>
                  </a:lnTo>
                  <a:lnTo>
                    <a:pt x="4355" y="9883"/>
                  </a:lnTo>
                  <a:lnTo>
                    <a:pt x="3318" y="9469"/>
                  </a:lnTo>
                  <a:lnTo>
                    <a:pt x="2212" y="8916"/>
                  </a:lnTo>
                  <a:lnTo>
                    <a:pt x="1729" y="8639"/>
                  </a:lnTo>
                  <a:lnTo>
                    <a:pt x="1349" y="8397"/>
                  </a:lnTo>
                  <a:lnTo>
                    <a:pt x="1349" y="8397"/>
                  </a:lnTo>
                  <a:lnTo>
                    <a:pt x="1038" y="8155"/>
                  </a:lnTo>
                  <a:lnTo>
                    <a:pt x="796" y="7844"/>
                  </a:lnTo>
                  <a:lnTo>
                    <a:pt x="554" y="7568"/>
                  </a:lnTo>
                  <a:lnTo>
                    <a:pt x="346" y="7257"/>
                  </a:lnTo>
                  <a:lnTo>
                    <a:pt x="105" y="6808"/>
                  </a:lnTo>
                  <a:lnTo>
                    <a:pt x="1" y="6600"/>
                  </a:lnTo>
                  <a:lnTo>
                    <a:pt x="1" y="6600"/>
                  </a:lnTo>
                  <a:lnTo>
                    <a:pt x="1072" y="4665"/>
                  </a:lnTo>
                  <a:lnTo>
                    <a:pt x="2074" y="2799"/>
                  </a:lnTo>
                  <a:lnTo>
                    <a:pt x="2593" y="1797"/>
                  </a:lnTo>
                  <a:lnTo>
                    <a:pt x="3076" y="760"/>
                  </a:lnTo>
                  <a:lnTo>
                    <a:pt x="3076" y="760"/>
                  </a:lnTo>
                  <a:lnTo>
                    <a:pt x="3318" y="346"/>
                  </a:lnTo>
                  <a:lnTo>
                    <a:pt x="3422" y="207"/>
                  </a:lnTo>
                  <a:lnTo>
                    <a:pt x="3526" y="104"/>
                  </a:lnTo>
                  <a:lnTo>
                    <a:pt x="3629" y="35"/>
                  </a:lnTo>
                  <a:lnTo>
                    <a:pt x="3733" y="0"/>
                  </a:lnTo>
                  <a:lnTo>
                    <a:pt x="3802" y="0"/>
                  </a:lnTo>
                  <a:lnTo>
                    <a:pt x="3906" y="35"/>
                  </a:lnTo>
                  <a:lnTo>
                    <a:pt x="3975" y="69"/>
                  </a:lnTo>
                  <a:lnTo>
                    <a:pt x="4079" y="173"/>
                  </a:lnTo>
                  <a:lnTo>
                    <a:pt x="4217" y="380"/>
                  </a:lnTo>
                  <a:lnTo>
                    <a:pt x="4355" y="657"/>
                  </a:lnTo>
                  <a:lnTo>
                    <a:pt x="4459" y="1002"/>
                  </a:lnTo>
                  <a:lnTo>
                    <a:pt x="4666" y="1728"/>
                  </a:lnTo>
                  <a:lnTo>
                    <a:pt x="4770" y="2454"/>
                  </a:lnTo>
                  <a:lnTo>
                    <a:pt x="4873" y="321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1" name="Google Shape;1598;p16">
              <a:extLst>
                <a:ext uri="{FF2B5EF4-FFF2-40B4-BE49-F238E27FC236}">
                  <a16:creationId xmlns:a16="http://schemas.microsoft.com/office/drawing/2014/main" id="{63F09655-FD7B-C609-F66D-A0A366DA4F45}"/>
                </a:ext>
              </a:extLst>
            </p:cNvPr>
            <p:cNvSpPr/>
            <p:nvPr/>
          </p:nvSpPr>
          <p:spPr>
            <a:xfrm>
              <a:off x="1323650" y="2495500"/>
              <a:ext cx="8675" cy="58775"/>
            </a:xfrm>
            <a:custGeom>
              <a:avLst/>
              <a:gdLst/>
              <a:ahLst/>
              <a:cxnLst/>
              <a:rect l="l" t="t" r="r" b="b"/>
              <a:pathLst>
                <a:path w="347" h="2351" extrusionOk="0">
                  <a:moveTo>
                    <a:pt x="346" y="1"/>
                  </a:moveTo>
                  <a:lnTo>
                    <a:pt x="208" y="657"/>
                  </a:lnTo>
                  <a:lnTo>
                    <a:pt x="150" y="1176"/>
                  </a:lnTo>
                  <a:lnTo>
                    <a:pt x="346" y="1"/>
                  </a:lnTo>
                  <a:close/>
                  <a:moveTo>
                    <a:pt x="150" y="1176"/>
                  </a:moveTo>
                  <a:lnTo>
                    <a:pt x="139" y="1245"/>
                  </a:lnTo>
                  <a:lnTo>
                    <a:pt x="70" y="1832"/>
                  </a:lnTo>
                  <a:lnTo>
                    <a:pt x="70" y="1832"/>
                  </a:lnTo>
                  <a:lnTo>
                    <a:pt x="139" y="1279"/>
                  </a:lnTo>
                  <a:lnTo>
                    <a:pt x="150" y="1176"/>
                  </a:lnTo>
                  <a:close/>
                  <a:moveTo>
                    <a:pt x="70" y="1832"/>
                  </a:moveTo>
                  <a:lnTo>
                    <a:pt x="1" y="2351"/>
                  </a:lnTo>
                  <a:lnTo>
                    <a:pt x="35" y="2351"/>
                  </a:lnTo>
                  <a:lnTo>
                    <a:pt x="70" y="1832"/>
                  </a:lnTo>
                  <a:close/>
                </a:path>
              </a:pathLst>
            </a:custGeom>
            <a:solidFill>
              <a:srgbClr val="C1C1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2" name="Google Shape;1599;p16">
              <a:extLst>
                <a:ext uri="{FF2B5EF4-FFF2-40B4-BE49-F238E27FC236}">
                  <a16:creationId xmlns:a16="http://schemas.microsoft.com/office/drawing/2014/main" id="{0F30705B-FE29-C40C-7F4A-E74737BA36D7}"/>
                </a:ext>
              </a:extLst>
            </p:cNvPr>
            <p:cNvSpPr/>
            <p:nvPr/>
          </p:nvSpPr>
          <p:spPr>
            <a:xfrm>
              <a:off x="1323650" y="2495500"/>
              <a:ext cx="8675" cy="58775"/>
            </a:xfrm>
            <a:custGeom>
              <a:avLst/>
              <a:gdLst/>
              <a:ahLst/>
              <a:cxnLst/>
              <a:rect l="l" t="t" r="r" b="b"/>
              <a:pathLst>
                <a:path w="347" h="2351" fill="none" extrusionOk="0">
                  <a:moveTo>
                    <a:pt x="346" y="1"/>
                  </a:moveTo>
                  <a:lnTo>
                    <a:pt x="346" y="1"/>
                  </a:lnTo>
                  <a:lnTo>
                    <a:pt x="208" y="657"/>
                  </a:lnTo>
                  <a:lnTo>
                    <a:pt x="139" y="1279"/>
                  </a:lnTo>
                  <a:lnTo>
                    <a:pt x="70" y="1832"/>
                  </a:lnTo>
                  <a:lnTo>
                    <a:pt x="1" y="2351"/>
                  </a:lnTo>
                  <a:lnTo>
                    <a:pt x="1" y="2351"/>
                  </a:lnTo>
                  <a:lnTo>
                    <a:pt x="35" y="2351"/>
                  </a:lnTo>
                  <a:lnTo>
                    <a:pt x="35" y="2351"/>
                  </a:lnTo>
                  <a:lnTo>
                    <a:pt x="70" y="1832"/>
                  </a:lnTo>
                  <a:lnTo>
                    <a:pt x="139" y="1245"/>
                  </a:lnTo>
                  <a:lnTo>
                    <a:pt x="139" y="1245"/>
                  </a:lnTo>
                  <a:lnTo>
                    <a:pt x="34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3" name="Google Shape;1600;p16">
              <a:extLst>
                <a:ext uri="{FF2B5EF4-FFF2-40B4-BE49-F238E27FC236}">
                  <a16:creationId xmlns:a16="http://schemas.microsoft.com/office/drawing/2014/main" id="{49FDAEAC-6645-5DE3-BBCF-75CA7F98D207}"/>
                </a:ext>
              </a:extLst>
            </p:cNvPr>
            <p:cNvSpPr/>
            <p:nvPr/>
          </p:nvSpPr>
          <p:spPr>
            <a:xfrm>
              <a:off x="1283050" y="2479100"/>
              <a:ext cx="49275" cy="75175"/>
            </a:xfrm>
            <a:custGeom>
              <a:avLst/>
              <a:gdLst/>
              <a:ahLst/>
              <a:cxnLst/>
              <a:rect l="l" t="t" r="r" b="b"/>
              <a:pathLst>
                <a:path w="1971" h="3007" extrusionOk="0">
                  <a:moveTo>
                    <a:pt x="553" y="0"/>
                  </a:moveTo>
                  <a:lnTo>
                    <a:pt x="415" y="35"/>
                  </a:lnTo>
                  <a:lnTo>
                    <a:pt x="312" y="139"/>
                  </a:lnTo>
                  <a:lnTo>
                    <a:pt x="208" y="311"/>
                  </a:lnTo>
                  <a:lnTo>
                    <a:pt x="104" y="519"/>
                  </a:lnTo>
                  <a:lnTo>
                    <a:pt x="35" y="726"/>
                  </a:lnTo>
                  <a:lnTo>
                    <a:pt x="1" y="968"/>
                  </a:lnTo>
                  <a:lnTo>
                    <a:pt x="1" y="1210"/>
                  </a:lnTo>
                  <a:lnTo>
                    <a:pt x="35" y="1417"/>
                  </a:lnTo>
                  <a:lnTo>
                    <a:pt x="242" y="1694"/>
                  </a:lnTo>
                  <a:lnTo>
                    <a:pt x="588" y="2143"/>
                  </a:lnTo>
                  <a:lnTo>
                    <a:pt x="830" y="2385"/>
                  </a:lnTo>
                  <a:lnTo>
                    <a:pt x="1072" y="2627"/>
                  </a:lnTo>
                  <a:lnTo>
                    <a:pt x="1348" y="2834"/>
                  </a:lnTo>
                  <a:lnTo>
                    <a:pt x="1625" y="3007"/>
                  </a:lnTo>
                  <a:lnTo>
                    <a:pt x="1694" y="2488"/>
                  </a:lnTo>
                  <a:lnTo>
                    <a:pt x="1763" y="1935"/>
                  </a:lnTo>
                  <a:lnTo>
                    <a:pt x="1832" y="1313"/>
                  </a:lnTo>
                  <a:lnTo>
                    <a:pt x="1970" y="657"/>
                  </a:lnTo>
                  <a:lnTo>
                    <a:pt x="1728" y="450"/>
                  </a:lnTo>
                  <a:lnTo>
                    <a:pt x="1590" y="346"/>
                  </a:lnTo>
                  <a:lnTo>
                    <a:pt x="1452" y="311"/>
                  </a:lnTo>
                  <a:lnTo>
                    <a:pt x="1072" y="277"/>
                  </a:lnTo>
                  <a:lnTo>
                    <a:pt x="865" y="208"/>
                  </a:lnTo>
                  <a:lnTo>
                    <a:pt x="761" y="173"/>
                  </a:lnTo>
                  <a:lnTo>
                    <a:pt x="692" y="104"/>
                  </a:lnTo>
                  <a:lnTo>
                    <a:pt x="623" y="35"/>
                  </a:lnTo>
                  <a:lnTo>
                    <a:pt x="553" y="0"/>
                  </a:lnTo>
                  <a:close/>
                </a:path>
              </a:pathLst>
            </a:custGeom>
            <a:solidFill>
              <a:srgbClr val="6C322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4" name="Google Shape;1601;p16">
              <a:extLst>
                <a:ext uri="{FF2B5EF4-FFF2-40B4-BE49-F238E27FC236}">
                  <a16:creationId xmlns:a16="http://schemas.microsoft.com/office/drawing/2014/main" id="{39914035-920F-DD94-2A53-F6FC3E0ED3B3}"/>
                </a:ext>
              </a:extLst>
            </p:cNvPr>
            <p:cNvSpPr/>
            <p:nvPr/>
          </p:nvSpPr>
          <p:spPr>
            <a:xfrm>
              <a:off x="1283050" y="2479100"/>
              <a:ext cx="49275" cy="75175"/>
            </a:xfrm>
            <a:custGeom>
              <a:avLst/>
              <a:gdLst/>
              <a:ahLst/>
              <a:cxnLst/>
              <a:rect l="l" t="t" r="r" b="b"/>
              <a:pathLst>
                <a:path w="1971" h="3007" fill="none" extrusionOk="0">
                  <a:moveTo>
                    <a:pt x="553" y="0"/>
                  </a:moveTo>
                  <a:lnTo>
                    <a:pt x="553" y="0"/>
                  </a:lnTo>
                  <a:lnTo>
                    <a:pt x="415" y="35"/>
                  </a:lnTo>
                  <a:lnTo>
                    <a:pt x="312" y="139"/>
                  </a:lnTo>
                  <a:lnTo>
                    <a:pt x="208" y="311"/>
                  </a:lnTo>
                  <a:lnTo>
                    <a:pt x="104" y="519"/>
                  </a:lnTo>
                  <a:lnTo>
                    <a:pt x="35" y="726"/>
                  </a:lnTo>
                  <a:lnTo>
                    <a:pt x="1" y="968"/>
                  </a:lnTo>
                  <a:lnTo>
                    <a:pt x="1" y="1210"/>
                  </a:lnTo>
                  <a:lnTo>
                    <a:pt x="35" y="1417"/>
                  </a:lnTo>
                  <a:lnTo>
                    <a:pt x="35" y="1417"/>
                  </a:lnTo>
                  <a:lnTo>
                    <a:pt x="242" y="1694"/>
                  </a:lnTo>
                  <a:lnTo>
                    <a:pt x="588" y="2143"/>
                  </a:lnTo>
                  <a:lnTo>
                    <a:pt x="830" y="2385"/>
                  </a:lnTo>
                  <a:lnTo>
                    <a:pt x="1072" y="2627"/>
                  </a:lnTo>
                  <a:lnTo>
                    <a:pt x="1348" y="2834"/>
                  </a:lnTo>
                  <a:lnTo>
                    <a:pt x="1625" y="3007"/>
                  </a:lnTo>
                  <a:lnTo>
                    <a:pt x="1625" y="3007"/>
                  </a:lnTo>
                  <a:lnTo>
                    <a:pt x="1694" y="2488"/>
                  </a:lnTo>
                  <a:lnTo>
                    <a:pt x="1763" y="1935"/>
                  </a:lnTo>
                  <a:lnTo>
                    <a:pt x="1832" y="1313"/>
                  </a:lnTo>
                  <a:lnTo>
                    <a:pt x="1970" y="657"/>
                  </a:lnTo>
                  <a:lnTo>
                    <a:pt x="1970" y="657"/>
                  </a:lnTo>
                  <a:lnTo>
                    <a:pt x="1970" y="657"/>
                  </a:lnTo>
                  <a:lnTo>
                    <a:pt x="1970" y="657"/>
                  </a:lnTo>
                  <a:lnTo>
                    <a:pt x="1728" y="450"/>
                  </a:lnTo>
                  <a:lnTo>
                    <a:pt x="1590" y="346"/>
                  </a:lnTo>
                  <a:lnTo>
                    <a:pt x="1452" y="311"/>
                  </a:lnTo>
                  <a:lnTo>
                    <a:pt x="1452" y="311"/>
                  </a:lnTo>
                  <a:lnTo>
                    <a:pt x="1072" y="277"/>
                  </a:lnTo>
                  <a:lnTo>
                    <a:pt x="865" y="208"/>
                  </a:lnTo>
                  <a:lnTo>
                    <a:pt x="761" y="173"/>
                  </a:lnTo>
                  <a:lnTo>
                    <a:pt x="692" y="104"/>
                  </a:lnTo>
                  <a:lnTo>
                    <a:pt x="692" y="104"/>
                  </a:lnTo>
                  <a:lnTo>
                    <a:pt x="623" y="35"/>
                  </a:lnTo>
                  <a:lnTo>
                    <a:pt x="55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5" name="Google Shape;1602;p16">
              <a:extLst>
                <a:ext uri="{FF2B5EF4-FFF2-40B4-BE49-F238E27FC236}">
                  <a16:creationId xmlns:a16="http://schemas.microsoft.com/office/drawing/2014/main" id="{85234946-C184-664D-6EF1-1B702BF50E84}"/>
                </a:ext>
              </a:extLst>
            </p:cNvPr>
            <p:cNvSpPr/>
            <p:nvPr/>
          </p:nvSpPr>
          <p:spPr>
            <a:xfrm>
              <a:off x="1243300" y="2803925"/>
              <a:ext cx="171950" cy="188350"/>
            </a:xfrm>
            <a:custGeom>
              <a:avLst/>
              <a:gdLst/>
              <a:ahLst/>
              <a:cxnLst/>
              <a:rect l="l" t="t" r="r" b="b"/>
              <a:pathLst>
                <a:path w="6878" h="7534" extrusionOk="0">
                  <a:moveTo>
                    <a:pt x="312" y="1"/>
                  </a:moveTo>
                  <a:lnTo>
                    <a:pt x="105" y="968"/>
                  </a:lnTo>
                  <a:lnTo>
                    <a:pt x="1" y="1763"/>
                  </a:lnTo>
                  <a:lnTo>
                    <a:pt x="1" y="2385"/>
                  </a:lnTo>
                  <a:lnTo>
                    <a:pt x="36" y="2903"/>
                  </a:lnTo>
                  <a:lnTo>
                    <a:pt x="139" y="3283"/>
                  </a:lnTo>
                  <a:lnTo>
                    <a:pt x="243" y="3629"/>
                  </a:lnTo>
                  <a:lnTo>
                    <a:pt x="381" y="3871"/>
                  </a:lnTo>
                  <a:lnTo>
                    <a:pt x="485" y="4078"/>
                  </a:lnTo>
                  <a:lnTo>
                    <a:pt x="588" y="4182"/>
                  </a:lnTo>
                  <a:lnTo>
                    <a:pt x="761" y="4320"/>
                  </a:lnTo>
                  <a:lnTo>
                    <a:pt x="1314" y="4700"/>
                  </a:lnTo>
                  <a:lnTo>
                    <a:pt x="2109" y="5149"/>
                  </a:lnTo>
                  <a:lnTo>
                    <a:pt x="3007" y="5668"/>
                  </a:lnTo>
                  <a:lnTo>
                    <a:pt x="5046" y="6670"/>
                  </a:lnTo>
                  <a:lnTo>
                    <a:pt x="6878" y="7534"/>
                  </a:lnTo>
                  <a:lnTo>
                    <a:pt x="6878" y="7534"/>
                  </a:lnTo>
                  <a:lnTo>
                    <a:pt x="5012" y="6359"/>
                  </a:lnTo>
                  <a:lnTo>
                    <a:pt x="3526" y="5357"/>
                  </a:lnTo>
                  <a:lnTo>
                    <a:pt x="2938" y="4942"/>
                  </a:lnTo>
                  <a:lnTo>
                    <a:pt x="2420" y="4527"/>
                  </a:lnTo>
                  <a:lnTo>
                    <a:pt x="1971" y="4113"/>
                  </a:lnTo>
                  <a:lnTo>
                    <a:pt x="1591" y="3733"/>
                  </a:lnTo>
                  <a:lnTo>
                    <a:pt x="1280" y="3352"/>
                  </a:lnTo>
                  <a:lnTo>
                    <a:pt x="1038" y="2972"/>
                  </a:lnTo>
                  <a:lnTo>
                    <a:pt x="830" y="2558"/>
                  </a:lnTo>
                  <a:lnTo>
                    <a:pt x="658" y="2108"/>
                  </a:lnTo>
                  <a:lnTo>
                    <a:pt x="519" y="1659"/>
                  </a:lnTo>
                  <a:lnTo>
                    <a:pt x="416" y="1175"/>
                  </a:lnTo>
                  <a:lnTo>
                    <a:pt x="347" y="623"/>
                  </a:lnTo>
                  <a:lnTo>
                    <a:pt x="312" y="1"/>
                  </a:lnTo>
                  <a:close/>
                </a:path>
              </a:pathLst>
            </a:custGeom>
            <a:solidFill>
              <a:srgbClr val="C18C1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6" name="Google Shape;1603;p16">
              <a:extLst>
                <a:ext uri="{FF2B5EF4-FFF2-40B4-BE49-F238E27FC236}">
                  <a16:creationId xmlns:a16="http://schemas.microsoft.com/office/drawing/2014/main" id="{6A96A422-5608-BEBF-8FFA-C1B13CE317B3}"/>
                </a:ext>
              </a:extLst>
            </p:cNvPr>
            <p:cNvSpPr/>
            <p:nvPr/>
          </p:nvSpPr>
          <p:spPr>
            <a:xfrm>
              <a:off x="1243300" y="2803925"/>
              <a:ext cx="171950" cy="188350"/>
            </a:xfrm>
            <a:custGeom>
              <a:avLst/>
              <a:gdLst/>
              <a:ahLst/>
              <a:cxnLst/>
              <a:rect l="l" t="t" r="r" b="b"/>
              <a:pathLst>
                <a:path w="6878" h="7534" fill="none" extrusionOk="0">
                  <a:moveTo>
                    <a:pt x="312" y="1"/>
                  </a:moveTo>
                  <a:lnTo>
                    <a:pt x="312" y="1"/>
                  </a:lnTo>
                  <a:lnTo>
                    <a:pt x="105" y="968"/>
                  </a:lnTo>
                  <a:lnTo>
                    <a:pt x="1" y="1763"/>
                  </a:lnTo>
                  <a:lnTo>
                    <a:pt x="1" y="2385"/>
                  </a:lnTo>
                  <a:lnTo>
                    <a:pt x="36" y="2903"/>
                  </a:lnTo>
                  <a:lnTo>
                    <a:pt x="139" y="3283"/>
                  </a:lnTo>
                  <a:lnTo>
                    <a:pt x="243" y="3629"/>
                  </a:lnTo>
                  <a:lnTo>
                    <a:pt x="381" y="3871"/>
                  </a:lnTo>
                  <a:lnTo>
                    <a:pt x="485" y="4078"/>
                  </a:lnTo>
                  <a:lnTo>
                    <a:pt x="485" y="4078"/>
                  </a:lnTo>
                  <a:lnTo>
                    <a:pt x="588" y="4182"/>
                  </a:lnTo>
                  <a:lnTo>
                    <a:pt x="761" y="4320"/>
                  </a:lnTo>
                  <a:lnTo>
                    <a:pt x="1314" y="4700"/>
                  </a:lnTo>
                  <a:lnTo>
                    <a:pt x="2109" y="5149"/>
                  </a:lnTo>
                  <a:lnTo>
                    <a:pt x="3007" y="5668"/>
                  </a:lnTo>
                  <a:lnTo>
                    <a:pt x="5046" y="6670"/>
                  </a:lnTo>
                  <a:lnTo>
                    <a:pt x="6878" y="7534"/>
                  </a:lnTo>
                  <a:lnTo>
                    <a:pt x="6878" y="7534"/>
                  </a:lnTo>
                  <a:lnTo>
                    <a:pt x="5012" y="6359"/>
                  </a:lnTo>
                  <a:lnTo>
                    <a:pt x="3526" y="5357"/>
                  </a:lnTo>
                  <a:lnTo>
                    <a:pt x="2938" y="4942"/>
                  </a:lnTo>
                  <a:lnTo>
                    <a:pt x="2420" y="4527"/>
                  </a:lnTo>
                  <a:lnTo>
                    <a:pt x="1971" y="4113"/>
                  </a:lnTo>
                  <a:lnTo>
                    <a:pt x="1591" y="3733"/>
                  </a:lnTo>
                  <a:lnTo>
                    <a:pt x="1280" y="3352"/>
                  </a:lnTo>
                  <a:lnTo>
                    <a:pt x="1038" y="2972"/>
                  </a:lnTo>
                  <a:lnTo>
                    <a:pt x="830" y="2558"/>
                  </a:lnTo>
                  <a:lnTo>
                    <a:pt x="658" y="2108"/>
                  </a:lnTo>
                  <a:lnTo>
                    <a:pt x="519" y="1659"/>
                  </a:lnTo>
                  <a:lnTo>
                    <a:pt x="416" y="1175"/>
                  </a:lnTo>
                  <a:lnTo>
                    <a:pt x="347" y="623"/>
                  </a:lnTo>
                  <a:lnTo>
                    <a:pt x="31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7" name="Google Shape;1604;p16">
              <a:extLst>
                <a:ext uri="{FF2B5EF4-FFF2-40B4-BE49-F238E27FC236}">
                  <a16:creationId xmlns:a16="http://schemas.microsoft.com/office/drawing/2014/main" id="{C265279B-500F-822D-EB3A-AFCCCE402983}"/>
                </a:ext>
              </a:extLst>
            </p:cNvPr>
            <p:cNvSpPr/>
            <p:nvPr/>
          </p:nvSpPr>
          <p:spPr>
            <a:xfrm>
              <a:off x="1174200" y="3004350"/>
              <a:ext cx="25" cy="21625"/>
            </a:xfrm>
            <a:custGeom>
              <a:avLst/>
              <a:gdLst/>
              <a:ahLst/>
              <a:cxnLst/>
              <a:rect l="l" t="t" r="r" b="b"/>
              <a:pathLst>
                <a:path w="1" h="865" extrusionOk="0">
                  <a:moveTo>
                    <a:pt x="0" y="1"/>
                  </a:moveTo>
                  <a:lnTo>
                    <a:pt x="0" y="1"/>
                  </a:lnTo>
                  <a:lnTo>
                    <a:pt x="0" y="865"/>
                  </a:lnTo>
                  <a:lnTo>
                    <a:pt x="0" y="865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C1C1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8" name="Google Shape;1605;p16">
              <a:extLst>
                <a:ext uri="{FF2B5EF4-FFF2-40B4-BE49-F238E27FC236}">
                  <a16:creationId xmlns:a16="http://schemas.microsoft.com/office/drawing/2014/main" id="{20E26E91-D621-FC15-B0CC-5D4BD16224A6}"/>
                </a:ext>
              </a:extLst>
            </p:cNvPr>
            <p:cNvSpPr/>
            <p:nvPr/>
          </p:nvSpPr>
          <p:spPr>
            <a:xfrm>
              <a:off x="1174200" y="3004350"/>
              <a:ext cx="25" cy="21625"/>
            </a:xfrm>
            <a:custGeom>
              <a:avLst/>
              <a:gdLst/>
              <a:ahLst/>
              <a:cxnLst/>
              <a:rect l="l" t="t" r="r" b="b"/>
              <a:pathLst>
                <a:path w="1" h="865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865"/>
                  </a:lnTo>
                  <a:lnTo>
                    <a:pt x="0" y="865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9" name="Google Shape;1606;p16">
              <a:extLst>
                <a:ext uri="{FF2B5EF4-FFF2-40B4-BE49-F238E27FC236}">
                  <a16:creationId xmlns:a16="http://schemas.microsoft.com/office/drawing/2014/main" id="{371E0943-8963-E634-3BC1-CDACFE830CBC}"/>
                </a:ext>
              </a:extLst>
            </p:cNvPr>
            <p:cNvSpPr/>
            <p:nvPr/>
          </p:nvSpPr>
          <p:spPr>
            <a:xfrm>
              <a:off x="1173325" y="3004350"/>
              <a:ext cx="310175" cy="120975"/>
            </a:xfrm>
            <a:custGeom>
              <a:avLst/>
              <a:gdLst/>
              <a:ahLst/>
              <a:cxnLst/>
              <a:rect l="l" t="t" r="r" b="b"/>
              <a:pathLst>
                <a:path w="12407" h="4839" extrusionOk="0">
                  <a:moveTo>
                    <a:pt x="35" y="1"/>
                  </a:moveTo>
                  <a:lnTo>
                    <a:pt x="35" y="865"/>
                  </a:lnTo>
                  <a:lnTo>
                    <a:pt x="1" y="1279"/>
                  </a:lnTo>
                  <a:lnTo>
                    <a:pt x="35" y="1279"/>
                  </a:lnTo>
                  <a:lnTo>
                    <a:pt x="243" y="1314"/>
                  </a:lnTo>
                  <a:lnTo>
                    <a:pt x="727" y="1417"/>
                  </a:lnTo>
                  <a:lnTo>
                    <a:pt x="2143" y="1832"/>
                  </a:lnTo>
                  <a:lnTo>
                    <a:pt x="6256" y="3042"/>
                  </a:lnTo>
                  <a:lnTo>
                    <a:pt x="10333" y="4286"/>
                  </a:lnTo>
                  <a:lnTo>
                    <a:pt x="11750" y="4666"/>
                  </a:lnTo>
                  <a:lnTo>
                    <a:pt x="12165" y="4804"/>
                  </a:lnTo>
                  <a:lnTo>
                    <a:pt x="12407" y="4838"/>
                  </a:lnTo>
                  <a:lnTo>
                    <a:pt x="10506" y="4078"/>
                  </a:lnTo>
                  <a:lnTo>
                    <a:pt x="6256" y="2489"/>
                  </a:lnTo>
                  <a:lnTo>
                    <a:pt x="1971" y="830"/>
                  </a:lnTo>
                  <a:lnTo>
                    <a:pt x="588" y="277"/>
                  </a:lnTo>
                  <a:lnTo>
                    <a:pt x="174" y="70"/>
                  </a:lnTo>
                  <a:lnTo>
                    <a:pt x="35" y="1"/>
                  </a:lnTo>
                  <a:close/>
                </a:path>
              </a:pathLst>
            </a:custGeom>
            <a:solidFill>
              <a:srgbClr val="C18C1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0" name="Google Shape;1607;p16">
              <a:extLst>
                <a:ext uri="{FF2B5EF4-FFF2-40B4-BE49-F238E27FC236}">
                  <a16:creationId xmlns:a16="http://schemas.microsoft.com/office/drawing/2014/main" id="{1503B0A5-3CB2-3871-7D6E-F944531FA13B}"/>
                </a:ext>
              </a:extLst>
            </p:cNvPr>
            <p:cNvSpPr/>
            <p:nvPr/>
          </p:nvSpPr>
          <p:spPr>
            <a:xfrm>
              <a:off x="1173325" y="3004350"/>
              <a:ext cx="310175" cy="120975"/>
            </a:xfrm>
            <a:custGeom>
              <a:avLst/>
              <a:gdLst/>
              <a:ahLst/>
              <a:cxnLst/>
              <a:rect l="l" t="t" r="r" b="b"/>
              <a:pathLst>
                <a:path w="12407" h="4839" fill="none" extrusionOk="0">
                  <a:moveTo>
                    <a:pt x="35" y="1"/>
                  </a:moveTo>
                  <a:lnTo>
                    <a:pt x="35" y="1"/>
                  </a:lnTo>
                  <a:lnTo>
                    <a:pt x="35" y="865"/>
                  </a:lnTo>
                  <a:lnTo>
                    <a:pt x="35" y="865"/>
                  </a:lnTo>
                  <a:lnTo>
                    <a:pt x="1" y="1279"/>
                  </a:lnTo>
                  <a:lnTo>
                    <a:pt x="1" y="1279"/>
                  </a:lnTo>
                  <a:lnTo>
                    <a:pt x="35" y="1279"/>
                  </a:lnTo>
                  <a:lnTo>
                    <a:pt x="35" y="1279"/>
                  </a:lnTo>
                  <a:lnTo>
                    <a:pt x="243" y="1314"/>
                  </a:lnTo>
                  <a:lnTo>
                    <a:pt x="727" y="1417"/>
                  </a:lnTo>
                  <a:lnTo>
                    <a:pt x="2143" y="1832"/>
                  </a:lnTo>
                  <a:lnTo>
                    <a:pt x="6256" y="3042"/>
                  </a:lnTo>
                  <a:lnTo>
                    <a:pt x="6256" y="3042"/>
                  </a:lnTo>
                  <a:lnTo>
                    <a:pt x="10333" y="4286"/>
                  </a:lnTo>
                  <a:lnTo>
                    <a:pt x="11750" y="4666"/>
                  </a:lnTo>
                  <a:lnTo>
                    <a:pt x="12165" y="4804"/>
                  </a:lnTo>
                  <a:lnTo>
                    <a:pt x="12407" y="4838"/>
                  </a:lnTo>
                  <a:lnTo>
                    <a:pt x="12407" y="4838"/>
                  </a:lnTo>
                  <a:lnTo>
                    <a:pt x="12407" y="4838"/>
                  </a:lnTo>
                  <a:lnTo>
                    <a:pt x="12407" y="4838"/>
                  </a:lnTo>
                  <a:lnTo>
                    <a:pt x="10506" y="4078"/>
                  </a:lnTo>
                  <a:lnTo>
                    <a:pt x="6256" y="2489"/>
                  </a:lnTo>
                  <a:lnTo>
                    <a:pt x="1971" y="830"/>
                  </a:lnTo>
                  <a:lnTo>
                    <a:pt x="588" y="277"/>
                  </a:lnTo>
                  <a:lnTo>
                    <a:pt x="174" y="70"/>
                  </a:lnTo>
                  <a:lnTo>
                    <a:pt x="3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1" name="Google Shape;1608;p16">
              <a:extLst>
                <a:ext uri="{FF2B5EF4-FFF2-40B4-BE49-F238E27FC236}">
                  <a16:creationId xmlns:a16="http://schemas.microsoft.com/office/drawing/2014/main" id="{5D928E34-A278-A775-C4FD-05187D066712}"/>
                </a:ext>
              </a:extLst>
            </p:cNvPr>
            <p:cNvSpPr/>
            <p:nvPr/>
          </p:nvSpPr>
          <p:spPr>
            <a:xfrm>
              <a:off x="1481750" y="2769375"/>
              <a:ext cx="1750" cy="3475"/>
            </a:xfrm>
            <a:custGeom>
              <a:avLst/>
              <a:gdLst/>
              <a:ahLst/>
              <a:cxnLst/>
              <a:rect l="l" t="t" r="r" b="b"/>
              <a:pathLst>
                <a:path w="70" h="139" extrusionOk="0">
                  <a:moveTo>
                    <a:pt x="1" y="0"/>
                  </a:moveTo>
                  <a:lnTo>
                    <a:pt x="70" y="138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C1C1C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2" name="Google Shape;1609;p16">
              <a:extLst>
                <a:ext uri="{FF2B5EF4-FFF2-40B4-BE49-F238E27FC236}">
                  <a16:creationId xmlns:a16="http://schemas.microsoft.com/office/drawing/2014/main" id="{DB6B9D40-D2DF-0B68-AAF2-33948CEC4C4B}"/>
                </a:ext>
              </a:extLst>
            </p:cNvPr>
            <p:cNvSpPr/>
            <p:nvPr/>
          </p:nvSpPr>
          <p:spPr>
            <a:xfrm>
              <a:off x="1481750" y="2769375"/>
              <a:ext cx="1750" cy="3475"/>
            </a:xfrm>
            <a:custGeom>
              <a:avLst/>
              <a:gdLst/>
              <a:ahLst/>
              <a:cxnLst/>
              <a:rect l="l" t="t" r="r" b="b"/>
              <a:pathLst>
                <a:path w="70" h="139" fill="none" extrusionOk="0">
                  <a:moveTo>
                    <a:pt x="35" y="0"/>
                  </a:moveTo>
                  <a:lnTo>
                    <a:pt x="35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70" y="138"/>
                  </a:lnTo>
                  <a:lnTo>
                    <a:pt x="70" y="138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3" name="Google Shape;1610;p16">
              <a:extLst>
                <a:ext uri="{FF2B5EF4-FFF2-40B4-BE49-F238E27FC236}">
                  <a16:creationId xmlns:a16="http://schemas.microsoft.com/office/drawing/2014/main" id="{90219945-3AC7-E367-03BE-5F1C63AEFDAC}"/>
                </a:ext>
              </a:extLst>
            </p:cNvPr>
            <p:cNvSpPr/>
            <p:nvPr/>
          </p:nvSpPr>
          <p:spPr>
            <a:xfrm>
              <a:off x="1410050" y="2691625"/>
              <a:ext cx="72600" cy="77775"/>
            </a:xfrm>
            <a:custGeom>
              <a:avLst/>
              <a:gdLst/>
              <a:ahLst/>
              <a:cxnLst/>
              <a:rect l="l" t="t" r="r" b="b"/>
              <a:pathLst>
                <a:path w="2904" h="3111" extrusionOk="0">
                  <a:moveTo>
                    <a:pt x="0" y="0"/>
                  </a:moveTo>
                  <a:lnTo>
                    <a:pt x="830" y="760"/>
                  </a:lnTo>
                  <a:lnTo>
                    <a:pt x="1521" y="1382"/>
                  </a:lnTo>
                  <a:lnTo>
                    <a:pt x="1866" y="1728"/>
                  </a:lnTo>
                  <a:lnTo>
                    <a:pt x="2177" y="2108"/>
                  </a:lnTo>
                  <a:lnTo>
                    <a:pt x="2523" y="2557"/>
                  </a:lnTo>
                  <a:lnTo>
                    <a:pt x="2869" y="3110"/>
                  </a:lnTo>
                  <a:lnTo>
                    <a:pt x="2903" y="3110"/>
                  </a:lnTo>
                  <a:lnTo>
                    <a:pt x="2454" y="1970"/>
                  </a:lnTo>
                  <a:lnTo>
                    <a:pt x="2177" y="1313"/>
                  </a:lnTo>
                  <a:lnTo>
                    <a:pt x="2074" y="933"/>
                  </a:lnTo>
                  <a:lnTo>
                    <a:pt x="1832" y="795"/>
                  </a:lnTo>
                  <a:lnTo>
                    <a:pt x="1244" y="484"/>
                  </a:lnTo>
                  <a:lnTo>
                    <a:pt x="553" y="173"/>
                  </a:lnTo>
                  <a:lnTo>
                    <a:pt x="242" y="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18C1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4" name="Google Shape;1611;p16">
              <a:extLst>
                <a:ext uri="{FF2B5EF4-FFF2-40B4-BE49-F238E27FC236}">
                  <a16:creationId xmlns:a16="http://schemas.microsoft.com/office/drawing/2014/main" id="{B62CEE3F-5E96-F214-D31B-D656AC11C231}"/>
                </a:ext>
              </a:extLst>
            </p:cNvPr>
            <p:cNvSpPr/>
            <p:nvPr/>
          </p:nvSpPr>
          <p:spPr>
            <a:xfrm>
              <a:off x="1410050" y="2691625"/>
              <a:ext cx="72600" cy="77775"/>
            </a:xfrm>
            <a:custGeom>
              <a:avLst/>
              <a:gdLst/>
              <a:ahLst/>
              <a:cxnLst/>
              <a:rect l="l" t="t" r="r" b="b"/>
              <a:pathLst>
                <a:path w="2904" h="311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830" y="760"/>
                  </a:lnTo>
                  <a:lnTo>
                    <a:pt x="1521" y="1382"/>
                  </a:lnTo>
                  <a:lnTo>
                    <a:pt x="1866" y="1728"/>
                  </a:lnTo>
                  <a:lnTo>
                    <a:pt x="2177" y="2108"/>
                  </a:lnTo>
                  <a:lnTo>
                    <a:pt x="2523" y="2557"/>
                  </a:lnTo>
                  <a:lnTo>
                    <a:pt x="2869" y="3110"/>
                  </a:lnTo>
                  <a:lnTo>
                    <a:pt x="2869" y="3110"/>
                  </a:lnTo>
                  <a:lnTo>
                    <a:pt x="2903" y="3110"/>
                  </a:lnTo>
                  <a:lnTo>
                    <a:pt x="2903" y="3110"/>
                  </a:lnTo>
                  <a:lnTo>
                    <a:pt x="2903" y="3110"/>
                  </a:lnTo>
                  <a:lnTo>
                    <a:pt x="2903" y="3110"/>
                  </a:lnTo>
                  <a:lnTo>
                    <a:pt x="2454" y="1970"/>
                  </a:lnTo>
                  <a:lnTo>
                    <a:pt x="2177" y="1313"/>
                  </a:lnTo>
                  <a:lnTo>
                    <a:pt x="2074" y="933"/>
                  </a:lnTo>
                  <a:lnTo>
                    <a:pt x="2074" y="933"/>
                  </a:lnTo>
                  <a:lnTo>
                    <a:pt x="1832" y="795"/>
                  </a:lnTo>
                  <a:lnTo>
                    <a:pt x="1244" y="484"/>
                  </a:lnTo>
                  <a:lnTo>
                    <a:pt x="553" y="173"/>
                  </a:lnTo>
                  <a:lnTo>
                    <a:pt x="242" y="6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5" name="Google Shape;1612;p16">
              <a:extLst>
                <a:ext uri="{FF2B5EF4-FFF2-40B4-BE49-F238E27FC236}">
                  <a16:creationId xmlns:a16="http://schemas.microsoft.com/office/drawing/2014/main" id="{FA71823E-8303-BA2F-04FB-4929BA9CA15F}"/>
                </a:ext>
              </a:extLst>
            </p:cNvPr>
            <p:cNvSpPr/>
            <p:nvPr/>
          </p:nvSpPr>
          <p:spPr>
            <a:xfrm>
              <a:off x="1150875" y="3134800"/>
              <a:ext cx="12125" cy="48400"/>
            </a:xfrm>
            <a:custGeom>
              <a:avLst/>
              <a:gdLst/>
              <a:ahLst/>
              <a:cxnLst/>
              <a:rect l="l" t="t" r="r" b="b"/>
              <a:pathLst>
                <a:path w="485" h="1936" extrusionOk="0">
                  <a:moveTo>
                    <a:pt x="484" y="1"/>
                  </a:moveTo>
                  <a:lnTo>
                    <a:pt x="484" y="1"/>
                  </a:lnTo>
                  <a:lnTo>
                    <a:pt x="277" y="968"/>
                  </a:lnTo>
                  <a:lnTo>
                    <a:pt x="0" y="1936"/>
                  </a:lnTo>
                  <a:lnTo>
                    <a:pt x="0" y="1936"/>
                  </a:lnTo>
                  <a:lnTo>
                    <a:pt x="277" y="968"/>
                  </a:lnTo>
                  <a:lnTo>
                    <a:pt x="484" y="1"/>
                  </a:lnTo>
                  <a:close/>
                </a:path>
              </a:pathLst>
            </a:custGeom>
            <a:solidFill>
              <a:srgbClr val="E6E6E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6" name="Google Shape;1613;p16">
              <a:extLst>
                <a:ext uri="{FF2B5EF4-FFF2-40B4-BE49-F238E27FC236}">
                  <a16:creationId xmlns:a16="http://schemas.microsoft.com/office/drawing/2014/main" id="{748F8341-745E-6519-734D-8392446AEDAB}"/>
                </a:ext>
              </a:extLst>
            </p:cNvPr>
            <p:cNvSpPr/>
            <p:nvPr/>
          </p:nvSpPr>
          <p:spPr>
            <a:xfrm>
              <a:off x="1150875" y="3134800"/>
              <a:ext cx="12125" cy="48400"/>
            </a:xfrm>
            <a:custGeom>
              <a:avLst/>
              <a:gdLst/>
              <a:ahLst/>
              <a:cxnLst/>
              <a:rect l="l" t="t" r="r" b="b"/>
              <a:pathLst>
                <a:path w="485" h="1936" fill="none" extrusionOk="0">
                  <a:moveTo>
                    <a:pt x="484" y="1"/>
                  </a:moveTo>
                  <a:lnTo>
                    <a:pt x="484" y="1"/>
                  </a:lnTo>
                  <a:lnTo>
                    <a:pt x="277" y="968"/>
                  </a:lnTo>
                  <a:lnTo>
                    <a:pt x="0" y="1936"/>
                  </a:lnTo>
                  <a:lnTo>
                    <a:pt x="0" y="1936"/>
                  </a:lnTo>
                  <a:lnTo>
                    <a:pt x="277" y="968"/>
                  </a:lnTo>
                  <a:lnTo>
                    <a:pt x="484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7" name="Google Shape;1614;p16">
              <a:extLst>
                <a:ext uri="{FF2B5EF4-FFF2-40B4-BE49-F238E27FC236}">
                  <a16:creationId xmlns:a16="http://schemas.microsoft.com/office/drawing/2014/main" id="{C6D75A9D-C9D4-674C-DC27-3EF5C65BD29E}"/>
                </a:ext>
              </a:extLst>
            </p:cNvPr>
            <p:cNvSpPr/>
            <p:nvPr/>
          </p:nvSpPr>
          <p:spPr>
            <a:xfrm>
              <a:off x="785450" y="3273025"/>
              <a:ext cx="428525" cy="951200"/>
            </a:xfrm>
            <a:custGeom>
              <a:avLst/>
              <a:gdLst/>
              <a:ahLst/>
              <a:cxnLst/>
              <a:rect l="l" t="t" r="r" b="b"/>
              <a:pathLst>
                <a:path w="17141" h="38048" extrusionOk="0">
                  <a:moveTo>
                    <a:pt x="12890" y="1"/>
                  </a:moveTo>
                  <a:lnTo>
                    <a:pt x="12302" y="968"/>
                  </a:lnTo>
                  <a:lnTo>
                    <a:pt x="11784" y="1970"/>
                  </a:lnTo>
                  <a:lnTo>
                    <a:pt x="11335" y="2972"/>
                  </a:lnTo>
                  <a:lnTo>
                    <a:pt x="10920" y="3940"/>
                  </a:lnTo>
                  <a:lnTo>
                    <a:pt x="10574" y="4942"/>
                  </a:lnTo>
                  <a:lnTo>
                    <a:pt x="10263" y="5979"/>
                  </a:lnTo>
                  <a:lnTo>
                    <a:pt x="9987" y="6981"/>
                  </a:lnTo>
                  <a:lnTo>
                    <a:pt x="9710" y="7983"/>
                  </a:lnTo>
                  <a:lnTo>
                    <a:pt x="9503" y="9020"/>
                  </a:lnTo>
                  <a:lnTo>
                    <a:pt x="9296" y="10057"/>
                  </a:lnTo>
                  <a:lnTo>
                    <a:pt x="8950" y="12130"/>
                  </a:lnTo>
                  <a:lnTo>
                    <a:pt x="8639" y="14272"/>
                  </a:lnTo>
                  <a:lnTo>
                    <a:pt x="8294" y="16415"/>
                  </a:lnTo>
                  <a:lnTo>
                    <a:pt x="7914" y="18592"/>
                  </a:lnTo>
                  <a:lnTo>
                    <a:pt x="7672" y="19732"/>
                  </a:lnTo>
                  <a:lnTo>
                    <a:pt x="7430" y="20838"/>
                  </a:lnTo>
                  <a:lnTo>
                    <a:pt x="7119" y="21979"/>
                  </a:lnTo>
                  <a:lnTo>
                    <a:pt x="6773" y="23119"/>
                  </a:lnTo>
                  <a:lnTo>
                    <a:pt x="6393" y="24294"/>
                  </a:lnTo>
                  <a:lnTo>
                    <a:pt x="5944" y="25469"/>
                  </a:lnTo>
                  <a:lnTo>
                    <a:pt x="5460" y="26644"/>
                  </a:lnTo>
                  <a:lnTo>
                    <a:pt x="4907" y="27853"/>
                  </a:lnTo>
                  <a:lnTo>
                    <a:pt x="4285" y="29063"/>
                  </a:lnTo>
                  <a:lnTo>
                    <a:pt x="3594" y="30307"/>
                  </a:lnTo>
                  <a:lnTo>
                    <a:pt x="2834" y="31551"/>
                  </a:lnTo>
                  <a:lnTo>
                    <a:pt x="1970" y="32795"/>
                  </a:lnTo>
                  <a:lnTo>
                    <a:pt x="1037" y="34073"/>
                  </a:lnTo>
                  <a:lnTo>
                    <a:pt x="0" y="35386"/>
                  </a:lnTo>
                  <a:lnTo>
                    <a:pt x="207" y="35628"/>
                  </a:lnTo>
                  <a:lnTo>
                    <a:pt x="449" y="35836"/>
                  </a:lnTo>
                  <a:lnTo>
                    <a:pt x="726" y="36008"/>
                  </a:lnTo>
                  <a:lnTo>
                    <a:pt x="1002" y="36181"/>
                  </a:lnTo>
                  <a:lnTo>
                    <a:pt x="1313" y="36319"/>
                  </a:lnTo>
                  <a:lnTo>
                    <a:pt x="1659" y="36423"/>
                  </a:lnTo>
                  <a:lnTo>
                    <a:pt x="2004" y="36527"/>
                  </a:lnTo>
                  <a:lnTo>
                    <a:pt x="2350" y="36596"/>
                  </a:lnTo>
                  <a:lnTo>
                    <a:pt x="3110" y="36734"/>
                  </a:lnTo>
                  <a:lnTo>
                    <a:pt x="3905" y="36803"/>
                  </a:lnTo>
                  <a:lnTo>
                    <a:pt x="4769" y="36838"/>
                  </a:lnTo>
                  <a:lnTo>
                    <a:pt x="8674" y="36838"/>
                  </a:lnTo>
                  <a:lnTo>
                    <a:pt x="9192" y="36872"/>
                  </a:lnTo>
                  <a:lnTo>
                    <a:pt x="9676" y="36941"/>
                  </a:lnTo>
                  <a:lnTo>
                    <a:pt x="10125" y="37011"/>
                  </a:lnTo>
                  <a:lnTo>
                    <a:pt x="10540" y="37080"/>
                  </a:lnTo>
                  <a:lnTo>
                    <a:pt x="10954" y="37218"/>
                  </a:lnTo>
                  <a:lnTo>
                    <a:pt x="11300" y="37356"/>
                  </a:lnTo>
                  <a:lnTo>
                    <a:pt x="11646" y="37529"/>
                  </a:lnTo>
                  <a:lnTo>
                    <a:pt x="12095" y="37702"/>
                  </a:lnTo>
                  <a:lnTo>
                    <a:pt x="12613" y="37874"/>
                  </a:lnTo>
                  <a:lnTo>
                    <a:pt x="13235" y="38047"/>
                  </a:lnTo>
                  <a:lnTo>
                    <a:pt x="13650" y="37080"/>
                  </a:lnTo>
                  <a:lnTo>
                    <a:pt x="14030" y="36078"/>
                  </a:lnTo>
                  <a:lnTo>
                    <a:pt x="14410" y="35075"/>
                  </a:lnTo>
                  <a:lnTo>
                    <a:pt x="14756" y="34004"/>
                  </a:lnTo>
                  <a:lnTo>
                    <a:pt x="15032" y="32933"/>
                  </a:lnTo>
                  <a:lnTo>
                    <a:pt x="15343" y="31827"/>
                  </a:lnTo>
                  <a:lnTo>
                    <a:pt x="15585" y="30721"/>
                  </a:lnTo>
                  <a:lnTo>
                    <a:pt x="15827" y="29581"/>
                  </a:lnTo>
                  <a:lnTo>
                    <a:pt x="16034" y="28406"/>
                  </a:lnTo>
                  <a:lnTo>
                    <a:pt x="16242" y="27231"/>
                  </a:lnTo>
                  <a:lnTo>
                    <a:pt x="16414" y="26056"/>
                  </a:lnTo>
                  <a:lnTo>
                    <a:pt x="16553" y="24847"/>
                  </a:lnTo>
                  <a:lnTo>
                    <a:pt x="16795" y="22428"/>
                  </a:lnTo>
                  <a:lnTo>
                    <a:pt x="16967" y="19974"/>
                  </a:lnTo>
                  <a:lnTo>
                    <a:pt x="17071" y="17521"/>
                  </a:lnTo>
                  <a:lnTo>
                    <a:pt x="17140" y="15033"/>
                  </a:lnTo>
                  <a:lnTo>
                    <a:pt x="17106" y="12614"/>
                  </a:lnTo>
                  <a:lnTo>
                    <a:pt x="17036" y="10195"/>
                  </a:lnTo>
                  <a:lnTo>
                    <a:pt x="16933" y="7810"/>
                  </a:lnTo>
                  <a:lnTo>
                    <a:pt x="16795" y="5495"/>
                  </a:lnTo>
                  <a:lnTo>
                    <a:pt x="16622" y="3283"/>
                  </a:lnTo>
                  <a:lnTo>
                    <a:pt x="16414" y="1141"/>
                  </a:lnTo>
                  <a:lnTo>
                    <a:pt x="15585" y="1072"/>
                  </a:lnTo>
                  <a:lnTo>
                    <a:pt x="14859" y="968"/>
                  </a:lnTo>
                  <a:lnTo>
                    <a:pt x="14203" y="865"/>
                  </a:lnTo>
                  <a:lnTo>
                    <a:pt x="13650" y="761"/>
                  </a:lnTo>
                  <a:lnTo>
                    <a:pt x="13235" y="588"/>
                  </a:lnTo>
                  <a:lnTo>
                    <a:pt x="13097" y="519"/>
                  </a:lnTo>
                  <a:lnTo>
                    <a:pt x="12959" y="415"/>
                  </a:lnTo>
                  <a:lnTo>
                    <a:pt x="12890" y="312"/>
                  </a:lnTo>
                  <a:lnTo>
                    <a:pt x="12855" y="208"/>
                  </a:lnTo>
                  <a:lnTo>
                    <a:pt x="12855" y="104"/>
                  </a:lnTo>
                  <a:lnTo>
                    <a:pt x="12890" y="1"/>
                  </a:lnTo>
                  <a:close/>
                </a:path>
              </a:pathLst>
            </a:custGeom>
            <a:solidFill>
              <a:srgbClr val="BD450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8" name="Google Shape;1615;p16">
              <a:extLst>
                <a:ext uri="{FF2B5EF4-FFF2-40B4-BE49-F238E27FC236}">
                  <a16:creationId xmlns:a16="http://schemas.microsoft.com/office/drawing/2014/main" id="{48F5250E-F7C2-1556-B645-1D6325E2F947}"/>
                </a:ext>
              </a:extLst>
            </p:cNvPr>
            <p:cNvSpPr/>
            <p:nvPr/>
          </p:nvSpPr>
          <p:spPr>
            <a:xfrm>
              <a:off x="785450" y="3273025"/>
              <a:ext cx="428525" cy="951200"/>
            </a:xfrm>
            <a:custGeom>
              <a:avLst/>
              <a:gdLst/>
              <a:ahLst/>
              <a:cxnLst/>
              <a:rect l="l" t="t" r="r" b="b"/>
              <a:pathLst>
                <a:path w="17141" h="38048" fill="none" extrusionOk="0">
                  <a:moveTo>
                    <a:pt x="12890" y="1"/>
                  </a:moveTo>
                  <a:lnTo>
                    <a:pt x="12890" y="1"/>
                  </a:lnTo>
                  <a:lnTo>
                    <a:pt x="12302" y="968"/>
                  </a:lnTo>
                  <a:lnTo>
                    <a:pt x="11784" y="1970"/>
                  </a:lnTo>
                  <a:lnTo>
                    <a:pt x="11335" y="2972"/>
                  </a:lnTo>
                  <a:lnTo>
                    <a:pt x="10920" y="3940"/>
                  </a:lnTo>
                  <a:lnTo>
                    <a:pt x="10574" y="4942"/>
                  </a:lnTo>
                  <a:lnTo>
                    <a:pt x="10263" y="5979"/>
                  </a:lnTo>
                  <a:lnTo>
                    <a:pt x="9987" y="6981"/>
                  </a:lnTo>
                  <a:lnTo>
                    <a:pt x="9710" y="7983"/>
                  </a:lnTo>
                  <a:lnTo>
                    <a:pt x="9503" y="9020"/>
                  </a:lnTo>
                  <a:lnTo>
                    <a:pt x="9296" y="10057"/>
                  </a:lnTo>
                  <a:lnTo>
                    <a:pt x="8950" y="12130"/>
                  </a:lnTo>
                  <a:lnTo>
                    <a:pt x="8639" y="14272"/>
                  </a:lnTo>
                  <a:lnTo>
                    <a:pt x="8294" y="16415"/>
                  </a:lnTo>
                  <a:lnTo>
                    <a:pt x="7914" y="18592"/>
                  </a:lnTo>
                  <a:lnTo>
                    <a:pt x="7672" y="19732"/>
                  </a:lnTo>
                  <a:lnTo>
                    <a:pt x="7430" y="20838"/>
                  </a:lnTo>
                  <a:lnTo>
                    <a:pt x="7119" y="21979"/>
                  </a:lnTo>
                  <a:lnTo>
                    <a:pt x="6773" y="23119"/>
                  </a:lnTo>
                  <a:lnTo>
                    <a:pt x="6393" y="24294"/>
                  </a:lnTo>
                  <a:lnTo>
                    <a:pt x="5944" y="25469"/>
                  </a:lnTo>
                  <a:lnTo>
                    <a:pt x="5460" y="26644"/>
                  </a:lnTo>
                  <a:lnTo>
                    <a:pt x="4907" y="27853"/>
                  </a:lnTo>
                  <a:lnTo>
                    <a:pt x="4285" y="29063"/>
                  </a:lnTo>
                  <a:lnTo>
                    <a:pt x="3594" y="30307"/>
                  </a:lnTo>
                  <a:lnTo>
                    <a:pt x="2834" y="31551"/>
                  </a:lnTo>
                  <a:lnTo>
                    <a:pt x="1970" y="32795"/>
                  </a:lnTo>
                  <a:lnTo>
                    <a:pt x="1037" y="34073"/>
                  </a:lnTo>
                  <a:lnTo>
                    <a:pt x="0" y="35386"/>
                  </a:lnTo>
                  <a:lnTo>
                    <a:pt x="0" y="35386"/>
                  </a:lnTo>
                  <a:lnTo>
                    <a:pt x="207" y="35628"/>
                  </a:lnTo>
                  <a:lnTo>
                    <a:pt x="449" y="35836"/>
                  </a:lnTo>
                  <a:lnTo>
                    <a:pt x="726" y="36008"/>
                  </a:lnTo>
                  <a:lnTo>
                    <a:pt x="1002" y="36181"/>
                  </a:lnTo>
                  <a:lnTo>
                    <a:pt x="1313" y="36319"/>
                  </a:lnTo>
                  <a:lnTo>
                    <a:pt x="1659" y="36423"/>
                  </a:lnTo>
                  <a:lnTo>
                    <a:pt x="2004" y="36527"/>
                  </a:lnTo>
                  <a:lnTo>
                    <a:pt x="2350" y="36596"/>
                  </a:lnTo>
                  <a:lnTo>
                    <a:pt x="3110" y="36734"/>
                  </a:lnTo>
                  <a:lnTo>
                    <a:pt x="3905" y="36803"/>
                  </a:lnTo>
                  <a:lnTo>
                    <a:pt x="4769" y="36838"/>
                  </a:lnTo>
                  <a:lnTo>
                    <a:pt x="5598" y="36838"/>
                  </a:lnTo>
                  <a:lnTo>
                    <a:pt x="5598" y="36838"/>
                  </a:lnTo>
                  <a:lnTo>
                    <a:pt x="6600" y="36838"/>
                  </a:lnTo>
                  <a:lnTo>
                    <a:pt x="6600" y="36838"/>
                  </a:lnTo>
                  <a:lnTo>
                    <a:pt x="7568" y="36838"/>
                  </a:lnTo>
                  <a:lnTo>
                    <a:pt x="7568" y="36838"/>
                  </a:lnTo>
                  <a:lnTo>
                    <a:pt x="8674" y="36838"/>
                  </a:lnTo>
                  <a:lnTo>
                    <a:pt x="9192" y="36872"/>
                  </a:lnTo>
                  <a:lnTo>
                    <a:pt x="9676" y="36941"/>
                  </a:lnTo>
                  <a:lnTo>
                    <a:pt x="10125" y="37011"/>
                  </a:lnTo>
                  <a:lnTo>
                    <a:pt x="10540" y="37080"/>
                  </a:lnTo>
                  <a:lnTo>
                    <a:pt x="10954" y="37218"/>
                  </a:lnTo>
                  <a:lnTo>
                    <a:pt x="11300" y="37356"/>
                  </a:lnTo>
                  <a:lnTo>
                    <a:pt x="11300" y="37356"/>
                  </a:lnTo>
                  <a:lnTo>
                    <a:pt x="11646" y="37529"/>
                  </a:lnTo>
                  <a:lnTo>
                    <a:pt x="12095" y="37702"/>
                  </a:lnTo>
                  <a:lnTo>
                    <a:pt x="12613" y="37874"/>
                  </a:lnTo>
                  <a:lnTo>
                    <a:pt x="13235" y="38047"/>
                  </a:lnTo>
                  <a:lnTo>
                    <a:pt x="13235" y="38047"/>
                  </a:lnTo>
                  <a:lnTo>
                    <a:pt x="13650" y="37080"/>
                  </a:lnTo>
                  <a:lnTo>
                    <a:pt x="14030" y="36078"/>
                  </a:lnTo>
                  <a:lnTo>
                    <a:pt x="14410" y="35075"/>
                  </a:lnTo>
                  <a:lnTo>
                    <a:pt x="14756" y="34004"/>
                  </a:lnTo>
                  <a:lnTo>
                    <a:pt x="15032" y="32933"/>
                  </a:lnTo>
                  <a:lnTo>
                    <a:pt x="15343" y="31827"/>
                  </a:lnTo>
                  <a:lnTo>
                    <a:pt x="15585" y="30721"/>
                  </a:lnTo>
                  <a:lnTo>
                    <a:pt x="15827" y="29581"/>
                  </a:lnTo>
                  <a:lnTo>
                    <a:pt x="16034" y="28406"/>
                  </a:lnTo>
                  <a:lnTo>
                    <a:pt x="16242" y="27231"/>
                  </a:lnTo>
                  <a:lnTo>
                    <a:pt x="16414" y="26056"/>
                  </a:lnTo>
                  <a:lnTo>
                    <a:pt x="16553" y="24847"/>
                  </a:lnTo>
                  <a:lnTo>
                    <a:pt x="16795" y="22428"/>
                  </a:lnTo>
                  <a:lnTo>
                    <a:pt x="16967" y="19974"/>
                  </a:lnTo>
                  <a:lnTo>
                    <a:pt x="17071" y="17521"/>
                  </a:lnTo>
                  <a:lnTo>
                    <a:pt x="17140" y="15033"/>
                  </a:lnTo>
                  <a:lnTo>
                    <a:pt x="17106" y="12614"/>
                  </a:lnTo>
                  <a:lnTo>
                    <a:pt x="17036" y="10195"/>
                  </a:lnTo>
                  <a:lnTo>
                    <a:pt x="16933" y="7810"/>
                  </a:lnTo>
                  <a:lnTo>
                    <a:pt x="16795" y="5495"/>
                  </a:lnTo>
                  <a:lnTo>
                    <a:pt x="16622" y="3283"/>
                  </a:lnTo>
                  <a:lnTo>
                    <a:pt x="16414" y="1141"/>
                  </a:lnTo>
                  <a:lnTo>
                    <a:pt x="16414" y="1141"/>
                  </a:lnTo>
                  <a:lnTo>
                    <a:pt x="16414" y="1141"/>
                  </a:lnTo>
                  <a:lnTo>
                    <a:pt x="15585" y="1072"/>
                  </a:lnTo>
                  <a:lnTo>
                    <a:pt x="14859" y="968"/>
                  </a:lnTo>
                  <a:lnTo>
                    <a:pt x="14203" y="865"/>
                  </a:lnTo>
                  <a:lnTo>
                    <a:pt x="13650" y="761"/>
                  </a:lnTo>
                  <a:lnTo>
                    <a:pt x="13235" y="588"/>
                  </a:lnTo>
                  <a:lnTo>
                    <a:pt x="13097" y="519"/>
                  </a:lnTo>
                  <a:lnTo>
                    <a:pt x="12959" y="415"/>
                  </a:lnTo>
                  <a:lnTo>
                    <a:pt x="12890" y="312"/>
                  </a:lnTo>
                  <a:lnTo>
                    <a:pt x="12855" y="208"/>
                  </a:lnTo>
                  <a:lnTo>
                    <a:pt x="12855" y="104"/>
                  </a:lnTo>
                  <a:lnTo>
                    <a:pt x="1289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9" name="Google Shape;1616;p16">
              <a:extLst>
                <a:ext uri="{FF2B5EF4-FFF2-40B4-BE49-F238E27FC236}">
                  <a16:creationId xmlns:a16="http://schemas.microsoft.com/office/drawing/2014/main" id="{51762DEA-F3C7-AF9D-4B9B-D0AFF15DA9DD}"/>
                </a:ext>
              </a:extLst>
            </p:cNvPr>
            <p:cNvSpPr/>
            <p:nvPr/>
          </p:nvSpPr>
          <p:spPr>
            <a:xfrm>
              <a:off x="1106825" y="3095075"/>
              <a:ext cx="89000" cy="206475"/>
            </a:xfrm>
            <a:custGeom>
              <a:avLst/>
              <a:gdLst/>
              <a:ahLst/>
              <a:cxnLst/>
              <a:rect l="l" t="t" r="r" b="b"/>
              <a:pathLst>
                <a:path w="3560" h="8259" extrusionOk="0">
                  <a:moveTo>
                    <a:pt x="2488" y="0"/>
                  </a:moveTo>
                  <a:lnTo>
                    <a:pt x="2384" y="795"/>
                  </a:lnTo>
                  <a:lnTo>
                    <a:pt x="2246" y="1590"/>
                  </a:lnTo>
                  <a:lnTo>
                    <a:pt x="2039" y="2557"/>
                  </a:lnTo>
                  <a:lnTo>
                    <a:pt x="1762" y="3525"/>
                  </a:lnTo>
                  <a:lnTo>
                    <a:pt x="1417" y="4492"/>
                  </a:lnTo>
                  <a:lnTo>
                    <a:pt x="1037" y="5425"/>
                  </a:lnTo>
                  <a:lnTo>
                    <a:pt x="588" y="6255"/>
                  </a:lnTo>
                  <a:lnTo>
                    <a:pt x="346" y="6669"/>
                  </a:lnTo>
                  <a:lnTo>
                    <a:pt x="69" y="7050"/>
                  </a:lnTo>
                  <a:lnTo>
                    <a:pt x="35" y="7119"/>
                  </a:lnTo>
                  <a:lnTo>
                    <a:pt x="0" y="7222"/>
                  </a:lnTo>
                  <a:lnTo>
                    <a:pt x="0" y="7326"/>
                  </a:lnTo>
                  <a:lnTo>
                    <a:pt x="35" y="7430"/>
                  </a:lnTo>
                  <a:lnTo>
                    <a:pt x="104" y="7533"/>
                  </a:lnTo>
                  <a:lnTo>
                    <a:pt x="242" y="7637"/>
                  </a:lnTo>
                  <a:lnTo>
                    <a:pt x="380" y="7706"/>
                  </a:lnTo>
                  <a:lnTo>
                    <a:pt x="795" y="7879"/>
                  </a:lnTo>
                  <a:lnTo>
                    <a:pt x="1348" y="7983"/>
                  </a:lnTo>
                  <a:lnTo>
                    <a:pt x="2004" y="8086"/>
                  </a:lnTo>
                  <a:lnTo>
                    <a:pt x="2730" y="8190"/>
                  </a:lnTo>
                  <a:lnTo>
                    <a:pt x="3559" y="8259"/>
                  </a:lnTo>
                  <a:lnTo>
                    <a:pt x="3387" y="6428"/>
                  </a:lnTo>
                  <a:lnTo>
                    <a:pt x="3179" y="4700"/>
                  </a:lnTo>
                  <a:lnTo>
                    <a:pt x="2834" y="2212"/>
                  </a:lnTo>
                  <a:lnTo>
                    <a:pt x="2488" y="0"/>
                  </a:lnTo>
                  <a:close/>
                </a:path>
              </a:pathLst>
            </a:custGeom>
            <a:solidFill>
              <a:srgbClr val="E6A50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0" name="Google Shape;1617;p16">
              <a:extLst>
                <a:ext uri="{FF2B5EF4-FFF2-40B4-BE49-F238E27FC236}">
                  <a16:creationId xmlns:a16="http://schemas.microsoft.com/office/drawing/2014/main" id="{6F8A0979-A539-A738-DB18-E053D1DC5409}"/>
                </a:ext>
              </a:extLst>
            </p:cNvPr>
            <p:cNvSpPr/>
            <p:nvPr/>
          </p:nvSpPr>
          <p:spPr>
            <a:xfrm>
              <a:off x="1106825" y="3095075"/>
              <a:ext cx="89000" cy="206475"/>
            </a:xfrm>
            <a:custGeom>
              <a:avLst/>
              <a:gdLst/>
              <a:ahLst/>
              <a:cxnLst/>
              <a:rect l="l" t="t" r="r" b="b"/>
              <a:pathLst>
                <a:path w="3560" h="8259" fill="none" extrusionOk="0">
                  <a:moveTo>
                    <a:pt x="2488" y="0"/>
                  </a:moveTo>
                  <a:lnTo>
                    <a:pt x="2488" y="0"/>
                  </a:lnTo>
                  <a:lnTo>
                    <a:pt x="2384" y="795"/>
                  </a:lnTo>
                  <a:lnTo>
                    <a:pt x="2246" y="1590"/>
                  </a:lnTo>
                  <a:lnTo>
                    <a:pt x="2246" y="1590"/>
                  </a:lnTo>
                  <a:lnTo>
                    <a:pt x="2039" y="2557"/>
                  </a:lnTo>
                  <a:lnTo>
                    <a:pt x="1762" y="3525"/>
                  </a:lnTo>
                  <a:lnTo>
                    <a:pt x="1762" y="3525"/>
                  </a:lnTo>
                  <a:lnTo>
                    <a:pt x="1417" y="4492"/>
                  </a:lnTo>
                  <a:lnTo>
                    <a:pt x="1037" y="5425"/>
                  </a:lnTo>
                  <a:lnTo>
                    <a:pt x="588" y="6255"/>
                  </a:lnTo>
                  <a:lnTo>
                    <a:pt x="346" y="6669"/>
                  </a:lnTo>
                  <a:lnTo>
                    <a:pt x="69" y="7050"/>
                  </a:lnTo>
                  <a:lnTo>
                    <a:pt x="69" y="7050"/>
                  </a:lnTo>
                  <a:lnTo>
                    <a:pt x="35" y="7119"/>
                  </a:lnTo>
                  <a:lnTo>
                    <a:pt x="35" y="7119"/>
                  </a:lnTo>
                  <a:lnTo>
                    <a:pt x="35" y="7119"/>
                  </a:lnTo>
                  <a:lnTo>
                    <a:pt x="35" y="7119"/>
                  </a:lnTo>
                  <a:lnTo>
                    <a:pt x="35" y="7119"/>
                  </a:lnTo>
                  <a:lnTo>
                    <a:pt x="0" y="7222"/>
                  </a:lnTo>
                  <a:lnTo>
                    <a:pt x="0" y="7326"/>
                  </a:lnTo>
                  <a:lnTo>
                    <a:pt x="35" y="7430"/>
                  </a:lnTo>
                  <a:lnTo>
                    <a:pt x="104" y="7533"/>
                  </a:lnTo>
                  <a:lnTo>
                    <a:pt x="242" y="7637"/>
                  </a:lnTo>
                  <a:lnTo>
                    <a:pt x="380" y="7706"/>
                  </a:lnTo>
                  <a:lnTo>
                    <a:pt x="795" y="7879"/>
                  </a:lnTo>
                  <a:lnTo>
                    <a:pt x="1348" y="7983"/>
                  </a:lnTo>
                  <a:lnTo>
                    <a:pt x="2004" y="8086"/>
                  </a:lnTo>
                  <a:lnTo>
                    <a:pt x="2730" y="8190"/>
                  </a:lnTo>
                  <a:lnTo>
                    <a:pt x="3559" y="8259"/>
                  </a:lnTo>
                  <a:lnTo>
                    <a:pt x="3559" y="8259"/>
                  </a:lnTo>
                  <a:lnTo>
                    <a:pt x="3387" y="6428"/>
                  </a:lnTo>
                  <a:lnTo>
                    <a:pt x="3179" y="4700"/>
                  </a:lnTo>
                  <a:lnTo>
                    <a:pt x="3179" y="4700"/>
                  </a:lnTo>
                  <a:lnTo>
                    <a:pt x="2834" y="2212"/>
                  </a:lnTo>
                  <a:lnTo>
                    <a:pt x="248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1" name="Google Shape;1618;p16">
              <a:extLst>
                <a:ext uri="{FF2B5EF4-FFF2-40B4-BE49-F238E27FC236}">
                  <a16:creationId xmlns:a16="http://schemas.microsoft.com/office/drawing/2014/main" id="{0F8891EB-9E9A-C3DF-5F82-DD513D0DD8C6}"/>
                </a:ext>
              </a:extLst>
            </p:cNvPr>
            <p:cNvSpPr/>
            <p:nvPr/>
          </p:nvSpPr>
          <p:spPr>
            <a:xfrm>
              <a:off x="1180250" y="2334825"/>
              <a:ext cx="218600" cy="170200"/>
            </a:xfrm>
            <a:custGeom>
              <a:avLst/>
              <a:gdLst/>
              <a:ahLst/>
              <a:cxnLst/>
              <a:rect l="l" t="t" r="r" b="b"/>
              <a:pathLst>
                <a:path w="8744" h="6808" extrusionOk="0">
                  <a:moveTo>
                    <a:pt x="4389" y="0"/>
                  </a:moveTo>
                  <a:lnTo>
                    <a:pt x="0" y="2316"/>
                  </a:lnTo>
                  <a:lnTo>
                    <a:pt x="622" y="3076"/>
                  </a:lnTo>
                  <a:lnTo>
                    <a:pt x="2316" y="5253"/>
                  </a:lnTo>
                  <a:lnTo>
                    <a:pt x="2592" y="5599"/>
                  </a:lnTo>
                  <a:lnTo>
                    <a:pt x="2869" y="5875"/>
                  </a:lnTo>
                  <a:lnTo>
                    <a:pt x="3180" y="6117"/>
                  </a:lnTo>
                  <a:lnTo>
                    <a:pt x="3491" y="6324"/>
                  </a:lnTo>
                  <a:lnTo>
                    <a:pt x="3836" y="6497"/>
                  </a:lnTo>
                  <a:lnTo>
                    <a:pt x="4182" y="6635"/>
                  </a:lnTo>
                  <a:lnTo>
                    <a:pt x="4527" y="6739"/>
                  </a:lnTo>
                  <a:lnTo>
                    <a:pt x="4907" y="6773"/>
                  </a:lnTo>
                  <a:lnTo>
                    <a:pt x="5288" y="6808"/>
                  </a:lnTo>
                  <a:lnTo>
                    <a:pt x="6048" y="6808"/>
                  </a:lnTo>
                  <a:lnTo>
                    <a:pt x="6428" y="6739"/>
                  </a:lnTo>
                  <a:lnTo>
                    <a:pt x="6843" y="6670"/>
                  </a:lnTo>
                  <a:lnTo>
                    <a:pt x="7223" y="6601"/>
                  </a:lnTo>
                  <a:lnTo>
                    <a:pt x="8017" y="6359"/>
                  </a:lnTo>
                  <a:lnTo>
                    <a:pt x="8225" y="6290"/>
                  </a:lnTo>
                  <a:lnTo>
                    <a:pt x="8363" y="6186"/>
                  </a:lnTo>
                  <a:lnTo>
                    <a:pt x="8501" y="6082"/>
                  </a:lnTo>
                  <a:lnTo>
                    <a:pt x="8605" y="5979"/>
                  </a:lnTo>
                  <a:lnTo>
                    <a:pt x="8674" y="5875"/>
                  </a:lnTo>
                  <a:lnTo>
                    <a:pt x="8709" y="5737"/>
                  </a:lnTo>
                  <a:lnTo>
                    <a:pt x="8743" y="5599"/>
                  </a:lnTo>
                  <a:lnTo>
                    <a:pt x="8743" y="5460"/>
                  </a:lnTo>
                  <a:lnTo>
                    <a:pt x="8674" y="5149"/>
                  </a:lnTo>
                  <a:lnTo>
                    <a:pt x="8570" y="4838"/>
                  </a:lnTo>
                  <a:lnTo>
                    <a:pt x="8398" y="4493"/>
                  </a:lnTo>
                  <a:lnTo>
                    <a:pt x="8190" y="4182"/>
                  </a:lnTo>
                  <a:lnTo>
                    <a:pt x="7776" y="3525"/>
                  </a:lnTo>
                  <a:lnTo>
                    <a:pt x="7361" y="2938"/>
                  </a:lnTo>
                  <a:lnTo>
                    <a:pt x="7188" y="2696"/>
                  </a:lnTo>
                  <a:lnTo>
                    <a:pt x="7084" y="2488"/>
                  </a:lnTo>
                  <a:lnTo>
                    <a:pt x="7050" y="2316"/>
                  </a:lnTo>
                  <a:lnTo>
                    <a:pt x="7050" y="2247"/>
                  </a:lnTo>
                  <a:lnTo>
                    <a:pt x="7084" y="2212"/>
                  </a:lnTo>
                  <a:lnTo>
                    <a:pt x="7154" y="2108"/>
                  </a:lnTo>
                  <a:lnTo>
                    <a:pt x="7188" y="2005"/>
                  </a:lnTo>
                  <a:lnTo>
                    <a:pt x="7154" y="1901"/>
                  </a:lnTo>
                  <a:lnTo>
                    <a:pt x="7119" y="1797"/>
                  </a:lnTo>
                  <a:lnTo>
                    <a:pt x="7050" y="1728"/>
                  </a:lnTo>
                  <a:lnTo>
                    <a:pt x="6912" y="1625"/>
                  </a:lnTo>
                  <a:lnTo>
                    <a:pt x="6566" y="1417"/>
                  </a:lnTo>
                  <a:lnTo>
                    <a:pt x="5633" y="864"/>
                  </a:lnTo>
                  <a:lnTo>
                    <a:pt x="5011" y="484"/>
                  </a:lnTo>
                  <a:lnTo>
                    <a:pt x="4389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2" name="Google Shape;1619;p16">
              <a:extLst>
                <a:ext uri="{FF2B5EF4-FFF2-40B4-BE49-F238E27FC236}">
                  <a16:creationId xmlns:a16="http://schemas.microsoft.com/office/drawing/2014/main" id="{EAB2F5BC-E281-E597-E5F6-C8352B5CB4B8}"/>
                </a:ext>
              </a:extLst>
            </p:cNvPr>
            <p:cNvSpPr/>
            <p:nvPr/>
          </p:nvSpPr>
          <p:spPr>
            <a:xfrm>
              <a:off x="836400" y="2294225"/>
              <a:ext cx="466550" cy="533925"/>
            </a:xfrm>
            <a:custGeom>
              <a:avLst/>
              <a:gdLst/>
              <a:ahLst/>
              <a:cxnLst/>
              <a:rect l="l" t="t" r="r" b="b"/>
              <a:pathLst>
                <a:path w="18662" h="21357" extrusionOk="0">
                  <a:moveTo>
                    <a:pt x="15206" y="0"/>
                  </a:moveTo>
                  <a:lnTo>
                    <a:pt x="14826" y="35"/>
                  </a:lnTo>
                  <a:lnTo>
                    <a:pt x="14446" y="104"/>
                  </a:lnTo>
                  <a:lnTo>
                    <a:pt x="14031" y="208"/>
                  </a:lnTo>
                  <a:lnTo>
                    <a:pt x="13616" y="311"/>
                  </a:lnTo>
                  <a:lnTo>
                    <a:pt x="13167" y="484"/>
                  </a:lnTo>
                  <a:lnTo>
                    <a:pt x="12683" y="691"/>
                  </a:lnTo>
                  <a:lnTo>
                    <a:pt x="12338" y="864"/>
                  </a:lnTo>
                  <a:lnTo>
                    <a:pt x="12027" y="1037"/>
                  </a:lnTo>
                  <a:lnTo>
                    <a:pt x="11750" y="1244"/>
                  </a:lnTo>
                  <a:lnTo>
                    <a:pt x="11508" y="1486"/>
                  </a:lnTo>
                  <a:lnTo>
                    <a:pt x="11266" y="1763"/>
                  </a:lnTo>
                  <a:lnTo>
                    <a:pt x="11059" y="2005"/>
                  </a:lnTo>
                  <a:lnTo>
                    <a:pt x="10886" y="2316"/>
                  </a:lnTo>
                  <a:lnTo>
                    <a:pt x="10713" y="2592"/>
                  </a:lnTo>
                  <a:lnTo>
                    <a:pt x="10575" y="2903"/>
                  </a:lnTo>
                  <a:lnTo>
                    <a:pt x="10472" y="3249"/>
                  </a:lnTo>
                  <a:lnTo>
                    <a:pt x="10264" y="3905"/>
                  </a:lnTo>
                  <a:lnTo>
                    <a:pt x="10126" y="4596"/>
                  </a:lnTo>
                  <a:lnTo>
                    <a:pt x="10022" y="5287"/>
                  </a:lnTo>
                  <a:lnTo>
                    <a:pt x="9953" y="5978"/>
                  </a:lnTo>
                  <a:lnTo>
                    <a:pt x="9919" y="6635"/>
                  </a:lnTo>
                  <a:lnTo>
                    <a:pt x="9850" y="7810"/>
                  </a:lnTo>
                  <a:lnTo>
                    <a:pt x="9815" y="8328"/>
                  </a:lnTo>
                  <a:lnTo>
                    <a:pt x="9780" y="8778"/>
                  </a:lnTo>
                  <a:lnTo>
                    <a:pt x="9711" y="9123"/>
                  </a:lnTo>
                  <a:lnTo>
                    <a:pt x="9677" y="9227"/>
                  </a:lnTo>
                  <a:lnTo>
                    <a:pt x="9608" y="9330"/>
                  </a:lnTo>
                  <a:lnTo>
                    <a:pt x="9469" y="9503"/>
                  </a:lnTo>
                  <a:lnTo>
                    <a:pt x="9331" y="9641"/>
                  </a:lnTo>
                  <a:lnTo>
                    <a:pt x="9193" y="9745"/>
                  </a:lnTo>
                  <a:lnTo>
                    <a:pt x="9055" y="9849"/>
                  </a:lnTo>
                  <a:lnTo>
                    <a:pt x="8709" y="9987"/>
                  </a:lnTo>
                  <a:lnTo>
                    <a:pt x="8329" y="10091"/>
                  </a:lnTo>
                  <a:lnTo>
                    <a:pt x="7811" y="10263"/>
                  </a:lnTo>
                  <a:lnTo>
                    <a:pt x="7154" y="10505"/>
                  </a:lnTo>
                  <a:lnTo>
                    <a:pt x="6359" y="10885"/>
                  </a:lnTo>
                  <a:lnTo>
                    <a:pt x="5357" y="11438"/>
                  </a:lnTo>
                  <a:lnTo>
                    <a:pt x="4873" y="11749"/>
                  </a:lnTo>
                  <a:lnTo>
                    <a:pt x="4493" y="12095"/>
                  </a:lnTo>
                  <a:lnTo>
                    <a:pt x="4217" y="12406"/>
                  </a:lnTo>
                  <a:lnTo>
                    <a:pt x="4044" y="12717"/>
                  </a:lnTo>
                  <a:lnTo>
                    <a:pt x="3940" y="13028"/>
                  </a:lnTo>
                  <a:lnTo>
                    <a:pt x="3906" y="13339"/>
                  </a:lnTo>
                  <a:lnTo>
                    <a:pt x="3906" y="13650"/>
                  </a:lnTo>
                  <a:lnTo>
                    <a:pt x="3975" y="13926"/>
                  </a:lnTo>
                  <a:lnTo>
                    <a:pt x="4148" y="14479"/>
                  </a:lnTo>
                  <a:lnTo>
                    <a:pt x="4286" y="14998"/>
                  </a:lnTo>
                  <a:lnTo>
                    <a:pt x="4355" y="15205"/>
                  </a:lnTo>
                  <a:lnTo>
                    <a:pt x="4355" y="15447"/>
                  </a:lnTo>
                  <a:lnTo>
                    <a:pt x="4286" y="15620"/>
                  </a:lnTo>
                  <a:lnTo>
                    <a:pt x="4182" y="15793"/>
                  </a:lnTo>
                  <a:lnTo>
                    <a:pt x="4044" y="15931"/>
                  </a:lnTo>
                  <a:lnTo>
                    <a:pt x="3906" y="16034"/>
                  </a:lnTo>
                  <a:lnTo>
                    <a:pt x="3595" y="16207"/>
                  </a:lnTo>
                  <a:lnTo>
                    <a:pt x="3318" y="16276"/>
                  </a:lnTo>
                  <a:lnTo>
                    <a:pt x="3007" y="16345"/>
                  </a:lnTo>
                  <a:lnTo>
                    <a:pt x="2662" y="16415"/>
                  </a:lnTo>
                  <a:lnTo>
                    <a:pt x="2351" y="16553"/>
                  </a:lnTo>
                  <a:lnTo>
                    <a:pt x="2005" y="16726"/>
                  </a:lnTo>
                  <a:lnTo>
                    <a:pt x="1832" y="16864"/>
                  </a:lnTo>
                  <a:lnTo>
                    <a:pt x="1625" y="17037"/>
                  </a:lnTo>
                  <a:lnTo>
                    <a:pt x="1280" y="17451"/>
                  </a:lnTo>
                  <a:lnTo>
                    <a:pt x="934" y="17935"/>
                  </a:lnTo>
                  <a:lnTo>
                    <a:pt x="588" y="18453"/>
                  </a:lnTo>
                  <a:lnTo>
                    <a:pt x="347" y="19006"/>
                  </a:lnTo>
                  <a:lnTo>
                    <a:pt x="139" y="19525"/>
                  </a:lnTo>
                  <a:lnTo>
                    <a:pt x="70" y="19766"/>
                  </a:lnTo>
                  <a:lnTo>
                    <a:pt x="36" y="20008"/>
                  </a:lnTo>
                  <a:lnTo>
                    <a:pt x="1" y="20250"/>
                  </a:lnTo>
                  <a:lnTo>
                    <a:pt x="1" y="20423"/>
                  </a:lnTo>
                  <a:lnTo>
                    <a:pt x="70" y="20596"/>
                  </a:lnTo>
                  <a:lnTo>
                    <a:pt x="139" y="20769"/>
                  </a:lnTo>
                  <a:lnTo>
                    <a:pt x="277" y="20941"/>
                  </a:lnTo>
                  <a:lnTo>
                    <a:pt x="519" y="21080"/>
                  </a:lnTo>
                  <a:lnTo>
                    <a:pt x="796" y="21183"/>
                  </a:lnTo>
                  <a:lnTo>
                    <a:pt x="1107" y="21252"/>
                  </a:lnTo>
                  <a:lnTo>
                    <a:pt x="1521" y="21322"/>
                  </a:lnTo>
                  <a:lnTo>
                    <a:pt x="1936" y="21356"/>
                  </a:lnTo>
                  <a:lnTo>
                    <a:pt x="2420" y="21356"/>
                  </a:lnTo>
                  <a:lnTo>
                    <a:pt x="2938" y="21322"/>
                  </a:lnTo>
                  <a:lnTo>
                    <a:pt x="3491" y="21252"/>
                  </a:lnTo>
                  <a:lnTo>
                    <a:pt x="4079" y="21149"/>
                  </a:lnTo>
                  <a:lnTo>
                    <a:pt x="4701" y="21045"/>
                  </a:lnTo>
                  <a:lnTo>
                    <a:pt x="5323" y="20872"/>
                  </a:lnTo>
                  <a:lnTo>
                    <a:pt x="6014" y="20700"/>
                  </a:lnTo>
                  <a:lnTo>
                    <a:pt x="6670" y="20492"/>
                  </a:lnTo>
                  <a:lnTo>
                    <a:pt x="7361" y="20285"/>
                  </a:lnTo>
                  <a:lnTo>
                    <a:pt x="8087" y="20008"/>
                  </a:lnTo>
                  <a:lnTo>
                    <a:pt x="8778" y="19732"/>
                  </a:lnTo>
                  <a:lnTo>
                    <a:pt x="9469" y="19386"/>
                  </a:lnTo>
                  <a:lnTo>
                    <a:pt x="10195" y="19041"/>
                  </a:lnTo>
                  <a:lnTo>
                    <a:pt x="10886" y="18695"/>
                  </a:lnTo>
                  <a:lnTo>
                    <a:pt x="11577" y="18281"/>
                  </a:lnTo>
                  <a:lnTo>
                    <a:pt x="12268" y="17866"/>
                  </a:lnTo>
                  <a:lnTo>
                    <a:pt x="12925" y="17382"/>
                  </a:lnTo>
                  <a:lnTo>
                    <a:pt x="13547" y="16898"/>
                  </a:lnTo>
                  <a:lnTo>
                    <a:pt x="14135" y="16415"/>
                  </a:lnTo>
                  <a:lnTo>
                    <a:pt x="14687" y="15965"/>
                  </a:lnTo>
                  <a:lnTo>
                    <a:pt x="15171" y="15481"/>
                  </a:lnTo>
                  <a:lnTo>
                    <a:pt x="15620" y="15067"/>
                  </a:lnTo>
                  <a:lnTo>
                    <a:pt x="16001" y="14652"/>
                  </a:lnTo>
                  <a:lnTo>
                    <a:pt x="16346" y="14237"/>
                  </a:lnTo>
                  <a:lnTo>
                    <a:pt x="16657" y="13857"/>
                  </a:lnTo>
                  <a:lnTo>
                    <a:pt x="16899" y="13477"/>
                  </a:lnTo>
                  <a:lnTo>
                    <a:pt x="17141" y="13132"/>
                  </a:lnTo>
                  <a:lnTo>
                    <a:pt x="17314" y="12786"/>
                  </a:lnTo>
                  <a:lnTo>
                    <a:pt x="17486" y="12441"/>
                  </a:lnTo>
                  <a:lnTo>
                    <a:pt x="17590" y="12130"/>
                  </a:lnTo>
                  <a:lnTo>
                    <a:pt x="17694" y="11819"/>
                  </a:lnTo>
                  <a:lnTo>
                    <a:pt x="17763" y="11542"/>
                  </a:lnTo>
                  <a:lnTo>
                    <a:pt x="17797" y="11266"/>
                  </a:lnTo>
                  <a:lnTo>
                    <a:pt x="17797" y="10989"/>
                  </a:lnTo>
                  <a:lnTo>
                    <a:pt x="17797" y="10471"/>
                  </a:lnTo>
                  <a:lnTo>
                    <a:pt x="17728" y="10022"/>
                  </a:lnTo>
                  <a:lnTo>
                    <a:pt x="17625" y="9607"/>
                  </a:lnTo>
                  <a:lnTo>
                    <a:pt x="17486" y="9192"/>
                  </a:lnTo>
                  <a:lnTo>
                    <a:pt x="17279" y="8501"/>
                  </a:lnTo>
                  <a:lnTo>
                    <a:pt x="17210" y="8156"/>
                  </a:lnTo>
                  <a:lnTo>
                    <a:pt x="17210" y="7879"/>
                  </a:lnTo>
                  <a:lnTo>
                    <a:pt x="17210" y="7706"/>
                  </a:lnTo>
                  <a:lnTo>
                    <a:pt x="17175" y="7534"/>
                  </a:lnTo>
                  <a:lnTo>
                    <a:pt x="17106" y="7223"/>
                  </a:lnTo>
                  <a:lnTo>
                    <a:pt x="17037" y="7050"/>
                  </a:lnTo>
                  <a:lnTo>
                    <a:pt x="16934" y="6912"/>
                  </a:lnTo>
                  <a:lnTo>
                    <a:pt x="16830" y="6808"/>
                  </a:lnTo>
                  <a:lnTo>
                    <a:pt x="16692" y="6704"/>
                  </a:lnTo>
                  <a:lnTo>
                    <a:pt x="16277" y="6497"/>
                  </a:lnTo>
                  <a:lnTo>
                    <a:pt x="16070" y="6359"/>
                  </a:lnTo>
                  <a:lnTo>
                    <a:pt x="15897" y="6220"/>
                  </a:lnTo>
                  <a:lnTo>
                    <a:pt x="15724" y="6082"/>
                  </a:lnTo>
                  <a:lnTo>
                    <a:pt x="15655" y="5909"/>
                  </a:lnTo>
                  <a:lnTo>
                    <a:pt x="15620" y="5806"/>
                  </a:lnTo>
                  <a:lnTo>
                    <a:pt x="15620" y="5702"/>
                  </a:lnTo>
                  <a:lnTo>
                    <a:pt x="15655" y="5598"/>
                  </a:lnTo>
                  <a:lnTo>
                    <a:pt x="15724" y="5495"/>
                  </a:lnTo>
                  <a:lnTo>
                    <a:pt x="15828" y="5322"/>
                  </a:lnTo>
                  <a:lnTo>
                    <a:pt x="15966" y="5184"/>
                  </a:lnTo>
                  <a:lnTo>
                    <a:pt x="16104" y="5080"/>
                  </a:lnTo>
                  <a:lnTo>
                    <a:pt x="16242" y="5011"/>
                  </a:lnTo>
                  <a:lnTo>
                    <a:pt x="16415" y="4942"/>
                  </a:lnTo>
                  <a:lnTo>
                    <a:pt x="16553" y="4942"/>
                  </a:lnTo>
                  <a:lnTo>
                    <a:pt x="16692" y="4976"/>
                  </a:lnTo>
                  <a:lnTo>
                    <a:pt x="16830" y="5011"/>
                  </a:lnTo>
                  <a:lnTo>
                    <a:pt x="16934" y="5080"/>
                  </a:lnTo>
                  <a:lnTo>
                    <a:pt x="17072" y="5080"/>
                  </a:lnTo>
                  <a:lnTo>
                    <a:pt x="17210" y="5045"/>
                  </a:lnTo>
                  <a:lnTo>
                    <a:pt x="17383" y="5011"/>
                  </a:lnTo>
                  <a:lnTo>
                    <a:pt x="17521" y="4942"/>
                  </a:lnTo>
                  <a:lnTo>
                    <a:pt x="17625" y="4873"/>
                  </a:lnTo>
                  <a:lnTo>
                    <a:pt x="17728" y="4769"/>
                  </a:lnTo>
                  <a:lnTo>
                    <a:pt x="17763" y="4631"/>
                  </a:lnTo>
                  <a:lnTo>
                    <a:pt x="17867" y="4389"/>
                  </a:lnTo>
                  <a:lnTo>
                    <a:pt x="17970" y="4147"/>
                  </a:lnTo>
                  <a:lnTo>
                    <a:pt x="18247" y="3490"/>
                  </a:lnTo>
                  <a:lnTo>
                    <a:pt x="18419" y="3110"/>
                  </a:lnTo>
                  <a:lnTo>
                    <a:pt x="18523" y="2730"/>
                  </a:lnTo>
                  <a:lnTo>
                    <a:pt x="18627" y="2281"/>
                  </a:lnTo>
                  <a:lnTo>
                    <a:pt x="18661" y="1797"/>
                  </a:lnTo>
                  <a:lnTo>
                    <a:pt x="18661" y="1659"/>
                  </a:lnTo>
                  <a:lnTo>
                    <a:pt x="18592" y="1486"/>
                  </a:lnTo>
                  <a:lnTo>
                    <a:pt x="18489" y="1279"/>
                  </a:lnTo>
                  <a:lnTo>
                    <a:pt x="18350" y="1106"/>
                  </a:lnTo>
                  <a:lnTo>
                    <a:pt x="18039" y="795"/>
                  </a:lnTo>
                  <a:lnTo>
                    <a:pt x="17728" y="588"/>
                  </a:lnTo>
                  <a:lnTo>
                    <a:pt x="17383" y="380"/>
                  </a:lnTo>
                  <a:lnTo>
                    <a:pt x="16968" y="242"/>
                  </a:lnTo>
                  <a:lnTo>
                    <a:pt x="16484" y="104"/>
                  </a:lnTo>
                  <a:lnTo>
                    <a:pt x="158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3" name="Google Shape;1620;p16">
              <a:extLst>
                <a:ext uri="{FF2B5EF4-FFF2-40B4-BE49-F238E27FC236}">
                  <a16:creationId xmlns:a16="http://schemas.microsoft.com/office/drawing/2014/main" id="{B8B600DC-532C-9371-3DE0-2B4891FF81D7}"/>
                </a:ext>
              </a:extLst>
            </p:cNvPr>
            <p:cNvSpPr/>
            <p:nvPr/>
          </p:nvSpPr>
          <p:spPr>
            <a:xfrm>
              <a:off x="5011675" y="5126125"/>
              <a:ext cx="203925" cy="344725"/>
            </a:xfrm>
            <a:custGeom>
              <a:avLst/>
              <a:gdLst/>
              <a:ahLst/>
              <a:cxnLst/>
              <a:rect l="l" t="t" r="r" b="b"/>
              <a:pathLst>
                <a:path w="8157" h="13789" extrusionOk="0">
                  <a:moveTo>
                    <a:pt x="1003" y="0"/>
                  </a:moveTo>
                  <a:lnTo>
                    <a:pt x="1" y="9849"/>
                  </a:lnTo>
                  <a:lnTo>
                    <a:pt x="1" y="10229"/>
                  </a:lnTo>
                  <a:lnTo>
                    <a:pt x="1" y="10574"/>
                  </a:lnTo>
                  <a:lnTo>
                    <a:pt x="70" y="10920"/>
                  </a:lnTo>
                  <a:lnTo>
                    <a:pt x="139" y="11265"/>
                  </a:lnTo>
                  <a:lnTo>
                    <a:pt x="277" y="11611"/>
                  </a:lnTo>
                  <a:lnTo>
                    <a:pt x="416" y="11922"/>
                  </a:lnTo>
                  <a:lnTo>
                    <a:pt x="588" y="12199"/>
                  </a:lnTo>
                  <a:lnTo>
                    <a:pt x="796" y="12475"/>
                  </a:lnTo>
                  <a:lnTo>
                    <a:pt x="1038" y="12751"/>
                  </a:lnTo>
                  <a:lnTo>
                    <a:pt x="1280" y="12959"/>
                  </a:lnTo>
                  <a:lnTo>
                    <a:pt x="1556" y="13166"/>
                  </a:lnTo>
                  <a:lnTo>
                    <a:pt x="1867" y="13373"/>
                  </a:lnTo>
                  <a:lnTo>
                    <a:pt x="2178" y="13512"/>
                  </a:lnTo>
                  <a:lnTo>
                    <a:pt x="2524" y="13650"/>
                  </a:lnTo>
                  <a:lnTo>
                    <a:pt x="2869" y="13719"/>
                  </a:lnTo>
                  <a:lnTo>
                    <a:pt x="3215" y="13788"/>
                  </a:lnTo>
                  <a:lnTo>
                    <a:pt x="3975" y="13788"/>
                  </a:lnTo>
                  <a:lnTo>
                    <a:pt x="4320" y="13719"/>
                  </a:lnTo>
                  <a:lnTo>
                    <a:pt x="4666" y="13650"/>
                  </a:lnTo>
                  <a:lnTo>
                    <a:pt x="4977" y="13512"/>
                  </a:lnTo>
                  <a:lnTo>
                    <a:pt x="5288" y="13373"/>
                  </a:lnTo>
                  <a:lnTo>
                    <a:pt x="5599" y="13201"/>
                  </a:lnTo>
                  <a:lnTo>
                    <a:pt x="5876" y="12993"/>
                  </a:lnTo>
                  <a:lnTo>
                    <a:pt x="6117" y="12751"/>
                  </a:lnTo>
                  <a:lnTo>
                    <a:pt x="6359" y="12510"/>
                  </a:lnTo>
                  <a:lnTo>
                    <a:pt x="6567" y="12233"/>
                  </a:lnTo>
                  <a:lnTo>
                    <a:pt x="6739" y="11922"/>
                  </a:lnTo>
                  <a:lnTo>
                    <a:pt x="6878" y="11611"/>
                  </a:lnTo>
                  <a:lnTo>
                    <a:pt x="7016" y="11300"/>
                  </a:lnTo>
                  <a:lnTo>
                    <a:pt x="7120" y="10954"/>
                  </a:lnTo>
                  <a:lnTo>
                    <a:pt x="7154" y="10574"/>
                  </a:lnTo>
                  <a:lnTo>
                    <a:pt x="8156" y="726"/>
                  </a:lnTo>
                  <a:lnTo>
                    <a:pt x="100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4" name="Google Shape;1621;p16">
              <a:extLst>
                <a:ext uri="{FF2B5EF4-FFF2-40B4-BE49-F238E27FC236}">
                  <a16:creationId xmlns:a16="http://schemas.microsoft.com/office/drawing/2014/main" id="{CD1E722B-5CD6-B125-27D4-77F9F3D08A57}"/>
                </a:ext>
              </a:extLst>
            </p:cNvPr>
            <p:cNvSpPr/>
            <p:nvPr/>
          </p:nvSpPr>
          <p:spPr>
            <a:xfrm>
              <a:off x="5011675" y="5126125"/>
              <a:ext cx="203925" cy="344725"/>
            </a:xfrm>
            <a:custGeom>
              <a:avLst/>
              <a:gdLst/>
              <a:ahLst/>
              <a:cxnLst/>
              <a:rect l="l" t="t" r="r" b="b"/>
              <a:pathLst>
                <a:path w="8157" h="13789" fill="none" extrusionOk="0">
                  <a:moveTo>
                    <a:pt x="1003" y="0"/>
                  </a:moveTo>
                  <a:lnTo>
                    <a:pt x="8156" y="726"/>
                  </a:lnTo>
                  <a:lnTo>
                    <a:pt x="7154" y="10574"/>
                  </a:lnTo>
                  <a:lnTo>
                    <a:pt x="7154" y="10574"/>
                  </a:lnTo>
                  <a:lnTo>
                    <a:pt x="7120" y="10954"/>
                  </a:lnTo>
                  <a:lnTo>
                    <a:pt x="7016" y="11300"/>
                  </a:lnTo>
                  <a:lnTo>
                    <a:pt x="6878" y="11611"/>
                  </a:lnTo>
                  <a:lnTo>
                    <a:pt x="6739" y="11922"/>
                  </a:lnTo>
                  <a:lnTo>
                    <a:pt x="6567" y="12233"/>
                  </a:lnTo>
                  <a:lnTo>
                    <a:pt x="6359" y="12510"/>
                  </a:lnTo>
                  <a:lnTo>
                    <a:pt x="6117" y="12751"/>
                  </a:lnTo>
                  <a:lnTo>
                    <a:pt x="5876" y="12993"/>
                  </a:lnTo>
                  <a:lnTo>
                    <a:pt x="5599" y="13201"/>
                  </a:lnTo>
                  <a:lnTo>
                    <a:pt x="5288" y="13373"/>
                  </a:lnTo>
                  <a:lnTo>
                    <a:pt x="4977" y="13512"/>
                  </a:lnTo>
                  <a:lnTo>
                    <a:pt x="4666" y="13650"/>
                  </a:lnTo>
                  <a:lnTo>
                    <a:pt x="4320" y="13719"/>
                  </a:lnTo>
                  <a:lnTo>
                    <a:pt x="3975" y="13788"/>
                  </a:lnTo>
                  <a:lnTo>
                    <a:pt x="3595" y="13788"/>
                  </a:lnTo>
                  <a:lnTo>
                    <a:pt x="3249" y="13788"/>
                  </a:lnTo>
                  <a:lnTo>
                    <a:pt x="3215" y="13788"/>
                  </a:lnTo>
                  <a:lnTo>
                    <a:pt x="3215" y="13788"/>
                  </a:lnTo>
                  <a:lnTo>
                    <a:pt x="2869" y="13719"/>
                  </a:lnTo>
                  <a:lnTo>
                    <a:pt x="2524" y="13650"/>
                  </a:lnTo>
                  <a:lnTo>
                    <a:pt x="2178" y="13512"/>
                  </a:lnTo>
                  <a:lnTo>
                    <a:pt x="1867" y="13373"/>
                  </a:lnTo>
                  <a:lnTo>
                    <a:pt x="1556" y="13166"/>
                  </a:lnTo>
                  <a:lnTo>
                    <a:pt x="1280" y="12959"/>
                  </a:lnTo>
                  <a:lnTo>
                    <a:pt x="1038" y="12751"/>
                  </a:lnTo>
                  <a:lnTo>
                    <a:pt x="796" y="12475"/>
                  </a:lnTo>
                  <a:lnTo>
                    <a:pt x="588" y="12199"/>
                  </a:lnTo>
                  <a:lnTo>
                    <a:pt x="416" y="11922"/>
                  </a:lnTo>
                  <a:lnTo>
                    <a:pt x="277" y="11611"/>
                  </a:lnTo>
                  <a:lnTo>
                    <a:pt x="139" y="11265"/>
                  </a:lnTo>
                  <a:lnTo>
                    <a:pt x="70" y="10920"/>
                  </a:lnTo>
                  <a:lnTo>
                    <a:pt x="1" y="10574"/>
                  </a:lnTo>
                  <a:lnTo>
                    <a:pt x="1" y="10229"/>
                  </a:lnTo>
                  <a:lnTo>
                    <a:pt x="1" y="9849"/>
                  </a:lnTo>
                  <a:lnTo>
                    <a:pt x="100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5" name="Google Shape;1622;p16">
              <a:extLst>
                <a:ext uri="{FF2B5EF4-FFF2-40B4-BE49-F238E27FC236}">
                  <a16:creationId xmlns:a16="http://schemas.microsoft.com/office/drawing/2014/main" id="{3B8D26AF-CC6A-0CE1-C895-855BEFF4191B}"/>
                </a:ext>
              </a:extLst>
            </p:cNvPr>
            <p:cNvSpPr/>
            <p:nvPr/>
          </p:nvSpPr>
          <p:spPr>
            <a:xfrm>
              <a:off x="5024650" y="2352975"/>
              <a:ext cx="450975" cy="2914850"/>
            </a:xfrm>
            <a:custGeom>
              <a:avLst/>
              <a:gdLst/>
              <a:ahLst/>
              <a:cxnLst/>
              <a:rect l="l" t="t" r="r" b="b"/>
              <a:pathLst>
                <a:path w="18039" h="116594" extrusionOk="0">
                  <a:moveTo>
                    <a:pt x="15101" y="0"/>
                  </a:moveTo>
                  <a:lnTo>
                    <a:pt x="14894" y="35"/>
                  </a:lnTo>
                  <a:lnTo>
                    <a:pt x="14687" y="104"/>
                  </a:lnTo>
                  <a:lnTo>
                    <a:pt x="14514" y="173"/>
                  </a:lnTo>
                  <a:lnTo>
                    <a:pt x="14341" y="277"/>
                  </a:lnTo>
                  <a:lnTo>
                    <a:pt x="14168" y="449"/>
                  </a:lnTo>
                  <a:lnTo>
                    <a:pt x="14065" y="622"/>
                  </a:lnTo>
                  <a:lnTo>
                    <a:pt x="13926" y="829"/>
                  </a:lnTo>
                  <a:lnTo>
                    <a:pt x="10955" y="7844"/>
                  </a:lnTo>
                  <a:lnTo>
                    <a:pt x="10886" y="8017"/>
                  </a:lnTo>
                  <a:lnTo>
                    <a:pt x="0" y="115868"/>
                  </a:lnTo>
                  <a:lnTo>
                    <a:pt x="1452" y="116006"/>
                  </a:lnTo>
                  <a:lnTo>
                    <a:pt x="1590" y="116040"/>
                  </a:lnTo>
                  <a:lnTo>
                    <a:pt x="4665" y="116351"/>
                  </a:lnTo>
                  <a:lnTo>
                    <a:pt x="6428" y="116524"/>
                  </a:lnTo>
                  <a:lnTo>
                    <a:pt x="7119" y="116593"/>
                  </a:lnTo>
                  <a:lnTo>
                    <a:pt x="18004" y="9088"/>
                  </a:lnTo>
                  <a:lnTo>
                    <a:pt x="18039" y="8743"/>
                  </a:lnTo>
                  <a:lnTo>
                    <a:pt x="16484" y="1071"/>
                  </a:lnTo>
                  <a:lnTo>
                    <a:pt x="16415" y="864"/>
                  </a:lnTo>
                  <a:lnTo>
                    <a:pt x="16311" y="657"/>
                  </a:lnTo>
                  <a:lnTo>
                    <a:pt x="16173" y="484"/>
                  </a:lnTo>
                  <a:lnTo>
                    <a:pt x="16034" y="346"/>
                  </a:lnTo>
                  <a:lnTo>
                    <a:pt x="15862" y="207"/>
                  </a:lnTo>
                  <a:lnTo>
                    <a:pt x="15689" y="104"/>
                  </a:lnTo>
                  <a:lnTo>
                    <a:pt x="15516" y="69"/>
                  </a:lnTo>
                  <a:lnTo>
                    <a:pt x="15309" y="35"/>
                  </a:lnTo>
                  <a:lnTo>
                    <a:pt x="15101" y="0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6" name="Google Shape;1623;p16">
              <a:extLst>
                <a:ext uri="{FF2B5EF4-FFF2-40B4-BE49-F238E27FC236}">
                  <a16:creationId xmlns:a16="http://schemas.microsoft.com/office/drawing/2014/main" id="{19D1D3D4-C06F-1599-DC29-4F013CE8EFD5}"/>
                </a:ext>
              </a:extLst>
            </p:cNvPr>
            <p:cNvSpPr/>
            <p:nvPr/>
          </p:nvSpPr>
          <p:spPr>
            <a:xfrm>
              <a:off x="5024650" y="2352975"/>
              <a:ext cx="450975" cy="2914850"/>
            </a:xfrm>
            <a:custGeom>
              <a:avLst/>
              <a:gdLst/>
              <a:ahLst/>
              <a:cxnLst/>
              <a:rect l="l" t="t" r="r" b="b"/>
              <a:pathLst>
                <a:path w="18039" h="116594" fill="none" extrusionOk="0">
                  <a:moveTo>
                    <a:pt x="7119" y="116593"/>
                  </a:moveTo>
                  <a:lnTo>
                    <a:pt x="6428" y="116524"/>
                  </a:lnTo>
                  <a:lnTo>
                    <a:pt x="4665" y="116351"/>
                  </a:lnTo>
                  <a:lnTo>
                    <a:pt x="1590" y="116040"/>
                  </a:lnTo>
                  <a:lnTo>
                    <a:pt x="1452" y="116006"/>
                  </a:lnTo>
                  <a:lnTo>
                    <a:pt x="0" y="115868"/>
                  </a:lnTo>
                  <a:lnTo>
                    <a:pt x="10886" y="8017"/>
                  </a:lnTo>
                  <a:lnTo>
                    <a:pt x="10955" y="7844"/>
                  </a:lnTo>
                  <a:lnTo>
                    <a:pt x="13926" y="829"/>
                  </a:lnTo>
                  <a:lnTo>
                    <a:pt x="13926" y="829"/>
                  </a:lnTo>
                  <a:lnTo>
                    <a:pt x="14065" y="622"/>
                  </a:lnTo>
                  <a:lnTo>
                    <a:pt x="14168" y="449"/>
                  </a:lnTo>
                  <a:lnTo>
                    <a:pt x="14341" y="277"/>
                  </a:lnTo>
                  <a:lnTo>
                    <a:pt x="14514" y="173"/>
                  </a:lnTo>
                  <a:lnTo>
                    <a:pt x="14687" y="104"/>
                  </a:lnTo>
                  <a:lnTo>
                    <a:pt x="14894" y="35"/>
                  </a:lnTo>
                  <a:lnTo>
                    <a:pt x="15101" y="0"/>
                  </a:lnTo>
                  <a:lnTo>
                    <a:pt x="15309" y="35"/>
                  </a:lnTo>
                  <a:lnTo>
                    <a:pt x="15516" y="69"/>
                  </a:lnTo>
                  <a:lnTo>
                    <a:pt x="15689" y="104"/>
                  </a:lnTo>
                  <a:lnTo>
                    <a:pt x="15862" y="207"/>
                  </a:lnTo>
                  <a:lnTo>
                    <a:pt x="16034" y="346"/>
                  </a:lnTo>
                  <a:lnTo>
                    <a:pt x="16173" y="484"/>
                  </a:lnTo>
                  <a:lnTo>
                    <a:pt x="16311" y="657"/>
                  </a:lnTo>
                  <a:lnTo>
                    <a:pt x="16415" y="864"/>
                  </a:lnTo>
                  <a:lnTo>
                    <a:pt x="16484" y="1071"/>
                  </a:lnTo>
                  <a:lnTo>
                    <a:pt x="18039" y="8743"/>
                  </a:lnTo>
                  <a:lnTo>
                    <a:pt x="18004" y="9088"/>
                  </a:lnTo>
                  <a:lnTo>
                    <a:pt x="7119" y="116593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7" name="Google Shape;1624;p16">
              <a:extLst>
                <a:ext uri="{FF2B5EF4-FFF2-40B4-BE49-F238E27FC236}">
                  <a16:creationId xmlns:a16="http://schemas.microsoft.com/office/drawing/2014/main" id="{456EC1AE-735C-D60B-A71C-4B9899F03911}"/>
                </a:ext>
              </a:extLst>
            </p:cNvPr>
            <p:cNvSpPr/>
            <p:nvPr/>
          </p:nvSpPr>
          <p:spPr>
            <a:xfrm>
              <a:off x="5296775" y="2296800"/>
              <a:ext cx="178850" cy="298950"/>
            </a:xfrm>
            <a:custGeom>
              <a:avLst/>
              <a:gdLst/>
              <a:ahLst/>
              <a:cxnLst/>
              <a:rect l="l" t="t" r="r" b="b"/>
              <a:pathLst>
                <a:path w="7154" h="11958" extrusionOk="0">
                  <a:moveTo>
                    <a:pt x="4493" y="1"/>
                  </a:moveTo>
                  <a:lnTo>
                    <a:pt x="4355" y="35"/>
                  </a:lnTo>
                  <a:lnTo>
                    <a:pt x="4216" y="70"/>
                  </a:lnTo>
                  <a:lnTo>
                    <a:pt x="4078" y="139"/>
                  </a:lnTo>
                  <a:lnTo>
                    <a:pt x="3975" y="208"/>
                  </a:lnTo>
                  <a:lnTo>
                    <a:pt x="3871" y="312"/>
                  </a:lnTo>
                  <a:lnTo>
                    <a:pt x="3767" y="450"/>
                  </a:lnTo>
                  <a:lnTo>
                    <a:pt x="3698" y="588"/>
                  </a:lnTo>
                  <a:lnTo>
                    <a:pt x="1" y="10264"/>
                  </a:lnTo>
                  <a:lnTo>
                    <a:pt x="381" y="10299"/>
                  </a:lnTo>
                  <a:lnTo>
                    <a:pt x="588" y="10299"/>
                  </a:lnTo>
                  <a:lnTo>
                    <a:pt x="726" y="10264"/>
                  </a:lnTo>
                  <a:lnTo>
                    <a:pt x="795" y="10230"/>
                  </a:lnTo>
                  <a:lnTo>
                    <a:pt x="864" y="10160"/>
                  </a:lnTo>
                  <a:lnTo>
                    <a:pt x="1072" y="10160"/>
                  </a:lnTo>
                  <a:lnTo>
                    <a:pt x="1210" y="10195"/>
                  </a:lnTo>
                  <a:lnTo>
                    <a:pt x="1348" y="10264"/>
                  </a:lnTo>
                  <a:lnTo>
                    <a:pt x="1556" y="10471"/>
                  </a:lnTo>
                  <a:lnTo>
                    <a:pt x="1694" y="10575"/>
                  </a:lnTo>
                  <a:lnTo>
                    <a:pt x="1832" y="10679"/>
                  </a:lnTo>
                  <a:lnTo>
                    <a:pt x="2039" y="10748"/>
                  </a:lnTo>
                  <a:lnTo>
                    <a:pt x="2316" y="10782"/>
                  </a:lnTo>
                  <a:lnTo>
                    <a:pt x="2558" y="10782"/>
                  </a:lnTo>
                  <a:lnTo>
                    <a:pt x="2730" y="10713"/>
                  </a:lnTo>
                  <a:lnTo>
                    <a:pt x="2869" y="10575"/>
                  </a:lnTo>
                  <a:lnTo>
                    <a:pt x="2972" y="10437"/>
                  </a:lnTo>
                  <a:lnTo>
                    <a:pt x="3076" y="10264"/>
                  </a:lnTo>
                  <a:lnTo>
                    <a:pt x="3180" y="10160"/>
                  </a:lnTo>
                  <a:lnTo>
                    <a:pt x="3283" y="10091"/>
                  </a:lnTo>
                  <a:lnTo>
                    <a:pt x="3387" y="10091"/>
                  </a:lnTo>
                  <a:lnTo>
                    <a:pt x="3491" y="10057"/>
                  </a:lnTo>
                  <a:lnTo>
                    <a:pt x="3629" y="10057"/>
                  </a:lnTo>
                  <a:lnTo>
                    <a:pt x="3767" y="10091"/>
                  </a:lnTo>
                  <a:lnTo>
                    <a:pt x="3905" y="10160"/>
                  </a:lnTo>
                  <a:lnTo>
                    <a:pt x="4009" y="10264"/>
                  </a:lnTo>
                  <a:lnTo>
                    <a:pt x="4113" y="10368"/>
                  </a:lnTo>
                  <a:lnTo>
                    <a:pt x="4320" y="10644"/>
                  </a:lnTo>
                  <a:lnTo>
                    <a:pt x="4493" y="10990"/>
                  </a:lnTo>
                  <a:lnTo>
                    <a:pt x="4666" y="11301"/>
                  </a:lnTo>
                  <a:lnTo>
                    <a:pt x="4838" y="11612"/>
                  </a:lnTo>
                  <a:lnTo>
                    <a:pt x="4942" y="11716"/>
                  </a:lnTo>
                  <a:lnTo>
                    <a:pt x="5046" y="11819"/>
                  </a:lnTo>
                  <a:lnTo>
                    <a:pt x="5184" y="11888"/>
                  </a:lnTo>
                  <a:lnTo>
                    <a:pt x="5288" y="11957"/>
                  </a:lnTo>
                  <a:lnTo>
                    <a:pt x="5495" y="11957"/>
                  </a:lnTo>
                  <a:lnTo>
                    <a:pt x="5668" y="11888"/>
                  </a:lnTo>
                  <a:lnTo>
                    <a:pt x="5806" y="11819"/>
                  </a:lnTo>
                  <a:lnTo>
                    <a:pt x="5979" y="11681"/>
                  </a:lnTo>
                  <a:lnTo>
                    <a:pt x="6186" y="11508"/>
                  </a:lnTo>
                  <a:lnTo>
                    <a:pt x="6428" y="11370"/>
                  </a:lnTo>
                  <a:lnTo>
                    <a:pt x="6739" y="11232"/>
                  </a:lnTo>
                  <a:lnTo>
                    <a:pt x="7119" y="11128"/>
                  </a:lnTo>
                  <a:lnTo>
                    <a:pt x="7154" y="10990"/>
                  </a:lnTo>
                  <a:lnTo>
                    <a:pt x="5460" y="796"/>
                  </a:lnTo>
                  <a:lnTo>
                    <a:pt x="5426" y="623"/>
                  </a:lnTo>
                  <a:lnTo>
                    <a:pt x="5357" y="485"/>
                  </a:lnTo>
                  <a:lnTo>
                    <a:pt x="5253" y="346"/>
                  </a:lnTo>
                  <a:lnTo>
                    <a:pt x="5184" y="243"/>
                  </a:lnTo>
                  <a:lnTo>
                    <a:pt x="5046" y="139"/>
                  </a:lnTo>
                  <a:lnTo>
                    <a:pt x="4908" y="70"/>
                  </a:lnTo>
                  <a:lnTo>
                    <a:pt x="4769" y="35"/>
                  </a:lnTo>
                  <a:lnTo>
                    <a:pt x="4631" y="1"/>
                  </a:lnTo>
                  <a:close/>
                </a:path>
              </a:pathLst>
            </a:custGeom>
            <a:solidFill>
              <a:srgbClr val="F1BAC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8" name="Google Shape;1625;p16">
              <a:extLst>
                <a:ext uri="{FF2B5EF4-FFF2-40B4-BE49-F238E27FC236}">
                  <a16:creationId xmlns:a16="http://schemas.microsoft.com/office/drawing/2014/main" id="{8F5E8497-8544-BD98-83F8-2698D4724FD1}"/>
                </a:ext>
              </a:extLst>
            </p:cNvPr>
            <p:cNvSpPr/>
            <p:nvPr/>
          </p:nvSpPr>
          <p:spPr>
            <a:xfrm>
              <a:off x="5296775" y="2296800"/>
              <a:ext cx="178850" cy="298950"/>
            </a:xfrm>
            <a:custGeom>
              <a:avLst/>
              <a:gdLst/>
              <a:ahLst/>
              <a:cxnLst/>
              <a:rect l="l" t="t" r="r" b="b"/>
              <a:pathLst>
                <a:path w="7154" h="11958" fill="none" extrusionOk="0">
                  <a:moveTo>
                    <a:pt x="1" y="10264"/>
                  </a:moveTo>
                  <a:lnTo>
                    <a:pt x="3698" y="588"/>
                  </a:lnTo>
                  <a:lnTo>
                    <a:pt x="3698" y="588"/>
                  </a:lnTo>
                  <a:lnTo>
                    <a:pt x="3767" y="450"/>
                  </a:lnTo>
                  <a:lnTo>
                    <a:pt x="3871" y="312"/>
                  </a:lnTo>
                  <a:lnTo>
                    <a:pt x="3975" y="208"/>
                  </a:lnTo>
                  <a:lnTo>
                    <a:pt x="4078" y="139"/>
                  </a:lnTo>
                  <a:lnTo>
                    <a:pt x="4216" y="70"/>
                  </a:lnTo>
                  <a:lnTo>
                    <a:pt x="4355" y="35"/>
                  </a:lnTo>
                  <a:lnTo>
                    <a:pt x="4493" y="1"/>
                  </a:lnTo>
                  <a:lnTo>
                    <a:pt x="4631" y="1"/>
                  </a:lnTo>
                  <a:lnTo>
                    <a:pt x="4769" y="35"/>
                  </a:lnTo>
                  <a:lnTo>
                    <a:pt x="4908" y="70"/>
                  </a:lnTo>
                  <a:lnTo>
                    <a:pt x="5046" y="139"/>
                  </a:lnTo>
                  <a:lnTo>
                    <a:pt x="5184" y="243"/>
                  </a:lnTo>
                  <a:lnTo>
                    <a:pt x="5253" y="346"/>
                  </a:lnTo>
                  <a:lnTo>
                    <a:pt x="5357" y="485"/>
                  </a:lnTo>
                  <a:lnTo>
                    <a:pt x="5426" y="623"/>
                  </a:lnTo>
                  <a:lnTo>
                    <a:pt x="5460" y="796"/>
                  </a:lnTo>
                  <a:lnTo>
                    <a:pt x="7154" y="10990"/>
                  </a:lnTo>
                  <a:lnTo>
                    <a:pt x="7119" y="11128"/>
                  </a:lnTo>
                  <a:lnTo>
                    <a:pt x="7119" y="11128"/>
                  </a:lnTo>
                  <a:lnTo>
                    <a:pt x="6739" y="11232"/>
                  </a:lnTo>
                  <a:lnTo>
                    <a:pt x="6428" y="11370"/>
                  </a:lnTo>
                  <a:lnTo>
                    <a:pt x="6186" y="11508"/>
                  </a:lnTo>
                  <a:lnTo>
                    <a:pt x="5979" y="11681"/>
                  </a:lnTo>
                  <a:lnTo>
                    <a:pt x="5806" y="11819"/>
                  </a:lnTo>
                  <a:lnTo>
                    <a:pt x="5668" y="11888"/>
                  </a:lnTo>
                  <a:lnTo>
                    <a:pt x="5495" y="11957"/>
                  </a:lnTo>
                  <a:lnTo>
                    <a:pt x="5288" y="11957"/>
                  </a:lnTo>
                  <a:lnTo>
                    <a:pt x="5288" y="11957"/>
                  </a:lnTo>
                  <a:lnTo>
                    <a:pt x="5184" y="11888"/>
                  </a:lnTo>
                  <a:lnTo>
                    <a:pt x="5046" y="11819"/>
                  </a:lnTo>
                  <a:lnTo>
                    <a:pt x="4942" y="11716"/>
                  </a:lnTo>
                  <a:lnTo>
                    <a:pt x="4838" y="11612"/>
                  </a:lnTo>
                  <a:lnTo>
                    <a:pt x="4666" y="11301"/>
                  </a:lnTo>
                  <a:lnTo>
                    <a:pt x="4493" y="10990"/>
                  </a:lnTo>
                  <a:lnTo>
                    <a:pt x="4320" y="10644"/>
                  </a:lnTo>
                  <a:lnTo>
                    <a:pt x="4113" y="10368"/>
                  </a:lnTo>
                  <a:lnTo>
                    <a:pt x="4009" y="10264"/>
                  </a:lnTo>
                  <a:lnTo>
                    <a:pt x="3905" y="10160"/>
                  </a:lnTo>
                  <a:lnTo>
                    <a:pt x="3767" y="10091"/>
                  </a:lnTo>
                  <a:lnTo>
                    <a:pt x="3629" y="10057"/>
                  </a:lnTo>
                  <a:lnTo>
                    <a:pt x="3629" y="10057"/>
                  </a:lnTo>
                  <a:lnTo>
                    <a:pt x="3491" y="10057"/>
                  </a:lnTo>
                  <a:lnTo>
                    <a:pt x="3387" y="10091"/>
                  </a:lnTo>
                  <a:lnTo>
                    <a:pt x="3283" y="10091"/>
                  </a:lnTo>
                  <a:lnTo>
                    <a:pt x="3180" y="10160"/>
                  </a:lnTo>
                  <a:lnTo>
                    <a:pt x="3076" y="10264"/>
                  </a:lnTo>
                  <a:lnTo>
                    <a:pt x="2972" y="10437"/>
                  </a:lnTo>
                  <a:lnTo>
                    <a:pt x="2972" y="10437"/>
                  </a:lnTo>
                  <a:lnTo>
                    <a:pt x="2869" y="10575"/>
                  </a:lnTo>
                  <a:lnTo>
                    <a:pt x="2730" y="10713"/>
                  </a:lnTo>
                  <a:lnTo>
                    <a:pt x="2558" y="10782"/>
                  </a:lnTo>
                  <a:lnTo>
                    <a:pt x="2454" y="10782"/>
                  </a:lnTo>
                  <a:lnTo>
                    <a:pt x="2316" y="10782"/>
                  </a:lnTo>
                  <a:lnTo>
                    <a:pt x="2316" y="10782"/>
                  </a:lnTo>
                  <a:lnTo>
                    <a:pt x="2039" y="10748"/>
                  </a:lnTo>
                  <a:lnTo>
                    <a:pt x="1832" y="10679"/>
                  </a:lnTo>
                  <a:lnTo>
                    <a:pt x="1694" y="10575"/>
                  </a:lnTo>
                  <a:lnTo>
                    <a:pt x="1556" y="10471"/>
                  </a:lnTo>
                  <a:lnTo>
                    <a:pt x="1348" y="10264"/>
                  </a:lnTo>
                  <a:lnTo>
                    <a:pt x="1210" y="10195"/>
                  </a:lnTo>
                  <a:lnTo>
                    <a:pt x="1072" y="10160"/>
                  </a:lnTo>
                  <a:lnTo>
                    <a:pt x="1072" y="10160"/>
                  </a:lnTo>
                  <a:lnTo>
                    <a:pt x="934" y="10160"/>
                  </a:lnTo>
                  <a:lnTo>
                    <a:pt x="864" y="10160"/>
                  </a:lnTo>
                  <a:lnTo>
                    <a:pt x="795" y="10230"/>
                  </a:lnTo>
                  <a:lnTo>
                    <a:pt x="795" y="10230"/>
                  </a:lnTo>
                  <a:lnTo>
                    <a:pt x="726" y="10264"/>
                  </a:lnTo>
                  <a:lnTo>
                    <a:pt x="588" y="10299"/>
                  </a:lnTo>
                  <a:lnTo>
                    <a:pt x="381" y="10299"/>
                  </a:lnTo>
                  <a:lnTo>
                    <a:pt x="1" y="1026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9" name="Google Shape;1626;p16">
              <a:extLst>
                <a:ext uri="{FF2B5EF4-FFF2-40B4-BE49-F238E27FC236}">
                  <a16:creationId xmlns:a16="http://schemas.microsoft.com/office/drawing/2014/main" id="{38432C76-9D89-FF91-A4FC-583BDD4C2EBF}"/>
                </a:ext>
              </a:extLst>
            </p:cNvPr>
            <p:cNvSpPr/>
            <p:nvPr/>
          </p:nvSpPr>
          <p:spPr>
            <a:xfrm>
              <a:off x="5368475" y="2269175"/>
              <a:ext cx="74325" cy="107150"/>
            </a:xfrm>
            <a:custGeom>
              <a:avLst/>
              <a:gdLst/>
              <a:ahLst/>
              <a:cxnLst/>
              <a:rect l="l" t="t" r="r" b="b"/>
              <a:pathLst>
                <a:path w="2973" h="4286" extrusionOk="0">
                  <a:moveTo>
                    <a:pt x="1901" y="0"/>
                  </a:moveTo>
                  <a:lnTo>
                    <a:pt x="1729" y="35"/>
                  </a:lnTo>
                  <a:lnTo>
                    <a:pt x="1556" y="69"/>
                  </a:lnTo>
                  <a:lnTo>
                    <a:pt x="1452" y="173"/>
                  </a:lnTo>
                  <a:lnTo>
                    <a:pt x="1348" y="346"/>
                  </a:lnTo>
                  <a:lnTo>
                    <a:pt x="35" y="3801"/>
                  </a:lnTo>
                  <a:lnTo>
                    <a:pt x="1" y="3870"/>
                  </a:lnTo>
                  <a:lnTo>
                    <a:pt x="35" y="3905"/>
                  </a:lnTo>
                  <a:lnTo>
                    <a:pt x="70" y="3940"/>
                  </a:lnTo>
                  <a:lnTo>
                    <a:pt x="139" y="3940"/>
                  </a:lnTo>
                  <a:lnTo>
                    <a:pt x="796" y="3801"/>
                  </a:lnTo>
                  <a:lnTo>
                    <a:pt x="1348" y="3767"/>
                  </a:lnTo>
                  <a:lnTo>
                    <a:pt x="1521" y="3801"/>
                  </a:lnTo>
                  <a:lnTo>
                    <a:pt x="1694" y="3870"/>
                  </a:lnTo>
                  <a:lnTo>
                    <a:pt x="2005" y="4078"/>
                  </a:lnTo>
                  <a:lnTo>
                    <a:pt x="2178" y="4181"/>
                  </a:lnTo>
                  <a:lnTo>
                    <a:pt x="2351" y="4251"/>
                  </a:lnTo>
                  <a:lnTo>
                    <a:pt x="2592" y="4285"/>
                  </a:lnTo>
                  <a:lnTo>
                    <a:pt x="2903" y="4216"/>
                  </a:lnTo>
                  <a:lnTo>
                    <a:pt x="2938" y="4181"/>
                  </a:lnTo>
                  <a:lnTo>
                    <a:pt x="2973" y="4112"/>
                  </a:lnTo>
                  <a:lnTo>
                    <a:pt x="2351" y="449"/>
                  </a:lnTo>
                  <a:lnTo>
                    <a:pt x="2281" y="277"/>
                  </a:lnTo>
                  <a:lnTo>
                    <a:pt x="2178" y="138"/>
                  </a:lnTo>
                  <a:lnTo>
                    <a:pt x="2040" y="69"/>
                  </a:lnTo>
                  <a:lnTo>
                    <a:pt x="190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0" name="Google Shape;1627;p16">
              <a:extLst>
                <a:ext uri="{FF2B5EF4-FFF2-40B4-BE49-F238E27FC236}">
                  <a16:creationId xmlns:a16="http://schemas.microsoft.com/office/drawing/2014/main" id="{2E3F9B6E-5C35-C79E-642F-04169D091383}"/>
                </a:ext>
              </a:extLst>
            </p:cNvPr>
            <p:cNvSpPr/>
            <p:nvPr/>
          </p:nvSpPr>
          <p:spPr>
            <a:xfrm>
              <a:off x="5024650" y="2550800"/>
              <a:ext cx="298925" cy="2703200"/>
            </a:xfrm>
            <a:custGeom>
              <a:avLst/>
              <a:gdLst/>
              <a:ahLst/>
              <a:cxnLst/>
              <a:rect l="l" t="t" r="r" b="b"/>
              <a:pathLst>
                <a:path w="11957" h="108128" extrusionOk="0">
                  <a:moveTo>
                    <a:pt x="11957" y="0"/>
                  </a:moveTo>
                  <a:lnTo>
                    <a:pt x="11715" y="35"/>
                  </a:lnTo>
                  <a:lnTo>
                    <a:pt x="11680" y="70"/>
                  </a:lnTo>
                  <a:lnTo>
                    <a:pt x="11577" y="139"/>
                  </a:lnTo>
                  <a:lnTo>
                    <a:pt x="11335" y="139"/>
                  </a:lnTo>
                  <a:lnTo>
                    <a:pt x="10886" y="104"/>
                  </a:lnTo>
                  <a:lnTo>
                    <a:pt x="2661" y="81554"/>
                  </a:lnTo>
                  <a:lnTo>
                    <a:pt x="2454" y="83558"/>
                  </a:lnTo>
                  <a:lnTo>
                    <a:pt x="0" y="107955"/>
                  </a:lnTo>
                  <a:lnTo>
                    <a:pt x="1452" y="108093"/>
                  </a:lnTo>
                  <a:lnTo>
                    <a:pt x="1590" y="108127"/>
                  </a:lnTo>
                  <a:lnTo>
                    <a:pt x="2143" y="103428"/>
                  </a:lnTo>
                  <a:lnTo>
                    <a:pt x="2661" y="98486"/>
                  </a:lnTo>
                  <a:lnTo>
                    <a:pt x="3145" y="93406"/>
                  </a:lnTo>
                  <a:lnTo>
                    <a:pt x="3629" y="88258"/>
                  </a:lnTo>
                  <a:lnTo>
                    <a:pt x="4527" y="78236"/>
                  </a:lnTo>
                  <a:lnTo>
                    <a:pt x="4976" y="73571"/>
                  </a:lnTo>
                  <a:lnTo>
                    <a:pt x="5391" y="69286"/>
                  </a:lnTo>
                  <a:lnTo>
                    <a:pt x="6082" y="62824"/>
                  </a:lnTo>
                  <a:lnTo>
                    <a:pt x="6981" y="54323"/>
                  </a:lnTo>
                  <a:lnTo>
                    <a:pt x="8052" y="44440"/>
                  </a:lnTo>
                  <a:lnTo>
                    <a:pt x="9158" y="33935"/>
                  </a:lnTo>
                  <a:lnTo>
                    <a:pt x="10194" y="23499"/>
                  </a:lnTo>
                  <a:lnTo>
                    <a:pt x="10678" y="18557"/>
                  </a:lnTo>
                  <a:lnTo>
                    <a:pt x="11058" y="13892"/>
                  </a:lnTo>
                  <a:lnTo>
                    <a:pt x="11438" y="9642"/>
                  </a:lnTo>
                  <a:lnTo>
                    <a:pt x="11680" y="5841"/>
                  </a:lnTo>
                  <a:lnTo>
                    <a:pt x="11888" y="2592"/>
                  </a:lnTo>
                  <a:lnTo>
                    <a:pt x="11922" y="1210"/>
                  </a:lnTo>
                  <a:lnTo>
                    <a:pt x="11957" y="0"/>
                  </a:lnTo>
                  <a:close/>
                </a:path>
              </a:pathLst>
            </a:custGeom>
            <a:solidFill>
              <a:srgbClr val="D9820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1" name="Google Shape;1628;p16">
              <a:extLst>
                <a:ext uri="{FF2B5EF4-FFF2-40B4-BE49-F238E27FC236}">
                  <a16:creationId xmlns:a16="http://schemas.microsoft.com/office/drawing/2014/main" id="{A9D99DBF-91DE-98F8-7A8F-F18C346AEAD3}"/>
                </a:ext>
              </a:extLst>
            </p:cNvPr>
            <p:cNvSpPr/>
            <p:nvPr/>
          </p:nvSpPr>
          <p:spPr>
            <a:xfrm>
              <a:off x="5024650" y="2550800"/>
              <a:ext cx="298925" cy="2703200"/>
            </a:xfrm>
            <a:custGeom>
              <a:avLst/>
              <a:gdLst/>
              <a:ahLst/>
              <a:cxnLst/>
              <a:rect l="l" t="t" r="r" b="b"/>
              <a:pathLst>
                <a:path w="11957" h="108128" fill="none" extrusionOk="0">
                  <a:moveTo>
                    <a:pt x="11957" y="0"/>
                  </a:moveTo>
                  <a:lnTo>
                    <a:pt x="11715" y="35"/>
                  </a:lnTo>
                  <a:lnTo>
                    <a:pt x="11715" y="35"/>
                  </a:lnTo>
                  <a:lnTo>
                    <a:pt x="11680" y="70"/>
                  </a:lnTo>
                  <a:lnTo>
                    <a:pt x="11680" y="70"/>
                  </a:lnTo>
                  <a:lnTo>
                    <a:pt x="11577" y="139"/>
                  </a:lnTo>
                  <a:lnTo>
                    <a:pt x="11335" y="139"/>
                  </a:lnTo>
                  <a:lnTo>
                    <a:pt x="11335" y="139"/>
                  </a:lnTo>
                  <a:lnTo>
                    <a:pt x="10886" y="104"/>
                  </a:lnTo>
                  <a:lnTo>
                    <a:pt x="2661" y="81554"/>
                  </a:lnTo>
                  <a:lnTo>
                    <a:pt x="2454" y="83558"/>
                  </a:lnTo>
                  <a:lnTo>
                    <a:pt x="0" y="107955"/>
                  </a:lnTo>
                  <a:lnTo>
                    <a:pt x="1452" y="108093"/>
                  </a:lnTo>
                  <a:lnTo>
                    <a:pt x="1590" y="108127"/>
                  </a:lnTo>
                  <a:lnTo>
                    <a:pt x="1590" y="108127"/>
                  </a:lnTo>
                  <a:lnTo>
                    <a:pt x="2143" y="103428"/>
                  </a:lnTo>
                  <a:lnTo>
                    <a:pt x="2661" y="98486"/>
                  </a:lnTo>
                  <a:lnTo>
                    <a:pt x="3145" y="93406"/>
                  </a:lnTo>
                  <a:lnTo>
                    <a:pt x="3629" y="88258"/>
                  </a:lnTo>
                  <a:lnTo>
                    <a:pt x="4527" y="78236"/>
                  </a:lnTo>
                  <a:lnTo>
                    <a:pt x="4976" y="73571"/>
                  </a:lnTo>
                  <a:lnTo>
                    <a:pt x="5391" y="69286"/>
                  </a:lnTo>
                  <a:lnTo>
                    <a:pt x="5391" y="69286"/>
                  </a:lnTo>
                  <a:lnTo>
                    <a:pt x="6082" y="62824"/>
                  </a:lnTo>
                  <a:lnTo>
                    <a:pt x="6981" y="54323"/>
                  </a:lnTo>
                  <a:lnTo>
                    <a:pt x="8052" y="44440"/>
                  </a:lnTo>
                  <a:lnTo>
                    <a:pt x="9158" y="33935"/>
                  </a:lnTo>
                  <a:lnTo>
                    <a:pt x="10194" y="23499"/>
                  </a:lnTo>
                  <a:lnTo>
                    <a:pt x="10678" y="18557"/>
                  </a:lnTo>
                  <a:lnTo>
                    <a:pt x="11058" y="13892"/>
                  </a:lnTo>
                  <a:lnTo>
                    <a:pt x="11438" y="9642"/>
                  </a:lnTo>
                  <a:lnTo>
                    <a:pt x="11680" y="5841"/>
                  </a:lnTo>
                  <a:lnTo>
                    <a:pt x="11888" y="2592"/>
                  </a:lnTo>
                  <a:lnTo>
                    <a:pt x="11922" y="1210"/>
                  </a:lnTo>
                  <a:lnTo>
                    <a:pt x="11957" y="0"/>
                  </a:lnTo>
                  <a:lnTo>
                    <a:pt x="1195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2" name="Google Shape;1629;p16">
              <a:extLst>
                <a:ext uri="{FF2B5EF4-FFF2-40B4-BE49-F238E27FC236}">
                  <a16:creationId xmlns:a16="http://schemas.microsoft.com/office/drawing/2014/main" id="{9426C114-D542-5465-F97E-E11B21025F6C}"/>
                </a:ext>
              </a:extLst>
            </p:cNvPr>
            <p:cNvSpPr/>
            <p:nvPr/>
          </p:nvSpPr>
          <p:spPr>
            <a:xfrm>
              <a:off x="5296775" y="2551675"/>
              <a:ext cx="20750" cy="2600"/>
            </a:xfrm>
            <a:custGeom>
              <a:avLst/>
              <a:gdLst/>
              <a:ahLst/>
              <a:cxnLst/>
              <a:rect l="l" t="t" r="r" b="b"/>
              <a:pathLst>
                <a:path w="830" h="104" extrusionOk="0">
                  <a:moveTo>
                    <a:pt x="830" y="0"/>
                  </a:moveTo>
                  <a:lnTo>
                    <a:pt x="1" y="69"/>
                  </a:lnTo>
                  <a:lnTo>
                    <a:pt x="450" y="104"/>
                  </a:lnTo>
                  <a:lnTo>
                    <a:pt x="692" y="104"/>
                  </a:lnTo>
                  <a:lnTo>
                    <a:pt x="795" y="35"/>
                  </a:lnTo>
                  <a:lnTo>
                    <a:pt x="830" y="0"/>
                  </a:lnTo>
                  <a:close/>
                </a:path>
              </a:pathLst>
            </a:custGeom>
            <a:solidFill>
              <a:srgbClr val="DEACB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3" name="Google Shape;1630;p16">
              <a:extLst>
                <a:ext uri="{FF2B5EF4-FFF2-40B4-BE49-F238E27FC236}">
                  <a16:creationId xmlns:a16="http://schemas.microsoft.com/office/drawing/2014/main" id="{75509775-0AB4-2B41-5DDD-E47ACD5642E7}"/>
                </a:ext>
              </a:extLst>
            </p:cNvPr>
            <p:cNvSpPr/>
            <p:nvPr/>
          </p:nvSpPr>
          <p:spPr>
            <a:xfrm>
              <a:off x="5296775" y="2551675"/>
              <a:ext cx="20750" cy="2600"/>
            </a:xfrm>
            <a:custGeom>
              <a:avLst/>
              <a:gdLst/>
              <a:ahLst/>
              <a:cxnLst/>
              <a:rect l="l" t="t" r="r" b="b"/>
              <a:pathLst>
                <a:path w="830" h="104" fill="none" extrusionOk="0">
                  <a:moveTo>
                    <a:pt x="830" y="0"/>
                  </a:moveTo>
                  <a:lnTo>
                    <a:pt x="1" y="69"/>
                  </a:lnTo>
                  <a:lnTo>
                    <a:pt x="1" y="69"/>
                  </a:lnTo>
                  <a:lnTo>
                    <a:pt x="1" y="69"/>
                  </a:lnTo>
                  <a:lnTo>
                    <a:pt x="1" y="69"/>
                  </a:lnTo>
                  <a:lnTo>
                    <a:pt x="450" y="104"/>
                  </a:lnTo>
                  <a:lnTo>
                    <a:pt x="450" y="104"/>
                  </a:lnTo>
                  <a:lnTo>
                    <a:pt x="692" y="104"/>
                  </a:lnTo>
                  <a:lnTo>
                    <a:pt x="795" y="35"/>
                  </a:lnTo>
                  <a:lnTo>
                    <a:pt x="795" y="35"/>
                  </a:lnTo>
                  <a:lnTo>
                    <a:pt x="83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4" name="Google Shape;1631;p16">
              <a:extLst>
                <a:ext uri="{FF2B5EF4-FFF2-40B4-BE49-F238E27FC236}">
                  <a16:creationId xmlns:a16="http://schemas.microsoft.com/office/drawing/2014/main" id="{96D23B2F-3C87-CA49-C931-F4754F0F2014}"/>
                </a:ext>
              </a:extLst>
            </p:cNvPr>
            <p:cNvSpPr/>
            <p:nvPr/>
          </p:nvSpPr>
          <p:spPr>
            <a:xfrm>
              <a:off x="5323550" y="25508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5" name="Google Shape;1632;p16">
              <a:extLst>
                <a:ext uri="{FF2B5EF4-FFF2-40B4-BE49-F238E27FC236}">
                  <a16:creationId xmlns:a16="http://schemas.microsoft.com/office/drawing/2014/main" id="{EFEBCD80-8C66-C2AD-6E5D-650CF09A777A}"/>
                </a:ext>
              </a:extLst>
            </p:cNvPr>
            <p:cNvSpPr/>
            <p:nvPr/>
          </p:nvSpPr>
          <p:spPr>
            <a:xfrm>
              <a:off x="5263950" y="3018175"/>
              <a:ext cx="203050" cy="190075"/>
            </a:xfrm>
            <a:custGeom>
              <a:avLst/>
              <a:gdLst/>
              <a:ahLst/>
              <a:cxnLst/>
              <a:rect l="l" t="t" r="r" b="b"/>
              <a:pathLst>
                <a:path w="8122" h="7603" extrusionOk="0">
                  <a:moveTo>
                    <a:pt x="7119" y="0"/>
                  </a:moveTo>
                  <a:lnTo>
                    <a:pt x="7050" y="35"/>
                  </a:lnTo>
                  <a:lnTo>
                    <a:pt x="6635" y="312"/>
                  </a:lnTo>
                  <a:lnTo>
                    <a:pt x="6255" y="588"/>
                  </a:lnTo>
                  <a:lnTo>
                    <a:pt x="5529" y="1175"/>
                  </a:lnTo>
                  <a:lnTo>
                    <a:pt x="4942" y="1659"/>
                  </a:lnTo>
                  <a:lnTo>
                    <a:pt x="4700" y="1832"/>
                  </a:lnTo>
                  <a:lnTo>
                    <a:pt x="4493" y="1936"/>
                  </a:lnTo>
                  <a:lnTo>
                    <a:pt x="4424" y="1936"/>
                  </a:lnTo>
                  <a:lnTo>
                    <a:pt x="4389" y="1901"/>
                  </a:lnTo>
                  <a:lnTo>
                    <a:pt x="4354" y="1867"/>
                  </a:lnTo>
                  <a:lnTo>
                    <a:pt x="4389" y="1763"/>
                  </a:lnTo>
                  <a:lnTo>
                    <a:pt x="4527" y="1245"/>
                  </a:lnTo>
                  <a:lnTo>
                    <a:pt x="4562" y="934"/>
                  </a:lnTo>
                  <a:lnTo>
                    <a:pt x="4562" y="795"/>
                  </a:lnTo>
                  <a:lnTo>
                    <a:pt x="4562" y="657"/>
                  </a:lnTo>
                  <a:lnTo>
                    <a:pt x="4493" y="553"/>
                  </a:lnTo>
                  <a:lnTo>
                    <a:pt x="4424" y="484"/>
                  </a:lnTo>
                  <a:lnTo>
                    <a:pt x="4285" y="450"/>
                  </a:lnTo>
                  <a:lnTo>
                    <a:pt x="4078" y="415"/>
                  </a:lnTo>
                  <a:lnTo>
                    <a:pt x="3905" y="484"/>
                  </a:lnTo>
                  <a:lnTo>
                    <a:pt x="3698" y="588"/>
                  </a:lnTo>
                  <a:lnTo>
                    <a:pt x="3525" y="726"/>
                  </a:lnTo>
                  <a:lnTo>
                    <a:pt x="3352" y="934"/>
                  </a:lnTo>
                  <a:lnTo>
                    <a:pt x="3007" y="1452"/>
                  </a:lnTo>
                  <a:lnTo>
                    <a:pt x="2592" y="2108"/>
                  </a:lnTo>
                  <a:lnTo>
                    <a:pt x="2143" y="2800"/>
                  </a:lnTo>
                  <a:lnTo>
                    <a:pt x="1866" y="3180"/>
                  </a:lnTo>
                  <a:lnTo>
                    <a:pt x="1555" y="3525"/>
                  </a:lnTo>
                  <a:lnTo>
                    <a:pt x="1244" y="3871"/>
                  </a:lnTo>
                  <a:lnTo>
                    <a:pt x="864" y="4216"/>
                  </a:lnTo>
                  <a:lnTo>
                    <a:pt x="450" y="4527"/>
                  </a:lnTo>
                  <a:lnTo>
                    <a:pt x="0" y="4804"/>
                  </a:lnTo>
                  <a:lnTo>
                    <a:pt x="70" y="5288"/>
                  </a:lnTo>
                  <a:lnTo>
                    <a:pt x="139" y="5806"/>
                  </a:lnTo>
                  <a:lnTo>
                    <a:pt x="242" y="6359"/>
                  </a:lnTo>
                  <a:lnTo>
                    <a:pt x="415" y="6877"/>
                  </a:lnTo>
                  <a:lnTo>
                    <a:pt x="519" y="7119"/>
                  </a:lnTo>
                  <a:lnTo>
                    <a:pt x="622" y="7292"/>
                  </a:lnTo>
                  <a:lnTo>
                    <a:pt x="761" y="7465"/>
                  </a:lnTo>
                  <a:lnTo>
                    <a:pt x="899" y="7568"/>
                  </a:lnTo>
                  <a:lnTo>
                    <a:pt x="1072" y="7603"/>
                  </a:lnTo>
                  <a:lnTo>
                    <a:pt x="1244" y="7568"/>
                  </a:lnTo>
                  <a:lnTo>
                    <a:pt x="2419" y="7050"/>
                  </a:lnTo>
                  <a:lnTo>
                    <a:pt x="4009" y="6324"/>
                  </a:lnTo>
                  <a:lnTo>
                    <a:pt x="5599" y="5564"/>
                  </a:lnTo>
                  <a:lnTo>
                    <a:pt x="6221" y="5253"/>
                  </a:lnTo>
                  <a:lnTo>
                    <a:pt x="6670" y="5011"/>
                  </a:lnTo>
                  <a:lnTo>
                    <a:pt x="6877" y="4873"/>
                  </a:lnTo>
                  <a:lnTo>
                    <a:pt x="7084" y="4700"/>
                  </a:lnTo>
                  <a:lnTo>
                    <a:pt x="7292" y="4527"/>
                  </a:lnTo>
                  <a:lnTo>
                    <a:pt x="7430" y="4355"/>
                  </a:lnTo>
                  <a:lnTo>
                    <a:pt x="7568" y="4147"/>
                  </a:lnTo>
                  <a:lnTo>
                    <a:pt x="7706" y="3940"/>
                  </a:lnTo>
                  <a:lnTo>
                    <a:pt x="7914" y="3525"/>
                  </a:lnTo>
                  <a:lnTo>
                    <a:pt x="8017" y="3076"/>
                  </a:lnTo>
                  <a:lnTo>
                    <a:pt x="8087" y="2627"/>
                  </a:lnTo>
                  <a:lnTo>
                    <a:pt x="8121" y="2212"/>
                  </a:lnTo>
                  <a:lnTo>
                    <a:pt x="8087" y="1763"/>
                  </a:lnTo>
                  <a:lnTo>
                    <a:pt x="8017" y="1383"/>
                  </a:lnTo>
                  <a:lnTo>
                    <a:pt x="7914" y="1003"/>
                  </a:lnTo>
                  <a:lnTo>
                    <a:pt x="7776" y="657"/>
                  </a:lnTo>
                  <a:lnTo>
                    <a:pt x="7637" y="381"/>
                  </a:lnTo>
                  <a:lnTo>
                    <a:pt x="7499" y="173"/>
                  </a:lnTo>
                  <a:lnTo>
                    <a:pt x="7326" y="35"/>
                  </a:lnTo>
                  <a:lnTo>
                    <a:pt x="7188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6" name="Google Shape;1633;p16">
              <a:extLst>
                <a:ext uri="{FF2B5EF4-FFF2-40B4-BE49-F238E27FC236}">
                  <a16:creationId xmlns:a16="http://schemas.microsoft.com/office/drawing/2014/main" id="{8327450F-BA6B-7624-3FFF-62C048BF81FE}"/>
                </a:ext>
              </a:extLst>
            </p:cNvPr>
            <p:cNvSpPr/>
            <p:nvPr/>
          </p:nvSpPr>
          <p:spPr>
            <a:xfrm>
              <a:off x="4577150" y="3092475"/>
              <a:ext cx="749025" cy="341275"/>
            </a:xfrm>
            <a:custGeom>
              <a:avLst/>
              <a:gdLst/>
              <a:ahLst/>
              <a:cxnLst/>
              <a:rect l="l" t="t" r="r" b="b"/>
              <a:pathLst>
                <a:path w="29961" h="13651" extrusionOk="0">
                  <a:moveTo>
                    <a:pt x="27403" y="0"/>
                  </a:moveTo>
                  <a:lnTo>
                    <a:pt x="27300" y="35"/>
                  </a:lnTo>
                  <a:lnTo>
                    <a:pt x="27230" y="69"/>
                  </a:lnTo>
                  <a:lnTo>
                    <a:pt x="26194" y="899"/>
                  </a:lnTo>
                  <a:lnTo>
                    <a:pt x="24881" y="1901"/>
                  </a:lnTo>
                  <a:lnTo>
                    <a:pt x="23326" y="3041"/>
                  </a:lnTo>
                  <a:lnTo>
                    <a:pt x="21701" y="4147"/>
                  </a:lnTo>
                  <a:lnTo>
                    <a:pt x="20872" y="4700"/>
                  </a:lnTo>
                  <a:lnTo>
                    <a:pt x="20043" y="5184"/>
                  </a:lnTo>
                  <a:lnTo>
                    <a:pt x="19248" y="5633"/>
                  </a:lnTo>
                  <a:lnTo>
                    <a:pt x="18522" y="6048"/>
                  </a:lnTo>
                  <a:lnTo>
                    <a:pt x="17831" y="6359"/>
                  </a:lnTo>
                  <a:lnTo>
                    <a:pt x="17175" y="6635"/>
                  </a:lnTo>
                  <a:lnTo>
                    <a:pt x="16622" y="6773"/>
                  </a:lnTo>
                  <a:lnTo>
                    <a:pt x="16380" y="6808"/>
                  </a:lnTo>
                  <a:lnTo>
                    <a:pt x="16172" y="6843"/>
                  </a:lnTo>
                  <a:lnTo>
                    <a:pt x="15896" y="6808"/>
                  </a:lnTo>
                  <a:lnTo>
                    <a:pt x="15516" y="6704"/>
                  </a:lnTo>
                  <a:lnTo>
                    <a:pt x="15032" y="6601"/>
                  </a:lnTo>
                  <a:lnTo>
                    <a:pt x="14479" y="6393"/>
                  </a:lnTo>
                  <a:lnTo>
                    <a:pt x="13857" y="6186"/>
                  </a:lnTo>
                  <a:lnTo>
                    <a:pt x="13201" y="5909"/>
                  </a:lnTo>
                  <a:lnTo>
                    <a:pt x="12440" y="5564"/>
                  </a:lnTo>
                  <a:lnTo>
                    <a:pt x="11680" y="5184"/>
                  </a:lnTo>
                  <a:lnTo>
                    <a:pt x="10851" y="4769"/>
                  </a:lnTo>
                  <a:lnTo>
                    <a:pt x="10021" y="4320"/>
                  </a:lnTo>
                  <a:lnTo>
                    <a:pt x="9192" y="3802"/>
                  </a:lnTo>
                  <a:lnTo>
                    <a:pt x="8328" y="3214"/>
                  </a:lnTo>
                  <a:lnTo>
                    <a:pt x="7464" y="2592"/>
                  </a:lnTo>
                  <a:lnTo>
                    <a:pt x="6635" y="1936"/>
                  </a:lnTo>
                  <a:lnTo>
                    <a:pt x="5840" y="1244"/>
                  </a:lnTo>
                  <a:lnTo>
                    <a:pt x="5080" y="484"/>
                  </a:lnTo>
                  <a:lnTo>
                    <a:pt x="4251" y="588"/>
                  </a:lnTo>
                  <a:lnTo>
                    <a:pt x="3387" y="691"/>
                  </a:lnTo>
                  <a:lnTo>
                    <a:pt x="2419" y="864"/>
                  </a:lnTo>
                  <a:lnTo>
                    <a:pt x="1935" y="1002"/>
                  </a:lnTo>
                  <a:lnTo>
                    <a:pt x="1451" y="1141"/>
                  </a:lnTo>
                  <a:lnTo>
                    <a:pt x="1037" y="1313"/>
                  </a:lnTo>
                  <a:lnTo>
                    <a:pt x="657" y="1521"/>
                  </a:lnTo>
                  <a:lnTo>
                    <a:pt x="346" y="1728"/>
                  </a:lnTo>
                  <a:lnTo>
                    <a:pt x="242" y="1866"/>
                  </a:lnTo>
                  <a:lnTo>
                    <a:pt x="138" y="2005"/>
                  </a:lnTo>
                  <a:lnTo>
                    <a:pt x="69" y="2143"/>
                  </a:lnTo>
                  <a:lnTo>
                    <a:pt x="35" y="2281"/>
                  </a:lnTo>
                  <a:lnTo>
                    <a:pt x="0" y="2419"/>
                  </a:lnTo>
                  <a:lnTo>
                    <a:pt x="35" y="2592"/>
                  </a:lnTo>
                  <a:lnTo>
                    <a:pt x="69" y="2799"/>
                  </a:lnTo>
                  <a:lnTo>
                    <a:pt x="173" y="3007"/>
                  </a:lnTo>
                  <a:lnTo>
                    <a:pt x="518" y="3594"/>
                  </a:lnTo>
                  <a:lnTo>
                    <a:pt x="1002" y="4285"/>
                  </a:lnTo>
                  <a:lnTo>
                    <a:pt x="1624" y="5080"/>
                  </a:lnTo>
                  <a:lnTo>
                    <a:pt x="2384" y="5944"/>
                  </a:lnTo>
                  <a:lnTo>
                    <a:pt x="3248" y="6877"/>
                  </a:lnTo>
                  <a:lnTo>
                    <a:pt x="4216" y="7845"/>
                  </a:lnTo>
                  <a:lnTo>
                    <a:pt x="5287" y="8778"/>
                  </a:lnTo>
                  <a:lnTo>
                    <a:pt x="6428" y="9745"/>
                  </a:lnTo>
                  <a:lnTo>
                    <a:pt x="7602" y="10609"/>
                  </a:lnTo>
                  <a:lnTo>
                    <a:pt x="8224" y="11058"/>
                  </a:lnTo>
                  <a:lnTo>
                    <a:pt x="8847" y="11439"/>
                  </a:lnTo>
                  <a:lnTo>
                    <a:pt x="9503" y="11819"/>
                  </a:lnTo>
                  <a:lnTo>
                    <a:pt x="10125" y="12164"/>
                  </a:lnTo>
                  <a:lnTo>
                    <a:pt x="10782" y="12510"/>
                  </a:lnTo>
                  <a:lnTo>
                    <a:pt x="11438" y="12786"/>
                  </a:lnTo>
                  <a:lnTo>
                    <a:pt x="12060" y="13028"/>
                  </a:lnTo>
                  <a:lnTo>
                    <a:pt x="12717" y="13235"/>
                  </a:lnTo>
                  <a:lnTo>
                    <a:pt x="13373" y="13408"/>
                  </a:lnTo>
                  <a:lnTo>
                    <a:pt x="14030" y="13546"/>
                  </a:lnTo>
                  <a:lnTo>
                    <a:pt x="14652" y="13616"/>
                  </a:lnTo>
                  <a:lnTo>
                    <a:pt x="15274" y="13650"/>
                  </a:lnTo>
                  <a:lnTo>
                    <a:pt x="15585" y="13616"/>
                  </a:lnTo>
                  <a:lnTo>
                    <a:pt x="15931" y="13581"/>
                  </a:lnTo>
                  <a:lnTo>
                    <a:pt x="16311" y="13477"/>
                  </a:lnTo>
                  <a:lnTo>
                    <a:pt x="16691" y="13339"/>
                  </a:lnTo>
                  <a:lnTo>
                    <a:pt x="17624" y="12959"/>
                  </a:lnTo>
                  <a:lnTo>
                    <a:pt x="18626" y="12475"/>
                  </a:lnTo>
                  <a:lnTo>
                    <a:pt x="19732" y="11922"/>
                  </a:lnTo>
                  <a:lnTo>
                    <a:pt x="20872" y="11300"/>
                  </a:lnTo>
                  <a:lnTo>
                    <a:pt x="22047" y="10609"/>
                  </a:lnTo>
                  <a:lnTo>
                    <a:pt x="23222" y="9883"/>
                  </a:lnTo>
                  <a:lnTo>
                    <a:pt x="25468" y="8432"/>
                  </a:lnTo>
                  <a:lnTo>
                    <a:pt x="27438" y="7084"/>
                  </a:lnTo>
                  <a:lnTo>
                    <a:pt x="28924" y="6048"/>
                  </a:lnTo>
                  <a:lnTo>
                    <a:pt x="29719" y="5426"/>
                  </a:lnTo>
                  <a:lnTo>
                    <a:pt x="29788" y="5357"/>
                  </a:lnTo>
                  <a:lnTo>
                    <a:pt x="29857" y="5218"/>
                  </a:lnTo>
                  <a:lnTo>
                    <a:pt x="29926" y="5080"/>
                  </a:lnTo>
                  <a:lnTo>
                    <a:pt x="29960" y="4907"/>
                  </a:lnTo>
                  <a:lnTo>
                    <a:pt x="29960" y="4562"/>
                  </a:lnTo>
                  <a:lnTo>
                    <a:pt x="29891" y="4113"/>
                  </a:lnTo>
                  <a:lnTo>
                    <a:pt x="29788" y="3629"/>
                  </a:lnTo>
                  <a:lnTo>
                    <a:pt x="29649" y="3145"/>
                  </a:lnTo>
                  <a:lnTo>
                    <a:pt x="29442" y="2627"/>
                  </a:lnTo>
                  <a:lnTo>
                    <a:pt x="29235" y="2143"/>
                  </a:lnTo>
                  <a:lnTo>
                    <a:pt x="28958" y="1659"/>
                  </a:lnTo>
                  <a:lnTo>
                    <a:pt x="28716" y="1210"/>
                  </a:lnTo>
                  <a:lnTo>
                    <a:pt x="28440" y="795"/>
                  </a:lnTo>
                  <a:lnTo>
                    <a:pt x="28164" y="450"/>
                  </a:lnTo>
                  <a:lnTo>
                    <a:pt x="27887" y="208"/>
                  </a:lnTo>
                  <a:lnTo>
                    <a:pt x="27645" y="35"/>
                  </a:lnTo>
                  <a:lnTo>
                    <a:pt x="27542" y="0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7" name="Google Shape;1634;p16">
              <a:extLst>
                <a:ext uri="{FF2B5EF4-FFF2-40B4-BE49-F238E27FC236}">
                  <a16:creationId xmlns:a16="http://schemas.microsoft.com/office/drawing/2014/main" id="{9026F452-6A2D-81A4-9C44-EE491A73804A}"/>
                </a:ext>
              </a:extLst>
            </p:cNvPr>
            <p:cNvSpPr/>
            <p:nvPr/>
          </p:nvSpPr>
          <p:spPr>
            <a:xfrm>
              <a:off x="3670900" y="2765050"/>
              <a:ext cx="137375" cy="338675"/>
            </a:xfrm>
            <a:custGeom>
              <a:avLst/>
              <a:gdLst/>
              <a:ahLst/>
              <a:cxnLst/>
              <a:rect l="l" t="t" r="r" b="b"/>
              <a:pathLst>
                <a:path w="5495" h="13547" extrusionOk="0">
                  <a:moveTo>
                    <a:pt x="2765" y="0"/>
                  </a:moveTo>
                  <a:lnTo>
                    <a:pt x="2696" y="35"/>
                  </a:lnTo>
                  <a:lnTo>
                    <a:pt x="2592" y="208"/>
                  </a:lnTo>
                  <a:lnTo>
                    <a:pt x="2523" y="415"/>
                  </a:lnTo>
                  <a:lnTo>
                    <a:pt x="2488" y="657"/>
                  </a:lnTo>
                  <a:lnTo>
                    <a:pt x="2454" y="968"/>
                  </a:lnTo>
                  <a:lnTo>
                    <a:pt x="2488" y="1694"/>
                  </a:lnTo>
                  <a:lnTo>
                    <a:pt x="2592" y="3145"/>
                  </a:lnTo>
                  <a:lnTo>
                    <a:pt x="2592" y="3767"/>
                  </a:lnTo>
                  <a:lnTo>
                    <a:pt x="2558" y="3974"/>
                  </a:lnTo>
                  <a:lnTo>
                    <a:pt x="2488" y="4113"/>
                  </a:lnTo>
                  <a:lnTo>
                    <a:pt x="2385" y="4251"/>
                  </a:lnTo>
                  <a:lnTo>
                    <a:pt x="2247" y="4355"/>
                  </a:lnTo>
                  <a:lnTo>
                    <a:pt x="2074" y="4424"/>
                  </a:lnTo>
                  <a:lnTo>
                    <a:pt x="1866" y="4458"/>
                  </a:lnTo>
                  <a:lnTo>
                    <a:pt x="1452" y="4527"/>
                  </a:lnTo>
                  <a:lnTo>
                    <a:pt x="1037" y="4562"/>
                  </a:lnTo>
                  <a:lnTo>
                    <a:pt x="830" y="4596"/>
                  </a:lnTo>
                  <a:lnTo>
                    <a:pt x="622" y="4666"/>
                  </a:lnTo>
                  <a:lnTo>
                    <a:pt x="450" y="4735"/>
                  </a:lnTo>
                  <a:lnTo>
                    <a:pt x="277" y="4873"/>
                  </a:lnTo>
                  <a:lnTo>
                    <a:pt x="173" y="5011"/>
                  </a:lnTo>
                  <a:lnTo>
                    <a:pt x="70" y="5218"/>
                  </a:lnTo>
                  <a:lnTo>
                    <a:pt x="0" y="5495"/>
                  </a:lnTo>
                  <a:lnTo>
                    <a:pt x="0" y="5806"/>
                  </a:lnTo>
                  <a:lnTo>
                    <a:pt x="35" y="5944"/>
                  </a:lnTo>
                  <a:lnTo>
                    <a:pt x="70" y="6082"/>
                  </a:lnTo>
                  <a:lnTo>
                    <a:pt x="173" y="6359"/>
                  </a:lnTo>
                  <a:lnTo>
                    <a:pt x="346" y="6635"/>
                  </a:lnTo>
                  <a:lnTo>
                    <a:pt x="553" y="6946"/>
                  </a:lnTo>
                  <a:lnTo>
                    <a:pt x="761" y="7326"/>
                  </a:lnTo>
                  <a:lnTo>
                    <a:pt x="1003" y="7776"/>
                  </a:lnTo>
                  <a:lnTo>
                    <a:pt x="1210" y="8329"/>
                  </a:lnTo>
                  <a:lnTo>
                    <a:pt x="1383" y="8985"/>
                  </a:lnTo>
                  <a:lnTo>
                    <a:pt x="1486" y="9503"/>
                  </a:lnTo>
                  <a:lnTo>
                    <a:pt x="1555" y="10125"/>
                  </a:lnTo>
                  <a:lnTo>
                    <a:pt x="1694" y="11508"/>
                  </a:lnTo>
                  <a:lnTo>
                    <a:pt x="1866" y="12752"/>
                  </a:lnTo>
                  <a:lnTo>
                    <a:pt x="1936" y="13201"/>
                  </a:lnTo>
                  <a:lnTo>
                    <a:pt x="2005" y="13339"/>
                  </a:lnTo>
                  <a:lnTo>
                    <a:pt x="2039" y="13443"/>
                  </a:lnTo>
                  <a:lnTo>
                    <a:pt x="2143" y="13512"/>
                  </a:lnTo>
                  <a:lnTo>
                    <a:pt x="2281" y="13547"/>
                  </a:lnTo>
                  <a:lnTo>
                    <a:pt x="2488" y="13547"/>
                  </a:lnTo>
                  <a:lnTo>
                    <a:pt x="2696" y="13512"/>
                  </a:lnTo>
                  <a:lnTo>
                    <a:pt x="3283" y="13374"/>
                  </a:lnTo>
                  <a:lnTo>
                    <a:pt x="3871" y="13166"/>
                  </a:lnTo>
                  <a:lnTo>
                    <a:pt x="4977" y="12752"/>
                  </a:lnTo>
                  <a:lnTo>
                    <a:pt x="5495" y="12579"/>
                  </a:lnTo>
                  <a:lnTo>
                    <a:pt x="5322" y="11784"/>
                  </a:lnTo>
                  <a:lnTo>
                    <a:pt x="5115" y="10851"/>
                  </a:lnTo>
                  <a:lnTo>
                    <a:pt x="4838" y="9918"/>
                  </a:lnTo>
                  <a:lnTo>
                    <a:pt x="4527" y="8985"/>
                  </a:lnTo>
                  <a:lnTo>
                    <a:pt x="4251" y="8156"/>
                  </a:lnTo>
                  <a:lnTo>
                    <a:pt x="4044" y="7326"/>
                  </a:lnTo>
                  <a:lnTo>
                    <a:pt x="3940" y="6877"/>
                  </a:lnTo>
                  <a:lnTo>
                    <a:pt x="3905" y="6463"/>
                  </a:lnTo>
                  <a:lnTo>
                    <a:pt x="3871" y="6048"/>
                  </a:lnTo>
                  <a:lnTo>
                    <a:pt x="3905" y="5633"/>
                  </a:lnTo>
                  <a:lnTo>
                    <a:pt x="3940" y="4977"/>
                  </a:lnTo>
                  <a:lnTo>
                    <a:pt x="3871" y="4147"/>
                  </a:lnTo>
                  <a:lnTo>
                    <a:pt x="3802" y="3249"/>
                  </a:lnTo>
                  <a:lnTo>
                    <a:pt x="3663" y="2316"/>
                  </a:lnTo>
                  <a:lnTo>
                    <a:pt x="3491" y="1452"/>
                  </a:lnTo>
                  <a:lnTo>
                    <a:pt x="3352" y="726"/>
                  </a:lnTo>
                  <a:lnTo>
                    <a:pt x="3180" y="242"/>
                  </a:lnTo>
                  <a:lnTo>
                    <a:pt x="3111" y="70"/>
                  </a:lnTo>
                  <a:lnTo>
                    <a:pt x="3041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8" name="Google Shape;1635;p16">
              <a:extLst>
                <a:ext uri="{FF2B5EF4-FFF2-40B4-BE49-F238E27FC236}">
                  <a16:creationId xmlns:a16="http://schemas.microsoft.com/office/drawing/2014/main" id="{1208D3F2-000A-BF1B-43EE-478D5988F10E}"/>
                </a:ext>
              </a:extLst>
            </p:cNvPr>
            <p:cNvSpPr/>
            <p:nvPr/>
          </p:nvSpPr>
          <p:spPr>
            <a:xfrm>
              <a:off x="3986225" y="5196100"/>
              <a:ext cx="131350" cy="218575"/>
            </a:xfrm>
            <a:custGeom>
              <a:avLst/>
              <a:gdLst/>
              <a:ahLst/>
              <a:cxnLst/>
              <a:rect l="l" t="t" r="r" b="b"/>
              <a:pathLst>
                <a:path w="5254" h="8743" extrusionOk="0">
                  <a:moveTo>
                    <a:pt x="312" y="0"/>
                  </a:moveTo>
                  <a:lnTo>
                    <a:pt x="139" y="2454"/>
                  </a:lnTo>
                  <a:lnTo>
                    <a:pt x="1" y="4527"/>
                  </a:lnTo>
                  <a:lnTo>
                    <a:pt x="1" y="5460"/>
                  </a:lnTo>
                  <a:lnTo>
                    <a:pt x="1" y="6220"/>
                  </a:lnTo>
                  <a:lnTo>
                    <a:pt x="1210" y="8743"/>
                  </a:lnTo>
                  <a:lnTo>
                    <a:pt x="4597" y="6773"/>
                  </a:lnTo>
                  <a:lnTo>
                    <a:pt x="5253" y="104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9" name="Google Shape;1636;p16">
              <a:extLst>
                <a:ext uri="{FF2B5EF4-FFF2-40B4-BE49-F238E27FC236}">
                  <a16:creationId xmlns:a16="http://schemas.microsoft.com/office/drawing/2014/main" id="{5DFBB858-EF7B-4023-9739-D7E1DABCF5FC}"/>
                </a:ext>
              </a:extLst>
            </p:cNvPr>
            <p:cNvSpPr/>
            <p:nvPr/>
          </p:nvSpPr>
          <p:spPr>
            <a:xfrm>
              <a:off x="3751250" y="5332600"/>
              <a:ext cx="366325" cy="139975"/>
            </a:xfrm>
            <a:custGeom>
              <a:avLst/>
              <a:gdLst/>
              <a:ahLst/>
              <a:cxnLst/>
              <a:rect l="l" t="t" r="r" b="b"/>
              <a:pathLst>
                <a:path w="14653" h="5599" extrusionOk="0">
                  <a:moveTo>
                    <a:pt x="8881" y="0"/>
                  </a:moveTo>
                  <a:lnTo>
                    <a:pt x="8777" y="35"/>
                  </a:lnTo>
                  <a:lnTo>
                    <a:pt x="8708" y="104"/>
                  </a:lnTo>
                  <a:lnTo>
                    <a:pt x="8674" y="242"/>
                  </a:lnTo>
                  <a:lnTo>
                    <a:pt x="8639" y="588"/>
                  </a:lnTo>
                  <a:lnTo>
                    <a:pt x="8605" y="829"/>
                  </a:lnTo>
                  <a:lnTo>
                    <a:pt x="8536" y="1106"/>
                  </a:lnTo>
                  <a:lnTo>
                    <a:pt x="8466" y="1244"/>
                  </a:lnTo>
                  <a:lnTo>
                    <a:pt x="8397" y="1382"/>
                  </a:lnTo>
                  <a:lnTo>
                    <a:pt x="8259" y="1521"/>
                  </a:lnTo>
                  <a:lnTo>
                    <a:pt x="8086" y="1659"/>
                  </a:lnTo>
                  <a:lnTo>
                    <a:pt x="7706" y="1866"/>
                  </a:lnTo>
                  <a:lnTo>
                    <a:pt x="7222" y="2073"/>
                  </a:lnTo>
                  <a:lnTo>
                    <a:pt x="6670" y="2246"/>
                  </a:lnTo>
                  <a:lnTo>
                    <a:pt x="6082" y="2384"/>
                  </a:lnTo>
                  <a:lnTo>
                    <a:pt x="5426" y="2488"/>
                  </a:lnTo>
                  <a:lnTo>
                    <a:pt x="4734" y="2557"/>
                  </a:lnTo>
                  <a:lnTo>
                    <a:pt x="3387" y="2695"/>
                  </a:lnTo>
                  <a:lnTo>
                    <a:pt x="2177" y="2799"/>
                  </a:lnTo>
                  <a:lnTo>
                    <a:pt x="1175" y="2834"/>
                  </a:lnTo>
                  <a:lnTo>
                    <a:pt x="588" y="2868"/>
                  </a:lnTo>
                  <a:lnTo>
                    <a:pt x="484" y="2937"/>
                  </a:lnTo>
                  <a:lnTo>
                    <a:pt x="380" y="3006"/>
                  </a:lnTo>
                  <a:lnTo>
                    <a:pt x="277" y="3145"/>
                  </a:lnTo>
                  <a:lnTo>
                    <a:pt x="173" y="3318"/>
                  </a:lnTo>
                  <a:lnTo>
                    <a:pt x="104" y="3490"/>
                  </a:lnTo>
                  <a:lnTo>
                    <a:pt x="35" y="3732"/>
                  </a:lnTo>
                  <a:lnTo>
                    <a:pt x="35" y="3940"/>
                  </a:lnTo>
                  <a:lnTo>
                    <a:pt x="0" y="4181"/>
                  </a:lnTo>
                  <a:lnTo>
                    <a:pt x="35" y="4423"/>
                  </a:lnTo>
                  <a:lnTo>
                    <a:pt x="138" y="4665"/>
                  </a:lnTo>
                  <a:lnTo>
                    <a:pt x="242" y="4873"/>
                  </a:lnTo>
                  <a:lnTo>
                    <a:pt x="415" y="5045"/>
                  </a:lnTo>
                  <a:lnTo>
                    <a:pt x="657" y="5218"/>
                  </a:lnTo>
                  <a:lnTo>
                    <a:pt x="933" y="5356"/>
                  </a:lnTo>
                  <a:lnTo>
                    <a:pt x="1313" y="5425"/>
                  </a:lnTo>
                  <a:lnTo>
                    <a:pt x="1728" y="5460"/>
                  </a:lnTo>
                  <a:lnTo>
                    <a:pt x="7430" y="5529"/>
                  </a:lnTo>
                  <a:lnTo>
                    <a:pt x="13304" y="5598"/>
                  </a:lnTo>
                  <a:lnTo>
                    <a:pt x="13477" y="5564"/>
                  </a:lnTo>
                  <a:lnTo>
                    <a:pt x="13650" y="5529"/>
                  </a:lnTo>
                  <a:lnTo>
                    <a:pt x="13823" y="5460"/>
                  </a:lnTo>
                  <a:lnTo>
                    <a:pt x="13961" y="5391"/>
                  </a:lnTo>
                  <a:lnTo>
                    <a:pt x="14099" y="5253"/>
                  </a:lnTo>
                  <a:lnTo>
                    <a:pt x="14203" y="5114"/>
                  </a:lnTo>
                  <a:lnTo>
                    <a:pt x="14307" y="4976"/>
                  </a:lnTo>
                  <a:lnTo>
                    <a:pt x="14341" y="4803"/>
                  </a:lnTo>
                  <a:lnTo>
                    <a:pt x="14514" y="4181"/>
                  </a:lnTo>
                  <a:lnTo>
                    <a:pt x="14583" y="3490"/>
                  </a:lnTo>
                  <a:lnTo>
                    <a:pt x="14652" y="2765"/>
                  </a:lnTo>
                  <a:lnTo>
                    <a:pt x="14618" y="2108"/>
                  </a:lnTo>
                  <a:lnTo>
                    <a:pt x="14583" y="1521"/>
                  </a:lnTo>
                  <a:lnTo>
                    <a:pt x="14514" y="1244"/>
                  </a:lnTo>
                  <a:lnTo>
                    <a:pt x="14445" y="1037"/>
                  </a:lnTo>
                  <a:lnTo>
                    <a:pt x="14376" y="864"/>
                  </a:lnTo>
                  <a:lnTo>
                    <a:pt x="14307" y="726"/>
                  </a:lnTo>
                  <a:lnTo>
                    <a:pt x="14203" y="622"/>
                  </a:lnTo>
                  <a:lnTo>
                    <a:pt x="14065" y="588"/>
                  </a:lnTo>
                  <a:lnTo>
                    <a:pt x="13650" y="484"/>
                  </a:lnTo>
                  <a:lnTo>
                    <a:pt x="13166" y="415"/>
                  </a:lnTo>
                  <a:lnTo>
                    <a:pt x="11991" y="380"/>
                  </a:lnTo>
                  <a:lnTo>
                    <a:pt x="11335" y="346"/>
                  </a:lnTo>
                  <a:lnTo>
                    <a:pt x="10609" y="277"/>
                  </a:lnTo>
                  <a:lnTo>
                    <a:pt x="9849" y="173"/>
                  </a:lnTo>
                  <a:lnTo>
                    <a:pt x="905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0" name="Google Shape;1637;p16">
              <a:extLst>
                <a:ext uri="{FF2B5EF4-FFF2-40B4-BE49-F238E27FC236}">
                  <a16:creationId xmlns:a16="http://schemas.microsoft.com/office/drawing/2014/main" id="{64A21774-8671-B555-2023-23D758FEC5DD}"/>
                </a:ext>
              </a:extLst>
            </p:cNvPr>
            <p:cNvSpPr/>
            <p:nvPr/>
          </p:nvSpPr>
          <p:spPr>
            <a:xfrm>
              <a:off x="4654025" y="5114025"/>
              <a:ext cx="162450" cy="235875"/>
            </a:xfrm>
            <a:custGeom>
              <a:avLst/>
              <a:gdLst/>
              <a:ahLst/>
              <a:cxnLst/>
              <a:rect l="l" t="t" r="r" b="b"/>
              <a:pathLst>
                <a:path w="6498" h="9435" extrusionOk="0">
                  <a:moveTo>
                    <a:pt x="4700" y="0"/>
                  </a:moveTo>
                  <a:lnTo>
                    <a:pt x="1" y="1521"/>
                  </a:lnTo>
                  <a:lnTo>
                    <a:pt x="726" y="3871"/>
                  </a:lnTo>
                  <a:lnTo>
                    <a:pt x="1348" y="5840"/>
                  </a:lnTo>
                  <a:lnTo>
                    <a:pt x="1694" y="6739"/>
                  </a:lnTo>
                  <a:lnTo>
                    <a:pt x="1970" y="7465"/>
                  </a:lnTo>
                  <a:lnTo>
                    <a:pt x="4009" y="9434"/>
                  </a:lnTo>
                  <a:lnTo>
                    <a:pt x="6497" y="6497"/>
                  </a:lnTo>
                  <a:lnTo>
                    <a:pt x="4700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1" name="Google Shape;1638;p16">
              <a:extLst>
                <a:ext uri="{FF2B5EF4-FFF2-40B4-BE49-F238E27FC236}">
                  <a16:creationId xmlns:a16="http://schemas.microsoft.com/office/drawing/2014/main" id="{2554FC81-C638-B492-2A7D-3DBC65DFF88C}"/>
                </a:ext>
              </a:extLst>
            </p:cNvPr>
            <p:cNvSpPr/>
            <p:nvPr/>
          </p:nvSpPr>
          <p:spPr>
            <a:xfrm>
              <a:off x="4509750" y="5258300"/>
              <a:ext cx="346450" cy="218575"/>
            </a:xfrm>
            <a:custGeom>
              <a:avLst/>
              <a:gdLst/>
              <a:ahLst/>
              <a:cxnLst/>
              <a:rect l="l" t="t" r="r" b="b"/>
              <a:pathLst>
                <a:path w="13858" h="8743" extrusionOk="0">
                  <a:moveTo>
                    <a:pt x="12061" y="0"/>
                  </a:moveTo>
                  <a:lnTo>
                    <a:pt x="11646" y="35"/>
                  </a:lnTo>
                  <a:lnTo>
                    <a:pt x="11162" y="138"/>
                  </a:lnTo>
                  <a:lnTo>
                    <a:pt x="10022" y="484"/>
                  </a:lnTo>
                  <a:lnTo>
                    <a:pt x="9400" y="657"/>
                  </a:lnTo>
                  <a:lnTo>
                    <a:pt x="8709" y="830"/>
                  </a:lnTo>
                  <a:lnTo>
                    <a:pt x="7949" y="1002"/>
                  </a:lnTo>
                  <a:lnTo>
                    <a:pt x="7154" y="1106"/>
                  </a:lnTo>
                  <a:lnTo>
                    <a:pt x="6981" y="1141"/>
                  </a:lnTo>
                  <a:lnTo>
                    <a:pt x="6877" y="1210"/>
                  </a:lnTo>
                  <a:lnTo>
                    <a:pt x="6877" y="1279"/>
                  </a:lnTo>
                  <a:lnTo>
                    <a:pt x="6877" y="1417"/>
                  </a:lnTo>
                  <a:lnTo>
                    <a:pt x="6947" y="1797"/>
                  </a:lnTo>
                  <a:lnTo>
                    <a:pt x="7016" y="2005"/>
                  </a:lnTo>
                  <a:lnTo>
                    <a:pt x="7050" y="2281"/>
                  </a:lnTo>
                  <a:lnTo>
                    <a:pt x="7050" y="2454"/>
                  </a:lnTo>
                  <a:lnTo>
                    <a:pt x="7016" y="2627"/>
                  </a:lnTo>
                  <a:lnTo>
                    <a:pt x="6947" y="2765"/>
                  </a:lnTo>
                  <a:lnTo>
                    <a:pt x="6843" y="2938"/>
                  </a:lnTo>
                  <a:lnTo>
                    <a:pt x="6566" y="3283"/>
                  </a:lnTo>
                  <a:lnTo>
                    <a:pt x="6186" y="3629"/>
                  </a:lnTo>
                  <a:lnTo>
                    <a:pt x="5737" y="3940"/>
                  </a:lnTo>
                  <a:lnTo>
                    <a:pt x="5219" y="4285"/>
                  </a:lnTo>
                  <a:lnTo>
                    <a:pt x="4631" y="4596"/>
                  </a:lnTo>
                  <a:lnTo>
                    <a:pt x="4044" y="4907"/>
                  </a:lnTo>
                  <a:lnTo>
                    <a:pt x="2800" y="5460"/>
                  </a:lnTo>
                  <a:lnTo>
                    <a:pt x="1694" y="5944"/>
                  </a:lnTo>
                  <a:lnTo>
                    <a:pt x="761" y="6324"/>
                  </a:lnTo>
                  <a:lnTo>
                    <a:pt x="208" y="6566"/>
                  </a:lnTo>
                  <a:lnTo>
                    <a:pt x="139" y="6635"/>
                  </a:lnTo>
                  <a:lnTo>
                    <a:pt x="70" y="6739"/>
                  </a:lnTo>
                  <a:lnTo>
                    <a:pt x="35" y="6912"/>
                  </a:lnTo>
                  <a:lnTo>
                    <a:pt x="1" y="7084"/>
                  </a:lnTo>
                  <a:lnTo>
                    <a:pt x="1" y="7292"/>
                  </a:lnTo>
                  <a:lnTo>
                    <a:pt x="35" y="7499"/>
                  </a:lnTo>
                  <a:lnTo>
                    <a:pt x="104" y="7741"/>
                  </a:lnTo>
                  <a:lnTo>
                    <a:pt x="173" y="7948"/>
                  </a:lnTo>
                  <a:lnTo>
                    <a:pt x="277" y="8156"/>
                  </a:lnTo>
                  <a:lnTo>
                    <a:pt x="450" y="8363"/>
                  </a:lnTo>
                  <a:lnTo>
                    <a:pt x="623" y="8536"/>
                  </a:lnTo>
                  <a:lnTo>
                    <a:pt x="865" y="8639"/>
                  </a:lnTo>
                  <a:lnTo>
                    <a:pt x="1141" y="8708"/>
                  </a:lnTo>
                  <a:lnTo>
                    <a:pt x="1452" y="8743"/>
                  </a:lnTo>
                  <a:lnTo>
                    <a:pt x="1832" y="8708"/>
                  </a:lnTo>
                  <a:lnTo>
                    <a:pt x="2247" y="8605"/>
                  </a:lnTo>
                  <a:lnTo>
                    <a:pt x="7638" y="6808"/>
                  </a:lnTo>
                  <a:lnTo>
                    <a:pt x="13132" y="4942"/>
                  </a:lnTo>
                  <a:lnTo>
                    <a:pt x="13305" y="4873"/>
                  </a:lnTo>
                  <a:lnTo>
                    <a:pt x="13478" y="4769"/>
                  </a:lnTo>
                  <a:lnTo>
                    <a:pt x="13581" y="4665"/>
                  </a:lnTo>
                  <a:lnTo>
                    <a:pt x="13720" y="4527"/>
                  </a:lnTo>
                  <a:lnTo>
                    <a:pt x="13789" y="4389"/>
                  </a:lnTo>
                  <a:lnTo>
                    <a:pt x="13858" y="4216"/>
                  </a:lnTo>
                  <a:lnTo>
                    <a:pt x="13858" y="4043"/>
                  </a:lnTo>
                  <a:lnTo>
                    <a:pt x="13858" y="3871"/>
                  </a:lnTo>
                  <a:lnTo>
                    <a:pt x="13789" y="3214"/>
                  </a:lnTo>
                  <a:lnTo>
                    <a:pt x="13616" y="2523"/>
                  </a:lnTo>
                  <a:lnTo>
                    <a:pt x="13409" y="1866"/>
                  </a:lnTo>
                  <a:lnTo>
                    <a:pt x="13132" y="1244"/>
                  </a:lnTo>
                  <a:lnTo>
                    <a:pt x="12890" y="691"/>
                  </a:lnTo>
                  <a:lnTo>
                    <a:pt x="12752" y="484"/>
                  </a:lnTo>
                  <a:lnTo>
                    <a:pt x="12579" y="277"/>
                  </a:lnTo>
                  <a:lnTo>
                    <a:pt x="12441" y="138"/>
                  </a:lnTo>
                  <a:lnTo>
                    <a:pt x="12303" y="35"/>
                  </a:lnTo>
                  <a:lnTo>
                    <a:pt x="1219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2" name="Google Shape;1639;p16">
              <a:extLst>
                <a:ext uri="{FF2B5EF4-FFF2-40B4-BE49-F238E27FC236}">
                  <a16:creationId xmlns:a16="http://schemas.microsoft.com/office/drawing/2014/main" id="{AE70DEEA-8FA7-C875-5976-B20E4F074D18}"/>
                </a:ext>
              </a:extLst>
            </p:cNvPr>
            <p:cNvSpPr/>
            <p:nvPr/>
          </p:nvSpPr>
          <p:spPr>
            <a:xfrm>
              <a:off x="3969800" y="3703250"/>
              <a:ext cx="854450" cy="1612075"/>
            </a:xfrm>
            <a:custGeom>
              <a:avLst/>
              <a:gdLst/>
              <a:ahLst/>
              <a:cxnLst/>
              <a:rect l="l" t="t" r="r" b="b"/>
              <a:pathLst>
                <a:path w="34178" h="64483" extrusionOk="0">
                  <a:moveTo>
                    <a:pt x="16657" y="1"/>
                  </a:moveTo>
                  <a:lnTo>
                    <a:pt x="12579" y="2247"/>
                  </a:lnTo>
                  <a:lnTo>
                    <a:pt x="12027" y="3767"/>
                  </a:lnTo>
                  <a:lnTo>
                    <a:pt x="11439" y="5599"/>
                  </a:lnTo>
                  <a:lnTo>
                    <a:pt x="10817" y="7672"/>
                  </a:lnTo>
                  <a:lnTo>
                    <a:pt x="10161" y="9953"/>
                  </a:lnTo>
                  <a:lnTo>
                    <a:pt x="9538" y="12337"/>
                  </a:lnTo>
                  <a:lnTo>
                    <a:pt x="8882" y="14825"/>
                  </a:lnTo>
                  <a:lnTo>
                    <a:pt x="7638" y="19940"/>
                  </a:lnTo>
                  <a:lnTo>
                    <a:pt x="6463" y="24881"/>
                  </a:lnTo>
                  <a:lnTo>
                    <a:pt x="5495" y="29305"/>
                  </a:lnTo>
                  <a:lnTo>
                    <a:pt x="4770" y="32795"/>
                  </a:lnTo>
                  <a:lnTo>
                    <a:pt x="4355" y="35006"/>
                  </a:lnTo>
                  <a:lnTo>
                    <a:pt x="1971" y="50142"/>
                  </a:lnTo>
                  <a:lnTo>
                    <a:pt x="588" y="58781"/>
                  </a:lnTo>
                  <a:lnTo>
                    <a:pt x="174" y="61649"/>
                  </a:lnTo>
                  <a:lnTo>
                    <a:pt x="1" y="62893"/>
                  </a:lnTo>
                  <a:lnTo>
                    <a:pt x="1" y="62962"/>
                  </a:lnTo>
                  <a:lnTo>
                    <a:pt x="70" y="63032"/>
                  </a:lnTo>
                  <a:lnTo>
                    <a:pt x="277" y="63170"/>
                  </a:lnTo>
                  <a:lnTo>
                    <a:pt x="623" y="63343"/>
                  </a:lnTo>
                  <a:lnTo>
                    <a:pt x="1038" y="63515"/>
                  </a:lnTo>
                  <a:lnTo>
                    <a:pt x="1556" y="63723"/>
                  </a:lnTo>
                  <a:lnTo>
                    <a:pt x="2109" y="63861"/>
                  </a:lnTo>
                  <a:lnTo>
                    <a:pt x="2731" y="64034"/>
                  </a:lnTo>
                  <a:lnTo>
                    <a:pt x="3387" y="64172"/>
                  </a:lnTo>
                  <a:lnTo>
                    <a:pt x="4044" y="64310"/>
                  </a:lnTo>
                  <a:lnTo>
                    <a:pt x="4701" y="64379"/>
                  </a:lnTo>
                  <a:lnTo>
                    <a:pt x="5323" y="64448"/>
                  </a:lnTo>
                  <a:lnTo>
                    <a:pt x="5910" y="64483"/>
                  </a:lnTo>
                  <a:lnTo>
                    <a:pt x="6394" y="64448"/>
                  </a:lnTo>
                  <a:lnTo>
                    <a:pt x="6843" y="64379"/>
                  </a:lnTo>
                  <a:lnTo>
                    <a:pt x="7016" y="64345"/>
                  </a:lnTo>
                  <a:lnTo>
                    <a:pt x="7189" y="64276"/>
                  </a:lnTo>
                  <a:lnTo>
                    <a:pt x="7292" y="64172"/>
                  </a:lnTo>
                  <a:lnTo>
                    <a:pt x="7396" y="64103"/>
                  </a:lnTo>
                  <a:lnTo>
                    <a:pt x="7465" y="63930"/>
                  </a:lnTo>
                  <a:lnTo>
                    <a:pt x="7569" y="63654"/>
                  </a:lnTo>
                  <a:lnTo>
                    <a:pt x="7742" y="62859"/>
                  </a:lnTo>
                  <a:lnTo>
                    <a:pt x="7949" y="61753"/>
                  </a:lnTo>
                  <a:lnTo>
                    <a:pt x="8156" y="60336"/>
                  </a:lnTo>
                  <a:lnTo>
                    <a:pt x="8605" y="56846"/>
                  </a:lnTo>
                  <a:lnTo>
                    <a:pt x="9158" y="52768"/>
                  </a:lnTo>
                  <a:lnTo>
                    <a:pt x="9469" y="50660"/>
                  </a:lnTo>
                  <a:lnTo>
                    <a:pt x="9780" y="48518"/>
                  </a:lnTo>
                  <a:lnTo>
                    <a:pt x="10126" y="46410"/>
                  </a:lnTo>
                  <a:lnTo>
                    <a:pt x="10472" y="44406"/>
                  </a:lnTo>
                  <a:lnTo>
                    <a:pt x="10852" y="42540"/>
                  </a:lnTo>
                  <a:lnTo>
                    <a:pt x="11266" y="40846"/>
                  </a:lnTo>
                  <a:lnTo>
                    <a:pt x="11474" y="40086"/>
                  </a:lnTo>
                  <a:lnTo>
                    <a:pt x="11681" y="39395"/>
                  </a:lnTo>
                  <a:lnTo>
                    <a:pt x="11888" y="38773"/>
                  </a:lnTo>
                  <a:lnTo>
                    <a:pt x="12130" y="38220"/>
                  </a:lnTo>
                  <a:lnTo>
                    <a:pt x="14618" y="32415"/>
                  </a:lnTo>
                  <a:lnTo>
                    <a:pt x="17797" y="25020"/>
                  </a:lnTo>
                  <a:lnTo>
                    <a:pt x="21633" y="15931"/>
                  </a:lnTo>
                  <a:lnTo>
                    <a:pt x="21219" y="19283"/>
                  </a:lnTo>
                  <a:lnTo>
                    <a:pt x="20769" y="22946"/>
                  </a:lnTo>
                  <a:lnTo>
                    <a:pt x="20320" y="26713"/>
                  </a:lnTo>
                  <a:lnTo>
                    <a:pt x="19905" y="30410"/>
                  </a:lnTo>
                  <a:lnTo>
                    <a:pt x="19733" y="32138"/>
                  </a:lnTo>
                  <a:lnTo>
                    <a:pt x="19594" y="33797"/>
                  </a:lnTo>
                  <a:lnTo>
                    <a:pt x="19491" y="35352"/>
                  </a:lnTo>
                  <a:lnTo>
                    <a:pt x="19456" y="36769"/>
                  </a:lnTo>
                  <a:lnTo>
                    <a:pt x="19456" y="38047"/>
                  </a:lnTo>
                  <a:lnTo>
                    <a:pt x="19525" y="39119"/>
                  </a:lnTo>
                  <a:lnTo>
                    <a:pt x="19560" y="39568"/>
                  </a:lnTo>
                  <a:lnTo>
                    <a:pt x="19629" y="39982"/>
                  </a:lnTo>
                  <a:lnTo>
                    <a:pt x="19733" y="40328"/>
                  </a:lnTo>
                  <a:lnTo>
                    <a:pt x="19836" y="40604"/>
                  </a:lnTo>
                  <a:lnTo>
                    <a:pt x="20838" y="43300"/>
                  </a:lnTo>
                  <a:lnTo>
                    <a:pt x="22013" y="46548"/>
                  </a:lnTo>
                  <a:lnTo>
                    <a:pt x="24501" y="53563"/>
                  </a:lnTo>
                  <a:lnTo>
                    <a:pt x="27370" y="61891"/>
                  </a:lnTo>
                  <a:lnTo>
                    <a:pt x="27577" y="61960"/>
                  </a:lnTo>
                  <a:lnTo>
                    <a:pt x="27784" y="62029"/>
                  </a:lnTo>
                  <a:lnTo>
                    <a:pt x="28268" y="62133"/>
                  </a:lnTo>
                  <a:lnTo>
                    <a:pt x="28786" y="62133"/>
                  </a:lnTo>
                  <a:lnTo>
                    <a:pt x="29339" y="62099"/>
                  </a:lnTo>
                  <a:lnTo>
                    <a:pt x="29927" y="62029"/>
                  </a:lnTo>
                  <a:lnTo>
                    <a:pt x="30549" y="61891"/>
                  </a:lnTo>
                  <a:lnTo>
                    <a:pt x="31136" y="61753"/>
                  </a:lnTo>
                  <a:lnTo>
                    <a:pt x="31724" y="61546"/>
                  </a:lnTo>
                  <a:lnTo>
                    <a:pt x="32277" y="61373"/>
                  </a:lnTo>
                  <a:lnTo>
                    <a:pt x="32795" y="61166"/>
                  </a:lnTo>
                  <a:lnTo>
                    <a:pt x="33624" y="60785"/>
                  </a:lnTo>
                  <a:lnTo>
                    <a:pt x="33901" y="60613"/>
                  </a:lnTo>
                  <a:lnTo>
                    <a:pt x="34108" y="60509"/>
                  </a:lnTo>
                  <a:lnTo>
                    <a:pt x="34177" y="60405"/>
                  </a:lnTo>
                  <a:lnTo>
                    <a:pt x="34177" y="60371"/>
                  </a:lnTo>
                  <a:lnTo>
                    <a:pt x="34143" y="60336"/>
                  </a:lnTo>
                  <a:lnTo>
                    <a:pt x="33452" y="58332"/>
                  </a:lnTo>
                  <a:lnTo>
                    <a:pt x="32622" y="55775"/>
                  </a:lnTo>
                  <a:lnTo>
                    <a:pt x="31724" y="52837"/>
                  </a:lnTo>
                  <a:lnTo>
                    <a:pt x="30791" y="49693"/>
                  </a:lnTo>
                  <a:lnTo>
                    <a:pt x="29892" y="46583"/>
                  </a:lnTo>
                  <a:lnTo>
                    <a:pt x="29132" y="43645"/>
                  </a:lnTo>
                  <a:lnTo>
                    <a:pt x="28821" y="42332"/>
                  </a:lnTo>
                  <a:lnTo>
                    <a:pt x="28545" y="41123"/>
                  </a:lnTo>
                  <a:lnTo>
                    <a:pt x="28337" y="40086"/>
                  </a:lnTo>
                  <a:lnTo>
                    <a:pt x="28199" y="39188"/>
                  </a:lnTo>
                  <a:lnTo>
                    <a:pt x="28199" y="38704"/>
                  </a:lnTo>
                  <a:lnTo>
                    <a:pt x="28199" y="38082"/>
                  </a:lnTo>
                  <a:lnTo>
                    <a:pt x="28233" y="37287"/>
                  </a:lnTo>
                  <a:lnTo>
                    <a:pt x="28303" y="36354"/>
                  </a:lnTo>
                  <a:lnTo>
                    <a:pt x="28510" y="34108"/>
                  </a:lnTo>
                  <a:lnTo>
                    <a:pt x="28821" y="31447"/>
                  </a:lnTo>
                  <a:lnTo>
                    <a:pt x="29201" y="28475"/>
                  </a:lnTo>
                  <a:lnTo>
                    <a:pt x="29650" y="25261"/>
                  </a:lnTo>
                  <a:lnTo>
                    <a:pt x="30687" y="18558"/>
                  </a:lnTo>
                  <a:lnTo>
                    <a:pt x="31689" y="12026"/>
                  </a:lnTo>
                  <a:lnTo>
                    <a:pt x="32622" y="6428"/>
                  </a:lnTo>
                  <a:lnTo>
                    <a:pt x="33521" y="1037"/>
                  </a:lnTo>
                  <a:lnTo>
                    <a:pt x="16657" y="1"/>
                  </a:lnTo>
                  <a:close/>
                </a:path>
              </a:pathLst>
            </a:custGeom>
            <a:solidFill>
              <a:srgbClr val="2D2D2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3" name="Google Shape;1640;p16">
              <a:extLst>
                <a:ext uri="{FF2B5EF4-FFF2-40B4-BE49-F238E27FC236}">
                  <a16:creationId xmlns:a16="http://schemas.microsoft.com/office/drawing/2014/main" id="{8988FCE9-F274-BDBF-2F3F-75BAC3FFDD09}"/>
                </a:ext>
              </a:extLst>
            </p:cNvPr>
            <p:cNvSpPr/>
            <p:nvPr/>
          </p:nvSpPr>
          <p:spPr>
            <a:xfrm>
              <a:off x="3969800" y="3703250"/>
              <a:ext cx="854450" cy="1612075"/>
            </a:xfrm>
            <a:custGeom>
              <a:avLst/>
              <a:gdLst/>
              <a:ahLst/>
              <a:cxnLst/>
              <a:rect l="l" t="t" r="r" b="b"/>
              <a:pathLst>
                <a:path w="34178" h="64483" fill="none" extrusionOk="0">
                  <a:moveTo>
                    <a:pt x="12579" y="2247"/>
                  </a:moveTo>
                  <a:lnTo>
                    <a:pt x="12579" y="2247"/>
                  </a:lnTo>
                  <a:lnTo>
                    <a:pt x="12027" y="3767"/>
                  </a:lnTo>
                  <a:lnTo>
                    <a:pt x="11439" y="5599"/>
                  </a:lnTo>
                  <a:lnTo>
                    <a:pt x="10817" y="7672"/>
                  </a:lnTo>
                  <a:lnTo>
                    <a:pt x="10161" y="9953"/>
                  </a:lnTo>
                  <a:lnTo>
                    <a:pt x="9538" y="12337"/>
                  </a:lnTo>
                  <a:lnTo>
                    <a:pt x="8882" y="14825"/>
                  </a:lnTo>
                  <a:lnTo>
                    <a:pt x="7638" y="19940"/>
                  </a:lnTo>
                  <a:lnTo>
                    <a:pt x="6463" y="24881"/>
                  </a:lnTo>
                  <a:lnTo>
                    <a:pt x="5495" y="29305"/>
                  </a:lnTo>
                  <a:lnTo>
                    <a:pt x="4770" y="32795"/>
                  </a:lnTo>
                  <a:lnTo>
                    <a:pt x="4355" y="35006"/>
                  </a:lnTo>
                  <a:lnTo>
                    <a:pt x="4355" y="35006"/>
                  </a:lnTo>
                  <a:lnTo>
                    <a:pt x="1971" y="50142"/>
                  </a:lnTo>
                  <a:lnTo>
                    <a:pt x="588" y="58781"/>
                  </a:lnTo>
                  <a:lnTo>
                    <a:pt x="174" y="61649"/>
                  </a:lnTo>
                  <a:lnTo>
                    <a:pt x="1" y="62893"/>
                  </a:lnTo>
                  <a:lnTo>
                    <a:pt x="1" y="62893"/>
                  </a:lnTo>
                  <a:lnTo>
                    <a:pt x="1" y="62962"/>
                  </a:lnTo>
                  <a:lnTo>
                    <a:pt x="70" y="63032"/>
                  </a:lnTo>
                  <a:lnTo>
                    <a:pt x="277" y="63170"/>
                  </a:lnTo>
                  <a:lnTo>
                    <a:pt x="623" y="63343"/>
                  </a:lnTo>
                  <a:lnTo>
                    <a:pt x="1038" y="63515"/>
                  </a:lnTo>
                  <a:lnTo>
                    <a:pt x="1556" y="63723"/>
                  </a:lnTo>
                  <a:lnTo>
                    <a:pt x="2109" y="63861"/>
                  </a:lnTo>
                  <a:lnTo>
                    <a:pt x="2731" y="64034"/>
                  </a:lnTo>
                  <a:lnTo>
                    <a:pt x="3387" y="64172"/>
                  </a:lnTo>
                  <a:lnTo>
                    <a:pt x="4044" y="64310"/>
                  </a:lnTo>
                  <a:lnTo>
                    <a:pt x="4701" y="64379"/>
                  </a:lnTo>
                  <a:lnTo>
                    <a:pt x="5323" y="64448"/>
                  </a:lnTo>
                  <a:lnTo>
                    <a:pt x="5910" y="64483"/>
                  </a:lnTo>
                  <a:lnTo>
                    <a:pt x="6394" y="64448"/>
                  </a:lnTo>
                  <a:lnTo>
                    <a:pt x="6843" y="64379"/>
                  </a:lnTo>
                  <a:lnTo>
                    <a:pt x="7016" y="64345"/>
                  </a:lnTo>
                  <a:lnTo>
                    <a:pt x="7189" y="64276"/>
                  </a:lnTo>
                  <a:lnTo>
                    <a:pt x="7292" y="64172"/>
                  </a:lnTo>
                  <a:lnTo>
                    <a:pt x="7396" y="64103"/>
                  </a:lnTo>
                  <a:lnTo>
                    <a:pt x="7396" y="64103"/>
                  </a:lnTo>
                  <a:lnTo>
                    <a:pt x="7465" y="63930"/>
                  </a:lnTo>
                  <a:lnTo>
                    <a:pt x="7569" y="63654"/>
                  </a:lnTo>
                  <a:lnTo>
                    <a:pt x="7742" y="62859"/>
                  </a:lnTo>
                  <a:lnTo>
                    <a:pt x="7949" y="61753"/>
                  </a:lnTo>
                  <a:lnTo>
                    <a:pt x="8156" y="60336"/>
                  </a:lnTo>
                  <a:lnTo>
                    <a:pt x="8605" y="56846"/>
                  </a:lnTo>
                  <a:lnTo>
                    <a:pt x="9158" y="52768"/>
                  </a:lnTo>
                  <a:lnTo>
                    <a:pt x="9469" y="50660"/>
                  </a:lnTo>
                  <a:lnTo>
                    <a:pt x="9780" y="48518"/>
                  </a:lnTo>
                  <a:lnTo>
                    <a:pt x="10126" y="46410"/>
                  </a:lnTo>
                  <a:lnTo>
                    <a:pt x="10472" y="44406"/>
                  </a:lnTo>
                  <a:lnTo>
                    <a:pt x="10852" y="42540"/>
                  </a:lnTo>
                  <a:lnTo>
                    <a:pt x="11266" y="40846"/>
                  </a:lnTo>
                  <a:lnTo>
                    <a:pt x="11474" y="40086"/>
                  </a:lnTo>
                  <a:lnTo>
                    <a:pt x="11681" y="39395"/>
                  </a:lnTo>
                  <a:lnTo>
                    <a:pt x="11888" y="38773"/>
                  </a:lnTo>
                  <a:lnTo>
                    <a:pt x="12130" y="38220"/>
                  </a:lnTo>
                  <a:lnTo>
                    <a:pt x="12130" y="38220"/>
                  </a:lnTo>
                  <a:lnTo>
                    <a:pt x="14618" y="32415"/>
                  </a:lnTo>
                  <a:lnTo>
                    <a:pt x="17797" y="25020"/>
                  </a:lnTo>
                  <a:lnTo>
                    <a:pt x="21633" y="15931"/>
                  </a:lnTo>
                  <a:lnTo>
                    <a:pt x="21633" y="15931"/>
                  </a:lnTo>
                  <a:lnTo>
                    <a:pt x="21219" y="19283"/>
                  </a:lnTo>
                  <a:lnTo>
                    <a:pt x="20769" y="22946"/>
                  </a:lnTo>
                  <a:lnTo>
                    <a:pt x="20320" y="26713"/>
                  </a:lnTo>
                  <a:lnTo>
                    <a:pt x="19905" y="30410"/>
                  </a:lnTo>
                  <a:lnTo>
                    <a:pt x="19733" y="32138"/>
                  </a:lnTo>
                  <a:lnTo>
                    <a:pt x="19594" y="33797"/>
                  </a:lnTo>
                  <a:lnTo>
                    <a:pt x="19491" y="35352"/>
                  </a:lnTo>
                  <a:lnTo>
                    <a:pt x="19456" y="36769"/>
                  </a:lnTo>
                  <a:lnTo>
                    <a:pt x="19456" y="38047"/>
                  </a:lnTo>
                  <a:lnTo>
                    <a:pt x="19525" y="39119"/>
                  </a:lnTo>
                  <a:lnTo>
                    <a:pt x="19560" y="39568"/>
                  </a:lnTo>
                  <a:lnTo>
                    <a:pt x="19629" y="39982"/>
                  </a:lnTo>
                  <a:lnTo>
                    <a:pt x="19733" y="40328"/>
                  </a:lnTo>
                  <a:lnTo>
                    <a:pt x="19836" y="40604"/>
                  </a:lnTo>
                  <a:lnTo>
                    <a:pt x="19836" y="40604"/>
                  </a:lnTo>
                  <a:lnTo>
                    <a:pt x="20838" y="43300"/>
                  </a:lnTo>
                  <a:lnTo>
                    <a:pt x="22013" y="46548"/>
                  </a:lnTo>
                  <a:lnTo>
                    <a:pt x="24501" y="53563"/>
                  </a:lnTo>
                  <a:lnTo>
                    <a:pt x="27370" y="61891"/>
                  </a:lnTo>
                  <a:lnTo>
                    <a:pt x="27370" y="61891"/>
                  </a:lnTo>
                  <a:lnTo>
                    <a:pt x="27577" y="61960"/>
                  </a:lnTo>
                  <a:lnTo>
                    <a:pt x="27784" y="62029"/>
                  </a:lnTo>
                  <a:lnTo>
                    <a:pt x="28268" y="62133"/>
                  </a:lnTo>
                  <a:lnTo>
                    <a:pt x="28786" y="62133"/>
                  </a:lnTo>
                  <a:lnTo>
                    <a:pt x="29339" y="62099"/>
                  </a:lnTo>
                  <a:lnTo>
                    <a:pt x="29927" y="62029"/>
                  </a:lnTo>
                  <a:lnTo>
                    <a:pt x="30549" y="61891"/>
                  </a:lnTo>
                  <a:lnTo>
                    <a:pt x="31136" y="61753"/>
                  </a:lnTo>
                  <a:lnTo>
                    <a:pt x="31724" y="61546"/>
                  </a:lnTo>
                  <a:lnTo>
                    <a:pt x="32277" y="61373"/>
                  </a:lnTo>
                  <a:lnTo>
                    <a:pt x="32795" y="61166"/>
                  </a:lnTo>
                  <a:lnTo>
                    <a:pt x="33624" y="60785"/>
                  </a:lnTo>
                  <a:lnTo>
                    <a:pt x="33901" y="60613"/>
                  </a:lnTo>
                  <a:lnTo>
                    <a:pt x="34108" y="60509"/>
                  </a:lnTo>
                  <a:lnTo>
                    <a:pt x="34177" y="60405"/>
                  </a:lnTo>
                  <a:lnTo>
                    <a:pt x="34177" y="60371"/>
                  </a:lnTo>
                  <a:lnTo>
                    <a:pt x="34143" y="60336"/>
                  </a:lnTo>
                  <a:lnTo>
                    <a:pt x="34143" y="60336"/>
                  </a:lnTo>
                  <a:lnTo>
                    <a:pt x="33452" y="58332"/>
                  </a:lnTo>
                  <a:lnTo>
                    <a:pt x="32622" y="55775"/>
                  </a:lnTo>
                  <a:lnTo>
                    <a:pt x="31724" y="52837"/>
                  </a:lnTo>
                  <a:lnTo>
                    <a:pt x="30791" y="49693"/>
                  </a:lnTo>
                  <a:lnTo>
                    <a:pt x="29892" y="46583"/>
                  </a:lnTo>
                  <a:lnTo>
                    <a:pt x="29132" y="43645"/>
                  </a:lnTo>
                  <a:lnTo>
                    <a:pt x="28821" y="42332"/>
                  </a:lnTo>
                  <a:lnTo>
                    <a:pt x="28545" y="41123"/>
                  </a:lnTo>
                  <a:lnTo>
                    <a:pt x="28337" y="40086"/>
                  </a:lnTo>
                  <a:lnTo>
                    <a:pt x="28199" y="39188"/>
                  </a:lnTo>
                  <a:lnTo>
                    <a:pt x="28199" y="39188"/>
                  </a:lnTo>
                  <a:lnTo>
                    <a:pt x="28199" y="38704"/>
                  </a:lnTo>
                  <a:lnTo>
                    <a:pt x="28199" y="38082"/>
                  </a:lnTo>
                  <a:lnTo>
                    <a:pt x="28233" y="37287"/>
                  </a:lnTo>
                  <a:lnTo>
                    <a:pt x="28303" y="36354"/>
                  </a:lnTo>
                  <a:lnTo>
                    <a:pt x="28510" y="34108"/>
                  </a:lnTo>
                  <a:lnTo>
                    <a:pt x="28821" y="31447"/>
                  </a:lnTo>
                  <a:lnTo>
                    <a:pt x="29201" y="28475"/>
                  </a:lnTo>
                  <a:lnTo>
                    <a:pt x="29650" y="25261"/>
                  </a:lnTo>
                  <a:lnTo>
                    <a:pt x="30687" y="18558"/>
                  </a:lnTo>
                  <a:lnTo>
                    <a:pt x="31689" y="12026"/>
                  </a:lnTo>
                  <a:lnTo>
                    <a:pt x="32622" y="6428"/>
                  </a:lnTo>
                  <a:lnTo>
                    <a:pt x="33521" y="1037"/>
                  </a:lnTo>
                  <a:lnTo>
                    <a:pt x="16657" y="1"/>
                  </a:lnTo>
                  <a:lnTo>
                    <a:pt x="12579" y="224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4" name="Google Shape;1641;p16">
              <a:extLst>
                <a:ext uri="{FF2B5EF4-FFF2-40B4-BE49-F238E27FC236}">
                  <a16:creationId xmlns:a16="http://schemas.microsoft.com/office/drawing/2014/main" id="{5DD6C3A8-D7F0-50D0-940D-BAD5B4E2C278}"/>
                </a:ext>
              </a:extLst>
            </p:cNvPr>
            <p:cNvSpPr/>
            <p:nvPr/>
          </p:nvSpPr>
          <p:spPr>
            <a:xfrm>
              <a:off x="4486425" y="4220750"/>
              <a:ext cx="9525" cy="75175"/>
            </a:xfrm>
            <a:custGeom>
              <a:avLst/>
              <a:gdLst/>
              <a:ahLst/>
              <a:cxnLst/>
              <a:rect l="l" t="t" r="r" b="b"/>
              <a:pathLst>
                <a:path w="381" h="3007" extrusionOk="0">
                  <a:moveTo>
                    <a:pt x="381" y="0"/>
                  </a:moveTo>
                  <a:lnTo>
                    <a:pt x="1" y="3006"/>
                  </a:lnTo>
                  <a:lnTo>
                    <a:pt x="208" y="1486"/>
                  </a:lnTo>
                  <a:lnTo>
                    <a:pt x="381" y="0"/>
                  </a:lnTo>
                  <a:close/>
                </a:path>
              </a:pathLst>
            </a:custGeom>
            <a:solidFill>
              <a:srgbClr val="71718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5" name="Google Shape;1642;p16">
              <a:extLst>
                <a:ext uri="{FF2B5EF4-FFF2-40B4-BE49-F238E27FC236}">
                  <a16:creationId xmlns:a16="http://schemas.microsoft.com/office/drawing/2014/main" id="{7B1F063E-EC2F-0A47-5EDA-38FB7161154D}"/>
                </a:ext>
              </a:extLst>
            </p:cNvPr>
            <p:cNvSpPr/>
            <p:nvPr/>
          </p:nvSpPr>
          <p:spPr>
            <a:xfrm>
              <a:off x="4486425" y="4220750"/>
              <a:ext cx="9525" cy="75175"/>
            </a:xfrm>
            <a:custGeom>
              <a:avLst/>
              <a:gdLst/>
              <a:ahLst/>
              <a:cxnLst/>
              <a:rect l="l" t="t" r="r" b="b"/>
              <a:pathLst>
                <a:path w="381" h="3007" fill="none" extrusionOk="0">
                  <a:moveTo>
                    <a:pt x="381" y="0"/>
                  </a:moveTo>
                  <a:lnTo>
                    <a:pt x="381" y="0"/>
                  </a:lnTo>
                  <a:lnTo>
                    <a:pt x="208" y="1486"/>
                  </a:lnTo>
                  <a:lnTo>
                    <a:pt x="1" y="3006"/>
                  </a:lnTo>
                  <a:lnTo>
                    <a:pt x="1" y="3006"/>
                  </a:lnTo>
                  <a:lnTo>
                    <a:pt x="38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6" name="Google Shape;1643;p16">
              <a:extLst>
                <a:ext uri="{FF2B5EF4-FFF2-40B4-BE49-F238E27FC236}">
                  <a16:creationId xmlns:a16="http://schemas.microsoft.com/office/drawing/2014/main" id="{A6C0B70D-8FF9-57A3-E2D9-48F0F83E402D}"/>
                </a:ext>
              </a:extLst>
            </p:cNvPr>
            <p:cNvSpPr/>
            <p:nvPr/>
          </p:nvSpPr>
          <p:spPr>
            <a:xfrm>
              <a:off x="4486425" y="3977125"/>
              <a:ext cx="79500" cy="318800"/>
            </a:xfrm>
            <a:custGeom>
              <a:avLst/>
              <a:gdLst/>
              <a:ahLst/>
              <a:cxnLst/>
              <a:rect l="l" t="t" r="r" b="b"/>
              <a:pathLst>
                <a:path w="3180" h="12752" extrusionOk="0">
                  <a:moveTo>
                    <a:pt x="3180" y="0"/>
                  </a:moveTo>
                  <a:lnTo>
                    <a:pt x="3076" y="380"/>
                  </a:lnTo>
                  <a:lnTo>
                    <a:pt x="2661" y="1451"/>
                  </a:lnTo>
                  <a:lnTo>
                    <a:pt x="2385" y="2177"/>
                  </a:lnTo>
                  <a:lnTo>
                    <a:pt x="2005" y="3041"/>
                  </a:lnTo>
                  <a:lnTo>
                    <a:pt x="1521" y="3974"/>
                  </a:lnTo>
                  <a:lnTo>
                    <a:pt x="968" y="4976"/>
                  </a:lnTo>
                  <a:lnTo>
                    <a:pt x="865" y="6117"/>
                  </a:lnTo>
                  <a:lnTo>
                    <a:pt x="726" y="7292"/>
                  </a:lnTo>
                  <a:lnTo>
                    <a:pt x="381" y="9745"/>
                  </a:lnTo>
                  <a:lnTo>
                    <a:pt x="1" y="12751"/>
                  </a:lnTo>
                  <a:lnTo>
                    <a:pt x="3180" y="0"/>
                  </a:lnTo>
                  <a:close/>
                </a:path>
              </a:pathLst>
            </a:custGeom>
            <a:solidFill>
              <a:srgbClr val="24243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7" name="Google Shape;1644;p16">
              <a:extLst>
                <a:ext uri="{FF2B5EF4-FFF2-40B4-BE49-F238E27FC236}">
                  <a16:creationId xmlns:a16="http://schemas.microsoft.com/office/drawing/2014/main" id="{903265D3-2CD0-08E4-7103-4225AD831880}"/>
                </a:ext>
              </a:extLst>
            </p:cNvPr>
            <p:cNvSpPr/>
            <p:nvPr/>
          </p:nvSpPr>
          <p:spPr>
            <a:xfrm>
              <a:off x="4486425" y="3977125"/>
              <a:ext cx="79500" cy="318800"/>
            </a:xfrm>
            <a:custGeom>
              <a:avLst/>
              <a:gdLst/>
              <a:ahLst/>
              <a:cxnLst/>
              <a:rect l="l" t="t" r="r" b="b"/>
              <a:pathLst>
                <a:path w="3180" h="12752" fill="none" extrusionOk="0">
                  <a:moveTo>
                    <a:pt x="3180" y="0"/>
                  </a:moveTo>
                  <a:lnTo>
                    <a:pt x="3180" y="0"/>
                  </a:lnTo>
                  <a:lnTo>
                    <a:pt x="3076" y="380"/>
                  </a:lnTo>
                  <a:lnTo>
                    <a:pt x="2661" y="1451"/>
                  </a:lnTo>
                  <a:lnTo>
                    <a:pt x="2385" y="2177"/>
                  </a:lnTo>
                  <a:lnTo>
                    <a:pt x="2005" y="3041"/>
                  </a:lnTo>
                  <a:lnTo>
                    <a:pt x="1521" y="3974"/>
                  </a:lnTo>
                  <a:lnTo>
                    <a:pt x="968" y="4976"/>
                  </a:lnTo>
                  <a:lnTo>
                    <a:pt x="968" y="4976"/>
                  </a:lnTo>
                  <a:lnTo>
                    <a:pt x="865" y="6117"/>
                  </a:lnTo>
                  <a:lnTo>
                    <a:pt x="726" y="7292"/>
                  </a:lnTo>
                  <a:lnTo>
                    <a:pt x="381" y="9745"/>
                  </a:lnTo>
                  <a:lnTo>
                    <a:pt x="381" y="9745"/>
                  </a:lnTo>
                  <a:lnTo>
                    <a:pt x="1" y="12751"/>
                  </a:lnTo>
                  <a:lnTo>
                    <a:pt x="1" y="12751"/>
                  </a:lnTo>
                  <a:lnTo>
                    <a:pt x="1" y="12751"/>
                  </a:lnTo>
                  <a:lnTo>
                    <a:pt x="318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8" name="Google Shape;1645;p16">
              <a:extLst>
                <a:ext uri="{FF2B5EF4-FFF2-40B4-BE49-F238E27FC236}">
                  <a16:creationId xmlns:a16="http://schemas.microsoft.com/office/drawing/2014/main" id="{5ED0CD74-5329-6DC8-E4B7-E5BCCEB56776}"/>
                </a:ext>
              </a:extLst>
            </p:cNvPr>
            <p:cNvSpPr/>
            <p:nvPr/>
          </p:nvSpPr>
          <p:spPr>
            <a:xfrm>
              <a:off x="4413000" y="2757275"/>
              <a:ext cx="188350" cy="340400"/>
            </a:xfrm>
            <a:custGeom>
              <a:avLst/>
              <a:gdLst/>
              <a:ahLst/>
              <a:cxnLst/>
              <a:rect l="l" t="t" r="r" b="b"/>
              <a:pathLst>
                <a:path w="7534" h="13616" extrusionOk="0">
                  <a:moveTo>
                    <a:pt x="4562" y="0"/>
                  </a:moveTo>
                  <a:lnTo>
                    <a:pt x="4078" y="35"/>
                  </a:lnTo>
                  <a:lnTo>
                    <a:pt x="3629" y="104"/>
                  </a:lnTo>
                  <a:lnTo>
                    <a:pt x="3214" y="208"/>
                  </a:lnTo>
                  <a:lnTo>
                    <a:pt x="2765" y="311"/>
                  </a:lnTo>
                  <a:lnTo>
                    <a:pt x="2385" y="450"/>
                  </a:lnTo>
                  <a:lnTo>
                    <a:pt x="2074" y="622"/>
                  </a:lnTo>
                  <a:lnTo>
                    <a:pt x="1763" y="761"/>
                  </a:lnTo>
                  <a:lnTo>
                    <a:pt x="1555" y="933"/>
                  </a:lnTo>
                  <a:lnTo>
                    <a:pt x="1383" y="1106"/>
                  </a:lnTo>
                  <a:lnTo>
                    <a:pt x="1314" y="1279"/>
                  </a:lnTo>
                  <a:lnTo>
                    <a:pt x="1037" y="2247"/>
                  </a:lnTo>
                  <a:lnTo>
                    <a:pt x="830" y="3007"/>
                  </a:lnTo>
                  <a:lnTo>
                    <a:pt x="588" y="3629"/>
                  </a:lnTo>
                  <a:lnTo>
                    <a:pt x="415" y="4113"/>
                  </a:lnTo>
                  <a:lnTo>
                    <a:pt x="139" y="4735"/>
                  </a:lnTo>
                  <a:lnTo>
                    <a:pt x="35" y="4907"/>
                  </a:lnTo>
                  <a:lnTo>
                    <a:pt x="0" y="5046"/>
                  </a:lnTo>
                  <a:lnTo>
                    <a:pt x="173" y="5149"/>
                  </a:lnTo>
                  <a:lnTo>
                    <a:pt x="311" y="5184"/>
                  </a:lnTo>
                  <a:lnTo>
                    <a:pt x="450" y="5184"/>
                  </a:lnTo>
                  <a:lnTo>
                    <a:pt x="450" y="5253"/>
                  </a:lnTo>
                  <a:lnTo>
                    <a:pt x="450" y="5426"/>
                  </a:lnTo>
                  <a:lnTo>
                    <a:pt x="346" y="6186"/>
                  </a:lnTo>
                  <a:lnTo>
                    <a:pt x="242" y="6946"/>
                  </a:lnTo>
                  <a:lnTo>
                    <a:pt x="242" y="7672"/>
                  </a:lnTo>
                  <a:lnTo>
                    <a:pt x="242" y="7983"/>
                  </a:lnTo>
                  <a:lnTo>
                    <a:pt x="277" y="8259"/>
                  </a:lnTo>
                  <a:lnTo>
                    <a:pt x="346" y="8501"/>
                  </a:lnTo>
                  <a:lnTo>
                    <a:pt x="450" y="8709"/>
                  </a:lnTo>
                  <a:lnTo>
                    <a:pt x="553" y="8881"/>
                  </a:lnTo>
                  <a:lnTo>
                    <a:pt x="726" y="8985"/>
                  </a:lnTo>
                  <a:lnTo>
                    <a:pt x="933" y="9054"/>
                  </a:lnTo>
                  <a:lnTo>
                    <a:pt x="1175" y="9054"/>
                  </a:lnTo>
                  <a:lnTo>
                    <a:pt x="1486" y="9020"/>
                  </a:lnTo>
                  <a:lnTo>
                    <a:pt x="1832" y="8881"/>
                  </a:lnTo>
                  <a:lnTo>
                    <a:pt x="2212" y="8709"/>
                  </a:lnTo>
                  <a:lnTo>
                    <a:pt x="2696" y="8432"/>
                  </a:lnTo>
                  <a:lnTo>
                    <a:pt x="2419" y="10575"/>
                  </a:lnTo>
                  <a:lnTo>
                    <a:pt x="3007" y="13616"/>
                  </a:lnTo>
                  <a:lnTo>
                    <a:pt x="7154" y="13270"/>
                  </a:lnTo>
                  <a:lnTo>
                    <a:pt x="7084" y="12994"/>
                  </a:lnTo>
                  <a:lnTo>
                    <a:pt x="7015" y="12683"/>
                  </a:lnTo>
                  <a:lnTo>
                    <a:pt x="6946" y="12026"/>
                  </a:lnTo>
                  <a:lnTo>
                    <a:pt x="6946" y="11266"/>
                  </a:lnTo>
                  <a:lnTo>
                    <a:pt x="6981" y="10436"/>
                  </a:lnTo>
                  <a:lnTo>
                    <a:pt x="7015" y="9538"/>
                  </a:lnTo>
                  <a:lnTo>
                    <a:pt x="7119" y="8605"/>
                  </a:lnTo>
                  <a:lnTo>
                    <a:pt x="7326" y="6670"/>
                  </a:lnTo>
                  <a:lnTo>
                    <a:pt x="7465" y="4804"/>
                  </a:lnTo>
                  <a:lnTo>
                    <a:pt x="7534" y="3905"/>
                  </a:lnTo>
                  <a:lnTo>
                    <a:pt x="7534" y="3111"/>
                  </a:lnTo>
                  <a:lnTo>
                    <a:pt x="7499" y="2350"/>
                  </a:lnTo>
                  <a:lnTo>
                    <a:pt x="7395" y="1728"/>
                  </a:lnTo>
                  <a:lnTo>
                    <a:pt x="7326" y="1452"/>
                  </a:lnTo>
                  <a:lnTo>
                    <a:pt x="7223" y="1210"/>
                  </a:lnTo>
                  <a:lnTo>
                    <a:pt x="7119" y="1003"/>
                  </a:lnTo>
                  <a:lnTo>
                    <a:pt x="6981" y="830"/>
                  </a:lnTo>
                  <a:lnTo>
                    <a:pt x="6808" y="657"/>
                  </a:lnTo>
                  <a:lnTo>
                    <a:pt x="6670" y="519"/>
                  </a:lnTo>
                  <a:lnTo>
                    <a:pt x="6290" y="311"/>
                  </a:lnTo>
                  <a:lnTo>
                    <a:pt x="5910" y="173"/>
                  </a:lnTo>
                  <a:lnTo>
                    <a:pt x="5460" y="70"/>
                  </a:lnTo>
                  <a:lnTo>
                    <a:pt x="5011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9" name="Google Shape;1646;p16">
              <a:extLst>
                <a:ext uri="{FF2B5EF4-FFF2-40B4-BE49-F238E27FC236}">
                  <a16:creationId xmlns:a16="http://schemas.microsoft.com/office/drawing/2014/main" id="{172479A8-B95E-E91E-36C8-FE07232803B4}"/>
                </a:ext>
              </a:extLst>
            </p:cNvPr>
            <p:cNvSpPr/>
            <p:nvPr/>
          </p:nvSpPr>
          <p:spPr>
            <a:xfrm>
              <a:off x="4413000" y="2757275"/>
              <a:ext cx="188350" cy="340400"/>
            </a:xfrm>
            <a:custGeom>
              <a:avLst/>
              <a:gdLst/>
              <a:ahLst/>
              <a:cxnLst/>
              <a:rect l="l" t="t" r="r" b="b"/>
              <a:pathLst>
                <a:path w="7534" h="13616" fill="none" extrusionOk="0">
                  <a:moveTo>
                    <a:pt x="1314" y="1279"/>
                  </a:moveTo>
                  <a:lnTo>
                    <a:pt x="1314" y="1279"/>
                  </a:lnTo>
                  <a:lnTo>
                    <a:pt x="1037" y="2247"/>
                  </a:lnTo>
                  <a:lnTo>
                    <a:pt x="830" y="3007"/>
                  </a:lnTo>
                  <a:lnTo>
                    <a:pt x="588" y="3629"/>
                  </a:lnTo>
                  <a:lnTo>
                    <a:pt x="415" y="4113"/>
                  </a:lnTo>
                  <a:lnTo>
                    <a:pt x="139" y="4735"/>
                  </a:lnTo>
                  <a:lnTo>
                    <a:pt x="35" y="4907"/>
                  </a:lnTo>
                  <a:lnTo>
                    <a:pt x="0" y="5046"/>
                  </a:lnTo>
                  <a:lnTo>
                    <a:pt x="0" y="5046"/>
                  </a:lnTo>
                  <a:lnTo>
                    <a:pt x="173" y="5149"/>
                  </a:lnTo>
                  <a:lnTo>
                    <a:pt x="311" y="5184"/>
                  </a:lnTo>
                  <a:lnTo>
                    <a:pt x="380" y="5184"/>
                  </a:lnTo>
                  <a:lnTo>
                    <a:pt x="450" y="5184"/>
                  </a:lnTo>
                  <a:lnTo>
                    <a:pt x="450" y="5253"/>
                  </a:lnTo>
                  <a:lnTo>
                    <a:pt x="450" y="5426"/>
                  </a:lnTo>
                  <a:lnTo>
                    <a:pt x="346" y="6186"/>
                  </a:lnTo>
                  <a:lnTo>
                    <a:pt x="346" y="6186"/>
                  </a:lnTo>
                  <a:lnTo>
                    <a:pt x="242" y="6946"/>
                  </a:lnTo>
                  <a:lnTo>
                    <a:pt x="242" y="7672"/>
                  </a:lnTo>
                  <a:lnTo>
                    <a:pt x="242" y="7983"/>
                  </a:lnTo>
                  <a:lnTo>
                    <a:pt x="277" y="8259"/>
                  </a:lnTo>
                  <a:lnTo>
                    <a:pt x="346" y="8501"/>
                  </a:lnTo>
                  <a:lnTo>
                    <a:pt x="450" y="8709"/>
                  </a:lnTo>
                  <a:lnTo>
                    <a:pt x="553" y="8881"/>
                  </a:lnTo>
                  <a:lnTo>
                    <a:pt x="726" y="8985"/>
                  </a:lnTo>
                  <a:lnTo>
                    <a:pt x="933" y="9054"/>
                  </a:lnTo>
                  <a:lnTo>
                    <a:pt x="1175" y="9054"/>
                  </a:lnTo>
                  <a:lnTo>
                    <a:pt x="1486" y="9020"/>
                  </a:lnTo>
                  <a:lnTo>
                    <a:pt x="1832" y="8881"/>
                  </a:lnTo>
                  <a:lnTo>
                    <a:pt x="2212" y="8709"/>
                  </a:lnTo>
                  <a:lnTo>
                    <a:pt x="2696" y="8432"/>
                  </a:lnTo>
                  <a:lnTo>
                    <a:pt x="2696" y="8432"/>
                  </a:lnTo>
                  <a:lnTo>
                    <a:pt x="2419" y="10575"/>
                  </a:lnTo>
                  <a:lnTo>
                    <a:pt x="3007" y="13616"/>
                  </a:lnTo>
                  <a:lnTo>
                    <a:pt x="7154" y="13270"/>
                  </a:lnTo>
                  <a:lnTo>
                    <a:pt x="7154" y="13270"/>
                  </a:lnTo>
                  <a:lnTo>
                    <a:pt x="7084" y="12994"/>
                  </a:lnTo>
                  <a:lnTo>
                    <a:pt x="7015" y="12683"/>
                  </a:lnTo>
                  <a:lnTo>
                    <a:pt x="6946" y="12026"/>
                  </a:lnTo>
                  <a:lnTo>
                    <a:pt x="6946" y="11266"/>
                  </a:lnTo>
                  <a:lnTo>
                    <a:pt x="6981" y="10436"/>
                  </a:lnTo>
                  <a:lnTo>
                    <a:pt x="7015" y="9538"/>
                  </a:lnTo>
                  <a:lnTo>
                    <a:pt x="7119" y="8605"/>
                  </a:lnTo>
                  <a:lnTo>
                    <a:pt x="7326" y="6670"/>
                  </a:lnTo>
                  <a:lnTo>
                    <a:pt x="7465" y="4804"/>
                  </a:lnTo>
                  <a:lnTo>
                    <a:pt x="7534" y="3905"/>
                  </a:lnTo>
                  <a:lnTo>
                    <a:pt x="7534" y="3111"/>
                  </a:lnTo>
                  <a:lnTo>
                    <a:pt x="7499" y="2350"/>
                  </a:lnTo>
                  <a:lnTo>
                    <a:pt x="7395" y="1728"/>
                  </a:lnTo>
                  <a:lnTo>
                    <a:pt x="7326" y="1452"/>
                  </a:lnTo>
                  <a:lnTo>
                    <a:pt x="7223" y="1210"/>
                  </a:lnTo>
                  <a:lnTo>
                    <a:pt x="7119" y="1003"/>
                  </a:lnTo>
                  <a:lnTo>
                    <a:pt x="6981" y="830"/>
                  </a:lnTo>
                  <a:lnTo>
                    <a:pt x="6981" y="830"/>
                  </a:lnTo>
                  <a:lnTo>
                    <a:pt x="6808" y="657"/>
                  </a:lnTo>
                  <a:lnTo>
                    <a:pt x="6670" y="519"/>
                  </a:lnTo>
                  <a:lnTo>
                    <a:pt x="6290" y="311"/>
                  </a:lnTo>
                  <a:lnTo>
                    <a:pt x="5910" y="173"/>
                  </a:lnTo>
                  <a:lnTo>
                    <a:pt x="5460" y="70"/>
                  </a:lnTo>
                  <a:lnTo>
                    <a:pt x="5011" y="0"/>
                  </a:lnTo>
                  <a:lnTo>
                    <a:pt x="4562" y="0"/>
                  </a:lnTo>
                  <a:lnTo>
                    <a:pt x="4078" y="35"/>
                  </a:lnTo>
                  <a:lnTo>
                    <a:pt x="3629" y="104"/>
                  </a:lnTo>
                  <a:lnTo>
                    <a:pt x="3214" y="208"/>
                  </a:lnTo>
                  <a:lnTo>
                    <a:pt x="2765" y="311"/>
                  </a:lnTo>
                  <a:lnTo>
                    <a:pt x="2385" y="450"/>
                  </a:lnTo>
                  <a:lnTo>
                    <a:pt x="2074" y="622"/>
                  </a:lnTo>
                  <a:lnTo>
                    <a:pt x="1763" y="761"/>
                  </a:lnTo>
                  <a:lnTo>
                    <a:pt x="1555" y="933"/>
                  </a:lnTo>
                  <a:lnTo>
                    <a:pt x="1383" y="1106"/>
                  </a:lnTo>
                  <a:lnTo>
                    <a:pt x="1314" y="127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0" name="Google Shape;1647;p16">
              <a:extLst>
                <a:ext uri="{FF2B5EF4-FFF2-40B4-BE49-F238E27FC236}">
                  <a16:creationId xmlns:a16="http://schemas.microsoft.com/office/drawing/2014/main" id="{7C2D326D-7C50-68E6-9E1C-D7ABC236E488}"/>
                </a:ext>
              </a:extLst>
            </p:cNvPr>
            <p:cNvSpPr/>
            <p:nvPr/>
          </p:nvSpPr>
          <p:spPr>
            <a:xfrm>
              <a:off x="4423375" y="2708025"/>
              <a:ext cx="216000" cy="269575"/>
            </a:xfrm>
            <a:custGeom>
              <a:avLst/>
              <a:gdLst/>
              <a:ahLst/>
              <a:cxnLst/>
              <a:rect l="l" t="t" r="r" b="b"/>
              <a:pathLst>
                <a:path w="8640" h="10783" extrusionOk="0">
                  <a:moveTo>
                    <a:pt x="1624" y="1"/>
                  </a:moveTo>
                  <a:lnTo>
                    <a:pt x="1451" y="35"/>
                  </a:lnTo>
                  <a:lnTo>
                    <a:pt x="1140" y="139"/>
                  </a:lnTo>
                  <a:lnTo>
                    <a:pt x="864" y="277"/>
                  </a:lnTo>
                  <a:lnTo>
                    <a:pt x="587" y="485"/>
                  </a:lnTo>
                  <a:lnTo>
                    <a:pt x="380" y="692"/>
                  </a:lnTo>
                  <a:lnTo>
                    <a:pt x="242" y="865"/>
                  </a:lnTo>
                  <a:lnTo>
                    <a:pt x="173" y="1072"/>
                  </a:lnTo>
                  <a:lnTo>
                    <a:pt x="104" y="1245"/>
                  </a:lnTo>
                  <a:lnTo>
                    <a:pt x="138" y="1418"/>
                  </a:lnTo>
                  <a:lnTo>
                    <a:pt x="138" y="1590"/>
                  </a:lnTo>
                  <a:lnTo>
                    <a:pt x="242" y="1867"/>
                  </a:lnTo>
                  <a:lnTo>
                    <a:pt x="276" y="1970"/>
                  </a:lnTo>
                  <a:lnTo>
                    <a:pt x="173" y="2143"/>
                  </a:lnTo>
                  <a:lnTo>
                    <a:pt x="69" y="2316"/>
                  </a:lnTo>
                  <a:lnTo>
                    <a:pt x="35" y="2454"/>
                  </a:lnTo>
                  <a:lnTo>
                    <a:pt x="0" y="2592"/>
                  </a:lnTo>
                  <a:lnTo>
                    <a:pt x="0" y="2731"/>
                  </a:lnTo>
                  <a:lnTo>
                    <a:pt x="0" y="2869"/>
                  </a:lnTo>
                  <a:lnTo>
                    <a:pt x="138" y="3111"/>
                  </a:lnTo>
                  <a:lnTo>
                    <a:pt x="311" y="3318"/>
                  </a:lnTo>
                  <a:lnTo>
                    <a:pt x="518" y="3560"/>
                  </a:lnTo>
                  <a:lnTo>
                    <a:pt x="1002" y="4009"/>
                  </a:lnTo>
                  <a:lnTo>
                    <a:pt x="1279" y="4251"/>
                  </a:lnTo>
                  <a:lnTo>
                    <a:pt x="1521" y="4389"/>
                  </a:lnTo>
                  <a:lnTo>
                    <a:pt x="1935" y="4597"/>
                  </a:lnTo>
                  <a:lnTo>
                    <a:pt x="2108" y="4700"/>
                  </a:lnTo>
                  <a:lnTo>
                    <a:pt x="2246" y="4839"/>
                  </a:lnTo>
                  <a:lnTo>
                    <a:pt x="2281" y="4908"/>
                  </a:lnTo>
                  <a:lnTo>
                    <a:pt x="2281" y="5011"/>
                  </a:lnTo>
                  <a:lnTo>
                    <a:pt x="2281" y="5288"/>
                  </a:lnTo>
                  <a:lnTo>
                    <a:pt x="2212" y="5806"/>
                  </a:lnTo>
                  <a:lnTo>
                    <a:pt x="2212" y="5979"/>
                  </a:lnTo>
                  <a:lnTo>
                    <a:pt x="2246" y="6117"/>
                  </a:lnTo>
                  <a:lnTo>
                    <a:pt x="2350" y="6221"/>
                  </a:lnTo>
                  <a:lnTo>
                    <a:pt x="2523" y="6290"/>
                  </a:lnTo>
                  <a:lnTo>
                    <a:pt x="2730" y="6359"/>
                  </a:lnTo>
                  <a:lnTo>
                    <a:pt x="3076" y="6394"/>
                  </a:lnTo>
                  <a:lnTo>
                    <a:pt x="3283" y="6255"/>
                  </a:lnTo>
                  <a:lnTo>
                    <a:pt x="3456" y="6152"/>
                  </a:lnTo>
                  <a:lnTo>
                    <a:pt x="3628" y="6117"/>
                  </a:lnTo>
                  <a:lnTo>
                    <a:pt x="3801" y="6117"/>
                  </a:lnTo>
                  <a:lnTo>
                    <a:pt x="3939" y="6152"/>
                  </a:lnTo>
                  <a:lnTo>
                    <a:pt x="4078" y="6255"/>
                  </a:lnTo>
                  <a:lnTo>
                    <a:pt x="4181" y="6359"/>
                  </a:lnTo>
                  <a:lnTo>
                    <a:pt x="4250" y="6497"/>
                  </a:lnTo>
                  <a:lnTo>
                    <a:pt x="4320" y="6670"/>
                  </a:lnTo>
                  <a:lnTo>
                    <a:pt x="4354" y="6843"/>
                  </a:lnTo>
                  <a:lnTo>
                    <a:pt x="4354" y="7016"/>
                  </a:lnTo>
                  <a:lnTo>
                    <a:pt x="4320" y="7223"/>
                  </a:lnTo>
                  <a:lnTo>
                    <a:pt x="4216" y="7396"/>
                  </a:lnTo>
                  <a:lnTo>
                    <a:pt x="4112" y="7569"/>
                  </a:lnTo>
                  <a:lnTo>
                    <a:pt x="3974" y="7741"/>
                  </a:lnTo>
                  <a:lnTo>
                    <a:pt x="3801" y="7880"/>
                  </a:lnTo>
                  <a:lnTo>
                    <a:pt x="3801" y="8225"/>
                  </a:lnTo>
                  <a:lnTo>
                    <a:pt x="3836" y="8674"/>
                  </a:lnTo>
                  <a:lnTo>
                    <a:pt x="3974" y="9124"/>
                  </a:lnTo>
                  <a:lnTo>
                    <a:pt x="4181" y="9573"/>
                  </a:lnTo>
                  <a:lnTo>
                    <a:pt x="4423" y="10022"/>
                  </a:lnTo>
                  <a:lnTo>
                    <a:pt x="4561" y="10195"/>
                  </a:lnTo>
                  <a:lnTo>
                    <a:pt x="4734" y="10368"/>
                  </a:lnTo>
                  <a:lnTo>
                    <a:pt x="4907" y="10540"/>
                  </a:lnTo>
                  <a:lnTo>
                    <a:pt x="5114" y="10644"/>
                  </a:lnTo>
                  <a:lnTo>
                    <a:pt x="5322" y="10748"/>
                  </a:lnTo>
                  <a:lnTo>
                    <a:pt x="5564" y="10782"/>
                  </a:lnTo>
                  <a:lnTo>
                    <a:pt x="5978" y="10782"/>
                  </a:lnTo>
                  <a:lnTo>
                    <a:pt x="6186" y="10713"/>
                  </a:lnTo>
                  <a:lnTo>
                    <a:pt x="6393" y="10610"/>
                  </a:lnTo>
                  <a:lnTo>
                    <a:pt x="6566" y="10471"/>
                  </a:lnTo>
                  <a:lnTo>
                    <a:pt x="6704" y="10299"/>
                  </a:lnTo>
                  <a:lnTo>
                    <a:pt x="6877" y="10126"/>
                  </a:lnTo>
                  <a:lnTo>
                    <a:pt x="6980" y="9918"/>
                  </a:lnTo>
                  <a:lnTo>
                    <a:pt x="7119" y="9677"/>
                  </a:lnTo>
                  <a:lnTo>
                    <a:pt x="7222" y="9435"/>
                  </a:lnTo>
                  <a:lnTo>
                    <a:pt x="7361" y="8882"/>
                  </a:lnTo>
                  <a:lnTo>
                    <a:pt x="7464" y="8294"/>
                  </a:lnTo>
                  <a:lnTo>
                    <a:pt x="7499" y="7672"/>
                  </a:lnTo>
                  <a:lnTo>
                    <a:pt x="7499" y="7396"/>
                  </a:lnTo>
                  <a:lnTo>
                    <a:pt x="7568" y="7119"/>
                  </a:lnTo>
                  <a:lnTo>
                    <a:pt x="7637" y="6912"/>
                  </a:lnTo>
                  <a:lnTo>
                    <a:pt x="7741" y="6705"/>
                  </a:lnTo>
                  <a:lnTo>
                    <a:pt x="8017" y="6359"/>
                  </a:lnTo>
                  <a:lnTo>
                    <a:pt x="8259" y="5979"/>
                  </a:lnTo>
                  <a:lnTo>
                    <a:pt x="8397" y="5772"/>
                  </a:lnTo>
                  <a:lnTo>
                    <a:pt x="8501" y="5564"/>
                  </a:lnTo>
                  <a:lnTo>
                    <a:pt x="8605" y="5288"/>
                  </a:lnTo>
                  <a:lnTo>
                    <a:pt x="8639" y="5011"/>
                  </a:lnTo>
                  <a:lnTo>
                    <a:pt x="8639" y="4666"/>
                  </a:lnTo>
                  <a:lnTo>
                    <a:pt x="8605" y="4286"/>
                  </a:lnTo>
                  <a:lnTo>
                    <a:pt x="8535" y="3837"/>
                  </a:lnTo>
                  <a:lnTo>
                    <a:pt x="8397" y="3318"/>
                  </a:lnTo>
                  <a:lnTo>
                    <a:pt x="8294" y="3042"/>
                  </a:lnTo>
                  <a:lnTo>
                    <a:pt x="8190" y="2834"/>
                  </a:lnTo>
                  <a:lnTo>
                    <a:pt x="8086" y="2662"/>
                  </a:lnTo>
                  <a:lnTo>
                    <a:pt x="7983" y="2558"/>
                  </a:lnTo>
                  <a:lnTo>
                    <a:pt x="7879" y="2454"/>
                  </a:lnTo>
                  <a:lnTo>
                    <a:pt x="7741" y="2420"/>
                  </a:lnTo>
                  <a:lnTo>
                    <a:pt x="7533" y="2351"/>
                  </a:lnTo>
                  <a:lnTo>
                    <a:pt x="7326" y="2247"/>
                  </a:lnTo>
                  <a:lnTo>
                    <a:pt x="7222" y="2212"/>
                  </a:lnTo>
                  <a:lnTo>
                    <a:pt x="7153" y="2109"/>
                  </a:lnTo>
                  <a:lnTo>
                    <a:pt x="7050" y="1970"/>
                  </a:lnTo>
                  <a:lnTo>
                    <a:pt x="6946" y="1832"/>
                  </a:lnTo>
                  <a:lnTo>
                    <a:pt x="6877" y="1590"/>
                  </a:lnTo>
                  <a:lnTo>
                    <a:pt x="6808" y="1314"/>
                  </a:lnTo>
                  <a:lnTo>
                    <a:pt x="6739" y="1037"/>
                  </a:lnTo>
                  <a:lnTo>
                    <a:pt x="6635" y="796"/>
                  </a:lnTo>
                  <a:lnTo>
                    <a:pt x="6531" y="623"/>
                  </a:lnTo>
                  <a:lnTo>
                    <a:pt x="6393" y="450"/>
                  </a:lnTo>
                  <a:lnTo>
                    <a:pt x="6255" y="312"/>
                  </a:lnTo>
                  <a:lnTo>
                    <a:pt x="6117" y="208"/>
                  </a:lnTo>
                  <a:lnTo>
                    <a:pt x="5944" y="104"/>
                  </a:lnTo>
                  <a:lnTo>
                    <a:pt x="5771" y="70"/>
                  </a:lnTo>
                  <a:lnTo>
                    <a:pt x="5564" y="35"/>
                  </a:lnTo>
                  <a:lnTo>
                    <a:pt x="5356" y="35"/>
                  </a:lnTo>
                  <a:lnTo>
                    <a:pt x="5149" y="70"/>
                  </a:lnTo>
                  <a:lnTo>
                    <a:pt x="4942" y="139"/>
                  </a:lnTo>
                  <a:lnTo>
                    <a:pt x="4734" y="208"/>
                  </a:lnTo>
                  <a:lnTo>
                    <a:pt x="4527" y="312"/>
                  </a:lnTo>
                  <a:lnTo>
                    <a:pt x="4320" y="450"/>
                  </a:lnTo>
                  <a:lnTo>
                    <a:pt x="4112" y="623"/>
                  </a:lnTo>
                  <a:lnTo>
                    <a:pt x="3732" y="899"/>
                  </a:lnTo>
                  <a:lnTo>
                    <a:pt x="3456" y="1037"/>
                  </a:lnTo>
                  <a:lnTo>
                    <a:pt x="3352" y="1072"/>
                  </a:lnTo>
                  <a:lnTo>
                    <a:pt x="3248" y="1072"/>
                  </a:lnTo>
                  <a:lnTo>
                    <a:pt x="3179" y="1037"/>
                  </a:lnTo>
                  <a:lnTo>
                    <a:pt x="3110" y="1003"/>
                  </a:lnTo>
                  <a:lnTo>
                    <a:pt x="2972" y="899"/>
                  </a:lnTo>
                  <a:lnTo>
                    <a:pt x="2834" y="692"/>
                  </a:lnTo>
                  <a:lnTo>
                    <a:pt x="2661" y="485"/>
                  </a:lnTo>
                  <a:lnTo>
                    <a:pt x="2384" y="243"/>
                  </a:lnTo>
                  <a:lnTo>
                    <a:pt x="2246" y="139"/>
                  </a:lnTo>
                  <a:lnTo>
                    <a:pt x="2108" y="70"/>
                  </a:lnTo>
                  <a:lnTo>
                    <a:pt x="1935" y="1"/>
                  </a:lnTo>
                  <a:close/>
                </a:path>
              </a:pathLst>
            </a:custGeom>
            <a:solidFill>
              <a:srgbClr val="6D352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1" name="Google Shape;1648;p16">
              <a:extLst>
                <a:ext uri="{FF2B5EF4-FFF2-40B4-BE49-F238E27FC236}">
                  <a16:creationId xmlns:a16="http://schemas.microsoft.com/office/drawing/2014/main" id="{92BA139C-E264-A9DA-AEA2-56C34896CAAD}"/>
                </a:ext>
              </a:extLst>
            </p:cNvPr>
            <p:cNvSpPr/>
            <p:nvPr/>
          </p:nvSpPr>
          <p:spPr>
            <a:xfrm>
              <a:off x="4475200" y="2953375"/>
              <a:ext cx="54450" cy="63950"/>
            </a:xfrm>
            <a:custGeom>
              <a:avLst/>
              <a:gdLst/>
              <a:ahLst/>
              <a:cxnLst/>
              <a:rect l="l" t="t" r="r" b="b"/>
              <a:pathLst>
                <a:path w="2178" h="2558" extrusionOk="0">
                  <a:moveTo>
                    <a:pt x="1175" y="1"/>
                  </a:moveTo>
                  <a:lnTo>
                    <a:pt x="1003" y="35"/>
                  </a:lnTo>
                  <a:lnTo>
                    <a:pt x="761" y="139"/>
                  </a:lnTo>
                  <a:lnTo>
                    <a:pt x="519" y="312"/>
                  </a:lnTo>
                  <a:lnTo>
                    <a:pt x="208" y="588"/>
                  </a:lnTo>
                  <a:lnTo>
                    <a:pt x="35" y="2281"/>
                  </a:lnTo>
                  <a:lnTo>
                    <a:pt x="0" y="2558"/>
                  </a:lnTo>
                  <a:lnTo>
                    <a:pt x="0" y="2558"/>
                  </a:lnTo>
                  <a:lnTo>
                    <a:pt x="761" y="2523"/>
                  </a:lnTo>
                  <a:lnTo>
                    <a:pt x="1348" y="2523"/>
                  </a:lnTo>
                  <a:lnTo>
                    <a:pt x="1625" y="2316"/>
                  </a:lnTo>
                  <a:lnTo>
                    <a:pt x="1866" y="2109"/>
                  </a:lnTo>
                  <a:lnTo>
                    <a:pt x="2039" y="1867"/>
                  </a:lnTo>
                  <a:lnTo>
                    <a:pt x="2108" y="1763"/>
                  </a:lnTo>
                  <a:lnTo>
                    <a:pt x="2177" y="1625"/>
                  </a:lnTo>
                  <a:lnTo>
                    <a:pt x="2177" y="1487"/>
                  </a:lnTo>
                  <a:lnTo>
                    <a:pt x="2177" y="1348"/>
                  </a:lnTo>
                  <a:lnTo>
                    <a:pt x="2177" y="1176"/>
                  </a:lnTo>
                  <a:lnTo>
                    <a:pt x="2108" y="1003"/>
                  </a:lnTo>
                  <a:lnTo>
                    <a:pt x="2005" y="830"/>
                  </a:lnTo>
                  <a:lnTo>
                    <a:pt x="1901" y="623"/>
                  </a:lnTo>
                  <a:lnTo>
                    <a:pt x="1521" y="174"/>
                  </a:lnTo>
                  <a:lnTo>
                    <a:pt x="1383" y="70"/>
                  </a:lnTo>
                  <a:lnTo>
                    <a:pt x="1279" y="35"/>
                  </a:lnTo>
                  <a:lnTo>
                    <a:pt x="1175" y="1"/>
                  </a:lnTo>
                  <a:close/>
                </a:path>
              </a:pathLst>
            </a:custGeom>
            <a:solidFill>
              <a:srgbClr val="CE979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2" name="Google Shape;1649;p16">
              <a:extLst>
                <a:ext uri="{FF2B5EF4-FFF2-40B4-BE49-F238E27FC236}">
                  <a16:creationId xmlns:a16="http://schemas.microsoft.com/office/drawing/2014/main" id="{C6520A4A-7607-CCF8-FD84-2B544D2A7626}"/>
                </a:ext>
              </a:extLst>
            </p:cNvPr>
            <p:cNvSpPr/>
            <p:nvPr/>
          </p:nvSpPr>
          <p:spPr>
            <a:xfrm>
              <a:off x="4475200" y="2953375"/>
              <a:ext cx="54450" cy="63950"/>
            </a:xfrm>
            <a:custGeom>
              <a:avLst/>
              <a:gdLst/>
              <a:ahLst/>
              <a:cxnLst/>
              <a:rect l="l" t="t" r="r" b="b"/>
              <a:pathLst>
                <a:path w="2178" h="2558" fill="none" extrusionOk="0">
                  <a:moveTo>
                    <a:pt x="1175" y="1"/>
                  </a:moveTo>
                  <a:lnTo>
                    <a:pt x="1175" y="1"/>
                  </a:lnTo>
                  <a:lnTo>
                    <a:pt x="1003" y="35"/>
                  </a:lnTo>
                  <a:lnTo>
                    <a:pt x="761" y="139"/>
                  </a:lnTo>
                  <a:lnTo>
                    <a:pt x="519" y="312"/>
                  </a:lnTo>
                  <a:lnTo>
                    <a:pt x="208" y="588"/>
                  </a:lnTo>
                  <a:lnTo>
                    <a:pt x="208" y="588"/>
                  </a:lnTo>
                  <a:lnTo>
                    <a:pt x="208" y="588"/>
                  </a:lnTo>
                  <a:lnTo>
                    <a:pt x="208" y="588"/>
                  </a:lnTo>
                  <a:lnTo>
                    <a:pt x="35" y="2281"/>
                  </a:lnTo>
                  <a:lnTo>
                    <a:pt x="35" y="2281"/>
                  </a:lnTo>
                  <a:lnTo>
                    <a:pt x="0" y="2558"/>
                  </a:lnTo>
                  <a:lnTo>
                    <a:pt x="0" y="2558"/>
                  </a:lnTo>
                  <a:lnTo>
                    <a:pt x="761" y="2523"/>
                  </a:lnTo>
                  <a:lnTo>
                    <a:pt x="761" y="2523"/>
                  </a:lnTo>
                  <a:lnTo>
                    <a:pt x="1348" y="2523"/>
                  </a:lnTo>
                  <a:lnTo>
                    <a:pt x="1348" y="2523"/>
                  </a:lnTo>
                  <a:lnTo>
                    <a:pt x="1625" y="2316"/>
                  </a:lnTo>
                  <a:lnTo>
                    <a:pt x="1866" y="2109"/>
                  </a:lnTo>
                  <a:lnTo>
                    <a:pt x="2039" y="1867"/>
                  </a:lnTo>
                  <a:lnTo>
                    <a:pt x="2108" y="1763"/>
                  </a:lnTo>
                  <a:lnTo>
                    <a:pt x="2177" y="1625"/>
                  </a:lnTo>
                  <a:lnTo>
                    <a:pt x="2177" y="1487"/>
                  </a:lnTo>
                  <a:lnTo>
                    <a:pt x="2177" y="1348"/>
                  </a:lnTo>
                  <a:lnTo>
                    <a:pt x="2177" y="1176"/>
                  </a:lnTo>
                  <a:lnTo>
                    <a:pt x="2108" y="1003"/>
                  </a:lnTo>
                  <a:lnTo>
                    <a:pt x="2005" y="830"/>
                  </a:lnTo>
                  <a:lnTo>
                    <a:pt x="1901" y="623"/>
                  </a:lnTo>
                  <a:lnTo>
                    <a:pt x="1521" y="174"/>
                  </a:lnTo>
                  <a:lnTo>
                    <a:pt x="1521" y="174"/>
                  </a:lnTo>
                  <a:lnTo>
                    <a:pt x="1383" y="70"/>
                  </a:lnTo>
                  <a:lnTo>
                    <a:pt x="1279" y="35"/>
                  </a:lnTo>
                  <a:lnTo>
                    <a:pt x="117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3" name="Google Shape;1650;p16">
              <a:extLst>
                <a:ext uri="{FF2B5EF4-FFF2-40B4-BE49-F238E27FC236}">
                  <a16:creationId xmlns:a16="http://schemas.microsoft.com/office/drawing/2014/main" id="{AA389F2B-21E4-DCCE-E544-268D5A12E269}"/>
                </a:ext>
              </a:extLst>
            </p:cNvPr>
            <p:cNvSpPr/>
            <p:nvPr/>
          </p:nvSpPr>
          <p:spPr>
            <a:xfrm>
              <a:off x="3682125" y="2970650"/>
              <a:ext cx="1142125" cy="869125"/>
            </a:xfrm>
            <a:custGeom>
              <a:avLst/>
              <a:gdLst/>
              <a:ahLst/>
              <a:cxnLst/>
              <a:rect l="l" t="t" r="r" b="b"/>
              <a:pathLst>
                <a:path w="45685" h="34765" extrusionOk="0">
                  <a:moveTo>
                    <a:pt x="4839" y="1"/>
                  </a:moveTo>
                  <a:lnTo>
                    <a:pt x="4597" y="70"/>
                  </a:lnTo>
                  <a:lnTo>
                    <a:pt x="3940" y="277"/>
                  </a:lnTo>
                  <a:lnTo>
                    <a:pt x="3145" y="588"/>
                  </a:lnTo>
                  <a:lnTo>
                    <a:pt x="2316" y="968"/>
                  </a:lnTo>
                  <a:lnTo>
                    <a:pt x="1487" y="1418"/>
                  </a:lnTo>
                  <a:lnTo>
                    <a:pt x="795" y="1832"/>
                  </a:lnTo>
                  <a:lnTo>
                    <a:pt x="277" y="2178"/>
                  </a:lnTo>
                  <a:lnTo>
                    <a:pt x="104" y="2351"/>
                  </a:lnTo>
                  <a:lnTo>
                    <a:pt x="1" y="2454"/>
                  </a:lnTo>
                  <a:lnTo>
                    <a:pt x="312" y="3802"/>
                  </a:lnTo>
                  <a:lnTo>
                    <a:pt x="623" y="4908"/>
                  </a:lnTo>
                  <a:lnTo>
                    <a:pt x="968" y="6290"/>
                  </a:lnTo>
                  <a:lnTo>
                    <a:pt x="1417" y="7845"/>
                  </a:lnTo>
                  <a:lnTo>
                    <a:pt x="1970" y="9504"/>
                  </a:lnTo>
                  <a:lnTo>
                    <a:pt x="2592" y="11266"/>
                  </a:lnTo>
                  <a:lnTo>
                    <a:pt x="3284" y="13029"/>
                  </a:lnTo>
                  <a:lnTo>
                    <a:pt x="3664" y="13893"/>
                  </a:lnTo>
                  <a:lnTo>
                    <a:pt x="4044" y="14722"/>
                  </a:lnTo>
                  <a:lnTo>
                    <a:pt x="4458" y="15551"/>
                  </a:lnTo>
                  <a:lnTo>
                    <a:pt x="4908" y="16346"/>
                  </a:lnTo>
                  <a:lnTo>
                    <a:pt x="5357" y="17106"/>
                  </a:lnTo>
                  <a:lnTo>
                    <a:pt x="5841" y="17797"/>
                  </a:lnTo>
                  <a:lnTo>
                    <a:pt x="6324" y="18454"/>
                  </a:lnTo>
                  <a:lnTo>
                    <a:pt x="6843" y="19041"/>
                  </a:lnTo>
                  <a:lnTo>
                    <a:pt x="7361" y="19560"/>
                  </a:lnTo>
                  <a:lnTo>
                    <a:pt x="7914" y="20009"/>
                  </a:lnTo>
                  <a:lnTo>
                    <a:pt x="8467" y="20389"/>
                  </a:lnTo>
                  <a:lnTo>
                    <a:pt x="8778" y="20527"/>
                  </a:lnTo>
                  <a:lnTo>
                    <a:pt x="9054" y="20666"/>
                  </a:lnTo>
                  <a:lnTo>
                    <a:pt x="9365" y="20769"/>
                  </a:lnTo>
                  <a:lnTo>
                    <a:pt x="9676" y="20838"/>
                  </a:lnTo>
                  <a:lnTo>
                    <a:pt x="9987" y="20873"/>
                  </a:lnTo>
                  <a:lnTo>
                    <a:pt x="10298" y="20908"/>
                  </a:lnTo>
                  <a:lnTo>
                    <a:pt x="10609" y="20908"/>
                  </a:lnTo>
                  <a:lnTo>
                    <a:pt x="10920" y="20873"/>
                  </a:lnTo>
                  <a:lnTo>
                    <a:pt x="11231" y="20804"/>
                  </a:lnTo>
                  <a:lnTo>
                    <a:pt x="11577" y="20735"/>
                  </a:lnTo>
                  <a:lnTo>
                    <a:pt x="12026" y="20562"/>
                  </a:lnTo>
                  <a:lnTo>
                    <a:pt x="12510" y="20355"/>
                  </a:lnTo>
                  <a:lnTo>
                    <a:pt x="13512" y="19905"/>
                  </a:lnTo>
                  <a:lnTo>
                    <a:pt x="14583" y="19352"/>
                  </a:lnTo>
                  <a:lnTo>
                    <a:pt x="15655" y="18730"/>
                  </a:lnTo>
                  <a:lnTo>
                    <a:pt x="16726" y="18074"/>
                  </a:lnTo>
                  <a:lnTo>
                    <a:pt x="17797" y="17383"/>
                  </a:lnTo>
                  <a:lnTo>
                    <a:pt x="19905" y="16001"/>
                  </a:lnTo>
                  <a:lnTo>
                    <a:pt x="21806" y="14791"/>
                  </a:lnTo>
                  <a:lnTo>
                    <a:pt x="22635" y="14307"/>
                  </a:lnTo>
                  <a:lnTo>
                    <a:pt x="23361" y="13927"/>
                  </a:lnTo>
                  <a:lnTo>
                    <a:pt x="23672" y="13789"/>
                  </a:lnTo>
                  <a:lnTo>
                    <a:pt x="23948" y="13685"/>
                  </a:lnTo>
                  <a:lnTo>
                    <a:pt x="24225" y="13616"/>
                  </a:lnTo>
                  <a:lnTo>
                    <a:pt x="24432" y="13582"/>
                  </a:lnTo>
                  <a:lnTo>
                    <a:pt x="24639" y="13582"/>
                  </a:lnTo>
                  <a:lnTo>
                    <a:pt x="24778" y="13651"/>
                  </a:lnTo>
                  <a:lnTo>
                    <a:pt x="24881" y="13754"/>
                  </a:lnTo>
                  <a:lnTo>
                    <a:pt x="24950" y="13893"/>
                  </a:lnTo>
                  <a:lnTo>
                    <a:pt x="24950" y="14791"/>
                  </a:lnTo>
                  <a:lnTo>
                    <a:pt x="25019" y="15655"/>
                  </a:lnTo>
                  <a:lnTo>
                    <a:pt x="25123" y="17314"/>
                  </a:lnTo>
                  <a:lnTo>
                    <a:pt x="25296" y="18972"/>
                  </a:lnTo>
                  <a:lnTo>
                    <a:pt x="25330" y="19836"/>
                  </a:lnTo>
                  <a:lnTo>
                    <a:pt x="25365" y="20769"/>
                  </a:lnTo>
                  <a:lnTo>
                    <a:pt x="25365" y="21771"/>
                  </a:lnTo>
                  <a:lnTo>
                    <a:pt x="25365" y="22808"/>
                  </a:lnTo>
                  <a:lnTo>
                    <a:pt x="25296" y="23983"/>
                  </a:lnTo>
                  <a:lnTo>
                    <a:pt x="25158" y="25227"/>
                  </a:lnTo>
                  <a:lnTo>
                    <a:pt x="25019" y="26609"/>
                  </a:lnTo>
                  <a:lnTo>
                    <a:pt x="24778" y="28095"/>
                  </a:lnTo>
                  <a:lnTo>
                    <a:pt x="24467" y="29754"/>
                  </a:lnTo>
                  <a:lnTo>
                    <a:pt x="24086" y="31551"/>
                  </a:lnTo>
                  <a:lnTo>
                    <a:pt x="24674" y="32000"/>
                  </a:lnTo>
                  <a:lnTo>
                    <a:pt x="25261" y="32415"/>
                  </a:lnTo>
                  <a:lnTo>
                    <a:pt x="25953" y="32795"/>
                  </a:lnTo>
                  <a:lnTo>
                    <a:pt x="26644" y="33106"/>
                  </a:lnTo>
                  <a:lnTo>
                    <a:pt x="27404" y="33417"/>
                  </a:lnTo>
                  <a:lnTo>
                    <a:pt x="28164" y="33693"/>
                  </a:lnTo>
                  <a:lnTo>
                    <a:pt x="28993" y="33935"/>
                  </a:lnTo>
                  <a:lnTo>
                    <a:pt x="29823" y="34143"/>
                  </a:lnTo>
                  <a:lnTo>
                    <a:pt x="30687" y="34315"/>
                  </a:lnTo>
                  <a:lnTo>
                    <a:pt x="31551" y="34454"/>
                  </a:lnTo>
                  <a:lnTo>
                    <a:pt x="32449" y="34592"/>
                  </a:lnTo>
                  <a:lnTo>
                    <a:pt x="33313" y="34661"/>
                  </a:lnTo>
                  <a:lnTo>
                    <a:pt x="34211" y="34730"/>
                  </a:lnTo>
                  <a:lnTo>
                    <a:pt x="35110" y="34765"/>
                  </a:lnTo>
                  <a:lnTo>
                    <a:pt x="36872" y="34765"/>
                  </a:lnTo>
                  <a:lnTo>
                    <a:pt x="37736" y="34696"/>
                  </a:lnTo>
                  <a:lnTo>
                    <a:pt x="38566" y="34661"/>
                  </a:lnTo>
                  <a:lnTo>
                    <a:pt x="39360" y="34557"/>
                  </a:lnTo>
                  <a:lnTo>
                    <a:pt x="40155" y="34454"/>
                  </a:lnTo>
                  <a:lnTo>
                    <a:pt x="40915" y="34315"/>
                  </a:lnTo>
                  <a:lnTo>
                    <a:pt x="41607" y="34177"/>
                  </a:lnTo>
                  <a:lnTo>
                    <a:pt x="42298" y="34004"/>
                  </a:lnTo>
                  <a:lnTo>
                    <a:pt x="42920" y="33832"/>
                  </a:lnTo>
                  <a:lnTo>
                    <a:pt x="43473" y="33659"/>
                  </a:lnTo>
                  <a:lnTo>
                    <a:pt x="43991" y="33417"/>
                  </a:lnTo>
                  <a:lnTo>
                    <a:pt x="44440" y="33210"/>
                  </a:lnTo>
                  <a:lnTo>
                    <a:pt x="44820" y="32968"/>
                  </a:lnTo>
                  <a:lnTo>
                    <a:pt x="45166" y="32726"/>
                  </a:lnTo>
                  <a:lnTo>
                    <a:pt x="45408" y="32449"/>
                  </a:lnTo>
                  <a:lnTo>
                    <a:pt x="45546" y="32173"/>
                  </a:lnTo>
                  <a:lnTo>
                    <a:pt x="45615" y="32035"/>
                  </a:lnTo>
                  <a:lnTo>
                    <a:pt x="45650" y="31896"/>
                  </a:lnTo>
                  <a:lnTo>
                    <a:pt x="45684" y="31171"/>
                  </a:lnTo>
                  <a:lnTo>
                    <a:pt x="45684" y="30100"/>
                  </a:lnTo>
                  <a:lnTo>
                    <a:pt x="45650" y="28821"/>
                  </a:lnTo>
                  <a:lnTo>
                    <a:pt x="45546" y="27300"/>
                  </a:lnTo>
                  <a:lnTo>
                    <a:pt x="45270" y="23810"/>
                  </a:lnTo>
                  <a:lnTo>
                    <a:pt x="44889" y="20009"/>
                  </a:lnTo>
                  <a:lnTo>
                    <a:pt x="44440" y="16242"/>
                  </a:lnTo>
                  <a:lnTo>
                    <a:pt x="43991" y="12856"/>
                  </a:lnTo>
                  <a:lnTo>
                    <a:pt x="43784" y="11439"/>
                  </a:lnTo>
                  <a:lnTo>
                    <a:pt x="43576" y="10264"/>
                  </a:lnTo>
                  <a:lnTo>
                    <a:pt x="43403" y="9366"/>
                  </a:lnTo>
                  <a:lnTo>
                    <a:pt x="43231" y="8778"/>
                  </a:lnTo>
                  <a:lnTo>
                    <a:pt x="42989" y="8225"/>
                  </a:lnTo>
                  <a:lnTo>
                    <a:pt x="42712" y="7707"/>
                  </a:lnTo>
                  <a:lnTo>
                    <a:pt x="42367" y="7154"/>
                  </a:lnTo>
                  <a:lnTo>
                    <a:pt x="41987" y="6636"/>
                  </a:lnTo>
                  <a:lnTo>
                    <a:pt x="41537" y="6117"/>
                  </a:lnTo>
                  <a:lnTo>
                    <a:pt x="41088" y="5599"/>
                  </a:lnTo>
                  <a:lnTo>
                    <a:pt x="40639" y="5115"/>
                  </a:lnTo>
                  <a:lnTo>
                    <a:pt x="40155" y="4666"/>
                  </a:lnTo>
                  <a:lnTo>
                    <a:pt x="39222" y="3837"/>
                  </a:lnTo>
                  <a:lnTo>
                    <a:pt x="38324" y="3146"/>
                  </a:lnTo>
                  <a:lnTo>
                    <a:pt x="37598" y="2662"/>
                  </a:lnTo>
                  <a:lnTo>
                    <a:pt x="37287" y="2489"/>
                  </a:lnTo>
                  <a:lnTo>
                    <a:pt x="37080" y="2385"/>
                  </a:lnTo>
                  <a:lnTo>
                    <a:pt x="36838" y="2282"/>
                  </a:lnTo>
                  <a:lnTo>
                    <a:pt x="36492" y="2213"/>
                  </a:lnTo>
                  <a:lnTo>
                    <a:pt x="35559" y="2040"/>
                  </a:lnTo>
                  <a:lnTo>
                    <a:pt x="34384" y="1901"/>
                  </a:lnTo>
                  <a:lnTo>
                    <a:pt x="33071" y="1832"/>
                  </a:lnTo>
                  <a:lnTo>
                    <a:pt x="32345" y="1832"/>
                  </a:lnTo>
                  <a:lnTo>
                    <a:pt x="31654" y="1867"/>
                  </a:lnTo>
                  <a:lnTo>
                    <a:pt x="30963" y="1901"/>
                  </a:lnTo>
                  <a:lnTo>
                    <a:pt x="30272" y="1971"/>
                  </a:lnTo>
                  <a:lnTo>
                    <a:pt x="29615" y="2109"/>
                  </a:lnTo>
                  <a:lnTo>
                    <a:pt x="28993" y="2247"/>
                  </a:lnTo>
                  <a:lnTo>
                    <a:pt x="28406" y="2454"/>
                  </a:lnTo>
                  <a:lnTo>
                    <a:pt x="27888" y="2696"/>
                  </a:lnTo>
                  <a:lnTo>
                    <a:pt x="26955" y="3180"/>
                  </a:lnTo>
                  <a:lnTo>
                    <a:pt x="26091" y="3595"/>
                  </a:lnTo>
                  <a:lnTo>
                    <a:pt x="25261" y="4009"/>
                  </a:lnTo>
                  <a:lnTo>
                    <a:pt x="24432" y="4424"/>
                  </a:lnTo>
                  <a:lnTo>
                    <a:pt x="23603" y="4908"/>
                  </a:lnTo>
                  <a:lnTo>
                    <a:pt x="22739" y="5461"/>
                  </a:lnTo>
                  <a:lnTo>
                    <a:pt x="22290" y="5772"/>
                  </a:lnTo>
                  <a:lnTo>
                    <a:pt x="21840" y="6152"/>
                  </a:lnTo>
                  <a:lnTo>
                    <a:pt x="21391" y="6567"/>
                  </a:lnTo>
                  <a:lnTo>
                    <a:pt x="20907" y="7016"/>
                  </a:lnTo>
                  <a:lnTo>
                    <a:pt x="18972" y="8951"/>
                  </a:lnTo>
                  <a:lnTo>
                    <a:pt x="17866" y="10022"/>
                  </a:lnTo>
                  <a:lnTo>
                    <a:pt x="16691" y="11059"/>
                  </a:lnTo>
                  <a:lnTo>
                    <a:pt x="16069" y="11577"/>
                  </a:lnTo>
                  <a:lnTo>
                    <a:pt x="15447" y="12061"/>
                  </a:lnTo>
                  <a:lnTo>
                    <a:pt x="14825" y="12510"/>
                  </a:lnTo>
                  <a:lnTo>
                    <a:pt x="14203" y="12925"/>
                  </a:lnTo>
                  <a:lnTo>
                    <a:pt x="13581" y="13305"/>
                  </a:lnTo>
                  <a:lnTo>
                    <a:pt x="12959" y="13616"/>
                  </a:lnTo>
                  <a:lnTo>
                    <a:pt x="12337" y="13893"/>
                  </a:lnTo>
                  <a:lnTo>
                    <a:pt x="11750" y="14065"/>
                  </a:lnTo>
                  <a:lnTo>
                    <a:pt x="11473" y="14065"/>
                  </a:lnTo>
                  <a:lnTo>
                    <a:pt x="11197" y="13996"/>
                  </a:lnTo>
                  <a:lnTo>
                    <a:pt x="10920" y="13858"/>
                  </a:lnTo>
                  <a:lnTo>
                    <a:pt x="10644" y="13651"/>
                  </a:lnTo>
                  <a:lnTo>
                    <a:pt x="10368" y="13374"/>
                  </a:lnTo>
                  <a:lnTo>
                    <a:pt x="10091" y="13029"/>
                  </a:lnTo>
                  <a:lnTo>
                    <a:pt x="9780" y="12614"/>
                  </a:lnTo>
                  <a:lnTo>
                    <a:pt x="9504" y="12165"/>
                  </a:lnTo>
                  <a:lnTo>
                    <a:pt x="9227" y="11646"/>
                  </a:lnTo>
                  <a:lnTo>
                    <a:pt x="8951" y="11093"/>
                  </a:lnTo>
                  <a:lnTo>
                    <a:pt x="8398" y="9919"/>
                  </a:lnTo>
                  <a:lnTo>
                    <a:pt x="7845" y="8605"/>
                  </a:lnTo>
                  <a:lnTo>
                    <a:pt x="7327" y="7292"/>
                  </a:lnTo>
                  <a:lnTo>
                    <a:pt x="6877" y="5945"/>
                  </a:lnTo>
                  <a:lnTo>
                    <a:pt x="6428" y="4631"/>
                  </a:lnTo>
                  <a:lnTo>
                    <a:pt x="5702" y="2282"/>
                  </a:lnTo>
                  <a:lnTo>
                    <a:pt x="5219" y="623"/>
                  </a:lnTo>
                  <a:lnTo>
                    <a:pt x="5046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4" name="Google Shape;1651;p16">
              <a:extLst>
                <a:ext uri="{FF2B5EF4-FFF2-40B4-BE49-F238E27FC236}">
                  <a16:creationId xmlns:a16="http://schemas.microsoft.com/office/drawing/2014/main" id="{3A928BAB-A288-7D90-0AE6-42B8A4C0677D}"/>
                </a:ext>
              </a:extLst>
            </p:cNvPr>
            <p:cNvSpPr/>
            <p:nvPr/>
          </p:nvSpPr>
          <p:spPr>
            <a:xfrm>
              <a:off x="3682125" y="2970650"/>
              <a:ext cx="1142125" cy="869125"/>
            </a:xfrm>
            <a:custGeom>
              <a:avLst/>
              <a:gdLst/>
              <a:ahLst/>
              <a:cxnLst/>
              <a:rect l="l" t="t" r="r" b="b"/>
              <a:pathLst>
                <a:path w="45685" h="34765" fill="none" extrusionOk="0">
                  <a:moveTo>
                    <a:pt x="37080" y="2385"/>
                  </a:moveTo>
                  <a:lnTo>
                    <a:pt x="37080" y="2385"/>
                  </a:lnTo>
                  <a:lnTo>
                    <a:pt x="36838" y="2282"/>
                  </a:lnTo>
                  <a:lnTo>
                    <a:pt x="36492" y="2213"/>
                  </a:lnTo>
                  <a:lnTo>
                    <a:pt x="35559" y="2040"/>
                  </a:lnTo>
                  <a:lnTo>
                    <a:pt x="34384" y="1901"/>
                  </a:lnTo>
                  <a:lnTo>
                    <a:pt x="33071" y="1832"/>
                  </a:lnTo>
                  <a:lnTo>
                    <a:pt x="32345" y="1832"/>
                  </a:lnTo>
                  <a:lnTo>
                    <a:pt x="31654" y="1867"/>
                  </a:lnTo>
                  <a:lnTo>
                    <a:pt x="30963" y="1901"/>
                  </a:lnTo>
                  <a:lnTo>
                    <a:pt x="30272" y="1971"/>
                  </a:lnTo>
                  <a:lnTo>
                    <a:pt x="29615" y="2109"/>
                  </a:lnTo>
                  <a:lnTo>
                    <a:pt x="28993" y="2247"/>
                  </a:lnTo>
                  <a:lnTo>
                    <a:pt x="28406" y="2454"/>
                  </a:lnTo>
                  <a:lnTo>
                    <a:pt x="27888" y="2696"/>
                  </a:lnTo>
                  <a:lnTo>
                    <a:pt x="27888" y="2696"/>
                  </a:lnTo>
                  <a:lnTo>
                    <a:pt x="26955" y="3180"/>
                  </a:lnTo>
                  <a:lnTo>
                    <a:pt x="26091" y="3595"/>
                  </a:lnTo>
                  <a:lnTo>
                    <a:pt x="25261" y="4009"/>
                  </a:lnTo>
                  <a:lnTo>
                    <a:pt x="24432" y="4424"/>
                  </a:lnTo>
                  <a:lnTo>
                    <a:pt x="23603" y="4908"/>
                  </a:lnTo>
                  <a:lnTo>
                    <a:pt x="22739" y="5461"/>
                  </a:lnTo>
                  <a:lnTo>
                    <a:pt x="22290" y="5772"/>
                  </a:lnTo>
                  <a:lnTo>
                    <a:pt x="21840" y="6152"/>
                  </a:lnTo>
                  <a:lnTo>
                    <a:pt x="21391" y="6567"/>
                  </a:lnTo>
                  <a:lnTo>
                    <a:pt x="20907" y="7016"/>
                  </a:lnTo>
                  <a:lnTo>
                    <a:pt x="20907" y="7016"/>
                  </a:lnTo>
                  <a:lnTo>
                    <a:pt x="18972" y="8951"/>
                  </a:lnTo>
                  <a:lnTo>
                    <a:pt x="17866" y="10022"/>
                  </a:lnTo>
                  <a:lnTo>
                    <a:pt x="16691" y="11059"/>
                  </a:lnTo>
                  <a:lnTo>
                    <a:pt x="16069" y="11577"/>
                  </a:lnTo>
                  <a:lnTo>
                    <a:pt x="15447" y="12061"/>
                  </a:lnTo>
                  <a:lnTo>
                    <a:pt x="14825" y="12510"/>
                  </a:lnTo>
                  <a:lnTo>
                    <a:pt x="14203" y="12925"/>
                  </a:lnTo>
                  <a:lnTo>
                    <a:pt x="13581" y="13305"/>
                  </a:lnTo>
                  <a:lnTo>
                    <a:pt x="12959" y="13616"/>
                  </a:lnTo>
                  <a:lnTo>
                    <a:pt x="12337" y="13893"/>
                  </a:lnTo>
                  <a:lnTo>
                    <a:pt x="11750" y="14065"/>
                  </a:lnTo>
                  <a:lnTo>
                    <a:pt x="11750" y="14065"/>
                  </a:lnTo>
                  <a:lnTo>
                    <a:pt x="11612" y="14065"/>
                  </a:lnTo>
                  <a:lnTo>
                    <a:pt x="11473" y="14065"/>
                  </a:lnTo>
                  <a:lnTo>
                    <a:pt x="11197" y="13996"/>
                  </a:lnTo>
                  <a:lnTo>
                    <a:pt x="10920" y="13858"/>
                  </a:lnTo>
                  <a:lnTo>
                    <a:pt x="10644" y="13651"/>
                  </a:lnTo>
                  <a:lnTo>
                    <a:pt x="10368" y="13374"/>
                  </a:lnTo>
                  <a:lnTo>
                    <a:pt x="10091" y="13029"/>
                  </a:lnTo>
                  <a:lnTo>
                    <a:pt x="9780" y="12614"/>
                  </a:lnTo>
                  <a:lnTo>
                    <a:pt x="9504" y="12165"/>
                  </a:lnTo>
                  <a:lnTo>
                    <a:pt x="9227" y="11646"/>
                  </a:lnTo>
                  <a:lnTo>
                    <a:pt x="8951" y="11093"/>
                  </a:lnTo>
                  <a:lnTo>
                    <a:pt x="8398" y="9919"/>
                  </a:lnTo>
                  <a:lnTo>
                    <a:pt x="7845" y="8605"/>
                  </a:lnTo>
                  <a:lnTo>
                    <a:pt x="7327" y="7292"/>
                  </a:lnTo>
                  <a:lnTo>
                    <a:pt x="6877" y="5945"/>
                  </a:lnTo>
                  <a:lnTo>
                    <a:pt x="6428" y="4631"/>
                  </a:lnTo>
                  <a:lnTo>
                    <a:pt x="5702" y="2282"/>
                  </a:lnTo>
                  <a:lnTo>
                    <a:pt x="5219" y="623"/>
                  </a:lnTo>
                  <a:lnTo>
                    <a:pt x="5046" y="1"/>
                  </a:lnTo>
                  <a:lnTo>
                    <a:pt x="5046" y="1"/>
                  </a:lnTo>
                  <a:lnTo>
                    <a:pt x="4839" y="1"/>
                  </a:lnTo>
                  <a:lnTo>
                    <a:pt x="4597" y="70"/>
                  </a:lnTo>
                  <a:lnTo>
                    <a:pt x="3940" y="277"/>
                  </a:lnTo>
                  <a:lnTo>
                    <a:pt x="3145" y="588"/>
                  </a:lnTo>
                  <a:lnTo>
                    <a:pt x="2316" y="968"/>
                  </a:lnTo>
                  <a:lnTo>
                    <a:pt x="1487" y="1418"/>
                  </a:lnTo>
                  <a:lnTo>
                    <a:pt x="795" y="1832"/>
                  </a:lnTo>
                  <a:lnTo>
                    <a:pt x="277" y="2178"/>
                  </a:lnTo>
                  <a:lnTo>
                    <a:pt x="104" y="2351"/>
                  </a:lnTo>
                  <a:lnTo>
                    <a:pt x="1" y="2454"/>
                  </a:lnTo>
                  <a:lnTo>
                    <a:pt x="1" y="2454"/>
                  </a:lnTo>
                  <a:lnTo>
                    <a:pt x="312" y="3802"/>
                  </a:lnTo>
                  <a:lnTo>
                    <a:pt x="623" y="4908"/>
                  </a:lnTo>
                  <a:lnTo>
                    <a:pt x="968" y="6290"/>
                  </a:lnTo>
                  <a:lnTo>
                    <a:pt x="1417" y="7845"/>
                  </a:lnTo>
                  <a:lnTo>
                    <a:pt x="1970" y="9504"/>
                  </a:lnTo>
                  <a:lnTo>
                    <a:pt x="2592" y="11266"/>
                  </a:lnTo>
                  <a:lnTo>
                    <a:pt x="3284" y="13029"/>
                  </a:lnTo>
                  <a:lnTo>
                    <a:pt x="3664" y="13893"/>
                  </a:lnTo>
                  <a:lnTo>
                    <a:pt x="4044" y="14722"/>
                  </a:lnTo>
                  <a:lnTo>
                    <a:pt x="4458" y="15551"/>
                  </a:lnTo>
                  <a:lnTo>
                    <a:pt x="4908" y="16346"/>
                  </a:lnTo>
                  <a:lnTo>
                    <a:pt x="5357" y="17106"/>
                  </a:lnTo>
                  <a:lnTo>
                    <a:pt x="5841" y="17797"/>
                  </a:lnTo>
                  <a:lnTo>
                    <a:pt x="6324" y="18454"/>
                  </a:lnTo>
                  <a:lnTo>
                    <a:pt x="6843" y="19041"/>
                  </a:lnTo>
                  <a:lnTo>
                    <a:pt x="7361" y="19560"/>
                  </a:lnTo>
                  <a:lnTo>
                    <a:pt x="7914" y="20009"/>
                  </a:lnTo>
                  <a:lnTo>
                    <a:pt x="8467" y="20389"/>
                  </a:lnTo>
                  <a:lnTo>
                    <a:pt x="8778" y="20527"/>
                  </a:lnTo>
                  <a:lnTo>
                    <a:pt x="9054" y="20666"/>
                  </a:lnTo>
                  <a:lnTo>
                    <a:pt x="9365" y="20769"/>
                  </a:lnTo>
                  <a:lnTo>
                    <a:pt x="9676" y="20838"/>
                  </a:lnTo>
                  <a:lnTo>
                    <a:pt x="9987" y="20873"/>
                  </a:lnTo>
                  <a:lnTo>
                    <a:pt x="10298" y="20908"/>
                  </a:lnTo>
                  <a:lnTo>
                    <a:pt x="10609" y="20908"/>
                  </a:lnTo>
                  <a:lnTo>
                    <a:pt x="10920" y="20873"/>
                  </a:lnTo>
                  <a:lnTo>
                    <a:pt x="11231" y="20804"/>
                  </a:lnTo>
                  <a:lnTo>
                    <a:pt x="11577" y="20735"/>
                  </a:lnTo>
                  <a:lnTo>
                    <a:pt x="11577" y="20735"/>
                  </a:lnTo>
                  <a:lnTo>
                    <a:pt x="12026" y="20562"/>
                  </a:lnTo>
                  <a:lnTo>
                    <a:pt x="12510" y="20355"/>
                  </a:lnTo>
                  <a:lnTo>
                    <a:pt x="13512" y="19905"/>
                  </a:lnTo>
                  <a:lnTo>
                    <a:pt x="14583" y="19352"/>
                  </a:lnTo>
                  <a:lnTo>
                    <a:pt x="15655" y="18730"/>
                  </a:lnTo>
                  <a:lnTo>
                    <a:pt x="16726" y="18074"/>
                  </a:lnTo>
                  <a:lnTo>
                    <a:pt x="17797" y="17383"/>
                  </a:lnTo>
                  <a:lnTo>
                    <a:pt x="19905" y="16001"/>
                  </a:lnTo>
                  <a:lnTo>
                    <a:pt x="21806" y="14791"/>
                  </a:lnTo>
                  <a:lnTo>
                    <a:pt x="22635" y="14307"/>
                  </a:lnTo>
                  <a:lnTo>
                    <a:pt x="23361" y="13927"/>
                  </a:lnTo>
                  <a:lnTo>
                    <a:pt x="23672" y="13789"/>
                  </a:lnTo>
                  <a:lnTo>
                    <a:pt x="23948" y="13685"/>
                  </a:lnTo>
                  <a:lnTo>
                    <a:pt x="24225" y="13616"/>
                  </a:lnTo>
                  <a:lnTo>
                    <a:pt x="24432" y="13582"/>
                  </a:lnTo>
                  <a:lnTo>
                    <a:pt x="24639" y="13582"/>
                  </a:lnTo>
                  <a:lnTo>
                    <a:pt x="24778" y="13651"/>
                  </a:lnTo>
                  <a:lnTo>
                    <a:pt x="24881" y="13754"/>
                  </a:lnTo>
                  <a:lnTo>
                    <a:pt x="24950" y="13893"/>
                  </a:lnTo>
                  <a:lnTo>
                    <a:pt x="24950" y="13893"/>
                  </a:lnTo>
                  <a:lnTo>
                    <a:pt x="24950" y="14791"/>
                  </a:lnTo>
                  <a:lnTo>
                    <a:pt x="25019" y="15655"/>
                  </a:lnTo>
                  <a:lnTo>
                    <a:pt x="25123" y="17314"/>
                  </a:lnTo>
                  <a:lnTo>
                    <a:pt x="25296" y="18972"/>
                  </a:lnTo>
                  <a:lnTo>
                    <a:pt x="25330" y="19836"/>
                  </a:lnTo>
                  <a:lnTo>
                    <a:pt x="25365" y="20769"/>
                  </a:lnTo>
                  <a:lnTo>
                    <a:pt x="25365" y="21771"/>
                  </a:lnTo>
                  <a:lnTo>
                    <a:pt x="25365" y="22808"/>
                  </a:lnTo>
                  <a:lnTo>
                    <a:pt x="25296" y="23983"/>
                  </a:lnTo>
                  <a:lnTo>
                    <a:pt x="25158" y="25227"/>
                  </a:lnTo>
                  <a:lnTo>
                    <a:pt x="25019" y="26609"/>
                  </a:lnTo>
                  <a:lnTo>
                    <a:pt x="24778" y="28095"/>
                  </a:lnTo>
                  <a:lnTo>
                    <a:pt x="24467" y="29754"/>
                  </a:lnTo>
                  <a:lnTo>
                    <a:pt x="24086" y="31551"/>
                  </a:lnTo>
                  <a:lnTo>
                    <a:pt x="24086" y="31551"/>
                  </a:lnTo>
                  <a:lnTo>
                    <a:pt x="24674" y="32000"/>
                  </a:lnTo>
                  <a:lnTo>
                    <a:pt x="25261" y="32415"/>
                  </a:lnTo>
                  <a:lnTo>
                    <a:pt x="25953" y="32795"/>
                  </a:lnTo>
                  <a:lnTo>
                    <a:pt x="26644" y="33106"/>
                  </a:lnTo>
                  <a:lnTo>
                    <a:pt x="27404" y="33417"/>
                  </a:lnTo>
                  <a:lnTo>
                    <a:pt x="28164" y="33693"/>
                  </a:lnTo>
                  <a:lnTo>
                    <a:pt x="28993" y="33935"/>
                  </a:lnTo>
                  <a:lnTo>
                    <a:pt x="29823" y="34143"/>
                  </a:lnTo>
                  <a:lnTo>
                    <a:pt x="30687" y="34315"/>
                  </a:lnTo>
                  <a:lnTo>
                    <a:pt x="31551" y="34454"/>
                  </a:lnTo>
                  <a:lnTo>
                    <a:pt x="32449" y="34592"/>
                  </a:lnTo>
                  <a:lnTo>
                    <a:pt x="33313" y="34661"/>
                  </a:lnTo>
                  <a:lnTo>
                    <a:pt x="34211" y="34730"/>
                  </a:lnTo>
                  <a:lnTo>
                    <a:pt x="35110" y="34765"/>
                  </a:lnTo>
                  <a:lnTo>
                    <a:pt x="36008" y="34765"/>
                  </a:lnTo>
                  <a:lnTo>
                    <a:pt x="36872" y="34765"/>
                  </a:lnTo>
                  <a:lnTo>
                    <a:pt x="37736" y="34696"/>
                  </a:lnTo>
                  <a:lnTo>
                    <a:pt x="38566" y="34661"/>
                  </a:lnTo>
                  <a:lnTo>
                    <a:pt x="39360" y="34557"/>
                  </a:lnTo>
                  <a:lnTo>
                    <a:pt x="40155" y="34454"/>
                  </a:lnTo>
                  <a:lnTo>
                    <a:pt x="40915" y="34315"/>
                  </a:lnTo>
                  <a:lnTo>
                    <a:pt x="41607" y="34177"/>
                  </a:lnTo>
                  <a:lnTo>
                    <a:pt x="42298" y="34004"/>
                  </a:lnTo>
                  <a:lnTo>
                    <a:pt x="42920" y="33832"/>
                  </a:lnTo>
                  <a:lnTo>
                    <a:pt x="43473" y="33659"/>
                  </a:lnTo>
                  <a:lnTo>
                    <a:pt x="43991" y="33417"/>
                  </a:lnTo>
                  <a:lnTo>
                    <a:pt x="44440" y="33210"/>
                  </a:lnTo>
                  <a:lnTo>
                    <a:pt x="44820" y="32968"/>
                  </a:lnTo>
                  <a:lnTo>
                    <a:pt x="45166" y="32726"/>
                  </a:lnTo>
                  <a:lnTo>
                    <a:pt x="45408" y="32449"/>
                  </a:lnTo>
                  <a:lnTo>
                    <a:pt x="45546" y="32173"/>
                  </a:lnTo>
                  <a:lnTo>
                    <a:pt x="45615" y="32035"/>
                  </a:lnTo>
                  <a:lnTo>
                    <a:pt x="45650" y="31896"/>
                  </a:lnTo>
                  <a:lnTo>
                    <a:pt x="45650" y="31896"/>
                  </a:lnTo>
                  <a:lnTo>
                    <a:pt x="45684" y="31171"/>
                  </a:lnTo>
                  <a:lnTo>
                    <a:pt x="45684" y="30100"/>
                  </a:lnTo>
                  <a:lnTo>
                    <a:pt x="45650" y="28821"/>
                  </a:lnTo>
                  <a:lnTo>
                    <a:pt x="45546" y="27300"/>
                  </a:lnTo>
                  <a:lnTo>
                    <a:pt x="45270" y="23810"/>
                  </a:lnTo>
                  <a:lnTo>
                    <a:pt x="44889" y="20009"/>
                  </a:lnTo>
                  <a:lnTo>
                    <a:pt x="44440" y="16242"/>
                  </a:lnTo>
                  <a:lnTo>
                    <a:pt x="43991" y="12856"/>
                  </a:lnTo>
                  <a:lnTo>
                    <a:pt x="43784" y="11439"/>
                  </a:lnTo>
                  <a:lnTo>
                    <a:pt x="43576" y="10264"/>
                  </a:lnTo>
                  <a:lnTo>
                    <a:pt x="43403" y="9366"/>
                  </a:lnTo>
                  <a:lnTo>
                    <a:pt x="43231" y="8778"/>
                  </a:lnTo>
                  <a:lnTo>
                    <a:pt x="43231" y="8778"/>
                  </a:lnTo>
                  <a:lnTo>
                    <a:pt x="42989" y="8225"/>
                  </a:lnTo>
                  <a:lnTo>
                    <a:pt x="42712" y="7707"/>
                  </a:lnTo>
                  <a:lnTo>
                    <a:pt x="42367" y="7154"/>
                  </a:lnTo>
                  <a:lnTo>
                    <a:pt x="41987" y="6636"/>
                  </a:lnTo>
                  <a:lnTo>
                    <a:pt x="41537" y="6117"/>
                  </a:lnTo>
                  <a:lnTo>
                    <a:pt x="41088" y="5599"/>
                  </a:lnTo>
                  <a:lnTo>
                    <a:pt x="40639" y="5115"/>
                  </a:lnTo>
                  <a:lnTo>
                    <a:pt x="40155" y="4666"/>
                  </a:lnTo>
                  <a:lnTo>
                    <a:pt x="39222" y="3837"/>
                  </a:lnTo>
                  <a:lnTo>
                    <a:pt x="38324" y="3146"/>
                  </a:lnTo>
                  <a:lnTo>
                    <a:pt x="37598" y="2662"/>
                  </a:lnTo>
                  <a:lnTo>
                    <a:pt x="37287" y="2489"/>
                  </a:lnTo>
                  <a:lnTo>
                    <a:pt x="37080" y="238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5" name="Google Shape;1652;p16">
              <a:extLst>
                <a:ext uri="{FF2B5EF4-FFF2-40B4-BE49-F238E27FC236}">
                  <a16:creationId xmlns:a16="http://schemas.microsoft.com/office/drawing/2014/main" id="{67233BF3-2ABC-6A74-D63A-12F525ACF0B6}"/>
                </a:ext>
              </a:extLst>
            </p:cNvPr>
            <p:cNvSpPr/>
            <p:nvPr/>
          </p:nvSpPr>
          <p:spPr>
            <a:xfrm>
              <a:off x="4294650" y="3308450"/>
              <a:ext cx="84675" cy="400875"/>
            </a:xfrm>
            <a:custGeom>
              <a:avLst/>
              <a:gdLst/>
              <a:ahLst/>
              <a:cxnLst/>
              <a:rect l="l" t="t" r="r" b="b"/>
              <a:pathLst>
                <a:path w="3387" h="16035" extrusionOk="0">
                  <a:moveTo>
                    <a:pt x="207" y="0"/>
                  </a:moveTo>
                  <a:lnTo>
                    <a:pt x="311" y="70"/>
                  </a:lnTo>
                  <a:lnTo>
                    <a:pt x="380" y="173"/>
                  </a:lnTo>
                  <a:lnTo>
                    <a:pt x="449" y="381"/>
                  </a:lnTo>
                  <a:lnTo>
                    <a:pt x="449" y="1175"/>
                  </a:lnTo>
                  <a:lnTo>
                    <a:pt x="518" y="1970"/>
                  </a:lnTo>
                  <a:lnTo>
                    <a:pt x="622" y="3525"/>
                  </a:lnTo>
                  <a:lnTo>
                    <a:pt x="760" y="5149"/>
                  </a:lnTo>
                  <a:lnTo>
                    <a:pt x="899" y="6912"/>
                  </a:lnTo>
                  <a:lnTo>
                    <a:pt x="899" y="7810"/>
                  </a:lnTo>
                  <a:lnTo>
                    <a:pt x="933" y="8778"/>
                  </a:lnTo>
                  <a:lnTo>
                    <a:pt x="899" y="9814"/>
                  </a:lnTo>
                  <a:lnTo>
                    <a:pt x="829" y="10920"/>
                  </a:lnTo>
                  <a:lnTo>
                    <a:pt x="691" y="12061"/>
                  </a:lnTo>
                  <a:lnTo>
                    <a:pt x="518" y="13305"/>
                  </a:lnTo>
                  <a:lnTo>
                    <a:pt x="311" y="14618"/>
                  </a:lnTo>
                  <a:lnTo>
                    <a:pt x="0" y="16035"/>
                  </a:lnTo>
                  <a:lnTo>
                    <a:pt x="104" y="15966"/>
                  </a:lnTo>
                  <a:lnTo>
                    <a:pt x="207" y="15827"/>
                  </a:lnTo>
                  <a:lnTo>
                    <a:pt x="449" y="15378"/>
                  </a:lnTo>
                  <a:lnTo>
                    <a:pt x="726" y="14825"/>
                  </a:lnTo>
                  <a:lnTo>
                    <a:pt x="968" y="14341"/>
                  </a:lnTo>
                  <a:lnTo>
                    <a:pt x="1210" y="13892"/>
                  </a:lnTo>
                  <a:lnTo>
                    <a:pt x="1452" y="13270"/>
                  </a:lnTo>
                  <a:lnTo>
                    <a:pt x="1693" y="12544"/>
                  </a:lnTo>
                  <a:lnTo>
                    <a:pt x="1935" y="11681"/>
                  </a:lnTo>
                  <a:lnTo>
                    <a:pt x="2177" y="10747"/>
                  </a:lnTo>
                  <a:lnTo>
                    <a:pt x="2385" y="9780"/>
                  </a:lnTo>
                  <a:lnTo>
                    <a:pt x="2799" y="7707"/>
                  </a:lnTo>
                  <a:lnTo>
                    <a:pt x="3110" y="5737"/>
                  </a:lnTo>
                  <a:lnTo>
                    <a:pt x="3318" y="3974"/>
                  </a:lnTo>
                  <a:lnTo>
                    <a:pt x="3387" y="3249"/>
                  </a:lnTo>
                  <a:lnTo>
                    <a:pt x="3387" y="2661"/>
                  </a:lnTo>
                  <a:lnTo>
                    <a:pt x="3387" y="2247"/>
                  </a:lnTo>
                  <a:lnTo>
                    <a:pt x="3352" y="2108"/>
                  </a:lnTo>
                  <a:lnTo>
                    <a:pt x="3318" y="2005"/>
                  </a:lnTo>
                  <a:lnTo>
                    <a:pt x="3179" y="1728"/>
                  </a:lnTo>
                  <a:lnTo>
                    <a:pt x="3007" y="1452"/>
                  </a:lnTo>
                  <a:lnTo>
                    <a:pt x="2765" y="1244"/>
                  </a:lnTo>
                  <a:lnTo>
                    <a:pt x="2454" y="1003"/>
                  </a:lnTo>
                  <a:lnTo>
                    <a:pt x="2074" y="795"/>
                  </a:lnTo>
                  <a:lnTo>
                    <a:pt x="1590" y="553"/>
                  </a:lnTo>
                  <a:lnTo>
                    <a:pt x="968" y="277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AA2B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6" name="Google Shape;1653;p16">
              <a:extLst>
                <a:ext uri="{FF2B5EF4-FFF2-40B4-BE49-F238E27FC236}">
                  <a16:creationId xmlns:a16="http://schemas.microsoft.com/office/drawing/2014/main" id="{13668B4F-4AF6-162D-DB53-F2F2DC3A53A7}"/>
                </a:ext>
              </a:extLst>
            </p:cNvPr>
            <p:cNvSpPr/>
            <p:nvPr/>
          </p:nvSpPr>
          <p:spPr>
            <a:xfrm>
              <a:off x="4294650" y="3308450"/>
              <a:ext cx="84675" cy="400875"/>
            </a:xfrm>
            <a:custGeom>
              <a:avLst/>
              <a:gdLst/>
              <a:ahLst/>
              <a:cxnLst/>
              <a:rect l="l" t="t" r="r" b="b"/>
              <a:pathLst>
                <a:path w="3387" h="16035" fill="none" extrusionOk="0">
                  <a:moveTo>
                    <a:pt x="207" y="0"/>
                  </a:moveTo>
                  <a:lnTo>
                    <a:pt x="207" y="0"/>
                  </a:lnTo>
                  <a:lnTo>
                    <a:pt x="311" y="70"/>
                  </a:lnTo>
                  <a:lnTo>
                    <a:pt x="380" y="173"/>
                  </a:lnTo>
                  <a:lnTo>
                    <a:pt x="449" y="381"/>
                  </a:lnTo>
                  <a:lnTo>
                    <a:pt x="449" y="381"/>
                  </a:lnTo>
                  <a:lnTo>
                    <a:pt x="449" y="1175"/>
                  </a:lnTo>
                  <a:lnTo>
                    <a:pt x="518" y="1970"/>
                  </a:lnTo>
                  <a:lnTo>
                    <a:pt x="622" y="3525"/>
                  </a:lnTo>
                  <a:lnTo>
                    <a:pt x="760" y="5149"/>
                  </a:lnTo>
                  <a:lnTo>
                    <a:pt x="899" y="6912"/>
                  </a:lnTo>
                  <a:lnTo>
                    <a:pt x="899" y="7810"/>
                  </a:lnTo>
                  <a:lnTo>
                    <a:pt x="933" y="8778"/>
                  </a:lnTo>
                  <a:lnTo>
                    <a:pt x="899" y="9814"/>
                  </a:lnTo>
                  <a:lnTo>
                    <a:pt x="829" y="10920"/>
                  </a:lnTo>
                  <a:lnTo>
                    <a:pt x="691" y="12061"/>
                  </a:lnTo>
                  <a:lnTo>
                    <a:pt x="518" y="13305"/>
                  </a:lnTo>
                  <a:lnTo>
                    <a:pt x="311" y="14618"/>
                  </a:lnTo>
                  <a:lnTo>
                    <a:pt x="0" y="16035"/>
                  </a:lnTo>
                  <a:lnTo>
                    <a:pt x="0" y="16035"/>
                  </a:lnTo>
                  <a:lnTo>
                    <a:pt x="104" y="15966"/>
                  </a:lnTo>
                  <a:lnTo>
                    <a:pt x="207" y="15827"/>
                  </a:lnTo>
                  <a:lnTo>
                    <a:pt x="449" y="15378"/>
                  </a:lnTo>
                  <a:lnTo>
                    <a:pt x="726" y="14825"/>
                  </a:lnTo>
                  <a:lnTo>
                    <a:pt x="968" y="14341"/>
                  </a:lnTo>
                  <a:lnTo>
                    <a:pt x="968" y="14341"/>
                  </a:lnTo>
                  <a:lnTo>
                    <a:pt x="1210" y="13892"/>
                  </a:lnTo>
                  <a:lnTo>
                    <a:pt x="1452" y="13270"/>
                  </a:lnTo>
                  <a:lnTo>
                    <a:pt x="1693" y="12544"/>
                  </a:lnTo>
                  <a:lnTo>
                    <a:pt x="1935" y="11681"/>
                  </a:lnTo>
                  <a:lnTo>
                    <a:pt x="2177" y="10747"/>
                  </a:lnTo>
                  <a:lnTo>
                    <a:pt x="2385" y="9780"/>
                  </a:lnTo>
                  <a:lnTo>
                    <a:pt x="2799" y="7707"/>
                  </a:lnTo>
                  <a:lnTo>
                    <a:pt x="3110" y="5737"/>
                  </a:lnTo>
                  <a:lnTo>
                    <a:pt x="3318" y="3974"/>
                  </a:lnTo>
                  <a:lnTo>
                    <a:pt x="3387" y="3249"/>
                  </a:lnTo>
                  <a:lnTo>
                    <a:pt x="3387" y="2661"/>
                  </a:lnTo>
                  <a:lnTo>
                    <a:pt x="3387" y="2247"/>
                  </a:lnTo>
                  <a:lnTo>
                    <a:pt x="3352" y="2108"/>
                  </a:lnTo>
                  <a:lnTo>
                    <a:pt x="3318" y="2005"/>
                  </a:lnTo>
                  <a:lnTo>
                    <a:pt x="3318" y="2005"/>
                  </a:lnTo>
                  <a:lnTo>
                    <a:pt x="3179" y="1728"/>
                  </a:lnTo>
                  <a:lnTo>
                    <a:pt x="3007" y="1452"/>
                  </a:lnTo>
                  <a:lnTo>
                    <a:pt x="2765" y="1244"/>
                  </a:lnTo>
                  <a:lnTo>
                    <a:pt x="2454" y="1003"/>
                  </a:lnTo>
                  <a:lnTo>
                    <a:pt x="2074" y="795"/>
                  </a:lnTo>
                  <a:lnTo>
                    <a:pt x="1590" y="553"/>
                  </a:lnTo>
                  <a:lnTo>
                    <a:pt x="968" y="277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37" name="Google Shape;1855;p16">
            <a:extLst>
              <a:ext uri="{FF2B5EF4-FFF2-40B4-BE49-F238E27FC236}">
                <a16:creationId xmlns:a16="http://schemas.microsoft.com/office/drawing/2014/main" id="{DF7E13E0-086A-BC28-A7C2-9CA831BBDA47}"/>
              </a:ext>
            </a:extLst>
          </p:cNvPr>
          <p:cNvGrpSpPr/>
          <p:nvPr/>
        </p:nvGrpSpPr>
        <p:grpSpPr>
          <a:xfrm>
            <a:off x="10413405" y="3764605"/>
            <a:ext cx="1335508" cy="894946"/>
            <a:chOff x="846010" y="4505444"/>
            <a:chExt cx="4056627" cy="3054715"/>
          </a:xfrm>
        </p:grpSpPr>
        <p:grpSp>
          <p:nvGrpSpPr>
            <p:cNvPr id="238" name="Google Shape;1856;p16">
              <a:extLst>
                <a:ext uri="{FF2B5EF4-FFF2-40B4-BE49-F238E27FC236}">
                  <a16:creationId xmlns:a16="http://schemas.microsoft.com/office/drawing/2014/main" id="{8FB7409C-E88C-8D9D-EF87-66FA41D62940}"/>
                </a:ext>
              </a:extLst>
            </p:cNvPr>
            <p:cNvGrpSpPr/>
            <p:nvPr/>
          </p:nvGrpSpPr>
          <p:grpSpPr>
            <a:xfrm>
              <a:off x="1066366" y="6730340"/>
              <a:ext cx="693062" cy="829654"/>
              <a:chOff x="1815468" y="3683050"/>
              <a:chExt cx="1188582" cy="1793847"/>
            </a:xfrm>
          </p:grpSpPr>
          <p:sp>
            <p:nvSpPr>
              <p:cNvPr id="449" name="Google Shape;1857;p16">
                <a:extLst>
                  <a:ext uri="{FF2B5EF4-FFF2-40B4-BE49-F238E27FC236}">
                    <a16:creationId xmlns:a16="http://schemas.microsoft.com/office/drawing/2014/main" id="{55CDC7DE-E1F6-F223-209A-A35A489A020B}"/>
                  </a:ext>
                </a:extLst>
              </p:cNvPr>
              <p:cNvSpPr/>
              <p:nvPr/>
            </p:nvSpPr>
            <p:spPr>
              <a:xfrm>
                <a:off x="1815468" y="3683072"/>
                <a:ext cx="1188548" cy="1793825"/>
              </a:xfrm>
              <a:custGeom>
                <a:avLst/>
                <a:gdLst/>
                <a:ahLst/>
                <a:cxnLst/>
                <a:rect l="l" t="t" r="r" b="b"/>
                <a:pathLst>
                  <a:path w="34366" h="71753" extrusionOk="0">
                    <a:moveTo>
                      <a:pt x="3806" y="0"/>
                    </a:moveTo>
                    <a:lnTo>
                      <a:pt x="2799" y="112"/>
                    </a:lnTo>
                    <a:lnTo>
                      <a:pt x="1903" y="448"/>
                    </a:lnTo>
                    <a:lnTo>
                      <a:pt x="1232" y="896"/>
                    </a:lnTo>
                    <a:lnTo>
                      <a:pt x="560" y="1567"/>
                    </a:lnTo>
                    <a:lnTo>
                      <a:pt x="336" y="2015"/>
                    </a:lnTo>
                    <a:lnTo>
                      <a:pt x="112" y="2463"/>
                    </a:lnTo>
                    <a:lnTo>
                      <a:pt x="0" y="2910"/>
                    </a:lnTo>
                    <a:lnTo>
                      <a:pt x="0" y="3470"/>
                    </a:lnTo>
                    <a:lnTo>
                      <a:pt x="0" y="71753"/>
                    </a:lnTo>
                    <a:lnTo>
                      <a:pt x="34366" y="71753"/>
                    </a:lnTo>
                    <a:lnTo>
                      <a:pt x="34254" y="3470"/>
                    </a:lnTo>
                    <a:lnTo>
                      <a:pt x="34254" y="2910"/>
                    </a:lnTo>
                    <a:lnTo>
                      <a:pt x="34030" y="2351"/>
                    </a:lnTo>
                    <a:lnTo>
                      <a:pt x="33806" y="1791"/>
                    </a:lnTo>
                    <a:lnTo>
                      <a:pt x="33470" y="1343"/>
                    </a:lnTo>
                    <a:lnTo>
                      <a:pt x="32910" y="784"/>
                    </a:lnTo>
                    <a:lnTo>
                      <a:pt x="32239" y="336"/>
                    </a:lnTo>
                    <a:lnTo>
                      <a:pt x="31455" y="112"/>
                    </a:lnTo>
                    <a:lnTo>
                      <a:pt x="30560" y="0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50" name="Google Shape;1858;p16">
                <a:extLst>
                  <a:ext uri="{FF2B5EF4-FFF2-40B4-BE49-F238E27FC236}">
                    <a16:creationId xmlns:a16="http://schemas.microsoft.com/office/drawing/2014/main" id="{2BD2A102-8184-7089-E0D0-D5EE659EA2F2}"/>
                  </a:ext>
                </a:extLst>
              </p:cNvPr>
              <p:cNvSpPr/>
              <p:nvPr/>
            </p:nvSpPr>
            <p:spPr>
              <a:xfrm>
                <a:off x="2690600" y="3683050"/>
                <a:ext cx="313450" cy="1793825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71753" extrusionOk="0">
                    <a:moveTo>
                      <a:pt x="0" y="0"/>
                    </a:moveTo>
                    <a:lnTo>
                      <a:pt x="0" y="1791"/>
                    </a:lnTo>
                    <a:lnTo>
                      <a:pt x="0" y="1903"/>
                    </a:lnTo>
                    <a:lnTo>
                      <a:pt x="112" y="16007"/>
                    </a:lnTo>
                    <a:lnTo>
                      <a:pt x="448" y="34701"/>
                    </a:lnTo>
                    <a:lnTo>
                      <a:pt x="784" y="44776"/>
                    </a:lnTo>
                    <a:lnTo>
                      <a:pt x="1120" y="54626"/>
                    </a:lnTo>
                    <a:lnTo>
                      <a:pt x="1568" y="63693"/>
                    </a:lnTo>
                    <a:lnTo>
                      <a:pt x="2127" y="71753"/>
                    </a:lnTo>
                    <a:lnTo>
                      <a:pt x="12538" y="71753"/>
                    </a:lnTo>
                    <a:lnTo>
                      <a:pt x="12426" y="3470"/>
                    </a:lnTo>
                    <a:lnTo>
                      <a:pt x="12426" y="2910"/>
                    </a:lnTo>
                    <a:lnTo>
                      <a:pt x="12202" y="2351"/>
                    </a:lnTo>
                    <a:lnTo>
                      <a:pt x="11978" y="1791"/>
                    </a:lnTo>
                    <a:lnTo>
                      <a:pt x="11642" y="1343"/>
                    </a:lnTo>
                    <a:lnTo>
                      <a:pt x="11082" y="784"/>
                    </a:lnTo>
                    <a:lnTo>
                      <a:pt x="10411" y="336"/>
                    </a:lnTo>
                    <a:lnTo>
                      <a:pt x="9627" y="112"/>
                    </a:lnTo>
                    <a:lnTo>
                      <a:pt x="8732" y="0"/>
                    </a:lnTo>
                    <a:close/>
                  </a:path>
                </a:pathLst>
              </a:custGeom>
              <a:solidFill>
                <a:srgbClr val="D25F3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239" name="Google Shape;1859;p16">
              <a:extLst>
                <a:ext uri="{FF2B5EF4-FFF2-40B4-BE49-F238E27FC236}">
                  <a16:creationId xmlns:a16="http://schemas.microsoft.com/office/drawing/2014/main" id="{3A60C896-8415-9800-A1AA-1A465D0C644B}"/>
                </a:ext>
              </a:extLst>
            </p:cNvPr>
            <p:cNvGrpSpPr/>
            <p:nvPr/>
          </p:nvGrpSpPr>
          <p:grpSpPr>
            <a:xfrm>
              <a:off x="846010" y="4505444"/>
              <a:ext cx="4056627" cy="3054715"/>
              <a:chOff x="331500" y="238125"/>
              <a:chExt cx="6957000" cy="5238750"/>
            </a:xfrm>
          </p:grpSpPr>
          <p:sp>
            <p:nvSpPr>
              <p:cNvPr id="240" name="Google Shape;1860;p16">
                <a:extLst>
                  <a:ext uri="{FF2B5EF4-FFF2-40B4-BE49-F238E27FC236}">
                    <a16:creationId xmlns:a16="http://schemas.microsoft.com/office/drawing/2014/main" id="{65DE627A-4740-5F09-66DF-792520F1883F}"/>
                  </a:ext>
                </a:extLst>
              </p:cNvPr>
              <p:cNvSpPr/>
              <p:nvPr/>
            </p:nvSpPr>
            <p:spPr>
              <a:xfrm>
                <a:off x="6085150" y="263300"/>
                <a:ext cx="694050" cy="355425"/>
              </a:xfrm>
              <a:custGeom>
                <a:avLst/>
                <a:gdLst/>
                <a:ahLst/>
                <a:cxnLst/>
                <a:rect l="l" t="t" r="r" b="b"/>
                <a:pathLst>
                  <a:path w="27762" h="14217" extrusionOk="0">
                    <a:moveTo>
                      <a:pt x="7724" y="0"/>
                    </a:moveTo>
                    <a:lnTo>
                      <a:pt x="5485" y="112"/>
                    </a:lnTo>
                    <a:lnTo>
                      <a:pt x="3023" y="448"/>
                    </a:lnTo>
                    <a:lnTo>
                      <a:pt x="1008" y="896"/>
                    </a:lnTo>
                    <a:lnTo>
                      <a:pt x="336" y="1120"/>
                    </a:lnTo>
                    <a:lnTo>
                      <a:pt x="112" y="1344"/>
                    </a:lnTo>
                    <a:lnTo>
                      <a:pt x="112" y="1680"/>
                    </a:lnTo>
                    <a:lnTo>
                      <a:pt x="336" y="2239"/>
                    </a:lnTo>
                    <a:lnTo>
                      <a:pt x="1344" y="3471"/>
                    </a:lnTo>
                    <a:lnTo>
                      <a:pt x="2239" y="4926"/>
                    </a:lnTo>
                    <a:lnTo>
                      <a:pt x="2575" y="5597"/>
                    </a:lnTo>
                    <a:lnTo>
                      <a:pt x="2799" y="6157"/>
                    </a:lnTo>
                    <a:lnTo>
                      <a:pt x="2575" y="7053"/>
                    </a:lnTo>
                    <a:lnTo>
                      <a:pt x="2239" y="8060"/>
                    </a:lnTo>
                    <a:lnTo>
                      <a:pt x="1791" y="9068"/>
                    </a:lnTo>
                    <a:lnTo>
                      <a:pt x="1232" y="10075"/>
                    </a:lnTo>
                    <a:lnTo>
                      <a:pt x="336" y="11866"/>
                    </a:lnTo>
                    <a:lnTo>
                      <a:pt x="0" y="12426"/>
                    </a:lnTo>
                    <a:lnTo>
                      <a:pt x="0" y="12873"/>
                    </a:lnTo>
                    <a:lnTo>
                      <a:pt x="560" y="12873"/>
                    </a:lnTo>
                    <a:lnTo>
                      <a:pt x="1903" y="12650"/>
                    </a:lnTo>
                    <a:lnTo>
                      <a:pt x="5933" y="11866"/>
                    </a:lnTo>
                    <a:lnTo>
                      <a:pt x="7724" y="11530"/>
                    </a:lnTo>
                    <a:lnTo>
                      <a:pt x="9179" y="11530"/>
                    </a:lnTo>
                    <a:lnTo>
                      <a:pt x="10187" y="11642"/>
                    </a:lnTo>
                    <a:lnTo>
                      <a:pt x="11082" y="11866"/>
                    </a:lnTo>
                    <a:lnTo>
                      <a:pt x="11754" y="12202"/>
                    </a:lnTo>
                    <a:lnTo>
                      <a:pt x="12426" y="12538"/>
                    </a:lnTo>
                    <a:lnTo>
                      <a:pt x="13769" y="13321"/>
                    </a:lnTo>
                    <a:lnTo>
                      <a:pt x="14664" y="13657"/>
                    </a:lnTo>
                    <a:lnTo>
                      <a:pt x="15672" y="13993"/>
                    </a:lnTo>
                    <a:lnTo>
                      <a:pt x="17015" y="14217"/>
                    </a:lnTo>
                    <a:lnTo>
                      <a:pt x="19702" y="14217"/>
                    </a:lnTo>
                    <a:lnTo>
                      <a:pt x="20597" y="13993"/>
                    </a:lnTo>
                    <a:lnTo>
                      <a:pt x="22500" y="13545"/>
                    </a:lnTo>
                    <a:lnTo>
                      <a:pt x="24403" y="12873"/>
                    </a:lnTo>
                    <a:lnTo>
                      <a:pt x="25970" y="12314"/>
                    </a:lnTo>
                    <a:lnTo>
                      <a:pt x="27761" y="11642"/>
                    </a:lnTo>
                    <a:lnTo>
                      <a:pt x="26978" y="0"/>
                    </a:lnTo>
                    <a:lnTo>
                      <a:pt x="25522" y="1008"/>
                    </a:lnTo>
                    <a:lnTo>
                      <a:pt x="24739" y="1456"/>
                    </a:lnTo>
                    <a:lnTo>
                      <a:pt x="23955" y="1903"/>
                    </a:lnTo>
                    <a:lnTo>
                      <a:pt x="23060" y="2239"/>
                    </a:lnTo>
                    <a:lnTo>
                      <a:pt x="22052" y="2575"/>
                    </a:lnTo>
                    <a:lnTo>
                      <a:pt x="21157" y="2799"/>
                    </a:lnTo>
                    <a:lnTo>
                      <a:pt x="20149" y="3023"/>
                    </a:lnTo>
                    <a:lnTo>
                      <a:pt x="19030" y="3135"/>
                    </a:lnTo>
                    <a:lnTo>
                      <a:pt x="17239" y="3135"/>
                    </a:lnTo>
                    <a:lnTo>
                      <a:pt x="16455" y="3023"/>
                    </a:lnTo>
                    <a:lnTo>
                      <a:pt x="15112" y="2687"/>
                    </a:lnTo>
                    <a:lnTo>
                      <a:pt x="13993" y="2127"/>
                    </a:lnTo>
                    <a:lnTo>
                      <a:pt x="12873" y="1568"/>
                    </a:lnTo>
                    <a:lnTo>
                      <a:pt x="11754" y="1008"/>
                    </a:lnTo>
                    <a:lnTo>
                      <a:pt x="10634" y="448"/>
                    </a:lnTo>
                    <a:lnTo>
                      <a:pt x="9291" y="112"/>
                    </a:lnTo>
                    <a:lnTo>
                      <a:pt x="8620" y="0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41" name="Google Shape;1861;p16">
                <a:extLst>
                  <a:ext uri="{FF2B5EF4-FFF2-40B4-BE49-F238E27FC236}">
                    <a16:creationId xmlns:a16="http://schemas.microsoft.com/office/drawing/2014/main" id="{4ACC4111-7C60-759F-8401-019AD7D6D1B8}"/>
                  </a:ext>
                </a:extLst>
              </p:cNvPr>
              <p:cNvSpPr/>
              <p:nvPr/>
            </p:nvSpPr>
            <p:spPr>
              <a:xfrm>
                <a:off x="6085150" y="263300"/>
                <a:ext cx="694050" cy="355425"/>
              </a:xfrm>
              <a:custGeom>
                <a:avLst/>
                <a:gdLst/>
                <a:ahLst/>
                <a:cxnLst/>
                <a:rect l="l" t="t" r="r" b="b"/>
                <a:pathLst>
                  <a:path w="27762" h="14217" fill="none" extrusionOk="0">
                    <a:moveTo>
                      <a:pt x="27761" y="11642"/>
                    </a:moveTo>
                    <a:lnTo>
                      <a:pt x="27761" y="11642"/>
                    </a:lnTo>
                    <a:lnTo>
                      <a:pt x="25970" y="12314"/>
                    </a:lnTo>
                    <a:lnTo>
                      <a:pt x="25970" y="12314"/>
                    </a:lnTo>
                    <a:lnTo>
                      <a:pt x="24403" y="12873"/>
                    </a:lnTo>
                    <a:lnTo>
                      <a:pt x="22500" y="13545"/>
                    </a:lnTo>
                    <a:lnTo>
                      <a:pt x="20597" y="13993"/>
                    </a:lnTo>
                    <a:lnTo>
                      <a:pt x="19702" y="14217"/>
                    </a:lnTo>
                    <a:lnTo>
                      <a:pt x="18806" y="14217"/>
                    </a:lnTo>
                    <a:lnTo>
                      <a:pt x="18806" y="14217"/>
                    </a:lnTo>
                    <a:lnTo>
                      <a:pt x="17015" y="14217"/>
                    </a:lnTo>
                    <a:lnTo>
                      <a:pt x="15672" y="13993"/>
                    </a:lnTo>
                    <a:lnTo>
                      <a:pt x="15672" y="13993"/>
                    </a:lnTo>
                    <a:lnTo>
                      <a:pt x="14664" y="13657"/>
                    </a:lnTo>
                    <a:lnTo>
                      <a:pt x="13769" y="13321"/>
                    </a:lnTo>
                    <a:lnTo>
                      <a:pt x="12426" y="12538"/>
                    </a:lnTo>
                    <a:lnTo>
                      <a:pt x="11754" y="12202"/>
                    </a:lnTo>
                    <a:lnTo>
                      <a:pt x="11082" y="11866"/>
                    </a:lnTo>
                    <a:lnTo>
                      <a:pt x="10187" y="11642"/>
                    </a:lnTo>
                    <a:lnTo>
                      <a:pt x="9179" y="11530"/>
                    </a:lnTo>
                    <a:lnTo>
                      <a:pt x="9179" y="11530"/>
                    </a:lnTo>
                    <a:lnTo>
                      <a:pt x="8508" y="11530"/>
                    </a:lnTo>
                    <a:lnTo>
                      <a:pt x="7724" y="11530"/>
                    </a:lnTo>
                    <a:lnTo>
                      <a:pt x="5933" y="11866"/>
                    </a:lnTo>
                    <a:lnTo>
                      <a:pt x="5933" y="11866"/>
                    </a:lnTo>
                    <a:lnTo>
                      <a:pt x="1903" y="12650"/>
                    </a:lnTo>
                    <a:lnTo>
                      <a:pt x="560" y="12873"/>
                    </a:lnTo>
                    <a:lnTo>
                      <a:pt x="112" y="12873"/>
                    </a:lnTo>
                    <a:lnTo>
                      <a:pt x="0" y="12873"/>
                    </a:lnTo>
                    <a:lnTo>
                      <a:pt x="0" y="12873"/>
                    </a:lnTo>
                    <a:lnTo>
                      <a:pt x="0" y="12426"/>
                    </a:lnTo>
                    <a:lnTo>
                      <a:pt x="336" y="11866"/>
                    </a:lnTo>
                    <a:lnTo>
                      <a:pt x="1232" y="10075"/>
                    </a:lnTo>
                    <a:lnTo>
                      <a:pt x="1791" y="9068"/>
                    </a:lnTo>
                    <a:lnTo>
                      <a:pt x="2239" y="8060"/>
                    </a:lnTo>
                    <a:lnTo>
                      <a:pt x="2575" y="7053"/>
                    </a:lnTo>
                    <a:lnTo>
                      <a:pt x="2799" y="6157"/>
                    </a:lnTo>
                    <a:lnTo>
                      <a:pt x="2799" y="6157"/>
                    </a:lnTo>
                    <a:lnTo>
                      <a:pt x="2575" y="5597"/>
                    </a:lnTo>
                    <a:lnTo>
                      <a:pt x="2239" y="4926"/>
                    </a:lnTo>
                    <a:lnTo>
                      <a:pt x="1344" y="3471"/>
                    </a:lnTo>
                    <a:lnTo>
                      <a:pt x="336" y="2239"/>
                    </a:lnTo>
                    <a:lnTo>
                      <a:pt x="112" y="1680"/>
                    </a:lnTo>
                    <a:lnTo>
                      <a:pt x="112" y="1344"/>
                    </a:lnTo>
                    <a:lnTo>
                      <a:pt x="112" y="1344"/>
                    </a:lnTo>
                    <a:lnTo>
                      <a:pt x="336" y="1120"/>
                    </a:lnTo>
                    <a:lnTo>
                      <a:pt x="1008" y="896"/>
                    </a:lnTo>
                    <a:lnTo>
                      <a:pt x="3023" y="448"/>
                    </a:lnTo>
                    <a:lnTo>
                      <a:pt x="5485" y="112"/>
                    </a:lnTo>
                    <a:lnTo>
                      <a:pt x="7724" y="0"/>
                    </a:lnTo>
                    <a:lnTo>
                      <a:pt x="7724" y="0"/>
                    </a:lnTo>
                    <a:lnTo>
                      <a:pt x="8620" y="0"/>
                    </a:lnTo>
                    <a:lnTo>
                      <a:pt x="9291" y="112"/>
                    </a:lnTo>
                    <a:lnTo>
                      <a:pt x="10634" y="448"/>
                    </a:lnTo>
                    <a:lnTo>
                      <a:pt x="11754" y="1008"/>
                    </a:lnTo>
                    <a:lnTo>
                      <a:pt x="12873" y="1568"/>
                    </a:lnTo>
                    <a:lnTo>
                      <a:pt x="12873" y="1568"/>
                    </a:lnTo>
                    <a:lnTo>
                      <a:pt x="13993" y="2127"/>
                    </a:lnTo>
                    <a:lnTo>
                      <a:pt x="15112" y="2687"/>
                    </a:lnTo>
                    <a:lnTo>
                      <a:pt x="16455" y="3023"/>
                    </a:lnTo>
                    <a:lnTo>
                      <a:pt x="17239" y="3135"/>
                    </a:lnTo>
                    <a:lnTo>
                      <a:pt x="18022" y="3135"/>
                    </a:lnTo>
                    <a:lnTo>
                      <a:pt x="18022" y="3135"/>
                    </a:lnTo>
                    <a:lnTo>
                      <a:pt x="19030" y="3135"/>
                    </a:lnTo>
                    <a:lnTo>
                      <a:pt x="20149" y="3023"/>
                    </a:lnTo>
                    <a:lnTo>
                      <a:pt x="21157" y="2799"/>
                    </a:lnTo>
                    <a:lnTo>
                      <a:pt x="22052" y="2575"/>
                    </a:lnTo>
                    <a:lnTo>
                      <a:pt x="23060" y="2239"/>
                    </a:lnTo>
                    <a:lnTo>
                      <a:pt x="23955" y="1903"/>
                    </a:lnTo>
                    <a:lnTo>
                      <a:pt x="24739" y="1456"/>
                    </a:lnTo>
                    <a:lnTo>
                      <a:pt x="25522" y="1008"/>
                    </a:lnTo>
                    <a:lnTo>
                      <a:pt x="25522" y="1008"/>
                    </a:lnTo>
                    <a:lnTo>
                      <a:pt x="26978" y="0"/>
                    </a:lnTo>
                    <a:lnTo>
                      <a:pt x="27761" y="11642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42" name="Google Shape;1862;p16">
                <a:extLst>
                  <a:ext uri="{FF2B5EF4-FFF2-40B4-BE49-F238E27FC236}">
                    <a16:creationId xmlns:a16="http://schemas.microsoft.com/office/drawing/2014/main" id="{1B486856-F49B-1F5E-D3CA-C270741F94D9}"/>
                  </a:ext>
                </a:extLst>
              </p:cNvPr>
              <p:cNvSpPr/>
              <p:nvPr/>
            </p:nvSpPr>
            <p:spPr>
              <a:xfrm>
                <a:off x="6751175" y="263300"/>
                <a:ext cx="28025" cy="299450"/>
              </a:xfrm>
              <a:custGeom>
                <a:avLst/>
                <a:gdLst/>
                <a:ahLst/>
                <a:cxnLst/>
                <a:rect l="l" t="t" r="r" b="b"/>
                <a:pathLst>
                  <a:path w="1121" h="11978" extrusionOk="0">
                    <a:moveTo>
                      <a:pt x="672" y="5038"/>
                    </a:moveTo>
                    <a:lnTo>
                      <a:pt x="1120" y="11642"/>
                    </a:lnTo>
                    <a:lnTo>
                      <a:pt x="1120" y="11642"/>
                    </a:lnTo>
                    <a:lnTo>
                      <a:pt x="337" y="11978"/>
                    </a:lnTo>
                    <a:lnTo>
                      <a:pt x="337" y="11978"/>
                    </a:lnTo>
                    <a:lnTo>
                      <a:pt x="1120" y="11642"/>
                    </a:lnTo>
                    <a:lnTo>
                      <a:pt x="672" y="5038"/>
                    </a:lnTo>
                    <a:close/>
                    <a:moveTo>
                      <a:pt x="337" y="0"/>
                    </a:moveTo>
                    <a:lnTo>
                      <a:pt x="337" y="0"/>
                    </a:lnTo>
                    <a:lnTo>
                      <a:pt x="1" y="224"/>
                    </a:lnTo>
                    <a:lnTo>
                      <a:pt x="1" y="224"/>
                    </a:lnTo>
                    <a:lnTo>
                      <a:pt x="337" y="0"/>
                    </a:lnTo>
                    <a:lnTo>
                      <a:pt x="337" y="0"/>
                    </a:lnTo>
                    <a:close/>
                  </a:path>
                </a:pathLst>
              </a:custGeom>
              <a:solidFill>
                <a:srgbClr val="CBC8D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43" name="Google Shape;1863;p16">
                <a:extLst>
                  <a:ext uri="{FF2B5EF4-FFF2-40B4-BE49-F238E27FC236}">
                    <a16:creationId xmlns:a16="http://schemas.microsoft.com/office/drawing/2014/main" id="{D156C129-0700-5A96-62E2-D873CC257199}"/>
                  </a:ext>
                </a:extLst>
              </p:cNvPr>
              <p:cNvSpPr/>
              <p:nvPr/>
            </p:nvSpPr>
            <p:spPr>
              <a:xfrm>
                <a:off x="6759575" y="389225"/>
                <a:ext cx="19625" cy="173525"/>
              </a:xfrm>
              <a:custGeom>
                <a:avLst/>
                <a:gdLst/>
                <a:ahLst/>
                <a:cxnLst/>
                <a:rect l="l" t="t" r="r" b="b"/>
                <a:pathLst>
                  <a:path w="785" h="6941" fill="none" extrusionOk="0">
                    <a:moveTo>
                      <a:pt x="336" y="1"/>
                    </a:moveTo>
                    <a:lnTo>
                      <a:pt x="784" y="6605"/>
                    </a:lnTo>
                    <a:lnTo>
                      <a:pt x="784" y="6605"/>
                    </a:lnTo>
                    <a:lnTo>
                      <a:pt x="1" y="6941"/>
                    </a:lnTo>
                    <a:lnTo>
                      <a:pt x="1" y="6941"/>
                    </a:lnTo>
                    <a:lnTo>
                      <a:pt x="784" y="6605"/>
                    </a:lnTo>
                    <a:lnTo>
                      <a:pt x="336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44" name="Google Shape;1864;p16">
                <a:extLst>
                  <a:ext uri="{FF2B5EF4-FFF2-40B4-BE49-F238E27FC236}">
                    <a16:creationId xmlns:a16="http://schemas.microsoft.com/office/drawing/2014/main" id="{63C211D6-EB13-E1A7-0D4D-4FD820E343AE}"/>
                  </a:ext>
                </a:extLst>
              </p:cNvPr>
              <p:cNvSpPr/>
              <p:nvPr/>
            </p:nvSpPr>
            <p:spPr>
              <a:xfrm>
                <a:off x="6751175" y="263300"/>
                <a:ext cx="8425" cy="5625"/>
              </a:xfrm>
              <a:custGeom>
                <a:avLst/>
                <a:gdLst/>
                <a:ahLst/>
                <a:cxnLst/>
                <a:rect l="l" t="t" r="r" b="b"/>
                <a:pathLst>
                  <a:path w="337" h="225" fill="none" extrusionOk="0">
                    <a:moveTo>
                      <a:pt x="337" y="0"/>
                    </a:moveTo>
                    <a:lnTo>
                      <a:pt x="337" y="0"/>
                    </a:lnTo>
                    <a:lnTo>
                      <a:pt x="1" y="224"/>
                    </a:lnTo>
                    <a:lnTo>
                      <a:pt x="1" y="224"/>
                    </a:lnTo>
                    <a:lnTo>
                      <a:pt x="337" y="0"/>
                    </a:lnTo>
                    <a:lnTo>
                      <a:pt x="337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45" name="Google Shape;1865;p16">
                <a:extLst>
                  <a:ext uri="{FF2B5EF4-FFF2-40B4-BE49-F238E27FC236}">
                    <a16:creationId xmlns:a16="http://schemas.microsoft.com/office/drawing/2014/main" id="{667A07ED-B15E-B8FC-913D-266BE2D47B11}"/>
                  </a:ext>
                </a:extLst>
              </p:cNvPr>
              <p:cNvSpPr/>
              <p:nvPr/>
            </p:nvSpPr>
            <p:spPr>
              <a:xfrm>
                <a:off x="6723200" y="263300"/>
                <a:ext cx="56000" cy="307850"/>
              </a:xfrm>
              <a:custGeom>
                <a:avLst/>
                <a:gdLst/>
                <a:ahLst/>
                <a:cxnLst/>
                <a:rect l="l" t="t" r="r" b="b"/>
                <a:pathLst>
                  <a:path w="2240" h="12314" extrusionOk="0">
                    <a:moveTo>
                      <a:pt x="1456" y="0"/>
                    </a:moveTo>
                    <a:lnTo>
                      <a:pt x="1120" y="224"/>
                    </a:lnTo>
                    <a:lnTo>
                      <a:pt x="0" y="1008"/>
                    </a:lnTo>
                    <a:lnTo>
                      <a:pt x="336" y="6941"/>
                    </a:lnTo>
                    <a:lnTo>
                      <a:pt x="448" y="12314"/>
                    </a:lnTo>
                    <a:lnTo>
                      <a:pt x="1456" y="11978"/>
                    </a:lnTo>
                    <a:lnTo>
                      <a:pt x="2239" y="11642"/>
                    </a:lnTo>
                    <a:lnTo>
                      <a:pt x="1791" y="5038"/>
                    </a:lnTo>
                    <a:lnTo>
                      <a:pt x="1456" y="0"/>
                    </a:lnTo>
                    <a:close/>
                  </a:path>
                </a:pathLst>
              </a:custGeom>
              <a:solidFill>
                <a:srgbClr val="B2472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46" name="Google Shape;1866;p16">
                <a:extLst>
                  <a:ext uri="{FF2B5EF4-FFF2-40B4-BE49-F238E27FC236}">
                    <a16:creationId xmlns:a16="http://schemas.microsoft.com/office/drawing/2014/main" id="{50E0F3A4-B099-8F9B-8BCC-2A56C427EEF4}"/>
                  </a:ext>
                </a:extLst>
              </p:cNvPr>
              <p:cNvSpPr/>
              <p:nvPr/>
            </p:nvSpPr>
            <p:spPr>
              <a:xfrm>
                <a:off x="6723200" y="263300"/>
                <a:ext cx="56000" cy="307850"/>
              </a:xfrm>
              <a:custGeom>
                <a:avLst/>
                <a:gdLst/>
                <a:ahLst/>
                <a:cxnLst/>
                <a:rect l="l" t="t" r="r" b="b"/>
                <a:pathLst>
                  <a:path w="2240" h="12314" fill="none" extrusionOk="0">
                    <a:moveTo>
                      <a:pt x="1456" y="0"/>
                    </a:moveTo>
                    <a:lnTo>
                      <a:pt x="1456" y="0"/>
                    </a:lnTo>
                    <a:lnTo>
                      <a:pt x="1120" y="224"/>
                    </a:lnTo>
                    <a:lnTo>
                      <a:pt x="1120" y="224"/>
                    </a:lnTo>
                    <a:lnTo>
                      <a:pt x="0" y="1008"/>
                    </a:lnTo>
                    <a:lnTo>
                      <a:pt x="0" y="1008"/>
                    </a:lnTo>
                    <a:lnTo>
                      <a:pt x="336" y="6941"/>
                    </a:lnTo>
                    <a:lnTo>
                      <a:pt x="448" y="12314"/>
                    </a:lnTo>
                    <a:lnTo>
                      <a:pt x="448" y="12314"/>
                    </a:lnTo>
                    <a:lnTo>
                      <a:pt x="1456" y="11978"/>
                    </a:lnTo>
                    <a:lnTo>
                      <a:pt x="1456" y="11978"/>
                    </a:lnTo>
                    <a:lnTo>
                      <a:pt x="2239" y="11642"/>
                    </a:lnTo>
                    <a:lnTo>
                      <a:pt x="1791" y="5038"/>
                    </a:lnTo>
                    <a:lnTo>
                      <a:pt x="1456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47" name="Google Shape;1867;p16">
                <a:extLst>
                  <a:ext uri="{FF2B5EF4-FFF2-40B4-BE49-F238E27FC236}">
                    <a16:creationId xmlns:a16="http://schemas.microsoft.com/office/drawing/2014/main" id="{7FC86AC5-0658-BE11-8334-55013E8C84A6}"/>
                  </a:ext>
                </a:extLst>
              </p:cNvPr>
              <p:cNvSpPr/>
              <p:nvPr/>
            </p:nvSpPr>
            <p:spPr>
              <a:xfrm>
                <a:off x="6737200" y="238125"/>
                <a:ext cx="184700" cy="2364725"/>
              </a:xfrm>
              <a:custGeom>
                <a:avLst/>
                <a:gdLst/>
                <a:ahLst/>
                <a:cxnLst/>
                <a:rect l="l" t="t" r="r" b="b"/>
                <a:pathLst>
                  <a:path w="7388" h="94589" extrusionOk="0">
                    <a:moveTo>
                      <a:pt x="560" y="0"/>
                    </a:moveTo>
                    <a:lnTo>
                      <a:pt x="336" y="112"/>
                    </a:lnTo>
                    <a:lnTo>
                      <a:pt x="112" y="224"/>
                    </a:lnTo>
                    <a:lnTo>
                      <a:pt x="0" y="448"/>
                    </a:lnTo>
                    <a:lnTo>
                      <a:pt x="0" y="672"/>
                    </a:lnTo>
                    <a:lnTo>
                      <a:pt x="784" y="9291"/>
                    </a:lnTo>
                    <a:lnTo>
                      <a:pt x="1679" y="18806"/>
                    </a:lnTo>
                    <a:lnTo>
                      <a:pt x="2687" y="31007"/>
                    </a:lnTo>
                    <a:lnTo>
                      <a:pt x="3694" y="45335"/>
                    </a:lnTo>
                    <a:lnTo>
                      <a:pt x="4701" y="60895"/>
                    </a:lnTo>
                    <a:lnTo>
                      <a:pt x="5485" y="77350"/>
                    </a:lnTo>
                    <a:lnTo>
                      <a:pt x="5821" y="85633"/>
                    </a:lnTo>
                    <a:lnTo>
                      <a:pt x="6045" y="93917"/>
                    </a:lnTo>
                    <a:lnTo>
                      <a:pt x="6157" y="94253"/>
                    </a:lnTo>
                    <a:lnTo>
                      <a:pt x="6269" y="94365"/>
                    </a:lnTo>
                    <a:lnTo>
                      <a:pt x="6493" y="94589"/>
                    </a:lnTo>
                    <a:lnTo>
                      <a:pt x="6716" y="94589"/>
                    </a:lnTo>
                    <a:lnTo>
                      <a:pt x="7052" y="94477"/>
                    </a:lnTo>
                    <a:lnTo>
                      <a:pt x="7276" y="94365"/>
                    </a:lnTo>
                    <a:lnTo>
                      <a:pt x="7388" y="94141"/>
                    </a:lnTo>
                    <a:lnTo>
                      <a:pt x="7388" y="93917"/>
                    </a:lnTo>
                    <a:lnTo>
                      <a:pt x="7164" y="85633"/>
                    </a:lnTo>
                    <a:lnTo>
                      <a:pt x="6828" y="77350"/>
                    </a:lnTo>
                    <a:lnTo>
                      <a:pt x="6045" y="60895"/>
                    </a:lnTo>
                    <a:lnTo>
                      <a:pt x="5037" y="45223"/>
                    </a:lnTo>
                    <a:lnTo>
                      <a:pt x="4030" y="31007"/>
                    </a:lnTo>
                    <a:lnTo>
                      <a:pt x="3022" y="18694"/>
                    </a:lnTo>
                    <a:lnTo>
                      <a:pt x="2127" y="9179"/>
                    </a:lnTo>
                    <a:lnTo>
                      <a:pt x="1343" y="560"/>
                    </a:lnTo>
                    <a:lnTo>
                      <a:pt x="1231" y="336"/>
                    </a:lnTo>
                    <a:lnTo>
                      <a:pt x="1119" y="112"/>
                    </a:lnTo>
                    <a:lnTo>
                      <a:pt x="896" y="0"/>
                    </a:lnTo>
                    <a:close/>
                  </a:path>
                </a:pathLst>
              </a:custGeom>
              <a:solidFill>
                <a:srgbClr val="DFDED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48" name="Google Shape;1868;p16">
                <a:extLst>
                  <a:ext uri="{FF2B5EF4-FFF2-40B4-BE49-F238E27FC236}">
                    <a16:creationId xmlns:a16="http://schemas.microsoft.com/office/drawing/2014/main" id="{BCABC1DB-DB77-2DBA-8A89-CF098B6EF26D}"/>
                  </a:ext>
                </a:extLst>
              </p:cNvPr>
              <p:cNvSpPr/>
              <p:nvPr/>
            </p:nvSpPr>
            <p:spPr>
              <a:xfrm>
                <a:off x="6840725" y="1069250"/>
                <a:ext cx="30825" cy="67200"/>
              </a:xfrm>
              <a:custGeom>
                <a:avLst/>
                <a:gdLst/>
                <a:ahLst/>
                <a:cxnLst/>
                <a:rect l="l" t="t" r="r" b="b"/>
                <a:pathLst>
                  <a:path w="1233" h="2688" extrusionOk="0">
                    <a:moveTo>
                      <a:pt x="1" y="1"/>
                    </a:moveTo>
                    <a:lnTo>
                      <a:pt x="560" y="2687"/>
                    </a:lnTo>
                    <a:lnTo>
                      <a:pt x="896" y="2464"/>
                    </a:lnTo>
                    <a:lnTo>
                      <a:pt x="1008" y="2240"/>
                    </a:lnTo>
                    <a:lnTo>
                      <a:pt x="1232" y="1568"/>
                    </a:lnTo>
                    <a:lnTo>
                      <a:pt x="1232" y="896"/>
                    </a:lnTo>
                    <a:lnTo>
                      <a:pt x="1120" y="337"/>
                    </a:lnTo>
                    <a:lnTo>
                      <a:pt x="1008" y="113"/>
                    </a:lnTo>
                    <a:lnTo>
                      <a:pt x="896" y="1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49" name="Google Shape;1869;p16">
                <a:extLst>
                  <a:ext uri="{FF2B5EF4-FFF2-40B4-BE49-F238E27FC236}">
                    <a16:creationId xmlns:a16="http://schemas.microsoft.com/office/drawing/2014/main" id="{E3F5952B-04FD-CFEC-E9E2-EC6970C3BC59}"/>
                  </a:ext>
                </a:extLst>
              </p:cNvPr>
              <p:cNvSpPr/>
              <p:nvPr/>
            </p:nvSpPr>
            <p:spPr>
              <a:xfrm>
                <a:off x="6689625" y="1063675"/>
                <a:ext cx="123150" cy="125950"/>
              </a:xfrm>
              <a:custGeom>
                <a:avLst/>
                <a:gdLst/>
                <a:ahLst/>
                <a:cxnLst/>
                <a:rect l="l" t="t" r="r" b="b"/>
                <a:pathLst>
                  <a:path w="4926" h="5038" extrusionOk="0">
                    <a:moveTo>
                      <a:pt x="4254" y="0"/>
                    </a:moveTo>
                    <a:lnTo>
                      <a:pt x="3918" y="336"/>
                    </a:lnTo>
                    <a:lnTo>
                      <a:pt x="3470" y="896"/>
                    </a:lnTo>
                    <a:lnTo>
                      <a:pt x="2911" y="1455"/>
                    </a:lnTo>
                    <a:lnTo>
                      <a:pt x="2463" y="1791"/>
                    </a:lnTo>
                    <a:lnTo>
                      <a:pt x="2015" y="2015"/>
                    </a:lnTo>
                    <a:lnTo>
                      <a:pt x="1455" y="2127"/>
                    </a:lnTo>
                    <a:lnTo>
                      <a:pt x="784" y="2463"/>
                    </a:lnTo>
                    <a:lnTo>
                      <a:pt x="336" y="2687"/>
                    </a:lnTo>
                    <a:lnTo>
                      <a:pt x="112" y="2910"/>
                    </a:lnTo>
                    <a:lnTo>
                      <a:pt x="0" y="3134"/>
                    </a:lnTo>
                    <a:lnTo>
                      <a:pt x="112" y="3358"/>
                    </a:lnTo>
                    <a:lnTo>
                      <a:pt x="448" y="4030"/>
                    </a:lnTo>
                    <a:lnTo>
                      <a:pt x="1008" y="4925"/>
                    </a:lnTo>
                    <a:lnTo>
                      <a:pt x="1343" y="4925"/>
                    </a:lnTo>
                    <a:lnTo>
                      <a:pt x="1455" y="5037"/>
                    </a:lnTo>
                    <a:lnTo>
                      <a:pt x="1903" y="4813"/>
                    </a:lnTo>
                    <a:lnTo>
                      <a:pt x="3246" y="3918"/>
                    </a:lnTo>
                    <a:lnTo>
                      <a:pt x="3918" y="3582"/>
                    </a:lnTo>
                    <a:lnTo>
                      <a:pt x="4142" y="3470"/>
                    </a:lnTo>
                    <a:lnTo>
                      <a:pt x="4366" y="3358"/>
                    </a:lnTo>
                    <a:lnTo>
                      <a:pt x="4925" y="3246"/>
                    </a:lnTo>
                    <a:lnTo>
                      <a:pt x="4813" y="2575"/>
                    </a:lnTo>
                    <a:lnTo>
                      <a:pt x="4813" y="1791"/>
                    </a:lnTo>
                    <a:lnTo>
                      <a:pt x="4813" y="1119"/>
                    </a:lnTo>
                    <a:lnTo>
                      <a:pt x="4702" y="336"/>
                    </a:lnTo>
                    <a:lnTo>
                      <a:pt x="4590" y="224"/>
                    </a:lnTo>
                    <a:lnTo>
                      <a:pt x="4590" y="112"/>
                    </a:lnTo>
                    <a:lnTo>
                      <a:pt x="4478" y="0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50" name="Google Shape;1870;p16">
                <a:extLst>
                  <a:ext uri="{FF2B5EF4-FFF2-40B4-BE49-F238E27FC236}">
                    <a16:creationId xmlns:a16="http://schemas.microsoft.com/office/drawing/2014/main" id="{E80178D5-F6C9-35DE-96F8-A5868684F771}"/>
                  </a:ext>
                </a:extLst>
              </p:cNvPr>
              <p:cNvSpPr/>
              <p:nvPr/>
            </p:nvSpPr>
            <p:spPr>
              <a:xfrm>
                <a:off x="6821150" y="1069250"/>
                <a:ext cx="39200" cy="70000"/>
              </a:xfrm>
              <a:custGeom>
                <a:avLst/>
                <a:gdLst/>
                <a:ahLst/>
                <a:cxnLst/>
                <a:rect l="l" t="t" r="r" b="b"/>
                <a:pathLst>
                  <a:path w="1568" h="2800" extrusionOk="0">
                    <a:moveTo>
                      <a:pt x="560" y="1"/>
                    </a:moveTo>
                    <a:lnTo>
                      <a:pt x="448" y="225"/>
                    </a:lnTo>
                    <a:lnTo>
                      <a:pt x="112" y="561"/>
                    </a:lnTo>
                    <a:lnTo>
                      <a:pt x="112" y="673"/>
                    </a:lnTo>
                    <a:lnTo>
                      <a:pt x="0" y="784"/>
                    </a:lnTo>
                    <a:lnTo>
                      <a:pt x="112" y="1232"/>
                    </a:lnTo>
                    <a:lnTo>
                      <a:pt x="224" y="2240"/>
                    </a:lnTo>
                    <a:lnTo>
                      <a:pt x="336" y="2687"/>
                    </a:lnTo>
                    <a:lnTo>
                      <a:pt x="560" y="2799"/>
                    </a:lnTo>
                    <a:lnTo>
                      <a:pt x="1008" y="2799"/>
                    </a:lnTo>
                    <a:lnTo>
                      <a:pt x="1343" y="2687"/>
                    </a:lnTo>
                    <a:lnTo>
                      <a:pt x="1567" y="2576"/>
                    </a:lnTo>
                    <a:lnTo>
                      <a:pt x="1567" y="2240"/>
                    </a:lnTo>
                    <a:lnTo>
                      <a:pt x="1455" y="1344"/>
                    </a:lnTo>
                    <a:lnTo>
                      <a:pt x="1120" y="337"/>
                    </a:lnTo>
                    <a:lnTo>
                      <a:pt x="896" y="113"/>
                    </a:lnTo>
                    <a:lnTo>
                      <a:pt x="784" y="1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51" name="Google Shape;1871;p16">
                <a:extLst>
                  <a:ext uri="{FF2B5EF4-FFF2-40B4-BE49-F238E27FC236}">
                    <a16:creationId xmlns:a16="http://schemas.microsoft.com/office/drawing/2014/main" id="{AFECB9A5-316A-BD40-52DB-81314C7FFD4E}"/>
                  </a:ext>
                </a:extLst>
              </p:cNvPr>
              <p:cNvSpPr/>
              <p:nvPr/>
            </p:nvSpPr>
            <p:spPr>
              <a:xfrm>
                <a:off x="6784775" y="1049675"/>
                <a:ext cx="47575" cy="44800"/>
              </a:xfrm>
              <a:custGeom>
                <a:avLst/>
                <a:gdLst/>
                <a:ahLst/>
                <a:cxnLst/>
                <a:rect l="l" t="t" r="r" b="b"/>
                <a:pathLst>
                  <a:path w="1903" h="1792" extrusionOk="0">
                    <a:moveTo>
                      <a:pt x="1343" y="0"/>
                    </a:moveTo>
                    <a:lnTo>
                      <a:pt x="672" y="336"/>
                    </a:lnTo>
                    <a:lnTo>
                      <a:pt x="448" y="560"/>
                    </a:lnTo>
                    <a:lnTo>
                      <a:pt x="0" y="896"/>
                    </a:lnTo>
                    <a:lnTo>
                      <a:pt x="0" y="1120"/>
                    </a:lnTo>
                    <a:lnTo>
                      <a:pt x="112" y="1456"/>
                    </a:lnTo>
                    <a:lnTo>
                      <a:pt x="336" y="1679"/>
                    </a:lnTo>
                    <a:lnTo>
                      <a:pt x="448" y="1791"/>
                    </a:lnTo>
                    <a:lnTo>
                      <a:pt x="560" y="1567"/>
                    </a:lnTo>
                    <a:lnTo>
                      <a:pt x="672" y="1456"/>
                    </a:lnTo>
                    <a:lnTo>
                      <a:pt x="1119" y="1232"/>
                    </a:lnTo>
                    <a:lnTo>
                      <a:pt x="1567" y="784"/>
                    </a:lnTo>
                    <a:lnTo>
                      <a:pt x="1791" y="448"/>
                    </a:lnTo>
                    <a:lnTo>
                      <a:pt x="1903" y="224"/>
                    </a:lnTo>
                    <a:lnTo>
                      <a:pt x="1791" y="0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52" name="Google Shape;1872;p16">
                <a:extLst>
                  <a:ext uri="{FF2B5EF4-FFF2-40B4-BE49-F238E27FC236}">
                    <a16:creationId xmlns:a16="http://schemas.microsoft.com/office/drawing/2014/main" id="{23DA0297-1E73-F379-C648-F4173A8CB127}"/>
                  </a:ext>
                </a:extLst>
              </p:cNvPr>
              <p:cNvSpPr/>
              <p:nvPr/>
            </p:nvSpPr>
            <p:spPr>
              <a:xfrm>
                <a:off x="558175" y="2924650"/>
                <a:ext cx="123150" cy="106375"/>
              </a:xfrm>
              <a:custGeom>
                <a:avLst/>
                <a:gdLst/>
                <a:ahLst/>
                <a:cxnLst/>
                <a:rect l="l" t="t" r="r" b="b"/>
                <a:pathLst>
                  <a:path w="4926" h="4255" extrusionOk="0">
                    <a:moveTo>
                      <a:pt x="1791" y="1"/>
                    </a:moveTo>
                    <a:lnTo>
                      <a:pt x="1455" y="112"/>
                    </a:lnTo>
                    <a:lnTo>
                      <a:pt x="1119" y="336"/>
                    </a:lnTo>
                    <a:lnTo>
                      <a:pt x="784" y="672"/>
                    </a:lnTo>
                    <a:lnTo>
                      <a:pt x="0" y="2015"/>
                    </a:lnTo>
                    <a:lnTo>
                      <a:pt x="560" y="2351"/>
                    </a:lnTo>
                    <a:lnTo>
                      <a:pt x="560" y="2239"/>
                    </a:lnTo>
                    <a:lnTo>
                      <a:pt x="1119" y="1344"/>
                    </a:lnTo>
                    <a:lnTo>
                      <a:pt x="1343" y="1120"/>
                    </a:lnTo>
                    <a:lnTo>
                      <a:pt x="1567" y="896"/>
                    </a:lnTo>
                    <a:lnTo>
                      <a:pt x="2015" y="896"/>
                    </a:lnTo>
                    <a:lnTo>
                      <a:pt x="3918" y="2015"/>
                    </a:lnTo>
                    <a:lnTo>
                      <a:pt x="4030" y="2239"/>
                    </a:lnTo>
                    <a:lnTo>
                      <a:pt x="4142" y="2463"/>
                    </a:lnTo>
                    <a:lnTo>
                      <a:pt x="4142" y="2687"/>
                    </a:lnTo>
                    <a:lnTo>
                      <a:pt x="4030" y="3023"/>
                    </a:lnTo>
                    <a:lnTo>
                      <a:pt x="3470" y="3918"/>
                    </a:lnTo>
                    <a:lnTo>
                      <a:pt x="3918" y="4254"/>
                    </a:lnTo>
                    <a:lnTo>
                      <a:pt x="4813" y="2911"/>
                    </a:lnTo>
                    <a:lnTo>
                      <a:pt x="4925" y="2463"/>
                    </a:lnTo>
                    <a:lnTo>
                      <a:pt x="4925" y="2127"/>
                    </a:lnTo>
                    <a:lnTo>
                      <a:pt x="4813" y="1792"/>
                    </a:lnTo>
                    <a:lnTo>
                      <a:pt x="4590" y="1568"/>
                    </a:lnTo>
                    <a:lnTo>
                      <a:pt x="2015" y="112"/>
                    </a:lnTo>
                    <a:lnTo>
                      <a:pt x="1791" y="1"/>
                    </a:lnTo>
                    <a:close/>
                  </a:path>
                </a:pathLst>
              </a:custGeom>
              <a:solidFill>
                <a:srgbClr val="201B2C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53" name="Google Shape;1873;p16">
                <a:extLst>
                  <a:ext uri="{FF2B5EF4-FFF2-40B4-BE49-F238E27FC236}">
                    <a16:creationId xmlns:a16="http://schemas.microsoft.com/office/drawing/2014/main" id="{80BC21E7-C38E-4DDA-FF4D-EEA9EEDA309F}"/>
                  </a:ext>
                </a:extLst>
              </p:cNvPr>
              <p:cNvSpPr/>
              <p:nvPr/>
            </p:nvSpPr>
            <p:spPr>
              <a:xfrm>
                <a:off x="600150" y="2868675"/>
                <a:ext cx="92375" cy="109175"/>
              </a:xfrm>
              <a:custGeom>
                <a:avLst/>
                <a:gdLst/>
                <a:ahLst/>
                <a:cxnLst/>
                <a:rect l="l" t="t" r="r" b="b"/>
                <a:pathLst>
                  <a:path w="3695" h="4367" extrusionOk="0">
                    <a:moveTo>
                      <a:pt x="1679" y="1"/>
                    </a:moveTo>
                    <a:lnTo>
                      <a:pt x="1008" y="672"/>
                    </a:lnTo>
                    <a:lnTo>
                      <a:pt x="560" y="1232"/>
                    </a:lnTo>
                    <a:lnTo>
                      <a:pt x="224" y="1680"/>
                    </a:lnTo>
                    <a:lnTo>
                      <a:pt x="112" y="2240"/>
                    </a:lnTo>
                    <a:lnTo>
                      <a:pt x="0" y="2687"/>
                    </a:lnTo>
                    <a:lnTo>
                      <a:pt x="112" y="3135"/>
                    </a:lnTo>
                    <a:lnTo>
                      <a:pt x="336" y="3583"/>
                    </a:lnTo>
                    <a:lnTo>
                      <a:pt x="672" y="3919"/>
                    </a:lnTo>
                    <a:lnTo>
                      <a:pt x="1120" y="4143"/>
                    </a:lnTo>
                    <a:lnTo>
                      <a:pt x="1679" y="4254"/>
                    </a:lnTo>
                    <a:lnTo>
                      <a:pt x="2127" y="4143"/>
                    </a:lnTo>
                    <a:lnTo>
                      <a:pt x="2239" y="3919"/>
                    </a:lnTo>
                    <a:lnTo>
                      <a:pt x="2351" y="3695"/>
                    </a:lnTo>
                    <a:lnTo>
                      <a:pt x="2351" y="3471"/>
                    </a:lnTo>
                    <a:lnTo>
                      <a:pt x="2575" y="3919"/>
                    </a:lnTo>
                    <a:lnTo>
                      <a:pt x="2799" y="4254"/>
                    </a:lnTo>
                    <a:lnTo>
                      <a:pt x="3134" y="4366"/>
                    </a:lnTo>
                    <a:lnTo>
                      <a:pt x="3246" y="4366"/>
                    </a:lnTo>
                    <a:lnTo>
                      <a:pt x="3358" y="4254"/>
                    </a:lnTo>
                    <a:lnTo>
                      <a:pt x="3470" y="3695"/>
                    </a:lnTo>
                    <a:lnTo>
                      <a:pt x="3582" y="2351"/>
                    </a:lnTo>
                    <a:lnTo>
                      <a:pt x="3582" y="1904"/>
                    </a:lnTo>
                    <a:lnTo>
                      <a:pt x="3582" y="1680"/>
                    </a:lnTo>
                    <a:lnTo>
                      <a:pt x="3582" y="1456"/>
                    </a:lnTo>
                    <a:lnTo>
                      <a:pt x="3694" y="1120"/>
                    </a:lnTo>
                    <a:lnTo>
                      <a:pt x="2687" y="449"/>
                    </a:lnTo>
                    <a:lnTo>
                      <a:pt x="2127" y="113"/>
                    </a:lnTo>
                    <a:lnTo>
                      <a:pt x="1791" y="1"/>
                    </a:lnTo>
                    <a:close/>
                  </a:path>
                </a:pathLst>
              </a:custGeom>
              <a:solidFill>
                <a:srgbClr val="FAB59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54" name="Google Shape;1874;p16">
                <a:extLst>
                  <a:ext uri="{FF2B5EF4-FFF2-40B4-BE49-F238E27FC236}">
                    <a16:creationId xmlns:a16="http://schemas.microsoft.com/office/drawing/2014/main" id="{3C38E921-D735-CD09-DEE5-B045FD17AC47}"/>
                  </a:ext>
                </a:extLst>
              </p:cNvPr>
              <p:cNvSpPr/>
              <p:nvPr/>
            </p:nvSpPr>
            <p:spPr>
              <a:xfrm>
                <a:off x="600150" y="2868675"/>
                <a:ext cx="92375" cy="109175"/>
              </a:xfrm>
              <a:custGeom>
                <a:avLst/>
                <a:gdLst/>
                <a:ahLst/>
                <a:cxnLst/>
                <a:rect l="l" t="t" r="r" b="b"/>
                <a:pathLst>
                  <a:path w="3695" h="4367" fill="none" extrusionOk="0">
                    <a:moveTo>
                      <a:pt x="3694" y="1120"/>
                    </a:moveTo>
                    <a:lnTo>
                      <a:pt x="3694" y="1120"/>
                    </a:lnTo>
                    <a:lnTo>
                      <a:pt x="3694" y="1120"/>
                    </a:lnTo>
                    <a:lnTo>
                      <a:pt x="3582" y="1456"/>
                    </a:lnTo>
                    <a:lnTo>
                      <a:pt x="3582" y="1680"/>
                    </a:lnTo>
                    <a:lnTo>
                      <a:pt x="3582" y="1904"/>
                    </a:lnTo>
                    <a:lnTo>
                      <a:pt x="3582" y="2351"/>
                    </a:lnTo>
                    <a:lnTo>
                      <a:pt x="3582" y="2351"/>
                    </a:lnTo>
                    <a:lnTo>
                      <a:pt x="3470" y="3695"/>
                    </a:lnTo>
                    <a:lnTo>
                      <a:pt x="3358" y="4254"/>
                    </a:lnTo>
                    <a:lnTo>
                      <a:pt x="3246" y="4366"/>
                    </a:lnTo>
                    <a:lnTo>
                      <a:pt x="3134" y="4366"/>
                    </a:lnTo>
                    <a:lnTo>
                      <a:pt x="3134" y="4366"/>
                    </a:lnTo>
                    <a:lnTo>
                      <a:pt x="2799" y="4254"/>
                    </a:lnTo>
                    <a:lnTo>
                      <a:pt x="2575" y="3919"/>
                    </a:lnTo>
                    <a:lnTo>
                      <a:pt x="2351" y="3471"/>
                    </a:lnTo>
                    <a:lnTo>
                      <a:pt x="2351" y="3471"/>
                    </a:lnTo>
                    <a:lnTo>
                      <a:pt x="2351" y="3471"/>
                    </a:lnTo>
                    <a:lnTo>
                      <a:pt x="2351" y="3695"/>
                    </a:lnTo>
                    <a:lnTo>
                      <a:pt x="2239" y="3919"/>
                    </a:lnTo>
                    <a:lnTo>
                      <a:pt x="2127" y="4143"/>
                    </a:lnTo>
                    <a:lnTo>
                      <a:pt x="2127" y="4143"/>
                    </a:lnTo>
                    <a:lnTo>
                      <a:pt x="1679" y="4254"/>
                    </a:lnTo>
                    <a:lnTo>
                      <a:pt x="1120" y="4143"/>
                    </a:lnTo>
                    <a:lnTo>
                      <a:pt x="672" y="3919"/>
                    </a:lnTo>
                    <a:lnTo>
                      <a:pt x="336" y="3583"/>
                    </a:lnTo>
                    <a:lnTo>
                      <a:pt x="336" y="3583"/>
                    </a:lnTo>
                    <a:lnTo>
                      <a:pt x="112" y="3135"/>
                    </a:lnTo>
                    <a:lnTo>
                      <a:pt x="0" y="2687"/>
                    </a:lnTo>
                    <a:lnTo>
                      <a:pt x="112" y="2240"/>
                    </a:lnTo>
                    <a:lnTo>
                      <a:pt x="224" y="1680"/>
                    </a:lnTo>
                    <a:lnTo>
                      <a:pt x="224" y="1680"/>
                    </a:lnTo>
                    <a:lnTo>
                      <a:pt x="560" y="1232"/>
                    </a:lnTo>
                    <a:lnTo>
                      <a:pt x="1008" y="672"/>
                    </a:lnTo>
                    <a:lnTo>
                      <a:pt x="1679" y="1"/>
                    </a:lnTo>
                    <a:lnTo>
                      <a:pt x="1679" y="1"/>
                    </a:lnTo>
                    <a:lnTo>
                      <a:pt x="1791" y="1"/>
                    </a:lnTo>
                    <a:lnTo>
                      <a:pt x="2127" y="113"/>
                    </a:lnTo>
                    <a:lnTo>
                      <a:pt x="2687" y="449"/>
                    </a:lnTo>
                    <a:lnTo>
                      <a:pt x="3694" y="112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55" name="Google Shape;1875;p16">
                <a:extLst>
                  <a:ext uri="{FF2B5EF4-FFF2-40B4-BE49-F238E27FC236}">
                    <a16:creationId xmlns:a16="http://schemas.microsoft.com/office/drawing/2014/main" id="{26AF0A98-E0D2-F218-3ED4-50EF43B8B674}"/>
                  </a:ext>
                </a:extLst>
              </p:cNvPr>
              <p:cNvSpPr/>
              <p:nvPr/>
            </p:nvSpPr>
            <p:spPr>
              <a:xfrm>
                <a:off x="644925" y="2955425"/>
                <a:ext cx="36400" cy="75600"/>
              </a:xfrm>
              <a:custGeom>
                <a:avLst/>
                <a:gdLst/>
                <a:ahLst/>
                <a:cxnLst/>
                <a:rect l="l" t="t" r="r" b="b"/>
                <a:pathLst>
                  <a:path w="1456" h="3024" extrusionOk="0">
                    <a:moveTo>
                      <a:pt x="560" y="1"/>
                    </a:moveTo>
                    <a:lnTo>
                      <a:pt x="448" y="784"/>
                    </a:lnTo>
                    <a:lnTo>
                      <a:pt x="560" y="896"/>
                    </a:lnTo>
                    <a:lnTo>
                      <a:pt x="672" y="1232"/>
                    </a:lnTo>
                    <a:lnTo>
                      <a:pt x="672" y="1456"/>
                    </a:lnTo>
                    <a:lnTo>
                      <a:pt x="560" y="1792"/>
                    </a:lnTo>
                    <a:lnTo>
                      <a:pt x="0" y="2687"/>
                    </a:lnTo>
                    <a:lnTo>
                      <a:pt x="448" y="3023"/>
                    </a:lnTo>
                    <a:lnTo>
                      <a:pt x="1343" y="1568"/>
                    </a:lnTo>
                    <a:lnTo>
                      <a:pt x="1455" y="1232"/>
                    </a:lnTo>
                    <a:lnTo>
                      <a:pt x="1455" y="896"/>
                    </a:lnTo>
                    <a:lnTo>
                      <a:pt x="1343" y="561"/>
                    </a:lnTo>
                    <a:lnTo>
                      <a:pt x="1120" y="337"/>
                    </a:lnTo>
                    <a:lnTo>
                      <a:pt x="560" y="1"/>
                    </a:lnTo>
                    <a:close/>
                  </a:path>
                </a:pathLst>
              </a:custGeom>
              <a:solidFill>
                <a:srgbClr val="201B2C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56" name="Google Shape;1876;p16">
                <a:extLst>
                  <a:ext uri="{FF2B5EF4-FFF2-40B4-BE49-F238E27FC236}">
                    <a16:creationId xmlns:a16="http://schemas.microsoft.com/office/drawing/2014/main" id="{94BDA521-E0B4-5FFC-53F9-58AC7BF56D43}"/>
                  </a:ext>
                </a:extLst>
              </p:cNvPr>
              <p:cNvSpPr/>
              <p:nvPr/>
            </p:nvSpPr>
            <p:spPr>
              <a:xfrm>
                <a:off x="331500" y="2896675"/>
                <a:ext cx="470150" cy="400200"/>
              </a:xfrm>
              <a:custGeom>
                <a:avLst/>
                <a:gdLst/>
                <a:ahLst/>
                <a:cxnLst/>
                <a:rect l="l" t="t" r="r" b="b"/>
                <a:pathLst>
                  <a:path w="18806" h="16008" extrusionOk="0">
                    <a:moveTo>
                      <a:pt x="4701" y="0"/>
                    </a:moveTo>
                    <a:lnTo>
                      <a:pt x="4366" y="112"/>
                    </a:lnTo>
                    <a:lnTo>
                      <a:pt x="3806" y="336"/>
                    </a:lnTo>
                    <a:lnTo>
                      <a:pt x="3582" y="672"/>
                    </a:lnTo>
                    <a:lnTo>
                      <a:pt x="224" y="6828"/>
                    </a:lnTo>
                    <a:lnTo>
                      <a:pt x="112" y="7276"/>
                    </a:lnTo>
                    <a:lnTo>
                      <a:pt x="0" y="7724"/>
                    </a:lnTo>
                    <a:lnTo>
                      <a:pt x="0" y="8060"/>
                    </a:lnTo>
                    <a:lnTo>
                      <a:pt x="224" y="8284"/>
                    </a:lnTo>
                    <a:lnTo>
                      <a:pt x="448" y="8619"/>
                    </a:lnTo>
                    <a:lnTo>
                      <a:pt x="896" y="8955"/>
                    </a:lnTo>
                    <a:lnTo>
                      <a:pt x="13768" y="15896"/>
                    </a:lnTo>
                    <a:lnTo>
                      <a:pt x="14104" y="16007"/>
                    </a:lnTo>
                    <a:lnTo>
                      <a:pt x="14440" y="16007"/>
                    </a:lnTo>
                    <a:lnTo>
                      <a:pt x="14664" y="15896"/>
                    </a:lnTo>
                    <a:lnTo>
                      <a:pt x="14888" y="15672"/>
                    </a:lnTo>
                    <a:lnTo>
                      <a:pt x="18582" y="9291"/>
                    </a:lnTo>
                    <a:lnTo>
                      <a:pt x="18694" y="8955"/>
                    </a:lnTo>
                    <a:lnTo>
                      <a:pt x="18806" y="8619"/>
                    </a:lnTo>
                    <a:lnTo>
                      <a:pt x="18694" y="8284"/>
                    </a:lnTo>
                    <a:lnTo>
                      <a:pt x="18694" y="7948"/>
                    </a:lnTo>
                    <a:lnTo>
                      <a:pt x="18246" y="7276"/>
                    </a:lnTo>
                    <a:lnTo>
                      <a:pt x="17686" y="6828"/>
                    </a:lnTo>
                    <a:lnTo>
                      <a:pt x="17239" y="6605"/>
                    </a:lnTo>
                    <a:lnTo>
                      <a:pt x="5933" y="224"/>
                    </a:lnTo>
                    <a:lnTo>
                      <a:pt x="5485" y="112"/>
                    </a:lnTo>
                    <a:lnTo>
                      <a:pt x="5149" y="0"/>
                    </a:lnTo>
                    <a:close/>
                  </a:path>
                </a:pathLst>
              </a:custGeom>
              <a:solidFill>
                <a:srgbClr val="46464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57" name="Google Shape;1877;p16">
                <a:extLst>
                  <a:ext uri="{FF2B5EF4-FFF2-40B4-BE49-F238E27FC236}">
                    <a16:creationId xmlns:a16="http://schemas.microsoft.com/office/drawing/2014/main" id="{D884EBE4-65F7-9B4A-C9A7-C3E6A6A9A991}"/>
                  </a:ext>
                </a:extLst>
              </p:cNvPr>
              <p:cNvSpPr/>
              <p:nvPr/>
            </p:nvSpPr>
            <p:spPr>
              <a:xfrm>
                <a:off x="675700" y="3061775"/>
                <a:ext cx="125950" cy="235100"/>
              </a:xfrm>
              <a:custGeom>
                <a:avLst/>
                <a:gdLst/>
                <a:ahLst/>
                <a:cxnLst/>
                <a:rect l="l" t="t" r="r" b="b"/>
                <a:pathLst>
                  <a:path w="5038" h="9404" extrusionOk="0">
                    <a:moveTo>
                      <a:pt x="3471" y="1"/>
                    </a:moveTo>
                    <a:lnTo>
                      <a:pt x="3135" y="1680"/>
                    </a:lnTo>
                    <a:lnTo>
                      <a:pt x="2575" y="3583"/>
                    </a:lnTo>
                    <a:lnTo>
                      <a:pt x="1903" y="5486"/>
                    </a:lnTo>
                    <a:lnTo>
                      <a:pt x="1344" y="6381"/>
                    </a:lnTo>
                    <a:lnTo>
                      <a:pt x="896" y="7277"/>
                    </a:lnTo>
                    <a:lnTo>
                      <a:pt x="224" y="8396"/>
                    </a:lnTo>
                    <a:lnTo>
                      <a:pt x="0" y="9292"/>
                    </a:lnTo>
                    <a:lnTo>
                      <a:pt x="336" y="9403"/>
                    </a:lnTo>
                    <a:lnTo>
                      <a:pt x="672" y="9403"/>
                    </a:lnTo>
                    <a:lnTo>
                      <a:pt x="896" y="9292"/>
                    </a:lnTo>
                    <a:lnTo>
                      <a:pt x="1120" y="9068"/>
                    </a:lnTo>
                    <a:lnTo>
                      <a:pt x="4814" y="2687"/>
                    </a:lnTo>
                    <a:lnTo>
                      <a:pt x="4926" y="2351"/>
                    </a:lnTo>
                    <a:lnTo>
                      <a:pt x="5038" y="2015"/>
                    </a:lnTo>
                    <a:lnTo>
                      <a:pt x="4926" y="1680"/>
                    </a:lnTo>
                    <a:lnTo>
                      <a:pt x="4926" y="1344"/>
                    </a:lnTo>
                    <a:lnTo>
                      <a:pt x="4478" y="672"/>
                    </a:lnTo>
                    <a:lnTo>
                      <a:pt x="3918" y="224"/>
                    </a:lnTo>
                    <a:lnTo>
                      <a:pt x="3471" y="1"/>
                    </a:lnTo>
                    <a:close/>
                  </a:path>
                </a:pathLst>
              </a:custGeom>
              <a:solidFill>
                <a:srgbClr val="7E7E7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58" name="Google Shape;1878;p16">
                <a:extLst>
                  <a:ext uri="{FF2B5EF4-FFF2-40B4-BE49-F238E27FC236}">
                    <a16:creationId xmlns:a16="http://schemas.microsoft.com/office/drawing/2014/main" id="{D12031CE-F838-74D9-8425-12406B65E451}"/>
                  </a:ext>
                </a:extLst>
              </p:cNvPr>
              <p:cNvSpPr/>
              <p:nvPr/>
            </p:nvSpPr>
            <p:spPr>
              <a:xfrm>
                <a:off x="614125" y="2406925"/>
                <a:ext cx="414200" cy="484175"/>
              </a:xfrm>
              <a:custGeom>
                <a:avLst/>
                <a:gdLst/>
                <a:ahLst/>
                <a:cxnLst/>
                <a:rect l="l" t="t" r="r" b="b"/>
                <a:pathLst>
                  <a:path w="16568" h="19367" extrusionOk="0">
                    <a:moveTo>
                      <a:pt x="14441" y="1"/>
                    </a:moveTo>
                    <a:lnTo>
                      <a:pt x="14105" y="113"/>
                    </a:lnTo>
                    <a:lnTo>
                      <a:pt x="13657" y="337"/>
                    </a:lnTo>
                    <a:lnTo>
                      <a:pt x="13098" y="672"/>
                    </a:lnTo>
                    <a:lnTo>
                      <a:pt x="9628" y="4143"/>
                    </a:lnTo>
                    <a:lnTo>
                      <a:pt x="7501" y="6381"/>
                    </a:lnTo>
                    <a:lnTo>
                      <a:pt x="5598" y="8508"/>
                    </a:lnTo>
                    <a:lnTo>
                      <a:pt x="4814" y="9740"/>
                    </a:lnTo>
                    <a:lnTo>
                      <a:pt x="4031" y="11083"/>
                    </a:lnTo>
                    <a:lnTo>
                      <a:pt x="2240" y="14105"/>
                    </a:lnTo>
                    <a:lnTo>
                      <a:pt x="1" y="18247"/>
                    </a:lnTo>
                    <a:lnTo>
                      <a:pt x="1" y="18359"/>
                    </a:lnTo>
                    <a:lnTo>
                      <a:pt x="1" y="18583"/>
                    </a:lnTo>
                    <a:lnTo>
                      <a:pt x="337" y="18807"/>
                    </a:lnTo>
                    <a:lnTo>
                      <a:pt x="784" y="18919"/>
                    </a:lnTo>
                    <a:lnTo>
                      <a:pt x="1456" y="19142"/>
                    </a:lnTo>
                    <a:lnTo>
                      <a:pt x="2687" y="19366"/>
                    </a:lnTo>
                    <a:lnTo>
                      <a:pt x="3247" y="19366"/>
                    </a:lnTo>
                    <a:lnTo>
                      <a:pt x="3583" y="19254"/>
                    </a:lnTo>
                    <a:lnTo>
                      <a:pt x="4255" y="18135"/>
                    </a:lnTo>
                    <a:lnTo>
                      <a:pt x="5598" y="15560"/>
                    </a:lnTo>
                    <a:lnTo>
                      <a:pt x="7165" y="12874"/>
                    </a:lnTo>
                    <a:lnTo>
                      <a:pt x="8172" y="11083"/>
                    </a:lnTo>
                    <a:lnTo>
                      <a:pt x="8956" y="10187"/>
                    </a:lnTo>
                    <a:lnTo>
                      <a:pt x="10075" y="9068"/>
                    </a:lnTo>
                    <a:lnTo>
                      <a:pt x="12874" y="6717"/>
                    </a:lnTo>
                    <a:lnTo>
                      <a:pt x="15448" y="4814"/>
                    </a:lnTo>
                    <a:lnTo>
                      <a:pt x="16568" y="3919"/>
                    </a:lnTo>
                    <a:lnTo>
                      <a:pt x="16456" y="3023"/>
                    </a:lnTo>
                    <a:lnTo>
                      <a:pt x="16232" y="2240"/>
                    </a:lnTo>
                    <a:lnTo>
                      <a:pt x="15896" y="1232"/>
                    </a:lnTo>
                    <a:lnTo>
                      <a:pt x="15448" y="561"/>
                    </a:lnTo>
                    <a:lnTo>
                      <a:pt x="15113" y="225"/>
                    </a:lnTo>
                    <a:lnTo>
                      <a:pt x="14889" y="1"/>
                    </a:lnTo>
                    <a:close/>
                  </a:path>
                </a:pathLst>
              </a:custGeom>
              <a:solidFill>
                <a:srgbClr val="EA8C23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59" name="Google Shape;1879;p16">
                <a:extLst>
                  <a:ext uri="{FF2B5EF4-FFF2-40B4-BE49-F238E27FC236}">
                    <a16:creationId xmlns:a16="http://schemas.microsoft.com/office/drawing/2014/main" id="{C3BB66A0-B44C-8D00-B818-41C11A7D10B1}"/>
                  </a:ext>
                </a:extLst>
              </p:cNvPr>
              <p:cNvSpPr/>
              <p:nvPr/>
            </p:nvSpPr>
            <p:spPr>
              <a:xfrm>
                <a:off x="614125" y="2406925"/>
                <a:ext cx="414200" cy="484175"/>
              </a:xfrm>
              <a:custGeom>
                <a:avLst/>
                <a:gdLst/>
                <a:ahLst/>
                <a:cxnLst/>
                <a:rect l="l" t="t" r="r" b="b"/>
                <a:pathLst>
                  <a:path w="16568" h="19367" fill="none" extrusionOk="0">
                    <a:moveTo>
                      <a:pt x="5598" y="8508"/>
                    </a:moveTo>
                    <a:lnTo>
                      <a:pt x="5598" y="8508"/>
                    </a:lnTo>
                    <a:lnTo>
                      <a:pt x="4814" y="9740"/>
                    </a:lnTo>
                    <a:lnTo>
                      <a:pt x="4031" y="11083"/>
                    </a:lnTo>
                    <a:lnTo>
                      <a:pt x="2240" y="14105"/>
                    </a:lnTo>
                    <a:lnTo>
                      <a:pt x="1" y="18247"/>
                    </a:lnTo>
                    <a:lnTo>
                      <a:pt x="1" y="18247"/>
                    </a:lnTo>
                    <a:lnTo>
                      <a:pt x="1" y="18359"/>
                    </a:lnTo>
                    <a:lnTo>
                      <a:pt x="1" y="18583"/>
                    </a:lnTo>
                    <a:lnTo>
                      <a:pt x="337" y="18807"/>
                    </a:lnTo>
                    <a:lnTo>
                      <a:pt x="784" y="18919"/>
                    </a:lnTo>
                    <a:lnTo>
                      <a:pt x="1456" y="19142"/>
                    </a:lnTo>
                    <a:lnTo>
                      <a:pt x="2687" y="19366"/>
                    </a:lnTo>
                    <a:lnTo>
                      <a:pt x="3247" y="19366"/>
                    </a:lnTo>
                    <a:lnTo>
                      <a:pt x="3583" y="19254"/>
                    </a:lnTo>
                    <a:lnTo>
                      <a:pt x="3583" y="19254"/>
                    </a:lnTo>
                    <a:lnTo>
                      <a:pt x="4255" y="18135"/>
                    </a:lnTo>
                    <a:lnTo>
                      <a:pt x="5598" y="15560"/>
                    </a:lnTo>
                    <a:lnTo>
                      <a:pt x="7165" y="12874"/>
                    </a:lnTo>
                    <a:lnTo>
                      <a:pt x="8172" y="11083"/>
                    </a:lnTo>
                    <a:lnTo>
                      <a:pt x="8172" y="11083"/>
                    </a:lnTo>
                    <a:lnTo>
                      <a:pt x="8956" y="10187"/>
                    </a:lnTo>
                    <a:lnTo>
                      <a:pt x="10075" y="9068"/>
                    </a:lnTo>
                    <a:lnTo>
                      <a:pt x="12874" y="6717"/>
                    </a:lnTo>
                    <a:lnTo>
                      <a:pt x="15448" y="4814"/>
                    </a:lnTo>
                    <a:lnTo>
                      <a:pt x="16568" y="3919"/>
                    </a:lnTo>
                    <a:lnTo>
                      <a:pt x="16568" y="3919"/>
                    </a:lnTo>
                    <a:lnTo>
                      <a:pt x="16456" y="3023"/>
                    </a:lnTo>
                    <a:lnTo>
                      <a:pt x="16232" y="2240"/>
                    </a:lnTo>
                    <a:lnTo>
                      <a:pt x="15896" y="1232"/>
                    </a:lnTo>
                    <a:lnTo>
                      <a:pt x="15448" y="561"/>
                    </a:lnTo>
                    <a:lnTo>
                      <a:pt x="15113" y="225"/>
                    </a:lnTo>
                    <a:lnTo>
                      <a:pt x="14889" y="1"/>
                    </a:lnTo>
                    <a:lnTo>
                      <a:pt x="14441" y="1"/>
                    </a:lnTo>
                    <a:lnTo>
                      <a:pt x="14105" y="113"/>
                    </a:lnTo>
                    <a:lnTo>
                      <a:pt x="13657" y="337"/>
                    </a:lnTo>
                    <a:lnTo>
                      <a:pt x="13098" y="672"/>
                    </a:lnTo>
                    <a:lnTo>
                      <a:pt x="13098" y="672"/>
                    </a:lnTo>
                    <a:lnTo>
                      <a:pt x="9628" y="4143"/>
                    </a:lnTo>
                    <a:lnTo>
                      <a:pt x="7501" y="6381"/>
                    </a:lnTo>
                    <a:lnTo>
                      <a:pt x="5598" y="8508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0" name="Google Shape;1880;p16">
                <a:extLst>
                  <a:ext uri="{FF2B5EF4-FFF2-40B4-BE49-F238E27FC236}">
                    <a16:creationId xmlns:a16="http://schemas.microsoft.com/office/drawing/2014/main" id="{BF9647C6-DB7C-6904-8731-6DFE9DCB48ED}"/>
                  </a:ext>
                </a:extLst>
              </p:cNvPr>
              <p:cNvSpPr/>
              <p:nvPr/>
            </p:nvSpPr>
            <p:spPr>
              <a:xfrm>
                <a:off x="614125" y="2448900"/>
                <a:ext cx="302275" cy="442200"/>
              </a:xfrm>
              <a:custGeom>
                <a:avLst/>
                <a:gdLst/>
                <a:ahLst/>
                <a:cxnLst/>
                <a:rect l="l" t="t" r="r" b="b"/>
                <a:pathLst>
                  <a:path w="12091" h="17688" extrusionOk="0">
                    <a:moveTo>
                      <a:pt x="12090" y="1"/>
                    </a:moveTo>
                    <a:lnTo>
                      <a:pt x="8844" y="3247"/>
                    </a:lnTo>
                    <a:lnTo>
                      <a:pt x="7165" y="5150"/>
                    </a:lnTo>
                    <a:lnTo>
                      <a:pt x="5598" y="6829"/>
                    </a:lnTo>
                    <a:lnTo>
                      <a:pt x="4814" y="8061"/>
                    </a:lnTo>
                    <a:lnTo>
                      <a:pt x="4031" y="9404"/>
                    </a:lnTo>
                    <a:lnTo>
                      <a:pt x="2240" y="12426"/>
                    </a:lnTo>
                    <a:lnTo>
                      <a:pt x="1" y="16568"/>
                    </a:lnTo>
                    <a:lnTo>
                      <a:pt x="1" y="16680"/>
                    </a:lnTo>
                    <a:lnTo>
                      <a:pt x="1" y="16904"/>
                    </a:lnTo>
                    <a:lnTo>
                      <a:pt x="337" y="17016"/>
                    </a:lnTo>
                    <a:lnTo>
                      <a:pt x="1120" y="17351"/>
                    </a:lnTo>
                    <a:lnTo>
                      <a:pt x="2128" y="17575"/>
                    </a:lnTo>
                    <a:lnTo>
                      <a:pt x="3023" y="17687"/>
                    </a:lnTo>
                    <a:lnTo>
                      <a:pt x="3583" y="17575"/>
                    </a:lnTo>
                    <a:lnTo>
                      <a:pt x="4255" y="16456"/>
                    </a:lnTo>
                    <a:lnTo>
                      <a:pt x="5598" y="13881"/>
                    </a:lnTo>
                    <a:lnTo>
                      <a:pt x="7165" y="11195"/>
                    </a:lnTo>
                    <a:lnTo>
                      <a:pt x="8172" y="9404"/>
                    </a:lnTo>
                    <a:lnTo>
                      <a:pt x="8620" y="8844"/>
                    </a:lnTo>
                    <a:lnTo>
                      <a:pt x="9180" y="8172"/>
                    </a:lnTo>
                    <a:lnTo>
                      <a:pt x="10747" y="6717"/>
                    </a:lnTo>
                    <a:lnTo>
                      <a:pt x="11195" y="3135"/>
                    </a:lnTo>
                    <a:lnTo>
                      <a:pt x="11419" y="1792"/>
                    </a:lnTo>
                    <a:lnTo>
                      <a:pt x="11531" y="1008"/>
                    </a:lnTo>
                    <a:lnTo>
                      <a:pt x="11754" y="561"/>
                    </a:lnTo>
                    <a:lnTo>
                      <a:pt x="12090" y="1"/>
                    </a:lnTo>
                    <a:close/>
                  </a:path>
                </a:pathLst>
              </a:custGeom>
              <a:solidFill>
                <a:srgbClr val="C3783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1" name="Google Shape;1881;p16">
                <a:extLst>
                  <a:ext uri="{FF2B5EF4-FFF2-40B4-BE49-F238E27FC236}">
                    <a16:creationId xmlns:a16="http://schemas.microsoft.com/office/drawing/2014/main" id="{A4D75460-982C-A2BF-FA1B-91B62144ACE0}"/>
                  </a:ext>
                </a:extLst>
              </p:cNvPr>
              <p:cNvSpPr/>
              <p:nvPr/>
            </p:nvSpPr>
            <p:spPr>
              <a:xfrm>
                <a:off x="614125" y="2448900"/>
                <a:ext cx="302275" cy="442200"/>
              </a:xfrm>
              <a:custGeom>
                <a:avLst/>
                <a:gdLst/>
                <a:ahLst/>
                <a:cxnLst/>
                <a:rect l="l" t="t" r="r" b="b"/>
                <a:pathLst>
                  <a:path w="12091" h="17688" fill="none" extrusionOk="0">
                    <a:moveTo>
                      <a:pt x="12090" y="1"/>
                    </a:moveTo>
                    <a:lnTo>
                      <a:pt x="12090" y="1"/>
                    </a:lnTo>
                    <a:lnTo>
                      <a:pt x="8844" y="3247"/>
                    </a:lnTo>
                    <a:lnTo>
                      <a:pt x="7165" y="5150"/>
                    </a:lnTo>
                    <a:lnTo>
                      <a:pt x="5598" y="6829"/>
                    </a:lnTo>
                    <a:lnTo>
                      <a:pt x="5598" y="6829"/>
                    </a:lnTo>
                    <a:lnTo>
                      <a:pt x="4814" y="8061"/>
                    </a:lnTo>
                    <a:lnTo>
                      <a:pt x="4031" y="9404"/>
                    </a:lnTo>
                    <a:lnTo>
                      <a:pt x="2240" y="12426"/>
                    </a:lnTo>
                    <a:lnTo>
                      <a:pt x="1" y="16568"/>
                    </a:lnTo>
                    <a:lnTo>
                      <a:pt x="1" y="16568"/>
                    </a:lnTo>
                    <a:lnTo>
                      <a:pt x="1" y="16680"/>
                    </a:lnTo>
                    <a:lnTo>
                      <a:pt x="1" y="16680"/>
                    </a:lnTo>
                    <a:lnTo>
                      <a:pt x="1" y="16904"/>
                    </a:lnTo>
                    <a:lnTo>
                      <a:pt x="337" y="17016"/>
                    </a:lnTo>
                    <a:lnTo>
                      <a:pt x="1120" y="17351"/>
                    </a:lnTo>
                    <a:lnTo>
                      <a:pt x="2128" y="17575"/>
                    </a:lnTo>
                    <a:lnTo>
                      <a:pt x="3023" y="17687"/>
                    </a:lnTo>
                    <a:lnTo>
                      <a:pt x="3023" y="17687"/>
                    </a:lnTo>
                    <a:lnTo>
                      <a:pt x="3583" y="17575"/>
                    </a:lnTo>
                    <a:lnTo>
                      <a:pt x="3583" y="17575"/>
                    </a:lnTo>
                    <a:lnTo>
                      <a:pt x="4255" y="16456"/>
                    </a:lnTo>
                    <a:lnTo>
                      <a:pt x="5598" y="13881"/>
                    </a:lnTo>
                    <a:lnTo>
                      <a:pt x="7165" y="11195"/>
                    </a:lnTo>
                    <a:lnTo>
                      <a:pt x="8172" y="9404"/>
                    </a:lnTo>
                    <a:lnTo>
                      <a:pt x="8172" y="9404"/>
                    </a:lnTo>
                    <a:lnTo>
                      <a:pt x="8620" y="8844"/>
                    </a:lnTo>
                    <a:lnTo>
                      <a:pt x="9180" y="8172"/>
                    </a:lnTo>
                    <a:lnTo>
                      <a:pt x="10747" y="6717"/>
                    </a:lnTo>
                    <a:lnTo>
                      <a:pt x="10747" y="6717"/>
                    </a:lnTo>
                    <a:lnTo>
                      <a:pt x="11195" y="3135"/>
                    </a:lnTo>
                    <a:lnTo>
                      <a:pt x="11419" y="1792"/>
                    </a:lnTo>
                    <a:lnTo>
                      <a:pt x="11531" y="1008"/>
                    </a:lnTo>
                    <a:lnTo>
                      <a:pt x="11531" y="1008"/>
                    </a:lnTo>
                    <a:lnTo>
                      <a:pt x="11754" y="561"/>
                    </a:lnTo>
                    <a:lnTo>
                      <a:pt x="1209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2" name="Google Shape;1882;p16">
                <a:extLst>
                  <a:ext uri="{FF2B5EF4-FFF2-40B4-BE49-F238E27FC236}">
                    <a16:creationId xmlns:a16="http://schemas.microsoft.com/office/drawing/2014/main" id="{0864D2EF-91C7-133C-C215-20A53602E38A}"/>
                  </a:ext>
                </a:extLst>
              </p:cNvPr>
              <p:cNvSpPr/>
              <p:nvPr/>
            </p:nvSpPr>
            <p:spPr>
              <a:xfrm>
                <a:off x="947150" y="2409725"/>
                <a:ext cx="14025" cy="8425"/>
              </a:xfrm>
              <a:custGeom>
                <a:avLst/>
                <a:gdLst/>
                <a:ahLst/>
                <a:cxnLst/>
                <a:rect l="l" t="t" r="r" b="b"/>
                <a:pathLst>
                  <a:path w="561" h="337" fill="none" extrusionOk="0">
                    <a:moveTo>
                      <a:pt x="560" y="1"/>
                    </a:moveTo>
                    <a:lnTo>
                      <a:pt x="560" y="1"/>
                    </a:lnTo>
                    <a:lnTo>
                      <a:pt x="1" y="337"/>
                    </a:lnTo>
                    <a:lnTo>
                      <a:pt x="1" y="337"/>
                    </a:lnTo>
                    <a:lnTo>
                      <a:pt x="56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3" name="Google Shape;1883;p16">
                <a:extLst>
                  <a:ext uri="{FF2B5EF4-FFF2-40B4-BE49-F238E27FC236}">
                    <a16:creationId xmlns:a16="http://schemas.microsoft.com/office/drawing/2014/main" id="{0B291F29-9D07-D02A-A695-BD076E447C2D}"/>
                  </a:ext>
                </a:extLst>
              </p:cNvPr>
              <p:cNvSpPr/>
              <p:nvPr/>
            </p:nvSpPr>
            <p:spPr>
              <a:xfrm>
                <a:off x="4196175" y="1645750"/>
                <a:ext cx="181925" cy="75575"/>
              </a:xfrm>
              <a:custGeom>
                <a:avLst/>
                <a:gdLst/>
                <a:ahLst/>
                <a:cxnLst/>
                <a:rect l="l" t="t" r="r" b="b"/>
                <a:pathLst>
                  <a:path w="7277" h="3023" extrusionOk="0">
                    <a:moveTo>
                      <a:pt x="2239" y="0"/>
                    </a:moveTo>
                    <a:lnTo>
                      <a:pt x="2127" y="112"/>
                    </a:lnTo>
                    <a:lnTo>
                      <a:pt x="2127" y="336"/>
                    </a:lnTo>
                    <a:lnTo>
                      <a:pt x="2015" y="560"/>
                    </a:lnTo>
                    <a:lnTo>
                      <a:pt x="1792" y="784"/>
                    </a:lnTo>
                    <a:lnTo>
                      <a:pt x="1456" y="1008"/>
                    </a:lnTo>
                    <a:lnTo>
                      <a:pt x="784" y="1120"/>
                    </a:lnTo>
                    <a:lnTo>
                      <a:pt x="560" y="1344"/>
                    </a:lnTo>
                    <a:lnTo>
                      <a:pt x="224" y="1568"/>
                    </a:lnTo>
                    <a:lnTo>
                      <a:pt x="113" y="1903"/>
                    </a:lnTo>
                    <a:lnTo>
                      <a:pt x="1" y="2239"/>
                    </a:lnTo>
                    <a:lnTo>
                      <a:pt x="113" y="2575"/>
                    </a:lnTo>
                    <a:lnTo>
                      <a:pt x="448" y="2911"/>
                    </a:lnTo>
                    <a:lnTo>
                      <a:pt x="1120" y="3023"/>
                    </a:lnTo>
                    <a:lnTo>
                      <a:pt x="2127" y="2911"/>
                    </a:lnTo>
                    <a:lnTo>
                      <a:pt x="2575" y="2799"/>
                    </a:lnTo>
                    <a:lnTo>
                      <a:pt x="3135" y="2575"/>
                    </a:lnTo>
                    <a:lnTo>
                      <a:pt x="4142" y="2351"/>
                    </a:lnTo>
                    <a:lnTo>
                      <a:pt x="5486" y="2239"/>
                    </a:lnTo>
                    <a:lnTo>
                      <a:pt x="6829" y="2127"/>
                    </a:lnTo>
                    <a:lnTo>
                      <a:pt x="7277" y="2127"/>
                    </a:lnTo>
                    <a:lnTo>
                      <a:pt x="6941" y="0"/>
                    </a:lnTo>
                    <a:lnTo>
                      <a:pt x="6269" y="224"/>
                    </a:lnTo>
                    <a:lnTo>
                      <a:pt x="5598" y="336"/>
                    </a:lnTo>
                    <a:lnTo>
                      <a:pt x="4702" y="448"/>
                    </a:lnTo>
                    <a:lnTo>
                      <a:pt x="4254" y="336"/>
                    </a:lnTo>
                    <a:lnTo>
                      <a:pt x="3806" y="336"/>
                    </a:lnTo>
                    <a:lnTo>
                      <a:pt x="2911" y="0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4" name="Google Shape;1884;p16">
                <a:extLst>
                  <a:ext uri="{FF2B5EF4-FFF2-40B4-BE49-F238E27FC236}">
                    <a16:creationId xmlns:a16="http://schemas.microsoft.com/office/drawing/2014/main" id="{4CC419CC-E986-3C28-653A-16C1C8512C75}"/>
                  </a:ext>
                </a:extLst>
              </p:cNvPr>
              <p:cNvSpPr/>
              <p:nvPr/>
            </p:nvSpPr>
            <p:spPr>
              <a:xfrm>
                <a:off x="4103825" y="1645750"/>
                <a:ext cx="173525" cy="131550"/>
              </a:xfrm>
              <a:custGeom>
                <a:avLst/>
                <a:gdLst/>
                <a:ahLst/>
                <a:cxnLst/>
                <a:rect l="l" t="t" r="r" b="b"/>
                <a:pathLst>
                  <a:path w="6941" h="5262" extrusionOk="0">
                    <a:moveTo>
                      <a:pt x="5709" y="0"/>
                    </a:moveTo>
                    <a:lnTo>
                      <a:pt x="5374" y="112"/>
                    </a:lnTo>
                    <a:lnTo>
                      <a:pt x="4926" y="224"/>
                    </a:lnTo>
                    <a:lnTo>
                      <a:pt x="4478" y="560"/>
                    </a:lnTo>
                    <a:lnTo>
                      <a:pt x="4142" y="784"/>
                    </a:lnTo>
                    <a:lnTo>
                      <a:pt x="3583" y="1344"/>
                    </a:lnTo>
                    <a:lnTo>
                      <a:pt x="2799" y="1903"/>
                    </a:lnTo>
                    <a:lnTo>
                      <a:pt x="1680" y="2575"/>
                    </a:lnTo>
                    <a:lnTo>
                      <a:pt x="448" y="3247"/>
                    </a:lnTo>
                    <a:lnTo>
                      <a:pt x="1" y="3470"/>
                    </a:lnTo>
                    <a:lnTo>
                      <a:pt x="1232" y="5262"/>
                    </a:lnTo>
                    <a:lnTo>
                      <a:pt x="1792" y="4814"/>
                    </a:lnTo>
                    <a:lnTo>
                      <a:pt x="2351" y="4590"/>
                    </a:lnTo>
                    <a:lnTo>
                      <a:pt x="2799" y="4366"/>
                    </a:lnTo>
                    <a:lnTo>
                      <a:pt x="3135" y="4254"/>
                    </a:lnTo>
                    <a:lnTo>
                      <a:pt x="3583" y="3918"/>
                    </a:lnTo>
                    <a:lnTo>
                      <a:pt x="4030" y="3806"/>
                    </a:lnTo>
                    <a:lnTo>
                      <a:pt x="4814" y="3582"/>
                    </a:lnTo>
                    <a:lnTo>
                      <a:pt x="5709" y="3582"/>
                    </a:lnTo>
                    <a:lnTo>
                      <a:pt x="5933" y="3470"/>
                    </a:lnTo>
                    <a:lnTo>
                      <a:pt x="6157" y="3247"/>
                    </a:lnTo>
                    <a:lnTo>
                      <a:pt x="6045" y="3023"/>
                    </a:lnTo>
                    <a:lnTo>
                      <a:pt x="5486" y="2799"/>
                    </a:lnTo>
                    <a:lnTo>
                      <a:pt x="5262" y="2687"/>
                    </a:lnTo>
                    <a:lnTo>
                      <a:pt x="5262" y="2575"/>
                    </a:lnTo>
                    <a:lnTo>
                      <a:pt x="5709" y="2351"/>
                    </a:lnTo>
                    <a:lnTo>
                      <a:pt x="6605" y="2127"/>
                    </a:lnTo>
                    <a:lnTo>
                      <a:pt x="6829" y="1903"/>
                    </a:lnTo>
                    <a:lnTo>
                      <a:pt x="6941" y="1568"/>
                    </a:lnTo>
                    <a:lnTo>
                      <a:pt x="6941" y="1120"/>
                    </a:lnTo>
                    <a:lnTo>
                      <a:pt x="6829" y="672"/>
                    </a:lnTo>
                    <a:lnTo>
                      <a:pt x="6493" y="224"/>
                    </a:lnTo>
                    <a:lnTo>
                      <a:pt x="6269" y="112"/>
                    </a:lnTo>
                    <a:lnTo>
                      <a:pt x="6045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5" name="Google Shape;1885;p16">
                <a:extLst>
                  <a:ext uri="{FF2B5EF4-FFF2-40B4-BE49-F238E27FC236}">
                    <a16:creationId xmlns:a16="http://schemas.microsoft.com/office/drawing/2014/main" id="{6B6BF264-655B-79E9-DF86-A2FB769BBC41}"/>
                  </a:ext>
                </a:extLst>
              </p:cNvPr>
              <p:cNvSpPr/>
              <p:nvPr/>
            </p:nvSpPr>
            <p:spPr>
              <a:xfrm>
                <a:off x="5379925" y="2709175"/>
                <a:ext cx="861950" cy="2767700"/>
              </a:xfrm>
              <a:custGeom>
                <a:avLst/>
                <a:gdLst/>
                <a:ahLst/>
                <a:cxnLst/>
                <a:rect l="l" t="t" r="r" b="b"/>
                <a:pathLst>
                  <a:path w="34478" h="110708" extrusionOk="0">
                    <a:moveTo>
                      <a:pt x="3919" y="0"/>
                    </a:moveTo>
                    <a:lnTo>
                      <a:pt x="3247" y="112"/>
                    </a:lnTo>
                    <a:lnTo>
                      <a:pt x="2687" y="224"/>
                    </a:lnTo>
                    <a:lnTo>
                      <a:pt x="2128" y="448"/>
                    </a:lnTo>
                    <a:lnTo>
                      <a:pt x="1680" y="896"/>
                    </a:lnTo>
                    <a:lnTo>
                      <a:pt x="1008" y="1567"/>
                    </a:lnTo>
                    <a:lnTo>
                      <a:pt x="448" y="2463"/>
                    </a:lnTo>
                    <a:lnTo>
                      <a:pt x="113" y="3470"/>
                    </a:lnTo>
                    <a:lnTo>
                      <a:pt x="1" y="4590"/>
                    </a:lnTo>
                    <a:lnTo>
                      <a:pt x="113" y="110708"/>
                    </a:lnTo>
                    <a:lnTo>
                      <a:pt x="34478" y="110708"/>
                    </a:lnTo>
                    <a:lnTo>
                      <a:pt x="34366" y="4478"/>
                    </a:lnTo>
                    <a:lnTo>
                      <a:pt x="34254" y="3470"/>
                    </a:lnTo>
                    <a:lnTo>
                      <a:pt x="34030" y="2575"/>
                    </a:lnTo>
                    <a:lnTo>
                      <a:pt x="33470" y="1679"/>
                    </a:lnTo>
                    <a:lnTo>
                      <a:pt x="32911" y="1008"/>
                    </a:lnTo>
                    <a:lnTo>
                      <a:pt x="32239" y="448"/>
                    </a:lnTo>
                    <a:lnTo>
                      <a:pt x="31344" y="112"/>
                    </a:lnTo>
                    <a:lnTo>
                      <a:pt x="30560" y="0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6" name="Google Shape;1886;p16">
                <a:extLst>
                  <a:ext uri="{FF2B5EF4-FFF2-40B4-BE49-F238E27FC236}">
                    <a16:creationId xmlns:a16="http://schemas.microsoft.com/office/drawing/2014/main" id="{9075CD59-75D0-9B06-F867-CB6F686A60F5}"/>
                  </a:ext>
                </a:extLst>
              </p:cNvPr>
              <p:cNvSpPr/>
              <p:nvPr/>
            </p:nvSpPr>
            <p:spPr>
              <a:xfrm>
                <a:off x="5379925" y="2709175"/>
                <a:ext cx="861950" cy="2767700"/>
              </a:xfrm>
              <a:custGeom>
                <a:avLst/>
                <a:gdLst/>
                <a:ahLst/>
                <a:cxnLst/>
                <a:rect l="l" t="t" r="r" b="b"/>
                <a:pathLst>
                  <a:path w="34478" h="110708" fill="none" extrusionOk="0">
                    <a:moveTo>
                      <a:pt x="34478" y="110708"/>
                    </a:moveTo>
                    <a:lnTo>
                      <a:pt x="34366" y="4478"/>
                    </a:lnTo>
                    <a:lnTo>
                      <a:pt x="34366" y="4478"/>
                    </a:lnTo>
                    <a:lnTo>
                      <a:pt x="34254" y="3470"/>
                    </a:lnTo>
                    <a:lnTo>
                      <a:pt x="34030" y="2575"/>
                    </a:lnTo>
                    <a:lnTo>
                      <a:pt x="33470" y="1679"/>
                    </a:lnTo>
                    <a:lnTo>
                      <a:pt x="32911" y="1008"/>
                    </a:lnTo>
                    <a:lnTo>
                      <a:pt x="32911" y="1008"/>
                    </a:lnTo>
                    <a:lnTo>
                      <a:pt x="32239" y="448"/>
                    </a:lnTo>
                    <a:lnTo>
                      <a:pt x="31344" y="112"/>
                    </a:lnTo>
                    <a:lnTo>
                      <a:pt x="31344" y="112"/>
                    </a:lnTo>
                    <a:lnTo>
                      <a:pt x="30560" y="0"/>
                    </a:lnTo>
                    <a:lnTo>
                      <a:pt x="30336" y="0"/>
                    </a:lnTo>
                    <a:lnTo>
                      <a:pt x="3919" y="0"/>
                    </a:lnTo>
                    <a:lnTo>
                      <a:pt x="3919" y="0"/>
                    </a:lnTo>
                    <a:lnTo>
                      <a:pt x="3247" y="112"/>
                    </a:lnTo>
                    <a:lnTo>
                      <a:pt x="2687" y="224"/>
                    </a:lnTo>
                    <a:lnTo>
                      <a:pt x="2128" y="448"/>
                    </a:lnTo>
                    <a:lnTo>
                      <a:pt x="1680" y="896"/>
                    </a:lnTo>
                    <a:lnTo>
                      <a:pt x="1680" y="896"/>
                    </a:lnTo>
                    <a:lnTo>
                      <a:pt x="1008" y="1567"/>
                    </a:lnTo>
                    <a:lnTo>
                      <a:pt x="448" y="2463"/>
                    </a:lnTo>
                    <a:lnTo>
                      <a:pt x="113" y="3470"/>
                    </a:lnTo>
                    <a:lnTo>
                      <a:pt x="1" y="4590"/>
                    </a:lnTo>
                    <a:lnTo>
                      <a:pt x="113" y="110708"/>
                    </a:lnTo>
                    <a:lnTo>
                      <a:pt x="34478" y="110708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7" name="Google Shape;1887;p16">
                <a:extLst>
                  <a:ext uri="{FF2B5EF4-FFF2-40B4-BE49-F238E27FC236}">
                    <a16:creationId xmlns:a16="http://schemas.microsoft.com/office/drawing/2014/main" id="{325F639D-A699-C606-4287-00462078CF19}"/>
                  </a:ext>
                </a:extLst>
              </p:cNvPr>
              <p:cNvSpPr/>
              <p:nvPr/>
            </p:nvSpPr>
            <p:spPr>
              <a:xfrm>
                <a:off x="6143925" y="2709175"/>
                <a:ext cx="33600" cy="8425"/>
              </a:xfrm>
              <a:custGeom>
                <a:avLst/>
                <a:gdLst/>
                <a:ahLst/>
                <a:cxnLst/>
                <a:rect l="l" t="t" r="r" b="b"/>
                <a:pathLst>
                  <a:path w="1344" h="337" extrusionOk="0">
                    <a:moveTo>
                      <a:pt x="0" y="0"/>
                    </a:moveTo>
                    <a:lnTo>
                      <a:pt x="672" y="112"/>
                    </a:lnTo>
                    <a:lnTo>
                      <a:pt x="1343" y="336"/>
                    </a:lnTo>
                    <a:lnTo>
                      <a:pt x="784" y="1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DFDF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8" name="Google Shape;1888;p16">
                <a:extLst>
                  <a:ext uri="{FF2B5EF4-FFF2-40B4-BE49-F238E27FC236}">
                    <a16:creationId xmlns:a16="http://schemas.microsoft.com/office/drawing/2014/main" id="{D027478B-2373-EC2D-1F93-B32485A87A3F}"/>
                  </a:ext>
                </a:extLst>
              </p:cNvPr>
              <p:cNvSpPr/>
              <p:nvPr/>
            </p:nvSpPr>
            <p:spPr>
              <a:xfrm>
                <a:off x="6219475" y="2751150"/>
                <a:ext cx="19600" cy="1589550"/>
              </a:xfrm>
              <a:custGeom>
                <a:avLst/>
                <a:gdLst/>
                <a:ahLst/>
                <a:cxnLst/>
                <a:rect l="l" t="t" r="r" b="b"/>
                <a:pathLst>
                  <a:path w="784" h="63582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336" y="672"/>
                    </a:lnTo>
                    <a:lnTo>
                      <a:pt x="560" y="1344"/>
                    </a:lnTo>
                    <a:lnTo>
                      <a:pt x="784" y="2015"/>
                    </a:lnTo>
                    <a:lnTo>
                      <a:pt x="784" y="2799"/>
                    </a:lnTo>
                    <a:lnTo>
                      <a:pt x="784" y="63582"/>
                    </a:lnTo>
                    <a:lnTo>
                      <a:pt x="784" y="2799"/>
                    </a:lnTo>
                    <a:lnTo>
                      <a:pt x="784" y="2799"/>
                    </a:lnTo>
                    <a:lnTo>
                      <a:pt x="784" y="2015"/>
                    </a:lnTo>
                    <a:lnTo>
                      <a:pt x="560" y="1344"/>
                    </a:lnTo>
                    <a:lnTo>
                      <a:pt x="336" y="67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9" name="Google Shape;1889;p16">
                <a:extLst>
                  <a:ext uri="{FF2B5EF4-FFF2-40B4-BE49-F238E27FC236}">
                    <a16:creationId xmlns:a16="http://schemas.microsoft.com/office/drawing/2014/main" id="{30F33740-DBDB-DC26-428B-0233D8F603E1}"/>
                  </a:ext>
                </a:extLst>
              </p:cNvPr>
              <p:cNvSpPr/>
              <p:nvPr/>
            </p:nvSpPr>
            <p:spPr>
              <a:xfrm>
                <a:off x="6219475" y="2751150"/>
                <a:ext cx="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0" name="Google Shape;1890;p16">
                <a:extLst>
                  <a:ext uri="{FF2B5EF4-FFF2-40B4-BE49-F238E27FC236}">
                    <a16:creationId xmlns:a16="http://schemas.microsoft.com/office/drawing/2014/main" id="{BD865E96-884E-171A-BB56-50A50694646A}"/>
                  </a:ext>
                </a:extLst>
              </p:cNvPr>
              <p:cNvSpPr/>
              <p:nvPr/>
            </p:nvSpPr>
            <p:spPr>
              <a:xfrm>
                <a:off x="6216675" y="2751150"/>
                <a:ext cx="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1" name="Google Shape;1891;p16">
                <a:extLst>
                  <a:ext uri="{FF2B5EF4-FFF2-40B4-BE49-F238E27FC236}">
                    <a16:creationId xmlns:a16="http://schemas.microsoft.com/office/drawing/2014/main" id="{A7F144DA-F56F-DED9-1DA2-94CD294D340F}"/>
                  </a:ext>
                </a:extLst>
              </p:cNvPr>
              <p:cNvSpPr/>
              <p:nvPr/>
            </p:nvSpPr>
            <p:spPr>
              <a:xfrm>
                <a:off x="6177500" y="2717575"/>
                <a:ext cx="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2" name="Google Shape;1892;p16">
                <a:extLst>
                  <a:ext uri="{FF2B5EF4-FFF2-40B4-BE49-F238E27FC236}">
                    <a16:creationId xmlns:a16="http://schemas.microsoft.com/office/drawing/2014/main" id="{C17D968D-80EF-6DE9-E583-C58D366D485D}"/>
                  </a:ext>
                </a:extLst>
              </p:cNvPr>
              <p:cNvSpPr/>
              <p:nvPr/>
            </p:nvSpPr>
            <p:spPr>
              <a:xfrm>
                <a:off x="5928425" y="2709175"/>
                <a:ext cx="249100" cy="8425"/>
              </a:xfrm>
              <a:custGeom>
                <a:avLst/>
                <a:gdLst/>
                <a:ahLst/>
                <a:cxnLst/>
                <a:rect l="l" t="t" r="r" b="b"/>
                <a:pathLst>
                  <a:path w="9964" h="337" fill="none" extrusionOk="0">
                    <a:moveTo>
                      <a:pt x="8620" y="0"/>
                    </a:moveTo>
                    <a:lnTo>
                      <a:pt x="8620" y="0"/>
                    </a:lnTo>
                    <a:lnTo>
                      <a:pt x="862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8396" y="0"/>
                    </a:lnTo>
                    <a:lnTo>
                      <a:pt x="8620" y="0"/>
                    </a:lnTo>
                    <a:lnTo>
                      <a:pt x="8620" y="0"/>
                    </a:lnTo>
                    <a:lnTo>
                      <a:pt x="9404" y="112"/>
                    </a:lnTo>
                    <a:lnTo>
                      <a:pt x="9404" y="112"/>
                    </a:lnTo>
                    <a:lnTo>
                      <a:pt x="9963" y="336"/>
                    </a:lnTo>
                    <a:lnTo>
                      <a:pt x="9963" y="336"/>
                    </a:lnTo>
                    <a:lnTo>
                      <a:pt x="9292" y="112"/>
                    </a:lnTo>
                    <a:lnTo>
                      <a:pt x="862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3" name="Google Shape;1893;p16">
                <a:extLst>
                  <a:ext uri="{FF2B5EF4-FFF2-40B4-BE49-F238E27FC236}">
                    <a16:creationId xmlns:a16="http://schemas.microsoft.com/office/drawing/2014/main" id="{408613DA-AEFD-F52C-3E6B-70B0608F4B18}"/>
                  </a:ext>
                </a:extLst>
              </p:cNvPr>
              <p:cNvSpPr/>
              <p:nvPr/>
            </p:nvSpPr>
            <p:spPr>
              <a:xfrm>
                <a:off x="5925625" y="2709175"/>
                <a:ext cx="316250" cy="2767700"/>
              </a:xfrm>
              <a:custGeom>
                <a:avLst/>
                <a:gdLst/>
                <a:ahLst/>
                <a:cxnLst/>
                <a:rect l="l" t="t" r="r" b="b"/>
                <a:pathLst>
                  <a:path w="12650" h="110708" extrusionOk="0">
                    <a:moveTo>
                      <a:pt x="113" y="0"/>
                    </a:moveTo>
                    <a:lnTo>
                      <a:pt x="1" y="27761"/>
                    </a:lnTo>
                    <a:lnTo>
                      <a:pt x="225" y="56529"/>
                    </a:lnTo>
                    <a:lnTo>
                      <a:pt x="560" y="84738"/>
                    </a:lnTo>
                    <a:lnTo>
                      <a:pt x="784" y="98059"/>
                    </a:lnTo>
                    <a:lnTo>
                      <a:pt x="1120" y="110708"/>
                    </a:lnTo>
                    <a:lnTo>
                      <a:pt x="12650" y="110708"/>
                    </a:lnTo>
                    <a:lnTo>
                      <a:pt x="12538" y="65261"/>
                    </a:lnTo>
                    <a:lnTo>
                      <a:pt x="12538" y="4478"/>
                    </a:lnTo>
                    <a:lnTo>
                      <a:pt x="12538" y="3694"/>
                    </a:lnTo>
                    <a:lnTo>
                      <a:pt x="12314" y="3023"/>
                    </a:lnTo>
                    <a:lnTo>
                      <a:pt x="12090" y="2351"/>
                    </a:lnTo>
                    <a:lnTo>
                      <a:pt x="11754" y="1679"/>
                    </a:lnTo>
                    <a:lnTo>
                      <a:pt x="11642" y="1679"/>
                    </a:lnTo>
                    <a:lnTo>
                      <a:pt x="11307" y="1232"/>
                    </a:lnTo>
                    <a:lnTo>
                      <a:pt x="10971" y="896"/>
                    </a:lnTo>
                    <a:lnTo>
                      <a:pt x="10523" y="560"/>
                    </a:lnTo>
                    <a:lnTo>
                      <a:pt x="10075" y="336"/>
                    </a:lnTo>
                    <a:lnTo>
                      <a:pt x="9516" y="112"/>
                    </a:lnTo>
                    <a:lnTo>
                      <a:pt x="8732" y="0"/>
                    </a:lnTo>
                    <a:close/>
                  </a:path>
                </a:pathLst>
              </a:custGeom>
              <a:solidFill>
                <a:srgbClr val="D25F3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4" name="Google Shape;1894;p16">
                <a:extLst>
                  <a:ext uri="{FF2B5EF4-FFF2-40B4-BE49-F238E27FC236}">
                    <a16:creationId xmlns:a16="http://schemas.microsoft.com/office/drawing/2014/main" id="{37C2259B-2F0B-8E27-67A3-F344B61A7891}"/>
                  </a:ext>
                </a:extLst>
              </p:cNvPr>
              <p:cNvSpPr/>
              <p:nvPr/>
            </p:nvSpPr>
            <p:spPr>
              <a:xfrm>
                <a:off x="5925625" y="2709175"/>
                <a:ext cx="316250" cy="2767700"/>
              </a:xfrm>
              <a:custGeom>
                <a:avLst/>
                <a:gdLst/>
                <a:ahLst/>
                <a:cxnLst/>
                <a:rect l="l" t="t" r="r" b="b"/>
                <a:pathLst>
                  <a:path w="12650" h="110708" fill="none" extrusionOk="0">
                    <a:moveTo>
                      <a:pt x="8732" y="0"/>
                    </a:moveTo>
                    <a:lnTo>
                      <a:pt x="8508" y="0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" y="27761"/>
                    </a:lnTo>
                    <a:lnTo>
                      <a:pt x="225" y="56529"/>
                    </a:lnTo>
                    <a:lnTo>
                      <a:pt x="560" y="84738"/>
                    </a:lnTo>
                    <a:lnTo>
                      <a:pt x="784" y="98059"/>
                    </a:lnTo>
                    <a:lnTo>
                      <a:pt x="1120" y="110708"/>
                    </a:lnTo>
                    <a:lnTo>
                      <a:pt x="12650" y="110708"/>
                    </a:lnTo>
                    <a:lnTo>
                      <a:pt x="12538" y="65261"/>
                    </a:lnTo>
                    <a:lnTo>
                      <a:pt x="12538" y="4478"/>
                    </a:lnTo>
                    <a:lnTo>
                      <a:pt x="12538" y="4478"/>
                    </a:lnTo>
                    <a:lnTo>
                      <a:pt x="12538" y="3694"/>
                    </a:lnTo>
                    <a:lnTo>
                      <a:pt x="12314" y="3023"/>
                    </a:lnTo>
                    <a:lnTo>
                      <a:pt x="12090" y="2351"/>
                    </a:lnTo>
                    <a:lnTo>
                      <a:pt x="11754" y="1679"/>
                    </a:lnTo>
                    <a:lnTo>
                      <a:pt x="11754" y="1679"/>
                    </a:lnTo>
                    <a:lnTo>
                      <a:pt x="11754" y="1679"/>
                    </a:lnTo>
                    <a:lnTo>
                      <a:pt x="11754" y="1679"/>
                    </a:lnTo>
                    <a:lnTo>
                      <a:pt x="11754" y="1679"/>
                    </a:lnTo>
                    <a:lnTo>
                      <a:pt x="11754" y="1679"/>
                    </a:lnTo>
                    <a:lnTo>
                      <a:pt x="11642" y="1679"/>
                    </a:lnTo>
                    <a:lnTo>
                      <a:pt x="11642" y="1679"/>
                    </a:lnTo>
                    <a:lnTo>
                      <a:pt x="11642" y="1679"/>
                    </a:lnTo>
                    <a:lnTo>
                      <a:pt x="11642" y="1679"/>
                    </a:lnTo>
                    <a:lnTo>
                      <a:pt x="11307" y="1232"/>
                    </a:lnTo>
                    <a:lnTo>
                      <a:pt x="10971" y="896"/>
                    </a:lnTo>
                    <a:lnTo>
                      <a:pt x="10523" y="560"/>
                    </a:lnTo>
                    <a:lnTo>
                      <a:pt x="10075" y="336"/>
                    </a:lnTo>
                    <a:lnTo>
                      <a:pt x="10075" y="336"/>
                    </a:lnTo>
                    <a:lnTo>
                      <a:pt x="10075" y="336"/>
                    </a:lnTo>
                    <a:lnTo>
                      <a:pt x="10075" y="336"/>
                    </a:lnTo>
                    <a:lnTo>
                      <a:pt x="10075" y="336"/>
                    </a:lnTo>
                    <a:lnTo>
                      <a:pt x="10075" y="336"/>
                    </a:lnTo>
                    <a:lnTo>
                      <a:pt x="9516" y="112"/>
                    </a:lnTo>
                    <a:lnTo>
                      <a:pt x="9516" y="112"/>
                    </a:lnTo>
                    <a:lnTo>
                      <a:pt x="873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5" name="Google Shape;1895;p16">
                <a:extLst>
                  <a:ext uri="{FF2B5EF4-FFF2-40B4-BE49-F238E27FC236}">
                    <a16:creationId xmlns:a16="http://schemas.microsoft.com/office/drawing/2014/main" id="{DBBDA163-2A01-5CD4-7247-D12C8E923712}"/>
                  </a:ext>
                </a:extLst>
              </p:cNvPr>
              <p:cNvSpPr/>
              <p:nvPr/>
            </p:nvSpPr>
            <p:spPr>
              <a:xfrm>
                <a:off x="6429350" y="2420925"/>
                <a:ext cx="859150" cy="3055950"/>
              </a:xfrm>
              <a:custGeom>
                <a:avLst/>
                <a:gdLst/>
                <a:ahLst/>
                <a:cxnLst/>
                <a:rect l="l" t="t" r="r" b="b"/>
                <a:pathLst>
                  <a:path w="34366" h="122238" extrusionOk="0">
                    <a:moveTo>
                      <a:pt x="3919" y="1"/>
                    </a:moveTo>
                    <a:lnTo>
                      <a:pt x="2911" y="112"/>
                    </a:lnTo>
                    <a:lnTo>
                      <a:pt x="2128" y="560"/>
                    </a:lnTo>
                    <a:lnTo>
                      <a:pt x="1344" y="1120"/>
                    </a:lnTo>
                    <a:lnTo>
                      <a:pt x="784" y="1792"/>
                    </a:lnTo>
                    <a:lnTo>
                      <a:pt x="449" y="2463"/>
                    </a:lnTo>
                    <a:lnTo>
                      <a:pt x="225" y="3135"/>
                    </a:lnTo>
                    <a:lnTo>
                      <a:pt x="113" y="3806"/>
                    </a:lnTo>
                    <a:lnTo>
                      <a:pt x="1" y="4590"/>
                    </a:lnTo>
                    <a:lnTo>
                      <a:pt x="1" y="122238"/>
                    </a:lnTo>
                    <a:lnTo>
                      <a:pt x="34366" y="122238"/>
                    </a:lnTo>
                    <a:lnTo>
                      <a:pt x="34366" y="4590"/>
                    </a:lnTo>
                    <a:lnTo>
                      <a:pt x="34254" y="3583"/>
                    </a:lnTo>
                    <a:lnTo>
                      <a:pt x="34030" y="2687"/>
                    </a:lnTo>
                    <a:lnTo>
                      <a:pt x="33694" y="1903"/>
                    </a:lnTo>
                    <a:lnTo>
                      <a:pt x="33135" y="1232"/>
                    </a:lnTo>
                    <a:lnTo>
                      <a:pt x="32575" y="784"/>
                    </a:lnTo>
                    <a:lnTo>
                      <a:pt x="31903" y="336"/>
                    </a:lnTo>
                    <a:lnTo>
                      <a:pt x="31232" y="112"/>
                    </a:lnTo>
                    <a:lnTo>
                      <a:pt x="30448" y="1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6" name="Google Shape;1896;p16">
                <a:extLst>
                  <a:ext uri="{FF2B5EF4-FFF2-40B4-BE49-F238E27FC236}">
                    <a16:creationId xmlns:a16="http://schemas.microsoft.com/office/drawing/2014/main" id="{E7532F22-30C0-ED7D-D428-C105921DD860}"/>
                  </a:ext>
                </a:extLst>
              </p:cNvPr>
              <p:cNvSpPr/>
              <p:nvPr/>
            </p:nvSpPr>
            <p:spPr>
              <a:xfrm>
                <a:off x="6429350" y="2420925"/>
                <a:ext cx="859150" cy="3055950"/>
              </a:xfrm>
              <a:custGeom>
                <a:avLst/>
                <a:gdLst/>
                <a:ahLst/>
                <a:cxnLst/>
                <a:rect l="l" t="t" r="r" b="b"/>
                <a:pathLst>
                  <a:path w="34366" h="122238" fill="none" extrusionOk="0">
                    <a:moveTo>
                      <a:pt x="34366" y="122238"/>
                    </a:moveTo>
                    <a:lnTo>
                      <a:pt x="34366" y="4590"/>
                    </a:lnTo>
                    <a:lnTo>
                      <a:pt x="34366" y="4590"/>
                    </a:lnTo>
                    <a:lnTo>
                      <a:pt x="34254" y="3583"/>
                    </a:lnTo>
                    <a:lnTo>
                      <a:pt x="34030" y="2687"/>
                    </a:lnTo>
                    <a:lnTo>
                      <a:pt x="33694" y="1903"/>
                    </a:lnTo>
                    <a:lnTo>
                      <a:pt x="33135" y="1232"/>
                    </a:lnTo>
                    <a:lnTo>
                      <a:pt x="33135" y="1232"/>
                    </a:lnTo>
                    <a:lnTo>
                      <a:pt x="32575" y="784"/>
                    </a:lnTo>
                    <a:lnTo>
                      <a:pt x="31903" y="336"/>
                    </a:lnTo>
                    <a:lnTo>
                      <a:pt x="31232" y="112"/>
                    </a:lnTo>
                    <a:lnTo>
                      <a:pt x="30448" y="1"/>
                    </a:lnTo>
                    <a:lnTo>
                      <a:pt x="3919" y="1"/>
                    </a:lnTo>
                    <a:lnTo>
                      <a:pt x="3919" y="1"/>
                    </a:lnTo>
                    <a:lnTo>
                      <a:pt x="2911" y="112"/>
                    </a:lnTo>
                    <a:lnTo>
                      <a:pt x="2128" y="560"/>
                    </a:lnTo>
                    <a:lnTo>
                      <a:pt x="1344" y="1120"/>
                    </a:lnTo>
                    <a:lnTo>
                      <a:pt x="784" y="1792"/>
                    </a:lnTo>
                    <a:lnTo>
                      <a:pt x="784" y="1792"/>
                    </a:lnTo>
                    <a:lnTo>
                      <a:pt x="449" y="2463"/>
                    </a:lnTo>
                    <a:lnTo>
                      <a:pt x="225" y="3135"/>
                    </a:lnTo>
                    <a:lnTo>
                      <a:pt x="113" y="3806"/>
                    </a:lnTo>
                    <a:lnTo>
                      <a:pt x="1" y="4590"/>
                    </a:lnTo>
                    <a:lnTo>
                      <a:pt x="1" y="122238"/>
                    </a:lnTo>
                    <a:lnTo>
                      <a:pt x="34366" y="122238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7" name="Google Shape;1897;p16">
                <a:extLst>
                  <a:ext uri="{FF2B5EF4-FFF2-40B4-BE49-F238E27FC236}">
                    <a16:creationId xmlns:a16="http://schemas.microsoft.com/office/drawing/2014/main" id="{14DC65ED-E4F5-BA5A-EDFB-A0440DE097EA}"/>
                  </a:ext>
                </a:extLst>
              </p:cNvPr>
              <p:cNvSpPr/>
              <p:nvPr/>
            </p:nvSpPr>
            <p:spPr>
              <a:xfrm>
                <a:off x="7266100" y="2462900"/>
                <a:ext cx="22400" cy="3013975"/>
              </a:xfrm>
              <a:custGeom>
                <a:avLst/>
                <a:gdLst/>
                <a:ahLst/>
                <a:cxnLst/>
                <a:rect l="l" t="t" r="r" b="b"/>
                <a:pathLst>
                  <a:path w="896" h="120559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336" y="672"/>
                    </a:lnTo>
                    <a:lnTo>
                      <a:pt x="672" y="1344"/>
                    </a:lnTo>
                    <a:lnTo>
                      <a:pt x="784" y="2015"/>
                    </a:lnTo>
                    <a:lnTo>
                      <a:pt x="896" y="2911"/>
                    </a:lnTo>
                    <a:lnTo>
                      <a:pt x="896" y="120559"/>
                    </a:lnTo>
                    <a:lnTo>
                      <a:pt x="896" y="120559"/>
                    </a:lnTo>
                    <a:lnTo>
                      <a:pt x="896" y="2911"/>
                    </a:lnTo>
                    <a:lnTo>
                      <a:pt x="896" y="2911"/>
                    </a:lnTo>
                    <a:lnTo>
                      <a:pt x="784" y="2015"/>
                    </a:lnTo>
                    <a:lnTo>
                      <a:pt x="672" y="1344"/>
                    </a:lnTo>
                    <a:lnTo>
                      <a:pt x="336" y="672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FDFDF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8" name="Google Shape;1898;p16">
                <a:extLst>
                  <a:ext uri="{FF2B5EF4-FFF2-40B4-BE49-F238E27FC236}">
                    <a16:creationId xmlns:a16="http://schemas.microsoft.com/office/drawing/2014/main" id="{FED15B8E-E4D8-7046-7382-41699B5AF255}"/>
                  </a:ext>
                </a:extLst>
              </p:cNvPr>
              <p:cNvSpPr/>
              <p:nvPr/>
            </p:nvSpPr>
            <p:spPr>
              <a:xfrm>
                <a:off x="7266100" y="2462900"/>
                <a:ext cx="22400" cy="3013975"/>
              </a:xfrm>
              <a:custGeom>
                <a:avLst/>
                <a:gdLst/>
                <a:ahLst/>
                <a:cxnLst/>
                <a:rect l="l" t="t" r="r" b="b"/>
                <a:pathLst>
                  <a:path w="896" h="120559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336" y="672"/>
                    </a:lnTo>
                    <a:lnTo>
                      <a:pt x="672" y="1344"/>
                    </a:lnTo>
                    <a:lnTo>
                      <a:pt x="784" y="2015"/>
                    </a:lnTo>
                    <a:lnTo>
                      <a:pt x="896" y="2911"/>
                    </a:lnTo>
                    <a:lnTo>
                      <a:pt x="896" y="120559"/>
                    </a:lnTo>
                    <a:lnTo>
                      <a:pt x="896" y="120559"/>
                    </a:lnTo>
                    <a:lnTo>
                      <a:pt x="896" y="2911"/>
                    </a:lnTo>
                    <a:lnTo>
                      <a:pt x="896" y="2911"/>
                    </a:lnTo>
                    <a:lnTo>
                      <a:pt x="784" y="2015"/>
                    </a:lnTo>
                    <a:lnTo>
                      <a:pt x="672" y="1344"/>
                    </a:lnTo>
                    <a:lnTo>
                      <a:pt x="336" y="672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9" name="Google Shape;1899;p16">
                <a:extLst>
                  <a:ext uri="{FF2B5EF4-FFF2-40B4-BE49-F238E27FC236}">
                    <a16:creationId xmlns:a16="http://schemas.microsoft.com/office/drawing/2014/main" id="{CDADF98F-19EC-A1EB-89B8-2E2EB0DD3236}"/>
                  </a:ext>
                </a:extLst>
              </p:cNvPr>
              <p:cNvSpPr/>
              <p:nvPr/>
            </p:nvSpPr>
            <p:spPr>
              <a:xfrm>
                <a:off x="6975050" y="2420925"/>
                <a:ext cx="313450" cy="3055950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122238" extrusionOk="0">
                    <a:moveTo>
                      <a:pt x="113" y="1"/>
                    </a:moveTo>
                    <a:lnTo>
                      <a:pt x="1" y="27649"/>
                    </a:lnTo>
                    <a:lnTo>
                      <a:pt x="113" y="58880"/>
                    </a:lnTo>
                    <a:lnTo>
                      <a:pt x="449" y="91231"/>
                    </a:lnTo>
                    <a:lnTo>
                      <a:pt x="896" y="122238"/>
                    </a:lnTo>
                    <a:lnTo>
                      <a:pt x="12538" y="122238"/>
                    </a:lnTo>
                    <a:lnTo>
                      <a:pt x="12538" y="4590"/>
                    </a:lnTo>
                    <a:lnTo>
                      <a:pt x="12426" y="3694"/>
                    </a:lnTo>
                    <a:lnTo>
                      <a:pt x="12314" y="3023"/>
                    </a:lnTo>
                    <a:lnTo>
                      <a:pt x="11978" y="2351"/>
                    </a:lnTo>
                    <a:lnTo>
                      <a:pt x="11643" y="1680"/>
                    </a:lnTo>
                    <a:lnTo>
                      <a:pt x="11083" y="1008"/>
                    </a:lnTo>
                    <a:lnTo>
                      <a:pt x="10299" y="448"/>
                    </a:lnTo>
                    <a:lnTo>
                      <a:pt x="9516" y="112"/>
                    </a:lnTo>
                    <a:lnTo>
                      <a:pt x="8620" y="1"/>
                    </a:lnTo>
                    <a:close/>
                  </a:path>
                </a:pathLst>
              </a:custGeom>
              <a:solidFill>
                <a:srgbClr val="D25F3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80" name="Google Shape;1900;p16">
                <a:extLst>
                  <a:ext uri="{FF2B5EF4-FFF2-40B4-BE49-F238E27FC236}">
                    <a16:creationId xmlns:a16="http://schemas.microsoft.com/office/drawing/2014/main" id="{D98E942A-3AF0-FBDC-FCA3-8E96F4307EDB}"/>
                  </a:ext>
                </a:extLst>
              </p:cNvPr>
              <p:cNvSpPr/>
              <p:nvPr/>
            </p:nvSpPr>
            <p:spPr>
              <a:xfrm>
                <a:off x="6975050" y="2420925"/>
                <a:ext cx="313450" cy="3055950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122238" fill="none" extrusionOk="0">
                    <a:moveTo>
                      <a:pt x="8620" y="1"/>
                    </a:moveTo>
                    <a:lnTo>
                      <a:pt x="8620" y="1"/>
                    </a:lnTo>
                    <a:lnTo>
                      <a:pt x="8620" y="1"/>
                    </a:lnTo>
                    <a:lnTo>
                      <a:pt x="113" y="1"/>
                    </a:lnTo>
                    <a:lnTo>
                      <a:pt x="113" y="1"/>
                    </a:lnTo>
                    <a:lnTo>
                      <a:pt x="1" y="27649"/>
                    </a:lnTo>
                    <a:lnTo>
                      <a:pt x="113" y="58880"/>
                    </a:lnTo>
                    <a:lnTo>
                      <a:pt x="449" y="91231"/>
                    </a:lnTo>
                    <a:lnTo>
                      <a:pt x="896" y="122238"/>
                    </a:lnTo>
                    <a:lnTo>
                      <a:pt x="12538" y="122238"/>
                    </a:lnTo>
                    <a:lnTo>
                      <a:pt x="12538" y="4590"/>
                    </a:lnTo>
                    <a:lnTo>
                      <a:pt x="12538" y="4590"/>
                    </a:lnTo>
                    <a:lnTo>
                      <a:pt x="12426" y="3694"/>
                    </a:lnTo>
                    <a:lnTo>
                      <a:pt x="12314" y="3023"/>
                    </a:lnTo>
                    <a:lnTo>
                      <a:pt x="11978" y="2351"/>
                    </a:lnTo>
                    <a:lnTo>
                      <a:pt x="11643" y="1680"/>
                    </a:lnTo>
                    <a:lnTo>
                      <a:pt x="11643" y="1680"/>
                    </a:lnTo>
                    <a:lnTo>
                      <a:pt x="11083" y="1008"/>
                    </a:lnTo>
                    <a:lnTo>
                      <a:pt x="10299" y="448"/>
                    </a:lnTo>
                    <a:lnTo>
                      <a:pt x="9516" y="112"/>
                    </a:lnTo>
                    <a:lnTo>
                      <a:pt x="862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81" name="Google Shape;1901;p16">
                <a:extLst>
                  <a:ext uri="{FF2B5EF4-FFF2-40B4-BE49-F238E27FC236}">
                    <a16:creationId xmlns:a16="http://schemas.microsoft.com/office/drawing/2014/main" id="{683E2F24-2312-7995-075A-694A750D4DFC}"/>
                  </a:ext>
                </a:extLst>
              </p:cNvPr>
              <p:cNvSpPr/>
              <p:nvPr/>
            </p:nvSpPr>
            <p:spPr>
              <a:xfrm>
                <a:off x="4316500" y="3019800"/>
                <a:ext cx="859175" cy="2457075"/>
              </a:xfrm>
              <a:custGeom>
                <a:avLst/>
                <a:gdLst/>
                <a:ahLst/>
                <a:cxnLst/>
                <a:rect l="l" t="t" r="r" b="b"/>
                <a:pathLst>
                  <a:path w="34367" h="98283" extrusionOk="0">
                    <a:moveTo>
                      <a:pt x="3919" y="0"/>
                    </a:moveTo>
                    <a:lnTo>
                      <a:pt x="2911" y="112"/>
                    </a:lnTo>
                    <a:lnTo>
                      <a:pt x="2016" y="448"/>
                    </a:lnTo>
                    <a:lnTo>
                      <a:pt x="1456" y="784"/>
                    </a:lnTo>
                    <a:lnTo>
                      <a:pt x="1008" y="1120"/>
                    </a:lnTo>
                    <a:lnTo>
                      <a:pt x="561" y="1680"/>
                    </a:lnTo>
                    <a:lnTo>
                      <a:pt x="337" y="2239"/>
                    </a:lnTo>
                    <a:lnTo>
                      <a:pt x="113" y="2799"/>
                    </a:lnTo>
                    <a:lnTo>
                      <a:pt x="1" y="3471"/>
                    </a:lnTo>
                    <a:lnTo>
                      <a:pt x="113" y="98283"/>
                    </a:lnTo>
                    <a:lnTo>
                      <a:pt x="34366" y="98283"/>
                    </a:lnTo>
                    <a:lnTo>
                      <a:pt x="34366" y="3471"/>
                    </a:lnTo>
                    <a:lnTo>
                      <a:pt x="34366" y="3359"/>
                    </a:lnTo>
                    <a:lnTo>
                      <a:pt x="34366" y="2911"/>
                    </a:lnTo>
                    <a:lnTo>
                      <a:pt x="34254" y="2575"/>
                    </a:lnTo>
                    <a:lnTo>
                      <a:pt x="34254" y="2463"/>
                    </a:lnTo>
                    <a:lnTo>
                      <a:pt x="34030" y="2127"/>
                    </a:lnTo>
                    <a:lnTo>
                      <a:pt x="33918" y="1791"/>
                    </a:lnTo>
                    <a:lnTo>
                      <a:pt x="33695" y="1568"/>
                    </a:lnTo>
                    <a:lnTo>
                      <a:pt x="33135" y="896"/>
                    </a:lnTo>
                    <a:lnTo>
                      <a:pt x="33023" y="784"/>
                    </a:lnTo>
                    <a:lnTo>
                      <a:pt x="32463" y="448"/>
                    </a:lnTo>
                    <a:lnTo>
                      <a:pt x="31792" y="224"/>
                    </a:lnTo>
                    <a:lnTo>
                      <a:pt x="31456" y="112"/>
                    </a:lnTo>
                    <a:lnTo>
                      <a:pt x="30560" y="0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82" name="Google Shape;1902;p16">
                <a:extLst>
                  <a:ext uri="{FF2B5EF4-FFF2-40B4-BE49-F238E27FC236}">
                    <a16:creationId xmlns:a16="http://schemas.microsoft.com/office/drawing/2014/main" id="{EF8BC739-1680-CC80-F8E2-DBC3C03B00B9}"/>
                  </a:ext>
                </a:extLst>
              </p:cNvPr>
              <p:cNvSpPr/>
              <p:nvPr/>
            </p:nvSpPr>
            <p:spPr>
              <a:xfrm>
                <a:off x="4316500" y="3019800"/>
                <a:ext cx="859175" cy="2457075"/>
              </a:xfrm>
              <a:custGeom>
                <a:avLst/>
                <a:gdLst/>
                <a:ahLst/>
                <a:cxnLst/>
                <a:rect l="l" t="t" r="r" b="b"/>
                <a:pathLst>
                  <a:path w="34367" h="98283" fill="none" extrusionOk="0">
                    <a:moveTo>
                      <a:pt x="34366" y="98283"/>
                    </a:moveTo>
                    <a:lnTo>
                      <a:pt x="34366" y="3471"/>
                    </a:lnTo>
                    <a:lnTo>
                      <a:pt x="34366" y="3471"/>
                    </a:lnTo>
                    <a:lnTo>
                      <a:pt x="34366" y="3359"/>
                    </a:lnTo>
                    <a:lnTo>
                      <a:pt x="34366" y="3359"/>
                    </a:lnTo>
                    <a:lnTo>
                      <a:pt x="34366" y="2911"/>
                    </a:lnTo>
                    <a:lnTo>
                      <a:pt x="34366" y="2911"/>
                    </a:lnTo>
                    <a:lnTo>
                      <a:pt x="34254" y="2575"/>
                    </a:lnTo>
                    <a:lnTo>
                      <a:pt x="34254" y="2575"/>
                    </a:lnTo>
                    <a:lnTo>
                      <a:pt x="34254" y="2463"/>
                    </a:lnTo>
                    <a:lnTo>
                      <a:pt x="34254" y="2463"/>
                    </a:lnTo>
                    <a:lnTo>
                      <a:pt x="34030" y="2127"/>
                    </a:lnTo>
                    <a:lnTo>
                      <a:pt x="34030" y="2127"/>
                    </a:lnTo>
                    <a:lnTo>
                      <a:pt x="33918" y="1791"/>
                    </a:lnTo>
                    <a:lnTo>
                      <a:pt x="33918" y="1791"/>
                    </a:lnTo>
                    <a:lnTo>
                      <a:pt x="33695" y="1568"/>
                    </a:lnTo>
                    <a:lnTo>
                      <a:pt x="33695" y="1568"/>
                    </a:lnTo>
                    <a:lnTo>
                      <a:pt x="33135" y="896"/>
                    </a:lnTo>
                    <a:lnTo>
                      <a:pt x="33135" y="896"/>
                    </a:lnTo>
                    <a:lnTo>
                      <a:pt x="33023" y="784"/>
                    </a:lnTo>
                    <a:lnTo>
                      <a:pt x="33023" y="784"/>
                    </a:lnTo>
                    <a:lnTo>
                      <a:pt x="32463" y="448"/>
                    </a:lnTo>
                    <a:lnTo>
                      <a:pt x="31792" y="224"/>
                    </a:lnTo>
                    <a:lnTo>
                      <a:pt x="31792" y="224"/>
                    </a:lnTo>
                    <a:lnTo>
                      <a:pt x="31456" y="112"/>
                    </a:lnTo>
                    <a:lnTo>
                      <a:pt x="31456" y="112"/>
                    </a:lnTo>
                    <a:lnTo>
                      <a:pt x="31456" y="112"/>
                    </a:lnTo>
                    <a:lnTo>
                      <a:pt x="30560" y="0"/>
                    </a:lnTo>
                    <a:lnTo>
                      <a:pt x="21941" y="0"/>
                    </a:lnTo>
                    <a:lnTo>
                      <a:pt x="17463" y="0"/>
                    </a:lnTo>
                    <a:lnTo>
                      <a:pt x="3919" y="0"/>
                    </a:lnTo>
                    <a:lnTo>
                      <a:pt x="3919" y="0"/>
                    </a:lnTo>
                    <a:lnTo>
                      <a:pt x="2911" y="112"/>
                    </a:lnTo>
                    <a:lnTo>
                      <a:pt x="2016" y="448"/>
                    </a:lnTo>
                    <a:lnTo>
                      <a:pt x="2016" y="448"/>
                    </a:lnTo>
                    <a:lnTo>
                      <a:pt x="2016" y="448"/>
                    </a:lnTo>
                    <a:lnTo>
                      <a:pt x="1456" y="784"/>
                    </a:lnTo>
                    <a:lnTo>
                      <a:pt x="1008" y="1120"/>
                    </a:lnTo>
                    <a:lnTo>
                      <a:pt x="1008" y="1120"/>
                    </a:lnTo>
                    <a:lnTo>
                      <a:pt x="561" y="1680"/>
                    </a:lnTo>
                    <a:lnTo>
                      <a:pt x="337" y="2239"/>
                    </a:lnTo>
                    <a:lnTo>
                      <a:pt x="113" y="2799"/>
                    </a:lnTo>
                    <a:lnTo>
                      <a:pt x="1" y="3471"/>
                    </a:lnTo>
                    <a:lnTo>
                      <a:pt x="113" y="98283"/>
                    </a:lnTo>
                    <a:lnTo>
                      <a:pt x="34366" y="98283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83" name="Google Shape;1903;p16">
                <a:extLst>
                  <a:ext uri="{FF2B5EF4-FFF2-40B4-BE49-F238E27FC236}">
                    <a16:creationId xmlns:a16="http://schemas.microsoft.com/office/drawing/2014/main" id="{FE5BEFCD-3B77-2176-5379-AEF23B689F4D}"/>
                  </a:ext>
                </a:extLst>
              </p:cNvPr>
              <p:cNvSpPr/>
              <p:nvPr/>
            </p:nvSpPr>
            <p:spPr>
              <a:xfrm>
                <a:off x="4862225" y="3019800"/>
                <a:ext cx="313450" cy="2457075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98283" extrusionOk="0">
                    <a:moveTo>
                      <a:pt x="112" y="0"/>
                    </a:moveTo>
                    <a:lnTo>
                      <a:pt x="112" y="2015"/>
                    </a:lnTo>
                    <a:lnTo>
                      <a:pt x="0" y="24627"/>
                    </a:lnTo>
                    <a:lnTo>
                      <a:pt x="224" y="49813"/>
                    </a:lnTo>
                    <a:lnTo>
                      <a:pt x="672" y="75224"/>
                    </a:lnTo>
                    <a:lnTo>
                      <a:pt x="896" y="87201"/>
                    </a:lnTo>
                    <a:lnTo>
                      <a:pt x="1231" y="98283"/>
                    </a:lnTo>
                    <a:lnTo>
                      <a:pt x="12537" y="98283"/>
                    </a:lnTo>
                    <a:lnTo>
                      <a:pt x="12537" y="3471"/>
                    </a:lnTo>
                    <a:lnTo>
                      <a:pt x="12537" y="3359"/>
                    </a:lnTo>
                    <a:lnTo>
                      <a:pt x="12537" y="2911"/>
                    </a:lnTo>
                    <a:lnTo>
                      <a:pt x="12425" y="2575"/>
                    </a:lnTo>
                    <a:lnTo>
                      <a:pt x="12425" y="2463"/>
                    </a:lnTo>
                    <a:lnTo>
                      <a:pt x="12201" y="2127"/>
                    </a:lnTo>
                    <a:lnTo>
                      <a:pt x="12089" y="1791"/>
                    </a:lnTo>
                    <a:lnTo>
                      <a:pt x="11866" y="1568"/>
                    </a:lnTo>
                    <a:lnTo>
                      <a:pt x="11306" y="896"/>
                    </a:lnTo>
                    <a:lnTo>
                      <a:pt x="11194" y="784"/>
                    </a:lnTo>
                    <a:lnTo>
                      <a:pt x="10634" y="448"/>
                    </a:lnTo>
                    <a:lnTo>
                      <a:pt x="9963" y="224"/>
                    </a:lnTo>
                    <a:lnTo>
                      <a:pt x="9627" y="112"/>
                    </a:lnTo>
                    <a:lnTo>
                      <a:pt x="8731" y="0"/>
                    </a:lnTo>
                    <a:close/>
                  </a:path>
                </a:pathLst>
              </a:custGeom>
              <a:solidFill>
                <a:srgbClr val="D25F3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84" name="Google Shape;1904;p16">
                <a:extLst>
                  <a:ext uri="{FF2B5EF4-FFF2-40B4-BE49-F238E27FC236}">
                    <a16:creationId xmlns:a16="http://schemas.microsoft.com/office/drawing/2014/main" id="{C2E374ED-7FF4-9B49-2EF8-01E330FE6BE8}"/>
                  </a:ext>
                </a:extLst>
              </p:cNvPr>
              <p:cNvSpPr/>
              <p:nvPr/>
            </p:nvSpPr>
            <p:spPr>
              <a:xfrm>
                <a:off x="4862225" y="3019800"/>
                <a:ext cx="313450" cy="2457075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98283" fill="none" extrusionOk="0">
                    <a:moveTo>
                      <a:pt x="8731" y="0"/>
                    </a:moveTo>
                    <a:lnTo>
                      <a:pt x="112" y="0"/>
                    </a:lnTo>
                    <a:lnTo>
                      <a:pt x="112" y="0"/>
                    </a:lnTo>
                    <a:lnTo>
                      <a:pt x="112" y="2015"/>
                    </a:lnTo>
                    <a:lnTo>
                      <a:pt x="112" y="2015"/>
                    </a:lnTo>
                    <a:lnTo>
                      <a:pt x="0" y="24627"/>
                    </a:lnTo>
                    <a:lnTo>
                      <a:pt x="224" y="49813"/>
                    </a:lnTo>
                    <a:lnTo>
                      <a:pt x="672" y="75224"/>
                    </a:lnTo>
                    <a:lnTo>
                      <a:pt x="896" y="87201"/>
                    </a:lnTo>
                    <a:lnTo>
                      <a:pt x="1231" y="98283"/>
                    </a:lnTo>
                    <a:lnTo>
                      <a:pt x="12537" y="98283"/>
                    </a:lnTo>
                    <a:lnTo>
                      <a:pt x="12537" y="3471"/>
                    </a:lnTo>
                    <a:lnTo>
                      <a:pt x="12537" y="3471"/>
                    </a:lnTo>
                    <a:lnTo>
                      <a:pt x="12537" y="3359"/>
                    </a:lnTo>
                    <a:lnTo>
                      <a:pt x="12537" y="3359"/>
                    </a:lnTo>
                    <a:lnTo>
                      <a:pt x="12537" y="3359"/>
                    </a:lnTo>
                    <a:lnTo>
                      <a:pt x="12537" y="2911"/>
                    </a:lnTo>
                    <a:lnTo>
                      <a:pt x="12537" y="2911"/>
                    </a:lnTo>
                    <a:lnTo>
                      <a:pt x="12537" y="2911"/>
                    </a:lnTo>
                    <a:lnTo>
                      <a:pt x="12537" y="2911"/>
                    </a:lnTo>
                    <a:lnTo>
                      <a:pt x="12425" y="2575"/>
                    </a:lnTo>
                    <a:lnTo>
                      <a:pt x="12425" y="2575"/>
                    </a:lnTo>
                    <a:lnTo>
                      <a:pt x="12425" y="2575"/>
                    </a:lnTo>
                    <a:lnTo>
                      <a:pt x="12425" y="2463"/>
                    </a:lnTo>
                    <a:lnTo>
                      <a:pt x="12425" y="2463"/>
                    </a:lnTo>
                    <a:lnTo>
                      <a:pt x="12425" y="2463"/>
                    </a:lnTo>
                    <a:lnTo>
                      <a:pt x="12201" y="2127"/>
                    </a:lnTo>
                    <a:lnTo>
                      <a:pt x="12201" y="2127"/>
                    </a:lnTo>
                    <a:lnTo>
                      <a:pt x="12201" y="2127"/>
                    </a:lnTo>
                    <a:lnTo>
                      <a:pt x="12089" y="1791"/>
                    </a:lnTo>
                    <a:lnTo>
                      <a:pt x="12089" y="1791"/>
                    </a:lnTo>
                    <a:lnTo>
                      <a:pt x="11866" y="1568"/>
                    </a:lnTo>
                    <a:lnTo>
                      <a:pt x="11866" y="1568"/>
                    </a:lnTo>
                    <a:lnTo>
                      <a:pt x="11306" y="896"/>
                    </a:lnTo>
                    <a:lnTo>
                      <a:pt x="11306" y="896"/>
                    </a:lnTo>
                    <a:lnTo>
                      <a:pt x="11194" y="784"/>
                    </a:lnTo>
                    <a:lnTo>
                      <a:pt x="11194" y="784"/>
                    </a:lnTo>
                    <a:lnTo>
                      <a:pt x="10634" y="448"/>
                    </a:lnTo>
                    <a:lnTo>
                      <a:pt x="9963" y="224"/>
                    </a:lnTo>
                    <a:lnTo>
                      <a:pt x="9963" y="224"/>
                    </a:lnTo>
                    <a:lnTo>
                      <a:pt x="9963" y="224"/>
                    </a:lnTo>
                    <a:lnTo>
                      <a:pt x="9627" y="112"/>
                    </a:lnTo>
                    <a:lnTo>
                      <a:pt x="9627" y="112"/>
                    </a:lnTo>
                    <a:lnTo>
                      <a:pt x="9627" y="112"/>
                    </a:lnTo>
                    <a:lnTo>
                      <a:pt x="9627" y="112"/>
                    </a:lnTo>
                    <a:lnTo>
                      <a:pt x="9627" y="112"/>
                    </a:lnTo>
                    <a:lnTo>
                      <a:pt x="873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85" name="Google Shape;1905;p16">
                <a:extLst>
                  <a:ext uri="{FF2B5EF4-FFF2-40B4-BE49-F238E27FC236}">
                    <a16:creationId xmlns:a16="http://schemas.microsoft.com/office/drawing/2014/main" id="{722BCA7E-927F-2B10-3E61-E85F3D03D52E}"/>
                  </a:ext>
                </a:extLst>
              </p:cNvPr>
              <p:cNvSpPr/>
              <p:nvPr/>
            </p:nvSpPr>
            <p:spPr>
              <a:xfrm>
                <a:off x="3219500" y="3336025"/>
                <a:ext cx="859175" cy="2140850"/>
              </a:xfrm>
              <a:custGeom>
                <a:avLst/>
                <a:gdLst/>
                <a:ahLst/>
                <a:cxnLst/>
                <a:rect l="l" t="t" r="r" b="b"/>
                <a:pathLst>
                  <a:path w="34367" h="85634" extrusionOk="0">
                    <a:moveTo>
                      <a:pt x="3807" y="1"/>
                    </a:moveTo>
                    <a:lnTo>
                      <a:pt x="3023" y="113"/>
                    </a:lnTo>
                    <a:lnTo>
                      <a:pt x="2352" y="336"/>
                    </a:lnTo>
                    <a:lnTo>
                      <a:pt x="1680" y="672"/>
                    </a:lnTo>
                    <a:lnTo>
                      <a:pt x="1120" y="1008"/>
                    </a:lnTo>
                    <a:lnTo>
                      <a:pt x="673" y="1568"/>
                    </a:lnTo>
                    <a:lnTo>
                      <a:pt x="337" y="2127"/>
                    </a:lnTo>
                    <a:lnTo>
                      <a:pt x="113" y="2799"/>
                    </a:lnTo>
                    <a:lnTo>
                      <a:pt x="1" y="3471"/>
                    </a:lnTo>
                    <a:lnTo>
                      <a:pt x="1" y="85634"/>
                    </a:lnTo>
                    <a:lnTo>
                      <a:pt x="34366" y="85634"/>
                    </a:lnTo>
                    <a:lnTo>
                      <a:pt x="34366" y="3471"/>
                    </a:lnTo>
                    <a:lnTo>
                      <a:pt x="34254" y="2799"/>
                    </a:lnTo>
                    <a:lnTo>
                      <a:pt x="34030" y="2127"/>
                    </a:lnTo>
                    <a:lnTo>
                      <a:pt x="33695" y="1568"/>
                    </a:lnTo>
                    <a:lnTo>
                      <a:pt x="33247" y="1008"/>
                    </a:lnTo>
                    <a:lnTo>
                      <a:pt x="32575" y="560"/>
                    </a:lnTo>
                    <a:lnTo>
                      <a:pt x="32015" y="336"/>
                    </a:lnTo>
                    <a:lnTo>
                      <a:pt x="31232" y="113"/>
                    </a:lnTo>
                    <a:lnTo>
                      <a:pt x="30448" y="1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86" name="Google Shape;1906;p16">
                <a:extLst>
                  <a:ext uri="{FF2B5EF4-FFF2-40B4-BE49-F238E27FC236}">
                    <a16:creationId xmlns:a16="http://schemas.microsoft.com/office/drawing/2014/main" id="{44670FAB-C545-3657-F565-525E84B5DABE}"/>
                  </a:ext>
                </a:extLst>
              </p:cNvPr>
              <p:cNvSpPr/>
              <p:nvPr/>
            </p:nvSpPr>
            <p:spPr>
              <a:xfrm>
                <a:off x="3219500" y="3336025"/>
                <a:ext cx="859175" cy="2140850"/>
              </a:xfrm>
              <a:custGeom>
                <a:avLst/>
                <a:gdLst/>
                <a:ahLst/>
                <a:cxnLst/>
                <a:rect l="l" t="t" r="r" b="b"/>
                <a:pathLst>
                  <a:path w="34367" h="85634" fill="none" extrusionOk="0">
                    <a:moveTo>
                      <a:pt x="34366" y="85634"/>
                    </a:moveTo>
                    <a:lnTo>
                      <a:pt x="34366" y="3471"/>
                    </a:lnTo>
                    <a:lnTo>
                      <a:pt x="34366" y="3471"/>
                    </a:lnTo>
                    <a:lnTo>
                      <a:pt x="34254" y="2799"/>
                    </a:lnTo>
                    <a:lnTo>
                      <a:pt x="34030" y="2127"/>
                    </a:lnTo>
                    <a:lnTo>
                      <a:pt x="33695" y="1568"/>
                    </a:lnTo>
                    <a:lnTo>
                      <a:pt x="33247" y="1008"/>
                    </a:lnTo>
                    <a:lnTo>
                      <a:pt x="32575" y="560"/>
                    </a:lnTo>
                    <a:lnTo>
                      <a:pt x="32015" y="336"/>
                    </a:lnTo>
                    <a:lnTo>
                      <a:pt x="31232" y="113"/>
                    </a:lnTo>
                    <a:lnTo>
                      <a:pt x="30448" y="1"/>
                    </a:lnTo>
                    <a:lnTo>
                      <a:pt x="3807" y="1"/>
                    </a:lnTo>
                    <a:lnTo>
                      <a:pt x="3807" y="1"/>
                    </a:lnTo>
                    <a:lnTo>
                      <a:pt x="3023" y="113"/>
                    </a:lnTo>
                    <a:lnTo>
                      <a:pt x="2352" y="336"/>
                    </a:lnTo>
                    <a:lnTo>
                      <a:pt x="1680" y="672"/>
                    </a:lnTo>
                    <a:lnTo>
                      <a:pt x="1120" y="1008"/>
                    </a:lnTo>
                    <a:lnTo>
                      <a:pt x="673" y="1568"/>
                    </a:lnTo>
                    <a:lnTo>
                      <a:pt x="337" y="2127"/>
                    </a:lnTo>
                    <a:lnTo>
                      <a:pt x="113" y="2799"/>
                    </a:lnTo>
                    <a:lnTo>
                      <a:pt x="1" y="3471"/>
                    </a:lnTo>
                    <a:lnTo>
                      <a:pt x="1" y="85634"/>
                    </a:lnTo>
                    <a:lnTo>
                      <a:pt x="34366" y="85634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87" name="Google Shape;1907;p16">
                <a:extLst>
                  <a:ext uri="{FF2B5EF4-FFF2-40B4-BE49-F238E27FC236}">
                    <a16:creationId xmlns:a16="http://schemas.microsoft.com/office/drawing/2014/main" id="{6C2258D9-A160-7D04-938B-52AF6B8B36FC}"/>
                  </a:ext>
                </a:extLst>
              </p:cNvPr>
              <p:cNvSpPr/>
              <p:nvPr/>
            </p:nvSpPr>
            <p:spPr>
              <a:xfrm>
                <a:off x="3765200" y="3336025"/>
                <a:ext cx="313475" cy="2140850"/>
              </a:xfrm>
              <a:custGeom>
                <a:avLst/>
                <a:gdLst/>
                <a:ahLst/>
                <a:cxnLst/>
                <a:rect l="l" t="t" r="r" b="b"/>
                <a:pathLst>
                  <a:path w="12539" h="85634" extrusionOk="0">
                    <a:moveTo>
                      <a:pt x="1" y="1"/>
                    </a:moveTo>
                    <a:lnTo>
                      <a:pt x="1" y="12202"/>
                    </a:lnTo>
                    <a:lnTo>
                      <a:pt x="1" y="24068"/>
                    </a:lnTo>
                    <a:lnTo>
                      <a:pt x="113" y="35709"/>
                    </a:lnTo>
                    <a:lnTo>
                      <a:pt x="225" y="46903"/>
                    </a:lnTo>
                    <a:lnTo>
                      <a:pt x="449" y="57649"/>
                    </a:lnTo>
                    <a:lnTo>
                      <a:pt x="785" y="67724"/>
                    </a:lnTo>
                    <a:lnTo>
                      <a:pt x="1232" y="77127"/>
                    </a:lnTo>
                    <a:lnTo>
                      <a:pt x="1680" y="85634"/>
                    </a:lnTo>
                    <a:lnTo>
                      <a:pt x="12538" y="85634"/>
                    </a:lnTo>
                    <a:lnTo>
                      <a:pt x="12538" y="3471"/>
                    </a:lnTo>
                    <a:lnTo>
                      <a:pt x="12426" y="2799"/>
                    </a:lnTo>
                    <a:lnTo>
                      <a:pt x="12202" y="2127"/>
                    </a:lnTo>
                    <a:lnTo>
                      <a:pt x="11867" y="1568"/>
                    </a:lnTo>
                    <a:lnTo>
                      <a:pt x="11419" y="1008"/>
                    </a:lnTo>
                    <a:lnTo>
                      <a:pt x="10747" y="560"/>
                    </a:lnTo>
                    <a:lnTo>
                      <a:pt x="10187" y="336"/>
                    </a:lnTo>
                    <a:lnTo>
                      <a:pt x="9404" y="113"/>
                    </a:lnTo>
                    <a:lnTo>
                      <a:pt x="8620" y="1"/>
                    </a:lnTo>
                    <a:close/>
                  </a:path>
                </a:pathLst>
              </a:custGeom>
              <a:solidFill>
                <a:srgbClr val="D25F3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88" name="Google Shape;1908;p16">
                <a:extLst>
                  <a:ext uri="{FF2B5EF4-FFF2-40B4-BE49-F238E27FC236}">
                    <a16:creationId xmlns:a16="http://schemas.microsoft.com/office/drawing/2014/main" id="{1F861B88-D0B1-9E34-4E3A-50C0CE417F74}"/>
                  </a:ext>
                </a:extLst>
              </p:cNvPr>
              <p:cNvSpPr/>
              <p:nvPr/>
            </p:nvSpPr>
            <p:spPr>
              <a:xfrm>
                <a:off x="3765200" y="3336025"/>
                <a:ext cx="313475" cy="2140850"/>
              </a:xfrm>
              <a:custGeom>
                <a:avLst/>
                <a:gdLst/>
                <a:ahLst/>
                <a:cxnLst/>
                <a:rect l="l" t="t" r="r" b="b"/>
                <a:pathLst>
                  <a:path w="12539" h="85634" fill="none" extrusionOk="0">
                    <a:moveTo>
                      <a:pt x="8620" y="1"/>
                    </a:moveTo>
                    <a:lnTo>
                      <a:pt x="8620" y="1"/>
                    </a:lnTo>
                    <a:lnTo>
                      <a:pt x="8620" y="1"/>
                    </a:lnTo>
                    <a:lnTo>
                      <a:pt x="8620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2202"/>
                    </a:lnTo>
                    <a:lnTo>
                      <a:pt x="1" y="24068"/>
                    </a:lnTo>
                    <a:lnTo>
                      <a:pt x="113" y="35709"/>
                    </a:lnTo>
                    <a:lnTo>
                      <a:pt x="225" y="46903"/>
                    </a:lnTo>
                    <a:lnTo>
                      <a:pt x="449" y="57649"/>
                    </a:lnTo>
                    <a:lnTo>
                      <a:pt x="785" y="67724"/>
                    </a:lnTo>
                    <a:lnTo>
                      <a:pt x="1232" y="77127"/>
                    </a:lnTo>
                    <a:lnTo>
                      <a:pt x="1680" y="85634"/>
                    </a:lnTo>
                    <a:lnTo>
                      <a:pt x="12538" y="85634"/>
                    </a:lnTo>
                    <a:lnTo>
                      <a:pt x="12538" y="3471"/>
                    </a:lnTo>
                    <a:lnTo>
                      <a:pt x="12538" y="3471"/>
                    </a:lnTo>
                    <a:lnTo>
                      <a:pt x="12426" y="2799"/>
                    </a:lnTo>
                    <a:lnTo>
                      <a:pt x="12202" y="2127"/>
                    </a:lnTo>
                    <a:lnTo>
                      <a:pt x="11867" y="1568"/>
                    </a:lnTo>
                    <a:lnTo>
                      <a:pt x="11419" y="1008"/>
                    </a:lnTo>
                    <a:lnTo>
                      <a:pt x="10747" y="560"/>
                    </a:lnTo>
                    <a:lnTo>
                      <a:pt x="10187" y="336"/>
                    </a:lnTo>
                    <a:lnTo>
                      <a:pt x="9404" y="113"/>
                    </a:lnTo>
                    <a:lnTo>
                      <a:pt x="862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89" name="Google Shape;1909;p16">
                <a:extLst>
                  <a:ext uri="{FF2B5EF4-FFF2-40B4-BE49-F238E27FC236}">
                    <a16:creationId xmlns:a16="http://schemas.microsoft.com/office/drawing/2014/main" id="{D40A911F-5CF8-3921-E17E-87AF7A704BF4}"/>
                  </a:ext>
                </a:extLst>
              </p:cNvPr>
              <p:cNvSpPr/>
              <p:nvPr/>
            </p:nvSpPr>
            <p:spPr>
              <a:xfrm>
                <a:off x="2144900" y="3683050"/>
                <a:ext cx="859150" cy="1793825"/>
              </a:xfrm>
              <a:custGeom>
                <a:avLst/>
                <a:gdLst/>
                <a:ahLst/>
                <a:cxnLst/>
                <a:rect l="l" t="t" r="r" b="b"/>
                <a:pathLst>
                  <a:path w="34366" h="71753" extrusionOk="0">
                    <a:moveTo>
                      <a:pt x="3806" y="0"/>
                    </a:moveTo>
                    <a:lnTo>
                      <a:pt x="2799" y="112"/>
                    </a:lnTo>
                    <a:lnTo>
                      <a:pt x="1903" y="448"/>
                    </a:lnTo>
                    <a:lnTo>
                      <a:pt x="1232" y="896"/>
                    </a:lnTo>
                    <a:lnTo>
                      <a:pt x="560" y="1567"/>
                    </a:lnTo>
                    <a:lnTo>
                      <a:pt x="336" y="2015"/>
                    </a:lnTo>
                    <a:lnTo>
                      <a:pt x="112" y="2463"/>
                    </a:lnTo>
                    <a:lnTo>
                      <a:pt x="0" y="2910"/>
                    </a:lnTo>
                    <a:lnTo>
                      <a:pt x="0" y="3470"/>
                    </a:lnTo>
                    <a:lnTo>
                      <a:pt x="0" y="71753"/>
                    </a:lnTo>
                    <a:lnTo>
                      <a:pt x="34366" y="71753"/>
                    </a:lnTo>
                    <a:lnTo>
                      <a:pt x="34254" y="3470"/>
                    </a:lnTo>
                    <a:lnTo>
                      <a:pt x="34254" y="2910"/>
                    </a:lnTo>
                    <a:lnTo>
                      <a:pt x="34030" y="2351"/>
                    </a:lnTo>
                    <a:lnTo>
                      <a:pt x="33806" y="1791"/>
                    </a:lnTo>
                    <a:lnTo>
                      <a:pt x="33470" y="1343"/>
                    </a:lnTo>
                    <a:lnTo>
                      <a:pt x="32910" y="784"/>
                    </a:lnTo>
                    <a:lnTo>
                      <a:pt x="32239" y="336"/>
                    </a:lnTo>
                    <a:lnTo>
                      <a:pt x="31455" y="112"/>
                    </a:lnTo>
                    <a:lnTo>
                      <a:pt x="30560" y="0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90" name="Google Shape;1910;p16">
                <a:extLst>
                  <a:ext uri="{FF2B5EF4-FFF2-40B4-BE49-F238E27FC236}">
                    <a16:creationId xmlns:a16="http://schemas.microsoft.com/office/drawing/2014/main" id="{F7F066CB-6145-D89F-520C-C3484DB356F3}"/>
                  </a:ext>
                </a:extLst>
              </p:cNvPr>
              <p:cNvSpPr/>
              <p:nvPr/>
            </p:nvSpPr>
            <p:spPr>
              <a:xfrm>
                <a:off x="2144900" y="3683050"/>
                <a:ext cx="859150" cy="1793825"/>
              </a:xfrm>
              <a:custGeom>
                <a:avLst/>
                <a:gdLst/>
                <a:ahLst/>
                <a:cxnLst/>
                <a:rect l="l" t="t" r="r" b="b"/>
                <a:pathLst>
                  <a:path w="34366" h="71753" fill="none" extrusionOk="0">
                    <a:moveTo>
                      <a:pt x="34366" y="71753"/>
                    </a:moveTo>
                    <a:lnTo>
                      <a:pt x="34254" y="3470"/>
                    </a:lnTo>
                    <a:lnTo>
                      <a:pt x="34254" y="3470"/>
                    </a:lnTo>
                    <a:lnTo>
                      <a:pt x="34254" y="2910"/>
                    </a:lnTo>
                    <a:lnTo>
                      <a:pt x="34030" y="2351"/>
                    </a:lnTo>
                    <a:lnTo>
                      <a:pt x="33806" y="1791"/>
                    </a:lnTo>
                    <a:lnTo>
                      <a:pt x="33470" y="1343"/>
                    </a:lnTo>
                    <a:lnTo>
                      <a:pt x="33470" y="1343"/>
                    </a:lnTo>
                    <a:lnTo>
                      <a:pt x="32910" y="784"/>
                    </a:lnTo>
                    <a:lnTo>
                      <a:pt x="32239" y="336"/>
                    </a:lnTo>
                    <a:lnTo>
                      <a:pt x="31455" y="112"/>
                    </a:lnTo>
                    <a:lnTo>
                      <a:pt x="30560" y="0"/>
                    </a:lnTo>
                    <a:lnTo>
                      <a:pt x="30448" y="0"/>
                    </a:lnTo>
                    <a:lnTo>
                      <a:pt x="28657" y="0"/>
                    </a:lnTo>
                    <a:lnTo>
                      <a:pt x="21828" y="0"/>
                    </a:lnTo>
                    <a:lnTo>
                      <a:pt x="4702" y="0"/>
                    </a:lnTo>
                    <a:lnTo>
                      <a:pt x="3806" y="0"/>
                    </a:lnTo>
                    <a:lnTo>
                      <a:pt x="3806" y="0"/>
                    </a:lnTo>
                    <a:lnTo>
                      <a:pt x="2799" y="112"/>
                    </a:lnTo>
                    <a:lnTo>
                      <a:pt x="1903" y="448"/>
                    </a:lnTo>
                    <a:lnTo>
                      <a:pt x="1232" y="896"/>
                    </a:lnTo>
                    <a:lnTo>
                      <a:pt x="560" y="1567"/>
                    </a:lnTo>
                    <a:lnTo>
                      <a:pt x="560" y="1567"/>
                    </a:lnTo>
                    <a:lnTo>
                      <a:pt x="560" y="1567"/>
                    </a:lnTo>
                    <a:lnTo>
                      <a:pt x="336" y="2015"/>
                    </a:lnTo>
                    <a:lnTo>
                      <a:pt x="112" y="2463"/>
                    </a:lnTo>
                    <a:lnTo>
                      <a:pt x="0" y="2910"/>
                    </a:lnTo>
                    <a:lnTo>
                      <a:pt x="0" y="3470"/>
                    </a:lnTo>
                    <a:lnTo>
                      <a:pt x="0" y="71753"/>
                    </a:lnTo>
                    <a:lnTo>
                      <a:pt x="34366" y="71753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91" name="Google Shape;1911;p16">
                <a:extLst>
                  <a:ext uri="{FF2B5EF4-FFF2-40B4-BE49-F238E27FC236}">
                    <a16:creationId xmlns:a16="http://schemas.microsoft.com/office/drawing/2014/main" id="{382A1A1F-41D7-6D3E-BDC4-25CBBF0554EC}"/>
                  </a:ext>
                </a:extLst>
              </p:cNvPr>
              <p:cNvSpPr/>
              <p:nvPr/>
            </p:nvSpPr>
            <p:spPr>
              <a:xfrm>
                <a:off x="2690600" y="3683050"/>
                <a:ext cx="313450" cy="1793825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71753" extrusionOk="0">
                    <a:moveTo>
                      <a:pt x="0" y="0"/>
                    </a:moveTo>
                    <a:lnTo>
                      <a:pt x="0" y="1791"/>
                    </a:lnTo>
                    <a:lnTo>
                      <a:pt x="0" y="1903"/>
                    </a:lnTo>
                    <a:lnTo>
                      <a:pt x="112" y="16007"/>
                    </a:lnTo>
                    <a:lnTo>
                      <a:pt x="448" y="34701"/>
                    </a:lnTo>
                    <a:lnTo>
                      <a:pt x="784" y="44776"/>
                    </a:lnTo>
                    <a:lnTo>
                      <a:pt x="1120" y="54626"/>
                    </a:lnTo>
                    <a:lnTo>
                      <a:pt x="1568" y="63693"/>
                    </a:lnTo>
                    <a:lnTo>
                      <a:pt x="2127" y="71753"/>
                    </a:lnTo>
                    <a:lnTo>
                      <a:pt x="12538" y="71753"/>
                    </a:lnTo>
                    <a:lnTo>
                      <a:pt x="12426" y="3470"/>
                    </a:lnTo>
                    <a:lnTo>
                      <a:pt x="12426" y="2910"/>
                    </a:lnTo>
                    <a:lnTo>
                      <a:pt x="12202" y="2351"/>
                    </a:lnTo>
                    <a:lnTo>
                      <a:pt x="11978" y="1791"/>
                    </a:lnTo>
                    <a:lnTo>
                      <a:pt x="11642" y="1343"/>
                    </a:lnTo>
                    <a:lnTo>
                      <a:pt x="11082" y="784"/>
                    </a:lnTo>
                    <a:lnTo>
                      <a:pt x="10411" y="336"/>
                    </a:lnTo>
                    <a:lnTo>
                      <a:pt x="9627" y="112"/>
                    </a:lnTo>
                    <a:lnTo>
                      <a:pt x="8732" y="0"/>
                    </a:lnTo>
                    <a:close/>
                  </a:path>
                </a:pathLst>
              </a:custGeom>
              <a:solidFill>
                <a:srgbClr val="D25F3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92" name="Google Shape;1912;p16">
                <a:extLst>
                  <a:ext uri="{FF2B5EF4-FFF2-40B4-BE49-F238E27FC236}">
                    <a16:creationId xmlns:a16="http://schemas.microsoft.com/office/drawing/2014/main" id="{C5B4FBB4-4256-3FC2-ECD0-E0EFB81B0893}"/>
                  </a:ext>
                </a:extLst>
              </p:cNvPr>
              <p:cNvSpPr/>
              <p:nvPr/>
            </p:nvSpPr>
            <p:spPr>
              <a:xfrm>
                <a:off x="2690600" y="3683050"/>
                <a:ext cx="313450" cy="1793825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71753" fill="none" extrusionOk="0">
                    <a:moveTo>
                      <a:pt x="8620" y="0"/>
                    </a:moveTo>
                    <a:lnTo>
                      <a:pt x="6829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791"/>
                    </a:lnTo>
                    <a:lnTo>
                      <a:pt x="0" y="1903"/>
                    </a:lnTo>
                    <a:lnTo>
                      <a:pt x="0" y="1903"/>
                    </a:lnTo>
                    <a:lnTo>
                      <a:pt x="112" y="16007"/>
                    </a:lnTo>
                    <a:lnTo>
                      <a:pt x="448" y="34701"/>
                    </a:lnTo>
                    <a:lnTo>
                      <a:pt x="784" y="44776"/>
                    </a:lnTo>
                    <a:lnTo>
                      <a:pt x="1120" y="54626"/>
                    </a:lnTo>
                    <a:lnTo>
                      <a:pt x="1568" y="63693"/>
                    </a:lnTo>
                    <a:lnTo>
                      <a:pt x="2127" y="71753"/>
                    </a:lnTo>
                    <a:lnTo>
                      <a:pt x="12538" y="71753"/>
                    </a:lnTo>
                    <a:lnTo>
                      <a:pt x="12426" y="3470"/>
                    </a:lnTo>
                    <a:lnTo>
                      <a:pt x="12426" y="3470"/>
                    </a:lnTo>
                    <a:lnTo>
                      <a:pt x="12426" y="2910"/>
                    </a:lnTo>
                    <a:lnTo>
                      <a:pt x="12202" y="2351"/>
                    </a:lnTo>
                    <a:lnTo>
                      <a:pt x="11978" y="1791"/>
                    </a:lnTo>
                    <a:lnTo>
                      <a:pt x="11642" y="1343"/>
                    </a:lnTo>
                    <a:lnTo>
                      <a:pt x="11642" y="1343"/>
                    </a:lnTo>
                    <a:lnTo>
                      <a:pt x="11082" y="784"/>
                    </a:lnTo>
                    <a:lnTo>
                      <a:pt x="10411" y="336"/>
                    </a:lnTo>
                    <a:lnTo>
                      <a:pt x="9627" y="112"/>
                    </a:lnTo>
                    <a:lnTo>
                      <a:pt x="8732" y="0"/>
                    </a:lnTo>
                    <a:lnTo>
                      <a:pt x="862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93" name="Google Shape;1913;p16">
                <a:extLst>
                  <a:ext uri="{FF2B5EF4-FFF2-40B4-BE49-F238E27FC236}">
                    <a16:creationId xmlns:a16="http://schemas.microsoft.com/office/drawing/2014/main" id="{818EBE10-FE26-BFA3-5C1C-7D5009BF7573}"/>
                  </a:ext>
                </a:extLst>
              </p:cNvPr>
              <p:cNvSpPr/>
              <p:nvPr/>
            </p:nvSpPr>
            <p:spPr>
              <a:xfrm>
                <a:off x="5281975" y="1225975"/>
                <a:ext cx="165150" cy="134350"/>
              </a:xfrm>
              <a:custGeom>
                <a:avLst/>
                <a:gdLst/>
                <a:ahLst/>
                <a:cxnLst/>
                <a:rect l="l" t="t" r="r" b="b"/>
                <a:pathLst>
                  <a:path w="6606" h="5374" extrusionOk="0">
                    <a:moveTo>
                      <a:pt x="5822" y="1"/>
                    </a:moveTo>
                    <a:lnTo>
                      <a:pt x="5262" y="112"/>
                    </a:lnTo>
                    <a:lnTo>
                      <a:pt x="4366" y="560"/>
                    </a:lnTo>
                    <a:lnTo>
                      <a:pt x="4031" y="896"/>
                    </a:lnTo>
                    <a:lnTo>
                      <a:pt x="3471" y="1344"/>
                    </a:lnTo>
                    <a:lnTo>
                      <a:pt x="2799" y="2015"/>
                    </a:lnTo>
                    <a:lnTo>
                      <a:pt x="1568" y="2575"/>
                    </a:lnTo>
                    <a:lnTo>
                      <a:pt x="337" y="3247"/>
                    </a:lnTo>
                    <a:lnTo>
                      <a:pt x="1" y="3583"/>
                    </a:lnTo>
                    <a:lnTo>
                      <a:pt x="1120" y="5374"/>
                    </a:lnTo>
                    <a:lnTo>
                      <a:pt x="1792" y="4814"/>
                    </a:lnTo>
                    <a:lnTo>
                      <a:pt x="2240" y="4478"/>
                    </a:lnTo>
                    <a:lnTo>
                      <a:pt x="3023" y="4030"/>
                    </a:lnTo>
                    <a:lnTo>
                      <a:pt x="3471" y="3806"/>
                    </a:lnTo>
                    <a:lnTo>
                      <a:pt x="3919" y="3694"/>
                    </a:lnTo>
                    <a:lnTo>
                      <a:pt x="4814" y="3583"/>
                    </a:lnTo>
                    <a:lnTo>
                      <a:pt x="5262" y="3471"/>
                    </a:lnTo>
                    <a:lnTo>
                      <a:pt x="5486" y="3359"/>
                    </a:lnTo>
                    <a:lnTo>
                      <a:pt x="5486" y="3135"/>
                    </a:lnTo>
                    <a:lnTo>
                      <a:pt x="5486" y="3023"/>
                    </a:lnTo>
                    <a:lnTo>
                      <a:pt x="5486" y="2799"/>
                    </a:lnTo>
                    <a:lnTo>
                      <a:pt x="5486" y="2463"/>
                    </a:lnTo>
                    <a:lnTo>
                      <a:pt x="5822" y="2127"/>
                    </a:lnTo>
                    <a:lnTo>
                      <a:pt x="6269" y="1680"/>
                    </a:lnTo>
                    <a:lnTo>
                      <a:pt x="6493" y="1456"/>
                    </a:lnTo>
                    <a:lnTo>
                      <a:pt x="6605" y="1120"/>
                    </a:lnTo>
                    <a:lnTo>
                      <a:pt x="6605" y="672"/>
                    </a:lnTo>
                    <a:lnTo>
                      <a:pt x="6493" y="336"/>
                    </a:lnTo>
                    <a:lnTo>
                      <a:pt x="6269" y="112"/>
                    </a:lnTo>
                    <a:lnTo>
                      <a:pt x="5822" y="1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94" name="Google Shape;1914;p16">
                <a:extLst>
                  <a:ext uri="{FF2B5EF4-FFF2-40B4-BE49-F238E27FC236}">
                    <a16:creationId xmlns:a16="http://schemas.microsoft.com/office/drawing/2014/main" id="{8C044F81-E761-D02F-57CE-7A4C8094B287}"/>
                  </a:ext>
                </a:extLst>
              </p:cNvPr>
              <p:cNvSpPr/>
              <p:nvPr/>
            </p:nvSpPr>
            <p:spPr>
              <a:xfrm>
                <a:off x="4719500" y="1847225"/>
                <a:ext cx="302250" cy="1119425"/>
              </a:xfrm>
              <a:custGeom>
                <a:avLst/>
                <a:gdLst/>
                <a:ahLst/>
                <a:cxnLst/>
                <a:rect l="l" t="t" r="r" b="b"/>
                <a:pathLst>
                  <a:path w="12090" h="44777" extrusionOk="0">
                    <a:moveTo>
                      <a:pt x="6269" y="1"/>
                    </a:moveTo>
                    <a:lnTo>
                      <a:pt x="5821" y="225"/>
                    </a:lnTo>
                    <a:lnTo>
                      <a:pt x="5485" y="449"/>
                    </a:lnTo>
                    <a:lnTo>
                      <a:pt x="5149" y="785"/>
                    </a:lnTo>
                    <a:lnTo>
                      <a:pt x="4814" y="1232"/>
                    </a:lnTo>
                    <a:lnTo>
                      <a:pt x="4366" y="2352"/>
                    </a:lnTo>
                    <a:lnTo>
                      <a:pt x="4030" y="3471"/>
                    </a:lnTo>
                    <a:lnTo>
                      <a:pt x="3918" y="4590"/>
                    </a:lnTo>
                    <a:lnTo>
                      <a:pt x="3806" y="5598"/>
                    </a:lnTo>
                    <a:lnTo>
                      <a:pt x="3918" y="6270"/>
                    </a:lnTo>
                    <a:lnTo>
                      <a:pt x="4030" y="7053"/>
                    </a:lnTo>
                    <a:lnTo>
                      <a:pt x="4254" y="8508"/>
                    </a:lnTo>
                    <a:lnTo>
                      <a:pt x="4254" y="10076"/>
                    </a:lnTo>
                    <a:lnTo>
                      <a:pt x="4254" y="10859"/>
                    </a:lnTo>
                    <a:lnTo>
                      <a:pt x="4254" y="16344"/>
                    </a:lnTo>
                    <a:lnTo>
                      <a:pt x="4254" y="18359"/>
                    </a:lnTo>
                    <a:lnTo>
                      <a:pt x="4030" y="21381"/>
                    </a:lnTo>
                    <a:lnTo>
                      <a:pt x="4030" y="22501"/>
                    </a:lnTo>
                    <a:lnTo>
                      <a:pt x="3918" y="23284"/>
                    </a:lnTo>
                    <a:lnTo>
                      <a:pt x="1791" y="33471"/>
                    </a:lnTo>
                    <a:lnTo>
                      <a:pt x="0" y="42426"/>
                    </a:lnTo>
                    <a:lnTo>
                      <a:pt x="1679" y="44777"/>
                    </a:lnTo>
                    <a:lnTo>
                      <a:pt x="4478" y="44441"/>
                    </a:lnTo>
                    <a:lnTo>
                      <a:pt x="3470" y="42650"/>
                    </a:lnTo>
                    <a:lnTo>
                      <a:pt x="3246" y="42202"/>
                    </a:lnTo>
                    <a:lnTo>
                      <a:pt x="3022" y="41754"/>
                    </a:lnTo>
                    <a:lnTo>
                      <a:pt x="2911" y="41083"/>
                    </a:lnTo>
                    <a:lnTo>
                      <a:pt x="2911" y="40075"/>
                    </a:lnTo>
                    <a:lnTo>
                      <a:pt x="3022" y="39515"/>
                    </a:lnTo>
                    <a:lnTo>
                      <a:pt x="3470" y="38396"/>
                    </a:lnTo>
                    <a:lnTo>
                      <a:pt x="4925" y="34926"/>
                    </a:lnTo>
                    <a:lnTo>
                      <a:pt x="5821" y="32575"/>
                    </a:lnTo>
                    <a:lnTo>
                      <a:pt x="6716" y="30001"/>
                    </a:lnTo>
                    <a:lnTo>
                      <a:pt x="7500" y="27202"/>
                    </a:lnTo>
                    <a:lnTo>
                      <a:pt x="8284" y="24180"/>
                    </a:lnTo>
                    <a:lnTo>
                      <a:pt x="9515" y="18135"/>
                    </a:lnTo>
                    <a:lnTo>
                      <a:pt x="9627" y="17016"/>
                    </a:lnTo>
                    <a:lnTo>
                      <a:pt x="12090" y="5598"/>
                    </a:lnTo>
                    <a:lnTo>
                      <a:pt x="11978" y="4926"/>
                    </a:lnTo>
                    <a:lnTo>
                      <a:pt x="11754" y="4367"/>
                    </a:lnTo>
                    <a:lnTo>
                      <a:pt x="11418" y="3583"/>
                    </a:lnTo>
                    <a:lnTo>
                      <a:pt x="10746" y="2688"/>
                    </a:lnTo>
                    <a:lnTo>
                      <a:pt x="9963" y="1792"/>
                    </a:lnTo>
                    <a:lnTo>
                      <a:pt x="9403" y="1344"/>
                    </a:lnTo>
                    <a:lnTo>
                      <a:pt x="8731" y="897"/>
                    </a:lnTo>
                    <a:lnTo>
                      <a:pt x="8060" y="449"/>
                    </a:lnTo>
                    <a:lnTo>
                      <a:pt x="7164" y="113"/>
                    </a:lnTo>
                    <a:lnTo>
                      <a:pt x="6716" y="1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95" name="Google Shape;1915;p16">
                <a:extLst>
                  <a:ext uri="{FF2B5EF4-FFF2-40B4-BE49-F238E27FC236}">
                    <a16:creationId xmlns:a16="http://schemas.microsoft.com/office/drawing/2014/main" id="{B5D70D55-DA68-CACA-080D-3957BE0FCCEA}"/>
                  </a:ext>
                </a:extLst>
              </p:cNvPr>
              <p:cNvSpPr/>
              <p:nvPr/>
            </p:nvSpPr>
            <p:spPr>
              <a:xfrm>
                <a:off x="4719500" y="1847225"/>
                <a:ext cx="302250" cy="1119425"/>
              </a:xfrm>
              <a:custGeom>
                <a:avLst/>
                <a:gdLst/>
                <a:ahLst/>
                <a:cxnLst/>
                <a:rect l="l" t="t" r="r" b="b"/>
                <a:pathLst>
                  <a:path w="12090" h="44777" fill="none" extrusionOk="0">
                    <a:moveTo>
                      <a:pt x="9515" y="18135"/>
                    </a:moveTo>
                    <a:lnTo>
                      <a:pt x="9515" y="18135"/>
                    </a:lnTo>
                    <a:lnTo>
                      <a:pt x="8284" y="24180"/>
                    </a:lnTo>
                    <a:lnTo>
                      <a:pt x="8284" y="24180"/>
                    </a:lnTo>
                    <a:lnTo>
                      <a:pt x="7500" y="27202"/>
                    </a:lnTo>
                    <a:lnTo>
                      <a:pt x="6716" y="30001"/>
                    </a:lnTo>
                    <a:lnTo>
                      <a:pt x="5821" y="32575"/>
                    </a:lnTo>
                    <a:lnTo>
                      <a:pt x="4925" y="34926"/>
                    </a:lnTo>
                    <a:lnTo>
                      <a:pt x="3470" y="38396"/>
                    </a:lnTo>
                    <a:lnTo>
                      <a:pt x="3022" y="39515"/>
                    </a:lnTo>
                    <a:lnTo>
                      <a:pt x="2911" y="40075"/>
                    </a:lnTo>
                    <a:lnTo>
                      <a:pt x="2911" y="40075"/>
                    </a:lnTo>
                    <a:lnTo>
                      <a:pt x="2911" y="41083"/>
                    </a:lnTo>
                    <a:lnTo>
                      <a:pt x="3022" y="41754"/>
                    </a:lnTo>
                    <a:lnTo>
                      <a:pt x="3246" y="42202"/>
                    </a:lnTo>
                    <a:lnTo>
                      <a:pt x="3470" y="42650"/>
                    </a:lnTo>
                    <a:lnTo>
                      <a:pt x="4478" y="44441"/>
                    </a:lnTo>
                    <a:lnTo>
                      <a:pt x="1679" y="44777"/>
                    </a:lnTo>
                    <a:lnTo>
                      <a:pt x="0" y="42426"/>
                    </a:lnTo>
                    <a:lnTo>
                      <a:pt x="0" y="42426"/>
                    </a:lnTo>
                    <a:lnTo>
                      <a:pt x="1791" y="33471"/>
                    </a:lnTo>
                    <a:lnTo>
                      <a:pt x="3918" y="23284"/>
                    </a:lnTo>
                    <a:lnTo>
                      <a:pt x="3918" y="23284"/>
                    </a:lnTo>
                    <a:lnTo>
                      <a:pt x="4030" y="22501"/>
                    </a:lnTo>
                    <a:lnTo>
                      <a:pt x="4030" y="21381"/>
                    </a:lnTo>
                    <a:lnTo>
                      <a:pt x="4254" y="18359"/>
                    </a:lnTo>
                    <a:lnTo>
                      <a:pt x="4254" y="18359"/>
                    </a:lnTo>
                    <a:lnTo>
                      <a:pt x="4254" y="16344"/>
                    </a:lnTo>
                    <a:lnTo>
                      <a:pt x="4254" y="16344"/>
                    </a:lnTo>
                    <a:lnTo>
                      <a:pt x="4254" y="10859"/>
                    </a:lnTo>
                    <a:lnTo>
                      <a:pt x="4254" y="10859"/>
                    </a:lnTo>
                    <a:lnTo>
                      <a:pt x="4254" y="10076"/>
                    </a:lnTo>
                    <a:lnTo>
                      <a:pt x="4254" y="8508"/>
                    </a:lnTo>
                    <a:lnTo>
                      <a:pt x="4030" y="7053"/>
                    </a:lnTo>
                    <a:lnTo>
                      <a:pt x="3918" y="6270"/>
                    </a:lnTo>
                    <a:lnTo>
                      <a:pt x="3918" y="6270"/>
                    </a:lnTo>
                    <a:lnTo>
                      <a:pt x="3806" y="5598"/>
                    </a:lnTo>
                    <a:lnTo>
                      <a:pt x="3918" y="4590"/>
                    </a:lnTo>
                    <a:lnTo>
                      <a:pt x="4030" y="3471"/>
                    </a:lnTo>
                    <a:lnTo>
                      <a:pt x="4366" y="2352"/>
                    </a:lnTo>
                    <a:lnTo>
                      <a:pt x="4814" y="1232"/>
                    </a:lnTo>
                    <a:lnTo>
                      <a:pt x="5149" y="785"/>
                    </a:lnTo>
                    <a:lnTo>
                      <a:pt x="5485" y="449"/>
                    </a:lnTo>
                    <a:lnTo>
                      <a:pt x="5821" y="225"/>
                    </a:lnTo>
                    <a:lnTo>
                      <a:pt x="6269" y="1"/>
                    </a:lnTo>
                    <a:lnTo>
                      <a:pt x="6716" y="1"/>
                    </a:lnTo>
                    <a:lnTo>
                      <a:pt x="7164" y="113"/>
                    </a:lnTo>
                    <a:lnTo>
                      <a:pt x="7164" y="113"/>
                    </a:lnTo>
                    <a:lnTo>
                      <a:pt x="8060" y="449"/>
                    </a:lnTo>
                    <a:lnTo>
                      <a:pt x="8731" y="897"/>
                    </a:lnTo>
                    <a:lnTo>
                      <a:pt x="9403" y="1344"/>
                    </a:lnTo>
                    <a:lnTo>
                      <a:pt x="9963" y="1792"/>
                    </a:lnTo>
                    <a:lnTo>
                      <a:pt x="10746" y="2688"/>
                    </a:lnTo>
                    <a:lnTo>
                      <a:pt x="11418" y="3583"/>
                    </a:lnTo>
                    <a:lnTo>
                      <a:pt x="11754" y="4367"/>
                    </a:lnTo>
                    <a:lnTo>
                      <a:pt x="11978" y="4926"/>
                    </a:lnTo>
                    <a:lnTo>
                      <a:pt x="12090" y="5598"/>
                    </a:lnTo>
                    <a:lnTo>
                      <a:pt x="12090" y="5598"/>
                    </a:lnTo>
                    <a:lnTo>
                      <a:pt x="9627" y="17016"/>
                    </a:lnTo>
                    <a:lnTo>
                      <a:pt x="9515" y="18135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96" name="Google Shape;1916;p16">
                <a:extLst>
                  <a:ext uri="{FF2B5EF4-FFF2-40B4-BE49-F238E27FC236}">
                    <a16:creationId xmlns:a16="http://schemas.microsoft.com/office/drawing/2014/main" id="{E85A4BCE-3492-E361-448C-56B4EC6AC3B7}"/>
                  </a:ext>
                </a:extLst>
              </p:cNvPr>
              <p:cNvSpPr/>
              <p:nvPr/>
            </p:nvSpPr>
            <p:spPr>
              <a:xfrm>
                <a:off x="4688700" y="2851900"/>
                <a:ext cx="218325" cy="176325"/>
              </a:xfrm>
              <a:custGeom>
                <a:avLst/>
                <a:gdLst/>
                <a:ahLst/>
                <a:cxnLst/>
                <a:rect l="l" t="t" r="r" b="b"/>
                <a:pathLst>
                  <a:path w="8733" h="7053" extrusionOk="0">
                    <a:moveTo>
                      <a:pt x="1456" y="0"/>
                    </a:moveTo>
                    <a:lnTo>
                      <a:pt x="1008" y="336"/>
                    </a:lnTo>
                    <a:lnTo>
                      <a:pt x="561" y="896"/>
                    </a:lnTo>
                    <a:lnTo>
                      <a:pt x="337" y="1231"/>
                    </a:lnTo>
                    <a:lnTo>
                      <a:pt x="225" y="1679"/>
                    </a:lnTo>
                    <a:lnTo>
                      <a:pt x="113" y="2127"/>
                    </a:lnTo>
                    <a:lnTo>
                      <a:pt x="113" y="2687"/>
                    </a:lnTo>
                    <a:lnTo>
                      <a:pt x="225" y="3806"/>
                    </a:lnTo>
                    <a:lnTo>
                      <a:pt x="225" y="4814"/>
                    </a:lnTo>
                    <a:lnTo>
                      <a:pt x="1" y="5709"/>
                    </a:lnTo>
                    <a:lnTo>
                      <a:pt x="449" y="5821"/>
                    </a:lnTo>
                    <a:lnTo>
                      <a:pt x="784" y="4702"/>
                    </a:lnTo>
                    <a:lnTo>
                      <a:pt x="1008" y="3918"/>
                    </a:lnTo>
                    <a:lnTo>
                      <a:pt x="1232" y="3582"/>
                    </a:lnTo>
                    <a:lnTo>
                      <a:pt x="1456" y="3358"/>
                    </a:lnTo>
                    <a:lnTo>
                      <a:pt x="2128" y="4142"/>
                    </a:lnTo>
                    <a:lnTo>
                      <a:pt x="3135" y="5373"/>
                    </a:lnTo>
                    <a:lnTo>
                      <a:pt x="4254" y="6493"/>
                    </a:lnTo>
                    <a:lnTo>
                      <a:pt x="4702" y="6828"/>
                    </a:lnTo>
                    <a:lnTo>
                      <a:pt x="5038" y="6940"/>
                    </a:lnTo>
                    <a:lnTo>
                      <a:pt x="5822" y="7052"/>
                    </a:lnTo>
                    <a:lnTo>
                      <a:pt x="6717" y="6940"/>
                    </a:lnTo>
                    <a:lnTo>
                      <a:pt x="7389" y="6716"/>
                    </a:lnTo>
                    <a:lnTo>
                      <a:pt x="7837" y="6605"/>
                    </a:lnTo>
                    <a:lnTo>
                      <a:pt x="8284" y="6381"/>
                    </a:lnTo>
                    <a:lnTo>
                      <a:pt x="8620" y="6045"/>
                    </a:lnTo>
                    <a:lnTo>
                      <a:pt x="8732" y="5821"/>
                    </a:lnTo>
                    <a:lnTo>
                      <a:pt x="8732" y="5709"/>
                    </a:lnTo>
                    <a:lnTo>
                      <a:pt x="8620" y="5597"/>
                    </a:lnTo>
                    <a:lnTo>
                      <a:pt x="8396" y="5485"/>
                    </a:lnTo>
                    <a:lnTo>
                      <a:pt x="7277" y="5037"/>
                    </a:lnTo>
                    <a:lnTo>
                      <a:pt x="6381" y="4478"/>
                    </a:lnTo>
                    <a:lnTo>
                      <a:pt x="5486" y="3918"/>
                    </a:lnTo>
                    <a:lnTo>
                      <a:pt x="5486" y="3806"/>
                    </a:lnTo>
                    <a:lnTo>
                      <a:pt x="5374" y="3918"/>
                    </a:lnTo>
                    <a:lnTo>
                      <a:pt x="5374" y="4142"/>
                    </a:lnTo>
                    <a:lnTo>
                      <a:pt x="5150" y="4254"/>
                    </a:lnTo>
                    <a:lnTo>
                      <a:pt x="4926" y="4254"/>
                    </a:lnTo>
                    <a:lnTo>
                      <a:pt x="4366" y="4142"/>
                    </a:lnTo>
                    <a:lnTo>
                      <a:pt x="4031" y="3806"/>
                    </a:lnTo>
                    <a:lnTo>
                      <a:pt x="3583" y="3470"/>
                    </a:lnTo>
                    <a:lnTo>
                      <a:pt x="2799" y="2351"/>
                    </a:lnTo>
                    <a:lnTo>
                      <a:pt x="2128" y="1120"/>
                    </a:lnTo>
                    <a:lnTo>
                      <a:pt x="1792" y="112"/>
                    </a:lnTo>
                    <a:lnTo>
                      <a:pt x="168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97" name="Google Shape;1917;p16">
                <a:extLst>
                  <a:ext uri="{FF2B5EF4-FFF2-40B4-BE49-F238E27FC236}">
                    <a16:creationId xmlns:a16="http://schemas.microsoft.com/office/drawing/2014/main" id="{F5E45B82-F87A-FDAE-89E1-3145C4C30A04}"/>
                  </a:ext>
                </a:extLst>
              </p:cNvPr>
              <p:cNvSpPr/>
              <p:nvPr/>
            </p:nvSpPr>
            <p:spPr>
              <a:xfrm>
                <a:off x="4736275" y="1847225"/>
                <a:ext cx="694050" cy="845175"/>
              </a:xfrm>
              <a:custGeom>
                <a:avLst/>
                <a:gdLst/>
                <a:ahLst/>
                <a:cxnLst/>
                <a:rect l="l" t="t" r="r" b="b"/>
                <a:pathLst>
                  <a:path w="27762" h="33807" extrusionOk="0">
                    <a:moveTo>
                      <a:pt x="3471" y="1"/>
                    </a:moveTo>
                    <a:lnTo>
                      <a:pt x="3247" y="113"/>
                    </a:lnTo>
                    <a:lnTo>
                      <a:pt x="449" y="2464"/>
                    </a:lnTo>
                    <a:lnTo>
                      <a:pt x="225" y="2799"/>
                    </a:lnTo>
                    <a:lnTo>
                      <a:pt x="113" y="3471"/>
                    </a:lnTo>
                    <a:lnTo>
                      <a:pt x="1" y="4479"/>
                    </a:lnTo>
                    <a:lnTo>
                      <a:pt x="113" y="4926"/>
                    </a:lnTo>
                    <a:lnTo>
                      <a:pt x="113" y="5374"/>
                    </a:lnTo>
                    <a:lnTo>
                      <a:pt x="337" y="5822"/>
                    </a:lnTo>
                    <a:lnTo>
                      <a:pt x="560" y="6158"/>
                    </a:lnTo>
                    <a:lnTo>
                      <a:pt x="1568" y="6829"/>
                    </a:lnTo>
                    <a:lnTo>
                      <a:pt x="2463" y="7389"/>
                    </a:lnTo>
                    <a:lnTo>
                      <a:pt x="3247" y="7725"/>
                    </a:lnTo>
                    <a:lnTo>
                      <a:pt x="3919" y="7837"/>
                    </a:lnTo>
                    <a:lnTo>
                      <a:pt x="4478" y="7949"/>
                    </a:lnTo>
                    <a:lnTo>
                      <a:pt x="4926" y="7837"/>
                    </a:lnTo>
                    <a:lnTo>
                      <a:pt x="5486" y="7725"/>
                    </a:lnTo>
                    <a:lnTo>
                      <a:pt x="6381" y="6382"/>
                    </a:lnTo>
                    <a:lnTo>
                      <a:pt x="6941" y="5486"/>
                    </a:lnTo>
                    <a:lnTo>
                      <a:pt x="7277" y="5150"/>
                    </a:lnTo>
                    <a:lnTo>
                      <a:pt x="11866" y="8508"/>
                    </a:lnTo>
                    <a:lnTo>
                      <a:pt x="15224" y="10971"/>
                    </a:lnTo>
                    <a:lnTo>
                      <a:pt x="16456" y="11978"/>
                    </a:lnTo>
                    <a:lnTo>
                      <a:pt x="17127" y="12538"/>
                    </a:lnTo>
                    <a:lnTo>
                      <a:pt x="17351" y="12986"/>
                    </a:lnTo>
                    <a:lnTo>
                      <a:pt x="17687" y="13769"/>
                    </a:lnTo>
                    <a:lnTo>
                      <a:pt x="18359" y="16232"/>
                    </a:lnTo>
                    <a:lnTo>
                      <a:pt x="20150" y="23172"/>
                    </a:lnTo>
                    <a:lnTo>
                      <a:pt x="22612" y="33023"/>
                    </a:lnTo>
                    <a:lnTo>
                      <a:pt x="22724" y="33247"/>
                    </a:lnTo>
                    <a:lnTo>
                      <a:pt x="22948" y="33359"/>
                    </a:lnTo>
                    <a:lnTo>
                      <a:pt x="24403" y="33807"/>
                    </a:lnTo>
                    <a:lnTo>
                      <a:pt x="27202" y="33807"/>
                    </a:lnTo>
                    <a:lnTo>
                      <a:pt x="27426" y="33695"/>
                    </a:lnTo>
                    <a:lnTo>
                      <a:pt x="27538" y="33583"/>
                    </a:lnTo>
                    <a:lnTo>
                      <a:pt x="27762" y="33247"/>
                    </a:lnTo>
                    <a:lnTo>
                      <a:pt x="27650" y="32911"/>
                    </a:lnTo>
                    <a:lnTo>
                      <a:pt x="27538" y="32799"/>
                    </a:lnTo>
                    <a:lnTo>
                      <a:pt x="27426" y="32687"/>
                    </a:lnTo>
                    <a:lnTo>
                      <a:pt x="27314" y="32687"/>
                    </a:lnTo>
                    <a:lnTo>
                      <a:pt x="26418" y="32239"/>
                    </a:lnTo>
                    <a:lnTo>
                      <a:pt x="25747" y="31680"/>
                    </a:lnTo>
                    <a:lnTo>
                      <a:pt x="25299" y="31232"/>
                    </a:lnTo>
                    <a:lnTo>
                      <a:pt x="24963" y="30560"/>
                    </a:lnTo>
                    <a:lnTo>
                      <a:pt x="24851" y="29553"/>
                    </a:lnTo>
                    <a:lnTo>
                      <a:pt x="24627" y="27538"/>
                    </a:lnTo>
                    <a:lnTo>
                      <a:pt x="24068" y="21381"/>
                    </a:lnTo>
                    <a:lnTo>
                      <a:pt x="23620" y="17911"/>
                    </a:lnTo>
                    <a:lnTo>
                      <a:pt x="23172" y="14777"/>
                    </a:lnTo>
                    <a:lnTo>
                      <a:pt x="22612" y="12202"/>
                    </a:lnTo>
                    <a:lnTo>
                      <a:pt x="22277" y="11195"/>
                    </a:lnTo>
                    <a:lnTo>
                      <a:pt x="21941" y="10523"/>
                    </a:lnTo>
                    <a:lnTo>
                      <a:pt x="21269" y="9516"/>
                    </a:lnTo>
                    <a:lnTo>
                      <a:pt x="20374" y="8396"/>
                    </a:lnTo>
                    <a:lnTo>
                      <a:pt x="17911" y="5710"/>
                    </a:lnTo>
                    <a:lnTo>
                      <a:pt x="15448" y="3247"/>
                    </a:lnTo>
                    <a:lnTo>
                      <a:pt x="14441" y="2464"/>
                    </a:lnTo>
                    <a:lnTo>
                      <a:pt x="13769" y="1904"/>
                    </a:lnTo>
                    <a:lnTo>
                      <a:pt x="13321" y="1792"/>
                    </a:lnTo>
                    <a:lnTo>
                      <a:pt x="12986" y="2016"/>
                    </a:lnTo>
                    <a:lnTo>
                      <a:pt x="12762" y="2352"/>
                    </a:lnTo>
                    <a:lnTo>
                      <a:pt x="12538" y="2688"/>
                    </a:lnTo>
                    <a:lnTo>
                      <a:pt x="12426" y="3359"/>
                    </a:lnTo>
                    <a:lnTo>
                      <a:pt x="12426" y="3583"/>
                    </a:lnTo>
                    <a:lnTo>
                      <a:pt x="10747" y="2688"/>
                    </a:lnTo>
                    <a:lnTo>
                      <a:pt x="8732" y="1680"/>
                    </a:lnTo>
                    <a:lnTo>
                      <a:pt x="5710" y="337"/>
                    </a:lnTo>
                    <a:lnTo>
                      <a:pt x="5598" y="225"/>
                    </a:lnTo>
                    <a:lnTo>
                      <a:pt x="3695" y="1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98" name="Google Shape;1918;p16">
                <a:extLst>
                  <a:ext uri="{FF2B5EF4-FFF2-40B4-BE49-F238E27FC236}">
                    <a16:creationId xmlns:a16="http://schemas.microsoft.com/office/drawing/2014/main" id="{664506B7-4903-FA53-DE67-EB302CBF2162}"/>
                  </a:ext>
                </a:extLst>
              </p:cNvPr>
              <p:cNvSpPr/>
              <p:nvPr/>
            </p:nvSpPr>
            <p:spPr>
              <a:xfrm>
                <a:off x="4736275" y="1847225"/>
                <a:ext cx="694050" cy="845175"/>
              </a:xfrm>
              <a:custGeom>
                <a:avLst/>
                <a:gdLst/>
                <a:ahLst/>
                <a:cxnLst/>
                <a:rect l="l" t="t" r="r" b="b"/>
                <a:pathLst>
                  <a:path w="27762" h="33807" fill="none" extrusionOk="0">
                    <a:moveTo>
                      <a:pt x="3695" y="1"/>
                    </a:moveTo>
                    <a:lnTo>
                      <a:pt x="5598" y="225"/>
                    </a:lnTo>
                    <a:lnTo>
                      <a:pt x="5598" y="225"/>
                    </a:lnTo>
                    <a:lnTo>
                      <a:pt x="5710" y="337"/>
                    </a:lnTo>
                    <a:lnTo>
                      <a:pt x="5710" y="337"/>
                    </a:lnTo>
                    <a:lnTo>
                      <a:pt x="8732" y="1680"/>
                    </a:lnTo>
                    <a:lnTo>
                      <a:pt x="10747" y="2688"/>
                    </a:lnTo>
                    <a:lnTo>
                      <a:pt x="12426" y="3583"/>
                    </a:lnTo>
                    <a:lnTo>
                      <a:pt x="12426" y="3583"/>
                    </a:lnTo>
                    <a:lnTo>
                      <a:pt x="12426" y="3359"/>
                    </a:lnTo>
                    <a:lnTo>
                      <a:pt x="12538" y="2688"/>
                    </a:lnTo>
                    <a:lnTo>
                      <a:pt x="12538" y="2688"/>
                    </a:lnTo>
                    <a:lnTo>
                      <a:pt x="12762" y="2352"/>
                    </a:lnTo>
                    <a:lnTo>
                      <a:pt x="12986" y="2016"/>
                    </a:lnTo>
                    <a:lnTo>
                      <a:pt x="13321" y="1792"/>
                    </a:lnTo>
                    <a:lnTo>
                      <a:pt x="13769" y="1904"/>
                    </a:lnTo>
                    <a:lnTo>
                      <a:pt x="13769" y="1904"/>
                    </a:lnTo>
                    <a:lnTo>
                      <a:pt x="14441" y="2464"/>
                    </a:lnTo>
                    <a:lnTo>
                      <a:pt x="15448" y="3247"/>
                    </a:lnTo>
                    <a:lnTo>
                      <a:pt x="17911" y="5710"/>
                    </a:lnTo>
                    <a:lnTo>
                      <a:pt x="20374" y="8396"/>
                    </a:lnTo>
                    <a:lnTo>
                      <a:pt x="21269" y="9516"/>
                    </a:lnTo>
                    <a:lnTo>
                      <a:pt x="21941" y="10523"/>
                    </a:lnTo>
                    <a:lnTo>
                      <a:pt x="21941" y="10523"/>
                    </a:lnTo>
                    <a:lnTo>
                      <a:pt x="22277" y="11195"/>
                    </a:lnTo>
                    <a:lnTo>
                      <a:pt x="22612" y="12202"/>
                    </a:lnTo>
                    <a:lnTo>
                      <a:pt x="23172" y="14777"/>
                    </a:lnTo>
                    <a:lnTo>
                      <a:pt x="23620" y="17911"/>
                    </a:lnTo>
                    <a:lnTo>
                      <a:pt x="24068" y="21381"/>
                    </a:lnTo>
                    <a:lnTo>
                      <a:pt x="24627" y="27538"/>
                    </a:lnTo>
                    <a:lnTo>
                      <a:pt x="24851" y="29553"/>
                    </a:lnTo>
                    <a:lnTo>
                      <a:pt x="24963" y="30560"/>
                    </a:lnTo>
                    <a:lnTo>
                      <a:pt x="24963" y="30560"/>
                    </a:lnTo>
                    <a:lnTo>
                      <a:pt x="25299" y="31232"/>
                    </a:lnTo>
                    <a:lnTo>
                      <a:pt x="25747" y="31680"/>
                    </a:lnTo>
                    <a:lnTo>
                      <a:pt x="26418" y="32239"/>
                    </a:lnTo>
                    <a:lnTo>
                      <a:pt x="27314" y="32687"/>
                    </a:lnTo>
                    <a:lnTo>
                      <a:pt x="27426" y="32687"/>
                    </a:lnTo>
                    <a:lnTo>
                      <a:pt x="27426" y="32687"/>
                    </a:lnTo>
                    <a:lnTo>
                      <a:pt x="27538" y="32799"/>
                    </a:lnTo>
                    <a:lnTo>
                      <a:pt x="27650" y="32911"/>
                    </a:lnTo>
                    <a:lnTo>
                      <a:pt x="27762" y="33247"/>
                    </a:lnTo>
                    <a:lnTo>
                      <a:pt x="27538" y="33583"/>
                    </a:lnTo>
                    <a:lnTo>
                      <a:pt x="27426" y="33695"/>
                    </a:lnTo>
                    <a:lnTo>
                      <a:pt x="27202" y="33807"/>
                    </a:lnTo>
                    <a:lnTo>
                      <a:pt x="24627" y="33807"/>
                    </a:lnTo>
                    <a:lnTo>
                      <a:pt x="24627" y="33807"/>
                    </a:lnTo>
                    <a:lnTo>
                      <a:pt x="24403" y="33807"/>
                    </a:lnTo>
                    <a:lnTo>
                      <a:pt x="22948" y="33359"/>
                    </a:lnTo>
                    <a:lnTo>
                      <a:pt x="22948" y="33359"/>
                    </a:lnTo>
                    <a:lnTo>
                      <a:pt x="22724" y="33247"/>
                    </a:lnTo>
                    <a:lnTo>
                      <a:pt x="22612" y="33023"/>
                    </a:lnTo>
                    <a:lnTo>
                      <a:pt x="22612" y="33023"/>
                    </a:lnTo>
                    <a:lnTo>
                      <a:pt x="20150" y="23172"/>
                    </a:lnTo>
                    <a:lnTo>
                      <a:pt x="18359" y="16232"/>
                    </a:lnTo>
                    <a:lnTo>
                      <a:pt x="17687" y="13769"/>
                    </a:lnTo>
                    <a:lnTo>
                      <a:pt x="17351" y="12986"/>
                    </a:lnTo>
                    <a:lnTo>
                      <a:pt x="17127" y="12538"/>
                    </a:lnTo>
                    <a:lnTo>
                      <a:pt x="17127" y="12538"/>
                    </a:lnTo>
                    <a:lnTo>
                      <a:pt x="16456" y="11978"/>
                    </a:lnTo>
                    <a:lnTo>
                      <a:pt x="15224" y="10971"/>
                    </a:lnTo>
                    <a:lnTo>
                      <a:pt x="11866" y="8508"/>
                    </a:lnTo>
                    <a:lnTo>
                      <a:pt x="7277" y="5150"/>
                    </a:lnTo>
                    <a:lnTo>
                      <a:pt x="7277" y="5150"/>
                    </a:lnTo>
                    <a:lnTo>
                      <a:pt x="6941" y="5486"/>
                    </a:lnTo>
                    <a:lnTo>
                      <a:pt x="6381" y="6382"/>
                    </a:lnTo>
                    <a:lnTo>
                      <a:pt x="5486" y="7725"/>
                    </a:lnTo>
                    <a:lnTo>
                      <a:pt x="5486" y="7725"/>
                    </a:lnTo>
                    <a:lnTo>
                      <a:pt x="4926" y="7837"/>
                    </a:lnTo>
                    <a:lnTo>
                      <a:pt x="4478" y="7949"/>
                    </a:lnTo>
                    <a:lnTo>
                      <a:pt x="3919" y="7837"/>
                    </a:lnTo>
                    <a:lnTo>
                      <a:pt x="3247" y="7725"/>
                    </a:lnTo>
                    <a:lnTo>
                      <a:pt x="2463" y="7389"/>
                    </a:lnTo>
                    <a:lnTo>
                      <a:pt x="1568" y="6829"/>
                    </a:lnTo>
                    <a:lnTo>
                      <a:pt x="560" y="6158"/>
                    </a:lnTo>
                    <a:lnTo>
                      <a:pt x="560" y="6158"/>
                    </a:lnTo>
                    <a:lnTo>
                      <a:pt x="337" y="5822"/>
                    </a:lnTo>
                    <a:lnTo>
                      <a:pt x="113" y="5374"/>
                    </a:lnTo>
                    <a:lnTo>
                      <a:pt x="113" y="4926"/>
                    </a:lnTo>
                    <a:lnTo>
                      <a:pt x="1" y="4479"/>
                    </a:lnTo>
                    <a:lnTo>
                      <a:pt x="113" y="3471"/>
                    </a:lnTo>
                    <a:lnTo>
                      <a:pt x="225" y="2799"/>
                    </a:lnTo>
                    <a:lnTo>
                      <a:pt x="225" y="2799"/>
                    </a:lnTo>
                    <a:lnTo>
                      <a:pt x="449" y="2464"/>
                    </a:lnTo>
                    <a:lnTo>
                      <a:pt x="3247" y="113"/>
                    </a:lnTo>
                    <a:lnTo>
                      <a:pt x="3247" y="113"/>
                    </a:lnTo>
                    <a:lnTo>
                      <a:pt x="3471" y="1"/>
                    </a:lnTo>
                    <a:lnTo>
                      <a:pt x="3695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99" name="Google Shape;1919;p16">
                <a:extLst>
                  <a:ext uri="{FF2B5EF4-FFF2-40B4-BE49-F238E27FC236}">
                    <a16:creationId xmlns:a16="http://schemas.microsoft.com/office/drawing/2014/main" id="{FA9879C3-5284-E0C4-7048-C7AA940D6478}"/>
                  </a:ext>
                </a:extLst>
              </p:cNvPr>
              <p:cNvSpPr/>
              <p:nvPr/>
            </p:nvSpPr>
            <p:spPr>
              <a:xfrm>
                <a:off x="5293175" y="2661600"/>
                <a:ext cx="232300" cy="103575"/>
              </a:xfrm>
              <a:custGeom>
                <a:avLst/>
                <a:gdLst/>
                <a:ahLst/>
                <a:cxnLst/>
                <a:rect l="l" t="t" r="r" b="b"/>
                <a:pathLst>
                  <a:path w="9292" h="4143" extrusionOk="0">
                    <a:moveTo>
                      <a:pt x="113" y="0"/>
                    </a:moveTo>
                    <a:lnTo>
                      <a:pt x="1" y="112"/>
                    </a:lnTo>
                    <a:lnTo>
                      <a:pt x="1" y="672"/>
                    </a:lnTo>
                    <a:lnTo>
                      <a:pt x="1" y="1344"/>
                    </a:lnTo>
                    <a:lnTo>
                      <a:pt x="113" y="1791"/>
                    </a:lnTo>
                    <a:lnTo>
                      <a:pt x="224" y="2127"/>
                    </a:lnTo>
                    <a:lnTo>
                      <a:pt x="560" y="2575"/>
                    </a:lnTo>
                    <a:lnTo>
                      <a:pt x="896" y="2911"/>
                    </a:lnTo>
                    <a:lnTo>
                      <a:pt x="1568" y="3470"/>
                    </a:lnTo>
                    <a:lnTo>
                      <a:pt x="2016" y="3806"/>
                    </a:lnTo>
                    <a:lnTo>
                      <a:pt x="2239" y="4142"/>
                    </a:lnTo>
                    <a:lnTo>
                      <a:pt x="2799" y="4142"/>
                    </a:lnTo>
                    <a:lnTo>
                      <a:pt x="2463" y="3582"/>
                    </a:lnTo>
                    <a:lnTo>
                      <a:pt x="2239" y="3023"/>
                    </a:lnTo>
                    <a:lnTo>
                      <a:pt x="2127" y="2687"/>
                    </a:lnTo>
                    <a:lnTo>
                      <a:pt x="2239" y="2463"/>
                    </a:lnTo>
                    <a:lnTo>
                      <a:pt x="3695" y="2575"/>
                    </a:lnTo>
                    <a:lnTo>
                      <a:pt x="5598" y="2687"/>
                    </a:lnTo>
                    <a:lnTo>
                      <a:pt x="6941" y="2687"/>
                    </a:lnTo>
                    <a:lnTo>
                      <a:pt x="7053" y="2575"/>
                    </a:lnTo>
                    <a:lnTo>
                      <a:pt x="8284" y="2015"/>
                    </a:lnTo>
                    <a:lnTo>
                      <a:pt x="8956" y="1679"/>
                    </a:lnTo>
                    <a:lnTo>
                      <a:pt x="9292" y="1344"/>
                    </a:lnTo>
                    <a:lnTo>
                      <a:pt x="9292" y="1008"/>
                    </a:lnTo>
                    <a:lnTo>
                      <a:pt x="9068" y="672"/>
                    </a:lnTo>
                    <a:lnTo>
                      <a:pt x="8620" y="336"/>
                    </a:lnTo>
                    <a:lnTo>
                      <a:pt x="8060" y="112"/>
                    </a:lnTo>
                    <a:lnTo>
                      <a:pt x="5262" y="112"/>
                    </a:lnTo>
                    <a:lnTo>
                      <a:pt x="5262" y="224"/>
                    </a:lnTo>
                    <a:lnTo>
                      <a:pt x="5374" y="448"/>
                    </a:lnTo>
                    <a:lnTo>
                      <a:pt x="5374" y="560"/>
                    </a:lnTo>
                    <a:lnTo>
                      <a:pt x="5150" y="784"/>
                    </a:lnTo>
                    <a:lnTo>
                      <a:pt x="4702" y="1008"/>
                    </a:lnTo>
                    <a:lnTo>
                      <a:pt x="4254" y="1120"/>
                    </a:lnTo>
                    <a:lnTo>
                      <a:pt x="3695" y="1120"/>
                    </a:lnTo>
                    <a:lnTo>
                      <a:pt x="2463" y="896"/>
                    </a:lnTo>
                    <a:lnTo>
                      <a:pt x="1232" y="448"/>
                    </a:lnTo>
                    <a:lnTo>
                      <a:pt x="33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0" name="Google Shape;1920;p16">
                <a:extLst>
                  <a:ext uri="{FF2B5EF4-FFF2-40B4-BE49-F238E27FC236}">
                    <a16:creationId xmlns:a16="http://schemas.microsoft.com/office/drawing/2014/main" id="{9521C366-2AD8-BA22-97ED-24CB00E4BB69}"/>
                  </a:ext>
                </a:extLst>
              </p:cNvPr>
              <p:cNvSpPr/>
              <p:nvPr/>
            </p:nvSpPr>
            <p:spPr>
              <a:xfrm>
                <a:off x="4736275" y="1757675"/>
                <a:ext cx="540125" cy="573725"/>
              </a:xfrm>
              <a:custGeom>
                <a:avLst/>
                <a:gdLst/>
                <a:ahLst/>
                <a:cxnLst/>
                <a:rect l="l" t="t" r="r" b="b"/>
                <a:pathLst>
                  <a:path w="21605" h="22949" extrusionOk="0">
                    <a:moveTo>
                      <a:pt x="11419" y="1"/>
                    </a:moveTo>
                    <a:lnTo>
                      <a:pt x="10747" y="337"/>
                    </a:lnTo>
                    <a:lnTo>
                      <a:pt x="9963" y="673"/>
                    </a:lnTo>
                    <a:lnTo>
                      <a:pt x="9180" y="896"/>
                    </a:lnTo>
                    <a:lnTo>
                      <a:pt x="8396" y="1008"/>
                    </a:lnTo>
                    <a:lnTo>
                      <a:pt x="6717" y="1120"/>
                    </a:lnTo>
                    <a:lnTo>
                      <a:pt x="5038" y="1120"/>
                    </a:lnTo>
                    <a:lnTo>
                      <a:pt x="3583" y="896"/>
                    </a:lnTo>
                    <a:lnTo>
                      <a:pt x="2463" y="785"/>
                    </a:lnTo>
                    <a:lnTo>
                      <a:pt x="1344" y="561"/>
                    </a:lnTo>
                    <a:lnTo>
                      <a:pt x="1232" y="673"/>
                    </a:lnTo>
                    <a:lnTo>
                      <a:pt x="672" y="3023"/>
                    </a:lnTo>
                    <a:lnTo>
                      <a:pt x="337" y="4702"/>
                    </a:lnTo>
                    <a:lnTo>
                      <a:pt x="1" y="6493"/>
                    </a:lnTo>
                    <a:lnTo>
                      <a:pt x="1" y="7837"/>
                    </a:lnTo>
                    <a:lnTo>
                      <a:pt x="1" y="9068"/>
                    </a:lnTo>
                    <a:lnTo>
                      <a:pt x="225" y="9964"/>
                    </a:lnTo>
                    <a:lnTo>
                      <a:pt x="672" y="10971"/>
                    </a:lnTo>
                    <a:lnTo>
                      <a:pt x="1568" y="13322"/>
                    </a:lnTo>
                    <a:lnTo>
                      <a:pt x="2575" y="15896"/>
                    </a:lnTo>
                    <a:lnTo>
                      <a:pt x="3023" y="17128"/>
                    </a:lnTo>
                    <a:lnTo>
                      <a:pt x="3247" y="18247"/>
                    </a:lnTo>
                    <a:lnTo>
                      <a:pt x="3359" y="19031"/>
                    </a:lnTo>
                    <a:lnTo>
                      <a:pt x="3247" y="19702"/>
                    </a:lnTo>
                    <a:lnTo>
                      <a:pt x="3023" y="20822"/>
                    </a:lnTo>
                    <a:lnTo>
                      <a:pt x="2799" y="21941"/>
                    </a:lnTo>
                    <a:lnTo>
                      <a:pt x="2911" y="22277"/>
                    </a:lnTo>
                    <a:lnTo>
                      <a:pt x="3023" y="22725"/>
                    </a:lnTo>
                    <a:lnTo>
                      <a:pt x="3247" y="22837"/>
                    </a:lnTo>
                    <a:lnTo>
                      <a:pt x="3583" y="22948"/>
                    </a:lnTo>
                    <a:lnTo>
                      <a:pt x="4366" y="22948"/>
                    </a:lnTo>
                    <a:lnTo>
                      <a:pt x="5486" y="22725"/>
                    </a:lnTo>
                    <a:lnTo>
                      <a:pt x="6829" y="22389"/>
                    </a:lnTo>
                    <a:lnTo>
                      <a:pt x="8284" y="21941"/>
                    </a:lnTo>
                    <a:lnTo>
                      <a:pt x="9739" y="21269"/>
                    </a:lnTo>
                    <a:lnTo>
                      <a:pt x="11083" y="20710"/>
                    </a:lnTo>
                    <a:lnTo>
                      <a:pt x="12314" y="19926"/>
                    </a:lnTo>
                    <a:lnTo>
                      <a:pt x="14889" y="18359"/>
                    </a:lnTo>
                    <a:lnTo>
                      <a:pt x="17911" y="16344"/>
                    </a:lnTo>
                    <a:lnTo>
                      <a:pt x="19254" y="15337"/>
                    </a:lnTo>
                    <a:lnTo>
                      <a:pt x="20374" y="14329"/>
                    </a:lnTo>
                    <a:lnTo>
                      <a:pt x="21157" y="13434"/>
                    </a:lnTo>
                    <a:lnTo>
                      <a:pt x="21493" y="13098"/>
                    </a:lnTo>
                    <a:lnTo>
                      <a:pt x="21605" y="12762"/>
                    </a:lnTo>
                    <a:lnTo>
                      <a:pt x="21493" y="12426"/>
                    </a:lnTo>
                    <a:lnTo>
                      <a:pt x="21381" y="12202"/>
                    </a:lnTo>
                    <a:lnTo>
                      <a:pt x="20709" y="11419"/>
                    </a:lnTo>
                    <a:lnTo>
                      <a:pt x="18359" y="9068"/>
                    </a:lnTo>
                    <a:lnTo>
                      <a:pt x="16792" y="7389"/>
                    </a:lnTo>
                    <a:lnTo>
                      <a:pt x="15001" y="5374"/>
                    </a:lnTo>
                    <a:lnTo>
                      <a:pt x="13210" y="2911"/>
                    </a:lnTo>
                    <a:lnTo>
                      <a:pt x="12314" y="1456"/>
                    </a:lnTo>
                    <a:lnTo>
                      <a:pt x="11419" y="1"/>
                    </a:lnTo>
                    <a:close/>
                  </a:path>
                </a:pathLst>
              </a:custGeom>
              <a:solidFill>
                <a:srgbClr val="2D2D2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1" name="Google Shape;1921;p16">
                <a:extLst>
                  <a:ext uri="{FF2B5EF4-FFF2-40B4-BE49-F238E27FC236}">
                    <a16:creationId xmlns:a16="http://schemas.microsoft.com/office/drawing/2014/main" id="{3B79FD57-1E61-BF77-20F2-B1AF4251454A}"/>
                  </a:ext>
                </a:extLst>
              </p:cNvPr>
              <p:cNvSpPr/>
              <p:nvPr/>
            </p:nvSpPr>
            <p:spPr>
              <a:xfrm>
                <a:off x="4736275" y="1757675"/>
                <a:ext cx="540125" cy="573725"/>
              </a:xfrm>
              <a:custGeom>
                <a:avLst/>
                <a:gdLst/>
                <a:ahLst/>
                <a:cxnLst/>
                <a:rect l="l" t="t" r="r" b="b"/>
                <a:pathLst>
                  <a:path w="21605" h="22949" fill="none" extrusionOk="0">
                    <a:moveTo>
                      <a:pt x="3023" y="22725"/>
                    </a:moveTo>
                    <a:lnTo>
                      <a:pt x="3023" y="22725"/>
                    </a:lnTo>
                    <a:lnTo>
                      <a:pt x="3247" y="22837"/>
                    </a:lnTo>
                    <a:lnTo>
                      <a:pt x="3583" y="22948"/>
                    </a:lnTo>
                    <a:lnTo>
                      <a:pt x="4366" y="22948"/>
                    </a:lnTo>
                    <a:lnTo>
                      <a:pt x="5486" y="22725"/>
                    </a:lnTo>
                    <a:lnTo>
                      <a:pt x="6829" y="22389"/>
                    </a:lnTo>
                    <a:lnTo>
                      <a:pt x="8284" y="21941"/>
                    </a:lnTo>
                    <a:lnTo>
                      <a:pt x="9739" y="21269"/>
                    </a:lnTo>
                    <a:lnTo>
                      <a:pt x="11083" y="20710"/>
                    </a:lnTo>
                    <a:lnTo>
                      <a:pt x="12314" y="19926"/>
                    </a:lnTo>
                    <a:lnTo>
                      <a:pt x="12314" y="19926"/>
                    </a:lnTo>
                    <a:lnTo>
                      <a:pt x="14889" y="18359"/>
                    </a:lnTo>
                    <a:lnTo>
                      <a:pt x="17911" y="16344"/>
                    </a:lnTo>
                    <a:lnTo>
                      <a:pt x="19254" y="15337"/>
                    </a:lnTo>
                    <a:lnTo>
                      <a:pt x="20374" y="14329"/>
                    </a:lnTo>
                    <a:lnTo>
                      <a:pt x="21157" y="13434"/>
                    </a:lnTo>
                    <a:lnTo>
                      <a:pt x="21493" y="13098"/>
                    </a:lnTo>
                    <a:lnTo>
                      <a:pt x="21605" y="12762"/>
                    </a:lnTo>
                    <a:lnTo>
                      <a:pt x="21605" y="12762"/>
                    </a:lnTo>
                    <a:lnTo>
                      <a:pt x="21493" y="12426"/>
                    </a:lnTo>
                    <a:lnTo>
                      <a:pt x="21381" y="12202"/>
                    </a:lnTo>
                    <a:lnTo>
                      <a:pt x="20709" y="11419"/>
                    </a:lnTo>
                    <a:lnTo>
                      <a:pt x="18359" y="9068"/>
                    </a:lnTo>
                    <a:lnTo>
                      <a:pt x="16792" y="7389"/>
                    </a:lnTo>
                    <a:lnTo>
                      <a:pt x="15001" y="5374"/>
                    </a:lnTo>
                    <a:lnTo>
                      <a:pt x="13210" y="2911"/>
                    </a:lnTo>
                    <a:lnTo>
                      <a:pt x="12314" y="1456"/>
                    </a:lnTo>
                    <a:lnTo>
                      <a:pt x="11419" y="1"/>
                    </a:lnTo>
                    <a:lnTo>
                      <a:pt x="11419" y="1"/>
                    </a:lnTo>
                    <a:lnTo>
                      <a:pt x="10747" y="337"/>
                    </a:lnTo>
                    <a:lnTo>
                      <a:pt x="9963" y="673"/>
                    </a:lnTo>
                    <a:lnTo>
                      <a:pt x="9180" y="896"/>
                    </a:lnTo>
                    <a:lnTo>
                      <a:pt x="8396" y="1008"/>
                    </a:lnTo>
                    <a:lnTo>
                      <a:pt x="6717" y="1120"/>
                    </a:lnTo>
                    <a:lnTo>
                      <a:pt x="5038" y="1120"/>
                    </a:lnTo>
                    <a:lnTo>
                      <a:pt x="3583" y="896"/>
                    </a:lnTo>
                    <a:lnTo>
                      <a:pt x="2463" y="785"/>
                    </a:lnTo>
                    <a:lnTo>
                      <a:pt x="1344" y="561"/>
                    </a:lnTo>
                    <a:lnTo>
                      <a:pt x="1344" y="561"/>
                    </a:lnTo>
                    <a:lnTo>
                      <a:pt x="1232" y="673"/>
                    </a:lnTo>
                    <a:lnTo>
                      <a:pt x="1232" y="673"/>
                    </a:lnTo>
                    <a:lnTo>
                      <a:pt x="672" y="3023"/>
                    </a:lnTo>
                    <a:lnTo>
                      <a:pt x="337" y="4702"/>
                    </a:lnTo>
                    <a:lnTo>
                      <a:pt x="1" y="6493"/>
                    </a:lnTo>
                    <a:lnTo>
                      <a:pt x="1" y="6493"/>
                    </a:lnTo>
                    <a:lnTo>
                      <a:pt x="1" y="7837"/>
                    </a:lnTo>
                    <a:lnTo>
                      <a:pt x="1" y="9068"/>
                    </a:lnTo>
                    <a:lnTo>
                      <a:pt x="1" y="9068"/>
                    </a:lnTo>
                    <a:lnTo>
                      <a:pt x="225" y="9964"/>
                    </a:lnTo>
                    <a:lnTo>
                      <a:pt x="672" y="10971"/>
                    </a:lnTo>
                    <a:lnTo>
                      <a:pt x="1568" y="13322"/>
                    </a:lnTo>
                    <a:lnTo>
                      <a:pt x="2575" y="15896"/>
                    </a:lnTo>
                    <a:lnTo>
                      <a:pt x="3023" y="17128"/>
                    </a:lnTo>
                    <a:lnTo>
                      <a:pt x="3247" y="18247"/>
                    </a:lnTo>
                    <a:lnTo>
                      <a:pt x="3247" y="18247"/>
                    </a:lnTo>
                    <a:lnTo>
                      <a:pt x="3359" y="19031"/>
                    </a:lnTo>
                    <a:lnTo>
                      <a:pt x="3247" y="19702"/>
                    </a:lnTo>
                    <a:lnTo>
                      <a:pt x="3023" y="20822"/>
                    </a:lnTo>
                    <a:lnTo>
                      <a:pt x="2799" y="21941"/>
                    </a:lnTo>
                    <a:lnTo>
                      <a:pt x="2911" y="22277"/>
                    </a:lnTo>
                    <a:lnTo>
                      <a:pt x="3023" y="22725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2" name="Google Shape;1922;p16">
                <a:extLst>
                  <a:ext uri="{FF2B5EF4-FFF2-40B4-BE49-F238E27FC236}">
                    <a16:creationId xmlns:a16="http://schemas.microsoft.com/office/drawing/2014/main" id="{6CBC60A1-C7A1-3E97-4AED-9DDD460CF6AF}"/>
                  </a:ext>
                </a:extLst>
              </p:cNvPr>
              <p:cNvSpPr/>
              <p:nvPr/>
            </p:nvSpPr>
            <p:spPr>
              <a:xfrm>
                <a:off x="4795050" y="1329525"/>
                <a:ext cx="212700" cy="470175"/>
              </a:xfrm>
              <a:custGeom>
                <a:avLst/>
                <a:gdLst/>
                <a:ahLst/>
                <a:cxnLst/>
                <a:rect l="l" t="t" r="r" b="b"/>
                <a:pathLst>
                  <a:path w="8508" h="18807" extrusionOk="0">
                    <a:moveTo>
                      <a:pt x="2015" y="0"/>
                    </a:moveTo>
                    <a:lnTo>
                      <a:pt x="0" y="448"/>
                    </a:lnTo>
                    <a:lnTo>
                      <a:pt x="336" y="2351"/>
                    </a:lnTo>
                    <a:lnTo>
                      <a:pt x="896" y="6940"/>
                    </a:lnTo>
                    <a:lnTo>
                      <a:pt x="1120" y="9739"/>
                    </a:lnTo>
                    <a:lnTo>
                      <a:pt x="1232" y="12649"/>
                    </a:lnTo>
                    <a:lnTo>
                      <a:pt x="1232" y="15448"/>
                    </a:lnTo>
                    <a:lnTo>
                      <a:pt x="1120" y="16679"/>
                    </a:lnTo>
                    <a:lnTo>
                      <a:pt x="1008" y="17911"/>
                    </a:lnTo>
                    <a:lnTo>
                      <a:pt x="1120" y="18022"/>
                    </a:lnTo>
                    <a:lnTo>
                      <a:pt x="1232" y="18134"/>
                    </a:lnTo>
                    <a:lnTo>
                      <a:pt x="1903" y="18470"/>
                    </a:lnTo>
                    <a:lnTo>
                      <a:pt x="2911" y="18694"/>
                    </a:lnTo>
                    <a:lnTo>
                      <a:pt x="4030" y="18806"/>
                    </a:lnTo>
                    <a:lnTo>
                      <a:pt x="5262" y="18806"/>
                    </a:lnTo>
                    <a:lnTo>
                      <a:pt x="5821" y="18694"/>
                    </a:lnTo>
                    <a:lnTo>
                      <a:pt x="6381" y="18582"/>
                    </a:lnTo>
                    <a:lnTo>
                      <a:pt x="6941" y="18358"/>
                    </a:lnTo>
                    <a:lnTo>
                      <a:pt x="7388" y="18022"/>
                    </a:lnTo>
                    <a:lnTo>
                      <a:pt x="7724" y="17687"/>
                    </a:lnTo>
                    <a:lnTo>
                      <a:pt x="7948" y="17127"/>
                    </a:lnTo>
                    <a:lnTo>
                      <a:pt x="8284" y="16119"/>
                    </a:lnTo>
                    <a:lnTo>
                      <a:pt x="8396" y="15000"/>
                    </a:lnTo>
                    <a:lnTo>
                      <a:pt x="8508" y="13657"/>
                    </a:lnTo>
                    <a:lnTo>
                      <a:pt x="8508" y="12314"/>
                    </a:lnTo>
                    <a:lnTo>
                      <a:pt x="8396" y="10075"/>
                    </a:lnTo>
                    <a:lnTo>
                      <a:pt x="8284" y="9179"/>
                    </a:lnTo>
                    <a:lnTo>
                      <a:pt x="3918" y="560"/>
                    </a:lnTo>
                    <a:lnTo>
                      <a:pt x="20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3" name="Google Shape;1923;p16">
                <a:extLst>
                  <a:ext uri="{FF2B5EF4-FFF2-40B4-BE49-F238E27FC236}">
                    <a16:creationId xmlns:a16="http://schemas.microsoft.com/office/drawing/2014/main" id="{23CA8946-8155-E61A-0A1B-B63162AAA14D}"/>
                  </a:ext>
                </a:extLst>
              </p:cNvPr>
              <p:cNvSpPr/>
              <p:nvPr/>
            </p:nvSpPr>
            <p:spPr>
              <a:xfrm>
                <a:off x="4795050" y="1329525"/>
                <a:ext cx="212700" cy="470175"/>
              </a:xfrm>
              <a:custGeom>
                <a:avLst/>
                <a:gdLst/>
                <a:ahLst/>
                <a:cxnLst/>
                <a:rect l="l" t="t" r="r" b="b"/>
                <a:pathLst>
                  <a:path w="8508" h="18807" fill="none" extrusionOk="0">
                    <a:moveTo>
                      <a:pt x="2015" y="0"/>
                    </a:moveTo>
                    <a:lnTo>
                      <a:pt x="3918" y="560"/>
                    </a:lnTo>
                    <a:lnTo>
                      <a:pt x="8284" y="9179"/>
                    </a:lnTo>
                    <a:lnTo>
                      <a:pt x="8284" y="9179"/>
                    </a:lnTo>
                    <a:lnTo>
                      <a:pt x="8396" y="10075"/>
                    </a:lnTo>
                    <a:lnTo>
                      <a:pt x="8508" y="12314"/>
                    </a:lnTo>
                    <a:lnTo>
                      <a:pt x="8508" y="13657"/>
                    </a:lnTo>
                    <a:lnTo>
                      <a:pt x="8396" y="15000"/>
                    </a:lnTo>
                    <a:lnTo>
                      <a:pt x="8284" y="16119"/>
                    </a:lnTo>
                    <a:lnTo>
                      <a:pt x="7948" y="17127"/>
                    </a:lnTo>
                    <a:lnTo>
                      <a:pt x="7948" y="17127"/>
                    </a:lnTo>
                    <a:lnTo>
                      <a:pt x="7724" y="17687"/>
                    </a:lnTo>
                    <a:lnTo>
                      <a:pt x="7388" y="18022"/>
                    </a:lnTo>
                    <a:lnTo>
                      <a:pt x="6941" y="18358"/>
                    </a:lnTo>
                    <a:lnTo>
                      <a:pt x="6381" y="18582"/>
                    </a:lnTo>
                    <a:lnTo>
                      <a:pt x="5821" y="18694"/>
                    </a:lnTo>
                    <a:lnTo>
                      <a:pt x="5262" y="18806"/>
                    </a:lnTo>
                    <a:lnTo>
                      <a:pt x="4030" y="18806"/>
                    </a:lnTo>
                    <a:lnTo>
                      <a:pt x="2911" y="18694"/>
                    </a:lnTo>
                    <a:lnTo>
                      <a:pt x="1903" y="18470"/>
                    </a:lnTo>
                    <a:lnTo>
                      <a:pt x="1232" y="18134"/>
                    </a:lnTo>
                    <a:lnTo>
                      <a:pt x="1120" y="18022"/>
                    </a:lnTo>
                    <a:lnTo>
                      <a:pt x="1008" y="17911"/>
                    </a:lnTo>
                    <a:lnTo>
                      <a:pt x="1008" y="17911"/>
                    </a:lnTo>
                    <a:lnTo>
                      <a:pt x="1120" y="16679"/>
                    </a:lnTo>
                    <a:lnTo>
                      <a:pt x="1232" y="15448"/>
                    </a:lnTo>
                    <a:lnTo>
                      <a:pt x="1232" y="12649"/>
                    </a:lnTo>
                    <a:lnTo>
                      <a:pt x="1120" y="9739"/>
                    </a:lnTo>
                    <a:lnTo>
                      <a:pt x="896" y="6940"/>
                    </a:lnTo>
                    <a:lnTo>
                      <a:pt x="336" y="2351"/>
                    </a:lnTo>
                    <a:lnTo>
                      <a:pt x="0" y="448"/>
                    </a:lnTo>
                    <a:lnTo>
                      <a:pt x="2015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4" name="Google Shape;1924;p16">
                <a:extLst>
                  <a:ext uri="{FF2B5EF4-FFF2-40B4-BE49-F238E27FC236}">
                    <a16:creationId xmlns:a16="http://schemas.microsoft.com/office/drawing/2014/main" id="{3BB53FE5-7A4D-3AC1-34F9-D88B6792B408}"/>
                  </a:ext>
                </a:extLst>
              </p:cNvPr>
              <p:cNvSpPr/>
              <p:nvPr/>
            </p:nvSpPr>
            <p:spPr>
              <a:xfrm>
                <a:off x="4736275" y="1813650"/>
                <a:ext cx="156750" cy="109175"/>
              </a:xfrm>
              <a:custGeom>
                <a:avLst/>
                <a:gdLst/>
                <a:ahLst/>
                <a:cxnLst/>
                <a:rect l="l" t="t" r="r" b="b"/>
                <a:pathLst>
                  <a:path w="6270" h="4367" extrusionOk="0">
                    <a:moveTo>
                      <a:pt x="6269" y="1"/>
                    </a:moveTo>
                    <a:lnTo>
                      <a:pt x="5934" y="560"/>
                    </a:lnTo>
                    <a:lnTo>
                      <a:pt x="5598" y="896"/>
                    </a:lnTo>
                    <a:lnTo>
                      <a:pt x="5038" y="1232"/>
                    </a:lnTo>
                    <a:lnTo>
                      <a:pt x="3695" y="1904"/>
                    </a:lnTo>
                    <a:lnTo>
                      <a:pt x="2240" y="2240"/>
                    </a:lnTo>
                    <a:lnTo>
                      <a:pt x="1568" y="2351"/>
                    </a:lnTo>
                    <a:lnTo>
                      <a:pt x="896" y="2463"/>
                    </a:lnTo>
                    <a:lnTo>
                      <a:pt x="337" y="2351"/>
                    </a:lnTo>
                    <a:lnTo>
                      <a:pt x="1" y="4254"/>
                    </a:lnTo>
                    <a:lnTo>
                      <a:pt x="896" y="4366"/>
                    </a:lnTo>
                    <a:lnTo>
                      <a:pt x="1456" y="4366"/>
                    </a:lnTo>
                    <a:lnTo>
                      <a:pt x="2016" y="4142"/>
                    </a:lnTo>
                    <a:lnTo>
                      <a:pt x="2575" y="3919"/>
                    </a:lnTo>
                    <a:lnTo>
                      <a:pt x="3023" y="3695"/>
                    </a:lnTo>
                    <a:lnTo>
                      <a:pt x="3919" y="3023"/>
                    </a:lnTo>
                    <a:lnTo>
                      <a:pt x="4702" y="2240"/>
                    </a:lnTo>
                    <a:lnTo>
                      <a:pt x="5374" y="1456"/>
                    </a:lnTo>
                    <a:lnTo>
                      <a:pt x="5934" y="672"/>
                    </a:lnTo>
                    <a:lnTo>
                      <a:pt x="6269" y="1"/>
                    </a:lnTo>
                    <a:close/>
                  </a:path>
                </a:pathLst>
              </a:custGeom>
              <a:solidFill>
                <a:srgbClr val="252628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5" name="Google Shape;1925;p16">
                <a:extLst>
                  <a:ext uri="{FF2B5EF4-FFF2-40B4-BE49-F238E27FC236}">
                    <a16:creationId xmlns:a16="http://schemas.microsoft.com/office/drawing/2014/main" id="{D00E3128-AC7F-68A0-72C3-E56D9DF92778}"/>
                  </a:ext>
                </a:extLst>
              </p:cNvPr>
              <p:cNvSpPr/>
              <p:nvPr/>
            </p:nvSpPr>
            <p:spPr>
              <a:xfrm>
                <a:off x="4736275" y="1813650"/>
                <a:ext cx="156750" cy="109175"/>
              </a:xfrm>
              <a:custGeom>
                <a:avLst/>
                <a:gdLst/>
                <a:ahLst/>
                <a:cxnLst/>
                <a:rect l="l" t="t" r="r" b="b"/>
                <a:pathLst>
                  <a:path w="6270" h="4367" fill="none" extrusionOk="0">
                    <a:moveTo>
                      <a:pt x="6269" y="1"/>
                    </a:moveTo>
                    <a:lnTo>
                      <a:pt x="6269" y="1"/>
                    </a:lnTo>
                    <a:lnTo>
                      <a:pt x="5934" y="560"/>
                    </a:lnTo>
                    <a:lnTo>
                      <a:pt x="5934" y="560"/>
                    </a:lnTo>
                    <a:lnTo>
                      <a:pt x="5598" y="896"/>
                    </a:lnTo>
                    <a:lnTo>
                      <a:pt x="5038" y="1232"/>
                    </a:lnTo>
                    <a:lnTo>
                      <a:pt x="3695" y="1904"/>
                    </a:lnTo>
                    <a:lnTo>
                      <a:pt x="2240" y="2240"/>
                    </a:lnTo>
                    <a:lnTo>
                      <a:pt x="1568" y="2351"/>
                    </a:lnTo>
                    <a:lnTo>
                      <a:pt x="896" y="2463"/>
                    </a:lnTo>
                    <a:lnTo>
                      <a:pt x="896" y="2463"/>
                    </a:lnTo>
                    <a:lnTo>
                      <a:pt x="337" y="2351"/>
                    </a:lnTo>
                    <a:lnTo>
                      <a:pt x="337" y="2351"/>
                    </a:lnTo>
                    <a:lnTo>
                      <a:pt x="1" y="4254"/>
                    </a:lnTo>
                    <a:lnTo>
                      <a:pt x="1" y="4254"/>
                    </a:lnTo>
                    <a:lnTo>
                      <a:pt x="896" y="4366"/>
                    </a:lnTo>
                    <a:lnTo>
                      <a:pt x="896" y="4366"/>
                    </a:lnTo>
                    <a:lnTo>
                      <a:pt x="1456" y="4366"/>
                    </a:lnTo>
                    <a:lnTo>
                      <a:pt x="2016" y="4142"/>
                    </a:lnTo>
                    <a:lnTo>
                      <a:pt x="2575" y="3919"/>
                    </a:lnTo>
                    <a:lnTo>
                      <a:pt x="3023" y="3695"/>
                    </a:lnTo>
                    <a:lnTo>
                      <a:pt x="3919" y="3023"/>
                    </a:lnTo>
                    <a:lnTo>
                      <a:pt x="4702" y="2240"/>
                    </a:lnTo>
                    <a:lnTo>
                      <a:pt x="5374" y="1456"/>
                    </a:lnTo>
                    <a:lnTo>
                      <a:pt x="5934" y="672"/>
                    </a:lnTo>
                    <a:lnTo>
                      <a:pt x="6269" y="1"/>
                    </a:lnTo>
                    <a:lnTo>
                      <a:pt x="6269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6" name="Google Shape;1926;p16">
                <a:extLst>
                  <a:ext uri="{FF2B5EF4-FFF2-40B4-BE49-F238E27FC236}">
                    <a16:creationId xmlns:a16="http://schemas.microsoft.com/office/drawing/2014/main" id="{D100F96F-691D-AD6A-1EF0-112FF3B311AE}"/>
                  </a:ext>
                </a:extLst>
              </p:cNvPr>
              <p:cNvSpPr/>
              <p:nvPr/>
            </p:nvSpPr>
            <p:spPr>
              <a:xfrm>
                <a:off x="4305325" y="1337925"/>
                <a:ext cx="598900" cy="537325"/>
              </a:xfrm>
              <a:custGeom>
                <a:avLst/>
                <a:gdLst/>
                <a:ahLst/>
                <a:cxnLst/>
                <a:rect l="l" t="t" r="r" b="b"/>
                <a:pathLst>
                  <a:path w="23956" h="21493" extrusionOk="0">
                    <a:moveTo>
                      <a:pt x="19589" y="0"/>
                    </a:moveTo>
                    <a:lnTo>
                      <a:pt x="18470" y="784"/>
                    </a:lnTo>
                    <a:lnTo>
                      <a:pt x="17687" y="1455"/>
                    </a:lnTo>
                    <a:lnTo>
                      <a:pt x="17015" y="2239"/>
                    </a:lnTo>
                    <a:lnTo>
                      <a:pt x="15336" y="3806"/>
                    </a:lnTo>
                    <a:lnTo>
                      <a:pt x="13657" y="5597"/>
                    </a:lnTo>
                    <a:lnTo>
                      <a:pt x="12090" y="7500"/>
                    </a:lnTo>
                    <a:lnTo>
                      <a:pt x="11306" y="8284"/>
                    </a:lnTo>
                    <a:lnTo>
                      <a:pt x="10522" y="9067"/>
                    </a:lnTo>
                    <a:lnTo>
                      <a:pt x="9739" y="9627"/>
                    </a:lnTo>
                    <a:lnTo>
                      <a:pt x="9067" y="10075"/>
                    </a:lnTo>
                    <a:lnTo>
                      <a:pt x="7164" y="10634"/>
                    </a:lnTo>
                    <a:lnTo>
                      <a:pt x="4254" y="11306"/>
                    </a:lnTo>
                    <a:lnTo>
                      <a:pt x="0" y="12201"/>
                    </a:lnTo>
                    <a:lnTo>
                      <a:pt x="0" y="12425"/>
                    </a:lnTo>
                    <a:lnTo>
                      <a:pt x="0" y="12761"/>
                    </a:lnTo>
                    <a:lnTo>
                      <a:pt x="112" y="13769"/>
                    </a:lnTo>
                    <a:lnTo>
                      <a:pt x="448" y="14776"/>
                    </a:lnTo>
                    <a:lnTo>
                      <a:pt x="672" y="15112"/>
                    </a:lnTo>
                    <a:lnTo>
                      <a:pt x="784" y="15224"/>
                    </a:lnTo>
                    <a:lnTo>
                      <a:pt x="2687" y="14888"/>
                    </a:lnTo>
                    <a:lnTo>
                      <a:pt x="5709" y="14328"/>
                    </a:lnTo>
                    <a:lnTo>
                      <a:pt x="8843" y="13657"/>
                    </a:lnTo>
                    <a:lnTo>
                      <a:pt x="9963" y="13433"/>
                    </a:lnTo>
                    <a:lnTo>
                      <a:pt x="10746" y="13097"/>
                    </a:lnTo>
                    <a:lnTo>
                      <a:pt x="11642" y="12649"/>
                    </a:lnTo>
                    <a:lnTo>
                      <a:pt x="12649" y="11866"/>
                    </a:lnTo>
                    <a:lnTo>
                      <a:pt x="14440" y="10075"/>
                    </a:lnTo>
                    <a:lnTo>
                      <a:pt x="16007" y="8619"/>
                    </a:lnTo>
                    <a:lnTo>
                      <a:pt x="16567" y="8284"/>
                    </a:lnTo>
                    <a:lnTo>
                      <a:pt x="16791" y="8172"/>
                    </a:lnTo>
                    <a:lnTo>
                      <a:pt x="16903" y="8172"/>
                    </a:lnTo>
                    <a:lnTo>
                      <a:pt x="17239" y="8507"/>
                    </a:lnTo>
                    <a:lnTo>
                      <a:pt x="17575" y="8955"/>
                    </a:lnTo>
                    <a:lnTo>
                      <a:pt x="18358" y="10298"/>
                    </a:lnTo>
                    <a:lnTo>
                      <a:pt x="19030" y="11978"/>
                    </a:lnTo>
                    <a:lnTo>
                      <a:pt x="19142" y="12873"/>
                    </a:lnTo>
                    <a:lnTo>
                      <a:pt x="19366" y="13657"/>
                    </a:lnTo>
                    <a:lnTo>
                      <a:pt x="19366" y="14328"/>
                    </a:lnTo>
                    <a:lnTo>
                      <a:pt x="19254" y="14888"/>
                    </a:lnTo>
                    <a:lnTo>
                      <a:pt x="19030" y="15783"/>
                    </a:lnTo>
                    <a:lnTo>
                      <a:pt x="18694" y="16679"/>
                    </a:lnTo>
                    <a:lnTo>
                      <a:pt x="17910" y="18470"/>
                    </a:lnTo>
                    <a:lnTo>
                      <a:pt x="17351" y="20037"/>
                    </a:lnTo>
                    <a:lnTo>
                      <a:pt x="17239" y="20709"/>
                    </a:lnTo>
                    <a:lnTo>
                      <a:pt x="17239" y="21157"/>
                    </a:lnTo>
                    <a:lnTo>
                      <a:pt x="17351" y="21269"/>
                    </a:lnTo>
                    <a:lnTo>
                      <a:pt x="17575" y="21380"/>
                    </a:lnTo>
                    <a:lnTo>
                      <a:pt x="18134" y="21492"/>
                    </a:lnTo>
                    <a:lnTo>
                      <a:pt x="18918" y="21380"/>
                    </a:lnTo>
                    <a:lnTo>
                      <a:pt x="19925" y="21157"/>
                    </a:lnTo>
                    <a:lnTo>
                      <a:pt x="20933" y="20933"/>
                    </a:lnTo>
                    <a:lnTo>
                      <a:pt x="21828" y="20485"/>
                    </a:lnTo>
                    <a:lnTo>
                      <a:pt x="22612" y="20037"/>
                    </a:lnTo>
                    <a:lnTo>
                      <a:pt x="23172" y="19589"/>
                    </a:lnTo>
                    <a:lnTo>
                      <a:pt x="23395" y="19254"/>
                    </a:lnTo>
                    <a:lnTo>
                      <a:pt x="23507" y="18918"/>
                    </a:lnTo>
                    <a:lnTo>
                      <a:pt x="23731" y="18022"/>
                    </a:lnTo>
                    <a:lnTo>
                      <a:pt x="23843" y="17015"/>
                    </a:lnTo>
                    <a:lnTo>
                      <a:pt x="23843" y="15895"/>
                    </a:lnTo>
                    <a:lnTo>
                      <a:pt x="23619" y="13769"/>
                    </a:lnTo>
                    <a:lnTo>
                      <a:pt x="23619" y="12761"/>
                    </a:lnTo>
                    <a:lnTo>
                      <a:pt x="23619" y="12089"/>
                    </a:lnTo>
                    <a:lnTo>
                      <a:pt x="23843" y="10746"/>
                    </a:lnTo>
                    <a:lnTo>
                      <a:pt x="23955" y="9179"/>
                    </a:lnTo>
                    <a:lnTo>
                      <a:pt x="23843" y="8396"/>
                    </a:lnTo>
                    <a:lnTo>
                      <a:pt x="23731" y="7612"/>
                    </a:lnTo>
                    <a:lnTo>
                      <a:pt x="23507" y="6828"/>
                    </a:lnTo>
                    <a:lnTo>
                      <a:pt x="23060" y="6157"/>
                    </a:lnTo>
                    <a:lnTo>
                      <a:pt x="22276" y="5037"/>
                    </a:lnTo>
                    <a:lnTo>
                      <a:pt x="21492" y="3470"/>
                    </a:lnTo>
                    <a:lnTo>
                      <a:pt x="20037" y="784"/>
                    </a:lnTo>
                    <a:lnTo>
                      <a:pt x="19589" y="0"/>
                    </a:lnTo>
                    <a:close/>
                  </a:path>
                </a:pathLst>
              </a:custGeom>
              <a:solidFill>
                <a:srgbClr val="46464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7" name="Google Shape;1927;p16">
                <a:extLst>
                  <a:ext uri="{FF2B5EF4-FFF2-40B4-BE49-F238E27FC236}">
                    <a16:creationId xmlns:a16="http://schemas.microsoft.com/office/drawing/2014/main" id="{20676835-1132-AE98-B988-0BE4F22CC9F6}"/>
                  </a:ext>
                </a:extLst>
              </p:cNvPr>
              <p:cNvSpPr/>
              <p:nvPr/>
            </p:nvSpPr>
            <p:spPr>
              <a:xfrm>
                <a:off x="4305325" y="1337925"/>
                <a:ext cx="598900" cy="537325"/>
              </a:xfrm>
              <a:custGeom>
                <a:avLst/>
                <a:gdLst/>
                <a:ahLst/>
                <a:cxnLst/>
                <a:rect l="l" t="t" r="r" b="b"/>
                <a:pathLst>
                  <a:path w="23956" h="21493" fill="none" extrusionOk="0">
                    <a:moveTo>
                      <a:pt x="9067" y="10075"/>
                    </a:moveTo>
                    <a:lnTo>
                      <a:pt x="9067" y="10075"/>
                    </a:lnTo>
                    <a:lnTo>
                      <a:pt x="7164" y="10634"/>
                    </a:lnTo>
                    <a:lnTo>
                      <a:pt x="4254" y="11306"/>
                    </a:lnTo>
                    <a:lnTo>
                      <a:pt x="0" y="12201"/>
                    </a:lnTo>
                    <a:lnTo>
                      <a:pt x="0" y="12201"/>
                    </a:lnTo>
                    <a:lnTo>
                      <a:pt x="0" y="12425"/>
                    </a:lnTo>
                    <a:lnTo>
                      <a:pt x="0" y="12761"/>
                    </a:lnTo>
                    <a:lnTo>
                      <a:pt x="112" y="13769"/>
                    </a:lnTo>
                    <a:lnTo>
                      <a:pt x="448" y="14776"/>
                    </a:lnTo>
                    <a:lnTo>
                      <a:pt x="672" y="15112"/>
                    </a:lnTo>
                    <a:lnTo>
                      <a:pt x="784" y="15224"/>
                    </a:lnTo>
                    <a:lnTo>
                      <a:pt x="784" y="15224"/>
                    </a:lnTo>
                    <a:lnTo>
                      <a:pt x="2687" y="14888"/>
                    </a:lnTo>
                    <a:lnTo>
                      <a:pt x="5709" y="14328"/>
                    </a:lnTo>
                    <a:lnTo>
                      <a:pt x="8843" y="13657"/>
                    </a:lnTo>
                    <a:lnTo>
                      <a:pt x="9963" y="13433"/>
                    </a:lnTo>
                    <a:lnTo>
                      <a:pt x="10746" y="13097"/>
                    </a:lnTo>
                    <a:lnTo>
                      <a:pt x="10746" y="13097"/>
                    </a:lnTo>
                    <a:lnTo>
                      <a:pt x="11642" y="12649"/>
                    </a:lnTo>
                    <a:lnTo>
                      <a:pt x="12649" y="11866"/>
                    </a:lnTo>
                    <a:lnTo>
                      <a:pt x="14440" y="10075"/>
                    </a:lnTo>
                    <a:lnTo>
                      <a:pt x="16007" y="8619"/>
                    </a:lnTo>
                    <a:lnTo>
                      <a:pt x="16567" y="8284"/>
                    </a:lnTo>
                    <a:lnTo>
                      <a:pt x="16791" y="8172"/>
                    </a:lnTo>
                    <a:lnTo>
                      <a:pt x="16903" y="8172"/>
                    </a:lnTo>
                    <a:lnTo>
                      <a:pt x="16903" y="8172"/>
                    </a:lnTo>
                    <a:lnTo>
                      <a:pt x="17239" y="8507"/>
                    </a:lnTo>
                    <a:lnTo>
                      <a:pt x="17575" y="8955"/>
                    </a:lnTo>
                    <a:lnTo>
                      <a:pt x="18358" y="10298"/>
                    </a:lnTo>
                    <a:lnTo>
                      <a:pt x="19030" y="11978"/>
                    </a:lnTo>
                    <a:lnTo>
                      <a:pt x="19142" y="12873"/>
                    </a:lnTo>
                    <a:lnTo>
                      <a:pt x="19366" y="13657"/>
                    </a:lnTo>
                    <a:lnTo>
                      <a:pt x="19366" y="13657"/>
                    </a:lnTo>
                    <a:lnTo>
                      <a:pt x="19366" y="14328"/>
                    </a:lnTo>
                    <a:lnTo>
                      <a:pt x="19254" y="14888"/>
                    </a:lnTo>
                    <a:lnTo>
                      <a:pt x="19254" y="14888"/>
                    </a:lnTo>
                    <a:lnTo>
                      <a:pt x="19030" y="15783"/>
                    </a:lnTo>
                    <a:lnTo>
                      <a:pt x="18694" y="16679"/>
                    </a:lnTo>
                    <a:lnTo>
                      <a:pt x="17910" y="18470"/>
                    </a:lnTo>
                    <a:lnTo>
                      <a:pt x="17351" y="20037"/>
                    </a:lnTo>
                    <a:lnTo>
                      <a:pt x="17239" y="20709"/>
                    </a:lnTo>
                    <a:lnTo>
                      <a:pt x="17239" y="21157"/>
                    </a:lnTo>
                    <a:lnTo>
                      <a:pt x="17239" y="21157"/>
                    </a:lnTo>
                    <a:lnTo>
                      <a:pt x="17351" y="21269"/>
                    </a:lnTo>
                    <a:lnTo>
                      <a:pt x="17575" y="21380"/>
                    </a:lnTo>
                    <a:lnTo>
                      <a:pt x="18134" y="21492"/>
                    </a:lnTo>
                    <a:lnTo>
                      <a:pt x="18918" y="21380"/>
                    </a:lnTo>
                    <a:lnTo>
                      <a:pt x="19925" y="21157"/>
                    </a:lnTo>
                    <a:lnTo>
                      <a:pt x="20933" y="20933"/>
                    </a:lnTo>
                    <a:lnTo>
                      <a:pt x="21828" y="20485"/>
                    </a:lnTo>
                    <a:lnTo>
                      <a:pt x="22612" y="20037"/>
                    </a:lnTo>
                    <a:lnTo>
                      <a:pt x="23172" y="19589"/>
                    </a:lnTo>
                    <a:lnTo>
                      <a:pt x="23172" y="19589"/>
                    </a:lnTo>
                    <a:lnTo>
                      <a:pt x="23395" y="19254"/>
                    </a:lnTo>
                    <a:lnTo>
                      <a:pt x="23507" y="18918"/>
                    </a:lnTo>
                    <a:lnTo>
                      <a:pt x="23731" y="18022"/>
                    </a:lnTo>
                    <a:lnTo>
                      <a:pt x="23843" y="17015"/>
                    </a:lnTo>
                    <a:lnTo>
                      <a:pt x="23843" y="15895"/>
                    </a:lnTo>
                    <a:lnTo>
                      <a:pt x="23619" y="13769"/>
                    </a:lnTo>
                    <a:lnTo>
                      <a:pt x="23619" y="12761"/>
                    </a:lnTo>
                    <a:lnTo>
                      <a:pt x="23619" y="12089"/>
                    </a:lnTo>
                    <a:lnTo>
                      <a:pt x="23619" y="12089"/>
                    </a:lnTo>
                    <a:lnTo>
                      <a:pt x="23843" y="10746"/>
                    </a:lnTo>
                    <a:lnTo>
                      <a:pt x="23955" y="9179"/>
                    </a:lnTo>
                    <a:lnTo>
                      <a:pt x="23843" y="8396"/>
                    </a:lnTo>
                    <a:lnTo>
                      <a:pt x="23731" y="7612"/>
                    </a:lnTo>
                    <a:lnTo>
                      <a:pt x="23507" y="6828"/>
                    </a:lnTo>
                    <a:lnTo>
                      <a:pt x="23060" y="6157"/>
                    </a:lnTo>
                    <a:lnTo>
                      <a:pt x="23060" y="6157"/>
                    </a:lnTo>
                    <a:lnTo>
                      <a:pt x="22276" y="5037"/>
                    </a:lnTo>
                    <a:lnTo>
                      <a:pt x="21492" y="3470"/>
                    </a:lnTo>
                    <a:lnTo>
                      <a:pt x="20037" y="784"/>
                    </a:lnTo>
                    <a:lnTo>
                      <a:pt x="20037" y="784"/>
                    </a:lnTo>
                    <a:lnTo>
                      <a:pt x="20037" y="784"/>
                    </a:lnTo>
                    <a:lnTo>
                      <a:pt x="19589" y="0"/>
                    </a:lnTo>
                    <a:lnTo>
                      <a:pt x="19589" y="0"/>
                    </a:lnTo>
                    <a:lnTo>
                      <a:pt x="18470" y="784"/>
                    </a:lnTo>
                    <a:lnTo>
                      <a:pt x="18470" y="784"/>
                    </a:lnTo>
                    <a:lnTo>
                      <a:pt x="17687" y="1455"/>
                    </a:lnTo>
                    <a:lnTo>
                      <a:pt x="17015" y="2239"/>
                    </a:lnTo>
                    <a:lnTo>
                      <a:pt x="15336" y="3806"/>
                    </a:lnTo>
                    <a:lnTo>
                      <a:pt x="15336" y="3806"/>
                    </a:lnTo>
                    <a:lnTo>
                      <a:pt x="13657" y="5597"/>
                    </a:lnTo>
                    <a:lnTo>
                      <a:pt x="12090" y="7500"/>
                    </a:lnTo>
                    <a:lnTo>
                      <a:pt x="11306" y="8284"/>
                    </a:lnTo>
                    <a:lnTo>
                      <a:pt x="10522" y="9067"/>
                    </a:lnTo>
                    <a:lnTo>
                      <a:pt x="9739" y="9627"/>
                    </a:lnTo>
                    <a:lnTo>
                      <a:pt x="9067" y="10075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8" name="Google Shape;1928;p16">
                <a:extLst>
                  <a:ext uri="{FF2B5EF4-FFF2-40B4-BE49-F238E27FC236}">
                    <a16:creationId xmlns:a16="http://schemas.microsoft.com/office/drawing/2014/main" id="{7B4D11AE-42CE-9BD4-DF3C-566FBCAFF357}"/>
                  </a:ext>
                </a:extLst>
              </p:cNvPr>
              <p:cNvSpPr/>
              <p:nvPr/>
            </p:nvSpPr>
            <p:spPr>
              <a:xfrm>
                <a:off x="4887400" y="1265150"/>
                <a:ext cx="481350" cy="576525"/>
              </a:xfrm>
              <a:custGeom>
                <a:avLst/>
                <a:gdLst/>
                <a:ahLst/>
                <a:cxnLst/>
                <a:rect l="l" t="t" r="r" b="b"/>
                <a:pathLst>
                  <a:path w="19254" h="23061" extrusionOk="0">
                    <a:moveTo>
                      <a:pt x="18358" y="1"/>
                    </a:moveTo>
                    <a:lnTo>
                      <a:pt x="16791" y="784"/>
                    </a:lnTo>
                    <a:lnTo>
                      <a:pt x="14664" y="1904"/>
                    </a:lnTo>
                    <a:lnTo>
                      <a:pt x="12426" y="2799"/>
                    </a:lnTo>
                    <a:lnTo>
                      <a:pt x="10523" y="3471"/>
                    </a:lnTo>
                    <a:lnTo>
                      <a:pt x="9627" y="3695"/>
                    </a:lnTo>
                    <a:lnTo>
                      <a:pt x="8732" y="3695"/>
                    </a:lnTo>
                    <a:lnTo>
                      <a:pt x="6493" y="3583"/>
                    </a:lnTo>
                    <a:lnTo>
                      <a:pt x="3694" y="3359"/>
                    </a:lnTo>
                    <a:lnTo>
                      <a:pt x="0" y="3023"/>
                    </a:lnTo>
                    <a:lnTo>
                      <a:pt x="0" y="3023"/>
                    </a:lnTo>
                    <a:lnTo>
                      <a:pt x="112" y="3247"/>
                    </a:lnTo>
                    <a:lnTo>
                      <a:pt x="448" y="4030"/>
                    </a:lnTo>
                    <a:lnTo>
                      <a:pt x="1008" y="5821"/>
                    </a:lnTo>
                    <a:lnTo>
                      <a:pt x="1344" y="6493"/>
                    </a:lnTo>
                    <a:lnTo>
                      <a:pt x="1568" y="7053"/>
                    </a:lnTo>
                    <a:lnTo>
                      <a:pt x="2127" y="7948"/>
                    </a:lnTo>
                    <a:lnTo>
                      <a:pt x="2799" y="8844"/>
                    </a:lnTo>
                    <a:lnTo>
                      <a:pt x="3694" y="10075"/>
                    </a:lnTo>
                    <a:lnTo>
                      <a:pt x="3806" y="10411"/>
                    </a:lnTo>
                    <a:lnTo>
                      <a:pt x="3918" y="10859"/>
                    </a:lnTo>
                    <a:lnTo>
                      <a:pt x="4030" y="11978"/>
                    </a:lnTo>
                    <a:lnTo>
                      <a:pt x="4030" y="13209"/>
                    </a:lnTo>
                    <a:lnTo>
                      <a:pt x="3806" y="14553"/>
                    </a:lnTo>
                    <a:lnTo>
                      <a:pt x="3583" y="17575"/>
                    </a:lnTo>
                    <a:lnTo>
                      <a:pt x="3583" y="19030"/>
                    </a:lnTo>
                    <a:lnTo>
                      <a:pt x="3694" y="20486"/>
                    </a:lnTo>
                    <a:lnTo>
                      <a:pt x="3694" y="20597"/>
                    </a:lnTo>
                    <a:lnTo>
                      <a:pt x="3918" y="21493"/>
                    </a:lnTo>
                    <a:lnTo>
                      <a:pt x="4254" y="22165"/>
                    </a:lnTo>
                    <a:lnTo>
                      <a:pt x="4366" y="22388"/>
                    </a:lnTo>
                    <a:lnTo>
                      <a:pt x="4590" y="22612"/>
                    </a:lnTo>
                    <a:lnTo>
                      <a:pt x="5150" y="22836"/>
                    </a:lnTo>
                    <a:lnTo>
                      <a:pt x="5821" y="23060"/>
                    </a:lnTo>
                    <a:lnTo>
                      <a:pt x="6381" y="23060"/>
                    </a:lnTo>
                    <a:lnTo>
                      <a:pt x="6605" y="22948"/>
                    </a:lnTo>
                    <a:lnTo>
                      <a:pt x="6829" y="22836"/>
                    </a:lnTo>
                    <a:lnTo>
                      <a:pt x="6941" y="22612"/>
                    </a:lnTo>
                    <a:lnTo>
                      <a:pt x="6941" y="22277"/>
                    </a:lnTo>
                    <a:lnTo>
                      <a:pt x="6493" y="20709"/>
                    </a:lnTo>
                    <a:lnTo>
                      <a:pt x="6269" y="19254"/>
                    </a:lnTo>
                    <a:lnTo>
                      <a:pt x="6269" y="17799"/>
                    </a:lnTo>
                    <a:lnTo>
                      <a:pt x="6269" y="16344"/>
                    </a:lnTo>
                    <a:lnTo>
                      <a:pt x="6381" y="14777"/>
                    </a:lnTo>
                    <a:lnTo>
                      <a:pt x="6493" y="13321"/>
                    </a:lnTo>
                    <a:lnTo>
                      <a:pt x="6381" y="11642"/>
                    </a:lnTo>
                    <a:lnTo>
                      <a:pt x="6157" y="9963"/>
                    </a:lnTo>
                    <a:lnTo>
                      <a:pt x="6045" y="9515"/>
                    </a:lnTo>
                    <a:lnTo>
                      <a:pt x="5821" y="9180"/>
                    </a:lnTo>
                    <a:lnTo>
                      <a:pt x="5374" y="8508"/>
                    </a:lnTo>
                    <a:lnTo>
                      <a:pt x="5150" y="7948"/>
                    </a:lnTo>
                    <a:lnTo>
                      <a:pt x="5150" y="7724"/>
                    </a:lnTo>
                    <a:lnTo>
                      <a:pt x="5262" y="7501"/>
                    </a:lnTo>
                    <a:lnTo>
                      <a:pt x="5597" y="7389"/>
                    </a:lnTo>
                    <a:lnTo>
                      <a:pt x="6045" y="7277"/>
                    </a:lnTo>
                    <a:lnTo>
                      <a:pt x="7388" y="7165"/>
                    </a:lnTo>
                    <a:lnTo>
                      <a:pt x="9179" y="6941"/>
                    </a:lnTo>
                    <a:lnTo>
                      <a:pt x="10187" y="6717"/>
                    </a:lnTo>
                    <a:lnTo>
                      <a:pt x="11082" y="6381"/>
                    </a:lnTo>
                    <a:lnTo>
                      <a:pt x="12873" y="5710"/>
                    </a:lnTo>
                    <a:lnTo>
                      <a:pt x="15448" y="4814"/>
                    </a:lnTo>
                    <a:lnTo>
                      <a:pt x="16679" y="4254"/>
                    </a:lnTo>
                    <a:lnTo>
                      <a:pt x="17799" y="3695"/>
                    </a:lnTo>
                    <a:lnTo>
                      <a:pt x="18694" y="3135"/>
                    </a:lnTo>
                    <a:lnTo>
                      <a:pt x="19142" y="2575"/>
                    </a:lnTo>
                    <a:lnTo>
                      <a:pt x="19254" y="2351"/>
                    </a:lnTo>
                    <a:lnTo>
                      <a:pt x="19254" y="1904"/>
                    </a:lnTo>
                    <a:lnTo>
                      <a:pt x="19142" y="1008"/>
                    </a:lnTo>
                    <a:lnTo>
                      <a:pt x="18806" y="113"/>
                    </a:lnTo>
                    <a:lnTo>
                      <a:pt x="18582" y="1"/>
                    </a:lnTo>
                    <a:close/>
                  </a:path>
                </a:pathLst>
              </a:custGeom>
              <a:solidFill>
                <a:srgbClr val="46464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9" name="Google Shape;1929;p16">
                <a:extLst>
                  <a:ext uri="{FF2B5EF4-FFF2-40B4-BE49-F238E27FC236}">
                    <a16:creationId xmlns:a16="http://schemas.microsoft.com/office/drawing/2014/main" id="{DB66CBF8-7C70-5BE8-59E1-92B6C28E5EA4}"/>
                  </a:ext>
                </a:extLst>
              </p:cNvPr>
              <p:cNvSpPr/>
              <p:nvPr/>
            </p:nvSpPr>
            <p:spPr>
              <a:xfrm>
                <a:off x="4727875" y="1542200"/>
                <a:ext cx="58800" cy="123150"/>
              </a:xfrm>
              <a:custGeom>
                <a:avLst/>
                <a:gdLst/>
                <a:ahLst/>
                <a:cxnLst/>
                <a:rect l="l" t="t" r="r" b="b"/>
                <a:pathLst>
                  <a:path w="2352" h="4926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337" y="225"/>
                    </a:lnTo>
                    <a:lnTo>
                      <a:pt x="673" y="672"/>
                    </a:lnTo>
                    <a:lnTo>
                      <a:pt x="1344" y="1792"/>
                    </a:lnTo>
                    <a:lnTo>
                      <a:pt x="1904" y="3359"/>
                    </a:lnTo>
                    <a:lnTo>
                      <a:pt x="2352" y="4926"/>
                    </a:lnTo>
                    <a:lnTo>
                      <a:pt x="2352" y="4926"/>
                    </a:lnTo>
                    <a:lnTo>
                      <a:pt x="1904" y="3359"/>
                    </a:lnTo>
                    <a:lnTo>
                      <a:pt x="1344" y="1792"/>
                    </a:lnTo>
                    <a:lnTo>
                      <a:pt x="673" y="672"/>
                    </a:lnTo>
                    <a:lnTo>
                      <a:pt x="337" y="225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C0BEC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10" name="Google Shape;1930;p16">
                <a:extLst>
                  <a:ext uri="{FF2B5EF4-FFF2-40B4-BE49-F238E27FC236}">
                    <a16:creationId xmlns:a16="http://schemas.microsoft.com/office/drawing/2014/main" id="{057F41A6-ED97-3A56-E254-81AE41D4AF85}"/>
                  </a:ext>
                </a:extLst>
              </p:cNvPr>
              <p:cNvSpPr/>
              <p:nvPr/>
            </p:nvSpPr>
            <p:spPr>
              <a:xfrm>
                <a:off x="4727875" y="1542200"/>
                <a:ext cx="58800" cy="123150"/>
              </a:xfrm>
              <a:custGeom>
                <a:avLst/>
                <a:gdLst/>
                <a:ahLst/>
                <a:cxnLst/>
                <a:rect l="l" t="t" r="r" b="b"/>
                <a:pathLst>
                  <a:path w="2352" h="4926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337" y="225"/>
                    </a:lnTo>
                    <a:lnTo>
                      <a:pt x="673" y="672"/>
                    </a:lnTo>
                    <a:lnTo>
                      <a:pt x="1344" y="1792"/>
                    </a:lnTo>
                    <a:lnTo>
                      <a:pt x="1904" y="3359"/>
                    </a:lnTo>
                    <a:lnTo>
                      <a:pt x="2352" y="4926"/>
                    </a:lnTo>
                    <a:lnTo>
                      <a:pt x="2352" y="4926"/>
                    </a:lnTo>
                    <a:lnTo>
                      <a:pt x="1904" y="3359"/>
                    </a:lnTo>
                    <a:lnTo>
                      <a:pt x="1344" y="1792"/>
                    </a:lnTo>
                    <a:lnTo>
                      <a:pt x="673" y="672"/>
                    </a:lnTo>
                    <a:lnTo>
                      <a:pt x="337" y="225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11" name="Google Shape;1931;p16">
                <a:extLst>
                  <a:ext uri="{FF2B5EF4-FFF2-40B4-BE49-F238E27FC236}">
                    <a16:creationId xmlns:a16="http://schemas.microsoft.com/office/drawing/2014/main" id="{E0FD4505-D1C2-F160-94A8-D1948F27184A}"/>
                  </a:ext>
                </a:extLst>
              </p:cNvPr>
              <p:cNvSpPr/>
              <p:nvPr/>
            </p:nvSpPr>
            <p:spPr>
              <a:xfrm>
                <a:off x="4727875" y="1542200"/>
                <a:ext cx="75600" cy="137150"/>
              </a:xfrm>
              <a:custGeom>
                <a:avLst/>
                <a:gdLst/>
                <a:ahLst/>
                <a:cxnLst/>
                <a:rect l="l" t="t" r="r" b="b"/>
                <a:pathLst>
                  <a:path w="3024" h="5486" extrusionOk="0">
                    <a:moveTo>
                      <a:pt x="1" y="1"/>
                    </a:moveTo>
                    <a:lnTo>
                      <a:pt x="337" y="225"/>
                    </a:lnTo>
                    <a:lnTo>
                      <a:pt x="673" y="672"/>
                    </a:lnTo>
                    <a:lnTo>
                      <a:pt x="1344" y="1792"/>
                    </a:lnTo>
                    <a:lnTo>
                      <a:pt x="1904" y="3359"/>
                    </a:lnTo>
                    <a:lnTo>
                      <a:pt x="2352" y="4926"/>
                    </a:lnTo>
                    <a:lnTo>
                      <a:pt x="2464" y="5486"/>
                    </a:lnTo>
                    <a:lnTo>
                      <a:pt x="2911" y="4030"/>
                    </a:lnTo>
                    <a:lnTo>
                      <a:pt x="3023" y="3359"/>
                    </a:lnTo>
                    <a:lnTo>
                      <a:pt x="3023" y="2799"/>
                    </a:lnTo>
                    <a:lnTo>
                      <a:pt x="2911" y="2575"/>
                    </a:lnTo>
                    <a:lnTo>
                      <a:pt x="2799" y="2239"/>
                    </a:lnTo>
                    <a:lnTo>
                      <a:pt x="2128" y="1344"/>
                    </a:lnTo>
                    <a:lnTo>
                      <a:pt x="1120" y="560"/>
                    </a:lnTo>
                    <a:lnTo>
                      <a:pt x="561" y="336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3E3E4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12" name="Google Shape;1932;p16">
                <a:extLst>
                  <a:ext uri="{FF2B5EF4-FFF2-40B4-BE49-F238E27FC236}">
                    <a16:creationId xmlns:a16="http://schemas.microsoft.com/office/drawing/2014/main" id="{A2B4484B-84CA-6A96-D8E3-5CBFFC5BCA8A}"/>
                  </a:ext>
                </a:extLst>
              </p:cNvPr>
              <p:cNvSpPr/>
              <p:nvPr/>
            </p:nvSpPr>
            <p:spPr>
              <a:xfrm>
                <a:off x="4727875" y="1542200"/>
                <a:ext cx="75600" cy="137150"/>
              </a:xfrm>
              <a:custGeom>
                <a:avLst/>
                <a:gdLst/>
                <a:ahLst/>
                <a:cxnLst/>
                <a:rect l="l" t="t" r="r" b="b"/>
                <a:pathLst>
                  <a:path w="3024" h="5486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337" y="225"/>
                    </a:lnTo>
                    <a:lnTo>
                      <a:pt x="673" y="672"/>
                    </a:lnTo>
                    <a:lnTo>
                      <a:pt x="1344" y="1792"/>
                    </a:lnTo>
                    <a:lnTo>
                      <a:pt x="1904" y="3359"/>
                    </a:lnTo>
                    <a:lnTo>
                      <a:pt x="2352" y="4926"/>
                    </a:lnTo>
                    <a:lnTo>
                      <a:pt x="2352" y="4926"/>
                    </a:lnTo>
                    <a:lnTo>
                      <a:pt x="2464" y="5486"/>
                    </a:lnTo>
                    <a:lnTo>
                      <a:pt x="2464" y="5486"/>
                    </a:lnTo>
                    <a:lnTo>
                      <a:pt x="2911" y="4030"/>
                    </a:lnTo>
                    <a:lnTo>
                      <a:pt x="3023" y="3359"/>
                    </a:lnTo>
                    <a:lnTo>
                      <a:pt x="3023" y="2799"/>
                    </a:lnTo>
                    <a:lnTo>
                      <a:pt x="3023" y="2799"/>
                    </a:lnTo>
                    <a:lnTo>
                      <a:pt x="2911" y="2575"/>
                    </a:lnTo>
                    <a:lnTo>
                      <a:pt x="2799" y="2239"/>
                    </a:lnTo>
                    <a:lnTo>
                      <a:pt x="2128" y="1344"/>
                    </a:lnTo>
                    <a:lnTo>
                      <a:pt x="1120" y="560"/>
                    </a:lnTo>
                    <a:lnTo>
                      <a:pt x="561" y="336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13" name="Google Shape;1933;p16">
                <a:extLst>
                  <a:ext uri="{FF2B5EF4-FFF2-40B4-BE49-F238E27FC236}">
                    <a16:creationId xmlns:a16="http://schemas.microsoft.com/office/drawing/2014/main" id="{C1A9B6DF-56C7-9544-1C69-67C782517D47}"/>
                  </a:ext>
                </a:extLst>
              </p:cNvPr>
              <p:cNvSpPr/>
              <p:nvPr/>
            </p:nvSpPr>
            <p:spPr>
              <a:xfrm>
                <a:off x="4688700" y="1357500"/>
                <a:ext cx="78400" cy="75575"/>
              </a:xfrm>
              <a:custGeom>
                <a:avLst/>
                <a:gdLst/>
                <a:ahLst/>
                <a:cxnLst/>
                <a:rect l="l" t="t" r="r" b="b"/>
                <a:pathLst>
                  <a:path w="3136" h="3023" extrusionOk="0">
                    <a:moveTo>
                      <a:pt x="3135" y="1"/>
                    </a:moveTo>
                    <a:lnTo>
                      <a:pt x="1568" y="1344"/>
                    </a:lnTo>
                    <a:lnTo>
                      <a:pt x="1" y="3023"/>
                    </a:lnTo>
                    <a:lnTo>
                      <a:pt x="1680" y="1456"/>
                    </a:lnTo>
                    <a:lnTo>
                      <a:pt x="2352" y="672"/>
                    </a:lnTo>
                    <a:lnTo>
                      <a:pt x="3135" y="1"/>
                    </a:lnTo>
                    <a:close/>
                  </a:path>
                </a:pathLst>
              </a:custGeom>
              <a:solidFill>
                <a:srgbClr val="C0BEC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14" name="Google Shape;1934;p16">
                <a:extLst>
                  <a:ext uri="{FF2B5EF4-FFF2-40B4-BE49-F238E27FC236}">
                    <a16:creationId xmlns:a16="http://schemas.microsoft.com/office/drawing/2014/main" id="{E1E93349-510F-79EF-6FFE-417C3F3C8BC5}"/>
                  </a:ext>
                </a:extLst>
              </p:cNvPr>
              <p:cNvSpPr/>
              <p:nvPr/>
            </p:nvSpPr>
            <p:spPr>
              <a:xfrm>
                <a:off x="4688700" y="1357500"/>
                <a:ext cx="78400" cy="75575"/>
              </a:xfrm>
              <a:custGeom>
                <a:avLst/>
                <a:gdLst/>
                <a:ahLst/>
                <a:cxnLst/>
                <a:rect l="l" t="t" r="r" b="b"/>
                <a:pathLst>
                  <a:path w="3136" h="3023" fill="none" extrusionOk="0">
                    <a:moveTo>
                      <a:pt x="3135" y="1"/>
                    </a:moveTo>
                    <a:lnTo>
                      <a:pt x="3135" y="1"/>
                    </a:lnTo>
                    <a:lnTo>
                      <a:pt x="3135" y="1"/>
                    </a:lnTo>
                    <a:lnTo>
                      <a:pt x="1568" y="1344"/>
                    </a:lnTo>
                    <a:lnTo>
                      <a:pt x="1" y="3023"/>
                    </a:lnTo>
                    <a:lnTo>
                      <a:pt x="1" y="3023"/>
                    </a:lnTo>
                    <a:lnTo>
                      <a:pt x="1" y="3023"/>
                    </a:lnTo>
                    <a:lnTo>
                      <a:pt x="1680" y="1456"/>
                    </a:lnTo>
                    <a:lnTo>
                      <a:pt x="2352" y="672"/>
                    </a:lnTo>
                    <a:lnTo>
                      <a:pt x="3135" y="1"/>
                    </a:lnTo>
                    <a:lnTo>
                      <a:pt x="3135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15" name="Google Shape;1935;p16">
                <a:extLst>
                  <a:ext uri="{FF2B5EF4-FFF2-40B4-BE49-F238E27FC236}">
                    <a16:creationId xmlns:a16="http://schemas.microsoft.com/office/drawing/2014/main" id="{DDFC99DE-FC6B-2350-2FD4-134B0B5E8D00}"/>
                  </a:ext>
                </a:extLst>
              </p:cNvPr>
              <p:cNvSpPr/>
              <p:nvPr/>
            </p:nvSpPr>
            <p:spPr>
              <a:xfrm>
                <a:off x="4806250" y="1357500"/>
                <a:ext cx="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C0BEC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16" name="Google Shape;1936;p16">
                <a:extLst>
                  <a:ext uri="{FF2B5EF4-FFF2-40B4-BE49-F238E27FC236}">
                    <a16:creationId xmlns:a16="http://schemas.microsoft.com/office/drawing/2014/main" id="{917E9C93-135C-51F2-BA29-22DC2EFDC2E2}"/>
                  </a:ext>
                </a:extLst>
              </p:cNvPr>
              <p:cNvSpPr/>
              <p:nvPr/>
            </p:nvSpPr>
            <p:spPr>
              <a:xfrm>
                <a:off x="4806250" y="1357500"/>
                <a:ext cx="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17" name="Google Shape;1937;p16">
                <a:extLst>
                  <a:ext uri="{FF2B5EF4-FFF2-40B4-BE49-F238E27FC236}">
                    <a16:creationId xmlns:a16="http://schemas.microsoft.com/office/drawing/2014/main" id="{A7A2AE59-54DD-365B-9E36-C61FCF22FC1D}"/>
                  </a:ext>
                </a:extLst>
              </p:cNvPr>
              <p:cNvSpPr/>
              <p:nvPr/>
            </p:nvSpPr>
            <p:spPr>
              <a:xfrm>
                <a:off x="4688700" y="1357500"/>
                <a:ext cx="117575" cy="75575"/>
              </a:xfrm>
              <a:custGeom>
                <a:avLst/>
                <a:gdLst/>
                <a:ahLst/>
                <a:cxnLst/>
                <a:rect l="l" t="t" r="r" b="b"/>
                <a:pathLst>
                  <a:path w="4703" h="3023" extrusionOk="0">
                    <a:moveTo>
                      <a:pt x="3135" y="1"/>
                    </a:moveTo>
                    <a:lnTo>
                      <a:pt x="2352" y="672"/>
                    </a:lnTo>
                    <a:lnTo>
                      <a:pt x="1680" y="1456"/>
                    </a:lnTo>
                    <a:lnTo>
                      <a:pt x="1" y="3023"/>
                    </a:lnTo>
                    <a:lnTo>
                      <a:pt x="2016" y="2463"/>
                    </a:lnTo>
                    <a:lnTo>
                      <a:pt x="2687" y="2127"/>
                    </a:lnTo>
                    <a:lnTo>
                      <a:pt x="3359" y="1792"/>
                    </a:lnTo>
                    <a:lnTo>
                      <a:pt x="3807" y="1456"/>
                    </a:lnTo>
                    <a:lnTo>
                      <a:pt x="4254" y="1008"/>
                    </a:lnTo>
                    <a:lnTo>
                      <a:pt x="4478" y="560"/>
                    </a:lnTo>
                    <a:lnTo>
                      <a:pt x="4702" y="1"/>
                    </a:lnTo>
                    <a:close/>
                  </a:path>
                </a:pathLst>
              </a:custGeom>
              <a:solidFill>
                <a:srgbClr val="3E3E4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18" name="Google Shape;1938;p16">
                <a:extLst>
                  <a:ext uri="{FF2B5EF4-FFF2-40B4-BE49-F238E27FC236}">
                    <a16:creationId xmlns:a16="http://schemas.microsoft.com/office/drawing/2014/main" id="{C4ACCA74-0140-086B-FFB5-675C896554D3}"/>
                  </a:ext>
                </a:extLst>
              </p:cNvPr>
              <p:cNvSpPr/>
              <p:nvPr/>
            </p:nvSpPr>
            <p:spPr>
              <a:xfrm>
                <a:off x="4688700" y="1357500"/>
                <a:ext cx="117575" cy="75575"/>
              </a:xfrm>
              <a:custGeom>
                <a:avLst/>
                <a:gdLst/>
                <a:ahLst/>
                <a:cxnLst/>
                <a:rect l="l" t="t" r="r" b="b"/>
                <a:pathLst>
                  <a:path w="4703" h="3023" fill="none" extrusionOk="0">
                    <a:moveTo>
                      <a:pt x="4702" y="1"/>
                    </a:moveTo>
                    <a:lnTo>
                      <a:pt x="3135" y="1"/>
                    </a:lnTo>
                    <a:lnTo>
                      <a:pt x="3135" y="1"/>
                    </a:lnTo>
                    <a:lnTo>
                      <a:pt x="3135" y="1"/>
                    </a:lnTo>
                    <a:lnTo>
                      <a:pt x="2352" y="672"/>
                    </a:lnTo>
                    <a:lnTo>
                      <a:pt x="1680" y="1456"/>
                    </a:lnTo>
                    <a:lnTo>
                      <a:pt x="1" y="3023"/>
                    </a:lnTo>
                    <a:lnTo>
                      <a:pt x="1" y="3023"/>
                    </a:lnTo>
                    <a:lnTo>
                      <a:pt x="2016" y="2463"/>
                    </a:lnTo>
                    <a:lnTo>
                      <a:pt x="2687" y="2127"/>
                    </a:lnTo>
                    <a:lnTo>
                      <a:pt x="3359" y="1792"/>
                    </a:lnTo>
                    <a:lnTo>
                      <a:pt x="3807" y="1456"/>
                    </a:lnTo>
                    <a:lnTo>
                      <a:pt x="4254" y="1008"/>
                    </a:lnTo>
                    <a:lnTo>
                      <a:pt x="4478" y="560"/>
                    </a:lnTo>
                    <a:lnTo>
                      <a:pt x="4702" y="1"/>
                    </a:lnTo>
                    <a:lnTo>
                      <a:pt x="4702" y="1"/>
                    </a:lnTo>
                    <a:lnTo>
                      <a:pt x="470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19" name="Google Shape;1939;p16">
                <a:extLst>
                  <a:ext uri="{FF2B5EF4-FFF2-40B4-BE49-F238E27FC236}">
                    <a16:creationId xmlns:a16="http://schemas.microsoft.com/office/drawing/2014/main" id="{EC1FE055-E094-C995-D1EA-CA10AEE292CA}"/>
                  </a:ext>
                </a:extLst>
              </p:cNvPr>
              <p:cNvSpPr/>
              <p:nvPr/>
            </p:nvSpPr>
            <p:spPr>
              <a:xfrm>
                <a:off x="4789450" y="1184000"/>
                <a:ext cx="148350" cy="263075"/>
              </a:xfrm>
              <a:custGeom>
                <a:avLst/>
                <a:gdLst/>
                <a:ahLst/>
                <a:cxnLst/>
                <a:rect l="l" t="t" r="r" b="b"/>
                <a:pathLst>
                  <a:path w="5934" h="10523" extrusionOk="0">
                    <a:moveTo>
                      <a:pt x="5038" y="0"/>
                    </a:moveTo>
                    <a:lnTo>
                      <a:pt x="2016" y="560"/>
                    </a:lnTo>
                    <a:lnTo>
                      <a:pt x="1344" y="2463"/>
                    </a:lnTo>
                    <a:lnTo>
                      <a:pt x="896" y="2911"/>
                    </a:lnTo>
                    <a:lnTo>
                      <a:pt x="560" y="3471"/>
                    </a:lnTo>
                    <a:lnTo>
                      <a:pt x="224" y="4254"/>
                    </a:lnTo>
                    <a:lnTo>
                      <a:pt x="1" y="5038"/>
                    </a:lnTo>
                    <a:lnTo>
                      <a:pt x="1" y="5821"/>
                    </a:lnTo>
                    <a:lnTo>
                      <a:pt x="113" y="6157"/>
                    </a:lnTo>
                    <a:lnTo>
                      <a:pt x="336" y="6605"/>
                    </a:lnTo>
                    <a:lnTo>
                      <a:pt x="560" y="6941"/>
                    </a:lnTo>
                    <a:lnTo>
                      <a:pt x="896" y="7276"/>
                    </a:lnTo>
                    <a:lnTo>
                      <a:pt x="1680" y="7836"/>
                    </a:lnTo>
                    <a:lnTo>
                      <a:pt x="2239" y="8396"/>
                    </a:lnTo>
                    <a:lnTo>
                      <a:pt x="3135" y="9403"/>
                    </a:lnTo>
                    <a:lnTo>
                      <a:pt x="3807" y="10187"/>
                    </a:lnTo>
                    <a:lnTo>
                      <a:pt x="4142" y="10411"/>
                    </a:lnTo>
                    <a:lnTo>
                      <a:pt x="4366" y="10523"/>
                    </a:lnTo>
                    <a:lnTo>
                      <a:pt x="4478" y="10411"/>
                    </a:lnTo>
                    <a:lnTo>
                      <a:pt x="4478" y="10075"/>
                    </a:lnTo>
                    <a:lnTo>
                      <a:pt x="4478" y="9067"/>
                    </a:lnTo>
                    <a:lnTo>
                      <a:pt x="4142" y="7276"/>
                    </a:lnTo>
                    <a:lnTo>
                      <a:pt x="3918" y="6717"/>
                    </a:lnTo>
                    <a:lnTo>
                      <a:pt x="3695" y="6157"/>
                    </a:lnTo>
                    <a:lnTo>
                      <a:pt x="3471" y="5597"/>
                    </a:lnTo>
                    <a:lnTo>
                      <a:pt x="3471" y="5373"/>
                    </a:lnTo>
                    <a:lnTo>
                      <a:pt x="3583" y="5150"/>
                    </a:lnTo>
                    <a:lnTo>
                      <a:pt x="3807" y="5150"/>
                    </a:lnTo>
                    <a:lnTo>
                      <a:pt x="4030" y="5038"/>
                    </a:lnTo>
                    <a:lnTo>
                      <a:pt x="4366" y="5150"/>
                    </a:lnTo>
                    <a:lnTo>
                      <a:pt x="4814" y="5262"/>
                    </a:lnTo>
                    <a:lnTo>
                      <a:pt x="5150" y="5262"/>
                    </a:lnTo>
                    <a:lnTo>
                      <a:pt x="5262" y="5150"/>
                    </a:lnTo>
                    <a:lnTo>
                      <a:pt x="5262" y="5038"/>
                    </a:lnTo>
                    <a:lnTo>
                      <a:pt x="5262" y="4702"/>
                    </a:lnTo>
                    <a:lnTo>
                      <a:pt x="5262" y="4254"/>
                    </a:lnTo>
                    <a:lnTo>
                      <a:pt x="5262" y="3918"/>
                    </a:lnTo>
                    <a:lnTo>
                      <a:pt x="5374" y="3806"/>
                    </a:lnTo>
                    <a:lnTo>
                      <a:pt x="5262" y="3694"/>
                    </a:lnTo>
                    <a:lnTo>
                      <a:pt x="5150" y="3694"/>
                    </a:lnTo>
                    <a:lnTo>
                      <a:pt x="5038" y="3582"/>
                    </a:lnTo>
                    <a:lnTo>
                      <a:pt x="5150" y="3471"/>
                    </a:lnTo>
                    <a:lnTo>
                      <a:pt x="5374" y="3471"/>
                    </a:lnTo>
                    <a:lnTo>
                      <a:pt x="5486" y="3359"/>
                    </a:lnTo>
                    <a:lnTo>
                      <a:pt x="5486" y="3247"/>
                    </a:lnTo>
                    <a:lnTo>
                      <a:pt x="5374" y="2911"/>
                    </a:lnTo>
                    <a:lnTo>
                      <a:pt x="5374" y="2799"/>
                    </a:lnTo>
                    <a:lnTo>
                      <a:pt x="5598" y="2687"/>
                    </a:lnTo>
                    <a:lnTo>
                      <a:pt x="5821" y="2687"/>
                    </a:lnTo>
                    <a:lnTo>
                      <a:pt x="5933" y="2575"/>
                    </a:lnTo>
                    <a:lnTo>
                      <a:pt x="5933" y="2351"/>
                    </a:lnTo>
                    <a:lnTo>
                      <a:pt x="5821" y="2239"/>
                    </a:lnTo>
                    <a:lnTo>
                      <a:pt x="5262" y="1791"/>
                    </a:lnTo>
                    <a:lnTo>
                      <a:pt x="5038" y="1344"/>
                    </a:lnTo>
                    <a:lnTo>
                      <a:pt x="5038" y="896"/>
                    </a:lnTo>
                    <a:lnTo>
                      <a:pt x="5038" y="448"/>
                    </a:lnTo>
                    <a:lnTo>
                      <a:pt x="5038" y="0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20" name="Google Shape;1940;p16">
                <a:extLst>
                  <a:ext uri="{FF2B5EF4-FFF2-40B4-BE49-F238E27FC236}">
                    <a16:creationId xmlns:a16="http://schemas.microsoft.com/office/drawing/2014/main" id="{06236D7D-3F26-AFDC-D883-49927E9B3DBF}"/>
                  </a:ext>
                </a:extLst>
              </p:cNvPr>
              <p:cNvSpPr/>
              <p:nvPr/>
            </p:nvSpPr>
            <p:spPr>
              <a:xfrm>
                <a:off x="4434050" y="1130825"/>
                <a:ext cx="486950" cy="285475"/>
              </a:xfrm>
              <a:custGeom>
                <a:avLst/>
                <a:gdLst/>
                <a:ahLst/>
                <a:cxnLst/>
                <a:rect l="l" t="t" r="r" b="b"/>
                <a:pathLst>
                  <a:path w="19478" h="11419" extrusionOk="0">
                    <a:moveTo>
                      <a:pt x="16903" y="1"/>
                    </a:moveTo>
                    <a:lnTo>
                      <a:pt x="15784" y="113"/>
                    </a:lnTo>
                    <a:lnTo>
                      <a:pt x="15336" y="224"/>
                    </a:lnTo>
                    <a:lnTo>
                      <a:pt x="15000" y="448"/>
                    </a:lnTo>
                    <a:lnTo>
                      <a:pt x="14329" y="1008"/>
                    </a:lnTo>
                    <a:lnTo>
                      <a:pt x="13769" y="1680"/>
                    </a:lnTo>
                    <a:lnTo>
                      <a:pt x="13321" y="2351"/>
                    </a:lnTo>
                    <a:lnTo>
                      <a:pt x="12649" y="3695"/>
                    </a:lnTo>
                    <a:lnTo>
                      <a:pt x="12314" y="4254"/>
                    </a:lnTo>
                    <a:lnTo>
                      <a:pt x="12090" y="4478"/>
                    </a:lnTo>
                    <a:lnTo>
                      <a:pt x="11866" y="4590"/>
                    </a:lnTo>
                    <a:lnTo>
                      <a:pt x="9963" y="4590"/>
                    </a:lnTo>
                    <a:lnTo>
                      <a:pt x="9515" y="4814"/>
                    </a:lnTo>
                    <a:lnTo>
                      <a:pt x="8844" y="5150"/>
                    </a:lnTo>
                    <a:lnTo>
                      <a:pt x="8396" y="5486"/>
                    </a:lnTo>
                    <a:lnTo>
                      <a:pt x="8172" y="5821"/>
                    </a:lnTo>
                    <a:lnTo>
                      <a:pt x="7948" y="6157"/>
                    </a:lnTo>
                    <a:lnTo>
                      <a:pt x="7612" y="6717"/>
                    </a:lnTo>
                    <a:lnTo>
                      <a:pt x="7500" y="6829"/>
                    </a:lnTo>
                    <a:lnTo>
                      <a:pt x="7276" y="7053"/>
                    </a:lnTo>
                    <a:lnTo>
                      <a:pt x="6717" y="7165"/>
                    </a:lnTo>
                    <a:lnTo>
                      <a:pt x="6045" y="7277"/>
                    </a:lnTo>
                    <a:lnTo>
                      <a:pt x="4366" y="7277"/>
                    </a:lnTo>
                    <a:lnTo>
                      <a:pt x="3470" y="7500"/>
                    </a:lnTo>
                    <a:lnTo>
                      <a:pt x="2575" y="7836"/>
                    </a:lnTo>
                    <a:lnTo>
                      <a:pt x="1791" y="8284"/>
                    </a:lnTo>
                    <a:lnTo>
                      <a:pt x="1008" y="8844"/>
                    </a:lnTo>
                    <a:lnTo>
                      <a:pt x="448" y="9403"/>
                    </a:lnTo>
                    <a:lnTo>
                      <a:pt x="112" y="10075"/>
                    </a:lnTo>
                    <a:lnTo>
                      <a:pt x="0" y="10299"/>
                    </a:lnTo>
                    <a:lnTo>
                      <a:pt x="0" y="10523"/>
                    </a:lnTo>
                    <a:lnTo>
                      <a:pt x="112" y="10859"/>
                    </a:lnTo>
                    <a:lnTo>
                      <a:pt x="336" y="11083"/>
                    </a:lnTo>
                    <a:lnTo>
                      <a:pt x="560" y="11194"/>
                    </a:lnTo>
                    <a:lnTo>
                      <a:pt x="784" y="11194"/>
                    </a:lnTo>
                    <a:lnTo>
                      <a:pt x="1456" y="11083"/>
                    </a:lnTo>
                    <a:lnTo>
                      <a:pt x="3135" y="10411"/>
                    </a:lnTo>
                    <a:lnTo>
                      <a:pt x="4142" y="10187"/>
                    </a:lnTo>
                    <a:lnTo>
                      <a:pt x="5150" y="10075"/>
                    </a:lnTo>
                    <a:lnTo>
                      <a:pt x="5709" y="10187"/>
                    </a:lnTo>
                    <a:lnTo>
                      <a:pt x="6157" y="10299"/>
                    </a:lnTo>
                    <a:lnTo>
                      <a:pt x="6605" y="10635"/>
                    </a:lnTo>
                    <a:lnTo>
                      <a:pt x="7053" y="10971"/>
                    </a:lnTo>
                    <a:lnTo>
                      <a:pt x="7388" y="11306"/>
                    </a:lnTo>
                    <a:lnTo>
                      <a:pt x="7724" y="11418"/>
                    </a:lnTo>
                    <a:lnTo>
                      <a:pt x="8060" y="11306"/>
                    </a:lnTo>
                    <a:lnTo>
                      <a:pt x="8396" y="11306"/>
                    </a:lnTo>
                    <a:lnTo>
                      <a:pt x="9179" y="10971"/>
                    </a:lnTo>
                    <a:lnTo>
                      <a:pt x="9851" y="10635"/>
                    </a:lnTo>
                    <a:lnTo>
                      <a:pt x="10299" y="10635"/>
                    </a:lnTo>
                    <a:lnTo>
                      <a:pt x="11194" y="10747"/>
                    </a:lnTo>
                    <a:lnTo>
                      <a:pt x="11866" y="10859"/>
                    </a:lnTo>
                    <a:lnTo>
                      <a:pt x="12314" y="10747"/>
                    </a:lnTo>
                    <a:lnTo>
                      <a:pt x="12761" y="10635"/>
                    </a:lnTo>
                    <a:lnTo>
                      <a:pt x="13769" y="10411"/>
                    </a:lnTo>
                    <a:lnTo>
                      <a:pt x="14329" y="10075"/>
                    </a:lnTo>
                    <a:lnTo>
                      <a:pt x="14888" y="9627"/>
                    </a:lnTo>
                    <a:lnTo>
                      <a:pt x="15336" y="9068"/>
                    </a:lnTo>
                    <a:lnTo>
                      <a:pt x="15672" y="8620"/>
                    </a:lnTo>
                    <a:lnTo>
                      <a:pt x="16232" y="7500"/>
                    </a:lnTo>
                    <a:lnTo>
                      <a:pt x="16791" y="5709"/>
                    </a:lnTo>
                    <a:lnTo>
                      <a:pt x="16903" y="5374"/>
                    </a:lnTo>
                    <a:lnTo>
                      <a:pt x="16791" y="4926"/>
                    </a:lnTo>
                    <a:lnTo>
                      <a:pt x="16455" y="4478"/>
                    </a:lnTo>
                    <a:lnTo>
                      <a:pt x="16343" y="4254"/>
                    </a:lnTo>
                    <a:lnTo>
                      <a:pt x="16455" y="4030"/>
                    </a:lnTo>
                    <a:lnTo>
                      <a:pt x="16567" y="3918"/>
                    </a:lnTo>
                    <a:lnTo>
                      <a:pt x="16791" y="3807"/>
                    </a:lnTo>
                    <a:lnTo>
                      <a:pt x="17015" y="3918"/>
                    </a:lnTo>
                    <a:lnTo>
                      <a:pt x="17127" y="4030"/>
                    </a:lnTo>
                    <a:lnTo>
                      <a:pt x="17351" y="4366"/>
                    </a:lnTo>
                    <a:lnTo>
                      <a:pt x="17575" y="4478"/>
                    </a:lnTo>
                    <a:lnTo>
                      <a:pt x="17687" y="4366"/>
                    </a:lnTo>
                    <a:lnTo>
                      <a:pt x="17799" y="4030"/>
                    </a:lnTo>
                    <a:lnTo>
                      <a:pt x="17911" y="3247"/>
                    </a:lnTo>
                    <a:lnTo>
                      <a:pt x="18134" y="2799"/>
                    </a:lnTo>
                    <a:lnTo>
                      <a:pt x="18470" y="2575"/>
                    </a:lnTo>
                    <a:lnTo>
                      <a:pt x="18806" y="2463"/>
                    </a:lnTo>
                    <a:lnTo>
                      <a:pt x="19030" y="2463"/>
                    </a:lnTo>
                    <a:lnTo>
                      <a:pt x="19254" y="2351"/>
                    </a:lnTo>
                    <a:lnTo>
                      <a:pt x="19478" y="2015"/>
                    </a:lnTo>
                    <a:lnTo>
                      <a:pt x="19478" y="1680"/>
                    </a:lnTo>
                    <a:lnTo>
                      <a:pt x="19254" y="1008"/>
                    </a:lnTo>
                    <a:lnTo>
                      <a:pt x="19030" y="672"/>
                    </a:lnTo>
                    <a:lnTo>
                      <a:pt x="18806" y="336"/>
                    </a:lnTo>
                    <a:lnTo>
                      <a:pt x="18358" y="113"/>
                    </a:lnTo>
                    <a:lnTo>
                      <a:pt x="17911" y="1"/>
                    </a:lnTo>
                    <a:close/>
                  </a:path>
                </a:pathLst>
              </a:custGeom>
              <a:solidFill>
                <a:srgbClr val="6E362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21" name="Google Shape;1941;p16">
                <a:extLst>
                  <a:ext uri="{FF2B5EF4-FFF2-40B4-BE49-F238E27FC236}">
                    <a16:creationId xmlns:a16="http://schemas.microsoft.com/office/drawing/2014/main" id="{A4B00DFC-7CC6-D04F-51B6-9BDF4598648A}"/>
                  </a:ext>
                </a:extLst>
              </p:cNvPr>
              <p:cNvSpPr/>
              <p:nvPr/>
            </p:nvSpPr>
            <p:spPr>
              <a:xfrm>
                <a:off x="5382725" y="1239975"/>
                <a:ext cx="193125" cy="92375"/>
              </a:xfrm>
              <a:custGeom>
                <a:avLst/>
                <a:gdLst/>
                <a:ahLst/>
                <a:cxnLst/>
                <a:rect l="l" t="t" r="r" b="b"/>
                <a:pathLst>
                  <a:path w="7725" h="3695" extrusionOk="0">
                    <a:moveTo>
                      <a:pt x="2239" y="0"/>
                    </a:moveTo>
                    <a:lnTo>
                      <a:pt x="2127" y="336"/>
                    </a:lnTo>
                    <a:lnTo>
                      <a:pt x="2127" y="560"/>
                    </a:lnTo>
                    <a:lnTo>
                      <a:pt x="2127" y="672"/>
                    </a:lnTo>
                    <a:lnTo>
                      <a:pt x="2016" y="672"/>
                    </a:lnTo>
                    <a:lnTo>
                      <a:pt x="1680" y="560"/>
                    </a:lnTo>
                    <a:lnTo>
                      <a:pt x="560" y="560"/>
                    </a:lnTo>
                    <a:lnTo>
                      <a:pt x="113" y="672"/>
                    </a:lnTo>
                    <a:lnTo>
                      <a:pt x="1" y="784"/>
                    </a:lnTo>
                    <a:lnTo>
                      <a:pt x="1" y="896"/>
                    </a:lnTo>
                    <a:lnTo>
                      <a:pt x="113" y="1567"/>
                    </a:lnTo>
                    <a:lnTo>
                      <a:pt x="113" y="2015"/>
                    </a:lnTo>
                    <a:lnTo>
                      <a:pt x="225" y="2351"/>
                    </a:lnTo>
                    <a:lnTo>
                      <a:pt x="448" y="2687"/>
                    </a:lnTo>
                    <a:lnTo>
                      <a:pt x="784" y="3023"/>
                    </a:lnTo>
                    <a:lnTo>
                      <a:pt x="1344" y="3246"/>
                    </a:lnTo>
                    <a:lnTo>
                      <a:pt x="2127" y="3470"/>
                    </a:lnTo>
                    <a:lnTo>
                      <a:pt x="5933" y="3694"/>
                    </a:lnTo>
                    <a:lnTo>
                      <a:pt x="7724" y="3694"/>
                    </a:lnTo>
                    <a:lnTo>
                      <a:pt x="6157" y="1455"/>
                    </a:lnTo>
                    <a:lnTo>
                      <a:pt x="5598" y="1343"/>
                    </a:lnTo>
                    <a:lnTo>
                      <a:pt x="4366" y="1232"/>
                    </a:lnTo>
                    <a:lnTo>
                      <a:pt x="3919" y="1120"/>
                    </a:lnTo>
                    <a:lnTo>
                      <a:pt x="3695" y="896"/>
                    </a:lnTo>
                    <a:lnTo>
                      <a:pt x="3359" y="560"/>
                    </a:lnTo>
                    <a:lnTo>
                      <a:pt x="2799" y="112"/>
                    </a:lnTo>
                    <a:lnTo>
                      <a:pt x="2463" y="0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22" name="Google Shape;1942;p16">
                <a:extLst>
                  <a:ext uri="{FF2B5EF4-FFF2-40B4-BE49-F238E27FC236}">
                    <a16:creationId xmlns:a16="http://schemas.microsoft.com/office/drawing/2014/main" id="{431C23D8-BF97-6938-050E-4CBD41815DEF}"/>
                  </a:ext>
                </a:extLst>
              </p:cNvPr>
              <p:cNvSpPr/>
              <p:nvPr/>
            </p:nvSpPr>
            <p:spPr>
              <a:xfrm>
                <a:off x="6135525" y="909750"/>
                <a:ext cx="109150" cy="179125"/>
              </a:xfrm>
              <a:custGeom>
                <a:avLst/>
                <a:gdLst/>
                <a:ahLst/>
                <a:cxnLst/>
                <a:rect l="l" t="t" r="r" b="b"/>
                <a:pathLst>
                  <a:path w="4366" h="7165" extrusionOk="0">
                    <a:moveTo>
                      <a:pt x="2015" y="0"/>
                    </a:moveTo>
                    <a:lnTo>
                      <a:pt x="1120" y="2127"/>
                    </a:lnTo>
                    <a:lnTo>
                      <a:pt x="1120" y="2351"/>
                    </a:lnTo>
                    <a:lnTo>
                      <a:pt x="1120" y="3359"/>
                    </a:lnTo>
                    <a:lnTo>
                      <a:pt x="1008" y="4254"/>
                    </a:lnTo>
                    <a:lnTo>
                      <a:pt x="784" y="5038"/>
                    </a:lnTo>
                    <a:lnTo>
                      <a:pt x="672" y="5373"/>
                    </a:lnTo>
                    <a:lnTo>
                      <a:pt x="560" y="5933"/>
                    </a:lnTo>
                    <a:lnTo>
                      <a:pt x="336" y="6381"/>
                    </a:lnTo>
                    <a:lnTo>
                      <a:pt x="112" y="6941"/>
                    </a:lnTo>
                    <a:lnTo>
                      <a:pt x="0" y="7053"/>
                    </a:lnTo>
                    <a:lnTo>
                      <a:pt x="224" y="7164"/>
                    </a:lnTo>
                    <a:lnTo>
                      <a:pt x="896" y="7164"/>
                    </a:lnTo>
                    <a:lnTo>
                      <a:pt x="2015" y="6941"/>
                    </a:lnTo>
                    <a:lnTo>
                      <a:pt x="4366" y="6493"/>
                    </a:lnTo>
                    <a:lnTo>
                      <a:pt x="4366" y="6045"/>
                    </a:lnTo>
                    <a:lnTo>
                      <a:pt x="4254" y="5485"/>
                    </a:lnTo>
                    <a:lnTo>
                      <a:pt x="3918" y="4254"/>
                    </a:lnTo>
                    <a:lnTo>
                      <a:pt x="3582" y="3135"/>
                    </a:lnTo>
                    <a:lnTo>
                      <a:pt x="3358" y="2127"/>
                    </a:lnTo>
                    <a:lnTo>
                      <a:pt x="3246" y="1791"/>
                    </a:lnTo>
                    <a:lnTo>
                      <a:pt x="3134" y="1344"/>
                    </a:lnTo>
                    <a:lnTo>
                      <a:pt x="2687" y="672"/>
                    </a:lnTo>
                    <a:lnTo>
                      <a:pt x="2015" y="0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23" name="Google Shape;1943;p16">
                <a:extLst>
                  <a:ext uri="{FF2B5EF4-FFF2-40B4-BE49-F238E27FC236}">
                    <a16:creationId xmlns:a16="http://schemas.microsoft.com/office/drawing/2014/main" id="{9632AF0A-2ACB-665B-8ACC-3755AB013454}"/>
                  </a:ext>
                </a:extLst>
              </p:cNvPr>
              <p:cNvSpPr/>
              <p:nvPr/>
            </p:nvSpPr>
            <p:spPr>
              <a:xfrm>
                <a:off x="6135525" y="909750"/>
                <a:ext cx="109150" cy="179125"/>
              </a:xfrm>
              <a:custGeom>
                <a:avLst/>
                <a:gdLst/>
                <a:ahLst/>
                <a:cxnLst/>
                <a:rect l="l" t="t" r="r" b="b"/>
                <a:pathLst>
                  <a:path w="4366" h="7165" fill="none" extrusionOk="0">
                    <a:moveTo>
                      <a:pt x="2015" y="6941"/>
                    </a:moveTo>
                    <a:lnTo>
                      <a:pt x="4366" y="6493"/>
                    </a:lnTo>
                    <a:lnTo>
                      <a:pt x="4366" y="6493"/>
                    </a:lnTo>
                    <a:lnTo>
                      <a:pt x="4366" y="6045"/>
                    </a:lnTo>
                    <a:lnTo>
                      <a:pt x="4254" y="5485"/>
                    </a:lnTo>
                    <a:lnTo>
                      <a:pt x="3918" y="4254"/>
                    </a:lnTo>
                    <a:lnTo>
                      <a:pt x="3582" y="3135"/>
                    </a:lnTo>
                    <a:lnTo>
                      <a:pt x="3358" y="2127"/>
                    </a:lnTo>
                    <a:lnTo>
                      <a:pt x="3358" y="2127"/>
                    </a:lnTo>
                    <a:lnTo>
                      <a:pt x="3246" y="1791"/>
                    </a:lnTo>
                    <a:lnTo>
                      <a:pt x="3134" y="1344"/>
                    </a:lnTo>
                    <a:lnTo>
                      <a:pt x="2687" y="672"/>
                    </a:lnTo>
                    <a:lnTo>
                      <a:pt x="2015" y="0"/>
                    </a:lnTo>
                    <a:lnTo>
                      <a:pt x="1120" y="2127"/>
                    </a:lnTo>
                    <a:lnTo>
                      <a:pt x="1120" y="2351"/>
                    </a:lnTo>
                    <a:lnTo>
                      <a:pt x="1120" y="2351"/>
                    </a:lnTo>
                    <a:lnTo>
                      <a:pt x="1120" y="3359"/>
                    </a:lnTo>
                    <a:lnTo>
                      <a:pt x="1008" y="4254"/>
                    </a:lnTo>
                    <a:lnTo>
                      <a:pt x="784" y="5038"/>
                    </a:lnTo>
                    <a:lnTo>
                      <a:pt x="784" y="5038"/>
                    </a:lnTo>
                    <a:lnTo>
                      <a:pt x="672" y="5373"/>
                    </a:lnTo>
                    <a:lnTo>
                      <a:pt x="560" y="5933"/>
                    </a:lnTo>
                    <a:lnTo>
                      <a:pt x="336" y="6381"/>
                    </a:lnTo>
                    <a:lnTo>
                      <a:pt x="112" y="6941"/>
                    </a:lnTo>
                    <a:lnTo>
                      <a:pt x="112" y="6941"/>
                    </a:lnTo>
                    <a:lnTo>
                      <a:pt x="0" y="7053"/>
                    </a:lnTo>
                    <a:lnTo>
                      <a:pt x="224" y="7164"/>
                    </a:lnTo>
                    <a:lnTo>
                      <a:pt x="896" y="7164"/>
                    </a:lnTo>
                    <a:lnTo>
                      <a:pt x="2015" y="694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24" name="Google Shape;1944;p16">
                <a:extLst>
                  <a:ext uri="{FF2B5EF4-FFF2-40B4-BE49-F238E27FC236}">
                    <a16:creationId xmlns:a16="http://schemas.microsoft.com/office/drawing/2014/main" id="{B06BCE1A-3C4B-0563-8EA9-6CD5934A6BF1}"/>
                  </a:ext>
                </a:extLst>
              </p:cNvPr>
              <p:cNvSpPr/>
              <p:nvPr/>
            </p:nvSpPr>
            <p:spPr>
              <a:xfrm>
                <a:off x="6157900" y="979700"/>
                <a:ext cx="5625" cy="44800"/>
              </a:xfrm>
              <a:custGeom>
                <a:avLst/>
                <a:gdLst/>
                <a:ahLst/>
                <a:cxnLst/>
                <a:rect l="l" t="t" r="r" b="b"/>
                <a:pathLst>
                  <a:path w="225" h="1792" extrusionOk="0">
                    <a:moveTo>
                      <a:pt x="1" y="1792"/>
                    </a:moveTo>
                    <a:lnTo>
                      <a:pt x="1" y="1792"/>
                    </a:lnTo>
                    <a:lnTo>
                      <a:pt x="1" y="1792"/>
                    </a:lnTo>
                    <a:lnTo>
                      <a:pt x="1" y="1792"/>
                    </a:lnTo>
                    <a:lnTo>
                      <a:pt x="1" y="1792"/>
                    </a:lnTo>
                    <a:lnTo>
                      <a:pt x="1" y="1792"/>
                    </a:lnTo>
                    <a:close/>
                    <a:moveTo>
                      <a:pt x="225" y="1"/>
                    </a:moveTo>
                    <a:lnTo>
                      <a:pt x="225" y="1"/>
                    </a:lnTo>
                    <a:lnTo>
                      <a:pt x="225" y="1"/>
                    </a:lnTo>
                    <a:lnTo>
                      <a:pt x="225" y="1008"/>
                    </a:lnTo>
                    <a:lnTo>
                      <a:pt x="225" y="1008"/>
                    </a:lnTo>
                    <a:lnTo>
                      <a:pt x="225" y="1"/>
                    </a:lnTo>
                    <a:close/>
                  </a:path>
                </a:pathLst>
              </a:custGeom>
              <a:solidFill>
                <a:srgbClr val="CBC8D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25" name="Google Shape;1945;p16">
                <a:extLst>
                  <a:ext uri="{FF2B5EF4-FFF2-40B4-BE49-F238E27FC236}">
                    <a16:creationId xmlns:a16="http://schemas.microsoft.com/office/drawing/2014/main" id="{3A8AD8E0-AB74-8917-0369-DCEFBE16B740}"/>
                  </a:ext>
                </a:extLst>
              </p:cNvPr>
              <p:cNvSpPr/>
              <p:nvPr/>
            </p:nvSpPr>
            <p:spPr>
              <a:xfrm>
                <a:off x="6157900" y="1024475"/>
                <a:ext cx="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26" name="Google Shape;1946;p16">
                <a:extLst>
                  <a:ext uri="{FF2B5EF4-FFF2-40B4-BE49-F238E27FC236}">
                    <a16:creationId xmlns:a16="http://schemas.microsoft.com/office/drawing/2014/main" id="{50055C2D-43FB-7942-EFDE-B8AB8EA87363}"/>
                  </a:ext>
                </a:extLst>
              </p:cNvPr>
              <p:cNvSpPr/>
              <p:nvPr/>
            </p:nvSpPr>
            <p:spPr>
              <a:xfrm>
                <a:off x="6163500" y="979700"/>
                <a:ext cx="25" cy="252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009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008"/>
                    </a:lnTo>
                    <a:lnTo>
                      <a:pt x="1" y="1008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27" name="Google Shape;1947;p16">
                <a:extLst>
                  <a:ext uri="{FF2B5EF4-FFF2-40B4-BE49-F238E27FC236}">
                    <a16:creationId xmlns:a16="http://schemas.microsoft.com/office/drawing/2014/main" id="{0339B9C8-CFD3-9E67-12CA-15A2A07D294D}"/>
                  </a:ext>
                </a:extLst>
              </p:cNvPr>
              <p:cNvSpPr/>
              <p:nvPr/>
            </p:nvSpPr>
            <p:spPr>
              <a:xfrm>
                <a:off x="6157900" y="968525"/>
                <a:ext cx="53200" cy="61575"/>
              </a:xfrm>
              <a:custGeom>
                <a:avLst/>
                <a:gdLst/>
                <a:ahLst/>
                <a:cxnLst/>
                <a:rect l="l" t="t" r="r" b="b"/>
                <a:pathLst>
                  <a:path w="2128" h="2463" extrusionOk="0">
                    <a:moveTo>
                      <a:pt x="1232" y="0"/>
                    </a:moveTo>
                    <a:lnTo>
                      <a:pt x="1008" y="112"/>
                    </a:lnTo>
                    <a:lnTo>
                      <a:pt x="225" y="448"/>
                    </a:lnTo>
                    <a:lnTo>
                      <a:pt x="225" y="1455"/>
                    </a:lnTo>
                    <a:lnTo>
                      <a:pt x="1" y="2239"/>
                    </a:lnTo>
                    <a:lnTo>
                      <a:pt x="337" y="2351"/>
                    </a:lnTo>
                    <a:lnTo>
                      <a:pt x="560" y="2463"/>
                    </a:lnTo>
                    <a:lnTo>
                      <a:pt x="1008" y="2351"/>
                    </a:lnTo>
                    <a:lnTo>
                      <a:pt x="1344" y="2127"/>
                    </a:lnTo>
                    <a:lnTo>
                      <a:pt x="1568" y="1791"/>
                    </a:lnTo>
                    <a:lnTo>
                      <a:pt x="1904" y="1455"/>
                    </a:lnTo>
                    <a:lnTo>
                      <a:pt x="2128" y="672"/>
                    </a:lnTo>
                    <a:lnTo>
                      <a:pt x="2128" y="336"/>
                    </a:lnTo>
                    <a:lnTo>
                      <a:pt x="2128" y="112"/>
                    </a:lnTo>
                    <a:lnTo>
                      <a:pt x="1904" y="0"/>
                    </a:lnTo>
                    <a:close/>
                  </a:path>
                </a:pathLst>
              </a:custGeom>
              <a:solidFill>
                <a:srgbClr val="C4909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28" name="Google Shape;1948;p16">
                <a:extLst>
                  <a:ext uri="{FF2B5EF4-FFF2-40B4-BE49-F238E27FC236}">
                    <a16:creationId xmlns:a16="http://schemas.microsoft.com/office/drawing/2014/main" id="{463BB4ED-5D7E-5BD4-280B-9EAA333A5688}"/>
                  </a:ext>
                </a:extLst>
              </p:cNvPr>
              <p:cNvSpPr/>
              <p:nvPr/>
            </p:nvSpPr>
            <p:spPr>
              <a:xfrm>
                <a:off x="6157900" y="968525"/>
                <a:ext cx="53200" cy="61575"/>
              </a:xfrm>
              <a:custGeom>
                <a:avLst/>
                <a:gdLst/>
                <a:ahLst/>
                <a:cxnLst/>
                <a:rect l="l" t="t" r="r" b="b"/>
                <a:pathLst>
                  <a:path w="2128" h="2463" fill="none" extrusionOk="0">
                    <a:moveTo>
                      <a:pt x="1680" y="0"/>
                    </a:moveTo>
                    <a:lnTo>
                      <a:pt x="1680" y="0"/>
                    </a:lnTo>
                    <a:lnTo>
                      <a:pt x="1232" y="0"/>
                    </a:lnTo>
                    <a:lnTo>
                      <a:pt x="1008" y="112"/>
                    </a:lnTo>
                    <a:lnTo>
                      <a:pt x="225" y="448"/>
                    </a:lnTo>
                    <a:lnTo>
                      <a:pt x="225" y="448"/>
                    </a:lnTo>
                    <a:lnTo>
                      <a:pt x="225" y="1455"/>
                    </a:lnTo>
                    <a:lnTo>
                      <a:pt x="225" y="1455"/>
                    </a:lnTo>
                    <a:lnTo>
                      <a:pt x="1" y="2239"/>
                    </a:lnTo>
                    <a:lnTo>
                      <a:pt x="1" y="2239"/>
                    </a:lnTo>
                    <a:lnTo>
                      <a:pt x="1" y="2239"/>
                    </a:lnTo>
                    <a:lnTo>
                      <a:pt x="1" y="2239"/>
                    </a:lnTo>
                    <a:lnTo>
                      <a:pt x="337" y="2351"/>
                    </a:lnTo>
                    <a:lnTo>
                      <a:pt x="560" y="2463"/>
                    </a:lnTo>
                    <a:lnTo>
                      <a:pt x="560" y="2463"/>
                    </a:lnTo>
                    <a:lnTo>
                      <a:pt x="1008" y="2351"/>
                    </a:lnTo>
                    <a:lnTo>
                      <a:pt x="1344" y="2127"/>
                    </a:lnTo>
                    <a:lnTo>
                      <a:pt x="1568" y="1791"/>
                    </a:lnTo>
                    <a:lnTo>
                      <a:pt x="1904" y="1455"/>
                    </a:lnTo>
                    <a:lnTo>
                      <a:pt x="2128" y="672"/>
                    </a:lnTo>
                    <a:lnTo>
                      <a:pt x="2128" y="336"/>
                    </a:lnTo>
                    <a:lnTo>
                      <a:pt x="2128" y="112"/>
                    </a:lnTo>
                    <a:lnTo>
                      <a:pt x="2128" y="112"/>
                    </a:lnTo>
                    <a:lnTo>
                      <a:pt x="1904" y="0"/>
                    </a:lnTo>
                    <a:lnTo>
                      <a:pt x="168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29" name="Google Shape;1949;p16">
                <a:extLst>
                  <a:ext uri="{FF2B5EF4-FFF2-40B4-BE49-F238E27FC236}">
                    <a16:creationId xmlns:a16="http://schemas.microsoft.com/office/drawing/2014/main" id="{3B66D622-062F-E833-750A-867613A845DE}"/>
                  </a:ext>
                </a:extLst>
              </p:cNvPr>
              <p:cNvSpPr/>
              <p:nvPr/>
            </p:nvSpPr>
            <p:spPr>
              <a:xfrm>
                <a:off x="6101925" y="890150"/>
                <a:ext cx="111975" cy="125975"/>
              </a:xfrm>
              <a:custGeom>
                <a:avLst/>
                <a:gdLst/>
                <a:ahLst/>
                <a:cxnLst/>
                <a:rect l="l" t="t" r="r" b="b"/>
                <a:pathLst>
                  <a:path w="4479" h="5039" extrusionOk="0">
                    <a:moveTo>
                      <a:pt x="4143" y="1"/>
                    </a:moveTo>
                    <a:lnTo>
                      <a:pt x="337" y="449"/>
                    </a:lnTo>
                    <a:lnTo>
                      <a:pt x="225" y="1232"/>
                    </a:lnTo>
                    <a:lnTo>
                      <a:pt x="113" y="2128"/>
                    </a:lnTo>
                    <a:lnTo>
                      <a:pt x="1" y="2911"/>
                    </a:lnTo>
                    <a:lnTo>
                      <a:pt x="1" y="3135"/>
                    </a:lnTo>
                    <a:lnTo>
                      <a:pt x="225" y="3135"/>
                    </a:lnTo>
                    <a:lnTo>
                      <a:pt x="449" y="3247"/>
                    </a:lnTo>
                    <a:lnTo>
                      <a:pt x="561" y="3471"/>
                    </a:lnTo>
                    <a:lnTo>
                      <a:pt x="561" y="4143"/>
                    </a:lnTo>
                    <a:lnTo>
                      <a:pt x="673" y="4814"/>
                    </a:lnTo>
                    <a:lnTo>
                      <a:pt x="785" y="5038"/>
                    </a:lnTo>
                    <a:lnTo>
                      <a:pt x="1568" y="5038"/>
                    </a:lnTo>
                    <a:lnTo>
                      <a:pt x="2128" y="4814"/>
                    </a:lnTo>
                    <a:lnTo>
                      <a:pt x="2687" y="4590"/>
                    </a:lnTo>
                    <a:lnTo>
                      <a:pt x="3247" y="4254"/>
                    </a:lnTo>
                    <a:lnTo>
                      <a:pt x="3695" y="3919"/>
                    </a:lnTo>
                    <a:lnTo>
                      <a:pt x="4031" y="3583"/>
                    </a:lnTo>
                    <a:lnTo>
                      <a:pt x="4367" y="3247"/>
                    </a:lnTo>
                    <a:lnTo>
                      <a:pt x="4478" y="2911"/>
                    </a:lnTo>
                    <a:lnTo>
                      <a:pt x="4478" y="2128"/>
                    </a:lnTo>
                    <a:lnTo>
                      <a:pt x="4367" y="1120"/>
                    </a:lnTo>
                    <a:lnTo>
                      <a:pt x="4143" y="1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0" name="Google Shape;1950;p16">
                <a:extLst>
                  <a:ext uri="{FF2B5EF4-FFF2-40B4-BE49-F238E27FC236}">
                    <a16:creationId xmlns:a16="http://schemas.microsoft.com/office/drawing/2014/main" id="{0F1DE1DC-B3E6-A973-DCDD-94F2DDF1A9E0}"/>
                  </a:ext>
                </a:extLst>
              </p:cNvPr>
              <p:cNvSpPr/>
              <p:nvPr/>
            </p:nvSpPr>
            <p:spPr>
              <a:xfrm>
                <a:off x="6079550" y="836975"/>
                <a:ext cx="167925" cy="128775"/>
              </a:xfrm>
              <a:custGeom>
                <a:avLst/>
                <a:gdLst/>
                <a:ahLst/>
                <a:cxnLst/>
                <a:rect l="l" t="t" r="r" b="b"/>
                <a:pathLst>
                  <a:path w="6717" h="5151" extrusionOk="0">
                    <a:moveTo>
                      <a:pt x="4814" y="1"/>
                    </a:moveTo>
                    <a:lnTo>
                      <a:pt x="4366" y="113"/>
                    </a:lnTo>
                    <a:lnTo>
                      <a:pt x="4030" y="337"/>
                    </a:lnTo>
                    <a:lnTo>
                      <a:pt x="3471" y="337"/>
                    </a:lnTo>
                    <a:lnTo>
                      <a:pt x="3247" y="225"/>
                    </a:lnTo>
                    <a:lnTo>
                      <a:pt x="3023" y="113"/>
                    </a:lnTo>
                    <a:lnTo>
                      <a:pt x="2351" y="113"/>
                    </a:lnTo>
                    <a:lnTo>
                      <a:pt x="2127" y="225"/>
                    </a:lnTo>
                    <a:lnTo>
                      <a:pt x="1903" y="561"/>
                    </a:lnTo>
                    <a:lnTo>
                      <a:pt x="1680" y="785"/>
                    </a:lnTo>
                    <a:lnTo>
                      <a:pt x="1568" y="896"/>
                    </a:lnTo>
                    <a:lnTo>
                      <a:pt x="1008" y="896"/>
                    </a:lnTo>
                    <a:lnTo>
                      <a:pt x="448" y="1008"/>
                    </a:lnTo>
                    <a:lnTo>
                      <a:pt x="224" y="1120"/>
                    </a:lnTo>
                    <a:lnTo>
                      <a:pt x="112" y="1232"/>
                    </a:lnTo>
                    <a:lnTo>
                      <a:pt x="0" y="1568"/>
                    </a:lnTo>
                    <a:lnTo>
                      <a:pt x="112" y="1904"/>
                    </a:lnTo>
                    <a:lnTo>
                      <a:pt x="112" y="2128"/>
                    </a:lnTo>
                    <a:lnTo>
                      <a:pt x="336" y="2352"/>
                    </a:lnTo>
                    <a:lnTo>
                      <a:pt x="672" y="2576"/>
                    </a:lnTo>
                    <a:lnTo>
                      <a:pt x="1680" y="2576"/>
                    </a:lnTo>
                    <a:lnTo>
                      <a:pt x="1903" y="2688"/>
                    </a:lnTo>
                    <a:lnTo>
                      <a:pt x="2015" y="2911"/>
                    </a:lnTo>
                    <a:lnTo>
                      <a:pt x="2015" y="3247"/>
                    </a:lnTo>
                    <a:lnTo>
                      <a:pt x="2127" y="3359"/>
                    </a:lnTo>
                    <a:lnTo>
                      <a:pt x="2351" y="3471"/>
                    </a:lnTo>
                    <a:lnTo>
                      <a:pt x="2575" y="3359"/>
                    </a:lnTo>
                    <a:lnTo>
                      <a:pt x="3023" y="3247"/>
                    </a:lnTo>
                    <a:lnTo>
                      <a:pt x="3582" y="3247"/>
                    </a:lnTo>
                    <a:lnTo>
                      <a:pt x="3582" y="3583"/>
                    </a:lnTo>
                    <a:lnTo>
                      <a:pt x="3471" y="4031"/>
                    </a:lnTo>
                    <a:lnTo>
                      <a:pt x="3359" y="4255"/>
                    </a:lnTo>
                    <a:lnTo>
                      <a:pt x="3359" y="4367"/>
                    </a:lnTo>
                    <a:lnTo>
                      <a:pt x="3471" y="4479"/>
                    </a:lnTo>
                    <a:lnTo>
                      <a:pt x="3582" y="4590"/>
                    </a:lnTo>
                    <a:lnTo>
                      <a:pt x="3806" y="4479"/>
                    </a:lnTo>
                    <a:lnTo>
                      <a:pt x="4142" y="4255"/>
                    </a:lnTo>
                    <a:lnTo>
                      <a:pt x="4478" y="3695"/>
                    </a:lnTo>
                    <a:lnTo>
                      <a:pt x="4702" y="3695"/>
                    </a:lnTo>
                    <a:lnTo>
                      <a:pt x="4926" y="3807"/>
                    </a:lnTo>
                    <a:lnTo>
                      <a:pt x="5038" y="3807"/>
                    </a:lnTo>
                    <a:lnTo>
                      <a:pt x="5150" y="4031"/>
                    </a:lnTo>
                    <a:lnTo>
                      <a:pt x="5150" y="4479"/>
                    </a:lnTo>
                    <a:lnTo>
                      <a:pt x="5150" y="4926"/>
                    </a:lnTo>
                    <a:lnTo>
                      <a:pt x="5262" y="5038"/>
                    </a:lnTo>
                    <a:lnTo>
                      <a:pt x="5262" y="5150"/>
                    </a:lnTo>
                    <a:lnTo>
                      <a:pt x="5485" y="5150"/>
                    </a:lnTo>
                    <a:lnTo>
                      <a:pt x="5709" y="4926"/>
                    </a:lnTo>
                    <a:lnTo>
                      <a:pt x="6045" y="4590"/>
                    </a:lnTo>
                    <a:lnTo>
                      <a:pt x="6381" y="4143"/>
                    </a:lnTo>
                    <a:lnTo>
                      <a:pt x="6605" y="3695"/>
                    </a:lnTo>
                    <a:lnTo>
                      <a:pt x="6717" y="3247"/>
                    </a:lnTo>
                    <a:lnTo>
                      <a:pt x="6717" y="2799"/>
                    </a:lnTo>
                    <a:lnTo>
                      <a:pt x="6605" y="2576"/>
                    </a:lnTo>
                    <a:lnTo>
                      <a:pt x="6493" y="2352"/>
                    </a:lnTo>
                    <a:lnTo>
                      <a:pt x="6157" y="2128"/>
                    </a:lnTo>
                    <a:lnTo>
                      <a:pt x="6045" y="1792"/>
                    </a:lnTo>
                    <a:lnTo>
                      <a:pt x="5933" y="1232"/>
                    </a:lnTo>
                    <a:lnTo>
                      <a:pt x="5709" y="673"/>
                    </a:lnTo>
                    <a:lnTo>
                      <a:pt x="5597" y="337"/>
                    </a:lnTo>
                    <a:lnTo>
                      <a:pt x="5262" y="113"/>
                    </a:lnTo>
                    <a:lnTo>
                      <a:pt x="5038" y="1"/>
                    </a:lnTo>
                    <a:close/>
                  </a:path>
                </a:pathLst>
              </a:custGeom>
              <a:solidFill>
                <a:srgbClr val="201F3B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1" name="Google Shape;1951;p16">
                <a:extLst>
                  <a:ext uri="{FF2B5EF4-FFF2-40B4-BE49-F238E27FC236}">
                    <a16:creationId xmlns:a16="http://schemas.microsoft.com/office/drawing/2014/main" id="{76552F39-4952-AE91-6BAB-AD6C4471E110}"/>
                  </a:ext>
                </a:extLst>
              </p:cNvPr>
              <p:cNvSpPr/>
              <p:nvPr/>
            </p:nvSpPr>
            <p:spPr>
              <a:xfrm>
                <a:off x="6549700" y="2253025"/>
                <a:ext cx="75575" cy="137150"/>
              </a:xfrm>
              <a:custGeom>
                <a:avLst/>
                <a:gdLst/>
                <a:ahLst/>
                <a:cxnLst/>
                <a:rect l="l" t="t" r="r" b="b"/>
                <a:pathLst>
                  <a:path w="3023" h="5486" extrusionOk="0">
                    <a:moveTo>
                      <a:pt x="0" y="0"/>
                    </a:moveTo>
                    <a:lnTo>
                      <a:pt x="224" y="4142"/>
                    </a:lnTo>
                    <a:lnTo>
                      <a:pt x="2127" y="5485"/>
                    </a:lnTo>
                    <a:lnTo>
                      <a:pt x="3023" y="3918"/>
                    </a:lnTo>
                    <a:lnTo>
                      <a:pt x="3023" y="1679"/>
                    </a:lnTo>
                    <a:lnTo>
                      <a:pt x="3023" y="1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2" name="Google Shape;1952;p16">
                <a:extLst>
                  <a:ext uri="{FF2B5EF4-FFF2-40B4-BE49-F238E27FC236}">
                    <a16:creationId xmlns:a16="http://schemas.microsoft.com/office/drawing/2014/main" id="{31A7D2CF-F75F-8E29-7EAF-E846BC4FADA1}"/>
                  </a:ext>
                </a:extLst>
              </p:cNvPr>
              <p:cNvSpPr/>
              <p:nvPr/>
            </p:nvSpPr>
            <p:spPr>
              <a:xfrm>
                <a:off x="6544100" y="2325775"/>
                <a:ext cx="223900" cy="97975"/>
              </a:xfrm>
              <a:custGeom>
                <a:avLst/>
                <a:gdLst/>
                <a:ahLst/>
                <a:cxnLst/>
                <a:rect l="l" t="t" r="r" b="b"/>
                <a:pathLst>
                  <a:path w="8956" h="3919" extrusionOk="0">
                    <a:moveTo>
                      <a:pt x="336" y="1"/>
                    </a:moveTo>
                    <a:lnTo>
                      <a:pt x="224" y="113"/>
                    </a:lnTo>
                    <a:lnTo>
                      <a:pt x="112" y="448"/>
                    </a:lnTo>
                    <a:lnTo>
                      <a:pt x="0" y="1344"/>
                    </a:lnTo>
                    <a:lnTo>
                      <a:pt x="112" y="2463"/>
                    </a:lnTo>
                    <a:lnTo>
                      <a:pt x="224" y="3471"/>
                    </a:lnTo>
                    <a:lnTo>
                      <a:pt x="336" y="3583"/>
                    </a:lnTo>
                    <a:lnTo>
                      <a:pt x="448" y="3807"/>
                    </a:lnTo>
                    <a:lnTo>
                      <a:pt x="672" y="3918"/>
                    </a:lnTo>
                    <a:lnTo>
                      <a:pt x="8396" y="3918"/>
                    </a:lnTo>
                    <a:lnTo>
                      <a:pt x="8732" y="3695"/>
                    </a:lnTo>
                    <a:lnTo>
                      <a:pt x="8843" y="3471"/>
                    </a:lnTo>
                    <a:lnTo>
                      <a:pt x="8955" y="3135"/>
                    </a:lnTo>
                    <a:lnTo>
                      <a:pt x="8955" y="2911"/>
                    </a:lnTo>
                    <a:lnTo>
                      <a:pt x="8843" y="2575"/>
                    </a:lnTo>
                    <a:lnTo>
                      <a:pt x="8732" y="2463"/>
                    </a:lnTo>
                    <a:lnTo>
                      <a:pt x="8620" y="2351"/>
                    </a:lnTo>
                    <a:lnTo>
                      <a:pt x="7724" y="2239"/>
                    </a:lnTo>
                    <a:lnTo>
                      <a:pt x="6381" y="2127"/>
                    </a:lnTo>
                    <a:lnTo>
                      <a:pt x="5709" y="1904"/>
                    </a:lnTo>
                    <a:lnTo>
                      <a:pt x="5038" y="1680"/>
                    </a:lnTo>
                    <a:lnTo>
                      <a:pt x="4590" y="1456"/>
                    </a:lnTo>
                    <a:lnTo>
                      <a:pt x="4366" y="1120"/>
                    </a:lnTo>
                    <a:lnTo>
                      <a:pt x="4254" y="672"/>
                    </a:lnTo>
                    <a:lnTo>
                      <a:pt x="4030" y="336"/>
                    </a:lnTo>
                    <a:lnTo>
                      <a:pt x="3694" y="113"/>
                    </a:lnTo>
                    <a:lnTo>
                      <a:pt x="3470" y="113"/>
                    </a:lnTo>
                    <a:lnTo>
                      <a:pt x="3023" y="336"/>
                    </a:lnTo>
                    <a:lnTo>
                      <a:pt x="2687" y="448"/>
                    </a:lnTo>
                    <a:lnTo>
                      <a:pt x="1791" y="448"/>
                    </a:lnTo>
                    <a:lnTo>
                      <a:pt x="896" y="224"/>
                    </a:lnTo>
                    <a:lnTo>
                      <a:pt x="336" y="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3" name="Google Shape;1953;p16">
                <a:extLst>
                  <a:ext uri="{FF2B5EF4-FFF2-40B4-BE49-F238E27FC236}">
                    <a16:creationId xmlns:a16="http://schemas.microsoft.com/office/drawing/2014/main" id="{0BDA96BD-E50E-9CE3-5C75-56CA4E09F5EE}"/>
                  </a:ext>
                </a:extLst>
              </p:cNvPr>
              <p:cNvSpPr/>
              <p:nvPr/>
            </p:nvSpPr>
            <p:spPr>
              <a:xfrm>
                <a:off x="6001200" y="2535675"/>
                <a:ext cx="75575" cy="137150"/>
              </a:xfrm>
              <a:custGeom>
                <a:avLst/>
                <a:gdLst/>
                <a:ahLst/>
                <a:cxnLst/>
                <a:rect l="l" t="t" r="r" b="b"/>
                <a:pathLst>
                  <a:path w="3023" h="5486" extrusionOk="0">
                    <a:moveTo>
                      <a:pt x="0" y="0"/>
                    </a:moveTo>
                    <a:lnTo>
                      <a:pt x="112" y="4142"/>
                    </a:lnTo>
                    <a:lnTo>
                      <a:pt x="2127" y="5485"/>
                    </a:lnTo>
                    <a:lnTo>
                      <a:pt x="3022" y="3918"/>
                    </a:lnTo>
                    <a:lnTo>
                      <a:pt x="3022" y="1679"/>
                    </a:lnTo>
                    <a:lnTo>
                      <a:pt x="3022" y="1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4" name="Google Shape;1954;p16">
                <a:extLst>
                  <a:ext uri="{FF2B5EF4-FFF2-40B4-BE49-F238E27FC236}">
                    <a16:creationId xmlns:a16="http://schemas.microsoft.com/office/drawing/2014/main" id="{15871721-C5CB-B9D8-38AA-367AC383BA0E}"/>
                  </a:ext>
                </a:extLst>
              </p:cNvPr>
              <p:cNvSpPr/>
              <p:nvPr/>
            </p:nvSpPr>
            <p:spPr>
              <a:xfrm>
                <a:off x="5995600" y="2597225"/>
                <a:ext cx="221100" cy="109175"/>
              </a:xfrm>
              <a:custGeom>
                <a:avLst/>
                <a:gdLst/>
                <a:ahLst/>
                <a:cxnLst/>
                <a:rect l="l" t="t" r="r" b="b"/>
                <a:pathLst>
                  <a:path w="8844" h="4367" extrusionOk="0">
                    <a:moveTo>
                      <a:pt x="224" y="1"/>
                    </a:moveTo>
                    <a:lnTo>
                      <a:pt x="112" y="225"/>
                    </a:lnTo>
                    <a:lnTo>
                      <a:pt x="0" y="560"/>
                    </a:lnTo>
                    <a:lnTo>
                      <a:pt x="0" y="1568"/>
                    </a:lnTo>
                    <a:lnTo>
                      <a:pt x="0" y="2799"/>
                    </a:lnTo>
                    <a:lnTo>
                      <a:pt x="224" y="3807"/>
                    </a:lnTo>
                    <a:lnTo>
                      <a:pt x="224" y="4030"/>
                    </a:lnTo>
                    <a:lnTo>
                      <a:pt x="448" y="4254"/>
                    </a:lnTo>
                    <a:lnTo>
                      <a:pt x="560" y="4254"/>
                    </a:lnTo>
                    <a:lnTo>
                      <a:pt x="784" y="4366"/>
                    </a:lnTo>
                    <a:lnTo>
                      <a:pt x="8284" y="4366"/>
                    </a:lnTo>
                    <a:lnTo>
                      <a:pt x="8620" y="4142"/>
                    </a:lnTo>
                    <a:lnTo>
                      <a:pt x="8843" y="3919"/>
                    </a:lnTo>
                    <a:lnTo>
                      <a:pt x="8843" y="3695"/>
                    </a:lnTo>
                    <a:lnTo>
                      <a:pt x="8843" y="3359"/>
                    </a:lnTo>
                    <a:lnTo>
                      <a:pt x="8843" y="3135"/>
                    </a:lnTo>
                    <a:lnTo>
                      <a:pt x="8731" y="2911"/>
                    </a:lnTo>
                    <a:lnTo>
                      <a:pt x="8620" y="2911"/>
                    </a:lnTo>
                    <a:lnTo>
                      <a:pt x="7612" y="2687"/>
                    </a:lnTo>
                    <a:lnTo>
                      <a:pt x="6157" y="2351"/>
                    </a:lnTo>
                    <a:lnTo>
                      <a:pt x="5373" y="2016"/>
                    </a:lnTo>
                    <a:lnTo>
                      <a:pt x="4702" y="1792"/>
                    </a:lnTo>
                    <a:lnTo>
                      <a:pt x="4142" y="1456"/>
                    </a:lnTo>
                    <a:lnTo>
                      <a:pt x="4030" y="1232"/>
                    </a:lnTo>
                    <a:lnTo>
                      <a:pt x="3918" y="1008"/>
                    </a:lnTo>
                    <a:lnTo>
                      <a:pt x="3806" y="448"/>
                    </a:lnTo>
                    <a:lnTo>
                      <a:pt x="3694" y="336"/>
                    </a:lnTo>
                    <a:lnTo>
                      <a:pt x="3582" y="225"/>
                    </a:lnTo>
                    <a:lnTo>
                      <a:pt x="1567" y="225"/>
                    </a:lnTo>
                    <a:lnTo>
                      <a:pt x="224" y="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5" name="Google Shape;1955;p16">
                <a:extLst>
                  <a:ext uri="{FF2B5EF4-FFF2-40B4-BE49-F238E27FC236}">
                    <a16:creationId xmlns:a16="http://schemas.microsoft.com/office/drawing/2014/main" id="{FBD84B9A-0741-0234-A2CB-16124B294F64}"/>
                  </a:ext>
                </a:extLst>
              </p:cNvPr>
              <p:cNvSpPr/>
              <p:nvPr/>
            </p:nvSpPr>
            <p:spPr>
              <a:xfrm>
                <a:off x="5964800" y="1500225"/>
                <a:ext cx="691250" cy="1077450"/>
              </a:xfrm>
              <a:custGeom>
                <a:avLst/>
                <a:gdLst/>
                <a:ahLst/>
                <a:cxnLst/>
                <a:rect l="l" t="t" r="r" b="b"/>
                <a:pathLst>
                  <a:path w="27650" h="43098" extrusionOk="0">
                    <a:moveTo>
                      <a:pt x="3247" y="1"/>
                    </a:moveTo>
                    <a:lnTo>
                      <a:pt x="2352" y="112"/>
                    </a:lnTo>
                    <a:lnTo>
                      <a:pt x="1568" y="336"/>
                    </a:lnTo>
                    <a:lnTo>
                      <a:pt x="896" y="672"/>
                    </a:lnTo>
                    <a:lnTo>
                      <a:pt x="673" y="896"/>
                    </a:lnTo>
                    <a:lnTo>
                      <a:pt x="449" y="1232"/>
                    </a:lnTo>
                    <a:lnTo>
                      <a:pt x="337" y="1456"/>
                    </a:lnTo>
                    <a:lnTo>
                      <a:pt x="225" y="1904"/>
                    </a:lnTo>
                    <a:lnTo>
                      <a:pt x="225" y="3471"/>
                    </a:lnTo>
                    <a:lnTo>
                      <a:pt x="113" y="5374"/>
                    </a:lnTo>
                    <a:lnTo>
                      <a:pt x="1" y="7277"/>
                    </a:lnTo>
                    <a:lnTo>
                      <a:pt x="113" y="9627"/>
                    </a:lnTo>
                    <a:lnTo>
                      <a:pt x="337" y="11194"/>
                    </a:lnTo>
                    <a:lnTo>
                      <a:pt x="561" y="13769"/>
                    </a:lnTo>
                    <a:lnTo>
                      <a:pt x="785" y="17463"/>
                    </a:lnTo>
                    <a:lnTo>
                      <a:pt x="896" y="21605"/>
                    </a:lnTo>
                    <a:lnTo>
                      <a:pt x="1008" y="25411"/>
                    </a:lnTo>
                    <a:lnTo>
                      <a:pt x="896" y="29888"/>
                    </a:lnTo>
                    <a:lnTo>
                      <a:pt x="1008" y="35149"/>
                    </a:lnTo>
                    <a:lnTo>
                      <a:pt x="1232" y="42649"/>
                    </a:lnTo>
                    <a:lnTo>
                      <a:pt x="2240" y="42985"/>
                    </a:lnTo>
                    <a:lnTo>
                      <a:pt x="3135" y="43097"/>
                    </a:lnTo>
                    <a:lnTo>
                      <a:pt x="4255" y="42985"/>
                    </a:lnTo>
                    <a:lnTo>
                      <a:pt x="5598" y="42649"/>
                    </a:lnTo>
                    <a:lnTo>
                      <a:pt x="6046" y="37164"/>
                    </a:lnTo>
                    <a:lnTo>
                      <a:pt x="6829" y="25747"/>
                    </a:lnTo>
                    <a:lnTo>
                      <a:pt x="7277" y="22500"/>
                    </a:lnTo>
                    <a:lnTo>
                      <a:pt x="7949" y="18135"/>
                    </a:lnTo>
                    <a:lnTo>
                      <a:pt x="9068" y="11754"/>
                    </a:lnTo>
                    <a:lnTo>
                      <a:pt x="11419" y="12314"/>
                    </a:lnTo>
                    <a:lnTo>
                      <a:pt x="15672" y="13321"/>
                    </a:lnTo>
                    <a:lnTo>
                      <a:pt x="17799" y="13881"/>
                    </a:lnTo>
                    <a:lnTo>
                      <a:pt x="19702" y="14441"/>
                    </a:lnTo>
                    <a:lnTo>
                      <a:pt x="21045" y="14888"/>
                    </a:lnTo>
                    <a:lnTo>
                      <a:pt x="21493" y="15112"/>
                    </a:lnTo>
                    <a:lnTo>
                      <a:pt x="21605" y="15336"/>
                    </a:lnTo>
                    <a:lnTo>
                      <a:pt x="21829" y="16008"/>
                    </a:lnTo>
                    <a:lnTo>
                      <a:pt x="21941" y="16791"/>
                    </a:lnTo>
                    <a:lnTo>
                      <a:pt x="22165" y="19030"/>
                    </a:lnTo>
                    <a:lnTo>
                      <a:pt x="22165" y="21717"/>
                    </a:lnTo>
                    <a:lnTo>
                      <a:pt x="22277" y="24515"/>
                    </a:lnTo>
                    <a:lnTo>
                      <a:pt x="22277" y="29552"/>
                    </a:lnTo>
                    <a:lnTo>
                      <a:pt x="22389" y="31232"/>
                    </a:lnTo>
                    <a:lnTo>
                      <a:pt x="22501" y="31679"/>
                    </a:lnTo>
                    <a:lnTo>
                      <a:pt x="22501" y="31903"/>
                    </a:lnTo>
                    <a:lnTo>
                      <a:pt x="22613" y="32015"/>
                    </a:lnTo>
                    <a:lnTo>
                      <a:pt x="22836" y="32127"/>
                    </a:lnTo>
                    <a:lnTo>
                      <a:pt x="23396" y="32239"/>
                    </a:lnTo>
                    <a:lnTo>
                      <a:pt x="24180" y="32351"/>
                    </a:lnTo>
                    <a:lnTo>
                      <a:pt x="25187" y="32351"/>
                    </a:lnTo>
                    <a:lnTo>
                      <a:pt x="26083" y="32239"/>
                    </a:lnTo>
                    <a:lnTo>
                      <a:pt x="26866" y="32127"/>
                    </a:lnTo>
                    <a:lnTo>
                      <a:pt x="27426" y="31791"/>
                    </a:lnTo>
                    <a:lnTo>
                      <a:pt x="27538" y="31679"/>
                    </a:lnTo>
                    <a:lnTo>
                      <a:pt x="27650" y="31567"/>
                    </a:lnTo>
                    <a:lnTo>
                      <a:pt x="27538" y="23060"/>
                    </a:lnTo>
                    <a:lnTo>
                      <a:pt x="27314" y="16679"/>
                    </a:lnTo>
                    <a:lnTo>
                      <a:pt x="27202" y="14105"/>
                    </a:lnTo>
                    <a:lnTo>
                      <a:pt x="27090" y="12538"/>
                    </a:lnTo>
                    <a:lnTo>
                      <a:pt x="26866" y="11866"/>
                    </a:lnTo>
                    <a:lnTo>
                      <a:pt x="26419" y="11306"/>
                    </a:lnTo>
                    <a:lnTo>
                      <a:pt x="25747" y="10635"/>
                    </a:lnTo>
                    <a:lnTo>
                      <a:pt x="24963" y="10075"/>
                    </a:lnTo>
                    <a:lnTo>
                      <a:pt x="22948" y="8956"/>
                    </a:lnTo>
                    <a:lnTo>
                      <a:pt x="20598" y="7724"/>
                    </a:lnTo>
                    <a:lnTo>
                      <a:pt x="18247" y="6605"/>
                    </a:lnTo>
                    <a:lnTo>
                      <a:pt x="15896" y="5262"/>
                    </a:lnTo>
                    <a:lnTo>
                      <a:pt x="14889" y="4478"/>
                    </a:lnTo>
                    <a:lnTo>
                      <a:pt x="13993" y="3695"/>
                    </a:lnTo>
                    <a:lnTo>
                      <a:pt x="13210" y="2911"/>
                    </a:lnTo>
                    <a:lnTo>
                      <a:pt x="12650" y="2015"/>
                    </a:lnTo>
                    <a:lnTo>
                      <a:pt x="10747" y="1456"/>
                    </a:lnTo>
                    <a:lnTo>
                      <a:pt x="8844" y="896"/>
                    </a:lnTo>
                    <a:lnTo>
                      <a:pt x="6605" y="336"/>
                    </a:lnTo>
                    <a:lnTo>
                      <a:pt x="5486" y="224"/>
                    </a:lnTo>
                    <a:lnTo>
                      <a:pt x="4367" y="112"/>
                    </a:lnTo>
                    <a:lnTo>
                      <a:pt x="3247" y="1"/>
                    </a:lnTo>
                    <a:close/>
                  </a:path>
                </a:pathLst>
              </a:custGeom>
              <a:solidFill>
                <a:srgbClr val="46464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6" name="Google Shape;1956;p16">
                <a:extLst>
                  <a:ext uri="{FF2B5EF4-FFF2-40B4-BE49-F238E27FC236}">
                    <a16:creationId xmlns:a16="http://schemas.microsoft.com/office/drawing/2014/main" id="{72D30BC6-9387-6F48-B28D-525461268927}"/>
                  </a:ext>
                </a:extLst>
              </p:cNvPr>
              <p:cNvSpPr/>
              <p:nvPr/>
            </p:nvSpPr>
            <p:spPr>
              <a:xfrm>
                <a:off x="5964800" y="1500225"/>
                <a:ext cx="691250" cy="1077450"/>
              </a:xfrm>
              <a:custGeom>
                <a:avLst/>
                <a:gdLst/>
                <a:ahLst/>
                <a:cxnLst/>
                <a:rect l="l" t="t" r="r" b="b"/>
                <a:pathLst>
                  <a:path w="27650" h="43098" fill="none" extrusionOk="0">
                    <a:moveTo>
                      <a:pt x="113" y="9627"/>
                    </a:moveTo>
                    <a:lnTo>
                      <a:pt x="113" y="9627"/>
                    </a:lnTo>
                    <a:lnTo>
                      <a:pt x="337" y="11194"/>
                    </a:lnTo>
                    <a:lnTo>
                      <a:pt x="337" y="11194"/>
                    </a:lnTo>
                    <a:lnTo>
                      <a:pt x="561" y="13769"/>
                    </a:lnTo>
                    <a:lnTo>
                      <a:pt x="785" y="17463"/>
                    </a:lnTo>
                    <a:lnTo>
                      <a:pt x="896" y="21605"/>
                    </a:lnTo>
                    <a:lnTo>
                      <a:pt x="1008" y="25411"/>
                    </a:lnTo>
                    <a:lnTo>
                      <a:pt x="1008" y="25411"/>
                    </a:lnTo>
                    <a:lnTo>
                      <a:pt x="896" y="29888"/>
                    </a:lnTo>
                    <a:lnTo>
                      <a:pt x="1008" y="35149"/>
                    </a:lnTo>
                    <a:lnTo>
                      <a:pt x="1232" y="42649"/>
                    </a:lnTo>
                    <a:lnTo>
                      <a:pt x="1232" y="42649"/>
                    </a:lnTo>
                    <a:lnTo>
                      <a:pt x="2240" y="42985"/>
                    </a:lnTo>
                    <a:lnTo>
                      <a:pt x="3135" y="43097"/>
                    </a:lnTo>
                    <a:lnTo>
                      <a:pt x="4255" y="42985"/>
                    </a:lnTo>
                    <a:lnTo>
                      <a:pt x="5598" y="42649"/>
                    </a:lnTo>
                    <a:lnTo>
                      <a:pt x="5598" y="42649"/>
                    </a:lnTo>
                    <a:lnTo>
                      <a:pt x="6046" y="37164"/>
                    </a:lnTo>
                    <a:lnTo>
                      <a:pt x="6829" y="25747"/>
                    </a:lnTo>
                    <a:lnTo>
                      <a:pt x="6829" y="25747"/>
                    </a:lnTo>
                    <a:lnTo>
                      <a:pt x="7277" y="22500"/>
                    </a:lnTo>
                    <a:lnTo>
                      <a:pt x="7949" y="18135"/>
                    </a:lnTo>
                    <a:lnTo>
                      <a:pt x="9068" y="11754"/>
                    </a:lnTo>
                    <a:lnTo>
                      <a:pt x="9068" y="11754"/>
                    </a:lnTo>
                    <a:lnTo>
                      <a:pt x="11419" y="12314"/>
                    </a:lnTo>
                    <a:lnTo>
                      <a:pt x="15672" y="13321"/>
                    </a:lnTo>
                    <a:lnTo>
                      <a:pt x="17799" y="13881"/>
                    </a:lnTo>
                    <a:lnTo>
                      <a:pt x="19702" y="14441"/>
                    </a:lnTo>
                    <a:lnTo>
                      <a:pt x="21045" y="14888"/>
                    </a:lnTo>
                    <a:lnTo>
                      <a:pt x="21493" y="15112"/>
                    </a:lnTo>
                    <a:lnTo>
                      <a:pt x="21605" y="15336"/>
                    </a:lnTo>
                    <a:lnTo>
                      <a:pt x="21605" y="15336"/>
                    </a:lnTo>
                    <a:lnTo>
                      <a:pt x="21829" y="16008"/>
                    </a:lnTo>
                    <a:lnTo>
                      <a:pt x="21941" y="16791"/>
                    </a:lnTo>
                    <a:lnTo>
                      <a:pt x="22165" y="19030"/>
                    </a:lnTo>
                    <a:lnTo>
                      <a:pt x="22165" y="21717"/>
                    </a:lnTo>
                    <a:lnTo>
                      <a:pt x="22277" y="24515"/>
                    </a:lnTo>
                    <a:lnTo>
                      <a:pt x="22277" y="29552"/>
                    </a:lnTo>
                    <a:lnTo>
                      <a:pt x="22389" y="31232"/>
                    </a:lnTo>
                    <a:lnTo>
                      <a:pt x="22501" y="31679"/>
                    </a:lnTo>
                    <a:lnTo>
                      <a:pt x="22501" y="31903"/>
                    </a:lnTo>
                    <a:lnTo>
                      <a:pt x="22501" y="31903"/>
                    </a:lnTo>
                    <a:lnTo>
                      <a:pt x="22613" y="32015"/>
                    </a:lnTo>
                    <a:lnTo>
                      <a:pt x="22836" y="32127"/>
                    </a:lnTo>
                    <a:lnTo>
                      <a:pt x="23396" y="32239"/>
                    </a:lnTo>
                    <a:lnTo>
                      <a:pt x="24180" y="32351"/>
                    </a:lnTo>
                    <a:lnTo>
                      <a:pt x="25187" y="32351"/>
                    </a:lnTo>
                    <a:lnTo>
                      <a:pt x="26083" y="32239"/>
                    </a:lnTo>
                    <a:lnTo>
                      <a:pt x="26866" y="32127"/>
                    </a:lnTo>
                    <a:lnTo>
                      <a:pt x="27426" y="31791"/>
                    </a:lnTo>
                    <a:lnTo>
                      <a:pt x="27538" y="31679"/>
                    </a:lnTo>
                    <a:lnTo>
                      <a:pt x="27650" y="31567"/>
                    </a:lnTo>
                    <a:lnTo>
                      <a:pt x="27650" y="31567"/>
                    </a:lnTo>
                    <a:lnTo>
                      <a:pt x="27538" y="23060"/>
                    </a:lnTo>
                    <a:lnTo>
                      <a:pt x="27314" y="16679"/>
                    </a:lnTo>
                    <a:lnTo>
                      <a:pt x="27202" y="14105"/>
                    </a:lnTo>
                    <a:lnTo>
                      <a:pt x="27090" y="12538"/>
                    </a:lnTo>
                    <a:lnTo>
                      <a:pt x="27090" y="12538"/>
                    </a:lnTo>
                    <a:lnTo>
                      <a:pt x="26866" y="11866"/>
                    </a:lnTo>
                    <a:lnTo>
                      <a:pt x="26419" y="11306"/>
                    </a:lnTo>
                    <a:lnTo>
                      <a:pt x="25747" y="10635"/>
                    </a:lnTo>
                    <a:lnTo>
                      <a:pt x="24963" y="10075"/>
                    </a:lnTo>
                    <a:lnTo>
                      <a:pt x="22948" y="8956"/>
                    </a:lnTo>
                    <a:lnTo>
                      <a:pt x="20598" y="7724"/>
                    </a:lnTo>
                    <a:lnTo>
                      <a:pt x="18247" y="6605"/>
                    </a:lnTo>
                    <a:lnTo>
                      <a:pt x="15896" y="5262"/>
                    </a:lnTo>
                    <a:lnTo>
                      <a:pt x="14889" y="4478"/>
                    </a:lnTo>
                    <a:lnTo>
                      <a:pt x="13993" y="3695"/>
                    </a:lnTo>
                    <a:lnTo>
                      <a:pt x="13210" y="2911"/>
                    </a:lnTo>
                    <a:lnTo>
                      <a:pt x="12650" y="2015"/>
                    </a:lnTo>
                    <a:lnTo>
                      <a:pt x="12650" y="2015"/>
                    </a:lnTo>
                    <a:lnTo>
                      <a:pt x="10747" y="1456"/>
                    </a:lnTo>
                    <a:lnTo>
                      <a:pt x="8844" y="896"/>
                    </a:lnTo>
                    <a:lnTo>
                      <a:pt x="6605" y="336"/>
                    </a:lnTo>
                    <a:lnTo>
                      <a:pt x="5486" y="224"/>
                    </a:lnTo>
                    <a:lnTo>
                      <a:pt x="4367" y="112"/>
                    </a:lnTo>
                    <a:lnTo>
                      <a:pt x="3247" y="1"/>
                    </a:lnTo>
                    <a:lnTo>
                      <a:pt x="2352" y="112"/>
                    </a:lnTo>
                    <a:lnTo>
                      <a:pt x="1568" y="336"/>
                    </a:lnTo>
                    <a:lnTo>
                      <a:pt x="896" y="672"/>
                    </a:lnTo>
                    <a:lnTo>
                      <a:pt x="673" y="896"/>
                    </a:lnTo>
                    <a:lnTo>
                      <a:pt x="449" y="1232"/>
                    </a:lnTo>
                    <a:lnTo>
                      <a:pt x="337" y="1456"/>
                    </a:lnTo>
                    <a:lnTo>
                      <a:pt x="225" y="1904"/>
                    </a:lnTo>
                    <a:lnTo>
                      <a:pt x="225" y="1904"/>
                    </a:lnTo>
                    <a:lnTo>
                      <a:pt x="225" y="3471"/>
                    </a:lnTo>
                    <a:lnTo>
                      <a:pt x="225" y="3471"/>
                    </a:lnTo>
                    <a:lnTo>
                      <a:pt x="113" y="5374"/>
                    </a:lnTo>
                    <a:lnTo>
                      <a:pt x="113" y="5374"/>
                    </a:lnTo>
                    <a:lnTo>
                      <a:pt x="1" y="7277"/>
                    </a:lnTo>
                    <a:lnTo>
                      <a:pt x="113" y="9627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7" name="Google Shape;1957;p16">
                <a:extLst>
                  <a:ext uri="{FF2B5EF4-FFF2-40B4-BE49-F238E27FC236}">
                    <a16:creationId xmlns:a16="http://schemas.microsoft.com/office/drawing/2014/main" id="{2F0945FA-D05D-7D46-10C9-7EF392AE36A9}"/>
                  </a:ext>
                </a:extLst>
              </p:cNvPr>
              <p:cNvSpPr/>
              <p:nvPr/>
            </p:nvSpPr>
            <p:spPr>
              <a:xfrm>
                <a:off x="6135525" y="1760475"/>
                <a:ext cx="25" cy="28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13" extrusionOk="0">
                    <a:moveTo>
                      <a:pt x="0" y="1"/>
                    </a:moveTo>
                    <a:lnTo>
                      <a:pt x="0" y="113"/>
                    </a:lnTo>
                    <a:lnTo>
                      <a:pt x="0" y="113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34354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8" name="Google Shape;1958;p16">
                <a:extLst>
                  <a:ext uri="{FF2B5EF4-FFF2-40B4-BE49-F238E27FC236}">
                    <a16:creationId xmlns:a16="http://schemas.microsoft.com/office/drawing/2014/main" id="{4DAF4DFA-F38E-96D5-360C-80B903CE209D}"/>
                  </a:ext>
                </a:extLst>
              </p:cNvPr>
              <p:cNvSpPr/>
              <p:nvPr/>
            </p:nvSpPr>
            <p:spPr>
              <a:xfrm>
                <a:off x="6135525" y="1760475"/>
                <a:ext cx="25" cy="28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13" fill="none" extrusionOk="0">
                    <a:moveTo>
                      <a:pt x="0" y="1"/>
                    </a:moveTo>
                    <a:lnTo>
                      <a:pt x="0" y="113"/>
                    </a:lnTo>
                    <a:lnTo>
                      <a:pt x="0" y="113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9" name="Google Shape;1959;p16">
                <a:extLst>
                  <a:ext uri="{FF2B5EF4-FFF2-40B4-BE49-F238E27FC236}">
                    <a16:creationId xmlns:a16="http://schemas.microsoft.com/office/drawing/2014/main" id="{17A53075-2EE7-6B19-411B-8582F020C7FE}"/>
                  </a:ext>
                </a:extLst>
              </p:cNvPr>
              <p:cNvSpPr/>
              <p:nvPr/>
            </p:nvSpPr>
            <p:spPr>
              <a:xfrm>
                <a:off x="5964800" y="1679325"/>
                <a:ext cx="2825" cy="30800"/>
              </a:xfrm>
              <a:custGeom>
                <a:avLst/>
                <a:gdLst/>
                <a:ahLst/>
                <a:cxnLst/>
                <a:rect l="l" t="t" r="r" b="b"/>
                <a:pathLst>
                  <a:path w="113" h="1232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13" y="1232"/>
                    </a:lnTo>
                    <a:lnTo>
                      <a:pt x="113" y="123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9D9999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0" name="Google Shape;1960;p16">
                <a:extLst>
                  <a:ext uri="{FF2B5EF4-FFF2-40B4-BE49-F238E27FC236}">
                    <a16:creationId xmlns:a16="http://schemas.microsoft.com/office/drawing/2014/main" id="{8DE9C602-EA55-7EAC-354D-763CB820E76B}"/>
                  </a:ext>
                </a:extLst>
              </p:cNvPr>
              <p:cNvSpPr/>
              <p:nvPr/>
            </p:nvSpPr>
            <p:spPr>
              <a:xfrm>
                <a:off x="5964800" y="1679325"/>
                <a:ext cx="2825" cy="30800"/>
              </a:xfrm>
              <a:custGeom>
                <a:avLst/>
                <a:gdLst/>
                <a:ahLst/>
                <a:cxnLst/>
                <a:rect l="l" t="t" r="r" b="b"/>
                <a:pathLst>
                  <a:path w="113" h="1232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13" y="1232"/>
                    </a:lnTo>
                    <a:lnTo>
                      <a:pt x="113" y="123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1" name="Google Shape;1961;p16">
                <a:extLst>
                  <a:ext uri="{FF2B5EF4-FFF2-40B4-BE49-F238E27FC236}">
                    <a16:creationId xmlns:a16="http://schemas.microsoft.com/office/drawing/2014/main" id="{9B2D7063-7104-05C7-DCBF-C334C9C2CC22}"/>
                  </a:ext>
                </a:extLst>
              </p:cNvPr>
              <p:cNvSpPr/>
              <p:nvPr/>
            </p:nvSpPr>
            <p:spPr>
              <a:xfrm>
                <a:off x="5964800" y="1623350"/>
                <a:ext cx="139950" cy="86775"/>
              </a:xfrm>
              <a:custGeom>
                <a:avLst/>
                <a:gdLst/>
                <a:ahLst/>
                <a:cxnLst/>
                <a:rect l="l" t="t" r="r" b="b"/>
                <a:pathLst>
                  <a:path w="5598" h="3471" extrusionOk="0">
                    <a:moveTo>
                      <a:pt x="5598" y="1"/>
                    </a:moveTo>
                    <a:lnTo>
                      <a:pt x="5486" y="337"/>
                    </a:lnTo>
                    <a:lnTo>
                      <a:pt x="5150" y="672"/>
                    </a:lnTo>
                    <a:lnTo>
                      <a:pt x="4814" y="1008"/>
                    </a:lnTo>
                    <a:lnTo>
                      <a:pt x="4367" y="1344"/>
                    </a:lnTo>
                    <a:lnTo>
                      <a:pt x="3247" y="1904"/>
                    </a:lnTo>
                    <a:lnTo>
                      <a:pt x="2128" y="2240"/>
                    </a:lnTo>
                    <a:lnTo>
                      <a:pt x="1008" y="2352"/>
                    </a:lnTo>
                    <a:lnTo>
                      <a:pt x="1" y="2240"/>
                    </a:lnTo>
                    <a:lnTo>
                      <a:pt x="113" y="3471"/>
                    </a:lnTo>
                    <a:lnTo>
                      <a:pt x="896" y="3247"/>
                    </a:lnTo>
                    <a:lnTo>
                      <a:pt x="1680" y="2911"/>
                    </a:lnTo>
                    <a:lnTo>
                      <a:pt x="2687" y="2575"/>
                    </a:lnTo>
                    <a:lnTo>
                      <a:pt x="3583" y="2128"/>
                    </a:lnTo>
                    <a:lnTo>
                      <a:pt x="4478" y="1568"/>
                    </a:lnTo>
                    <a:lnTo>
                      <a:pt x="5262" y="784"/>
                    </a:lnTo>
                    <a:lnTo>
                      <a:pt x="5486" y="449"/>
                    </a:lnTo>
                    <a:lnTo>
                      <a:pt x="5598" y="1"/>
                    </a:lnTo>
                    <a:close/>
                  </a:path>
                </a:pathLst>
              </a:custGeom>
              <a:solidFill>
                <a:srgbClr val="3E3E3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2" name="Google Shape;1962;p16">
                <a:extLst>
                  <a:ext uri="{FF2B5EF4-FFF2-40B4-BE49-F238E27FC236}">
                    <a16:creationId xmlns:a16="http://schemas.microsoft.com/office/drawing/2014/main" id="{A62BF17F-F71D-DF99-1E84-F7A4C6E5A286}"/>
                  </a:ext>
                </a:extLst>
              </p:cNvPr>
              <p:cNvSpPr/>
              <p:nvPr/>
            </p:nvSpPr>
            <p:spPr>
              <a:xfrm>
                <a:off x="5964800" y="1623350"/>
                <a:ext cx="139950" cy="86775"/>
              </a:xfrm>
              <a:custGeom>
                <a:avLst/>
                <a:gdLst/>
                <a:ahLst/>
                <a:cxnLst/>
                <a:rect l="l" t="t" r="r" b="b"/>
                <a:pathLst>
                  <a:path w="5598" h="3471" fill="none" extrusionOk="0">
                    <a:moveTo>
                      <a:pt x="5598" y="1"/>
                    </a:moveTo>
                    <a:lnTo>
                      <a:pt x="5598" y="1"/>
                    </a:lnTo>
                    <a:lnTo>
                      <a:pt x="5486" y="337"/>
                    </a:lnTo>
                    <a:lnTo>
                      <a:pt x="5150" y="672"/>
                    </a:lnTo>
                    <a:lnTo>
                      <a:pt x="5150" y="672"/>
                    </a:lnTo>
                    <a:lnTo>
                      <a:pt x="4814" y="1008"/>
                    </a:lnTo>
                    <a:lnTo>
                      <a:pt x="4367" y="1344"/>
                    </a:lnTo>
                    <a:lnTo>
                      <a:pt x="3247" y="1904"/>
                    </a:lnTo>
                    <a:lnTo>
                      <a:pt x="2128" y="2240"/>
                    </a:lnTo>
                    <a:lnTo>
                      <a:pt x="1008" y="2352"/>
                    </a:lnTo>
                    <a:lnTo>
                      <a:pt x="1008" y="2352"/>
                    </a:lnTo>
                    <a:lnTo>
                      <a:pt x="1" y="2240"/>
                    </a:lnTo>
                    <a:lnTo>
                      <a:pt x="1" y="2240"/>
                    </a:lnTo>
                    <a:lnTo>
                      <a:pt x="113" y="3471"/>
                    </a:lnTo>
                    <a:lnTo>
                      <a:pt x="113" y="3471"/>
                    </a:lnTo>
                    <a:lnTo>
                      <a:pt x="113" y="3471"/>
                    </a:lnTo>
                    <a:lnTo>
                      <a:pt x="113" y="3471"/>
                    </a:lnTo>
                    <a:lnTo>
                      <a:pt x="896" y="3247"/>
                    </a:lnTo>
                    <a:lnTo>
                      <a:pt x="1680" y="2911"/>
                    </a:lnTo>
                    <a:lnTo>
                      <a:pt x="2687" y="2575"/>
                    </a:lnTo>
                    <a:lnTo>
                      <a:pt x="3583" y="2128"/>
                    </a:lnTo>
                    <a:lnTo>
                      <a:pt x="4478" y="1568"/>
                    </a:lnTo>
                    <a:lnTo>
                      <a:pt x="5262" y="784"/>
                    </a:lnTo>
                    <a:lnTo>
                      <a:pt x="5486" y="449"/>
                    </a:lnTo>
                    <a:lnTo>
                      <a:pt x="5598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3" name="Google Shape;1963;p16">
                <a:extLst>
                  <a:ext uri="{FF2B5EF4-FFF2-40B4-BE49-F238E27FC236}">
                    <a16:creationId xmlns:a16="http://schemas.microsoft.com/office/drawing/2014/main" id="{586F935A-6B41-D5A6-8EA7-DE83D1604536}"/>
                  </a:ext>
                </a:extLst>
              </p:cNvPr>
              <p:cNvSpPr/>
              <p:nvPr/>
            </p:nvSpPr>
            <p:spPr>
              <a:xfrm>
                <a:off x="5992800" y="1035675"/>
                <a:ext cx="310650" cy="582100"/>
              </a:xfrm>
              <a:custGeom>
                <a:avLst/>
                <a:gdLst/>
                <a:ahLst/>
                <a:cxnLst/>
                <a:rect l="l" t="t" r="r" b="b"/>
                <a:pathLst>
                  <a:path w="12426" h="23284" extrusionOk="0">
                    <a:moveTo>
                      <a:pt x="6493" y="1"/>
                    </a:moveTo>
                    <a:lnTo>
                      <a:pt x="5150" y="1008"/>
                    </a:lnTo>
                    <a:lnTo>
                      <a:pt x="3918" y="1792"/>
                    </a:lnTo>
                    <a:lnTo>
                      <a:pt x="2687" y="2575"/>
                    </a:lnTo>
                    <a:lnTo>
                      <a:pt x="112" y="17127"/>
                    </a:lnTo>
                    <a:lnTo>
                      <a:pt x="0" y="18359"/>
                    </a:lnTo>
                    <a:lnTo>
                      <a:pt x="112" y="19142"/>
                    </a:lnTo>
                    <a:lnTo>
                      <a:pt x="336" y="20150"/>
                    </a:lnTo>
                    <a:lnTo>
                      <a:pt x="784" y="21045"/>
                    </a:lnTo>
                    <a:lnTo>
                      <a:pt x="1008" y="21493"/>
                    </a:lnTo>
                    <a:lnTo>
                      <a:pt x="1456" y="21941"/>
                    </a:lnTo>
                    <a:lnTo>
                      <a:pt x="1791" y="22277"/>
                    </a:lnTo>
                    <a:lnTo>
                      <a:pt x="2351" y="22612"/>
                    </a:lnTo>
                    <a:lnTo>
                      <a:pt x="2911" y="22948"/>
                    </a:lnTo>
                    <a:lnTo>
                      <a:pt x="3694" y="23172"/>
                    </a:lnTo>
                    <a:lnTo>
                      <a:pt x="4814" y="23284"/>
                    </a:lnTo>
                    <a:lnTo>
                      <a:pt x="6045" y="23284"/>
                    </a:lnTo>
                    <a:lnTo>
                      <a:pt x="7164" y="23060"/>
                    </a:lnTo>
                    <a:lnTo>
                      <a:pt x="8396" y="22836"/>
                    </a:lnTo>
                    <a:lnTo>
                      <a:pt x="9291" y="22500"/>
                    </a:lnTo>
                    <a:lnTo>
                      <a:pt x="10075" y="22053"/>
                    </a:lnTo>
                    <a:lnTo>
                      <a:pt x="10523" y="21717"/>
                    </a:lnTo>
                    <a:lnTo>
                      <a:pt x="10523" y="21493"/>
                    </a:lnTo>
                    <a:lnTo>
                      <a:pt x="10523" y="21381"/>
                    </a:lnTo>
                    <a:lnTo>
                      <a:pt x="10411" y="21045"/>
                    </a:lnTo>
                    <a:lnTo>
                      <a:pt x="10523" y="20374"/>
                    </a:lnTo>
                    <a:lnTo>
                      <a:pt x="10858" y="18583"/>
                    </a:lnTo>
                    <a:lnTo>
                      <a:pt x="11530" y="15896"/>
                    </a:lnTo>
                    <a:lnTo>
                      <a:pt x="11978" y="12874"/>
                    </a:lnTo>
                    <a:lnTo>
                      <a:pt x="12202" y="11195"/>
                    </a:lnTo>
                    <a:lnTo>
                      <a:pt x="12426" y="9627"/>
                    </a:lnTo>
                    <a:lnTo>
                      <a:pt x="12426" y="7948"/>
                    </a:lnTo>
                    <a:lnTo>
                      <a:pt x="12314" y="6381"/>
                    </a:lnTo>
                    <a:lnTo>
                      <a:pt x="11978" y="4814"/>
                    </a:lnTo>
                    <a:lnTo>
                      <a:pt x="11530" y="3359"/>
                    </a:lnTo>
                    <a:lnTo>
                      <a:pt x="11306" y="2799"/>
                    </a:lnTo>
                    <a:lnTo>
                      <a:pt x="10970" y="2127"/>
                    </a:lnTo>
                    <a:lnTo>
                      <a:pt x="10523" y="1568"/>
                    </a:lnTo>
                    <a:lnTo>
                      <a:pt x="10075" y="1008"/>
                    </a:lnTo>
                    <a:lnTo>
                      <a:pt x="9851" y="896"/>
                    </a:lnTo>
                    <a:lnTo>
                      <a:pt x="9739" y="896"/>
                    </a:lnTo>
                    <a:lnTo>
                      <a:pt x="9403" y="1120"/>
                    </a:lnTo>
                    <a:lnTo>
                      <a:pt x="9179" y="1456"/>
                    </a:lnTo>
                    <a:lnTo>
                      <a:pt x="9067" y="1568"/>
                    </a:lnTo>
                    <a:lnTo>
                      <a:pt x="8732" y="1568"/>
                    </a:lnTo>
                    <a:lnTo>
                      <a:pt x="8396" y="1456"/>
                    </a:lnTo>
                    <a:lnTo>
                      <a:pt x="8060" y="1232"/>
                    </a:lnTo>
                    <a:lnTo>
                      <a:pt x="7612" y="560"/>
                    </a:lnTo>
                    <a:lnTo>
                      <a:pt x="7388" y="336"/>
                    </a:lnTo>
                    <a:lnTo>
                      <a:pt x="7052" y="113"/>
                    </a:lnTo>
                    <a:lnTo>
                      <a:pt x="6829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4" name="Google Shape;1964;p16">
                <a:extLst>
                  <a:ext uri="{FF2B5EF4-FFF2-40B4-BE49-F238E27FC236}">
                    <a16:creationId xmlns:a16="http://schemas.microsoft.com/office/drawing/2014/main" id="{7A62904D-6B18-8A37-6852-F5668107F3C5}"/>
                  </a:ext>
                </a:extLst>
              </p:cNvPr>
              <p:cNvSpPr/>
              <p:nvPr/>
            </p:nvSpPr>
            <p:spPr>
              <a:xfrm>
                <a:off x="5992800" y="1035675"/>
                <a:ext cx="310650" cy="582100"/>
              </a:xfrm>
              <a:custGeom>
                <a:avLst/>
                <a:gdLst/>
                <a:ahLst/>
                <a:cxnLst/>
                <a:rect l="l" t="t" r="r" b="b"/>
                <a:pathLst>
                  <a:path w="12426" h="23284" fill="none" extrusionOk="0">
                    <a:moveTo>
                      <a:pt x="6493" y="1"/>
                    </a:moveTo>
                    <a:lnTo>
                      <a:pt x="6493" y="1"/>
                    </a:lnTo>
                    <a:lnTo>
                      <a:pt x="6829" y="1"/>
                    </a:lnTo>
                    <a:lnTo>
                      <a:pt x="7052" y="113"/>
                    </a:lnTo>
                    <a:lnTo>
                      <a:pt x="7388" y="336"/>
                    </a:lnTo>
                    <a:lnTo>
                      <a:pt x="7612" y="560"/>
                    </a:lnTo>
                    <a:lnTo>
                      <a:pt x="8060" y="1232"/>
                    </a:lnTo>
                    <a:lnTo>
                      <a:pt x="8396" y="1456"/>
                    </a:lnTo>
                    <a:lnTo>
                      <a:pt x="8732" y="1568"/>
                    </a:lnTo>
                    <a:lnTo>
                      <a:pt x="8732" y="1568"/>
                    </a:lnTo>
                    <a:lnTo>
                      <a:pt x="9067" y="1568"/>
                    </a:lnTo>
                    <a:lnTo>
                      <a:pt x="9179" y="1456"/>
                    </a:lnTo>
                    <a:lnTo>
                      <a:pt x="9403" y="1120"/>
                    </a:lnTo>
                    <a:lnTo>
                      <a:pt x="9403" y="1120"/>
                    </a:lnTo>
                    <a:lnTo>
                      <a:pt x="9739" y="896"/>
                    </a:lnTo>
                    <a:lnTo>
                      <a:pt x="9851" y="896"/>
                    </a:lnTo>
                    <a:lnTo>
                      <a:pt x="10075" y="1008"/>
                    </a:lnTo>
                    <a:lnTo>
                      <a:pt x="10075" y="1008"/>
                    </a:lnTo>
                    <a:lnTo>
                      <a:pt x="10523" y="1568"/>
                    </a:lnTo>
                    <a:lnTo>
                      <a:pt x="10970" y="2127"/>
                    </a:lnTo>
                    <a:lnTo>
                      <a:pt x="11306" y="2799"/>
                    </a:lnTo>
                    <a:lnTo>
                      <a:pt x="11530" y="3359"/>
                    </a:lnTo>
                    <a:lnTo>
                      <a:pt x="11978" y="4814"/>
                    </a:lnTo>
                    <a:lnTo>
                      <a:pt x="12314" y="6381"/>
                    </a:lnTo>
                    <a:lnTo>
                      <a:pt x="12426" y="7948"/>
                    </a:lnTo>
                    <a:lnTo>
                      <a:pt x="12426" y="9627"/>
                    </a:lnTo>
                    <a:lnTo>
                      <a:pt x="12202" y="11195"/>
                    </a:lnTo>
                    <a:lnTo>
                      <a:pt x="11978" y="12874"/>
                    </a:lnTo>
                    <a:lnTo>
                      <a:pt x="11530" y="15896"/>
                    </a:lnTo>
                    <a:lnTo>
                      <a:pt x="10858" y="18583"/>
                    </a:lnTo>
                    <a:lnTo>
                      <a:pt x="10523" y="20374"/>
                    </a:lnTo>
                    <a:lnTo>
                      <a:pt x="10411" y="21045"/>
                    </a:lnTo>
                    <a:lnTo>
                      <a:pt x="10523" y="21381"/>
                    </a:lnTo>
                    <a:lnTo>
                      <a:pt x="10523" y="21381"/>
                    </a:lnTo>
                    <a:lnTo>
                      <a:pt x="10523" y="21493"/>
                    </a:lnTo>
                    <a:lnTo>
                      <a:pt x="10523" y="21717"/>
                    </a:lnTo>
                    <a:lnTo>
                      <a:pt x="10075" y="22053"/>
                    </a:lnTo>
                    <a:lnTo>
                      <a:pt x="9291" y="22500"/>
                    </a:lnTo>
                    <a:lnTo>
                      <a:pt x="8396" y="22836"/>
                    </a:lnTo>
                    <a:lnTo>
                      <a:pt x="7164" y="23060"/>
                    </a:lnTo>
                    <a:lnTo>
                      <a:pt x="6045" y="23284"/>
                    </a:lnTo>
                    <a:lnTo>
                      <a:pt x="4814" y="23284"/>
                    </a:lnTo>
                    <a:lnTo>
                      <a:pt x="3694" y="23172"/>
                    </a:lnTo>
                    <a:lnTo>
                      <a:pt x="3694" y="23172"/>
                    </a:lnTo>
                    <a:lnTo>
                      <a:pt x="2911" y="22948"/>
                    </a:lnTo>
                    <a:lnTo>
                      <a:pt x="2351" y="22612"/>
                    </a:lnTo>
                    <a:lnTo>
                      <a:pt x="1791" y="22277"/>
                    </a:lnTo>
                    <a:lnTo>
                      <a:pt x="1456" y="21941"/>
                    </a:lnTo>
                    <a:lnTo>
                      <a:pt x="1008" y="21493"/>
                    </a:lnTo>
                    <a:lnTo>
                      <a:pt x="784" y="21045"/>
                    </a:lnTo>
                    <a:lnTo>
                      <a:pt x="336" y="20150"/>
                    </a:lnTo>
                    <a:lnTo>
                      <a:pt x="112" y="19142"/>
                    </a:lnTo>
                    <a:lnTo>
                      <a:pt x="0" y="18359"/>
                    </a:lnTo>
                    <a:lnTo>
                      <a:pt x="112" y="17127"/>
                    </a:lnTo>
                    <a:lnTo>
                      <a:pt x="112" y="17127"/>
                    </a:lnTo>
                    <a:lnTo>
                      <a:pt x="2687" y="2575"/>
                    </a:lnTo>
                    <a:lnTo>
                      <a:pt x="2687" y="2575"/>
                    </a:lnTo>
                    <a:lnTo>
                      <a:pt x="3918" y="1792"/>
                    </a:lnTo>
                    <a:lnTo>
                      <a:pt x="5150" y="1008"/>
                    </a:lnTo>
                    <a:lnTo>
                      <a:pt x="649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5" name="Google Shape;1965;p16">
                <a:extLst>
                  <a:ext uri="{FF2B5EF4-FFF2-40B4-BE49-F238E27FC236}">
                    <a16:creationId xmlns:a16="http://schemas.microsoft.com/office/drawing/2014/main" id="{1157ED85-13AE-552C-630B-CADB6F5846EB}"/>
                  </a:ext>
                </a:extLst>
              </p:cNvPr>
              <p:cNvSpPr/>
              <p:nvPr/>
            </p:nvSpPr>
            <p:spPr>
              <a:xfrm>
                <a:off x="6219475" y="1060875"/>
                <a:ext cx="554125" cy="604475"/>
              </a:xfrm>
              <a:custGeom>
                <a:avLst/>
                <a:gdLst/>
                <a:ahLst/>
                <a:cxnLst/>
                <a:rect l="l" t="t" r="r" b="b"/>
                <a:pathLst>
                  <a:path w="22165" h="24179" extrusionOk="0">
                    <a:moveTo>
                      <a:pt x="1008" y="0"/>
                    </a:moveTo>
                    <a:lnTo>
                      <a:pt x="1008" y="112"/>
                    </a:lnTo>
                    <a:lnTo>
                      <a:pt x="896" y="784"/>
                    </a:lnTo>
                    <a:lnTo>
                      <a:pt x="1008" y="2015"/>
                    </a:lnTo>
                    <a:lnTo>
                      <a:pt x="1120" y="3358"/>
                    </a:lnTo>
                    <a:lnTo>
                      <a:pt x="1232" y="4478"/>
                    </a:lnTo>
                    <a:lnTo>
                      <a:pt x="1120" y="5597"/>
                    </a:lnTo>
                    <a:lnTo>
                      <a:pt x="896" y="6605"/>
                    </a:lnTo>
                    <a:lnTo>
                      <a:pt x="672" y="7724"/>
                    </a:lnTo>
                    <a:lnTo>
                      <a:pt x="448" y="8843"/>
                    </a:lnTo>
                    <a:lnTo>
                      <a:pt x="224" y="9963"/>
                    </a:lnTo>
                    <a:lnTo>
                      <a:pt x="112" y="11194"/>
                    </a:lnTo>
                    <a:lnTo>
                      <a:pt x="112" y="12537"/>
                    </a:lnTo>
                    <a:lnTo>
                      <a:pt x="224" y="14216"/>
                    </a:lnTo>
                    <a:lnTo>
                      <a:pt x="224" y="15784"/>
                    </a:lnTo>
                    <a:lnTo>
                      <a:pt x="112" y="18806"/>
                    </a:lnTo>
                    <a:lnTo>
                      <a:pt x="0" y="21492"/>
                    </a:lnTo>
                    <a:lnTo>
                      <a:pt x="112" y="22276"/>
                    </a:lnTo>
                    <a:lnTo>
                      <a:pt x="224" y="22948"/>
                    </a:lnTo>
                    <a:lnTo>
                      <a:pt x="336" y="23395"/>
                    </a:lnTo>
                    <a:lnTo>
                      <a:pt x="560" y="23731"/>
                    </a:lnTo>
                    <a:lnTo>
                      <a:pt x="1232" y="24067"/>
                    </a:lnTo>
                    <a:lnTo>
                      <a:pt x="1568" y="24179"/>
                    </a:lnTo>
                    <a:lnTo>
                      <a:pt x="2239" y="24179"/>
                    </a:lnTo>
                    <a:lnTo>
                      <a:pt x="2687" y="23955"/>
                    </a:lnTo>
                    <a:lnTo>
                      <a:pt x="3023" y="23731"/>
                    </a:lnTo>
                    <a:lnTo>
                      <a:pt x="3470" y="23283"/>
                    </a:lnTo>
                    <a:lnTo>
                      <a:pt x="3918" y="22724"/>
                    </a:lnTo>
                    <a:lnTo>
                      <a:pt x="4142" y="22164"/>
                    </a:lnTo>
                    <a:lnTo>
                      <a:pt x="4366" y="21045"/>
                    </a:lnTo>
                    <a:lnTo>
                      <a:pt x="4478" y="19813"/>
                    </a:lnTo>
                    <a:lnTo>
                      <a:pt x="4478" y="18582"/>
                    </a:lnTo>
                    <a:lnTo>
                      <a:pt x="4478" y="17239"/>
                    </a:lnTo>
                    <a:lnTo>
                      <a:pt x="4142" y="15000"/>
                    </a:lnTo>
                    <a:lnTo>
                      <a:pt x="4030" y="13433"/>
                    </a:lnTo>
                    <a:lnTo>
                      <a:pt x="3694" y="11194"/>
                    </a:lnTo>
                    <a:lnTo>
                      <a:pt x="3582" y="10410"/>
                    </a:lnTo>
                    <a:lnTo>
                      <a:pt x="3470" y="9403"/>
                    </a:lnTo>
                    <a:lnTo>
                      <a:pt x="3582" y="8396"/>
                    </a:lnTo>
                    <a:lnTo>
                      <a:pt x="3694" y="7612"/>
                    </a:lnTo>
                    <a:lnTo>
                      <a:pt x="3806" y="7500"/>
                    </a:lnTo>
                    <a:lnTo>
                      <a:pt x="3918" y="7388"/>
                    </a:lnTo>
                    <a:lnTo>
                      <a:pt x="4478" y="7388"/>
                    </a:lnTo>
                    <a:lnTo>
                      <a:pt x="5261" y="7612"/>
                    </a:lnTo>
                    <a:lnTo>
                      <a:pt x="7500" y="8507"/>
                    </a:lnTo>
                    <a:lnTo>
                      <a:pt x="8844" y="9067"/>
                    </a:lnTo>
                    <a:lnTo>
                      <a:pt x="10187" y="9627"/>
                    </a:lnTo>
                    <a:lnTo>
                      <a:pt x="11418" y="9963"/>
                    </a:lnTo>
                    <a:lnTo>
                      <a:pt x="12426" y="10187"/>
                    </a:lnTo>
                    <a:lnTo>
                      <a:pt x="12873" y="10075"/>
                    </a:lnTo>
                    <a:lnTo>
                      <a:pt x="13433" y="9963"/>
                    </a:lnTo>
                    <a:lnTo>
                      <a:pt x="14776" y="9291"/>
                    </a:lnTo>
                    <a:lnTo>
                      <a:pt x="16343" y="8396"/>
                    </a:lnTo>
                    <a:lnTo>
                      <a:pt x="17911" y="7388"/>
                    </a:lnTo>
                    <a:lnTo>
                      <a:pt x="20821" y="5485"/>
                    </a:lnTo>
                    <a:lnTo>
                      <a:pt x="22164" y="4478"/>
                    </a:lnTo>
                    <a:lnTo>
                      <a:pt x="22164" y="4142"/>
                    </a:lnTo>
                    <a:lnTo>
                      <a:pt x="22164" y="3582"/>
                    </a:lnTo>
                    <a:lnTo>
                      <a:pt x="21940" y="3022"/>
                    </a:lnTo>
                    <a:lnTo>
                      <a:pt x="21717" y="2463"/>
                    </a:lnTo>
                    <a:lnTo>
                      <a:pt x="21493" y="2015"/>
                    </a:lnTo>
                    <a:lnTo>
                      <a:pt x="21157" y="1567"/>
                    </a:lnTo>
                    <a:lnTo>
                      <a:pt x="20821" y="1343"/>
                    </a:lnTo>
                    <a:lnTo>
                      <a:pt x="20597" y="1343"/>
                    </a:lnTo>
                    <a:lnTo>
                      <a:pt x="20485" y="1455"/>
                    </a:lnTo>
                    <a:lnTo>
                      <a:pt x="16679" y="3694"/>
                    </a:lnTo>
                    <a:lnTo>
                      <a:pt x="14217" y="5037"/>
                    </a:lnTo>
                    <a:lnTo>
                      <a:pt x="13209" y="5485"/>
                    </a:lnTo>
                    <a:lnTo>
                      <a:pt x="12426" y="5597"/>
                    </a:lnTo>
                    <a:lnTo>
                      <a:pt x="11418" y="5485"/>
                    </a:lnTo>
                    <a:lnTo>
                      <a:pt x="10411" y="5149"/>
                    </a:lnTo>
                    <a:lnTo>
                      <a:pt x="9403" y="4702"/>
                    </a:lnTo>
                    <a:lnTo>
                      <a:pt x="8284" y="4030"/>
                    </a:lnTo>
                    <a:lnTo>
                      <a:pt x="5261" y="2239"/>
                    </a:lnTo>
                    <a:lnTo>
                      <a:pt x="3359" y="1231"/>
                    </a:lnTo>
                    <a:lnTo>
                      <a:pt x="1008" y="0"/>
                    </a:lnTo>
                    <a:close/>
                  </a:path>
                </a:pathLst>
              </a:custGeom>
              <a:solidFill>
                <a:srgbClr val="DB546A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6" name="Google Shape;1966;p16">
                <a:extLst>
                  <a:ext uri="{FF2B5EF4-FFF2-40B4-BE49-F238E27FC236}">
                    <a16:creationId xmlns:a16="http://schemas.microsoft.com/office/drawing/2014/main" id="{5026F7EF-ADDA-D3DA-4CE7-D42FB2522031}"/>
                  </a:ext>
                </a:extLst>
              </p:cNvPr>
              <p:cNvSpPr/>
              <p:nvPr/>
            </p:nvSpPr>
            <p:spPr>
              <a:xfrm>
                <a:off x="5928425" y="1035675"/>
                <a:ext cx="229500" cy="646475"/>
              </a:xfrm>
              <a:custGeom>
                <a:avLst/>
                <a:gdLst/>
                <a:ahLst/>
                <a:cxnLst/>
                <a:rect l="l" t="t" r="r" b="b"/>
                <a:pathLst>
                  <a:path w="9180" h="25859" extrusionOk="0">
                    <a:moveTo>
                      <a:pt x="9068" y="1"/>
                    </a:moveTo>
                    <a:lnTo>
                      <a:pt x="8396" y="113"/>
                    </a:lnTo>
                    <a:lnTo>
                      <a:pt x="6717" y="448"/>
                    </a:lnTo>
                    <a:lnTo>
                      <a:pt x="5710" y="896"/>
                    </a:lnTo>
                    <a:lnTo>
                      <a:pt x="4702" y="1344"/>
                    </a:lnTo>
                    <a:lnTo>
                      <a:pt x="3695" y="2016"/>
                    </a:lnTo>
                    <a:lnTo>
                      <a:pt x="2799" y="2799"/>
                    </a:lnTo>
                    <a:lnTo>
                      <a:pt x="2463" y="3247"/>
                    </a:lnTo>
                    <a:lnTo>
                      <a:pt x="2351" y="3807"/>
                    </a:lnTo>
                    <a:lnTo>
                      <a:pt x="2240" y="4366"/>
                    </a:lnTo>
                    <a:lnTo>
                      <a:pt x="2240" y="5150"/>
                    </a:lnTo>
                    <a:lnTo>
                      <a:pt x="2351" y="6605"/>
                    </a:lnTo>
                    <a:lnTo>
                      <a:pt x="2463" y="8172"/>
                    </a:lnTo>
                    <a:lnTo>
                      <a:pt x="2351" y="8508"/>
                    </a:lnTo>
                    <a:lnTo>
                      <a:pt x="2351" y="8620"/>
                    </a:lnTo>
                    <a:lnTo>
                      <a:pt x="2351" y="9851"/>
                    </a:lnTo>
                    <a:lnTo>
                      <a:pt x="2351" y="12090"/>
                    </a:lnTo>
                    <a:lnTo>
                      <a:pt x="2463" y="12426"/>
                    </a:lnTo>
                    <a:lnTo>
                      <a:pt x="2463" y="12874"/>
                    </a:lnTo>
                    <a:lnTo>
                      <a:pt x="2463" y="13545"/>
                    </a:lnTo>
                    <a:lnTo>
                      <a:pt x="2463" y="14105"/>
                    </a:lnTo>
                    <a:lnTo>
                      <a:pt x="2351" y="15000"/>
                    </a:lnTo>
                    <a:lnTo>
                      <a:pt x="2128" y="16232"/>
                    </a:lnTo>
                    <a:lnTo>
                      <a:pt x="1904" y="17463"/>
                    </a:lnTo>
                    <a:lnTo>
                      <a:pt x="1232" y="19814"/>
                    </a:lnTo>
                    <a:lnTo>
                      <a:pt x="448" y="22277"/>
                    </a:lnTo>
                    <a:lnTo>
                      <a:pt x="225" y="23396"/>
                    </a:lnTo>
                    <a:lnTo>
                      <a:pt x="1" y="24291"/>
                    </a:lnTo>
                    <a:lnTo>
                      <a:pt x="1" y="24963"/>
                    </a:lnTo>
                    <a:lnTo>
                      <a:pt x="113" y="25187"/>
                    </a:lnTo>
                    <a:lnTo>
                      <a:pt x="225" y="25299"/>
                    </a:lnTo>
                    <a:lnTo>
                      <a:pt x="1008" y="25635"/>
                    </a:lnTo>
                    <a:lnTo>
                      <a:pt x="1792" y="25859"/>
                    </a:lnTo>
                    <a:lnTo>
                      <a:pt x="2687" y="25859"/>
                    </a:lnTo>
                    <a:lnTo>
                      <a:pt x="3583" y="25747"/>
                    </a:lnTo>
                    <a:lnTo>
                      <a:pt x="4366" y="25523"/>
                    </a:lnTo>
                    <a:lnTo>
                      <a:pt x="5262" y="25187"/>
                    </a:lnTo>
                    <a:lnTo>
                      <a:pt x="6045" y="24739"/>
                    </a:lnTo>
                    <a:lnTo>
                      <a:pt x="6605" y="24179"/>
                    </a:lnTo>
                    <a:lnTo>
                      <a:pt x="6941" y="23732"/>
                    </a:lnTo>
                    <a:lnTo>
                      <a:pt x="7165" y="23284"/>
                    </a:lnTo>
                    <a:lnTo>
                      <a:pt x="7277" y="22836"/>
                    </a:lnTo>
                    <a:lnTo>
                      <a:pt x="7277" y="22277"/>
                    </a:lnTo>
                    <a:lnTo>
                      <a:pt x="7165" y="21157"/>
                    </a:lnTo>
                    <a:lnTo>
                      <a:pt x="7277" y="19814"/>
                    </a:lnTo>
                    <a:lnTo>
                      <a:pt x="7389" y="19030"/>
                    </a:lnTo>
                    <a:lnTo>
                      <a:pt x="7501" y="18135"/>
                    </a:lnTo>
                    <a:lnTo>
                      <a:pt x="8396" y="14889"/>
                    </a:lnTo>
                    <a:lnTo>
                      <a:pt x="8844" y="12986"/>
                    </a:lnTo>
                    <a:lnTo>
                      <a:pt x="9068" y="11306"/>
                    </a:lnTo>
                    <a:lnTo>
                      <a:pt x="9180" y="7724"/>
                    </a:lnTo>
                    <a:lnTo>
                      <a:pt x="9180" y="4366"/>
                    </a:lnTo>
                    <a:lnTo>
                      <a:pt x="9068" y="1680"/>
                    </a:lnTo>
                    <a:lnTo>
                      <a:pt x="9068" y="1"/>
                    </a:lnTo>
                    <a:close/>
                  </a:path>
                </a:pathLst>
              </a:custGeom>
              <a:solidFill>
                <a:srgbClr val="DB546A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7" name="Google Shape;1967;p16">
                <a:extLst>
                  <a:ext uri="{FF2B5EF4-FFF2-40B4-BE49-F238E27FC236}">
                    <a16:creationId xmlns:a16="http://schemas.microsoft.com/office/drawing/2014/main" id="{D8855D36-6088-E263-1447-BAE5B6A1C8FF}"/>
                  </a:ext>
                </a:extLst>
              </p:cNvPr>
              <p:cNvSpPr/>
              <p:nvPr/>
            </p:nvSpPr>
            <p:spPr>
              <a:xfrm>
                <a:off x="5928425" y="1035675"/>
                <a:ext cx="229500" cy="646475"/>
              </a:xfrm>
              <a:custGeom>
                <a:avLst/>
                <a:gdLst/>
                <a:ahLst/>
                <a:cxnLst/>
                <a:rect l="l" t="t" r="r" b="b"/>
                <a:pathLst>
                  <a:path w="9180" h="25859" fill="none" extrusionOk="0">
                    <a:moveTo>
                      <a:pt x="225" y="25299"/>
                    </a:moveTo>
                    <a:lnTo>
                      <a:pt x="225" y="25299"/>
                    </a:lnTo>
                    <a:lnTo>
                      <a:pt x="1008" y="25635"/>
                    </a:lnTo>
                    <a:lnTo>
                      <a:pt x="1792" y="25859"/>
                    </a:lnTo>
                    <a:lnTo>
                      <a:pt x="2687" y="25859"/>
                    </a:lnTo>
                    <a:lnTo>
                      <a:pt x="3583" y="25747"/>
                    </a:lnTo>
                    <a:lnTo>
                      <a:pt x="4366" y="25523"/>
                    </a:lnTo>
                    <a:lnTo>
                      <a:pt x="5262" y="25187"/>
                    </a:lnTo>
                    <a:lnTo>
                      <a:pt x="6045" y="24739"/>
                    </a:lnTo>
                    <a:lnTo>
                      <a:pt x="6605" y="24179"/>
                    </a:lnTo>
                    <a:lnTo>
                      <a:pt x="6605" y="24179"/>
                    </a:lnTo>
                    <a:lnTo>
                      <a:pt x="6941" y="23732"/>
                    </a:lnTo>
                    <a:lnTo>
                      <a:pt x="7165" y="23284"/>
                    </a:lnTo>
                    <a:lnTo>
                      <a:pt x="7165" y="23284"/>
                    </a:lnTo>
                    <a:lnTo>
                      <a:pt x="7165" y="23284"/>
                    </a:lnTo>
                    <a:lnTo>
                      <a:pt x="7277" y="22836"/>
                    </a:lnTo>
                    <a:lnTo>
                      <a:pt x="7277" y="22277"/>
                    </a:lnTo>
                    <a:lnTo>
                      <a:pt x="7165" y="21157"/>
                    </a:lnTo>
                    <a:lnTo>
                      <a:pt x="7277" y="19814"/>
                    </a:lnTo>
                    <a:lnTo>
                      <a:pt x="7389" y="19030"/>
                    </a:lnTo>
                    <a:lnTo>
                      <a:pt x="7501" y="18135"/>
                    </a:lnTo>
                    <a:lnTo>
                      <a:pt x="7501" y="18135"/>
                    </a:lnTo>
                    <a:lnTo>
                      <a:pt x="8396" y="14889"/>
                    </a:lnTo>
                    <a:lnTo>
                      <a:pt x="8844" y="12986"/>
                    </a:lnTo>
                    <a:lnTo>
                      <a:pt x="9068" y="11306"/>
                    </a:lnTo>
                    <a:lnTo>
                      <a:pt x="9068" y="11306"/>
                    </a:lnTo>
                    <a:lnTo>
                      <a:pt x="9180" y="7724"/>
                    </a:lnTo>
                    <a:lnTo>
                      <a:pt x="9180" y="4366"/>
                    </a:lnTo>
                    <a:lnTo>
                      <a:pt x="9068" y="1680"/>
                    </a:lnTo>
                    <a:lnTo>
                      <a:pt x="9068" y="1"/>
                    </a:lnTo>
                    <a:lnTo>
                      <a:pt x="9068" y="1"/>
                    </a:lnTo>
                    <a:lnTo>
                      <a:pt x="9068" y="1"/>
                    </a:lnTo>
                    <a:lnTo>
                      <a:pt x="8396" y="113"/>
                    </a:lnTo>
                    <a:lnTo>
                      <a:pt x="6717" y="448"/>
                    </a:lnTo>
                    <a:lnTo>
                      <a:pt x="5710" y="896"/>
                    </a:lnTo>
                    <a:lnTo>
                      <a:pt x="4702" y="1344"/>
                    </a:lnTo>
                    <a:lnTo>
                      <a:pt x="3695" y="2016"/>
                    </a:lnTo>
                    <a:lnTo>
                      <a:pt x="2799" y="2799"/>
                    </a:lnTo>
                    <a:lnTo>
                      <a:pt x="2799" y="2799"/>
                    </a:lnTo>
                    <a:lnTo>
                      <a:pt x="2799" y="2799"/>
                    </a:lnTo>
                    <a:lnTo>
                      <a:pt x="2463" y="3247"/>
                    </a:lnTo>
                    <a:lnTo>
                      <a:pt x="2351" y="3807"/>
                    </a:lnTo>
                    <a:lnTo>
                      <a:pt x="2240" y="4366"/>
                    </a:lnTo>
                    <a:lnTo>
                      <a:pt x="2240" y="5150"/>
                    </a:lnTo>
                    <a:lnTo>
                      <a:pt x="2351" y="6605"/>
                    </a:lnTo>
                    <a:lnTo>
                      <a:pt x="2463" y="8172"/>
                    </a:lnTo>
                    <a:lnTo>
                      <a:pt x="2463" y="8172"/>
                    </a:lnTo>
                    <a:lnTo>
                      <a:pt x="2351" y="8508"/>
                    </a:lnTo>
                    <a:lnTo>
                      <a:pt x="2351" y="8620"/>
                    </a:lnTo>
                    <a:lnTo>
                      <a:pt x="2351" y="8620"/>
                    </a:lnTo>
                    <a:lnTo>
                      <a:pt x="2351" y="9851"/>
                    </a:lnTo>
                    <a:lnTo>
                      <a:pt x="2351" y="9851"/>
                    </a:lnTo>
                    <a:lnTo>
                      <a:pt x="2351" y="12090"/>
                    </a:lnTo>
                    <a:lnTo>
                      <a:pt x="2351" y="12090"/>
                    </a:lnTo>
                    <a:lnTo>
                      <a:pt x="2463" y="12426"/>
                    </a:lnTo>
                    <a:lnTo>
                      <a:pt x="2463" y="12426"/>
                    </a:lnTo>
                    <a:lnTo>
                      <a:pt x="2463" y="12874"/>
                    </a:lnTo>
                    <a:lnTo>
                      <a:pt x="2463" y="12874"/>
                    </a:lnTo>
                    <a:lnTo>
                      <a:pt x="2463" y="12874"/>
                    </a:lnTo>
                    <a:lnTo>
                      <a:pt x="2463" y="13545"/>
                    </a:lnTo>
                    <a:lnTo>
                      <a:pt x="2463" y="13545"/>
                    </a:lnTo>
                    <a:lnTo>
                      <a:pt x="2463" y="14105"/>
                    </a:lnTo>
                    <a:lnTo>
                      <a:pt x="2463" y="14105"/>
                    </a:lnTo>
                    <a:lnTo>
                      <a:pt x="2351" y="15000"/>
                    </a:lnTo>
                    <a:lnTo>
                      <a:pt x="2128" y="16232"/>
                    </a:lnTo>
                    <a:lnTo>
                      <a:pt x="2128" y="16232"/>
                    </a:lnTo>
                    <a:lnTo>
                      <a:pt x="1904" y="17463"/>
                    </a:lnTo>
                    <a:lnTo>
                      <a:pt x="1904" y="17463"/>
                    </a:lnTo>
                    <a:lnTo>
                      <a:pt x="1904" y="17463"/>
                    </a:lnTo>
                    <a:lnTo>
                      <a:pt x="1232" y="19814"/>
                    </a:lnTo>
                    <a:lnTo>
                      <a:pt x="448" y="22277"/>
                    </a:lnTo>
                    <a:lnTo>
                      <a:pt x="225" y="23396"/>
                    </a:lnTo>
                    <a:lnTo>
                      <a:pt x="1" y="24291"/>
                    </a:lnTo>
                    <a:lnTo>
                      <a:pt x="1" y="24963"/>
                    </a:lnTo>
                    <a:lnTo>
                      <a:pt x="113" y="25187"/>
                    </a:lnTo>
                    <a:lnTo>
                      <a:pt x="225" y="25299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8" name="Google Shape;1968;p16">
                <a:extLst>
                  <a:ext uri="{FF2B5EF4-FFF2-40B4-BE49-F238E27FC236}">
                    <a16:creationId xmlns:a16="http://schemas.microsoft.com/office/drawing/2014/main" id="{D2EEE432-7D24-174E-2FB5-4379F1EC78B3}"/>
                  </a:ext>
                </a:extLst>
              </p:cNvPr>
              <p:cNvSpPr/>
              <p:nvPr/>
            </p:nvSpPr>
            <p:spPr>
              <a:xfrm>
                <a:off x="5497475" y="1060875"/>
                <a:ext cx="649250" cy="293850"/>
              </a:xfrm>
              <a:custGeom>
                <a:avLst/>
                <a:gdLst/>
                <a:ahLst/>
                <a:cxnLst/>
                <a:rect l="l" t="t" r="r" b="b"/>
                <a:pathLst>
                  <a:path w="25970" h="11754" extrusionOk="0">
                    <a:moveTo>
                      <a:pt x="23060" y="0"/>
                    </a:moveTo>
                    <a:lnTo>
                      <a:pt x="22388" y="112"/>
                    </a:lnTo>
                    <a:lnTo>
                      <a:pt x="22164" y="224"/>
                    </a:lnTo>
                    <a:lnTo>
                      <a:pt x="21157" y="672"/>
                    </a:lnTo>
                    <a:lnTo>
                      <a:pt x="20709" y="896"/>
                    </a:lnTo>
                    <a:lnTo>
                      <a:pt x="20373" y="1119"/>
                    </a:lnTo>
                    <a:lnTo>
                      <a:pt x="20037" y="1343"/>
                    </a:lnTo>
                    <a:lnTo>
                      <a:pt x="19813" y="1455"/>
                    </a:lnTo>
                    <a:lnTo>
                      <a:pt x="17127" y="3134"/>
                    </a:lnTo>
                    <a:lnTo>
                      <a:pt x="14440" y="4813"/>
                    </a:lnTo>
                    <a:lnTo>
                      <a:pt x="10746" y="7276"/>
                    </a:lnTo>
                    <a:lnTo>
                      <a:pt x="10299" y="7500"/>
                    </a:lnTo>
                    <a:lnTo>
                      <a:pt x="9851" y="7612"/>
                    </a:lnTo>
                    <a:lnTo>
                      <a:pt x="8507" y="7724"/>
                    </a:lnTo>
                    <a:lnTo>
                      <a:pt x="6940" y="7724"/>
                    </a:lnTo>
                    <a:lnTo>
                      <a:pt x="5261" y="7612"/>
                    </a:lnTo>
                    <a:lnTo>
                      <a:pt x="2351" y="7500"/>
                    </a:lnTo>
                    <a:lnTo>
                      <a:pt x="1231" y="7612"/>
                    </a:lnTo>
                    <a:lnTo>
                      <a:pt x="336" y="7724"/>
                    </a:lnTo>
                    <a:lnTo>
                      <a:pt x="112" y="7948"/>
                    </a:lnTo>
                    <a:lnTo>
                      <a:pt x="0" y="8396"/>
                    </a:lnTo>
                    <a:lnTo>
                      <a:pt x="0" y="9515"/>
                    </a:lnTo>
                    <a:lnTo>
                      <a:pt x="0" y="10187"/>
                    </a:lnTo>
                    <a:lnTo>
                      <a:pt x="112" y="10746"/>
                    </a:lnTo>
                    <a:lnTo>
                      <a:pt x="336" y="11194"/>
                    </a:lnTo>
                    <a:lnTo>
                      <a:pt x="560" y="11418"/>
                    </a:lnTo>
                    <a:lnTo>
                      <a:pt x="2687" y="11530"/>
                    </a:lnTo>
                    <a:lnTo>
                      <a:pt x="6269" y="11754"/>
                    </a:lnTo>
                    <a:lnTo>
                      <a:pt x="10746" y="11754"/>
                    </a:lnTo>
                    <a:lnTo>
                      <a:pt x="11306" y="11642"/>
                    </a:lnTo>
                    <a:lnTo>
                      <a:pt x="13769" y="10522"/>
                    </a:lnTo>
                    <a:lnTo>
                      <a:pt x="16119" y="9291"/>
                    </a:lnTo>
                    <a:lnTo>
                      <a:pt x="18134" y="8172"/>
                    </a:lnTo>
                    <a:lnTo>
                      <a:pt x="19478" y="7276"/>
                    </a:lnTo>
                    <a:lnTo>
                      <a:pt x="19589" y="7164"/>
                    </a:lnTo>
                    <a:lnTo>
                      <a:pt x="20597" y="6493"/>
                    </a:lnTo>
                    <a:lnTo>
                      <a:pt x="21716" y="5597"/>
                    </a:lnTo>
                    <a:lnTo>
                      <a:pt x="22724" y="4925"/>
                    </a:lnTo>
                    <a:lnTo>
                      <a:pt x="23731" y="4254"/>
                    </a:lnTo>
                    <a:lnTo>
                      <a:pt x="23843" y="4142"/>
                    </a:lnTo>
                    <a:lnTo>
                      <a:pt x="24403" y="3806"/>
                    </a:lnTo>
                    <a:lnTo>
                      <a:pt x="24963" y="3358"/>
                    </a:lnTo>
                    <a:lnTo>
                      <a:pt x="25410" y="2911"/>
                    </a:lnTo>
                    <a:lnTo>
                      <a:pt x="25858" y="2239"/>
                    </a:lnTo>
                    <a:lnTo>
                      <a:pt x="25970" y="1903"/>
                    </a:lnTo>
                    <a:lnTo>
                      <a:pt x="25858" y="1679"/>
                    </a:lnTo>
                    <a:lnTo>
                      <a:pt x="25746" y="1343"/>
                    </a:lnTo>
                    <a:lnTo>
                      <a:pt x="25522" y="1008"/>
                    </a:lnTo>
                    <a:lnTo>
                      <a:pt x="24963" y="560"/>
                    </a:lnTo>
                    <a:lnTo>
                      <a:pt x="24067" y="224"/>
                    </a:lnTo>
                    <a:lnTo>
                      <a:pt x="23619" y="112"/>
                    </a:lnTo>
                    <a:lnTo>
                      <a:pt x="23060" y="0"/>
                    </a:lnTo>
                    <a:close/>
                  </a:path>
                </a:pathLst>
              </a:custGeom>
              <a:solidFill>
                <a:srgbClr val="DB546A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9" name="Google Shape;1969;p16">
                <a:extLst>
                  <a:ext uri="{FF2B5EF4-FFF2-40B4-BE49-F238E27FC236}">
                    <a16:creationId xmlns:a16="http://schemas.microsoft.com/office/drawing/2014/main" id="{697DBD6C-5CCB-66B2-B2BB-3871F9F2ABB2}"/>
                  </a:ext>
                </a:extLst>
              </p:cNvPr>
              <p:cNvSpPr/>
              <p:nvPr/>
            </p:nvSpPr>
            <p:spPr>
              <a:xfrm>
                <a:off x="5497475" y="1060875"/>
                <a:ext cx="649250" cy="293850"/>
              </a:xfrm>
              <a:custGeom>
                <a:avLst/>
                <a:gdLst/>
                <a:ahLst/>
                <a:cxnLst/>
                <a:rect l="l" t="t" r="r" b="b"/>
                <a:pathLst>
                  <a:path w="25970" h="11754" fill="none" extrusionOk="0">
                    <a:moveTo>
                      <a:pt x="336" y="7724"/>
                    </a:moveTo>
                    <a:lnTo>
                      <a:pt x="336" y="7724"/>
                    </a:lnTo>
                    <a:lnTo>
                      <a:pt x="112" y="7948"/>
                    </a:lnTo>
                    <a:lnTo>
                      <a:pt x="0" y="8396"/>
                    </a:lnTo>
                    <a:lnTo>
                      <a:pt x="0" y="9515"/>
                    </a:lnTo>
                    <a:lnTo>
                      <a:pt x="0" y="10187"/>
                    </a:lnTo>
                    <a:lnTo>
                      <a:pt x="112" y="10746"/>
                    </a:lnTo>
                    <a:lnTo>
                      <a:pt x="336" y="11194"/>
                    </a:lnTo>
                    <a:lnTo>
                      <a:pt x="560" y="11418"/>
                    </a:lnTo>
                    <a:lnTo>
                      <a:pt x="560" y="11418"/>
                    </a:lnTo>
                    <a:lnTo>
                      <a:pt x="2687" y="11530"/>
                    </a:lnTo>
                    <a:lnTo>
                      <a:pt x="6269" y="11754"/>
                    </a:lnTo>
                    <a:lnTo>
                      <a:pt x="9627" y="11754"/>
                    </a:lnTo>
                    <a:lnTo>
                      <a:pt x="10746" y="11754"/>
                    </a:lnTo>
                    <a:lnTo>
                      <a:pt x="11306" y="11642"/>
                    </a:lnTo>
                    <a:lnTo>
                      <a:pt x="11306" y="11642"/>
                    </a:lnTo>
                    <a:lnTo>
                      <a:pt x="13769" y="10522"/>
                    </a:lnTo>
                    <a:lnTo>
                      <a:pt x="16119" y="9291"/>
                    </a:lnTo>
                    <a:lnTo>
                      <a:pt x="18134" y="8172"/>
                    </a:lnTo>
                    <a:lnTo>
                      <a:pt x="19478" y="7276"/>
                    </a:lnTo>
                    <a:lnTo>
                      <a:pt x="19478" y="7276"/>
                    </a:lnTo>
                    <a:lnTo>
                      <a:pt x="19589" y="7164"/>
                    </a:lnTo>
                    <a:lnTo>
                      <a:pt x="19589" y="7164"/>
                    </a:lnTo>
                    <a:lnTo>
                      <a:pt x="20597" y="6493"/>
                    </a:lnTo>
                    <a:lnTo>
                      <a:pt x="20597" y="6493"/>
                    </a:lnTo>
                    <a:lnTo>
                      <a:pt x="21716" y="5597"/>
                    </a:lnTo>
                    <a:lnTo>
                      <a:pt x="21716" y="5597"/>
                    </a:lnTo>
                    <a:lnTo>
                      <a:pt x="22724" y="4925"/>
                    </a:lnTo>
                    <a:lnTo>
                      <a:pt x="23731" y="4254"/>
                    </a:lnTo>
                    <a:lnTo>
                      <a:pt x="23731" y="4254"/>
                    </a:lnTo>
                    <a:lnTo>
                      <a:pt x="23843" y="4142"/>
                    </a:lnTo>
                    <a:lnTo>
                      <a:pt x="23843" y="4142"/>
                    </a:lnTo>
                    <a:lnTo>
                      <a:pt x="24403" y="3806"/>
                    </a:lnTo>
                    <a:lnTo>
                      <a:pt x="24403" y="3806"/>
                    </a:lnTo>
                    <a:lnTo>
                      <a:pt x="24963" y="3358"/>
                    </a:lnTo>
                    <a:lnTo>
                      <a:pt x="24963" y="3358"/>
                    </a:lnTo>
                    <a:lnTo>
                      <a:pt x="25410" y="2911"/>
                    </a:lnTo>
                    <a:lnTo>
                      <a:pt x="25410" y="2911"/>
                    </a:lnTo>
                    <a:lnTo>
                      <a:pt x="25858" y="2239"/>
                    </a:lnTo>
                    <a:lnTo>
                      <a:pt x="25858" y="2239"/>
                    </a:lnTo>
                    <a:lnTo>
                      <a:pt x="25970" y="1903"/>
                    </a:lnTo>
                    <a:lnTo>
                      <a:pt x="25858" y="1679"/>
                    </a:lnTo>
                    <a:lnTo>
                      <a:pt x="25746" y="1343"/>
                    </a:lnTo>
                    <a:lnTo>
                      <a:pt x="25522" y="1008"/>
                    </a:lnTo>
                    <a:lnTo>
                      <a:pt x="24963" y="560"/>
                    </a:lnTo>
                    <a:lnTo>
                      <a:pt x="24067" y="224"/>
                    </a:lnTo>
                    <a:lnTo>
                      <a:pt x="24067" y="224"/>
                    </a:lnTo>
                    <a:lnTo>
                      <a:pt x="23619" y="112"/>
                    </a:lnTo>
                    <a:lnTo>
                      <a:pt x="23060" y="0"/>
                    </a:lnTo>
                    <a:lnTo>
                      <a:pt x="23060" y="0"/>
                    </a:lnTo>
                    <a:lnTo>
                      <a:pt x="22388" y="112"/>
                    </a:lnTo>
                    <a:lnTo>
                      <a:pt x="22388" y="112"/>
                    </a:lnTo>
                    <a:lnTo>
                      <a:pt x="22388" y="112"/>
                    </a:lnTo>
                    <a:lnTo>
                      <a:pt x="22164" y="224"/>
                    </a:lnTo>
                    <a:lnTo>
                      <a:pt x="22164" y="224"/>
                    </a:lnTo>
                    <a:lnTo>
                      <a:pt x="21157" y="672"/>
                    </a:lnTo>
                    <a:lnTo>
                      <a:pt x="21157" y="672"/>
                    </a:lnTo>
                    <a:lnTo>
                      <a:pt x="20709" y="896"/>
                    </a:lnTo>
                    <a:lnTo>
                      <a:pt x="20709" y="896"/>
                    </a:lnTo>
                    <a:lnTo>
                      <a:pt x="20373" y="1119"/>
                    </a:lnTo>
                    <a:lnTo>
                      <a:pt x="20373" y="1119"/>
                    </a:lnTo>
                    <a:lnTo>
                      <a:pt x="20037" y="1343"/>
                    </a:lnTo>
                    <a:lnTo>
                      <a:pt x="20037" y="1343"/>
                    </a:lnTo>
                    <a:lnTo>
                      <a:pt x="19813" y="1455"/>
                    </a:lnTo>
                    <a:lnTo>
                      <a:pt x="19813" y="1455"/>
                    </a:lnTo>
                    <a:lnTo>
                      <a:pt x="17127" y="3134"/>
                    </a:lnTo>
                    <a:lnTo>
                      <a:pt x="14440" y="4813"/>
                    </a:lnTo>
                    <a:lnTo>
                      <a:pt x="10746" y="7276"/>
                    </a:lnTo>
                    <a:lnTo>
                      <a:pt x="10746" y="7276"/>
                    </a:lnTo>
                    <a:lnTo>
                      <a:pt x="10299" y="7500"/>
                    </a:lnTo>
                    <a:lnTo>
                      <a:pt x="9851" y="7612"/>
                    </a:lnTo>
                    <a:lnTo>
                      <a:pt x="8507" y="7724"/>
                    </a:lnTo>
                    <a:lnTo>
                      <a:pt x="6940" y="7724"/>
                    </a:lnTo>
                    <a:lnTo>
                      <a:pt x="5261" y="7612"/>
                    </a:lnTo>
                    <a:lnTo>
                      <a:pt x="5261" y="7612"/>
                    </a:lnTo>
                    <a:lnTo>
                      <a:pt x="2351" y="7500"/>
                    </a:lnTo>
                    <a:lnTo>
                      <a:pt x="1231" y="7612"/>
                    </a:lnTo>
                    <a:lnTo>
                      <a:pt x="336" y="7724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0" name="Google Shape;1970;p16">
                <a:extLst>
                  <a:ext uri="{FF2B5EF4-FFF2-40B4-BE49-F238E27FC236}">
                    <a16:creationId xmlns:a16="http://schemas.microsoft.com/office/drawing/2014/main" id="{EA4A79BA-BEEF-1D91-0704-F6F79223667F}"/>
                  </a:ext>
                </a:extLst>
              </p:cNvPr>
              <p:cNvSpPr/>
              <p:nvPr/>
            </p:nvSpPr>
            <p:spPr>
              <a:xfrm>
                <a:off x="5987200" y="1239975"/>
                <a:ext cx="2825" cy="8425"/>
              </a:xfrm>
              <a:custGeom>
                <a:avLst/>
                <a:gdLst/>
                <a:ahLst/>
                <a:cxnLst/>
                <a:rect l="l" t="t" r="r" b="b"/>
                <a:pathLst>
                  <a:path w="113" h="337" extrusionOk="0">
                    <a:moveTo>
                      <a:pt x="0" y="0"/>
                    </a:moveTo>
                    <a:lnTo>
                      <a:pt x="0" y="336"/>
                    </a:lnTo>
                    <a:lnTo>
                      <a:pt x="112" y="0"/>
                    </a:lnTo>
                    <a:close/>
                  </a:path>
                </a:pathLst>
              </a:custGeom>
              <a:solidFill>
                <a:srgbClr val="B1ADB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1" name="Google Shape;1971;p16">
                <a:extLst>
                  <a:ext uri="{FF2B5EF4-FFF2-40B4-BE49-F238E27FC236}">
                    <a16:creationId xmlns:a16="http://schemas.microsoft.com/office/drawing/2014/main" id="{2B53F63B-0E99-E9FB-600E-0371007FA336}"/>
                  </a:ext>
                </a:extLst>
              </p:cNvPr>
              <p:cNvSpPr/>
              <p:nvPr/>
            </p:nvSpPr>
            <p:spPr>
              <a:xfrm>
                <a:off x="5987200" y="1239975"/>
                <a:ext cx="2825" cy="53200"/>
              </a:xfrm>
              <a:custGeom>
                <a:avLst/>
                <a:gdLst/>
                <a:ahLst/>
                <a:cxnLst/>
                <a:rect l="l" t="t" r="r" b="b"/>
                <a:pathLst>
                  <a:path w="113" h="2128" fill="none" extrusionOk="0">
                    <a:moveTo>
                      <a:pt x="112" y="0"/>
                    </a:moveTo>
                    <a:lnTo>
                      <a:pt x="11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343"/>
                    </a:lnTo>
                    <a:lnTo>
                      <a:pt x="0" y="1343"/>
                    </a:lnTo>
                    <a:lnTo>
                      <a:pt x="0" y="2127"/>
                    </a:lnTo>
                    <a:lnTo>
                      <a:pt x="0" y="2127"/>
                    </a:lnTo>
                    <a:lnTo>
                      <a:pt x="0" y="1679"/>
                    </a:lnTo>
                    <a:lnTo>
                      <a:pt x="0" y="1679"/>
                    </a:lnTo>
                    <a:lnTo>
                      <a:pt x="0" y="448"/>
                    </a:lnTo>
                    <a:lnTo>
                      <a:pt x="0" y="336"/>
                    </a:lnTo>
                    <a:lnTo>
                      <a:pt x="0" y="336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1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2" name="Google Shape;1972;p16">
                <a:extLst>
                  <a:ext uri="{FF2B5EF4-FFF2-40B4-BE49-F238E27FC236}">
                    <a16:creationId xmlns:a16="http://schemas.microsoft.com/office/drawing/2014/main" id="{FD66ACE7-F5E2-C7D8-0127-44FB20E35778}"/>
                  </a:ext>
                </a:extLst>
              </p:cNvPr>
              <p:cNvSpPr/>
              <p:nvPr/>
            </p:nvSpPr>
            <p:spPr>
              <a:xfrm>
                <a:off x="5987200" y="1195200"/>
                <a:ext cx="61600" cy="139950"/>
              </a:xfrm>
              <a:custGeom>
                <a:avLst/>
                <a:gdLst/>
                <a:ahLst/>
                <a:cxnLst/>
                <a:rect l="l" t="t" r="r" b="b"/>
                <a:pathLst>
                  <a:path w="2464" h="5598" extrusionOk="0">
                    <a:moveTo>
                      <a:pt x="2463" y="0"/>
                    </a:moveTo>
                    <a:lnTo>
                      <a:pt x="2127" y="224"/>
                    </a:lnTo>
                    <a:lnTo>
                      <a:pt x="1456" y="784"/>
                    </a:lnTo>
                    <a:lnTo>
                      <a:pt x="1344" y="896"/>
                    </a:lnTo>
                    <a:lnTo>
                      <a:pt x="1008" y="1120"/>
                    </a:lnTo>
                    <a:lnTo>
                      <a:pt x="112" y="1791"/>
                    </a:lnTo>
                    <a:lnTo>
                      <a:pt x="0" y="2127"/>
                    </a:lnTo>
                    <a:lnTo>
                      <a:pt x="0" y="2239"/>
                    </a:lnTo>
                    <a:lnTo>
                      <a:pt x="0" y="3470"/>
                    </a:lnTo>
                    <a:lnTo>
                      <a:pt x="0" y="3918"/>
                    </a:lnTo>
                    <a:lnTo>
                      <a:pt x="0" y="5261"/>
                    </a:lnTo>
                    <a:lnTo>
                      <a:pt x="112" y="5597"/>
                    </a:lnTo>
                    <a:lnTo>
                      <a:pt x="448" y="4925"/>
                    </a:lnTo>
                    <a:lnTo>
                      <a:pt x="1232" y="3358"/>
                    </a:lnTo>
                    <a:lnTo>
                      <a:pt x="1791" y="1903"/>
                    </a:lnTo>
                    <a:lnTo>
                      <a:pt x="2463" y="0"/>
                    </a:lnTo>
                    <a:close/>
                  </a:path>
                </a:pathLst>
              </a:custGeom>
              <a:solidFill>
                <a:srgbClr val="A4465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3" name="Google Shape;1973;p16">
                <a:extLst>
                  <a:ext uri="{FF2B5EF4-FFF2-40B4-BE49-F238E27FC236}">
                    <a16:creationId xmlns:a16="http://schemas.microsoft.com/office/drawing/2014/main" id="{73365C1C-FBB5-4384-EA5D-732302D56FB5}"/>
                  </a:ext>
                </a:extLst>
              </p:cNvPr>
              <p:cNvSpPr/>
              <p:nvPr/>
            </p:nvSpPr>
            <p:spPr>
              <a:xfrm>
                <a:off x="5987200" y="1195200"/>
                <a:ext cx="61600" cy="139950"/>
              </a:xfrm>
              <a:custGeom>
                <a:avLst/>
                <a:gdLst/>
                <a:ahLst/>
                <a:cxnLst/>
                <a:rect l="l" t="t" r="r" b="b"/>
                <a:pathLst>
                  <a:path w="2464" h="5598" fill="none" extrusionOk="0">
                    <a:moveTo>
                      <a:pt x="2463" y="0"/>
                    </a:moveTo>
                    <a:lnTo>
                      <a:pt x="2127" y="224"/>
                    </a:lnTo>
                    <a:lnTo>
                      <a:pt x="1456" y="784"/>
                    </a:lnTo>
                    <a:lnTo>
                      <a:pt x="1344" y="896"/>
                    </a:lnTo>
                    <a:lnTo>
                      <a:pt x="1344" y="896"/>
                    </a:lnTo>
                    <a:lnTo>
                      <a:pt x="1008" y="1120"/>
                    </a:lnTo>
                    <a:lnTo>
                      <a:pt x="1008" y="1120"/>
                    </a:lnTo>
                    <a:lnTo>
                      <a:pt x="112" y="1791"/>
                    </a:lnTo>
                    <a:lnTo>
                      <a:pt x="112" y="1791"/>
                    </a:lnTo>
                    <a:lnTo>
                      <a:pt x="112" y="1791"/>
                    </a:lnTo>
                    <a:lnTo>
                      <a:pt x="112" y="1791"/>
                    </a:lnTo>
                    <a:lnTo>
                      <a:pt x="0" y="2127"/>
                    </a:lnTo>
                    <a:lnTo>
                      <a:pt x="0" y="2239"/>
                    </a:lnTo>
                    <a:lnTo>
                      <a:pt x="0" y="2239"/>
                    </a:lnTo>
                    <a:lnTo>
                      <a:pt x="0" y="3470"/>
                    </a:lnTo>
                    <a:lnTo>
                      <a:pt x="0" y="3470"/>
                    </a:lnTo>
                    <a:lnTo>
                      <a:pt x="0" y="3918"/>
                    </a:lnTo>
                    <a:lnTo>
                      <a:pt x="0" y="3918"/>
                    </a:lnTo>
                    <a:lnTo>
                      <a:pt x="0" y="5261"/>
                    </a:lnTo>
                    <a:lnTo>
                      <a:pt x="0" y="5261"/>
                    </a:lnTo>
                    <a:lnTo>
                      <a:pt x="112" y="5597"/>
                    </a:lnTo>
                    <a:lnTo>
                      <a:pt x="112" y="5597"/>
                    </a:lnTo>
                    <a:lnTo>
                      <a:pt x="448" y="4925"/>
                    </a:lnTo>
                    <a:lnTo>
                      <a:pt x="448" y="4925"/>
                    </a:lnTo>
                    <a:lnTo>
                      <a:pt x="1232" y="3358"/>
                    </a:lnTo>
                    <a:lnTo>
                      <a:pt x="1791" y="1903"/>
                    </a:lnTo>
                    <a:lnTo>
                      <a:pt x="1791" y="1903"/>
                    </a:lnTo>
                    <a:lnTo>
                      <a:pt x="2463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4" name="Google Shape;1974;p16">
                <a:extLst>
                  <a:ext uri="{FF2B5EF4-FFF2-40B4-BE49-F238E27FC236}">
                    <a16:creationId xmlns:a16="http://schemas.microsoft.com/office/drawing/2014/main" id="{29322CD0-FF6D-C88D-AAE0-D8F2CB851499}"/>
                  </a:ext>
                </a:extLst>
              </p:cNvPr>
              <p:cNvSpPr/>
              <p:nvPr/>
            </p:nvSpPr>
            <p:spPr>
              <a:xfrm>
                <a:off x="5984400" y="1223175"/>
                <a:ext cx="28000" cy="19625"/>
              </a:xfrm>
              <a:custGeom>
                <a:avLst/>
                <a:gdLst/>
                <a:ahLst/>
                <a:cxnLst/>
                <a:rect l="l" t="t" r="r" b="b"/>
                <a:pathLst>
                  <a:path w="1120" h="785" extrusionOk="0">
                    <a:moveTo>
                      <a:pt x="1120" y="1"/>
                    </a:moveTo>
                    <a:lnTo>
                      <a:pt x="112" y="672"/>
                    </a:lnTo>
                    <a:lnTo>
                      <a:pt x="224" y="672"/>
                    </a:lnTo>
                    <a:lnTo>
                      <a:pt x="1120" y="1"/>
                    </a:lnTo>
                    <a:close/>
                    <a:moveTo>
                      <a:pt x="1" y="672"/>
                    </a:moveTo>
                    <a:lnTo>
                      <a:pt x="1" y="784"/>
                    </a:lnTo>
                    <a:lnTo>
                      <a:pt x="112" y="672"/>
                    </a:lnTo>
                    <a:close/>
                  </a:path>
                </a:pathLst>
              </a:custGeom>
              <a:solidFill>
                <a:srgbClr val="A4465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5" name="Google Shape;1975;p16">
                <a:extLst>
                  <a:ext uri="{FF2B5EF4-FFF2-40B4-BE49-F238E27FC236}">
                    <a16:creationId xmlns:a16="http://schemas.microsoft.com/office/drawing/2014/main" id="{DC257868-10C8-E410-6EF8-89DEE068A4DC}"/>
                  </a:ext>
                </a:extLst>
              </p:cNvPr>
              <p:cNvSpPr/>
              <p:nvPr/>
            </p:nvSpPr>
            <p:spPr>
              <a:xfrm>
                <a:off x="5984400" y="1217575"/>
                <a:ext cx="36400" cy="25225"/>
              </a:xfrm>
              <a:custGeom>
                <a:avLst/>
                <a:gdLst/>
                <a:ahLst/>
                <a:cxnLst/>
                <a:rect l="l" t="t" r="r" b="b"/>
                <a:pathLst>
                  <a:path w="1456" h="1009" fill="none" extrusionOk="0">
                    <a:moveTo>
                      <a:pt x="1456" y="1"/>
                    </a:moveTo>
                    <a:lnTo>
                      <a:pt x="1120" y="225"/>
                    </a:lnTo>
                    <a:lnTo>
                      <a:pt x="112" y="896"/>
                    </a:lnTo>
                    <a:lnTo>
                      <a:pt x="1" y="896"/>
                    </a:lnTo>
                    <a:lnTo>
                      <a:pt x="1" y="896"/>
                    </a:lnTo>
                    <a:lnTo>
                      <a:pt x="1" y="1008"/>
                    </a:lnTo>
                    <a:lnTo>
                      <a:pt x="1" y="1008"/>
                    </a:lnTo>
                    <a:lnTo>
                      <a:pt x="112" y="896"/>
                    </a:lnTo>
                    <a:lnTo>
                      <a:pt x="112" y="896"/>
                    </a:lnTo>
                    <a:lnTo>
                      <a:pt x="112" y="896"/>
                    </a:lnTo>
                    <a:lnTo>
                      <a:pt x="112" y="896"/>
                    </a:lnTo>
                    <a:lnTo>
                      <a:pt x="112" y="896"/>
                    </a:lnTo>
                    <a:lnTo>
                      <a:pt x="112" y="896"/>
                    </a:lnTo>
                    <a:lnTo>
                      <a:pt x="224" y="896"/>
                    </a:lnTo>
                    <a:lnTo>
                      <a:pt x="224" y="896"/>
                    </a:lnTo>
                    <a:lnTo>
                      <a:pt x="1120" y="225"/>
                    </a:lnTo>
                    <a:lnTo>
                      <a:pt x="1120" y="225"/>
                    </a:lnTo>
                    <a:lnTo>
                      <a:pt x="1456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6" name="Google Shape;1976;p16">
                <a:extLst>
                  <a:ext uri="{FF2B5EF4-FFF2-40B4-BE49-F238E27FC236}">
                    <a16:creationId xmlns:a16="http://schemas.microsoft.com/office/drawing/2014/main" id="{C8FB4CCA-E2BF-229B-90BD-A02FF517BDC8}"/>
                  </a:ext>
                </a:extLst>
              </p:cNvPr>
              <p:cNvSpPr/>
              <p:nvPr/>
            </p:nvSpPr>
            <p:spPr>
              <a:xfrm>
                <a:off x="6197075" y="1069250"/>
                <a:ext cx="8425" cy="2825"/>
              </a:xfrm>
              <a:custGeom>
                <a:avLst/>
                <a:gdLst/>
                <a:ahLst/>
                <a:cxnLst/>
                <a:rect l="l" t="t" r="r" b="b"/>
                <a:pathLst>
                  <a:path w="337" h="113" extrusionOk="0">
                    <a:moveTo>
                      <a:pt x="1" y="1"/>
                    </a:moveTo>
                    <a:lnTo>
                      <a:pt x="337" y="113"/>
                    </a:lnTo>
                    <a:lnTo>
                      <a:pt x="337" y="1"/>
                    </a:lnTo>
                    <a:close/>
                  </a:path>
                </a:pathLst>
              </a:custGeom>
              <a:solidFill>
                <a:srgbClr val="A5798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7" name="Google Shape;1977;p16">
                <a:extLst>
                  <a:ext uri="{FF2B5EF4-FFF2-40B4-BE49-F238E27FC236}">
                    <a16:creationId xmlns:a16="http://schemas.microsoft.com/office/drawing/2014/main" id="{05B3684A-2720-F770-A99D-0ED17173CBB4}"/>
                  </a:ext>
                </a:extLst>
              </p:cNvPr>
              <p:cNvSpPr/>
              <p:nvPr/>
            </p:nvSpPr>
            <p:spPr>
              <a:xfrm>
                <a:off x="6197075" y="1069250"/>
                <a:ext cx="8425" cy="2825"/>
              </a:xfrm>
              <a:custGeom>
                <a:avLst/>
                <a:gdLst/>
                <a:ahLst/>
                <a:cxnLst/>
                <a:rect l="l" t="t" r="r" b="b"/>
                <a:pathLst>
                  <a:path w="337" h="113" fill="none" extrusionOk="0">
                    <a:moveTo>
                      <a:pt x="113" y="1"/>
                    </a:moveTo>
                    <a:lnTo>
                      <a:pt x="113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337" y="113"/>
                    </a:lnTo>
                    <a:lnTo>
                      <a:pt x="337" y="113"/>
                    </a:lnTo>
                    <a:lnTo>
                      <a:pt x="337" y="1"/>
                    </a:lnTo>
                    <a:lnTo>
                      <a:pt x="11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8" name="Google Shape;1978;p16">
                <a:extLst>
                  <a:ext uri="{FF2B5EF4-FFF2-40B4-BE49-F238E27FC236}">
                    <a16:creationId xmlns:a16="http://schemas.microsoft.com/office/drawing/2014/main" id="{3A0786D1-09D6-AE9A-5AA0-9631D0D000DC}"/>
                  </a:ext>
                </a:extLst>
              </p:cNvPr>
              <p:cNvSpPr/>
              <p:nvPr/>
            </p:nvSpPr>
            <p:spPr>
              <a:xfrm>
                <a:off x="6157900" y="1069250"/>
                <a:ext cx="47600" cy="58800"/>
              </a:xfrm>
              <a:custGeom>
                <a:avLst/>
                <a:gdLst/>
                <a:ahLst/>
                <a:cxnLst/>
                <a:rect l="l" t="t" r="r" b="b"/>
                <a:pathLst>
                  <a:path w="1904" h="2352" extrusionOk="0">
                    <a:moveTo>
                      <a:pt x="1568" y="1"/>
                    </a:moveTo>
                    <a:lnTo>
                      <a:pt x="1344" y="225"/>
                    </a:lnTo>
                    <a:lnTo>
                      <a:pt x="1120" y="561"/>
                    </a:lnTo>
                    <a:lnTo>
                      <a:pt x="1" y="1344"/>
                    </a:lnTo>
                    <a:lnTo>
                      <a:pt x="1" y="2352"/>
                    </a:lnTo>
                    <a:lnTo>
                      <a:pt x="896" y="1344"/>
                    </a:lnTo>
                    <a:lnTo>
                      <a:pt x="1456" y="673"/>
                    </a:lnTo>
                    <a:lnTo>
                      <a:pt x="1568" y="561"/>
                    </a:lnTo>
                    <a:lnTo>
                      <a:pt x="1680" y="561"/>
                    </a:lnTo>
                    <a:lnTo>
                      <a:pt x="1792" y="449"/>
                    </a:lnTo>
                    <a:lnTo>
                      <a:pt x="1904" y="113"/>
                    </a:lnTo>
                    <a:lnTo>
                      <a:pt x="1568" y="1"/>
                    </a:lnTo>
                    <a:close/>
                  </a:path>
                </a:pathLst>
              </a:custGeom>
              <a:solidFill>
                <a:srgbClr val="A9A4B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9" name="Google Shape;1979;p16">
                <a:extLst>
                  <a:ext uri="{FF2B5EF4-FFF2-40B4-BE49-F238E27FC236}">
                    <a16:creationId xmlns:a16="http://schemas.microsoft.com/office/drawing/2014/main" id="{EFC424E9-0C10-DE72-254E-AC0772ED7C21}"/>
                  </a:ext>
                </a:extLst>
              </p:cNvPr>
              <p:cNvSpPr/>
              <p:nvPr/>
            </p:nvSpPr>
            <p:spPr>
              <a:xfrm>
                <a:off x="6157900" y="1069250"/>
                <a:ext cx="47600" cy="58800"/>
              </a:xfrm>
              <a:custGeom>
                <a:avLst/>
                <a:gdLst/>
                <a:ahLst/>
                <a:cxnLst/>
                <a:rect l="l" t="t" r="r" b="b"/>
                <a:pathLst>
                  <a:path w="1904" h="2352" fill="none" extrusionOk="0">
                    <a:moveTo>
                      <a:pt x="1568" y="1"/>
                    </a:moveTo>
                    <a:lnTo>
                      <a:pt x="1568" y="1"/>
                    </a:lnTo>
                    <a:lnTo>
                      <a:pt x="1344" y="225"/>
                    </a:lnTo>
                    <a:lnTo>
                      <a:pt x="1120" y="561"/>
                    </a:lnTo>
                    <a:lnTo>
                      <a:pt x="1120" y="561"/>
                    </a:lnTo>
                    <a:lnTo>
                      <a:pt x="1" y="1344"/>
                    </a:lnTo>
                    <a:lnTo>
                      <a:pt x="1" y="1344"/>
                    </a:lnTo>
                    <a:lnTo>
                      <a:pt x="1" y="2352"/>
                    </a:lnTo>
                    <a:lnTo>
                      <a:pt x="1" y="2352"/>
                    </a:lnTo>
                    <a:lnTo>
                      <a:pt x="896" y="1344"/>
                    </a:lnTo>
                    <a:lnTo>
                      <a:pt x="1456" y="673"/>
                    </a:lnTo>
                    <a:lnTo>
                      <a:pt x="1456" y="673"/>
                    </a:lnTo>
                    <a:lnTo>
                      <a:pt x="1568" y="561"/>
                    </a:lnTo>
                    <a:lnTo>
                      <a:pt x="1568" y="561"/>
                    </a:lnTo>
                    <a:lnTo>
                      <a:pt x="1568" y="561"/>
                    </a:lnTo>
                    <a:lnTo>
                      <a:pt x="1568" y="561"/>
                    </a:lnTo>
                    <a:lnTo>
                      <a:pt x="1680" y="561"/>
                    </a:lnTo>
                    <a:lnTo>
                      <a:pt x="1680" y="561"/>
                    </a:lnTo>
                    <a:lnTo>
                      <a:pt x="1792" y="449"/>
                    </a:lnTo>
                    <a:lnTo>
                      <a:pt x="1904" y="113"/>
                    </a:lnTo>
                    <a:lnTo>
                      <a:pt x="1904" y="113"/>
                    </a:lnTo>
                    <a:lnTo>
                      <a:pt x="1568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0" name="Google Shape;1980;p16">
                <a:extLst>
                  <a:ext uri="{FF2B5EF4-FFF2-40B4-BE49-F238E27FC236}">
                    <a16:creationId xmlns:a16="http://schemas.microsoft.com/office/drawing/2014/main" id="{86F21370-9110-A495-1DB0-B8B38CE1FD30}"/>
                  </a:ext>
                </a:extLst>
              </p:cNvPr>
              <p:cNvSpPr/>
              <p:nvPr/>
            </p:nvSpPr>
            <p:spPr>
              <a:xfrm>
                <a:off x="5945225" y="1097250"/>
                <a:ext cx="39200" cy="22400"/>
              </a:xfrm>
              <a:custGeom>
                <a:avLst/>
                <a:gdLst/>
                <a:ahLst/>
                <a:cxnLst/>
                <a:rect l="l" t="t" r="r" b="b"/>
                <a:pathLst>
                  <a:path w="1568" h="896" extrusionOk="0">
                    <a:moveTo>
                      <a:pt x="672" y="0"/>
                    </a:moveTo>
                    <a:lnTo>
                      <a:pt x="336" y="448"/>
                    </a:lnTo>
                    <a:lnTo>
                      <a:pt x="0" y="784"/>
                    </a:lnTo>
                    <a:lnTo>
                      <a:pt x="448" y="896"/>
                    </a:lnTo>
                    <a:lnTo>
                      <a:pt x="1568" y="224"/>
                    </a:lnTo>
                    <a:lnTo>
                      <a:pt x="1456" y="224"/>
                    </a:lnTo>
                    <a:lnTo>
                      <a:pt x="672" y="0"/>
                    </a:lnTo>
                    <a:close/>
                  </a:path>
                </a:pathLst>
              </a:custGeom>
              <a:solidFill>
                <a:srgbClr val="A9A4B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1" name="Google Shape;1981;p16">
                <a:extLst>
                  <a:ext uri="{FF2B5EF4-FFF2-40B4-BE49-F238E27FC236}">
                    <a16:creationId xmlns:a16="http://schemas.microsoft.com/office/drawing/2014/main" id="{44A29FA6-2C70-6226-03B3-03DB904E8B78}"/>
                  </a:ext>
                </a:extLst>
              </p:cNvPr>
              <p:cNvSpPr/>
              <p:nvPr/>
            </p:nvSpPr>
            <p:spPr>
              <a:xfrm>
                <a:off x="5945225" y="1097250"/>
                <a:ext cx="39200" cy="22400"/>
              </a:xfrm>
              <a:custGeom>
                <a:avLst/>
                <a:gdLst/>
                <a:ahLst/>
                <a:cxnLst/>
                <a:rect l="l" t="t" r="r" b="b"/>
                <a:pathLst>
                  <a:path w="1568" h="896" fill="none" extrusionOk="0">
                    <a:moveTo>
                      <a:pt x="672" y="0"/>
                    </a:moveTo>
                    <a:lnTo>
                      <a:pt x="672" y="0"/>
                    </a:lnTo>
                    <a:lnTo>
                      <a:pt x="336" y="448"/>
                    </a:lnTo>
                    <a:lnTo>
                      <a:pt x="0" y="784"/>
                    </a:lnTo>
                    <a:lnTo>
                      <a:pt x="0" y="784"/>
                    </a:lnTo>
                    <a:lnTo>
                      <a:pt x="448" y="896"/>
                    </a:lnTo>
                    <a:lnTo>
                      <a:pt x="448" y="896"/>
                    </a:lnTo>
                    <a:lnTo>
                      <a:pt x="1568" y="224"/>
                    </a:lnTo>
                    <a:lnTo>
                      <a:pt x="1568" y="224"/>
                    </a:lnTo>
                    <a:lnTo>
                      <a:pt x="1456" y="224"/>
                    </a:lnTo>
                    <a:lnTo>
                      <a:pt x="1456" y="224"/>
                    </a:lnTo>
                    <a:lnTo>
                      <a:pt x="67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2" name="Google Shape;1982;p16">
                <a:extLst>
                  <a:ext uri="{FF2B5EF4-FFF2-40B4-BE49-F238E27FC236}">
                    <a16:creationId xmlns:a16="http://schemas.microsoft.com/office/drawing/2014/main" id="{DF01E219-C708-3A1F-DEB6-2E738337A3AF}"/>
                  </a:ext>
                </a:extLst>
              </p:cNvPr>
              <p:cNvSpPr/>
              <p:nvPr/>
            </p:nvSpPr>
            <p:spPr>
              <a:xfrm>
                <a:off x="6113125" y="1102850"/>
                <a:ext cx="44800" cy="47600"/>
              </a:xfrm>
              <a:custGeom>
                <a:avLst/>
                <a:gdLst/>
                <a:ahLst/>
                <a:cxnLst/>
                <a:rect l="l" t="t" r="r" b="b"/>
                <a:pathLst>
                  <a:path w="1792" h="1904" extrusionOk="0">
                    <a:moveTo>
                      <a:pt x="1792" y="0"/>
                    </a:moveTo>
                    <a:lnTo>
                      <a:pt x="1456" y="112"/>
                    </a:lnTo>
                    <a:lnTo>
                      <a:pt x="1344" y="224"/>
                    </a:lnTo>
                    <a:lnTo>
                      <a:pt x="1232" y="560"/>
                    </a:lnTo>
                    <a:lnTo>
                      <a:pt x="784" y="1232"/>
                    </a:lnTo>
                    <a:lnTo>
                      <a:pt x="337" y="1679"/>
                    </a:lnTo>
                    <a:lnTo>
                      <a:pt x="1" y="1903"/>
                    </a:lnTo>
                    <a:lnTo>
                      <a:pt x="1" y="1903"/>
                    </a:lnTo>
                    <a:lnTo>
                      <a:pt x="784" y="1679"/>
                    </a:lnTo>
                    <a:lnTo>
                      <a:pt x="1456" y="1343"/>
                    </a:lnTo>
                    <a:lnTo>
                      <a:pt x="1792" y="1008"/>
                    </a:lnTo>
                    <a:lnTo>
                      <a:pt x="1792" y="0"/>
                    </a:lnTo>
                    <a:close/>
                  </a:path>
                </a:pathLst>
              </a:custGeom>
              <a:solidFill>
                <a:srgbClr val="9E455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3" name="Google Shape;1983;p16">
                <a:extLst>
                  <a:ext uri="{FF2B5EF4-FFF2-40B4-BE49-F238E27FC236}">
                    <a16:creationId xmlns:a16="http://schemas.microsoft.com/office/drawing/2014/main" id="{98ADC6EE-58E1-5BA6-EE69-A30D83C0B9EB}"/>
                  </a:ext>
                </a:extLst>
              </p:cNvPr>
              <p:cNvSpPr/>
              <p:nvPr/>
            </p:nvSpPr>
            <p:spPr>
              <a:xfrm>
                <a:off x="6113125" y="1102850"/>
                <a:ext cx="44800" cy="47600"/>
              </a:xfrm>
              <a:custGeom>
                <a:avLst/>
                <a:gdLst/>
                <a:ahLst/>
                <a:cxnLst/>
                <a:rect l="l" t="t" r="r" b="b"/>
                <a:pathLst>
                  <a:path w="1792" h="1904" fill="none" extrusionOk="0">
                    <a:moveTo>
                      <a:pt x="1792" y="0"/>
                    </a:moveTo>
                    <a:lnTo>
                      <a:pt x="1792" y="0"/>
                    </a:lnTo>
                    <a:lnTo>
                      <a:pt x="1456" y="112"/>
                    </a:lnTo>
                    <a:lnTo>
                      <a:pt x="1456" y="112"/>
                    </a:lnTo>
                    <a:lnTo>
                      <a:pt x="1344" y="224"/>
                    </a:lnTo>
                    <a:lnTo>
                      <a:pt x="1344" y="224"/>
                    </a:lnTo>
                    <a:lnTo>
                      <a:pt x="1232" y="560"/>
                    </a:lnTo>
                    <a:lnTo>
                      <a:pt x="1232" y="560"/>
                    </a:lnTo>
                    <a:lnTo>
                      <a:pt x="784" y="1232"/>
                    </a:lnTo>
                    <a:lnTo>
                      <a:pt x="784" y="1232"/>
                    </a:lnTo>
                    <a:lnTo>
                      <a:pt x="337" y="1679"/>
                    </a:lnTo>
                    <a:lnTo>
                      <a:pt x="337" y="1679"/>
                    </a:lnTo>
                    <a:lnTo>
                      <a:pt x="1" y="1903"/>
                    </a:lnTo>
                    <a:lnTo>
                      <a:pt x="1" y="1903"/>
                    </a:lnTo>
                    <a:lnTo>
                      <a:pt x="784" y="1679"/>
                    </a:lnTo>
                    <a:lnTo>
                      <a:pt x="784" y="1679"/>
                    </a:lnTo>
                    <a:lnTo>
                      <a:pt x="1456" y="1343"/>
                    </a:lnTo>
                    <a:lnTo>
                      <a:pt x="1456" y="1343"/>
                    </a:lnTo>
                    <a:lnTo>
                      <a:pt x="1792" y="1008"/>
                    </a:lnTo>
                    <a:lnTo>
                      <a:pt x="1792" y="1008"/>
                    </a:lnTo>
                    <a:lnTo>
                      <a:pt x="179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4" name="Google Shape;1984;p16">
                <a:extLst>
                  <a:ext uri="{FF2B5EF4-FFF2-40B4-BE49-F238E27FC236}">
                    <a16:creationId xmlns:a16="http://schemas.microsoft.com/office/drawing/2014/main" id="{F3353EDB-39D3-A4C0-37E7-61731C8E8D75}"/>
                  </a:ext>
                </a:extLst>
              </p:cNvPr>
              <p:cNvSpPr/>
              <p:nvPr/>
            </p:nvSpPr>
            <p:spPr>
              <a:xfrm>
                <a:off x="5950825" y="1102850"/>
                <a:ext cx="195900" cy="50400"/>
              </a:xfrm>
              <a:custGeom>
                <a:avLst/>
                <a:gdLst/>
                <a:ahLst/>
                <a:cxnLst/>
                <a:rect l="l" t="t" r="r" b="b"/>
                <a:pathLst>
                  <a:path w="7836" h="2016" extrusionOk="0">
                    <a:moveTo>
                      <a:pt x="1344" y="0"/>
                    </a:moveTo>
                    <a:lnTo>
                      <a:pt x="224" y="672"/>
                    </a:lnTo>
                    <a:lnTo>
                      <a:pt x="896" y="672"/>
                    </a:lnTo>
                    <a:lnTo>
                      <a:pt x="0" y="1232"/>
                    </a:lnTo>
                    <a:lnTo>
                      <a:pt x="1008" y="1343"/>
                    </a:lnTo>
                    <a:lnTo>
                      <a:pt x="3246" y="1791"/>
                    </a:lnTo>
                    <a:lnTo>
                      <a:pt x="5261" y="2015"/>
                    </a:lnTo>
                    <a:lnTo>
                      <a:pt x="5933" y="2015"/>
                    </a:lnTo>
                    <a:lnTo>
                      <a:pt x="6493" y="1903"/>
                    </a:lnTo>
                    <a:lnTo>
                      <a:pt x="6829" y="1679"/>
                    </a:lnTo>
                    <a:lnTo>
                      <a:pt x="7276" y="1232"/>
                    </a:lnTo>
                    <a:lnTo>
                      <a:pt x="7724" y="560"/>
                    </a:lnTo>
                    <a:lnTo>
                      <a:pt x="7836" y="224"/>
                    </a:lnTo>
                    <a:lnTo>
                      <a:pt x="7276" y="448"/>
                    </a:lnTo>
                    <a:lnTo>
                      <a:pt x="6605" y="672"/>
                    </a:lnTo>
                    <a:lnTo>
                      <a:pt x="5933" y="784"/>
                    </a:lnTo>
                    <a:lnTo>
                      <a:pt x="5821" y="784"/>
                    </a:lnTo>
                    <a:lnTo>
                      <a:pt x="3918" y="448"/>
                    </a:lnTo>
                    <a:lnTo>
                      <a:pt x="1455" y="0"/>
                    </a:lnTo>
                    <a:close/>
                  </a:path>
                </a:pathLst>
              </a:custGeom>
              <a:solidFill>
                <a:srgbClr val="9E455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5" name="Google Shape;1985;p16">
                <a:extLst>
                  <a:ext uri="{FF2B5EF4-FFF2-40B4-BE49-F238E27FC236}">
                    <a16:creationId xmlns:a16="http://schemas.microsoft.com/office/drawing/2014/main" id="{0904173A-D2AB-E27A-6476-A095201C6FC1}"/>
                  </a:ext>
                </a:extLst>
              </p:cNvPr>
              <p:cNvSpPr/>
              <p:nvPr/>
            </p:nvSpPr>
            <p:spPr>
              <a:xfrm>
                <a:off x="5950825" y="1102850"/>
                <a:ext cx="195900" cy="50400"/>
              </a:xfrm>
              <a:custGeom>
                <a:avLst/>
                <a:gdLst/>
                <a:ahLst/>
                <a:cxnLst/>
                <a:rect l="l" t="t" r="r" b="b"/>
                <a:pathLst>
                  <a:path w="7836" h="2016" fill="none" extrusionOk="0">
                    <a:moveTo>
                      <a:pt x="1344" y="0"/>
                    </a:moveTo>
                    <a:lnTo>
                      <a:pt x="1344" y="0"/>
                    </a:lnTo>
                    <a:lnTo>
                      <a:pt x="224" y="672"/>
                    </a:lnTo>
                    <a:lnTo>
                      <a:pt x="224" y="672"/>
                    </a:lnTo>
                    <a:lnTo>
                      <a:pt x="896" y="672"/>
                    </a:lnTo>
                    <a:lnTo>
                      <a:pt x="896" y="672"/>
                    </a:lnTo>
                    <a:lnTo>
                      <a:pt x="0" y="1232"/>
                    </a:lnTo>
                    <a:lnTo>
                      <a:pt x="0" y="1232"/>
                    </a:lnTo>
                    <a:lnTo>
                      <a:pt x="1008" y="1343"/>
                    </a:lnTo>
                    <a:lnTo>
                      <a:pt x="1008" y="1343"/>
                    </a:lnTo>
                    <a:lnTo>
                      <a:pt x="3246" y="1791"/>
                    </a:lnTo>
                    <a:lnTo>
                      <a:pt x="5261" y="2015"/>
                    </a:lnTo>
                    <a:lnTo>
                      <a:pt x="5261" y="2015"/>
                    </a:lnTo>
                    <a:lnTo>
                      <a:pt x="5933" y="2015"/>
                    </a:lnTo>
                    <a:lnTo>
                      <a:pt x="5933" y="2015"/>
                    </a:lnTo>
                    <a:lnTo>
                      <a:pt x="5933" y="2015"/>
                    </a:lnTo>
                    <a:lnTo>
                      <a:pt x="5933" y="2015"/>
                    </a:lnTo>
                    <a:lnTo>
                      <a:pt x="6493" y="1903"/>
                    </a:lnTo>
                    <a:lnTo>
                      <a:pt x="6493" y="1903"/>
                    </a:lnTo>
                    <a:lnTo>
                      <a:pt x="6829" y="1679"/>
                    </a:lnTo>
                    <a:lnTo>
                      <a:pt x="6829" y="1679"/>
                    </a:lnTo>
                    <a:lnTo>
                      <a:pt x="7276" y="1232"/>
                    </a:lnTo>
                    <a:lnTo>
                      <a:pt x="7276" y="1232"/>
                    </a:lnTo>
                    <a:lnTo>
                      <a:pt x="7724" y="560"/>
                    </a:lnTo>
                    <a:lnTo>
                      <a:pt x="7724" y="560"/>
                    </a:lnTo>
                    <a:lnTo>
                      <a:pt x="7836" y="224"/>
                    </a:lnTo>
                    <a:lnTo>
                      <a:pt x="7836" y="224"/>
                    </a:lnTo>
                    <a:lnTo>
                      <a:pt x="7276" y="448"/>
                    </a:lnTo>
                    <a:lnTo>
                      <a:pt x="7276" y="448"/>
                    </a:lnTo>
                    <a:lnTo>
                      <a:pt x="6605" y="672"/>
                    </a:lnTo>
                    <a:lnTo>
                      <a:pt x="5933" y="784"/>
                    </a:lnTo>
                    <a:lnTo>
                      <a:pt x="5821" y="784"/>
                    </a:lnTo>
                    <a:lnTo>
                      <a:pt x="5821" y="784"/>
                    </a:lnTo>
                    <a:lnTo>
                      <a:pt x="5821" y="784"/>
                    </a:lnTo>
                    <a:lnTo>
                      <a:pt x="5821" y="784"/>
                    </a:lnTo>
                    <a:lnTo>
                      <a:pt x="3918" y="448"/>
                    </a:lnTo>
                    <a:lnTo>
                      <a:pt x="1455" y="0"/>
                    </a:lnTo>
                    <a:lnTo>
                      <a:pt x="1455" y="0"/>
                    </a:lnTo>
                    <a:lnTo>
                      <a:pt x="1344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6" name="Google Shape;1986;p16">
                <a:extLst>
                  <a:ext uri="{FF2B5EF4-FFF2-40B4-BE49-F238E27FC236}">
                    <a16:creationId xmlns:a16="http://schemas.microsoft.com/office/drawing/2014/main" id="{52E56B42-261E-CADC-9409-003B79298072}"/>
                  </a:ext>
                </a:extLst>
              </p:cNvPr>
              <p:cNvSpPr/>
              <p:nvPr/>
            </p:nvSpPr>
            <p:spPr>
              <a:xfrm>
                <a:off x="5559025" y="1060875"/>
                <a:ext cx="654875" cy="114750"/>
              </a:xfrm>
              <a:custGeom>
                <a:avLst/>
                <a:gdLst/>
                <a:ahLst/>
                <a:cxnLst/>
                <a:rect l="l" t="t" r="r" b="b"/>
                <a:pathLst>
                  <a:path w="26195" h="4590" extrusionOk="0">
                    <a:moveTo>
                      <a:pt x="25635" y="0"/>
                    </a:moveTo>
                    <a:lnTo>
                      <a:pt x="25299" y="112"/>
                    </a:lnTo>
                    <a:lnTo>
                      <a:pt x="24963" y="336"/>
                    </a:lnTo>
                    <a:lnTo>
                      <a:pt x="24403" y="784"/>
                    </a:lnTo>
                    <a:lnTo>
                      <a:pt x="23620" y="1231"/>
                    </a:lnTo>
                    <a:lnTo>
                      <a:pt x="22724" y="1567"/>
                    </a:lnTo>
                    <a:lnTo>
                      <a:pt x="21829" y="1903"/>
                    </a:lnTo>
                    <a:lnTo>
                      <a:pt x="21493" y="1903"/>
                    </a:lnTo>
                    <a:lnTo>
                      <a:pt x="20709" y="1791"/>
                    </a:lnTo>
                    <a:lnTo>
                      <a:pt x="19814" y="1567"/>
                    </a:lnTo>
                    <a:lnTo>
                      <a:pt x="17687" y="784"/>
                    </a:lnTo>
                    <a:lnTo>
                      <a:pt x="16120" y="448"/>
                    </a:lnTo>
                    <a:lnTo>
                      <a:pt x="15336" y="336"/>
                    </a:lnTo>
                    <a:lnTo>
                      <a:pt x="14665" y="336"/>
                    </a:lnTo>
                    <a:lnTo>
                      <a:pt x="13881" y="560"/>
                    </a:lnTo>
                    <a:lnTo>
                      <a:pt x="13210" y="896"/>
                    </a:lnTo>
                    <a:lnTo>
                      <a:pt x="11978" y="1679"/>
                    </a:lnTo>
                    <a:lnTo>
                      <a:pt x="11419" y="2015"/>
                    </a:lnTo>
                    <a:lnTo>
                      <a:pt x="10635" y="2463"/>
                    </a:lnTo>
                    <a:lnTo>
                      <a:pt x="9739" y="2687"/>
                    </a:lnTo>
                    <a:lnTo>
                      <a:pt x="8732" y="2911"/>
                    </a:lnTo>
                    <a:lnTo>
                      <a:pt x="7501" y="3022"/>
                    </a:lnTo>
                    <a:lnTo>
                      <a:pt x="6381" y="2911"/>
                    </a:lnTo>
                    <a:lnTo>
                      <a:pt x="5262" y="2799"/>
                    </a:lnTo>
                    <a:lnTo>
                      <a:pt x="4254" y="2575"/>
                    </a:lnTo>
                    <a:lnTo>
                      <a:pt x="2463" y="2127"/>
                    </a:lnTo>
                    <a:lnTo>
                      <a:pt x="1904" y="2015"/>
                    </a:lnTo>
                    <a:lnTo>
                      <a:pt x="1456" y="2015"/>
                    </a:lnTo>
                    <a:lnTo>
                      <a:pt x="784" y="2127"/>
                    </a:lnTo>
                    <a:lnTo>
                      <a:pt x="337" y="2239"/>
                    </a:lnTo>
                    <a:lnTo>
                      <a:pt x="1" y="2463"/>
                    </a:lnTo>
                    <a:lnTo>
                      <a:pt x="1" y="2687"/>
                    </a:lnTo>
                    <a:lnTo>
                      <a:pt x="1" y="2911"/>
                    </a:lnTo>
                    <a:lnTo>
                      <a:pt x="225" y="3246"/>
                    </a:lnTo>
                    <a:lnTo>
                      <a:pt x="560" y="3582"/>
                    </a:lnTo>
                    <a:lnTo>
                      <a:pt x="1008" y="3918"/>
                    </a:lnTo>
                    <a:lnTo>
                      <a:pt x="2352" y="4142"/>
                    </a:lnTo>
                    <a:lnTo>
                      <a:pt x="4590" y="4366"/>
                    </a:lnTo>
                    <a:lnTo>
                      <a:pt x="7053" y="4590"/>
                    </a:lnTo>
                    <a:lnTo>
                      <a:pt x="8844" y="4590"/>
                    </a:lnTo>
                    <a:lnTo>
                      <a:pt x="9739" y="4478"/>
                    </a:lnTo>
                    <a:lnTo>
                      <a:pt x="10523" y="4142"/>
                    </a:lnTo>
                    <a:lnTo>
                      <a:pt x="12202" y="3358"/>
                    </a:lnTo>
                    <a:lnTo>
                      <a:pt x="13657" y="2575"/>
                    </a:lnTo>
                    <a:lnTo>
                      <a:pt x="14329" y="2351"/>
                    </a:lnTo>
                    <a:lnTo>
                      <a:pt x="14889" y="2239"/>
                    </a:lnTo>
                    <a:lnTo>
                      <a:pt x="15448" y="2239"/>
                    </a:lnTo>
                    <a:lnTo>
                      <a:pt x="16568" y="2351"/>
                    </a:lnTo>
                    <a:lnTo>
                      <a:pt x="16680" y="2463"/>
                    </a:lnTo>
                    <a:lnTo>
                      <a:pt x="19030" y="2911"/>
                    </a:lnTo>
                    <a:lnTo>
                      <a:pt x="20262" y="3022"/>
                    </a:lnTo>
                    <a:lnTo>
                      <a:pt x="21269" y="3134"/>
                    </a:lnTo>
                    <a:lnTo>
                      <a:pt x="22165" y="3134"/>
                    </a:lnTo>
                    <a:lnTo>
                      <a:pt x="22612" y="2911"/>
                    </a:lnTo>
                    <a:lnTo>
                      <a:pt x="23620" y="2463"/>
                    </a:lnTo>
                    <a:lnTo>
                      <a:pt x="24292" y="2015"/>
                    </a:lnTo>
                    <a:lnTo>
                      <a:pt x="24851" y="1567"/>
                    </a:lnTo>
                    <a:lnTo>
                      <a:pt x="25411" y="1008"/>
                    </a:lnTo>
                    <a:lnTo>
                      <a:pt x="25523" y="1008"/>
                    </a:lnTo>
                    <a:lnTo>
                      <a:pt x="25747" y="1119"/>
                    </a:lnTo>
                    <a:lnTo>
                      <a:pt x="25971" y="1119"/>
                    </a:lnTo>
                    <a:lnTo>
                      <a:pt x="26083" y="1008"/>
                    </a:lnTo>
                    <a:lnTo>
                      <a:pt x="26194" y="896"/>
                    </a:lnTo>
                    <a:lnTo>
                      <a:pt x="26194" y="560"/>
                    </a:lnTo>
                    <a:lnTo>
                      <a:pt x="26194" y="336"/>
                    </a:lnTo>
                    <a:lnTo>
                      <a:pt x="26083" y="224"/>
                    </a:lnTo>
                    <a:lnTo>
                      <a:pt x="25859" y="0"/>
                    </a:lnTo>
                    <a:close/>
                  </a:path>
                </a:pathLst>
              </a:custGeom>
              <a:solidFill>
                <a:srgbClr val="F2AD1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7" name="Google Shape;1987;p16">
                <a:extLst>
                  <a:ext uri="{FF2B5EF4-FFF2-40B4-BE49-F238E27FC236}">
                    <a16:creationId xmlns:a16="http://schemas.microsoft.com/office/drawing/2014/main" id="{FF823F42-B19A-CDB8-F3F5-C4106C137DC4}"/>
                  </a:ext>
                </a:extLst>
              </p:cNvPr>
              <p:cNvSpPr/>
              <p:nvPr/>
            </p:nvSpPr>
            <p:spPr>
              <a:xfrm>
                <a:off x="6191475" y="1743700"/>
                <a:ext cx="128775" cy="81175"/>
              </a:xfrm>
              <a:custGeom>
                <a:avLst/>
                <a:gdLst/>
                <a:ahLst/>
                <a:cxnLst/>
                <a:rect l="l" t="t" r="r" b="b"/>
                <a:pathLst>
                  <a:path w="5151" h="3247" extrusionOk="0">
                    <a:moveTo>
                      <a:pt x="449" y="0"/>
                    </a:moveTo>
                    <a:lnTo>
                      <a:pt x="1" y="2015"/>
                    </a:lnTo>
                    <a:lnTo>
                      <a:pt x="5150" y="3246"/>
                    </a:lnTo>
                    <a:lnTo>
                      <a:pt x="4479" y="2687"/>
                    </a:lnTo>
                    <a:lnTo>
                      <a:pt x="3807" y="2015"/>
                    </a:lnTo>
                    <a:lnTo>
                      <a:pt x="2240" y="1008"/>
                    </a:lnTo>
                    <a:lnTo>
                      <a:pt x="449" y="0"/>
                    </a:ln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8" name="Google Shape;1988;p16">
                <a:extLst>
                  <a:ext uri="{FF2B5EF4-FFF2-40B4-BE49-F238E27FC236}">
                    <a16:creationId xmlns:a16="http://schemas.microsoft.com/office/drawing/2014/main" id="{9CB57FBB-1E46-FC15-6DF9-150AFBD09B5A}"/>
                  </a:ext>
                </a:extLst>
              </p:cNvPr>
              <p:cNvSpPr/>
              <p:nvPr/>
            </p:nvSpPr>
            <p:spPr>
              <a:xfrm>
                <a:off x="6191475" y="1743700"/>
                <a:ext cx="128775" cy="81175"/>
              </a:xfrm>
              <a:custGeom>
                <a:avLst/>
                <a:gdLst/>
                <a:ahLst/>
                <a:cxnLst/>
                <a:rect l="l" t="t" r="r" b="b"/>
                <a:pathLst>
                  <a:path w="5151" h="3247" fill="none" extrusionOk="0">
                    <a:moveTo>
                      <a:pt x="449" y="0"/>
                    </a:moveTo>
                    <a:lnTo>
                      <a:pt x="1" y="2015"/>
                    </a:lnTo>
                    <a:lnTo>
                      <a:pt x="1" y="2015"/>
                    </a:lnTo>
                    <a:lnTo>
                      <a:pt x="5150" y="3246"/>
                    </a:lnTo>
                    <a:lnTo>
                      <a:pt x="5150" y="3246"/>
                    </a:lnTo>
                    <a:lnTo>
                      <a:pt x="4479" y="2687"/>
                    </a:lnTo>
                    <a:lnTo>
                      <a:pt x="3807" y="2015"/>
                    </a:lnTo>
                    <a:lnTo>
                      <a:pt x="2240" y="1008"/>
                    </a:lnTo>
                    <a:lnTo>
                      <a:pt x="449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9" name="Google Shape;1989;p16">
                <a:extLst>
                  <a:ext uri="{FF2B5EF4-FFF2-40B4-BE49-F238E27FC236}">
                    <a16:creationId xmlns:a16="http://schemas.microsoft.com/office/drawing/2014/main" id="{6D0E274C-930C-123A-6AAD-CB7AE8E4F479}"/>
                  </a:ext>
                </a:extLst>
              </p:cNvPr>
              <p:cNvSpPr/>
              <p:nvPr/>
            </p:nvSpPr>
            <p:spPr>
              <a:xfrm>
                <a:off x="1705525" y="2281000"/>
                <a:ext cx="156750" cy="86775"/>
              </a:xfrm>
              <a:custGeom>
                <a:avLst/>
                <a:gdLst/>
                <a:ahLst/>
                <a:cxnLst/>
                <a:rect l="l" t="t" r="r" b="b"/>
                <a:pathLst>
                  <a:path w="6270" h="3471" extrusionOk="0">
                    <a:moveTo>
                      <a:pt x="2240" y="1"/>
                    </a:moveTo>
                    <a:lnTo>
                      <a:pt x="1680" y="112"/>
                    </a:lnTo>
                    <a:lnTo>
                      <a:pt x="1232" y="336"/>
                    </a:lnTo>
                    <a:lnTo>
                      <a:pt x="785" y="672"/>
                    </a:lnTo>
                    <a:lnTo>
                      <a:pt x="337" y="1008"/>
                    </a:lnTo>
                    <a:lnTo>
                      <a:pt x="113" y="1344"/>
                    </a:lnTo>
                    <a:lnTo>
                      <a:pt x="1" y="1680"/>
                    </a:lnTo>
                    <a:lnTo>
                      <a:pt x="1" y="2015"/>
                    </a:lnTo>
                    <a:lnTo>
                      <a:pt x="225" y="2127"/>
                    </a:lnTo>
                    <a:lnTo>
                      <a:pt x="673" y="2239"/>
                    </a:lnTo>
                    <a:lnTo>
                      <a:pt x="1792" y="2239"/>
                    </a:lnTo>
                    <a:lnTo>
                      <a:pt x="2016" y="2463"/>
                    </a:lnTo>
                    <a:lnTo>
                      <a:pt x="2016" y="2575"/>
                    </a:lnTo>
                    <a:lnTo>
                      <a:pt x="1904" y="3023"/>
                    </a:lnTo>
                    <a:lnTo>
                      <a:pt x="1904" y="3247"/>
                    </a:lnTo>
                    <a:lnTo>
                      <a:pt x="2016" y="3359"/>
                    </a:lnTo>
                    <a:lnTo>
                      <a:pt x="2240" y="3471"/>
                    </a:lnTo>
                    <a:lnTo>
                      <a:pt x="2688" y="3471"/>
                    </a:lnTo>
                    <a:lnTo>
                      <a:pt x="3471" y="3359"/>
                    </a:lnTo>
                    <a:lnTo>
                      <a:pt x="4255" y="3247"/>
                    </a:lnTo>
                    <a:lnTo>
                      <a:pt x="4590" y="3247"/>
                    </a:lnTo>
                    <a:lnTo>
                      <a:pt x="4702" y="3359"/>
                    </a:lnTo>
                    <a:lnTo>
                      <a:pt x="4926" y="3359"/>
                    </a:lnTo>
                    <a:lnTo>
                      <a:pt x="5038" y="3247"/>
                    </a:lnTo>
                    <a:lnTo>
                      <a:pt x="5598" y="2911"/>
                    </a:lnTo>
                    <a:lnTo>
                      <a:pt x="6270" y="2351"/>
                    </a:lnTo>
                    <a:lnTo>
                      <a:pt x="5934" y="1680"/>
                    </a:lnTo>
                    <a:lnTo>
                      <a:pt x="5374" y="1232"/>
                    </a:lnTo>
                    <a:lnTo>
                      <a:pt x="4814" y="784"/>
                    </a:lnTo>
                    <a:lnTo>
                      <a:pt x="4143" y="448"/>
                    </a:lnTo>
                    <a:lnTo>
                      <a:pt x="3471" y="224"/>
                    </a:lnTo>
                    <a:lnTo>
                      <a:pt x="2799" y="112"/>
                    </a:lnTo>
                    <a:lnTo>
                      <a:pt x="2240" y="1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0" name="Google Shape;1990;p16">
                <a:extLst>
                  <a:ext uri="{FF2B5EF4-FFF2-40B4-BE49-F238E27FC236}">
                    <a16:creationId xmlns:a16="http://schemas.microsoft.com/office/drawing/2014/main" id="{7EAEE4E6-E012-27FC-A982-27770033700B}"/>
                  </a:ext>
                </a:extLst>
              </p:cNvPr>
              <p:cNvSpPr/>
              <p:nvPr/>
            </p:nvSpPr>
            <p:spPr>
              <a:xfrm>
                <a:off x="2794150" y="2015150"/>
                <a:ext cx="162325" cy="100775"/>
              </a:xfrm>
              <a:custGeom>
                <a:avLst/>
                <a:gdLst/>
                <a:ahLst/>
                <a:cxnLst/>
                <a:rect l="l" t="t" r="r" b="b"/>
                <a:pathLst>
                  <a:path w="6493" h="4031" extrusionOk="0">
                    <a:moveTo>
                      <a:pt x="4590" y="0"/>
                    </a:moveTo>
                    <a:lnTo>
                      <a:pt x="4142" y="224"/>
                    </a:lnTo>
                    <a:lnTo>
                      <a:pt x="3806" y="448"/>
                    </a:lnTo>
                    <a:lnTo>
                      <a:pt x="2911" y="1120"/>
                    </a:lnTo>
                    <a:lnTo>
                      <a:pt x="1679" y="2015"/>
                    </a:lnTo>
                    <a:lnTo>
                      <a:pt x="1008" y="2575"/>
                    </a:lnTo>
                    <a:lnTo>
                      <a:pt x="0" y="3023"/>
                    </a:lnTo>
                    <a:lnTo>
                      <a:pt x="336" y="3247"/>
                    </a:lnTo>
                    <a:lnTo>
                      <a:pt x="896" y="3694"/>
                    </a:lnTo>
                    <a:lnTo>
                      <a:pt x="1343" y="3918"/>
                    </a:lnTo>
                    <a:lnTo>
                      <a:pt x="1903" y="4030"/>
                    </a:lnTo>
                    <a:lnTo>
                      <a:pt x="2351" y="4030"/>
                    </a:lnTo>
                    <a:lnTo>
                      <a:pt x="2911" y="3806"/>
                    </a:lnTo>
                    <a:lnTo>
                      <a:pt x="4030" y="3023"/>
                    </a:lnTo>
                    <a:lnTo>
                      <a:pt x="4926" y="2575"/>
                    </a:lnTo>
                    <a:lnTo>
                      <a:pt x="5373" y="2463"/>
                    </a:lnTo>
                    <a:lnTo>
                      <a:pt x="5821" y="2351"/>
                    </a:lnTo>
                    <a:lnTo>
                      <a:pt x="6269" y="2239"/>
                    </a:lnTo>
                    <a:lnTo>
                      <a:pt x="6493" y="2015"/>
                    </a:lnTo>
                    <a:lnTo>
                      <a:pt x="6493" y="1567"/>
                    </a:lnTo>
                    <a:lnTo>
                      <a:pt x="6493" y="1120"/>
                    </a:lnTo>
                    <a:lnTo>
                      <a:pt x="6157" y="672"/>
                    </a:lnTo>
                    <a:lnTo>
                      <a:pt x="5821" y="336"/>
                    </a:lnTo>
                    <a:lnTo>
                      <a:pt x="5261" y="112"/>
                    </a:lnTo>
                    <a:lnTo>
                      <a:pt x="4590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1" name="Google Shape;1991;p16">
                <a:extLst>
                  <a:ext uri="{FF2B5EF4-FFF2-40B4-BE49-F238E27FC236}">
                    <a16:creationId xmlns:a16="http://schemas.microsoft.com/office/drawing/2014/main" id="{41A38C05-7DD5-2EC2-3B7D-1EE032DF5F32}"/>
                  </a:ext>
                </a:extLst>
              </p:cNvPr>
              <p:cNvSpPr/>
              <p:nvPr/>
            </p:nvSpPr>
            <p:spPr>
              <a:xfrm>
                <a:off x="1873450" y="3005800"/>
                <a:ext cx="453375" cy="638075"/>
              </a:xfrm>
              <a:custGeom>
                <a:avLst/>
                <a:gdLst/>
                <a:ahLst/>
                <a:cxnLst/>
                <a:rect l="l" t="t" r="r" b="b"/>
                <a:pathLst>
                  <a:path w="18135" h="25523" extrusionOk="0">
                    <a:moveTo>
                      <a:pt x="18134" y="1"/>
                    </a:moveTo>
                    <a:lnTo>
                      <a:pt x="15336" y="784"/>
                    </a:lnTo>
                    <a:lnTo>
                      <a:pt x="13209" y="1456"/>
                    </a:lnTo>
                    <a:lnTo>
                      <a:pt x="12426" y="1792"/>
                    </a:lnTo>
                    <a:lnTo>
                      <a:pt x="11978" y="2128"/>
                    </a:lnTo>
                    <a:lnTo>
                      <a:pt x="11418" y="2799"/>
                    </a:lnTo>
                    <a:lnTo>
                      <a:pt x="10746" y="4143"/>
                    </a:lnTo>
                    <a:lnTo>
                      <a:pt x="8955" y="7837"/>
                    </a:lnTo>
                    <a:lnTo>
                      <a:pt x="6157" y="13545"/>
                    </a:lnTo>
                    <a:lnTo>
                      <a:pt x="4142" y="16680"/>
                    </a:lnTo>
                    <a:lnTo>
                      <a:pt x="2687" y="18583"/>
                    </a:lnTo>
                    <a:lnTo>
                      <a:pt x="2127" y="19254"/>
                    </a:lnTo>
                    <a:lnTo>
                      <a:pt x="1679" y="19814"/>
                    </a:lnTo>
                    <a:lnTo>
                      <a:pt x="1008" y="20374"/>
                    </a:lnTo>
                    <a:lnTo>
                      <a:pt x="560" y="20486"/>
                    </a:lnTo>
                    <a:lnTo>
                      <a:pt x="336" y="20710"/>
                    </a:lnTo>
                    <a:lnTo>
                      <a:pt x="0" y="21157"/>
                    </a:lnTo>
                    <a:lnTo>
                      <a:pt x="0" y="21269"/>
                    </a:lnTo>
                    <a:lnTo>
                      <a:pt x="112" y="21605"/>
                    </a:lnTo>
                    <a:lnTo>
                      <a:pt x="336" y="22277"/>
                    </a:lnTo>
                    <a:lnTo>
                      <a:pt x="896" y="22948"/>
                    </a:lnTo>
                    <a:lnTo>
                      <a:pt x="1567" y="23844"/>
                    </a:lnTo>
                    <a:lnTo>
                      <a:pt x="2799" y="25075"/>
                    </a:lnTo>
                    <a:lnTo>
                      <a:pt x="3247" y="25523"/>
                    </a:lnTo>
                    <a:lnTo>
                      <a:pt x="3470" y="25523"/>
                    </a:lnTo>
                    <a:lnTo>
                      <a:pt x="3247" y="22277"/>
                    </a:lnTo>
                    <a:lnTo>
                      <a:pt x="3694" y="21605"/>
                    </a:lnTo>
                    <a:lnTo>
                      <a:pt x="4814" y="20038"/>
                    </a:lnTo>
                    <a:lnTo>
                      <a:pt x="8396" y="15560"/>
                    </a:lnTo>
                    <a:lnTo>
                      <a:pt x="14776" y="7725"/>
                    </a:lnTo>
                    <a:lnTo>
                      <a:pt x="15336" y="6941"/>
                    </a:lnTo>
                    <a:lnTo>
                      <a:pt x="15784" y="6157"/>
                    </a:lnTo>
                    <a:lnTo>
                      <a:pt x="16679" y="4366"/>
                    </a:lnTo>
                    <a:lnTo>
                      <a:pt x="17463" y="2240"/>
                    </a:lnTo>
                    <a:lnTo>
                      <a:pt x="18134" y="1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2" name="Google Shape;1992;p16">
                <a:extLst>
                  <a:ext uri="{FF2B5EF4-FFF2-40B4-BE49-F238E27FC236}">
                    <a16:creationId xmlns:a16="http://schemas.microsoft.com/office/drawing/2014/main" id="{4DCB1F12-CBB9-459A-9C47-E7C452654C7E}"/>
                  </a:ext>
                </a:extLst>
              </p:cNvPr>
              <p:cNvSpPr/>
              <p:nvPr/>
            </p:nvSpPr>
            <p:spPr>
              <a:xfrm>
                <a:off x="1873450" y="3005800"/>
                <a:ext cx="453375" cy="638075"/>
              </a:xfrm>
              <a:custGeom>
                <a:avLst/>
                <a:gdLst/>
                <a:ahLst/>
                <a:cxnLst/>
                <a:rect l="l" t="t" r="r" b="b"/>
                <a:pathLst>
                  <a:path w="18135" h="25523" fill="none" extrusionOk="0">
                    <a:moveTo>
                      <a:pt x="18134" y="1"/>
                    </a:moveTo>
                    <a:lnTo>
                      <a:pt x="18134" y="1"/>
                    </a:lnTo>
                    <a:lnTo>
                      <a:pt x="17463" y="2240"/>
                    </a:lnTo>
                    <a:lnTo>
                      <a:pt x="16679" y="4366"/>
                    </a:lnTo>
                    <a:lnTo>
                      <a:pt x="15784" y="6157"/>
                    </a:lnTo>
                    <a:lnTo>
                      <a:pt x="15336" y="6941"/>
                    </a:lnTo>
                    <a:lnTo>
                      <a:pt x="14776" y="7725"/>
                    </a:lnTo>
                    <a:lnTo>
                      <a:pt x="14776" y="7725"/>
                    </a:lnTo>
                    <a:lnTo>
                      <a:pt x="8396" y="15560"/>
                    </a:lnTo>
                    <a:lnTo>
                      <a:pt x="4814" y="20038"/>
                    </a:lnTo>
                    <a:lnTo>
                      <a:pt x="3694" y="21605"/>
                    </a:lnTo>
                    <a:lnTo>
                      <a:pt x="3247" y="22277"/>
                    </a:lnTo>
                    <a:lnTo>
                      <a:pt x="3247" y="22277"/>
                    </a:lnTo>
                    <a:lnTo>
                      <a:pt x="3470" y="25523"/>
                    </a:lnTo>
                    <a:lnTo>
                      <a:pt x="3470" y="25523"/>
                    </a:lnTo>
                    <a:lnTo>
                      <a:pt x="3358" y="25523"/>
                    </a:lnTo>
                    <a:lnTo>
                      <a:pt x="3247" y="25523"/>
                    </a:lnTo>
                    <a:lnTo>
                      <a:pt x="2799" y="25075"/>
                    </a:lnTo>
                    <a:lnTo>
                      <a:pt x="1567" y="23844"/>
                    </a:lnTo>
                    <a:lnTo>
                      <a:pt x="896" y="22948"/>
                    </a:lnTo>
                    <a:lnTo>
                      <a:pt x="336" y="22277"/>
                    </a:lnTo>
                    <a:lnTo>
                      <a:pt x="112" y="21605"/>
                    </a:lnTo>
                    <a:lnTo>
                      <a:pt x="0" y="21269"/>
                    </a:lnTo>
                    <a:lnTo>
                      <a:pt x="0" y="21157"/>
                    </a:lnTo>
                    <a:lnTo>
                      <a:pt x="0" y="21157"/>
                    </a:lnTo>
                    <a:lnTo>
                      <a:pt x="336" y="20710"/>
                    </a:lnTo>
                    <a:lnTo>
                      <a:pt x="560" y="20486"/>
                    </a:lnTo>
                    <a:lnTo>
                      <a:pt x="1008" y="20374"/>
                    </a:lnTo>
                    <a:lnTo>
                      <a:pt x="1679" y="19814"/>
                    </a:lnTo>
                    <a:lnTo>
                      <a:pt x="1679" y="19814"/>
                    </a:lnTo>
                    <a:lnTo>
                      <a:pt x="2127" y="19254"/>
                    </a:lnTo>
                    <a:lnTo>
                      <a:pt x="2687" y="18583"/>
                    </a:lnTo>
                    <a:lnTo>
                      <a:pt x="4142" y="16680"/>
                    </a:lnTo>
                    <a:lnTo>
                      <a:pt x="6157" y="13545"/>
                    </a:lnTo>
                    <a:lnTo>
                      <a:pt x="6157" y="13545"/>
                    </a:lnTo>
                    <a:lnTo>
                      <a:pt x="8955" y="7837"/>
                    </a:lnTo>
                    <a:lnTo>
                      <a:pt x="10746" y="4143"/>
                    </a:lnTo>
                    <a:lnTo>
                      <a:pt x="11418" y="2799"/>
                    </a:lnTo>
                    <a:lnTo>
                      <a:pt x="11978" y="2128"/>
                    </a:lnTo>
                    <a:lnTo>
                      <a:pt x="11978" y="2128"/>
                    </a:lnTo>
                    <a:lnTo>
                      <a:pt x="12426" y="1792"/>
                    </a:lnTo>
                    <a:lnTo>
                      <a:pt x="13209" y="1456"/>
                    </a:lnTo>
                    <a:lnTo>
                      <a:pt x="15336" y="784"/>
                    </a:lnTo>
                    <a:lnTo>
                      <a:pt x="18134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3" name="Google Shape;1993;p16">
                <a:extLst>
                  <a:ext uri="{FF2B5EF4-FFF2-40B4-BE49-F238E27FC236}">
                    <a16:creationId xmlns:a16="http://schemas.microsoft.com/office/drawing/2014/main" id="{001ED892-369E-2E1A-0CC2-1CF57D2E04D3}"/>
                  </a:ext>
                </a:extLst>
              </p:cNvPr>
              <p:cNvSpPr/>
              <p:nvPr/>
            </p:nvSpPr>
            <p:spPr>
              <a:xfrm>
                <a:off x="1845450" y="3495550"/>
                <a:ext cx="134350" cy="209900"/>
              </a:xfrm>
              <a:custGeom>
                <a:avLst/>
                <a:gdLst/>
                <a:ahLst/>
                <a:cxnLst/>
                <a:rect l="l" t="t" r="r" b="b"/>
                <a:pathLst>
                  <a:path w="5374" h="8396" extrusionOk="0">
                    <a:moveTo>
                      <a:pt x="2464" y="0"/>
                    </a:moveTo>
                    <a:lnTo>
                      <a:pt x="1120" y="224"/>
                    </a:lnTo>
                    <a:lnTo>
                      <a:pt x="784" y="336"/>
                    </a:lnTo>
                    <a:lnTo>
                      <a:pt x="337" y="560"/>
                    </a:lnTo>
                    <a:lnTo>
                      <a:pt x="113" y="784"/>
                    </a:lnTo>
                    <a:lnTo>
                      <a:pt x="1" y="1008"/>
                    </a:lnTo>
                    <a:lnTo>
                      <a:pt x="1" y="1343"/>
                    </a:lnTo>
                    <a:lnTo>
                      <a:pt x="113" y="1791"/>
                    </a:lnTo>
                    <a:lnTo>
                      <a:pt x="561" y="2911"/>
                    </a:lnTo>
                    <a:lnTo>
                      <a:pt x="673" y="3022"/>
                    </a:lnTo>
                    <a:lnTo>
                      <a:pt x="1008" y="2911"/>
                    </a:lnTo>
                    <a:lnTo>
                      <a:pt x="1120" y="3246"/>
                    </a:lnTo>
                    <a:lnTo>
                      <a:pt x="1456" y="4142"/>
                    </a:lnTo>
                    <a:lnTo>
                      <a:pt x="2240" y="6157"/>
                    </a:lnTo>
                    <a:lnTo>
                      <a:pt x="2352" y="6493"/>
                    </a:lnTo>
                    <a:lnTo>
                      <a:pt x="2687" y="6940"/>
                    </a:lnTo>
                    <a:lnTo>
                      <a:pt x="3471" y="7724"/>
                    </a:lnTo>
                    <a:lnTo>
                      <a:pt x="4255" y="8284"/>
                    </a:lnTo>
                    <a:lnTo>
                      <a:pt x="4702" y="8396"/>
                    </a:lnTo>
                    <a:lnTo>
                      <a:pt x="5038" y="8396"/>
                    </a:lnTo>
                    <a:lnTo>
                      <a:pt x="5262" y="8284"/>
                    </a:lnTo>
                    <a:lnTo>
                      <a:pt x="5374" y="7948"/>
                    </a:lnTo>
                    <a:lnTo>
                      <a:pt x="5262" y="7612"/>
                    </a:lnTo>
                    <a:lnTo>
                      <a:pt x="5150" y="7164"/>
                    </a:lnTo>
                    <a:lnTo>
                      <a:pt x="4702" y="5709"/>
                    </a:lnTo>
                    <a:lnTo>
                      <a:pt x="4478" y="5373"/>
                    </a:lnTo>
                    <a:lnTo>
                      <a:pt x="4031" y="5037"/>
                    </a:lnTo>
                    <a:lnTo>
                      <a:pt x="3583" y="4478"/>
                    </a:lnTo>
                    <a:lnTo>
                      <a:pt x="3135" y="3806"/>
                    </a:lnTo>
                    <a:lnTo>
                      <a:pt x="2799" y="3022"/>
                    </a:lnTo>
                    <a:lnTo>
                      <a:pt x="2799" y="2463"/>
                    </a:lnTo>
                    <a:lnTo>
                      <a:pt x="2911" y="2015"/>
                    </a:lnTo>
                    <a:lnTo>
                      <a:pt x="2911" y="1679"/>
                    </a:lnTo>
                    <a:lnTo>
                      <a:pt x="3023" y="1120"/>
                    </a:lnTo>
                    <a:lnTo>
                      <a:pt x="2911" y="672"/>
                    </a:lnTo>
                    <a:lnTo>
                      <a:pt x="2799" y="224"/>
                    </a:lnTo>
                    <a:lnTo>
                      <a:pt x="2576" y="112"/>
                    </a:lnTo>
                    <a:lnTo>
                      <a:pt x="2464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4" name="Google Shape;1994;p16">
                <a:extLst>
                  <a:ext uri="{FF2B5EF4-FFF2-40B4-BE49-F238E27FC236}">
                    <a16:creationId xmlns:a16="http://schemas.microsoft.com/office/drawing/2014/main" id="{F17AC55A-A1D7-D20F-2875-A95658C33623}"/>
                  </a:ext>
                </a:extLst>
              </p:cNvPr>
              <p:cNvSpPr/>
              <p:nvPr/>
            </p:nvSpPr>
            <p:spPr>
              <a:xfrm>
                <a:off x="2435950" y="2938650"/>
                <a:ext cx="383400" cy="708025"/>
              </a:xfrm>
              <a:custGeom>
                <a:avLst/>
                <a:gdLst/>
                <a:ahLst/>
                <a:cxnLst/>
                <a:rect l="l" t="t" r="r" b="b"/>
                <a:pathLst>
                  <a:path w="15336" h="28321" extrusionOk="0">
                    <a:moveTo>
                      <a:pt x="3358" y="0"/>
                    </a:moveTo>
                    <a:lnTo>
                      <a:pt x="2798" y="224"/>
                    </a:lnTo>
                    <a:lnTo>
                      <a:pt x="1455" y="560"/>
                    </a:lnTo>
                    <a:lnTo>
                      <a:pt x="1119" y="448"/>
                    </a:lnTo>
                    <a:lnTo>
                      <a:pt x="560" y="560"/>
                    </a:lnTo>
                    <a:lnTo>
                      <a:pt x="336" y="672"/>
                    </a:lnTo>
                    <a:lnTo>
                      <a:pt x="112" y="896"/>
                    </a:lnTo>
                    <a:lnTo>
                      <a:pt x="0" y="1120"/>
                    </a:lnTo>
                    <a:lnTo>
                      <a:pt x="0" y="1567"/>
                    </a:lnTo>
                    <a:lnTo>
                      <a:pt x="560" y="3470"/>
                    </a:lnTo>
                    <a:lnTo>
                      <a:pt x="1903" y="7164"/>
                    </a:lnTo>
                    <a:lnTo>
                      <a:pt x="2798" y="9739"/>
                    </a:lnTo>
                    <a:lnTo>
                      <a:pt x="4925" y="15560"/>
                    </a:lnTo>
                    <a:lnTo>
                      <a:pt x="6045" y="18582"/>
                    </a:lnTo>
                    <a:lnTo>
                      <a:pt x="7500" y="22052"/>
                    </a:lnTo>
                    <a:lnTo>
                      <a:pt x="8284" y="24403"/>
                    </a:lnTo>
                    <a:lnTo>
                      <a:pt x="8619" y="25298"/>
                    </a:lnTo>
                    <a:lnTo>
                      <a:pt x="8843" y="26082"/>
                    </a:lnTo>
                    <a:lnTo>
                      <a:pt x="8843" y="26866"/>
                    </a:lnTo>
                    <a:lnTo>
                      <a:pt x="8731" y="27313"/>
                    </a:lnTo>
                    <a:lnTo>
                      <a:pt x="8731" y="27649"/>
                    </a:lnTo>
                    <a:lnTo>
                      <a:pt x="8955" y="28209"/>
                    </a:lnTo>
                    <a:lnTo>
                      <a:pt x="9179" y="28321"/>
                    </a:lnTo>
                    <a:lnTo>
                      <a:pt x="10186" y="28321"/>
                    </a:lnTo>
                    <a:lnTo>
                      <a:pt x="11306" y="28097"/>
                    </a:lnTo>
                    <a:lnTo>
                      <a:pt x="12537" y="27761"/>
                    </a:lnTo>
                    <a:lnTo>
                      <a:pt x="14664" y="26978"/>
                    </a:lnTo>
                    <a:lnTo>
                      <a:pt x="15224" y="26754"/>
                    </a:lnTo>
                    <a:lnTo>
                      <a:pt x="15336" y="26642"/>
                    </a:lnTo>
                    <a:lnTo>
                      <a:pt x="15336" y="26530"/>
                    </a:lnTo>
                    <a:lnTo>
                      <a:pt x="15112" y="26418"/>
                    </a:lnTo>
                    <a:lnTo>
                      <a:pt x="14664" y="26306"/>
                    </a:lnTo>
                    <a:lnTo>
                      <a:pt x="13657" y="26194"/>
                    </a:lnTo>
                    <a:lnTo>
                      <a:pt x="12537" y="26082"/>
                    </a:lnTo>
                    <a:lnTo>
                      <a:pt x="11866" y="25970"/>
                    </a:lnTo>
                    <a:lnTo>
                      <a:pt x="11642" y="25522"/>
                    </a:lnTo>
                    <a:lnTo>
                      <a:pt x="11194" y="24179"/>
                    </a:lnTo>
                    <a:lnTo>
                      <a:pt x="10075" y="19925"/>
                    </a:lnTo>
                    <a:lnTo>
                      <a:pt x="7164" y="8620"/>
                    </a:lnTo>
                    <a:lnTo>
                      <a:pt x="6381" y="5933"/>
                    </a:lnTo>
                    <a:lnTo>
                      <a:pt x="5261" y="1679"/>
                    </a:lnTo>
                    <a:lnTo>
                      <a:pt x="4925" y="896"/>
                    </a:lnTo>
                    <a:lnTo>
                      <a:pt x="4590" y="448"/>
                    </a:lnTo>
                    <a:lnTo>
                      <a:pt x="4254" y="112"/>
                    </a:lnTo>
                    <a:lnTo>
                      <a:pt x="3806" y="0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5" name="Google Shape;1995;p16">
                <a:extLst>
                  <a:ext uri="{FF2B5EF4-FFF2-40B4-BE49-F238E27FC236}">
                    <a16:creationId xmlns:a16="http://schemas.microsoft.com/office/drawing/2014/main" id="{8F9DA057-E0AF-E0BF-CF3B-79306F98E1D8}"/>
                  </a:ext>
                </a:extLst>
              </p:cNvPr>
              <p:cNvSpPr/>
              <p:nvPr/>
            </p:nvSpPr>
            <p:spPr>
              <a:xfrm>
                <a:off x="2645825" y="3596275"/>
                <a:ext cx="226700" cy="92375"/>
              </a:xfrm>
              <a:custGeom>
                <a:avLst/>
                <a:gdLst/>
                <a:ahLst/>
                <a:cxnLst/>
                <a:rect l="l" t="t" r="r" b="b"/>
                <a:pathLst>
                  <a:path w="9068" h="3695" extrusionOk="0">
                    <a:moveTo>
                      <a:pt x="6493" y="1"/>
                    </a:moveTo>
                    <a:lnTo>
                      <a:pt x="6045" y="113"/>
                    </a:lnTo>
                    <a:lnTo>
                      <a:pt x="5485" y="449"/>
                    </a:lnTo>
                    <a:lnTo>
                      <a:pt x="4814" y="673"/>
                    </a:lnTo>
                    <a:lnTo>
                      <a:pt x="4030" y="1008"/>
                    </a:lnTo>
                    <a:lnTo>
                      <a:pt x="3247" y="1120"/>
                    </a:lnTo>
                    <a:lnTo>
                      <a:pt x="2687" y="1008"/>
                    </a:lnTo>
                    <a:lnTo>
                      <a:pt x="2239" y="896"/>
                    </a:lnTo>
                    <a:lnTo>
                      <a:pt x="1903" y="673"/>
                    </a:lnTo>
                    <a:lnTo>
                      <a:pt x="1344" y="561"/>
                    </a:lnTo>
                    <a:lnTo>
                      <a:pt x="448" y="561"/>
                    </a:lnTo>
                    <a:lnTo>
                      <a:pt x="224" y="673"/>
                    </a:lnTo>
                    <a:lnTo>
                      <a:pt x="112" y="896"/>
                    </a:lnTo>
                    <a:lnTo>
                      <a:pt x="0" y="2240"/>
                    </a:lnTo>
                    <a:lnTo>
                      <a:pt x="112" y="2687"/>
                    </a:lnTo>
                    <a:lnTo>
                      <a:pt x="224" y="3135"/>
                    </a:lnTo>
                    <a:lnTo>
                      <a:pt x="448" y="3471"/>
                    </a:lnTo>
                    <a:lnTo>
                      <a:pt x="560" y="3695"/>
                    </a:lnTo>
                    <a:lnTo>
                      <a:pt x="1568" y="3695"/>
                    </a:lnTo>
                    <a:lnTo>
                      <a:pt x="2239" y="3583"/>
                    </a:lnTo>
                    <a:lnTo>
                      <a:pt x="2463" y="3471"/>
                    </a:lnTo>
                    <a:lnTo>
                      <a:pt x="2575" y="3247"/>
                    </a:lnTo>
                    <a:lnTo>
                      <a:pt x="2799" y="3023"/>
                    </a:lnTo>
                    <a:lnTo>
                      <a:pt x="3359" y="2911"/>
                    </a:lnTo>
                    <a:lnTo>
                      <a:pt x="4254" y="2799"/>
                    </a:lnTo>
                    <a:lnTo>
                      <a:pt x="6381" y="2687"/>
                    </a:lnTo>
                    <a:lnTo>
                      <a:pt x="7165" y="2464"/>
                    </a:lnTo>
                    <a:lnTo>
                      <a:pt x="8060" y="2016"/>
                    </a:lnTo>
                    <a:lnTo>
                      <a:pt x="8508" y="1792"/>
                    </a:lnTo>
                    <a:lnTo>
                      <a:pt x="8844" y="1456"/>
                    </a:lnTo>
                    <a:lnTo>
                      <a:pt x="9067" y="1232"/>
                    </a:lnTo>
                    <a:lnTo>
                      <a:pt x="9067" y="896"/>
                    </a:lnTo>
                    <a:lnTo>
                      <a:pt x="8956" y="561"/>
                    </a:lnTo>
                    <a:lnTo>
                      <a:pt x="8732" y="337"/>
                    </a:lnTo>
                    <a:lnTo>
                      <a:pt x="8396" y="225"/>
                    </a:lnTo>
                    <a:lnTo>
                      <a:pt x="7948" y="113"/>
                    </a:lnTo>
                    <a:lnTo>
                      <a:pt x="7053" y="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6" name="Google Shape;1996;p16">
                <a:extLst>
                  <a:ext uri="{FF2B5EF4-FFF2-40B4-BE49-F238E27FC236}">
                    <a16:creationId xmlns:a16="http://schemas.microsoft.com/office/drawing/2014/main" id="{45BDBD94-F825-8654-3364-62BD4D9505F9}"/>
                  </a:ext>
                </a:extLst>
              </p:cNvPr>
              <p:cNvSpPr/>
              <p:nvPr/>
            </p:nvSpPr>
            <p:spPr>
              <a:xfrm>
                <a:off x="1974200" y="2524475"/>
                <a:ext cx="682850" cy="694050"/>
              </a:xfrm>
              <a:custGeom>
                <a:avLst/>
                <a:gdLst/>
                <a:ahLst/>
                <a:cxnLst/>
                <a:rect l="l" t="t" r="r" b="b"/>
                <a:pathLst>
                  <a:path w="27314" h="27762" extrusionOk="0">
                    <a:moveTo>
                      <a:pt x="14104" y="0"/>
                    </a:moveTo>
                    <a:lnTo>
                      <a:pt x="13321" y="112"/>
                    </a:lnTo>
                    <a:lnTo>
                      <a:pt x="12537" y="224"/>
                    </a:lnTo>
                    <a:lnTo>
                      <a:pt x="11642" y="560"/>
                    </a:lnTo>
                    <a:lnTo>
                      <a:pt x="10634" y="1120"/>
                    </a:lnTo>
                    <a:lnTo>
                      <a:pt x="9627" y="2015"/>
                    </a:lnTo>
                    <a:lnTo>
                      <a:pt x="8843" y="3246"/>
                    </a:lnTo>
                    <a:lnTo>
                      <a:pt x="8172" y="4478"/>
                    </a:lnTo>
                    <a:lnTo>
                      <a:pt x="7724" y="5821"/>
                    </a:lnTo>
                    <a:lnTo>
                      <a:pt x="7276" y="7052"/>
                    </a:lnTo>
                    <a:lnTo>
                      <a:pt x="6605" y="9739"/>
                    </a:lnTo>
                    <a:lnTo>
                      <a:pt x="6045" y="12537"/>
                    </a:lnTo>
                    <a:lnTo>
                      <a:pt x="5261" y="15336"/>
                    </a:lnTo>
                    <a:lnTo>
                      <a:pt x="4813" y="16791"/>
                    </a:lnTo>
                    <a:lnTo>
                      <a:pt x="4142" y="18246"/>
                    </a:lnTo>
                    <a:lnTo>
                      <a:pt x="3470" y="19813"/>
                    </a:lnTo>
                    <a:lnTo>
                      <a:pt x="2463" y="21381"/>
                    </a:lnTo>
                    <a:lnTo>
                      <a:pt x="1343" y="22948"/>
                    </a:lnTo>
                    <a:lnTo>
                      <a:pt x="0" y="24515"/>
                    </a:lnTo>
                    <a:lnTo>
                      <a:pt x="224" y="24851"/>
                    </a:lnTo>
                    <a:lnTo>
                      <a:pt x="560" y="25075"/>
                    </a:lnTo>
                    <a:lnTo>
                      <a:pt x="1455" y="25410"/>
                    </a:lnTo>
                    <a:lnTo>
                      <a:pt x="2351" y="25522"/>
                    </a:lnTo>
                    <a:lnTo>
                      <a:pt x="3470" y="25634"/>
                    </a:lnTo>
                    <a:lnTo>
                      <a:pt x="5597" y="25746"/>
                    </a:lnTo>
                    <a:lnTo>
                      <a:pt x="6493" y="25970"/>
                    </a:lnTo>
                    <a:lnTo>
                      <a:pt x="7164" y="26194"/>
                    </a:lnTo>
                    <a:lnTo>
                      <a:pt x="7612" y="26530"/>
                    </a:lnTo>
                    <a:lnTo>
                      <a:pt x="8396" y="26754"/>
                    </a:lnTo>
                    <a:lnTo>
                      <a:pt x="10187" y="27201"/>
                    </a:lnTo>
                    <a:lnTo>
                      <a:pt x="12425" y="27649"/>
                    </a:lnTo>
                    <a:lnTo>
                      <a:pt x="13545" y="27761"/>
                    </a:lnTo>
                    <a:lnTo>
                      <a:pt x="14552" y="27761"/>
                    </a:lnTo>
                    <a:lnTo>
                      <a:pt x="15448" y="27649"/>
                    </a:lnTo>
                    <a:lnTo>
                      <a:pt x="16007" y="27425"/>
                    </a:lnTo>
                    <a:lnTo>
                      <a:pt x="16679" y="27090"/>
                    </a:lnTo>
                    <a:lnTo>
                      <a:pt x="17463" y="26866"/>
                    </a:lnTo>
                    <a:lnTo>
                      <a:pt x="18918" y="26530"/>
                    </a:lnTo>
                    <a:lnTo>
                      <a:pt x="20373" y="26306"/>
                    </a:lnTo>
                    <a:lnTo>
                      <a:pt x="21828" y="26306"/>
                    </a:lnTo>
                    <a:lnTo>
                      <a:pt x="23283" y="26194"/>
                    </a:lnTo>
                    <a:lnTo>
                      <a:pt x="24627" y="25970"/>
                    </a:lnTo>
                    <a:lnTo>
                      <a:pt x="25298" y="25746"/>
                    </a:lnTo>
                    <a:lnTo>
                      <a:pt x="25970" y="25522"/>
                    </a:lnTo>
                    <a:lnTo>
                      <a:pt x="26530" y="25187"/>
                    </a:lnTo>
                    <a:lnTo>
                      <a:pt x="27089" y="24851"/>
                    </a:lnTo>
                    <a:lnTo>
                      <a:pt x="27201" y="24627"/>
                    </a:lnTo>
                    <a:lnTo>
                      <a:pt x="27201" y="24403"/>
                    </a:lnTo>
                    <a:lnTo>
                      <a:pt x="27313" y="23731"/>
                    </a:lnTo>
                    <a:lnTo>
                      <a:pt x="27089" y="22724"/>
                    </a:lnTo>
                    <a:lnTo>
                      <a:pt x="26865" y="21493"/>
                    </a:lnTo>
                    <a:lnTo>
                      <a:pt x="26082" y="18470"/>
                    </a:lnTo>
                    <a:lnTo>
                      <a:pt x="24962" y="15000"/>
                    </a:lnTo>
                    <a:lnTo>
                      <a:pt x="22612" y="7724"/>
                    </a:lnTo>
                    <a:lnTo>
                      <a:pt x="20709" y="2463"/>
                    </a:lnTo>
                    <a:lnTo>
                      <a:pt x="20485" y="1791"/>
                    </a:lnTo>
                    <a:lnTo>
                      <a:pt x="19701" y="1344"/>
                    </a:lnTo>
                    <a:lnTo>
                      <a:pt x="18806" y="896"/>
                    </a:lnTo>
                    <a:lnTo>
                      <a:pt x="17686" y="448"/>
                    </a:lnTo>
                    <a:lnTo>
                      <a:pt x="16343" y="112"/>
                    </a:lnTo>
                    <a:lnTo>
                      <a:pt x="14888" y="0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7" name="Google Shape;1997;p16">
                <a:extLst>
                  <a:ext uri="{FF2B5EF4-FFF2-40B4-BE49-F238E27FC236}">
                    <a16:creationId xmlns:a16="http://schemas.microsoft.com/office/drawing/2014/main" id="{E08A6D85-8856-5FB9-8CAC-119969DA0BD9}"/>
                  </a:ext>
                </a:extLst>
              </p:cNvPr>
              <p:cNvSpPr/>
              <p:nvPr/>
            </p:nvSpPr>
            <p:spPr>
              <a:xfrm>
                <a:off x="1974200" y="2524475"/>
                <a:ext cx="682850" cy="694050"/>
              </a:xfrm>
              <a:custGeom>
                <a:avLst/>
                <a:gdLst/>
                <a:ahLst/>
                <a:cxnLst/>
                <a:rect l="l" t="t" r="r" b="b"/>
                <a:pathLst>
                  <a:path w="27314" h="27762" fill="none" extrusionOk="0">
                    <a:moveTo>
                      <a:pt x="27089" y="24851"/>
                    </a:moveTo>
                    <a:lnTo>
                      <a:pt x="27089" y="24851"/>
                    </a:lnTo>
                    <a:lnTo>
                      <a:pt x="26530" y="25187"/>
                    </a:lnTo>
                    <a:lnTo>
                      <a:pt x="25970" y="25522"/>
                    </a:lnTo>
                    <a:lnTo>
                      <a:pt x="25298" y="25746"/>
                    </a:lnTo>
                    <a:lnTo>
                      <a:pt x="24627" y="25970"/>
                    </a:lnTo>
                    <a:lnTo>
                      <a:pt x="23283" y="26194"/>
                    </a:lnTo>
                    <a:lnTo>
                      <a:pt x="21828" y="26306"/>
                    </a:lnTo>
                    <a:lnTo>
                      <a:pt x="20373" y="26306"/>
                    </a:lnTo>
                    <a:lnTo>
                      <a:pt x="18918" y="26530"/>
                    </a:lnTo>
                    <a:lnTo>
                      <a:pt x="17463" y="26866"/>
                    </a:lnTo>
                    <a:lnTo>
                      <a:pt x="16679" y="27090"/>
                    </a:lnTo>
                    <a:lnTo>
                      <a:pt x="16007" y="27425"/>
                    </a:lnTo>
                    <a:lnTo>
                      <a:pt x="16007" y="27425"/>
                    </a:lnTo>
                    <a:lnTo>
                      <a:pt x="15448" y="27649"/>
                    </a:lnTo>
                    <a:lnTo>
                      <a:pt x="14552" y="27761"/>
                    </a:lnTo>
                    <a:lnTo>
                      <a:pt x="13545" y="27761"/>
                    </a:lnTo>
                    <a:lnTo>
                      <a:pt x="12425" y="27649"/>
                    </a:lnTo>
                    <a:lnTo>
                      <a:pt x="10187" y="27201"/>
                    </a:lnTo>
                    <a:lnTo>
                      <a:pt x="8396" y="26754"/>
                    </a:lnTo>
                    <a:lnTo>
                      <a:pt x="8396" y="26754"/>
                    </a:lnTo>
                    <a:lnTo>
                      <a:pt x="7612" y="26530"/>
                    </a:lnTo>
                    <a:lnTo>
                      <a:pt x="7164" y="26194"/>
                    </a:lnTo>
                    <a:lnTo>
                      <a:pt x="7164" y="26194"/>
                    </a:lnTo>
                    <a:lnTo>
                      <a:pt x="6493" y="25970"/>
                    </a:lnTo>
                    <a:lnTo>
                      <a:pt x="5597" y="25746"/>
                    </a:lnTo>
                    <a:lnTo>
                      <a:pt x="3470" y="25634"/>
                    </a:lnTo>
                    <a:lnTo>
                      <a:pt x="2351" y="25522"/>
                    </a:lnTo>
                    <a:lnTo>
                      <a:pt x="1455" y="25410"/>
                    </a:lnTo>
                    <a:lnTo>
                      <a:pt x="560" y="25075"/>
                    </a:lnTo>
                    <a:lnTo>
                      <a:pt x="224" y="24851"/>
                    </a:lnTo>
                    <a:lnTo>
                      <a:pt x="0" y="24515"/>
                    </a:lnTo>
                    <a:lnTo>
                      <a:pt x="0" y="24515"/>
                    </a:lnTo>
                    <a:lnTo>
                      <a:pt x="1343" y="22948"/>
                    </a:lnTo>
                    <a:lnTo>
                      <a:pt x="2463" y="21381"/>
                    </a:lnTo>
                    <a:lnTo>
                      <a:pt x="3470" y="19813"/>
                    </a:lnTo>
                    <a:lnTo>
                      <a:pt x="4142" y="18246"/>
                    </a:lnTo>
                    <a:lnTo>
                      <a:pt x="4813" y="16791"/>
                    </a:lnTo>
                    <a:lnTo>
                      <a:pt x="5261" y="15336"/>
                    </a:lnTo>
                    <a:lnTo>
                      <a:pt x="6045" y="12537"/>
                    </a:lnTo>
                    <a:lnTo>
                      <a:pt x="6605" y="9739"/>
                    </a:lnTo>
                    <a:lnTo>
                      <a:pt x="7276" y="7052"/>
                    </a:lnTo>
                    <a:lnTo>
                      <a:pt x="7724" y="5821"/>
                    </a:lnTo>
                    <a:lnTo>
                      <a:pt x="8172" y="4478"/>
                    </a:lnTo>
                    <a:lnTo>
                      <a:pt x="8843" y="3246"/>
                    </a:lnTo>
                    <a:lnTo>
                      <a:pt x="9627" y="2015"/>
                    </a:lnTo>
                    <a:lnTo>
                      <a:pt x="9627" y="2015"/>
                    </a:lnTo>
                    <a:lnTo>
                      <a:pt x="9627" y="2015"/>
                    </a:lnTo>
                    <a:lnTo>
                      <a:pt x="9627" y="2015"/>
                    </a:lnTo>
                    <a:lnTo>
                      <a:pt x="9627" y="2015"/>
                    </a:lnTo>
                    <a:lnTo>
                      <a:pt x="10634" y="1120"/>
                    </a:lnTo>
                    <a:lnTo>
                      <a:pt x="11642" y="560"/>
                    </a:lnTo>
                    <a:lnTo>
                      <a:pt x="11642" y="560"/>
                    </a:lnTo>
                    <a:lnTo>
                      <a:pt x="12537" y="224"/>
                    </a:lnTo>
                    <a:lnTo>
                      <a:pt x="13321" y="112"/>
                    </a:lnTo>
                    <a:lnTo>
                      <a:pt x="14104" y="0"/>
                    </a:lnTo>
                    <a:lnTo>
                      <a:pt x="14888" y="0"/>
                    </a:lnTo>
                    <a:lnTo>
                      <a:pt x="16343" y="112"/>
                    </a:lnTo>
                    <a:lnTo>
                      <a:pt x="17686" y="448"/>
                    </a:lnTo>
                    <a:lnTo>
                      <a:pt x="18806" y="896"/>
                    </a:lnTo>
                    <a:lnTo>
                      <a:pt x="19701" y="1344"/>
                    </a:lnTo>
                    <a:lnTo>
                      <a:pt x="20485" y="1791"/>
                    </a:lnTo>
                    <a:lnTo>
                      <a:pt x="20485" y="1791"/>
                    </a:lnTo>
                    <a:lnTo>
                      <a:pt x="20709" y="2463"/>
                    </a:lnTo>
                    <a:lnTo>
                      <a:pt x="20709" y="2463"/>
                    </a:lnTo>
                    <a:lnTo>
                      <a:pt x="22612" y="7724"/>
                    </a:lnTo>
                    <a:lnTo>
                      <a:pt x="24962" y="15000"/>
                    </a:lnTo>
                    <a:lnTo>
                      <a:pt x="26082" y="18470"/>
                    </a:lnTo>
                    <a:lnTo>
                      <a:pt x="26865" y="21493"/>
                    </a:lnTo>
                    <a:lnTo>
                      <a:pt x="27089" y="22724"/>
                    </a:lnTo>
                    <a:lnTo>
                      <a:pt x="27313" y="23731"/>
                    </a:lnTo>
                    <a:lnTo>
                      <a:pt x="27201" y="24403"/>
                    </a:lnTo>
                    <a:lnTo>
                      <a:pt x="27201" y="24627"/>
                    </a:lnTo>
                    <a:lnTo>
                      <a:pt x="27089" y="2485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8" name="Google Shape;1998;p16">
                <a:extLst>
                  <a:ext uri="{FF2B5EF4-FFF2-40B4-BE49-F238E27FC236}">
                    <a16:creationId xmlns:a16="http://schemas.microsoft.com/office/drawing/2014/main" id="{65210628-D38E-5A4C-D548-807F7ECC8F84}"/>
                  </a:ext>
                </a:extLst>
              </p:cNvPr>
              <p:cNvSpPr/>
              <p:nvPr/>
            </p:nvSpPr>
            <p:spPr>
              <a:xfrm>
                <a:off x="1814675" y="2051525"/>
                <a:ext cx="1060650" cy="551325"/>
              </a:xfrm>
              <a:custGeom>
                <a:avLst/>
                <a:gdLst/>
                <a:ahLst/>
                <a:cxnLst/>
                <a:rect l="l" t="t" r="r" b="b"/>
                <a:pathLst>
                  <a:path w="42426" h="22053" extrusionOk="0">
                    <a:moveTo>
                      <a:pt x="40634" y="1"/>
                    </a:moveTo>
                    <a:lnTo>
                      <a:pt x="37164" y="2015"/>
                    </a:lnTo>
                    <a:lnTo>
                      <a:pt x="34814" y="3247"/>
                    </a:lnTo>
                    <a:lnTo>
                      <a:pt x="33806" y="3695"/>
                    </a:lnTo>
                    <a:lnTo>
                      <a:pt x="33135" y="3918"/>
                    </a:lnTo>
                    <a:lnTo>
                      <a:pt x="32239" y="4030"/>
                    </a:lnTo>
                    <a:lnTo>
                      <a:pt x="30896" y="3918"/>
                    </a:lnTo>
                    <a:lnTo>
                      <a:pt x="27426" y="3583"/>
                    </a:lnTo>
                    <a:lnTo>
                      <a:pt x="24851" y="3247"/>
                    </a:lnTo>
                    <a:lnTo>
                      <a:pt x="23508" y="3135"/>
                    </a:lnTo>
                    <a:lnTo>
                      <a:pt x="22164" y="3135"/>
                    </a:lnTo>
                    <a:lnTo>
                      <a:pt x="20821" y="3023"/>
                    </a:lnTo>
                    <a:lnTo>
                      <a:pt x="20262" y="3023"/>
                    </a:lnTo>
                    <a:lnTo>
                      <a:pt x="19814" y="3135"/>
                    </a:lnTo>
                    <a:lnTo>
                      <a:pt x="19254" y="3359"/>
                    </a:lnTo>
                    <a:lnTo>
                      <a:pt x="18694" y="3695"/>
                    </a:lnTo>
                    <a:lnTo>
                      <a:pt x="17239" y="4590"/>
                    </a:lnTo>
                    <a:lnTo>
                      <a:pt x="16008" y="5597"/>
                    </a:lnTo>
                    <a:lnTo>
                      <a:pt x="15112" y="6157"/>
                    </a:lnTo>
                    <a:lnTo>
                      <a:pt x="14329" y="6605"/>
                    </a:lnTo>
                    <a:lnTo>
                      <a:pt x="13545" y="7277"/>
                    </a:lnTo>
                    <a:lnTo>
                      <a:pt x="12090" y="8508"/>
                    </a:lnTo>
                    <a:lnTo>
                      <a:pt x="11306" y="9068"/>
                    </a:lnTo>
                    <a:lnTo>
                      <a:pt x="10523" y="9515"/>
                    </a:lnTo>
                    <a:lnTo>
                      <a:pt x="9739" y="9851"/>
                    </a:lnTo>
                    <a:lnTo>
                      <a:pt x="8844" y="10075"/>
                    </a:lnTo>
                    <a:lnTo>
                      <a:pt x="6605" y="10075"/>
                    </a:lnTo>
                    <a:lnTo>
                      <a:pt x="3918" y="9851"/>
                    </a:lnTo>
                    <a:lnTo>
                      <a:pt x="1680" y="9515"/>
                    </a:lnTo>
                    <a:lnTo>
                      <a:pt x="560" y="9291"/>
                    </a:lnTo>
                    <a:lnTo>
                      <a:pt x="336" y="9403"/>
                    </a:lnTo>
                    <a:lnTo>
                      <a:pt x="224" y="9739"/>
                    </a:lnTo>
                    <a:lnTo>
                      <a:pt x="1" y="10747"/>
                    </a:lnTo>
                    <a:lnTo>
                      <a:pt x="1" y="11866"/>
                    </a:lnTo>
                    <a:lnTo>
                      <a:pt x="113" y="12314"/>
                    </a:lnTo>
                    <a:lnTo>
                      <a:pt x="224" y="12538"/>
                    </a:lnTo>
                    <a:lnTo>
                      <a:pt x="1344" y="12650"/>
                    </a:lnTo>
                    <a:lnTo>
                      <a:pt x="3471" y="12985"/>
                    </a:lnTo>
                    <a:lnTo>
                      <a:pt x="6157" y="13321"/>
                    </a:lnTo>
                    <a:lnTo>
                      <a:pt x="8732" y="13321"/>
                    </a:lnTo>
                    <a:lnTo>
                      <a:pt x="9292" y="13209"/>
                    </a:lnTo>
                    <a:lnTo>
                      <a:pt x="10299" y="12874"/>
                    </a:lnTo>
                    <a:lnTo>
                      <a:pt x="12650" y="11754"/>
                    </a:lnTo>
                    <a:lnTo>
                      <a:pt x="15000" y="10635"/>
                    </a:lnTo>
                    <a:lnTo>
                      <a:pt x="15896" y="10299"/>
                    </a:lnTo>
                    <a:lnTo>
                      <a:pt x="16568" y="10299"/>
                    </a:lnTo>
                    <a:lnTo>
                      <a:pt x="17127" y="10523"/>
                    </a:lnTo>
                    <a:lnTo>
                      <a:pt x="17463" y="10971"/>
                    </a:lnTo>
                    <a:lnTo>
                      <a:pt x="17799" y="11530"/>
                    </a:lnTo>
                    <a:lnTo>
                      <a:pt x="18023" y="12314"/>
                    </a:lnTo>
                    <a:lnTo>
                      <a:pt x="18135" y="13209"/>
                    </a:lnTo>
                    <a:lnTo>
                      <a:pt x="18135" y="14217"/>
                    </a:lnTo>
                    <a:lnTo>
                      <a:pt x="18023" y="15224"/>
                    </a:lnTo>
                    <a:lnTo>
                      <a:pt x="17799" y="16456"/>
                    </a:lnTo>
                    <a:lnTo>
                      <a:pt x="17687" y="17015"/>
                    </a:lnTo>
                    <a:lnTo>
                      <a:pt x="17351" y="18135"/>
                    </a:lnTo>
                    <a:lnTo>
                      <a:pt x="17015" y="19142"/>
                    </a:lnTo>
                    <a:lnTo>
                      <a:pt x="16568" y="20150"/>
                    </a:lnTo>
                    <a:lnTo>
                      <a:pt x="16008" y="20933"/>
                    </a:lnTo>
                    <a:lnTo>
                      <a:pt x="15896" y="21045"/>
                    </a:lnTo>
                    <a:lnTo>
                      <a:pt x="16008" y="21269"/>
                    </a:lnTo>
                    <a:lnTo>
                      <a:pt x="16456" y="21493"/>
                    </a:lnTo>
                    <a:lnTo>
                      <a:pt x="17239" y="21605"/>
                    </a:lnTo>
                    <a:lnTo>
                      <a:pt x="18247" y="21829"/>
                    </a:lnTo>
                    <a:lnTo>
                      <a:pt x="19366" y="21941"/>
                    </a:lnTo>
                    <a:lnTo>
                      <a:pt x="21829" y="22053"/>
                    </a:lnTo>
                    <a:lnTo>
                      <a:pt x="24179" y="22053"/>
                    </a:lnTo>
                    <a:lnTo>
                      <a:pt x="26082" y="21829"/>
                    </a:lnTo>
                    <a:lnTo>
                      <a:pt x="26642" y="21717"/>
                    </a:lnTo>
                    <a:lnTo>
                      <a:pt x="26978" y="21605"/>
                    </a:lnTo>
                    <a:lnTo>
                      <a:pt x="27090" y="21381"/>
                    </a:lnTo>
                    <a:lnTo>
                      <a:pt x="27090" y="20597"/>
                    </a:lnTo>
                    <a:lnTo>
                      <a:pt x="26978" y="19590"/>
                    </a:lnTo>
                    <a:lnTo>
                      <a:pt x="26530" y="17239"/>
                    </a:lnTo>
                    <a:lnTo>
                      <a:pt x="26082" y="14888"/>
                    </a:lnTo>
                    <a:lnTo>
                      <a:pt x="25858" y="13433"/>
                    </a:lnTo>
                    <a:lnTo>
                      <a:pt x="25970" y="12874"/>
                    </a:lnTo>
                    <a:lnTo>
                      <a:pt x="26082" y="12426"/>
                    </a:lnTo>
                    <a:lnTo>
                      <a:pt x="26642" y="11530"/>
                    </a:lnTo>
                    <a:lnTo>
                      <a:pt x="27090" y="10635"/>
                    </a:lnTo>
                    <a:lnTo>
                      <a:pt x="27314" y="10075"/>
                    </a:lnTo>
                    <a:lnTo>
                      <a:pt x="27314" y="9403"/>
                    </a:lnTo>
                    <a:lnTo>
                      <a:pt x="27314" y="9068"/>
                    </a:lnTo>
                    <a:lnTo>
                      <a:pt x="27202" y="8620"/>
                    </a:lnTo>
                    <a:lnTo>
                      <a:pt x="26754" y="8172"/>
                    </a:lnTo>
                    <a:lnTo>
                      <a:pt x="26642" y="7948"/>
                    </a:lnTo>
                    <a:lnTo>
                      <a:pt x="26530" y="7724"/>
                    </a:lnTo>
                    <a:lnTo>
                      <a:pt x="26642" y="7500"/>
                    </a:lnTo>
                    <a:lnTo>
                      <a:pt x="26866" y="7277"/>
                    </a:lnTo>
                    <a:lnTo>
                      <a:pt x="27985" y="7277"/>
                    </a:lnTo>
                    <a:lnTo>
                      <a:pt x="30112" y="7500"/>
                    </a:lnTo>
                    <a:lnTo>
                      <a:pt x="32127" y="7612"/>
                    </a:lnTo>
                    <a:lnTo>
                      <a:pt x="33582" y="7612"/>
                    </a:lnTo>
                    <a:lnTo>
                      <a:pt x="34478" y="7389"/>
                    </a:lnTo>
                    <a:lnTo>
                      <a:pt x="35597" y="6717"/>
                    </a:lnTo>
                    <a:lnTo>
                      <a:pt x="38508" y="5038"/>
                    </a:lnTo>
                    <a:lnTo>
                      <a:pt x="42425" y="2575"/>
                    </a:lnTo>
                    <a:lnTo>
                      <a:pt x="42425" y="2463"/>
                    </a:lnTo>
                    <a:lnTo>
                      <a:pt x="42313" y="2127"/>
                    </a:lnTo>
                    <a:lnTo>
                      <a:pt x="41866" y="1120"/>
                    </a:lnTo>
                    <a:lnTo>
                      <a:pt x="41194" y="224"/>
                    </a:lnTo>
                    <a:lnTo>
                      <a:pt x="40858" y="1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9" name="Google Shape;1999;p16">
                <a:extLst>
                  <a:ext uri="{FF2B5EF4-FFF2-40B4-BE49-F238E27FC236}">
                    <a16:creationId xmlns:a16="http://schemas.microsoft.com/office/drawing/2014/main" id="{2648E43B-8967-7312-3F0D-9286738C3C90}"/>
                  </a:ext>
                </a:extLst>
              </p:cNvPr>
              <p:cNvSpPr/>
              <p:nvPr/>
            </p:nvSpPr>
            <p:spPr>
              <a:xfrm>
                <a:off x="1814675" y="2051525"/>
                <a:ext cx="1060650" cy="551325"/>
              </a:xfrm>
              <a:custGeom>
                <a:avLst/>
                <a:gdLst/>
                <a:ahLst/>
                <a:cxnLst/>
                <a:rect l="l" t="t" r="r" b="b"/>
                <a:pathLst>
                  <a:path w="42426" h="22053" fill="none" extrusionOk="0">
                    <a:moveTo>
                      <a:pt x="42425" y="2575"/>
                    </a:moveTo>
                    <a:lnTo>
                      <a:pt x="42425" y="2575"/>
                    </a:lnTo>
                    <a:lnTo>
                      <a:pt x="38508" y="5038"/>
                    </a:lnTo>
                    <a:lnTo>
                      <a:pt x="35597" y="6717"/>
                    </a:lnTo>
                    <a:lnTo>
                      <a:pt x="34478" y="7389"/>
                    </a:lnTo>
                    <a:lnTo>
                      <a:pt x="33582" y="7612"/>
                    </a:lnTo>
                    <a:lnTo>
                      <a:pt x="33582" y="7612"/>
                    </a:lnTo>
                    <a:lnTo>
                      <a:pt x="33023" y="7612"/>
                    </a:lnTo>
                    <a:lnTo>
                      <a:pt x="32127" y="7612"/>
                    </a:lnTo>
                    <a:lnTo>
                      <a:pt x="30112" y="7500"/>
                    </a:lnTo>
                    <a:lnTo>
                      <a:pt x="30112" y="7500"/>
                    </a:lnTo>
                    <a:lnTo>
                      <a:pt x="27985" y="7277"/>
                    </a:lnTo>
                    <a:lnTo>
                      <a:pt x="27202" y="7277"/>
                    </a:lnTo>
                    <a:lnTo>
                      <a:pt x="26866" y="7277"/>
                    </a:lnTo>
                    <a:lnTo>
                      <a:pt x="26866" y="7277"/>
                    </a:lnTo>
                    <a:lnTo>
                      <a:pt x="26642" y="7500"/>
                    </a:lnTo>
                    <a:lnTo>
                      <a:pt x="26530" y="7724"/>
                    </a:lnTo>
                    <a:lnTo>
                      <a:pt x="26642" y="7948"/>
                    </a:lnTo>
                    <a:lnTo>
                      <a:pt x="26754" y="8172"/>
                    </a:lnTo>
                    <a:lnTo>
                      <a:pt x="27202" y="8620"/>
                    </a:lnTo>
                    <a:lnTo>
                      <a:pt x="27314" y="9068"/>
                    </a:lnTo>
                    <a:lnTo>
                      <a:pt x="27314" y="9403"/>
                    </a:lnTo>
                    <a:lnTo>
                      <a:pt x="27314" y="9403"/>
                    </a:lnTo>
                    <a:lnTo>
                      <a:pt x="27314" y="10075"/>
                    </a:lnTo>
                    <a:lnTo>
                      <a:pt x="27090" y="10635"/>
                    </a:lnTo>
                    <a:lnTo>
                      <a:pt x="26642" y="11530"/>
                    </a:lnTo>
                    <a:lnTo>
                      <a:pt x="26082" y="12426"/>
                    </a:lnTo>
                    <a:lnTo>
                      <a:pt x="25970" y="12874"/>
                    </a:lnTo>
                    <a:lnTo>
                      <a:pt x="25858" y="13433"/>
                    </a:lnTo>
                    <a:lnTo>
                      <a:pt x="25858" y="13433"/>
                    </a:lnTo>
                    <a:lnTo>
                      <a:pt x="26082" y="14888"/>
                    </a:lnTo>
                    <a:lnTo>
                      <a:pt x="26530" y="17239"/>
                    </a:lnTo>
                    <a:lnTo>
                      <a:pt x="26978" y="19590"/>
                    </a:lnTo>
                    <a:lnTo>
                      <a:pt x="27090" y="20597"/>
                    </a:lnTo>
                    <a:lnTo>
                      <a:pt x="27090" y="21381"/>
                    </a:lnTo>
                    <a:lnTo>
                      <a:pt x="27090" y="21381"/>
                    </a:lnTo>
                    <a:lnTo>
                      <a:pt x="26978" y="21605"/>
                    </a:lnTo>
                    <a:lnTo>
                      <a:pt x="26978" y="21605"/>
                    </a:lnTo>
                    <a:lnTo>
                      <a:pt x="26642" y="21717"/>
                    </a:lnTo>
                    <a:lnTo>
                      <a:pt x="26082" y="21829"/>
                    </a:lnTo>
                    <a:lnTo>
                      <a:pt x="24179" y="22053"/>
                    </a:lnTo>
                    <a:lnTo>
                      <a:pt x="21829" y="22053"/>
                    </a:lnTo>
                    <a:lnTo>
                      <a:pt x="19366" y="21941"/>
                    </a:lnTo>
                    <a:lnTo>
                      <a:pt x="19366" y="21941"/>
                    </a:lnTo>
                    <a:lnTo>
                      <a:pt x="18247" y="21829"/>
                    </a:lnTo>
                    <a:lnTo>
                      <a:pt x="18247" y="21829"/>
                    </a:lnTo>
                    <a:lnTo>
                      <a:pt x="17239" y="21605"/>
                    </a:lnTo>
                    <a:lnTo>
                      <a:pt x="16456" y="21493"/>
                    </a:lnTo>
                    <a:lnTo>
                      <a:pt x="16008" y="21269"/>
                    </a:lnTo>
                    <a:lnTo>
                      <a:pt x="15896" y="21045"/>
                    </a:lnTo>
                    <a:lnTo>
                      <a:pt x="16008" y="20933"/>
                    </a:lnTo>
                    <a:lnTo>
                      <a:pt x="16008" y="20933"/>
                    </a:lnTo>
                    <a:lnTo>
                      <a:pt x="16008" y="20933"/>
                    </a:lnTo>
                    <a:lnTo>
                      <a:pt x="16008" y="20933"/>
                    </a:lnTo>
                    <a:lnTo>
                      <a:pt x="16008" y="20933"/>
                    </a:lnTo>
                    <a:lnTo>
                      <a:pt x="16568" y="20150"/>
                    </a:lnTo>
                    <a:lnTo>
                      <a:pt x="17015" y="19142"/>
                    </a:lnTo>
                    <a:lnTo>
                      <a:pt x="17351" y="18135"/>
                    </a:lnTo>
                    <a:lnTo>
                      <a:pt x="17687" y="17015"/>
                    </a:lnTo>
                    <a:lnTo>
                      <a:pt x="17687" y="17015"/>
                    </a:lnTo>
                    <a:lnTo>
                      <a:pt x="17687" y="17015"/>
                    </a:lnTo>
                    <a:lnTo>
                      <a:pt x="17799" y="16456"/>
                    </a:lnTo>
                    <a:lnTo>
                      <a:pt x="17799" y="16456"/>
                    </a:lnTo>
                    <a:lnTo>
                      <a:pt x="18023" y="15224"/>
                    </a:lnTo>
                    <a:lnTo>
                      <a:pt x="18135" y="14217"/>
                    </a:lnTo>
                    <a:lnTo>
                      <a:pt x="18135" y="13209"/>
                    </a:lnTo>
                    <a:lnTo>
                      <a:pt x="18023" y="12314"/>
                    </a:lnTo>
                    <a:lnTo>
                      <a:pt x="17799" y="11530"/>
                    </a:lnTo>
                    <a:lnTo>
                      <a:pt x="17463" y="10971"/>
                    </a:lnTo>
                    <a:lnTo>
                      <a:pt x="17127" y="10523"/>
                    </a:lnTo>
                    <a:lnTo>
                      <a:pt x="16568" y="10299"/>
                    </a:lnTo>
                    <a:lnTo>
                      <a:pt x="16568" y="10299"/>
                    </a:lnTo>
                    <a:lnTo>
                      <a:pt x="16344" y="10299"/>
                    </a:lnTo>
                    <a:lnTo>
                      <a:pt x="15896" y="10299"/>
                    </a:lnTo>
                    <a:lnTo>
                      <a:pt x="15000" y="10635"/>
                    </a:lnTo>
                    <a:lnTo>
                      <a:pt x="12650" y="11754"/>
                    </a:lnTo>
                    <a:lnTo>
                      <a:pt x="10299" y="12874"/>
                    </a:lnTo>
                    <a:lnTo>
                      <a:pt x="9292" y="13209"/>
                    </a:lnTo>
                    <a:lnTo>
                      <a:pt x="8732" y="13321"/>
                    </a:lnTo>
                    <a:lnTo>
                      <a:pt x="8732" y="13321"/>
                    </a:lnTo>
                    <a:lnTo>
                      <a:pt x="6157" y="13321"/>
                    </a:lnTo>
                    <a:lnTo>
                      <a:pt x="3471" y="12985"/>
                    </a:lnTo>
                    <a:lnTo>
                      <a:pt x="1344" y="12650"/>
                    </a:lnTo>
                    <a:lnTo>
                      <a:pt x="224" y="12538"/>
                    </a:lnTo>
                    <a:lnTo>
                      <a:pt x="224" y="12538"/>
                    </a:lnTo>
                    <a:lnTo>
                      <a:pt x="113" y="12314"/>
                    </a:lnTo>
                    <a:lnTo>
                      <a:pt x="1" y="11866"/>
                    </a:lnTo>
                    <a:lnTo>
                      <a:pt x="1" y="10747"/>
                    </a:lnTo>
                    <a:lnTo>
                      <a:pt x="224" y="9739"/>
                    </a:lnTo>
                    <a:lnTo>
                      <a:pt x="336" y="9403"/>
                    </a:lnTo>
                    <a:lnTo>
                      <a:pt x="560" y="9291"/>
                    </a:lnTo>
                    <a:lnTo>
                      <a:pt x="560" y="9291"/>
                    </a:lnTo>
                    <a:lnTo>
                      <a:pt x="1680" y="9515"/>
                    </a:lnTo>
                    <a:lnTo>
                      <a:pt x="3918" y="9851"/>
                    </a:lnTo>
                    <a:lnTo>
                      <a:pt x="6605" y="10075"/>
                    </a:lnTo>
                    <a:lnTo>
                      <a:pt x="7836" y="10075"/>
                    </a:lnTo>
                    <a:lnTo>
                      <a:pt x="8844" y="10075"/>
                    </a:lnTo>
                    <a:lnTo>
                      <a:pt x="8844" y="10075"/>
                    </a:lnTo>
                    <a:lnTo>
                      <a:pt x="9739" y="9851"/>
                    </a:lnTo>
                    <a:lnTo>
                      <a:pt x="10523" y="9515"/>
                    </a:lnTo>
                    <a:lnTo>
                      <a:pt x="11306" y="9068"/>
                    </a:lnTo>
                    <a:lnTo>
                      <a:pt x="12090" y="8508"/>
                    </a:lnTo>
                    <a:lnTo>
                      <a:pt x="13545" y="7277"/>
                    </a:lnTo>
                    <a:lnTo>
                      <a:pt x="14329" y="6605"/>
                    </a:lnTo>
                    <a:lnTo>
                      <a:pt x="15112" y="6157"/>
                    </a:lnTo>
                    <a:lnTo>
                      <a:pt x="15112" y="6157"/>
                    </a:lnTo>
                    <a:lnTo>
                      <a:pt x="16008" y="5597"/>
                    </a:lnTo>
                    <a:lnTo>
                      <a:pt x="17239" y="4590"/>
                    </a:lnTo>
                    <a:lnTo>
                      <a:pt x="18694" y="3695"/>
                    </a:lnTo>
                    <a:lnTo>
                      <a:pt x="19254" y="3359"/>
                    </a:lnTo>
                    <a:lnTo>
                      <a:pt x="19814" y="3135"/>
                    </a:lnTo>
                    <a:lnTo>
                      <a:pt x="19814" y="3135"/>
                    </a:lnTo>
                    <a:lnTo>
                      <a:pt x="20262" y="3023"/>
                    </a:lnTo>
                    <a:lnTo>
                      <a:pt x="20821" y="3023"/>
                    </a:lnTo>
                    <a:lnTo>
                      <a:pt x="22164" y="3135"/>
                    </a:lnTo>
                    <a:lnTo>
                      <a:pt x="22164" y="3135"/>
                    </a:lnTo>
                    <a:lnTo>
                      <a:pt x="23508" y="3135"/>
                    </a:lnTo>
                    <a:lnTo>
                      <a:pt x="23508" y="3135"/>
                    </a:lnTo>
                    <a:lnTo>
                      <a:pt x="24851" y="3247"/>
                    </a:lnTo>
                    <a:lnTo>
                      <a:pt x="27426" y="3583"/>
                    </a:lnTo>
                    <a:lnTo>
                      <a:pt x="27426" y="3583"/>
                    </a:lnTo>
                    <a:lnTo>
                      <a:pt x="30896" y="3918"/>
                    </a:lnTo>
                    <a:lnTo>
                      <a:pt x="32239" y="4030"/>
                    </a:lnTo>
                    <a:lnTo>
                      <a:pt x="33135" y="3918"/>
                    </a:lnTo>
                    <a:lnTo>
                      <a:pt x="33135" y="3918"/>
                    </a:lnTo>
                    <a:lnTo>
                      <a:pt x="33806" y="3695"/>
                    </a:lnTo>
                    <a:lnTo>
                      <a:pt x="34814" y="3247"/>
                    </a:lnTo>
                    <a:lnTo>
                      <a:pt x="37164" y="2015"/>
                    </a:lnTo>
                    <a:lnTo>
                      <a:pt x="40634" y="1"/>
                    </a:lnTo>
                    <a:lnTo>
                      <a:pt x="40634" y="1"/>
                    </a:lnTo>
                    <a:lnTo>
                      <a:pt x="40858" y="1"/>
                    </a:lnTo>
                    <a:lnTo>
                      <a:pt x="41194" y="224"/>
                    </a:lnTo>
                    <a:lnTo>
                      <a:pt x="41866" y="1120"/>
                    </a:lnTo>
                    <a:lnTo>
                      <a:pt x="42313" y="2127"/>
                    </a:lnTo>
                    <a:lnTo>
                      <a:pt x="42425" y="2463"/>
                    </a:lnTo>
                    <a:lnTo>
                      <a:pt x="42425" y="2575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0" name="Google Shape;2000;p16">
                <a:extLst>
                  <a:ext uri="{FF2B5EF4-FFF2-40B4-BE49-F238E27FC236}">
                    <a16:creationId xmlns:a16="http://schemas.microsoft.com/office/drawing/2014/main" id="{90098F17-8536-DE94-9907-86F20DBCA0B1}"/>
                  </a:ext>
                </a:extLst>
              </p:cNvPr>
              <p:cNvSpPr/>
              <p:nvPr/>
            </p:nvSpPr>
            <p:spPr>
              <a:xfrm>
                <a:off x="2312800" y="2020750"/>
                <a:ext cx="86775" cy="170725"/>
              </a:xfrm>
              <a:custGeom>
                <a:avLst/>
                <a:gdLst/>
                <a:ahLst/>
                <a:cxnLst/>
                <a:rect l="l" t="t" r="r" b="b"/>
                <a:pathLst>
                  <a:path w="3471" h="6829" extrusionOk="0">
                    <a:moveTo>
                      <a:pt x="2016" y="0"/>
                    </a:moveTo>
                    <a:lnTo>
                      <a:pt x="1904" y="112"/>
                    </a:lnTo>
                    <a:lnTo>
                      <a:pt x="1680" y="560"/>
                    </a:lnTo>
                    <a:lnTo>
                      <a:pt x="560" y="3135"/>
                    </a:lnTo>
                    <a:lnTo>
                      <a:pt x="1" y="4478"/>
                    </a:lnTo>
                    <a:lnTo>
                      <a:pt x="225" y="4926"/>
                    </a:lnTo>
                    <a:lnTo>
                      <a:pt x="560" y="5261"/>
                    </a:lnTo>
                    <a:lnTo>
                      <a:pt x="1008" y="5597"/>
                    </a:lnTo>
                    <a:lnTo>
                      <a:pt x="2239" y="6381"/>
                    </a:lnTo>
                    <a:lnTo>
                      <a:pt x="2799" y="6717"/>
                    </a:lnTo>
                    <a:lnTo>
                      <a:pt x="3247" y="6828"/>
                    </a:lnTo>
                    <a:lnTo>
                      <a:pt x="3359" y="6828"/>
                    </a:lnTo>
                    <a:lnTo>
                      <a:pt x="3471" y="6605"/>
                    </a:lnTo>
                    <a:lnTo>
                      <a:pt x="3471" y="6045"/>
                    </a:lnTo>
                    <a:lnTo>
                      <a:pt x="3359" y="5485"/>
                    </a:lnTo>
                    <a:lnTo>
                      <a:pt x="3247" y="4926"/>
                    </a:lnTo>
                    <a:lnTo>
                      <a:pt x="3023" y="4590"/>
                    </a:lnTo>
                    <a:lnTo>
                      <a:pt x="2911" y="3918"/>
                    </a:lnTo>
                    <a:lnTo>
                      <a:pt x="2911" y="3135"/>
                    </a:lnTo>
                    <a:lnTo>
                      <a:pt x="3023" y="2015"/>
                    </a:lnTo>
                    <a:lnTo>
                      <a:pt x="2911" y="1567"/>
                    </a:lnTo>
                    <a:lnTo>
                      <a:pt x="2575" y="672"/>
                    </a:lnTo>
                    <a:lnTo>
                      <a:pt x="2351" y="224"/>
                    </a:lnTo>
                    <a:lnTo>
                      <a:pt x="2128" y="0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1" name="Google Shape;2001;p16">
                <a:extLst>
                  <a:ext uri="{FF2B5EF4-FFF2-40B4-BE49-F238E27FC236}">
                    <a16:creationId xmlns:a16="http://schemas.microsoft.com/office/drawing/2014/main" id="{BB650B42-3443-BE6C-884F-E47BB3529E24}"/>
                  </a:ext>
                </a:extLst>
              </p:cNvPr>
              <p:cNvSpPr/>
              <p:nvPr/>
            </p:nvSpPr>
            <p:spPr>
              <a:xfrm>
                <a:off x="2312800" y="2020750"/>
                <a:ext cx="86775" cy="170725"/>
              </a:xfrm>
              <a:custGeom>
                <a:avLst/>
                <a:gdLst/>
                <a:ahLst/>
                <a:cxnLst/>
                <a:rect l="l" t="t" r="r" b="b"/>
                <a:pathLst>
                  <a:path w="3471" h="6829" fill="none" extrusionOk="0">
                    <a:moveTo>
                      <a:pt x="3023" y="2015"/>
                    </a:moveTo>
                    <a:lnTo>
                      <a:pt x="3023" y="2015"/>
                    </a:lnTo>
                    <a:lnTo>
                      <a:pt x="2911" y="3135"/>
                    </a:lnTo>
                    <a:lnTo>
                      <a:pt x="2911" y="3918"/>
                    </a:lnTo>
                    <a:lnTo>
                      <a:pt x="3023" y="4590"/>
                    </a:lnTo>
                    <a:lnTo>
                      <a:pt x="3247" y="4926"/>
                    </a:lnTo>
                    <a:lnTo>
                      <a:pt x="3247" y="4926"/>
                    </a:lnTo>
                    <a:lnTo>
                      <a:pt x="3359" y="5485"/>
                    </a:lnTo>
                    <a:lnTo>
                      <a:pt x="3471" y="6045"/>
                    </a:lnTo>
                    <a:lnTo>
                      <a:pt x="3471" y="6605"/>
                    </a:lnTo>
                    <a:lnTo>
                      <a:pt x="3359" y="6828"/>
                    </a:lnTo>
                    <a:lnTo>
                      <a:pt x="3247" y="6828"/>
                    </a:lnTo>
                    <a:lnTo>
                      <a:pt x="3247" y="6828"/>
                    </a:lnTo>
                    <a:lnTo>
                      <a:pt x="2799" y="6717"/>
                    </a:lnTo>
                    <a:lnTo>
                      <a:pt x="2239" y="6381"/>
                    </a:lnTo>
                    <a:lnTo>
                      <a:pt x="1008" y="5597"/>
                    </a:lnTo>
                    <a:lnTo>
                      <a:pt x="1008" y="5597"/>
                    </a:lnTo>
                    <a:lnTo>
                      <a:pt x="560" y="5261"/>
                    </a:lnTo>
                    <a:lnTo>
                      <a:pt x="225" y="4926"/>
                    </a:lnTo>
                    <a:lnTo>
                      <a:pt x="1" y="4478"/>
                    </a:lnTo>
                    <a:lnTo>
                      <a:pt x="1" y="4478"/>
                    </a:lnTo>
                    <a:lnTo>
                      <a:pt x="560" y="3135"/>
                    </a:lnTo>
                    <a:lnTo>
                      <a:pt x="1680" y="560"/>
                    </a:lnTo>
                    <a:lnTo>
                      <a:pt x="1680" y="560"/>
                    </a:lnTo>
                    <a:lnTo>
                      <a:pt x="1904" y="112"/>
                    </a:lnTo>
                    <a:lnTo>
                      <a:pt x="2016" y="0"/>
                    </a:lnTo>
                    <a:lnTo>
                      <a:pt x="2128" y="0"/>
                    </a:lnTo>
                    <a:lnTo>
                      <a:pt x="2351" y="224"/>
                    </a:lnTo>
                    <a:lnTo>
                      <a:pt x="2575" y="672"/>
                    </a:lnTo>
                    <a:lnTo>
                      <a:pt x="2911" y="1567"/>
                    </a:lnTo>
                    <a:lnTo>
                      <a:pt x="3023" y="2015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2" name="Google Shape;2002;p16">
                <a:extLst>
                  <a:ext uri="{FF2B5EF4-FFF2-40B4-BE49-F238E27FC236}">
                    <a16:creationId xmlns:a16="http://schemas.microsoft.com/office/drawing/2014/main" id="{77FAE176-D2C3-9CEF-AA98-FCC85563352E}"/>
                  </a:ext>
                </a:extLst>
              </p:cNvPr>
              <p:cNvSpPr/>
              <p:nvPr/>
            </p:nvSpPr>
            <p:spPr>
              <a:xfrm>
                <a:off x="2385575" y="2071125"/>
                <a:ext cx="2825" cy="39200"/>
              </a:xfrm>
              <a:custGeom>
                <a:avLst/>
                <a:gdLst/>
                <a:ahLst/>
                <a:cxnLst/>
                <a:rect l="l" t="t" r="r" b="b"/>
                <a:pathLst>
                  <a:path w="113" h="1568" extrusionOk="0">
                    <a:moveTo>
                      <a:pt x="112" y="0"/>
                    </a:moveTo>
                    <a:lnTo>
                      <a:pt x="0" y="896"/>
                    </a:lnTo>
                    <a:lnTo>
                      <a:pt x="0" y="1567"/>
                    </a:lnTo>
                    <a:lnTo>
                      <a:pt x="112" y="0"/>
                    </a:lnTo>
                    <a:close/>
                  </a:path>
                </a:pathLst>
              </a:custGeom>
              <a:solidFill>
                <a:srgbClr val="C9C6C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3" name="Google Shape;2003;p16">
                <a:extLst>
                  <a:ext uri="{FF2B5EF4-FFF2-40B4-BE49-F238E27FC236}">
                    <a16:creationId xmlns:a16="http://schemas.microsoft.com/office/drawing/2014/main" id="{C923AD43-EB99-4CE6-8E8D-B0D94A79B1A7}"/>
                  </a:ext>
                </a:extLst>
              </p:cNvPr>
              <p:cNvSpPr/>
              <p:nvPr/>
            </p:nvSpPr>
            <p:spPr>
              <a:xfrm>
                <a:off x="2385575" y="2071125"/>
                <a:ext cx="2825" cy="39200"/>
              </a:xfrm>
              <a:custGeom>
                <a:avLst/>
                <a:gdLst/>
                <a:ahLst/>
                <a:cxnLst/>
                <a:rect l="l" t="t" r="r" b="b"/>
                <a:pathLst>
                  <a:path w="113" h="1568" fill="none" extrusionOk="0">
                    <a:moveTo>
                      <a:pt x="112" y="0"/>
                    </a:moveTo>
                    <a:lnTo>
                      <a:pt x="112" y="0"/>
                    </a:lnTo>
                    <a:lnTo>
                      <a:pt x="0" y="1567"/>
                    </a:lnTo>
                    <a:lnTo>
                      <a:pt x="0" y="1567"/>
                    </a:lnTo>
                    <a:lnTo>
                      <a:pt x="0" y="1567"/>
                    </a:lnTo>
                    <a:lnTo>
                      <a:pt x="0" y="1567"/>
                    </a:lnTo>
                    <a:lnTo>
                      <a:pt x="0" y="896"/>
                    </a:lnTo>
                    <a:lnTo>
                      <a:pt x="0" y="896"/>
                    </a:lnTo>
                    <a:lnTo>
                      <a:pt x="11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4" name="Google Shape;2004;p16">
                <a:extLst>
                  <a:ext uri="{FF2B5EF4-FFF2-40B4-BE49-F238E27FC236}">
                    <a16:creationId xmlns:a16="http://schemas.microsoft.com/office/drawing/2014/main" id="{2769AD9F-0599-5D76-B613-E2C5E54D83EB}"/>
                  </a:ext>
                </a:extLst>
              </p:cNvPr>
              <p:cNvSpPr/>
              <p:nvPr/>
            </p:nvSpPr>
            <p:spPr>
              <a:xfrm>
                <a:off x="2354775" y="2062725"/>
                <a:ext cx="33625" cy="47600"/>
              </a:xfrm>
              <a:custGeom>
                <a:avLst/>
                <a:gdLst/>
                <a:ahLst/>
                <a:cxnLst/>
                <a:rect l="l" t="t" r="r" b="b"/>
                <a:pathLst>
                  <a:path w="1345" h="1904" extrusionOk="0">
                    <a:moveTo>
                      <a:pt x="337" y="0"/>
                    </a:moveTo>
                    <a:lnTo>
                      <a:pt x="225" y="112"/>
                    </a:lnTo>
                    <a:lnTo>
                      <a:pt x="113" y="336"/>
                    </a:lnTo>
                    <a:lnTo>
                      <a:pt x="1" y="672"/>
                    </a:lnTo>
                    <a:lnTo>
                      <a:pt x="113" y="1008"/>
                    </a:lnTo>
                    <a:lnTo>
                      <a:pt x="449" y="1456"/>
                    </a:lnTo>
                    <a:lnTo>
                      <a:pt x="784" y="1679"/>
                    </a:lnTo>
                    <a:lnTo>
                      <a:pt x="1232" y="1903"/>
                    </a:lnTo>
                    <a:lnTo>
                      <a:pt x="1344" y="336"/>
                    </a:lnTo>
                    <a:lnTo>
                      <a:pt x="896" y="224"/>
                    </a:lnTo>
                    <a:lnTo>
                      <a:pt x="896" y="112"/>
                    </a:lnTo>
                    <a:lnTo>
                      <a:pt x="449" y="112"/>
                    </a:lnTo>
                    <a:lnTo>
                      <a:pt x="337" y="0"/>
                    </a:lnTo>
                    <a:close/>
                  </a:path>
                </a:pathLst>
              </a:custGeom>
              <a:solidFill>
                <a:srgbClr val="C7919A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5" name="Google Shape;2005;p16">
                <a:extLst>
                  <a:ext uri="{FF2B5EF4-FFF2-40B4-BE49-F238E27FC236}">
                    <a16:creationId xmlns:a16="http://schemas.microsoft.com/office/drawing/2014/main" id="{43B961CE-35A8-4E1C-CB14-398858FE708B}"/>
                  </a:ext>
                </a:extLst>
              </p:cNvPr>
              <p:cNvSpPr/>
              <p:nvPr/>
            </p:nvSpPr>
            <p:spPr>
              <a:xfrm>
                <a:off x="2354775" y="2062725"/>
                <a:ext cx="33625" cy="47600"/>
              </a:xfrm>
              <a:custGeom>
                <a:avLst/>
                <a:gdLst/>
                <a:ahLst/>
                <a:cxnLst/>
                <a:rect l="l" t="t" r="r" b="b"/>
                <a:pathLst>
                  <a:path w="1345" h="1904" fill="none" extrusionOk="0">
                    <a:moveTo>
                      <a:pt x="337" y="0"/>
                    </a:moveTo>
                    <a:lnTo>
                      <a:pt x="337" y="0"/>
                    </a:lnTo>
                    <a:lnTo>
                      <a:pt x="225" y="112"/>
                    </a:lnTo>
                    <a:lnTo>
                      <a:pt x="113" y="336"/>
                    </a:lnTo>
                    <a:lnTo>
                      <a:pt x="1" y="672"/>
                    </a:lnTo>
                    <a:lnTo>
                      <a:pt x="113" y="1008"/>
                    </a:lnTo>
                    <a:lnTo>
                      <a:pt x="113" y="1008"/>
                    </a:lnTo>
                    <a:lnTo>
                      <a:pt x="449" y="1456"/>
                    </a:lnTo>
                    <a:lnTo>
                      <a:pt x="784" y="1679"/>
                    </a:lnTo>
                    <a:lnTo>
                      <a:pt x="1232" y="1903"/>
                    </a:lnTo>
                    <a:lnTo>
                      <a:pt x="1232" y="1903"/>
                    </a:lnTo>
                    <a:lnTo>
                      <a:pt x="1344" y="336"/>
                    </a:lnTo>
                    <a:lnTo>
                      <a:pt x="1344" y="336"/>
                    </a:lnTo>
                    <a:lnTo>
                      <a:pt x="1344" y="336"/>
                    </a:lnTo>
                    <a:lnTo>
                      <a:pt x="1344" y="336"/>
                    </a:lnTo>
                    <a:lnTo>
                      <a:pt x="896" y="224"/>
                    </a:lnTo>
                    <a:lnTo>
                      <a:pt x="896" y="224"/>
                    </a:lnTo>
                    <a:lnTo>
                      <a:pt x="896" y="112"/>
                    </a:lnTo>
                    <a:lnTo>
                      <a:pt x="896" y="112"/>
                    </a:lnTo>
                    <a:lnTo>
                      <a:pt x="784" y="112"/>
                    </a:lnTo>
                    <a:lnTo>
                      <a:pt x="784" y="112"/>
                    </a:lnTo>
                    <a:lnTo>
                      <a:pt x="784" y="112"/>
                    </a:lnTo>
                    <a:lnTo>
                      <a:pt x="784" y="112"/>
                    </a:lnTo>
                    <a:lnTo>
                      <a:pt x="560" y="112"/>
                    </a:lnTo>
                    <a:lnTo>
                      <a:pt x="449" y="112"/>
                    </a:lnTo>
                    <a:lnTo>
                      <a:pt x="449" y="112"/>
                    </a:lnTo>
                    <a:lnTo>
                      <a:pt x="337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6" name="Google Shape;2006;p16">
                <a:extLst>
                  <a:ext uri="{FF2B5EF4-FFF2-40B4-BE49-F238E27FC236}">
                    <a16:creationId xmlns:a16="http://schemas.microsoft.com/office/drawing/2014/main" id="{77849851-3F25-C839-86E1-BA85265EF3C7}"/>
                  </a:ext>
                </a:extLst>
              </p:cNvPr>
              <p:cNvSpPr/>
              <p:nvPr/>
            </p:nvSpPr>
            <p:spPr>
              <a:xfrm>
                <a:off x="1974200" y="2574850"/>
                <a:ext cx="296650" cy="618475"/>
              </a:xfrm>
              <a:custGeom>
                <a:avLst/>
                <a:gdLst/>
                <a:ahLst/>
                <a:cxnLst/>
                <a:rect l="l" t="t" r="r" b="b"/>
                <a:pathLst>
                  <a:path w="11866" h="24739" extrusionOk="0">
                    <a:moveTo>
                      <a:pt x="9627" y="0"/>
                    </a:moveTo>
                    <a:lnTo>
                      <a:pt x="9515" y="112"/>
                    </a:lnTo>
                    <a:lnTo>
                      <a:pt x="9533" y="148"/>
                    </a:lnTo>
                    <a:lnTo>
                      <a:pt x="9627" y="0"/>
                    </a:lnTo>
                    <a:close/>
                    <a:moveTo>
                      <a:pt x="9533" y="148"/>
                    </a:moveTo>
                    <a:lnTo>
                      <a:pt x="8843" y="1231"/>
                    </a:lnTo>
                    <a:lnTo>
                      <a:pt x="8172" y="2463"/>
                    </a:lnTo>
                    <a:lnTo>
                      <a:pt x="7724" y="3806"/>
                    </a:lnTo>
                    <a:lnTo>
                      <a:pt x="7276" y="5037"/>
                    </a:lnTo>
                    <a:lnTo>
                      <a:pt x="6605" y="7724"/>
                    </a:lnTo>
                    <a:lnTo>
                      <a:pt x="6045" y="10522"/>
                    </a:lnTo>
                    <a:lnTo>
                      <a:pt x="5261" y="13321"/>
                    </a:lnTo>
                    <a:lnTo>
                      <a:pt x="4813" y="14776"/>
                    </a:lnTo>
                    <a:lnTo>
                      <a:pt x="4142" y="16231"/>
                    </a:lnTo>
                    <a:lnTo>
                      <a:pt x="3470" y="17798"/>
                    </a:lnTo>
                    <a:lnTo>
                      <a:pt x="2463" y="19366"/>
                    </a:lnTo>
                    <a:lnTo>
                      <a:pt x="1343" y="20933"/>
                    </a:lnTo>
                    <a:lnTo>
                      <a:pt x="0" y="22500"/>
                    </a:lnTo>
                    <a:lnTo>
                      <a:pt x="224" y="22836"/>
                    </a:lnTo>
                    <a:lnTo>
                      <a:pt x="560" y="23060"/>
                    </a:lnTo>
                    <a:lnTo>
                      <a:pt x="1455" y="23395"/>
                    </a:lnTo>
                    <a:lnTo>
                      <a:pt x="2351" y="23507"/>
                    </a:lnTo>
                    <a:lnTo>
                      <a:pt x="3470" y="23619"/>
                    </a:lnTo>
                    <a:lnTo>
                      <a:pt x="5597" y="23731"/>
                    </a:lnTo>
                    <a:lnTo>
                      <a:pt x="6493" y="23955"/>
                    </a:lnTo>
                    <a:lnTo>
                      <a:pt x="7164" y="24179"/>
                    </a:lnTo>
                    <a:lnTo>
                      <a:pt x="7612" y="24515"/>
                    </a:lnTo>
                    <a:lnTo>
                      <a:pt x="8396" y="24739"/>
                    </a:lnTo>
                    <a:lnTo>
                      <a:pt x="8955" y="23507"/>
                    </a:lnTo>
                    <a:lnTo>
                      <a:pt x="9515" y="22164"/>
                    </a:lnTo>
                    <a:lnTo>
                      <a:pt x="9963" y="20821"/>
                    </a:lnTo>
                    <a:lnTo>
                      <a:pt x="10298" y="19366"/>
                    </a:lnTo>
                    <a:lnTo>
                      <a:pt x="10970" y="16231"/>
                    </a:lnTo>
                    <a:lnTo>
                      <a:pt x="11418" y="13097"/>
                    </a:lnTo>
                    <a:lnTo>
                      <a:pt x="11754" y="9963"/>
                    </a:lnTo>
                    <a:lnTo>
                      <a:pt x="11866" y="6828"/>
                    </a:lnTo>
                    <a:lnTo>
                      <a:pt x="11866" y="3694"/>
                    </a:lnTo>
                    <a:lnTo>
                      <a:pt x="11866" y="896"/>
                    </a:lnTo>
                    <a:lnTo>
                      <a:pt x="10858" y="672"/>
                    </a:lnTo>
                    <a:lnTo>
                      <a:pt x="10075" y="560"/>
                    </a:lnTo>
                    <a:lnTo>
                      <a:pt x="9627" y="336"/>
                    </a:lnTo>
                    <a:lnTo>
                      <a:pt x="9533" y="148"/>
                    </a:lnTo>
                    <a:close/>
                  </a:path>
                </a:pathLst>
              </a:custGeom>
              <a:solidFill>
                <a:srgbClr val="B5482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7" name="Google Shape;2007;p16">
                <a:extLst>
                  <a:ext uri="{FF2B5EF4-FFF2-40B4-BE49-F238E27FC236}">
                    <a16:creationId xmlns:a16="http://schemas.microsoft.com/office/drawing/2014/main" id="{2EFB2F71-4E8B-9FAE-29B3-1BB9178AC498}"/>
                  </a:ext>
                </a:extLst>
              </p:cNvPr>
              <p:cNvSpPr/>
              <p:nvPr/>
            </p:nvSpPr>
            <p:spPr>
              <a:xfrm>
                <a:off x="1974200" y="2574850"/>
                <a:ext cx="296650" cy="618475"/>
              </a:xfrm>
              <a:custGeom>
                <a:avLst/>
                <a:gdLst/>
                <a:ahLst/>
                <a:cxnLst/>
                <a:rect l="l" t="t" r="r" b="b"/>
                <a:pathLst>
                  <a:path w="11866" h="24739" fill="none" extrusionOk="0">
                    <a:moveTo>
                      <a:pt x="9627" y="0"/>
                    </a:moveTo>
                    <a:lnTo>
                      <a:pt x="9627" y="0"/>
                    </a:lnTo>
                    <a:lnTo>
                      <a:pt x="8843" y="1231"/>
                    </a:lnTo>
                    <a:lnTo>
                      <a:pt x="8172" y="2463"/>
                    </a:lnTo>
                    <a:lnTo>
                      <a:pt x="7724" y="3806"/>
                    </a:lnTo>
                    <a:lnTo>
                      <a:pt x="7276" y="5037"/>
                    </a:lnTo>
                    <a:lnTo>
                      <a:pt x="6605" y="7724"/>
                    </a:lnTo>
                    <a:lnTo>
                      <a:pt x="6045" y="10522"/>
                    </a:lnTo>
                    <a:lnTo>
                      <a:pt x="5261" y="13321"/>
                    </a:lnTo>
                    <a:lnTo>
                      <a:pt x="4813" y="14776"/>
                    </a:lnTo>
                    <a:lnTo>
                      <a:pt x="4142" y="16231"/>
                    </a:lnTo>
                    <a:lnTo>
                      <a:pt x="3470" y="17798"/>
                    </a:lnTo>
                    <a:lnTo>
                      <a:pt x="2463" y="19366"/>
                    </a:lnTo>
                    <a:lnTo>
                      <a:pt x="1343" y="20933"/>
                    </a:lnTo>
                    <a:lnTo>
                      <a:pt x="0" y="22500"/>
                    </a:lnTo>
                    <a:lnTo>
                      <a:pt x="0" y="22500"/>
                    </a:lnTo>
                    <a:lnTo>
                      <a:pt x="224" y="22836"/>
                    </a:lnTo>
                    <a:lnTo>
                      <a:pt x="560" y="23060"/>
                    </a:lnTo>
                    <a:lnTo>
                      <a:pt x="1455" y="23395"/>
                    </a:lnTo>
                    <a:lnTo>
                      <a:pt x="2351" y="23507"/>
                    </a:lnTo>
                    <a:lnTo>
                      <a:pt x="3470" y="23619"/>
                    </a:lnTo>
                    <a:lnTo>
                      <a:pt x="5597" y="23731"/>
                    </a:lnTo>
                    <a:lnTo>
                      <a:pt x="6493" y="23955"/>
                    </a:lnTo>
                    <a:lnTo>
                      <a:pt x="7164" y="24179"/>
                    </a:lnTo>
                    <a:lnTo>
                      <a:pt x="7164" y="24179"/>
                    </a:lnTo>
                    <a:lnTo>
                      <a:pt x="7612" y="24515"/>
                    </a:lnTo>
                    <a:lnTo>
                      <a:pt x="8396" y="24739"/>
                    </a:lnTo>
                    <a:lnTo>
                      <a:pt x="8396" y="24739"/>
                    </a:lnTo>
                    <a:lnTo>
                      <a:pt x="8955" y="23507"/>
                    </a:lnTo>
                    <a:lnTo>
                      <a:pt x="9515" y="22164"/>
                    </a:lnTo>
                    <a:lnTo>
                      <a:pt x="9963" y="20821"/>
                    </a:lnTo>
                    <a:lnTo>
                      <a:pt x="10298" y="19366"/>
                    </a:lnTo>
                    <a:lnTo>
                      <a:pt x="10970" y="16231"/>
                    </a:lnTo>
                    <a:lnTo>
                      <a:pt x="11418" y="13097"/>
                    </a:lnTo>
                    <a:lnTo>
                      <a:pt x="11754" y="9963"/>
                    </a:lnTo>
                    <a:lnTo>
                      <a:pt x="11866" y="6828"/>
                    </a:lnTo>
                    <a:lnTo>
                      <a:pt x="11866" y="3694"/>
                    </a:lnTo>
                    <a:lnTo>
                      <a:pt x="11866" y="896"/>
                    </a:lnTo>
                    <a:lnTo>
                      <a:pt x="11866" y="896"/>
                    </a:lnTo>
                    <a:lnTo>
                      <a:pt x="11866" y="896"/>
                    </a:lnTo>
                    <a:lnTo>
                      <a:pt x="10858" y="672"/>
                    </a:lnTo>
                    <a:lnTo>
                      <a:pt x="10075" y="560"/>
                    </a:lnTo>
                    <a:lnTo>
                      <a:pt x="9627" y="336"/>
                    </a:lnTo>
                    <a:lnTo>
                      <a:pt x="9515" y="112"/>
                    </a:lnTo>
                    <a:lnTo>
                      <a:pt x="9627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8" name="Google Shape;2008;p16">
                <a:extLst>
                  <a:ext uri="{FF2B5EF4-FFF2-40B4-BE49-F238E27FC236}">
                    <a16:creationId xmlns:a16="http://schemas.microsoft.com/office/drawing/2014/main" id="{0EC5E461-8B71-B790-20E1-B8B782356E57}"/>
                  </a:ext>
                </a:extLst>
              </p:cNvPr>
              <p:cNvSpPr/>
              <p:nvPr/>
            </p:nvSpPr>
            <p:spPr>
              <a:xfrm>
                <a:off x="2212050" y="2462900"/>
                <a:ext cx="58800" cy="134350"/>
              </a:xfrm>
              <a:custGeom>
                <a:avLst/>
                <a:gdLst/>
                <a:ahLst/>
                <a:cxnLst/>
                <a:rect l="l" t="t" r="r" b="b"/>
                <a:pathLst>
                  <a:path w="2352" h="5374" extrusionOk="0">
                    <a:moveTo>
                      <a:pt x="1904" y="1"/>
                    </a:moveTo>
                    <a:lnTo>
                      <a:pt x="1792" y="560"/>
                    </a:lnTo>
                    <a:lnTo>
                      <a:pt x="1456" y="1680"/>
                    </a:lnTo>
                    <a:lnTo>
                      <a:pt x="1120" y="2687"/>
                    </a:lnTo>
                    <a:lnTo>
                      <a:pt x="673" y="3695"/>
                    </a:lnTo>
                    <a:lnTo>
                      <a:pt x="113" y="4478"/>
                    </a:lnTo>
                    <a:lnTo>
                      <a:pt x="1" y="4590"/>
                    </a:lnTo>
                    <a:lnTo>
                      <a:pt x="113" y="4814"/>
                    </a:lnTo>
                    <a:lnTo>
                      <a:pt x="561" y="5038"/>
                    </a:lnTo>
                    <a:lnTo>
                      <a:pt x="1344" y="5150"/>
                    </a:lnTo>
                    <a:lnTo>
                      <a:pt x="2352" y="5374"/>
                    </a:lnTo>
                    <a:lnTo>
                      <a:pt x="2352" y="5374"/>
                    </a:lnTo>
                    <a:lnTo>
                      <a:pt x="2128" y="3023"/>
                    </a:lnTo>
                    <a:lnTo>
                      <a:pt x="1904" y="1"/>
                    </a:lnTo>
                    <a:close/>
                  </a:path>
                </a:pathLst>
              </a:custGeom>
              <a:solidFill>
                <a:srgbClr val="B5482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9" name="Google Shape;2009;p16">
                <a:extLst>
                  <a:ext uri="{FF2B5EF4-FFF2-40B4-BE49-F238E27FC236}">
                    <a16:creationId xmlns:a16="http://schemas.microsoft.com/office/drawing/2014/main" id="{9440823E-1441-6989-FF1C-F9A08700B7AE}"/>
                  </a:ext>
                </a:extLst>
              </p:cNvPr>
              <p:cNvSpPr/>
              <p:nvPr/>
            </p:nvSpPr>
            <p:spPr>
              <a:xfrm>
                <a:off x="2212050" y="2462900"/>
                <a:ext cx="58800" cy="134350"/>
              </a:xfrm>
              <a:custGeom>
                <a:avLst/>
                <a:gdLst/>
                <a:ahLst/>
                <a:cxnLst/>
                <a:rect l="l" t="t" r="r" b="b"/>
                <a:pathLst>
                  <a:path w="2352" h="5374" fill="none" extrusionOk="0">
                    <a:moveTo>
                      <a:pt x="1904" y="1"/>
                    </a:moveTo>
                    <a:lnTo>
                      <a:pt x="1904" y="1"/>
                    </a:lnTo>
                    <a:lnTo>
                      <a:pt x="1904" y="1"/>
                    </a:lnTo>
                    <a:lnTo>
                      <a:pt x="1904" y="1"/>
                    </a:lnTo>
                    <a:lnTo>
                      <a:pt x="1792" y="560"/>
                    </a:lnTo>
                    <a:lnTo>
                      <a:pt x="1792" y="560"/>
                    </a:lnTo>
                    <a:lnTo>
                      <a:pt x="1792" y="560"/>
                    </a:lnTo>
                    <a:lnTo>
                      <a:pt x="1792" y="560"/>
                    </a:lnTo>
                    <a:lnTo>
                      <a:pt x="1456" y="1680"/>
                    </a:lnTo>
                    <a:lnTo>
                      <a:pt x="1120" y="2687"/>
                    </a:lnTo>
                    <a:lnTo>
                      <a:pt x="673" y="3695"/>
                    </a:lnTo>
                    <a:lnTo>
                      <a:pt x="113" y="4478"/>
                    </a:lnTo>
                    <a:lnTo>
                      <a:pt x="113" y="4478"/>
                    </a:lnTo>
                    <a:lnTo>
                      <a:pt x="113" y="4478"/>
                    </a:lnTo>
                    <a:lnTo>
                      <a:pt x="113" y="4478"/>
                    </a:lnTo>
                    <a:lnTo>
                      <a:pt x="113" y="4478"/>
                    </a:lnTo>
                    <a:lnTo>
                      <a:pt x="113" y="4478"/>
                    </a:lnTo>
                    <a:lnTo>
                      <a:pt x="1" y="4590"/>
                    </a:lnTo>
                    <a:lnTo>
                      <a:pt x="113" y="4814"/>
                    </a:lnTo>
                    <a:lnTo>
                      <a:pt x="561" y="5038"/>
                    </a:lnTo>
                    <a:lnTo>
                      <a:pt x="1344" y="5150"/>
                    </a:lnTo>
                    <a:lnTo>
                      <a:pt x="2352" y="5374"/>
                    </a:lnTo>
                    <a:lnTo>
                      <a:pt x="2352" y="5374"/>
                    </a:lnTo>
                    <a:lnTo>
                      <a:pt x="2352" y="5374"/>
                    </a:lnTo>
                    <a:lnTo>
                      <a:pt x="2352" y="5374"/>
                    </a:lnTo>
                    <a:lnTo>
                      <a:pt x="2128" y="3023"/>
                    </a:lnTo>
                    <a:lnTo>
                      <a:pt x="2128" y="3023"/>
                    </a:lnTo>
                    <a:lnTo>
                      <a:pt x="1904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0" name="Google Shape;2010;p16">
                <a:extLst>
                  <a:ext uri="{FF2B5EF4-FFF2-40B4-BE49-F238E27FC236}">
                    <a16:creationId xmlns:a16="http://schemas.microsoft.com/office/drawing/2014/main" id="{37D80BDF-2754-50D9-3830-7041ED350812}"/>
                  </a:ext>
                </a:extLst>
              </p:cNvPr>
              <p:cNvSpPr/>
              <p:nvPr/>
            </p:nvSpPr>
            <p:spPr>
              <a:xfrm>
                <a:off x="2332400" y="1981575"/>
                <a:ext cx="103575" cy="117550"/>
              </a:xfrm>
              <a:custGeom>
                <a:avLst/>
                <a:gdLst/>
                <a:ahLst/>
                <a:cxnLst/>
                <a:rect l="l" t="t" r="r" b="b"/>
                <a:pathLst>
                  <a:path w="4143" h="4702" extrusionOk="0">
                    <a:moveTo>
                      <a:pt x="0" y="0"/>
                    </a:moveTo>
                    <a:lnTo>
                      <a:pt x="448" y="2351"/>
                    </a:lnTo>
                    <a:lnTo>
                      <a:pt x="560" y="2910"/>
                    </a:lnTo>
                    <a:lnTo>
                      <a:pt x="784" y="3358"/>
                    </a:lnTo>
                    <a:lnTo>
                      <a:pt x="1008" y="3694"/>
                    </a:lnTo>
                    <a:lnTo>
                      <a:pt x="1455" y="4030"/>
                    </a:lnTo>
                    <a:lnTo>
                      <a:pt x="1791" y="4254"/>
                    </a:lnTo>
                    <a:lnTo>
                      <a:pt x="2239" y="4478"/>
                    </a:lnTo>
                    <a:lnTo>
                      <a:pt x="3358" y="4702"/>
                    </a:lnTo>
                    <a:lnTo>
                      <a:pt x="3694" y="4702"/>
                    </a:lnTo>
                    <a:lnTo>
                      <a:pt x="4030" y="4478"/>
                    </a:lnTo>
                    <a:lnTo>
                      <a:pt x="4030" y="4030"/>
                    </a:lnTo>
                    <a:lnTo>
                      <a:pt x="4030" y="3582"/>
                    </a:lnTo>
                    <a:lnTo>
                      <a:pt x="3918" y="2575"/>
                    </a:lnTo>
                    <a:lnTo>
                      <a:pt x="3918" y="2239"/>
                    </a:lnTo>
                    <a:lnTo>
                      <a:pt x="4030" y="2015"/>
                    </a:lnTo>
                    <a:lnTo>
                      <a:pt x="4142" y="2015"/>
                    </a:lnTo>
                    <a:lnTo>
                      <a:pt x="4142" y="1903"/>
                    </a:lnTo>
                    <a:lnTo>
                      <a:pt x="4030" y="1455"/>
                    </a:lnTo>
                    <a:lnTo>
                      <a:pt x="3582" y="896"/>
                    </a:lnTo>
                    <a:lnTo>
                      <a:pt x="3135" y="0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1" name="Google Shape;2011;p16">
                <a:extLst>
                  <a:ext uri="{FF2B5EF4-FFF2-40B4-BE49-F238E27FC236}">
                    <a16:creationId xmlns:a16="http://schemas.microsoft.com/office/drawing/2014/main" id="{6FEE4B4D-56B0-AF3F-8965-D14E0F63F797}"/>
                  </a:ext>
                </a:extLst>
              </p:cNvPr>
              <p:cNvSpPr/>
              <p:nvPr/>
            </p:nvSpPr>
            <p:spPr>
              <a:xfrm>
                <a:off x="2013375" y="1925600"/>
                <a:ext cx="405800" cy="246275"/>
              </a:xfrm>
              <a:custGeom>
                <a:avLst/>
                <a:gdLst/>
                <a:ahLst/>
                <a:cxnLst/>
                <a:rect l="l" t="t" r="r" b="b"/>
                <a:pathLst>
                  <a:path w="16232" h="9851" extrusionOk="0">
                    <a:moveTo>
                      <a:pt x="12649" y="0"/>
                    </a:moveTo>
                    <a:lnTo>
                      <a:pt x="12202" y="112"/>
                    </a:lnTo>
                    <a:lnTo>
                      <a:pt x="11866" y="336"/>
                    </a:lnTo>
                    <a:lnTo>
                      <a:pt x="11418" y="560"/>
                    </a:lnTo>
                    <a:lnTo>
                      <a:pt x="10858" y="1120"/>
                    </a:lnTo>
                    <a:lnTo>
                      <a:pt x="10299" y="1791"/>
                    </a:lnTo>
                    <a:lnTo>
                      <a:pt x="9403" y="3247"/>
                    </a:lnTo>
                    <a:lnTo>
                      <a:pt x="9067" y="3806"/>
                    </a:lnTo>
                    <a:lnTo>
                      <a:pt x="8731" y="4030"/>
                    </a:lnTo>
                    <a:lnTo>
                      <a:pt x="8284" y="4142"/>
                    </a:lnTo>
                    <a:lnTo>
                      <a:pt x="7836" y="4142"/>
                    </a:lnTo>
                    <a:lnTo>
                      <a:pt x="7052" y="4030"/>
                    </a:lnTo>
                    <a:lnTo>
                      <a:pt x="5709" y="3918"/>
                    </a:lnTo>
                    <a:lnTo>
                      <a:pt x="5038" y="4030"/>
                    </a:lnTo>
                    <a:lnTo>
                      <a:pt x="4590" y="4254"/>
                    </a:lnTo>
                    <a:lnTo>
                      <a:pt x="4366" y="4590"/>
                    </a:lnTo>
                    <a:lnTo>
                      <a:pt x="4254" y="4926"/>
                    </a:lnTo>
                    <a:lnTo>
                      <a:pt x="4030" y="5709"/>
                    </a:lnTo>
                    <a:lnTo>
                      <a:pt x="3918" y="5933"/>
                    </a:lnTo>
                    <a:lnTo>
                      <a:pt x="3694" y="6157"/>
                    </a:lnTo>
                    <a:lnTo>
                      <a:pt x="3358" y="6157"/>
                    </a:lnTo>
                    <a:lnTo>
                      <a:pt x="2911" y="6045"/>
                    </a:lnTo>
                    <a:lnTo>
                      <a:pt x="2463" y="5933"/>
                    </a:lnTo>
                    <a:lnTo>
                      <a:pt x="1903" y="6045"/>
                    </a:lnTo>
                    <a:lnTo>
                      <a:pt x="1232" y="6381"/>
                    </a:lnTo>
                    <a:lnTo>
                      <a:pt x="560" y="6717"/>
                    </a:lnTo>
                    <a:lnTo>
                      <a:pt x="112" y="7276"/>
                    </a:lnTo>
                    <a:lnTo>
                      <a:pt x="0" y="7500"/>
                    </a:lnTo>
                    <a:lnTo>
                      <a:pt x="0" y="7724"/>
                    </a:lnTo>
                    <a:lnTo>
                      <a:pt x="112" y="8060"/>
                    </a:lnTo>
                    <a:lnTo>
                      <a:pt x="336" y="8284"/>
                    </a:lnTo>
                    <a:lnTo>
                      <a:pt x="784" y="8620"/>
                    </a:lnTo>
                    <a:lnTo>
                      <a:pt x="1344" y="8843"/>
                    </a:lnTo>
                    <a:lnTo>
                      <a:pt x="2799" y="9403"/>
                    </a:lnTo>
                    <a:lnTo>
                      <a:pt x="4702" y="9739"/>
                    </a:lnTo>
                    <a:lnTo>
                      <a:pt x="5597" y="9739"/>
                    </a:lnTo>
                    <a:lnTo>
                      <a:pt x="6605" y="9851"/>
                    </a:lnTo>
                    <a:lnTo>
                      <a:pt x="7724" y="9739"/>
                    </a:lnTo>
                    <a:lnTo>
                      <a:pt x="8731" y="9627"/>
                    </a:lnTo>
                    <a:lnTo>
                      <a:pt x="10411" y="9179"/>
                    </a:lnTo>
                    <a:lnTo>
                      <a:pt x="11642" y="8620"/>
                    </a:lnTo>
                    <a:lnTo>
                      <a:pt x="12425" y="8060"/>
                    </a:lnTo>
                    <a:lnTo>
                      <a:pt x="12873" y="7500"/>
                    </a:lnTo>
                    <a:lnTo>
                      <a:pt x="13209" y="6941"/>
                    </a:lnTo>
                    <a:lnTo>
                      <a:pt x="13321" y="6381"/>
                    </a:lnTo>
                    <a:lnTo>
                      <a:pt x="13321" y="5933"/>
                    </a:lnTo>
                    <a:lnTo>
                      <a:pt x="13545" y="5485"/>
                    </a:lnTo>
                    <a:lnTo>
                      <a:pt x="13657" y="5149"/>
                    </a:lnTo>
                    <a:lnTo>
                      <a:pt x="13657" y="4926"/>
                    </a:lnTo>
                    <a:lnTo>
                      <a:pt x="13545" y="4702"/>
                    </a:lnTo>
                    <a:lnTo>
                      <a:pt x="13321" y="4142"/>
                    </a:lnTo>
                    <a:lnTo>
                      <a:pt x="13209" y="3918"/>
                    </a:lnTo>
                    <a:lnTo>
                      <a:pt x="13433" y="3694"/>
                    </a:lnTo>
                    <a:lnTo>
                      <a:pt x="13657" y="3582"/>
                    </a:lnTo>
                    <a:lnTo>
                      <a:pt x="13993" y="3582"/>
                    </a:lnTo>
                    <a:lnTo>
                      <a:pt x="14216" y="3806"/>
                    </a:lnTo>
                    <a:lnTo>
                      <a:pt x="14328" y="3918"/>
                    </a:lnTo>
                    <a:lnTo>
                      <a:pt x="14664" y="3918"/>
                    </a:lnTo>
                    <a:lnTo>
                      <a:pt x="14776" y="3806"/>
                    </a:lnTo>
                    <a:lnTo>
                      <a:pt x="15448" y="3358"/>
                    </a:lnTo>
                    <a:lnTo>
                      <a:pt x="15896" y="2911"/>
                    </a:lnTo>
                    <a:lnTo>
                      <a:pt x="16231" y="2463"/>
                    </a:lnTo>
                    <a:lnTo>
                      <a:pt x="16231" y="2239"/>
                    </a:lnTo>
                    <a:lnTo>
                      <a:pt x="16231" y="2015"/>
                    </a:lnTo>
                    <a:lnTo>
                      <a:pt x="16008" y="1455"/>
                    </a:lnTo>
                    <a:lnTo>
                      <a:pt x="15672" y="1008"/>
                    </a:lnTo>
                    <a:lnTo>
                      <a:pt x="15112" y="560"/>
                    </a:lnTo>
                    <a:lnTo>
                      <a:pt x="14328" y="224"/>
                    </a:lnTo>
                    <a:lnTo>
                      <a:pt x="13769" y="112"/>
                    </a:lnTo>
                    <a:lnTo>
                      <a:pt x="13209" y="0"/>
                    </a:lnTo>
                    <a:close/>
                  </a:path>
                </a:pathLst>
              </a:custGeom>
              <a:solidFill>
                <a:srgbClr val="8A3A1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2" name="Google Shape;2012;p16">
                <a:extLst>
                  <a:ext uri="{FF2B5EF4-FFF2-40B4-BE49-F238E27FC236}">
                    <a16:creationId xmlns:a16="http://schemas.microsoft.com/office/drawing/2014/main" id="{233A937E-8B61-8C9E-51DC-160E2E839FAE}"/>
                  </a:ext>
                </a:extLst>
              </p:cNvPr>
              <p:cNvSpPr/>
              <p:nvPr/>
            </p:nvSpPr>
            <p:spPr>
              <a:xfrm>
                <a:off x="3893950" y="3156925"/>
                <a:ext cx="86775" cy="145550"/>
              </a:xfrm>
              <a:custGeom>
                <a:avLst/>
                <a:gdLst/>
                <a:ahLst/>
                <a:cxnLst/>
                <a:rect l="l" t="t" r="r" b="b"/>
                <a:pathLst>
                  <a:path w="3471" h="5822" extrusionOk="0">
                    <a:moveTo>
                      <a:pt x="3246" y="0"/>
                    </a:moveTo>
                    <a:lnTo>
                      <a:pt x="0" y="112"/>
                    </a:lnTo>
                    <a:lnTo>
                      <a:pt x="448" y="4590"/>
                    </a:lnTo>
                    <a:lnTo>
                      <a:pt x="2575" y="5821"/>
                    </a:lnTo>
                    <a:lnTo>
                      <a:pt x="3470" y="4142"/>
                    </a:lnTo>
                    <a:lnTo>
                      <a:pt x="3470" y="3023"/>
                    </a:lnTo>
                    <a:lnTo>
                      <a:pt x="3358" y="1568"/>
                    </a:lnTo>
                    <a:lnTo>
                      <a:pt x="3246" y="0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3" name="Google Shape;2013;p16">
                <a:extLst>
                  <a:ext uri="{FF2B5EF4-FFF2-40B4-BE49-F238E27FC236}">
                    <a16:creationId xmlns:a16="http://schemas.microsoft.com/office/drawing/2014/main" id="{AF73B9E3-F04E-C469-9165-4B37BF16F286}"/>
                  </a:ext>
                </a:extLst>
              </p:cNvPr>
              <p:cNvSpPr/>
              <p:nvPr/>
            </p:nvSpPr>
            <p:spPr>
              <a:xfrm>
                <a:off x="3893950" y="3246475"/>
                <a:ext cx="232300" cy="95175"/>
              </a:xfrm>
              <a:custGeom>
                <a:avLst/>
                <a:gdLst/>
                <a:ahLst/>
                <a:cxnLst/>
                <a:rect l="l" t="t" r="r" b="b"/>
                <a:pathLst>
                  <a:path w="9292" h="3807" extrusionOk="0">
                    <a:moveTo>
                      <a:pt x="3694" y="1"/>
                    </a:moveTo>
                    <a:lnTo>
                      <a:pt x="2687" y="224"/>
                    </a:lnTo>
                    <a:lnTo>
                      <a:pt x="1679" y="336"/>
                    </a:lnTo>
                    <a:lnTo>
                      <a:pt x="1008" y="336"/>
                    </a:lnTo>
                    <a:lnTo>
                      <a:pt x="336" y="448"/>
                    </a:lnTo>
                    <a:lnTo>
                      <a:pt x="224" y="560"/>
                    </a:lnTo>
                    <a:lnTo>
                      <a:pt x="112" y="784"/>
                    </a:lnTo>
                    <a:lnTo>
                      <a:pt x="0" y="1456"/>
                    </a:lnTo>
                    <a:lnTo>
                      <a:pt x="0" y="2351"/>
                    </a:lnTo>
                    <a:lnTo>
                      <a:pt x="112" y="3247"/>
                    </a:lnTo>
                    <a:lnTo>
                      <a:pt x="224" y="3471"/>
                    </a:lnTo>
                    <a:lnTo>
                      <a:pt x="336" y="3695"/>
                    </a:lnTo>
                    <a:lnTo>
                      <a:pt x="560" y="3806"/>
                    </a:lnTo>
                    <a:lnTo>
                      <a:pt x="784" y="3806"/>
                    </a:lnTo>
                    <a:lnTo>
                      <a:pt x="4478" y="3695"/>
                    </a:lnTo>
                    <a:lnTo>
                      <a:pt x="6717" y="3583"/>
                    </a:lnTo>
                    <a:lnTo>
                      <a:pt x="7612" y="3359"/>
                    </a:lnTo>
                    <a:lnTo>
                      <a:pt x="8508" y="3135"/>
                    </a:lnTo>
                    <a:lnTo>
                      <a:pt x="8955" y="2911"/>
                    </a:lnTo>
                    <a:lnTo>
                      <a:pt x="9179" y="2687"/>
                    </a:lnTo>
                    <a:lnTo>
                      <a:pt x="9291" y="2351"/>
                    </a:lnTo>
                    <a:lnTo>
                      <a:pt x="9291" y="2127"/>
                    </a:lnTo>
                    <a:lnTo>
                      <a:pt x="9179" y="1792"/>
                    </a:lnTo>
                    <a:lnTo>
                      <a:pt x="9067" y="1568"/>
                    </a:lnTo>
                    <a:lnTo>
                      <a:pt x="8731" y="1344"/>
                    </a:lnTo>
                    <a:lnTo>
                      <a:pt x="7724" y="1344"/>
                    </a:lnTo>
                    <a:lnTo>
                      <a:pt x="6157" y="1456"/>
                    </a:lnTo>
                    <a:lnTo>
                      <a:pt x="5485" y="1456"/>
                    </a:lnTo>
                    <a:lnTo>
                      <a:pt x="4702" y="1344"/>
                    </a:lnTo>
                    <a:lnTo>
                      <a:pt x="4254" y="1120"/>
                    </a:lnTo>
                    <a:lnTo>
                      <a:pt x="4030" y="1008"/>
                    </a:lnTo>
                    <a:lnTo>
                      <a:pt x="4030" y="784"/>
                    </a:lnTo>
                    <a:lnTo>
                      <a:pt x="3918" y="224"/>
                    </a:lnTo>
                    <a:lnTo>
                      <a:pt x="3806" y="112"/>
                    </a:lnTo>
                    <a:lnTo>
                      <a:pt x="3694" y="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4" name="Google Shape;2014;p16">
                <a:extLst>
                  <a:ext uri="{FF2B5EF4-FFF2-40B4-BE49-F238E27FC236}">
                    <a16:creationId xmlns:a16="http://schemas.microsoft.com/office/drawing/2014/main" id="{7D2C9D02-6EDE-A217-A290-EDBA882625A9}"/>
                  </a:ext>
                </a:extLst>
              </p:cNvPr>
              <p:cNvSpPr/>
              <p:nvPr/>
            </p:nvSpPr>
            <p:spPr>
              <a:xfrm>
                <a:off x="3062800" y="3005800"/>
                <a:ext cx="142750" cy="120375"/>
              </a:xfrm>
              <a:custGeom>
                <a:avLst/>
                <a:gdLst/>
                <a:ahLst/>
                <a:cxnLst/>
                <a:rect l="l" t="t" r="r" b="b"/>
                <a:pathLst>
                  <a:path w="5710" h="4815" extrusionOk="0">
                    <a:moveTo>
                      <a:pt x="4366" y="1"/>
                    </a:moveTo>
                    <a:lnTo>
                      <a:pt x="336" y="2351"/>
                    </a:lnTo>
                    <a:lnTo>
                      <a:pt x="0" y="4814"/>
                    </a:lnTo>
                    <a:lnTo>
                      <a:pt x="1903" y="4814"/>
                    </a:lnTo>
                    <a:lnTo>
                      <a:pt x="4254" y="3583"/>
                    </a:lnTo>
                    <a:lnTo>
                      <a:pt x="5709" y="2799"/>
                    </a:lnTo>
                    <a:lnTo>
                      <a:pt x="4366" y="1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5" name="Google Shape;2015;p16">
                <a:extLst>
                  <a:ext uri="{FF2B5EF4-FFF2-40B4-BE49-F238E27FC236}">
                    <a16:creationId xmlns:a16="http://schemas.microsoft.com/office/drawing/2014/main" id="{95DA598E-1FA0-0C53-710E-B6DC6D160431}"/>
                  </a:ext>
                </a:extLst>
              </p:cNvPr>
              <p:cNvSpPr/>
              <p:nvPr/>
            </p:nvSpPr>
            <p:spPr>
              <a:xfrm>
                <a:off x="3006825" y="3056175"/>
                <a:ext cx="131550" cy="232300"/>
              </a:xfrm>
              <a:custGeom>
                <a:avLst/>
                <a:gdLst/>
                <a:ahLst/>
                <a:cxnLst/>
                <a:rect l="l" t="t" r="r" b="b"/>
                <a:pathLst>
                  <a:path w="5262" h="9292" extrusionOk="0">
                    <a:moveTo>
                      <a:pt x="2687" y="1"/>
                    </a:moveTo>
                    <a:lnTo>
                      <a:pt x="1904" y="225"/>
                    </a:lnTo>
                    <a:lnTo>
                      <a:pt x="1120" y="672"/>
                    </a:lnTo>
                    <a:lnTo>
                      <a:pt x="336" y="1232"/>
                    </a:lnTo>
                    <a:lnTo>
                      <a:pt x="112" y="1344"/>
                    </a:lnTo>
                    <a:lnTo>
                      <a:pt x="112" y="1568"/>
                    </a:lnTo>
                    <a:lnTo>
                      <a:pt x="1" y="1792"/>
                    </a:lnTo>
                    <a:lnTo>
                      <a:pt x="112" y="2016"/>
                    </a:lnTo>
                    <a:lnTo>
                      <a:pt x="3359" y="8620"/>
                    </a:lnTo>
                    <a:lnTo>
                      <a:pt x="3583" y="8956"/>
                    </a:lnTo>
                    <a:lnTo>
                      <a:pt x="3918" y="9180"/>
                    </a:lnTo>
                    <a:lnTo>
                      <a:pt x="4254" y="9292"/>
                    </a:lnTo>
                    <a:lnTo>
                      <a:pt x="4590" y="9180"/>
                    </a:lnTo>
                    <a:lnTo>
                      <a:pt x="4926" y="8956"/>
                    </a:lnTo>
                    <a:lnTo>
                      <a:pt x="5150" y="8844"/>
                    </a:lnTo>
                    <a:lnTo>
                      <a:pt x="5262" y="8620"/>
                    </a:lnTo>
                    <a:lnTo>
                      <a:pt x="5262" y="8396"/>
                    </a:lnTo>
                    <a:lnTo>
                      <a:pt x="4926" y="7501"/>
                    </a:lnTo>
                    <a:lnTo>
                      <a:pt x="4366" y="5933"/>
                    </a:lnTo>
                    <a:lnTo>
                      <a:pt x="4142" y="5150"/>
                    </a:lnTo>
                    <a:lnTo>
                      <a:pt x="3918" y="4366"/>
                    </a:lnTo>
                    <a:lnTo>
                      <a:pt x="4030" y="3807"/>
                    </a:lnTo>
                    <a:lnTo>
                      <a:pt x="4030" y="3583"/>
                    </a:lnTo>
                    <a:lnTo>
                      <a:pt x="4254" y="3359"/>
                    </a:lnTo>
                    <a:lnTo>
                      <a:pt x="4702" y="3023"/>
                    </a:lnTo>
                    <a:lnTo>
                      <a:pt x="4814" y="2911"/>
                    </a:lnTo>
                    <a:lnTo>
                      <a:pt x="4702" y="2799"/>
                    </a:lnTo>
                    <a:lnTo>
                      <a:pt x="4142" y="1904"/>
                    </a:lnTo>
                    <a:lnTo>
                      <a:pt x="3695" y="1232"/>
                    </a:lnTo>
                    <a:lnTo>
                      <a:pt x="3359" y="560"/>
                    </a:lnTo>
                    <a:lnTo>
                      <a:pt x="3023" y="113"/>
                    </a:lnTo>
                    <a:lnTo>
                      <a:pt x="2911" y="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6" name="Google Shape;2016;p16">
                <a:extLst>
                  <a:ext uri="{FF2B5EF4-FFF2-40B4-BE49-F238E27FC236}">
                    <a16:creationId xmlns:a16="http://schemas.microsoft.com/office/drawing/2014/main" id="{15A3FB0A-F8B4-1968-E7B7-36818C8EC4D0}"/>
                  </a:ext>
                </a:extLst>
              </p:cNvPr>
              <p:cNvSpPr/>
              <p:nvPr/>
            </p:nvSpPr>
            <p:spPr>
              <a:xfrm>
                <a:off x="3101975" y="2272600"/>
                <a:ext cx="920725" cy="968300"/>
              </a:xfrm>
              <a:custGeom>
                <a:avLst/>
                <a:gdLst/>
                <a:ahLst/>
                <a:cxnLst/>
                <a:rect l="l" t="t" r="r" b="b"/>
                <a:pathLst>
                  <a:path w="36829" h="38732" extrusionOk="0">
                    <a:moveTo>
                      <a:pt x="15896" y="1"/>
                    </a:moveTo>
                    <a:lnTo>
                      <a:pt x="15112" y="113"/>
                    </a:lnTo>
                    <a:lnTo>
                      <a:pt x="14329" y="225"/>
                    </a:lnTo>
                    <a:lnTo>
                      <a:pt x="13769" y="448"/>
                    </a:lnTo>
                    <a:lnTo>
                      <a:pt x="13321" y="672"/>
                    </a:lnTo>
                    <a:lnTo>
                      <a:pt x="13209" y="1008"/>
                    </a:lnTo>
                    <a:lnTo>
                      <a:pt x="12873" y="2128"/>
                    </a:lnTo>
                    <a:lnTo>
                      <a:pt x="12762" y="2687"/>
                    </a:lnTo>
                    <a:lnTo>
                      <a:pt x="12762" y="3135"/>
                    </a:lnTo>
                    <a:lnTo>
                      <a:pt x="12762" y="3695"/>
                    </a:lnTo>
                    <a:lnTo>
                      <a:pt x="13769" y="8732"/>
                    </a:lnTo>
                    <a:lnTo>
                      <a:pt x="14441" y="11754"/>
                    </a:lnTo>
                    <a:lnTo>
                      <a:pt x="15000" y="14665"/>
                    </a:lnTo>
                    <a:lnTo>
                      <a:pt x="15112" y="16120"/>
                    </a:lnTo>
                    <a:lnTo>
                      <a:pt x="15224" y="17351"/>
                    </a:lnTo>
                    <a:lnTo>
                      <a:pt x="15112" y="18583"/>
                    </a:lnTo>
                    <a:lnTo>
                      <a:pt x="14888" y="19590"/>
                    </a:lnTo>
                    <a:lnTo>
                      <a:pt x="14664" y="19926"/>
                    </a:lnTo>
                    <a:lnTo>
                      <a:pt x="14217" y="20374"/>
                    </a:lnTo>
                    <a:lnTo>
                      <a:pt x="12650" y="21493"/>
                    </a:lnTo>
                    <a:lnTo>
                      <a:pt x="10523" y="22836"/>
                    </a:lnTo>
                    <a:lnTo>
                      <a:pt x="8060" y="24403"/>
                    </a:lnTo>
                    <a:lnTo>
                      <a:pt x="3135" y="27314"/>
                    </a:lnTo>
                    <a:lnTo>
                      <a:pt x="1232" y="28545"/>
                    </a:lnTo>
                    <a:lnTo>
                      <a:pt x="560" y="29105"/>
                    </a:lnTo>
                    <a:lnTo>
                      <a:pt x="0" y="29553"/>
                    </a:lnTo>
                    <a:lnTo>
                      <a:pt x="112" y="29888"/>
                    </a:lnTo>
                    <a:lnTo>
                      <a:pt x="336" y="30448"/>
                    </a:lnTo>
                    <a:lnTo>
                      <a:pt x="1120" y="32015"/>
                    </a:lnTo>
                    <a:lnTo>
                      <a:pt x="1568" y="32799"/>
                    </a:lnTo>
                    <a:lnTo>
                      <a:pt x="2127" y="33471"/>
                    </a:lnTo>
                    <a:lnTo>
                      <a:pt x="2687" y="33806"/>
                    </a:lnTo>
                    <a:lnTo>
                      <a:pt x="2911" y="33918"/>
                    </a:lnTo>
                    <a:lnTo>
                      <a:pt x="3135" y="33918"/>
                    </a:lnTo>
                    <a:lnTo>
                      <a:pt x="5709" y="32575"/>
                    </a:lnTo>
                    <a:lnTo>
                      <a:pt x="8284" y="31008"/>
                    </a:lnTo>
                    <a:lnTo>
                      <a:pt x="11418" y="29217"/>
                    </a:lnTo>
                    <a:lnTo>
                      <a:pt x="14553" y="27202"/>
                    </a:lnTo>
                    <a:lnTo>
                      <a:pt x="17351" y="25075"/>
                    </a:lnTo>
                    <a:lnTo>
                      <a:pt x="18582" y="24180"/>
                    </a:lnTo>
                    <a:lnTo>
                      <a:pt x="19478" y="23172"/>
                    </a:lnTo>
                    <a:lnTo>
                      <a:pt x="20261" y="22389"/>
                    </a:lnTo>
                    <a:lnTo>
                      <a:pt x="20709" y="21605"/>
                    </a:lnTo>
                    <a:lnTo>
                      <a:pt x="21045" y="20374"/>
                    </a:lnTo>
                    <a:lnTo>
                      <a:pt x="21381" y="19142"/>
                    </a:lnTo>
                    <a:lnTo>
                      <a:pt x="21605" y="17799"/>
                    </a:lnTo>
                    <a:lnTo>
                      <a:pt x="21717" y="16344"/>
                    </a:lnTo>
                    <a:lnTo>
                      <a:pt x="21829" y="13321"/>
                    </a:lnTo>
                    <a:lnTo>
                      <a:pt x="21717" y="10187"/>
                    </a:lnTo>
                    <a:lnTo>
                      <a:pt x="23172" y="11754"/>
                    </a:lnTo>
                    <a:lnTo>
                      <a:pt x="26194" y="15113"/>
                    </a:lnTo>
                    <a:lnTo>
                      <a:pt x="27537" y="16904"/>
                    </a:lnTo>
                    <a:lnTo>
                      <a:pt x="28881" y="18583"/>
                    </a:lnTo>
                    <a:lnTo>
                      <a:pt x="30000" y="20150"/>
                    </a:lnTo>
                    <a:lnTo>
                      <a:pt x="30784" y="21605"/>
                    </a:lnTo>
                    <a:lnTo>
                      <a:pt x="30896" y="22053"/>
                    </a:lnTo>
                    <a:lnTo>
                      <a:pt x="31008" y="22836"/>
                    </a:lnTo>
                    <a:lnTo>
                      <a:pt x="31119" y="24739"/>
                    </a:lnTo>
                    <a:lnTo>
                      <a:pt x="31119" y="27202"/>
                    </a:lnTo>
                    <a:lnTo>
                      <a:pt x="31008" y="30000"/>
                    </a:lnTo>
                    <a:lnTo>
                      <a:pt x="30896" y="35150"/>
                    </a:lnTo>
                    <a:lnTo>
                      <a:pt x="30896" y="37165"/>
                    </a:lnTo>
                    <a:lnTo>
                      <a:pt x="31008" y="38396"/>
                    </a:lnTo>
                    <a:lnTo>
                      <a:pt x="31343" y="38508"/>
                    </a:lnTo>
                    <a:lnTo>
                      <a:pt x="32351" y="38732"/>
                    </a:lnTo>
                    <a:lnTo>
                      <a:pt x="33918" y="38732"/>
                    </a:lnTo>
                    <a:lnTo>
                      <a:pt x="34925" y="38620"/>
                    </a:lnTo>
                    <a:lnTo>
                      <a:pt x="36045" y="38284"/>
                    </a:lnTo>
                    <a:lnTo>
                      <a:pt x="36604" y="29329"/>
                    </a:lnTo>
                    <a:lnTo>
                      <a:pt x="36828" y="23060"/>
                    </a:lnTo>
                    <a:lnTo>
                      <a:pt x="36828" y="20709"/>
                    </a:lnTo>
                    <a:lnTo>
                      <a:pt x="36716" y="19142"/>
                    </a:lnTo>
                    <a:lnTo>
                      <a:pt x="36493" y="18359"/>
                    </a:lnTo>
                    <a:lnTo>
                      <a:pt x="36157" y="17575"/>
                    </a:lnTo>
                    <a:lnTo>
                      <a:pt x="35261" y="15672"/>
                    </a:lnTo>
                    <a:lnTo>
                      <a:pt x="33918" y="13545"/>
                    </a:lnTo>
                    <a:lnTo>
                      <a:pt x="32351" y="11195"/>
                    </a:lnTo>
                    <a:lnTo>
                      <a:pt x="28769" y="5934"/>
                    </a:lnTo>
                    <a:lnTo>
                      <a:pt x="24851" y="560"/>
                    </a:lnTo>
                    <a:lnTo>
                      <a:pt x="24403" y="896"/>
                    </a:lnTo>
                    <a:lnTo>
                      <a:pt x="23843" y="1232"/>
                    </a:lnTo>
                    <a:lnTo>
                      <a:pt x="23060" y="1568"/>
                    </a:lnTo>
                    <a:lnTo>
                      <a:pt x="22164" y="1792"/>
                    </a:lnTo>
                    <a:lnTo>
                      <a:pt x="21045" y="1792"/>
                    </a:lnTo>
                    <a:lnTo>
                      <a:pt x="20485" y="1568"/>
                    </a:lnTo>
                    <a:lnTo>
                      <a:pt x="19814" y="1456"/>
                    </a:lnTo>
                    <a:lnTo>
                      <a:pt x="19142" y="1120"/>
                    </a:lnTo>
                    <a:lnTo>
                      <a:pt x="18358" y="672"/>
                    </a:lnTo>
                    <a:lnTo>
                      <a:pt x="17575" y="337"/>
                    </a:lnTo>
                    <a:lnTo>
                      <a:pt x="16791" y="113"/>
                    </a:lnTo>
                    <a:lnTo>
                      <a:pt x="15896" y="1"/>
                    </a:lnTo>
                    <a:close/>
                  </a:path>
                </a:pathLst>
              </a:custGeom>
              <a:solidFill>
                <a:srgbClr val="46464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7" name="Google Shape;2017;p16">
                <a:extLst>
                  <a:ext uri="{FF2B5EF4-FFF2-40B4-BE49-F238E27FC236}">
                    <a16:creationId xmlns:a16="http://schemas.microsoft.com/office/drawing/2014/main" id="{106650C2-E77D-840C-4E42-45EE6A6F8001}"/>
                  </a:ext>
                </a:extLst>
              </p:cNvPr>
              <p:cNvSpPr/>
              <p:nvPr/>
            </p:nvSpPr>
            <p:spPr>
              <a:xfrm>
                <a:off x="3101975" y="2272600"/>
                <a:ext cx="920725" cy="968300"/>
              </a:xfrm>
              <a:custGeom>
                <a:avLst/>
                <a:gdLst/>
                <a:ahLst/>
                <a:cxnLst/>
                <a:rect l="l" t="t" r="r" b="b"/>
                <a:pathLst>
                  <a:path w="36829" h="38732" fill="none" extrusionOk="0">
                    <a:moveTo>
                      <a:pt x="36045" y="38284"/>
                    </a:moveTo>
                    <a:lnTo>
                      <a:pt x="36045" y="38284"/>
                    </a:lnTo>
                    <a:lnTo>
                      <a:pt x="34925" y="38620"/>
                    </a:lnTo>
                    <a:lnTo>
                      <a:pt x="33918" y="38732"/>
                    </a:lnTo>
                    <a:lnTo>
                      <a:pt x="33022" y="38732"/>
                    </a:lnTo>
                    <a:lnTo>
                      <a:pt x="32351" y="38732"/>
                    </a:lnTo>
                    <a:lnTo>
                      <a:pt x="31343" y="38508"/>
                    </a:lnTo>
                    <a:lnTo>
                      <a:pt x="31008" y="38396"/>
                    </a:lnTo>
                    <a:lnTo>
                      <a:pt x="31008" y="38396"/>
                    </a:lnTo>
                    <a:lnTo>
                      <a:pt x="30896" y="37165"/>
                    </a:lnTo>
                    <a:lnTo>
                      <a:pt x="30896" y="35150"/>
                    </a:lnTo>
                    <a:lnTo>
                      <a:pt x="31008" y="30000"/>
                    </a:lnTo>
                    <a:lnTo>
                      <a:pt x="31119" y="27202"/>
                    </a:lnTo>
                    <a:lnTo>
                      <a:pt x="31119" y="24739"/>
                    </a:lnTo>
                    <a:lnTo>
                      <a:pt x="31008" y="22836"/>
                    </a:lnTo>
                    <a:lnTo>
                      <a:pt x="30896" y="22053"/>
                    </a:lnTo>
                    <a:lnTo>
                      <a:pt x="30784" y="21605"/>
                    </a:lnTo>
                    <a:lnTo>
                      <a:pt x="30784" y="21605"/>
                    </a:lnTo>
                    <a:lnTo>
                      <a:pt x="30000" y="20150"/>
                    </a:lnTo>
                    <a:lnTo>
                      <a:pt x="28881" y="18583"/>
                    </a:lnTo>
                    <a:lnTo>
                      <a:pt x="27537" y="16904"/>
                    </a:lnTo>
                    <a:lnTo>
                      <a:pt x="26194" y="15113"/>
                    </a:lnTo>
                    <a:lnTo>
                      <a:pt x="26194" y="15113"/>
                    </a:lnTo>
                    <a:lnTo>
                      <a:pt x="23172" y="11754"/>
                    </a:lnTo>
                    <a:lnTo>
                      <a:pt x="21717" y="10187"/>
                    </a:lnTo>
                    <a:lnTo>
                      <a:pt x="21717" y="10187"/>
                    </a:lnTo>
                    <a:lnTo>
                      <a:pt x="21717" y="10187"/>
                    </a:lnTo>
                    <a:lnTo>
                      <a:pt x="21829" y="13321"/>
                    </a:lnTo>
                    <a:lnTo>
                      <a:pt x="21717" y="16344"/>
                    </a:lnTo>
                    <a:lnTo>
                      <a:pt x="21605" y="17799"/>
                    </a:lnTo>
                    <a:lnTo>
                      <a:pt x="21381" y="19142"/>
                    </a:lnTo>
                    <a:lnTo>
                      <a:pt x="21045" y="20374"/>
                    </a:lnTo>
                    <a:lnTo>
                      <a:pt x="20709" y="21605"/>
                    </a:lnTo>
                    <a:lnTo>
                      <a:pt x="20709" y="21605"/>
                    </a:lnTo>
                    <a:lnTo>
                      <a:pt x="20261" y="22389"/>
                    </a:lnTo>
                    <a:lnTo>
                      <a:pt x="19478" y="23172"/>
                    </a:lnTo>
                    <a:lnTo>
                      <a:pt x="18582" y="24180"/>
                    </a:lnTo>
                    <a:lnTo>
                      <a:pt x="17351" y="25075"/>
                    </a:lnTo>
                    <a:lnTo>
                      <a:pt x="14553" y="27202"/>
                    </a:lnTo>
                    <a:lnTo>
                      <a:pt x="11418" y="29217"/>
                    </a:lnTo>
                    <a:lnTo>
                      <a:pt x="8284" y="31008"/>
                    </a:lnTo>
                    <a:lnTo>
                      <a:pt x="5709" y="32575"/>
                    </a:lnTo>
                    <a:lnTo>
                      <a:pt x="3135" y="33918"/>
                    </a:lnTo>
                    <a:lnTo>
                      <a:pt x="3135" y="33918"/>
                    </a:lnTo>
                    <a:lnTo>
                      <a:pt x="2911" y="33918"/>
                    </a:lnTo>
                    <a:lnTo>
                      <a:pt x="2687" y="33806"/>
                    </a:lnTo>
                    <a:lnTo>
                      <a:pt x="2127" y="33471"/>
                    </a:lnTo>
                    <a:lnTo>
                      <a:pt x="1568" y="32799"/>
                    </a:lnTo>
                    <a:lnTo>
                      <a:pt x="1120" y="32015"/>
                    </a:lnTo>
                    <a:lnTo>
                      <a:pt x="336" y="30448"/>
                    </a:lnTo>
                    <a:lnTo>
                      <a:pt x="112" y="29888"/>
                    </a:lnTo>
                    <a:lnTo>
                      <a:pt x="0" y="29553"/>
                    </a:lnTo>
                    <a:lnTo>
                      <a:pt x="0" y="29553"/>
                    </a:lnTo>
                    <a:lnTo>
                      <a:pt x="560" y="29105"/>
                    </a:lnTo>
                    <a:lnTo>
                      <a:pt x="1232" y="28545"/>
                    </a:lnTo>
                    <a:lnTo>
                      <a:pt x="3135" y="27314"/>
                    </a:lnTo>
                    <a:lnTo>
                      <a:pt x="8060" y="24403"/>
                    </a:lnTo>
                    <a:lnTo>
                      <a:pt x="10523" y="22836"/>
                    </a:lnTo>
                    <a:lnTo>
                      <a:pt x="12650" y="21493"/>
                    </a:lnTo>
                    <a:lnTo>
                      <a:pt x="14217" y="20374"/>
                    </a:lnTo>
                    <a:lnTo>
                      <a:pt x="14664" y="19926"/>
                    </a:lnTo>
                    <a:lnTo>
                      <a:pt x="14888" y="19590"/>
                    </a:lnTo>
                    <a:lnTo>
                      <a:pt x="14888" y="19590"/>
                    </a:lnTo>
                    <a:lnTo>
                      <a:pt x="15112" y="18583"/>
                    </a:lnTo>
                    <a:lnTo>
                      <a:pt x="15224" y="17351"/>
                    </a:lnTo>
                    <a:lnTo>
                      <a:pt x="15112" y="16120"/>
                    </a:lnTo>
                    <a:lnTo>
                      <a:pt x="15000" y="14665"/>
                    </a:lnTo>
                    <a:lnTo>
                      <a:pt x="14441" y="11754"/>
                    </a:lnTo>
                    <a:lnTo>
                      <a:pt x="13769" y="8732"/>
                    </a:lnTo>
                    <a:lnTo>
                      <a:pt x="13769" y="8732"/>
                    </a:lnTo>
                    <a:lnTo>
                      <a:pt x="12762" y="3695"/>
                    </a:lnTo>
                    <a:lnTo>
                      <a:pt x="12762" y="3695"/>
                    </a:lnTo>
                    <a:lnTo>
                      <a:pt x="12762" y="3135"/>
                    </a:lnTo>
                    <a:lnTo>
                      <a:pt x="12762" y="3135"/>
                    </a:lnTo>
                    <a:lnTo>
                      <a:pt x="12762" y="2687"/>
                    </a:lnTo>
                    <a:lnTo>
                      <a:pt x="12873" y="2128"/>
                    </a:lnTo>
                    <a:lnTo>
                      <a:pt x="13209" y="1008"/>
                    </a:lnTo>
                    <a:lnTo>
                      <a:pt x="13209" y="1008"/>
                    </a:lnTo>
                    <a:lnTo>
                      <a:pt x="13321" y="672"/>
                    </a:lnTo>
                    <a:lnTo>
                      <a:pt x="13769" y="448"/>
                    </a:lnTo>
                    <a:lnTo>
                      <a:pt x="14329" y="225"/>
                    </a:lnTo>
                    <a:lnTo>
                      <a:pt x="15112" y="113"/>
                    </a:lnTo>
                    <a:lnTo>
                      <a:pt x="15896" y="1"/>
                    </a:lnTo>
                    <a:lnTo>
                      <a:pt x="16791" y="113"/>
                    </a:lnTo>
                    <a:lnTo>
                      <a:pt x="17575" y="337"/>
                    </a:lnTo>
                    <a:lnTo>
                      <a:pt x="18358" y="672"/>
                    </a:lnTo>
                    <a:lnTo>
                      <a:pt x="18358" y="672"/>
                    </a:lnTo>
                    <a:lnTo>
                      <a:pt x="19142" y="1120"/>
                    </a:lnTo>
                    <a:lnTo>
                      <a:pt x="19814" y="1456"/>
                    </a:lnTo>
                    <a:lnTo>
                      <a:pt x="20485" y="1568"/>
                    </a:lnTo>
                    <a:lnTo>
                      <a:pt x="21045" y="1792"/>
                    </a:lnTo>
                    <a:lnTo>
                      <a:pt x="21605" y="1792"/>
                    </a:lnTo>
                    <a:lnTo>
                      <a:pt x="22164" y="1792"/>
                    </a:lnTo>
                    <a:lnTo>
                      <a:pt x="23060" y="1568"/>
                    </a:lnTo>
                    <a:lnTo>
                      <a:pt x="23843" y="1232"/>
                    </a:lnTo>
                    <a:lnTo>
                      <a:pt x="24403" y="896"/>
                    </a:lnTo>
                    <a:lnTo>
                      <a:pt x="24851" y="560"/>
                    </a:lnTo>
                    <a:lnTo>
                      <a:pt x="24851" y="560"/>
                    </a:lnTo>
                    <a:lnTo>
                      <a:pt x="28769" y="5934"/>
                    </a:lnTo>
                    <a:lnTo>
                      <a:pt x="32351" y="11195"/>
                    </a:lnTo>
                    <a:lnTo>
                      <a:pt x="33918" y="13545"/>
                    </a:lnTo>
                    <a:lnTo>
                      <a:pt x="35261" y="15672"/>
                    </a:lnTo>
                    <a:lnTo>
                      <a:pt x="36157" y="17575"/>
                    </a:lnTo>
                    <a:lnTo>
                      <a:pt x="36493" y="18359"/>
                    </a:lnTo>
                    <a:lnTo>
                      <a:pt x="36716" y="19142"/>
                    </a:lnTo>
                    <a:lnTo>
                      <a:pt x="36716" y="19142"/>
                    </a:lnTo>
                    <a:lnTo>
                      <a:pt x="36828" y="20709"/>
                    </a:lnTo>
                    <a:lnTo>
                      <a:pt x="36828" y="23060"/>
                    </a:lnTo>
                    <a:lnTo>
                      <a:pt x="36604" y="29329"/>
                    </a:lnTo>
                    <a:lnTo>
                      <a:pt x="36045" y="38284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8" name="Google Shape;2018;p16">
                <a:extLst>
                  <a:ext uri="{FF2B5EF4-FFF2-40B4-BE49-F238E27FC236}">
                    <a16:creationId xmlns:a16="http://schemas.microsoft.com/office/drawing/2014/main" id="{9659F677-7716-D5D4-9655-BBD025717A26}"/>
                  </a:ext>
                </a:extLst>
              </p:cNvPr>
              <p:cNvSpPr/>
              <p:nvPr/>
            </p:nvSpPr>
            <p:spPr>
              <a:xfrm>
                <a:off x="3429400" y="2395750"/>
                <a:ext cx="106350" cy="92375"/>
              </a:xfrm>
              <a:custGeom>
                <a:avLst/>
                <a:gdLst/>
                <a:ahLst/>
                <a:cxnLst/>
                <a:rect l="l" t="t" r="r" b="b"/>
                <a:pathLst>
                  <a:path w="4254" h="3695" extrusionOk="0">
                    <a:moveTo>
                      <a:pt x="4254" y="0"/>
                    </a:moveTo>
                    <a:lnTo>
                      <a:pt x="3694" y="336"/>
                    </a:lnTo>
                    <a:lnTo>
                      <a:pt x="3135" y="560"/>
                    </a:lnTo>
                    <a:lnTo>
                      <a:pt x="2575" y="672"/>
                    </a:lnTo>
                    <a:lnTo>
                      <a:pt x="2015" y="672"/>
                    </a:lnTo>
                    <a:lnTo>
                      <a:pt x="1008" y="560"/>
                    </a:lnTo>
                    <a:lnTo>
                      <a:pt x="0" y="224"/>
                    </a:lnTo>
                    <a:lnTo>
                      <a:pt x="0" y="224"/>
                    </a:lnTo>
                    <a:lnTo>
                      <a:pt x="672" y="3694"/>
                    </a:lnTo>
                    <a:lnTo>
                      <a:pt x="1456" y="3134"/>
                    </a:lnTo>
                    <a:lnTo>
                      <a:pt x="2463" y="2239"/>
                    </a:lnTo>
                    <a:lnTo>
                      <a:pt x="3358" y="1231"/>
                    </a:lnTo>
                    <a:lnTo>
                      <a:pt x="4254" y="0"/>
                    </a:ln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9" name="Google Shape;2019;p16">
                <a:extLst>
                  <a:ext uri="{FF2B5EF4-FFF2-40B4-BE49-F238E27FC236}">
                    <a16:creationId xmlns:a16="http://schemas.microsoft.com/office/drawing/2014/main" id="{7980D28A-D292-C2BD-ADBF-5BC403643FE7}"/>
                  </a:ext>
                </a:extLst>
              </p:cNvPr>
              <p:cNvSpPr/>
              <p:nvPr/>
            </p:nvSpPr>
            <p:spPr>
              <a:xfrm>
                <a:off x="3429400" y="2395750"/>
                <a:ext cx="106350" cy="92375"/>
              </a:xfrm>
              <a:custGeom>
                <a:avLst/>
                <a:gdLst/>
                <a:ahLst/>
                <a:cxnLst/>
                <a:rect l="l" t="t" r="r" b="b"/>
                <a:pathLst>
                  <a:path w="4254" h="3695" fill="none" extrusionOk="0">
                    <a:moveTo>
                      <a:pt x="4254" y="0"/>
                    </a:moveTo>
                    <a:lnTo>
                      <a:pt x="4254" y="0"/>
                    </a:lnTo>
                    <a:lnTo>
                      <a:pt x="3694" y="336"/>
                    </a:lnTo>
                    <a:lnTo>
                      <a:pt x="3135" y="560"/>
                    </a:lnTo>
                    <a:lnTo>
                      <a:pt x="2575" y="672"/>
                    </a:lnTo>
                    <a:lnTo>
                      <a:pt x="2015" y="672"/>
                    </a:lnTo>
                    <a:lnTo>
                      <a:pt x="2015" y="672"/>
                    </a:lnTo>
                    <a:lnTo>
                      <a:pt x="1008" y="560"/>
                    </a:lnTo>
                    <a:lnTo>
                      <a:pt x="0" y="224"/>
                    </a:lnTo>
                    <a:lnTo>
                      <a:pt x="0" y="224"/>
                    </a:lnTo>
                    <a:lnTo>
                      <a:pt x="672" y="3694"/>
                    </a:lnTo>
                    <a:lnTo>
                      <a:pt x="672" y="3694"/>
                    </a:lnTo>
                    <a:lnTo>
                      <a:pt x="1456" y="3134"/>
                    </a:lnTo>
                    <a:lnTo>
                      <a:pt x="2463" y="2239"/>
                    </a:lnTo>
                    <a:lnTo>
                      <a:pt x="3358" y="1231"/>
                    </a:lnTo>
                    <a:lnTo>
                      <a:pt x="4254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0" name="Google Shape;2020;p16">
                <a:extLst>
                  <a:ext uri="{FF2B5EF4-FFF2-40B4-BE49-F238E27FC236}">
                    <a16:creationId xmlns:a16="http://schemas.microsoft.com/office/drawing/2014/main" id="{AC8ED805-CDE2-CC04-9472-D4D203B7E7A6}"/>
                  </a:ext>
                </a:extLst>
              </p:cNvPr>
              <p:cNvSpPr/>
              <p:nvPr/>
            </p:nvSpPr>
            <p:spPr>
              <a:xfrm>
                <a:off x="3642075" y="2471300"/>
                <a:ext cx="114775" cy="176325"/>
              </a:xfrm>
              <a:custGeom>
                <a:avLst/>
                <a:gdLst/>
                <a:ahLst/>
                <a:cxnLst/>
                <a:rect l="l" t="t" r="r" b="b"/>
                <a:pathLst>
                  <a:path w="4591" h="7053" extrusionOk="0">
                    <a:moveTo>
                      <a:pt x="1" y="0"/>
                    </a:moveTo>
                    <a:lnTo>
                      <a:pt x="113" y="2127"/>
                    </a:lnTo>
                    <a:lnTo>
                      <a:pt x="1568" y="3582"/>
                    </a:lnTo>
                    <a:lnTo>
                      <a:pt x="4590" y="7053"/>
                    </a:lnTo>
                    <a:lnTo>
                      <a:pt x="3919" y="5709"/>
                    </a:lnTo>
                    <a:lnTo>
                      <a:pt x="3247" y="4478"/>
                    </a:lnTo>
                    <a:lnTo>
                      <a:pt x="1680" y="2127"/>
                    </a:lnTo>
                    <a:lnTo>
                      <a:pt x="448" y="56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1" name="Google Shape;2021;p16">
                <a:extLst>
                  <a:ext uri="{FF2B5EF4-FFF2-40B4-BE49-F238E27FC236}">
                    <a16:creationId xmlns:a16="http://schemas.microsoft.com/office/drawing/2014/main" id="{5568467E-AE03-C360-139D-7C1F4B1428BB}"/>
                  </a:ext>
                </a:extLst>
              </p:cNvPr>
              <p:cNvSpPr/>
              <p:nvPr/>
            </p:nvSpPr>
            <p:spPr>
              <a:xfrm>
                <a:off x="3642075" y="2471300"/>
                <a:ext cx="114775" cy="176325"/>
              </a:xfrm>
              <a:custGeom>
                <a:avLst/>
                <a:gdLst/>
                <a:ahLst/>
                <a:cxnLst/>
                <a:rect l="l" t="t" r="r" b="b"/>
                <a:pathLst>
                  <a:path w="4591" h="7053" fill="none" extrusionOk="0">
                    <a:moveTo>
                      <a:pt x="1" y="0"/>
                    </a:moveTo>
                    <a:lnTo>
                      <a:pt x="113" y="2127"/>
                    </a:lnTo>
                    <a:lnTo>
                      <a:pt x="113" y="2127"/>
                    </a:lnTo>
                    <a:lnTo>
                      <a:pt x="113" y="2127"/>
                    </a:lnTo>
                    <a:lnTo>
                      <a:pt x="1568" y="3582"/>
                    </a:lnTo>
                    <a:lnTo>
                      <a:pt x="4590" y="7053"/>
                    </a:lnTo>
                    <a:lnTo>
                      <a:pt x="4590" y="7053"/>
                    </a:lnTo>
                    <a:lnTo>
                      <a:pt x="3919" y="5709"/>
                    </a:lnTo>
                    <a:lnTo>
                      <a:pt x="3247" y="4478"/>
                    </a:lnTo>
                    <a:lnTo>
                      <a:pt x="1680" y="2127"/>
                    </a:lnTo>
                    <a:lnTo>
                      <a:pt x="448" y="56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2" name="Google Shape;2022;p16">
                <a:extLst>
                  <a:ext uri="{FF2B5EF4-FFF2-40B4-BE49-F238E27FC236}">
                    <a16:creationId xmlns:a16="http://schemas.microsoft.com/office/drawing/2014/main" id="{FEE5BACC-0C0F-DA9C-475E-57816FE90760}"/>
                  </a:ext>
                </a:extLst>
              </p:cNvPr>
              <p:cNvSpPr/>
              <p:nvPr/>
            </p:nvSpPr>
            <p:spPr>
              <a:xfrm>
                <a:off x="3583300" y="1648550"/>
                <a:ext cx="120375" cy="190325"/>
              </a:xfrm>
              <a:custGeom>
                <a:avLst/>
                <a:gdLst/>
                <a:ahLst/>
                <a:cxnLst/>
                <a:rect l="l" t="t" r="r" b="b"/>
                <a:pathLst>
                  <a:path w="4815" h="7613" extrusionOk="0">
                    <a:moveTo>
                      <a:pt x="2687" y="0"/>
                    </a:moveTo>
                    <a:lnTo>
                      <a:pt x="2352" y="224"/>
                    </a:lnTo>
                    <a:lnTo>
                      <a:pt x="1792" y="672"/>
                    </a:lnTo>
                    <a:lnTo>
                      <a:pt x="1232" y="1344"/>
                    </a:lnTo>
                    <a:lnTo>
                      <a:pt x="1008" y="1791"/>
                    </a:lnTo>
                    <a:lnTo>
                      <a:pt x="896" y="2239"/>
                    </a:lnTo>
                    <a:lnTo>
                      <a:pt x="785" y="3247"/>
                    </a:lnTo>
                    <a:lnTo>
                      <a:pt x="449" y="4478"/>
                    </a:lnTo>
                    <a:lnTo>
                      <a:pt x="113" y="5821"/>
                    </a:lnTo>
                    <a:lnTo>
                      <a:pt x="113" y="6381"/>
                    </a:lnTo>
                    <a:lnTo>
                      <a:pt x="1" y="6941"/>
                    </a:lnTo>
                    <a:lnTo>
                      <a:pt x="2687" y="7388"/>
                    </a:lnTo>
                    <a:lnTo>
                      <a:pt x="3919" y="7612"/>
                    </a:lnTo>
                    <a:lnTo>
                      <a:pt x="4590" y="7612"/>
                    </a:lnTo>
                    <a:lnTo>
                      <a:pt x="4814" y="7500"/>
                    </a:lnTo>
                    <a:lnTo>
                      <a:pt x="4814" y="7276"/>
                    </a:lnTo>
                    <a:lnTo>
                      <a:pt x="4367" y="6829"/>
                    </a:lnTo>
                    <a:lnTo>
                      <a:pt x="4255" y="6269"/>
                    </a:lnTo>
                    <a:lnTo>
                      <a:pt x="4143" y="5709"/>
                    </a:lnTo>
                    <a:lnTo>
                      <a:pt x="4031" y="5373"/>
                    </a:lnTo>
                    <a:lnTo>
                      <a:pt x="3807" y="4814"/>
                    </a:lnTo>
                    <a:lnTo>
                      <a:pt x="3695" y="4142"/>
                    </a:lnTo>
                    <a:lnTo>
                      <a:pt x="3583" y="3023"/>
                    </a:lnTo>
                    <a:lnTo>
                      <a:pt x="3583" y="2463"/>
                    </a:lnTo>
                    <a:lnTo>
                      <a:pt x="3695" y="2351"/>
                    </a:lnTo>
                    <a:lnTo>
                      <a:pt x="3359" y="1679"/>
                    </a:lnTo>
                    <a:lnTo>
                      <a:pt x="2687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3" name="Google Shape;2023;p16">
                <a:extLst>
                  <a:ext uri="{FF2B5EF4-FFF2-40B4-BE49-F238E27FC236}">
                    <a16:creationId xmlns:a16="http://schemas.microsoft.com/office/drawing/2014/main" id="{03993FBA-7604-A65B-5BC3-29CA0F038BAF}"/>
                  </a:ext>
                </a:extLst>
              </p:cNvPr>
              <p:cNvSpPr/>
              <p:nvPr/>
            </p:nvSpPr>
            <p:spPr>
              <a:xfrm>
                <a:off x="3583300" y="1648550"/>
                <a:ext cx="120375" cy="190325"/>
              </a:xfrm>
              <a:custGeom>
                <a:avLst/>
                <a:gdLst/>
                <a:ahLst/>
                <a:cxnLst/>
                <a:rect l="l" t="t" r="r" b="b"/>
                <a:pathLst>
                  <a:path w="4815" h="7613" fill="none" extrusionOk="0">
                    <a:moveTo>
                      <a:pt x="1" y="6941"/>
                    </a:moveTo>
                    <a:lnTo>
                      <a:pt x="2687" y="7388"/>
                    </a:lnTo>
                    <a:lnTo>
                      <a:pt x="2687" y="7388"/>
                    </a:lnTo>
                    <a:lnTo>
                      <a:pt x="3919" y="7612"/>
                    </a:lnTo>
                    <a:lnTo>
                      <a:pt x="4590" y="7612"/>
                    </a:lnTo>
                    <a:lnTo>
                      <a:pt x="4814" y="7500"/>
                    </a:lnTo>
                    <a:lnTo>
                      <a:pt x="4814" y="7276"/>
                    </a:lnTo>
                    <a:lnTo>
                      <a:pt x="4814" y="7276"/>
                    </a:lnTo>
                    <a:lnTo>
                      <a:pt x="4367" y="6829"/>
                    </a:lnTo>
                    <a:lnTo>
                      <a:pt x="4255" y="6269"/>
                    </a:lnTo>
                    <a:lnTo>
                      <a:pt x="4143" y="5709"/>
                    </a:lnTo>
                    <a:lnTo>
                      <a:pt x="4031" y="5373"/>
                    </a:lnTo>
                    <a:lnTo>
                      <a:pt x="4031" y="5373"/>
                    </a:lnTo>
                    <a:lnTo>
                      <a:pt x="3807" y="4814"/>
                    </a:lnTo>
                    <a:lnTo>
                      <a:pt x="3695" y="4142"/>
                    </a:lnTo>
                    <a:lnTo>
                      <a:pt x="3695" y="4142"/>
                    </a:lnTo>
                    <a:lnTo>
                      <a:pt x="3583" y="3023"/>
                    </a:lnTo>
                    <a:lnTo>
                      <a:pt x="3583" y="2463"/>
                    </a:lnTo>
                    <a:lnTo>
                      <a:pt x="3695" y="2351"/>
                    </a:lnTo>
                    <a:lnTo>
                      <a:pt x="3359" y="1679"/>
                    </a:lnTo>
                    <a:lnTo>
                      <a:pt x="2687" y="0"/>
                    </a:lnTo>
                    <a:lnTo>
                      <a:pt x="2687" y="0"/>
                    </a:lnTo>
                    <a:lnTo>
                      <a:pt x="2352" y="224"/>
                    </a:lnTo>
                    <a:lnTo>
                      <a:pt x="1792" y="672"/>
                    </a:lnTo>
                    <a:lnTo>
                      <a:pt x="1232" y="1344"/>
                    </a:lnTo>
                    <a:lnTo>
                      <a:pt x="1008" y="1791"/>
                    </a:lnTo>
                    <a:lnTo>
                      <a:pt x="896" y="2239"/>
                    </a:lnTo>
                    <a:lnTo>
                      <a:pt x="896" y="2239"/>
                    </a:lnTo>
                    <a:lnTo>
                      <a:pt x="785" y="3247"/>
                    </a:lnTo>
                    <a:lnTo>
                      <a:pt x="449" y="4478"/>
                    </a:lnTo>
                    <a:lnTo>
                      <a:pt x="113" y="5821"/>
                    </a:lnTo>
                    <a:lnTo>
                      <a:pt x="113" y="6381"/>
                    </a:lnTo>
                    <a:lnTo>
                      <a:pt x="1" y="694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4" name="Google Shape;2024;p16">
                <a:extLst>
                  <a:ext uri="{FF2B5EF4-FFF2-40B4-BE49-F238E27FC236}">
                    <a16:creationId xmlns:a16="http://schemas.microsoft.com/office/drawing/2014/main" id="{2A4BB60F-FB00-D745-6F49-7F23797BA8B8}"/>
                  </a:ext>
                </a:extLst>
              </p:cNvPr>
              <p:cNvSpPr/>
              <p:nvPr/>
            </p:nvSpPr>
            <p:spPr>
              <a:xfrm>
                <a:off x="3630875" y="1687725"/>
                <a:ext cx="44800" cy="64400"/>
              </a:xfrm>
              <a:custGeom>
                <a:avLst/>
                <a:gdLst/>
                <a:ahLst/>
                <a:cxnLst/>
                <a:rect l="l" t="t" r="r" b="b"/>
                <a:pathLst>
                  <a:path w="1792" h="2576" extrusionOk="0">
                    <a:moveTo>
                      <a:pt x="1232" y="0"/>
                    </a:moveTo>
                    <a:lnTo>
                      <a:pt x="784" y="448"/>
                    </a:lnTo>
                    <a:lnTo>
                      <a:pt x="113" y="1008"/>
                    </a:lnTo>
                    <a:lnTo>
                      <a:pt x="1" y="1232"/>
                    </a:lnTo>
                    <a:lnTo>
                      <a:pt x="1" y="1456"/>
                    </a:lnTo>
                    <a:lnTo>
                      <a:pt x="225" y="1903"/>
                    </a:lnTo>
                    <a:lnTo>
                      <a:pt x="449" y="2239"/>
                    </a:lnTo>
                    <a:lnTo>
                      <a:pt x="784" y="2351"/>
                    </a:lnTo>
                    <a:lnTo>
                      <a:pt x="1008" y="2575"/>
                    </a:lnTo>
                    <a:lnTo>
                      <a:pt x="1792" y="2575"/>
                    </a:lnTo>
                    <a:lnTo>
                      <a:pt x="1680" y="1232"/>
                    </a:lnTo>
                    <a:lnTo>
                      <a:pt x="1680" y="896"/>
                    </a:lnTo>
                    <a:lnTo>
                      <a:pt x="1792" y="784"/>
                    </a:lnTo>
                    <a:lnTo>
                      <a:pt x="1456" y="112"/>
                    </a:lnTo>
                    <a:lnTo>
                      <a:pt x="1232" y="0"/>
                    </a:lnTo>
                    <a:close/>
                  </a:path>
                </a:pathLst>
              </a:custGeom>
              <a:solidFill>
                <a:srgbClr val="C5909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5" name="Google Shape;2025;p16">
                <a:extLst>
                  <a:ext uri="{FF2B5EF4-FFF2-40B4-BE49-F238E27FC236}">
                    <a16:creationId xmlns:a16="http://schemas.microsoft.com/office/drawing/2014/main" id="{179DBE76-6BF0-247E-DBB0-9AC804ADA165}"/>
                  </a:ext>
                </a:extLst>
              </p:cNvPr>
              <p:cNvSpPr/>
              <p:nvPr/>
            </p:nvSpPr>
            <p:spPr>
              <a:xfrm>
                <a:off x="3630875" y="1687725"/>
                <a:ext cx="44800" cy="64400"/>
              </a:xfrm>
              <a:custGeom>
                <a:avLst/>
                <a:gdLst/>
                <a:ahLst/>
                <a:cxnLst/>
                <a:rect l="l" t="t" r="r" b="b"/>
                <a:pathLst>
                  <a:path w="1792" h="2576" fill="none" extrusionOk="0">
                    <a:moveTo>
                      <a:pt x="1232" y="0"/>
                    </a:moveTo>
                    <a:lnTo>
                      <a:pt x="1232" y="0"/>
                    </a:lnTo>
                    <a:lnTo>
                      <a:pt x="784" y="448"/>
                    </a:lnTo>
                    <a:lnTo>
                      <a:pt x="113" y="1008"/>
                    </a:lnTo>
                    <a:lnTo>
                      <a:pt x="113" y="1008"/>
                    </a:lnTo>
                    <a:lnTo>
                      <a:pt x="1" y="1232"/>
                    </a:lnTo>
                    <a:lnTo>
                      <a:pt x="1" y="1456"/>
                    </a:lnTo>
                    <a:lnTo>
                      <a:pt x="225" y="1903"/>
                    </a:lnTo>
                    <a:lnTo>
                      <a:pt x="449" y="2239"/>
                    </a:lnTo>
                    <a:lnTo>
                      <a:pt x="784" y="2351"/>
                    </a:lnTo>
                    <a:lnTo>
                      <a:pt x="1008" y="2575"/>
                    </a:lnTo>
                    <a:lnTo>
                      <a:pt x="1456" y="2575"/>
                    </a:lnTo>
                    <a:lnTo>
                      <a:pt x="1456" y="2575"/>
                    </a:lnTo>
                    <a:lnTo>
                      <a:pt x="1792" y="2575"/>
                    </a:lnTo>
                    <a:lnTo>
                      <a:pt x="1792" y="2575"/>
                    </a:lnTo>
                    <a:lnTo>
                      <a:pt x="1680" y="1232"/>
                    </a:lnTo>
                    <a:lnTo>
                      <a:pt x="1680" y="1232"/>
                    </a:lnTo>
                    <a:lnTo>
                      <a:pt x="1680" y="896"/>
                    </a:lnTo>
                    <a:lnTo>
                      <a:pt x="1792" y="784"/>
                    </a:lnTo>
                    <a:lnTo>
                      <a:pt x="1456" y="112"/>
                    </a:lnTo>
                    <a:lnTo>
                      <a:pt x="123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6" name="Google Shape;2026;p16">
                <a:extLst>
                  <a:ext uri="{FF2B5EF4-FFF2-40B4-BE49-F238E27FC236}">
                    <a16:creationId xmlns:a16="http://schemas.microsoft.com/office/drawing/2014/main" id="{4B470BF3-1D9A-891D-BC5E-270C857BF021}"/>
                  </a:ext>
                </a:extLst>
              </p:cNvPr>
              <p:cNvSpPr/>
              <p:nvPr/>
            </p:nvSpPr>
            <p:spPr>
              <a:xfrm>
                <a:off x="3448975" y="1754875"/>
                <a:ext cx="305075" cy="598900"/>
              </a:xfrm>
              <a:custGeom>
                <a:avLst/>
                <a:gdLst/>
                <a:ahLst/>
                <a:cxnLst/>
                <a:rect l="l" t="t" r="r" b="b"/>
                <a:pathLst>
                  <a:path w="12203" h="23956" extrusionOk="0">
                    <a:moveTo>
                      <a:pt x="5710" y="1"/>
                    </a:moveTo>
                    <a:lnTo>
                      <a:pt x="4367" y="1232"/>
                    </a:lnTo>
                    <a:lnTo>
                      <a:pt x="3247" y="2128"/>
                    </a:lnTo>
                    <a:lnTo>
                      <a:pt x="2016" y="2911"/>
                    </a:lnTo>
                    <a:lnTo>
                      <a:pt x="1" y="17911"/>
                    </a:lnTo>
                    <a:lnTo>
                      <a:pt x="1" y="19031"/>
                    </a:lnTo>
                    <a:lnTo>
                      <a:pt x="113" y="19926"/>
                    </a:lnTo>
                    <a:lnTo>
                      <a:pt x="337" y="20934"/>
                    </a:lnTo>
                    <a:lnTo>
                      <a:pt x="896" y="21829"/>
                    </a:lnTo>
                    <a:lnTo>
                      <a:pt x="1120" y="22277"/>
                    </a:lnTo>
                    <a:lnTo>
                      <a:pt x="1568" y="22725"/>
                    </a:lnTo>
                    <a:lnTo>
                      <a:pt x="2016" y="23060"/>
                    </a:lnTo>
                    <a:lnTo>
                      <a:pt x="2575" y="23396"/>
                    </a:lnTo>
                    <a:lnTo>
                      <a:pt x="3135" y="23620"/>
                    </a:lnTo>
                    <a:lnTo>
                      <a:pt x="3919" y="23844"/>
                    </a:lnTo>
                    <a:lnTo>
                      <a:pt x="5038" y="23956"/>
                    </a:lnTo>
                    <a:lnTo>
                      <a:pt x="6269" y="23844"/>
                    </a:lnTo>
                    <a:lnTo>
                      <a:pt x="7501" y="23620"/>
                    </a:lnTo>
                    <a:lnTo>
                      <a:pt x="8620" y="23284"/>
                    </a:lnTo>
                    <a:lnTo>
                      <a:pt x="9628" y="22837"/>
                    </a:lnTo>
                    <a:lnTo>
                      <a:pt x="10411" y="22389"/>
                    </a:lnTo>
                    <a:lnTo>
                      <a:pt x="10747" y="21941"/>
                    </a:lnTo>
                    <a:lnTo>
                      <a:pt x="10859" y="21829"/>
                    </a:lnTo>
                    <a:lnTo>
                      <a:pt x="10747" y="21605"/>
                    </a:lnTo>
                    <a:lnTo>
                      <a:pt x="10747" y="21269"/>
                    </a:lnTo>
                    <a:lnTo>
                      <a:pt x="10747" y="20710"/>
                    </a:lnTo>
                    <a:lnTo>
                      <a:pt x="11083" y="18695"/>
                    </a:lnTo>
                    <a:lnTo>
                      <a:pt x="11531" y="16008"/>
                    </a:lnTo>
                    <a:lnTo>
                      <a:pt x="11978" y="12874"/>
                    </a:lnTo>
                    <a:lnTo>
                      <a:pt x="12090" y="11195"/>
                    </a:lnTo>
                    <a:lnTo>
                      <a:pt x="12202" y="9516"/>
                    </a:lnTo>
                    <a:lnTo>
                      <a:pt x="12090" y="7837"/>
                    </a:lnTo>
                    <a:lnTo>
                      <a:pt x="11978" y="6270"/>
                    </a:lnTo>
                    <a:lnTo>
                      <a:pt x="11643" y="4702"/>
                    </a:lnTo>
                    <a:lnTo>
                      <a:pt x="11083" y="3247"/>
                    </a:lnTo>
                    <a:lnTo>
                      <a:pt x="10747" y="2576"/>
                    </a:lnTo>
                    <a:lnTo>
                      <a:pt x="10299" y="2016"/>
                    </a:lnTo>
                    <a:lnTo>
                      <a:pt x="9963" y="1456"/>
                    </a:lnTo>
                    <a:lnTo>
                      <a:pt x="9404" y="897"/>
                    </a:lnTo>
                    <a:lnTo>
                      <a:pt x="9180" y="785"/>
                    </a:lnTo>
                    <a:lnTo>
                      <a:pt x="9068" y="785"/>
                    </a:lnTo>
                    <a:lnTo>
                      <a:pt x="8844" y="1008"/>
                    </a:lnTo>
                    <a:lnTo>
                      <a:pt x="8620" y="1344"/>
                    </a:lnTo>
                    <a:lnTo>
                      <a:pt x="8396" y="1456"/>
                    </a:lnTo>
                    <a:lnTo>
                      <a:pt x="8060" y="1568"/>
                    </a:lnTo>
                    <a:lnTo>
                      <a:pt x="7725" y="1456"/>
                    </a:lnTo>
                    <a:lnTo>
                      <a:pt x="7389" y="1232"/>
                    </a:lnTo>
                    <a:lnTo>
                      <a:pt x="6829" y="673"/>
                    </a:lnTo>
                    <a:lnTo>
                      <a:pt x="6605" y="337"/>
                    </a:lnTo>
                    <a:lnTo>
                      <a:pt x="6381" y="113"/>
                    </a:lnTo>
                    <a:lnTo>
                      <a:pt x="6046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7" name="Google Shape;2027;p16">
                <a:extLst>
                  <a:ext uri="{FF2B5EF4-FFF2-40B4-BE49-F238E27FC236}">
                    <a16:creationId xmlns:a16="http://schemas.microsoft.com/office/drawing/2014/main" id="{7E307025-C093-E3C6-5BA0-DE96D275012C}"/>
                  </a:ext>
                </a:extLst>
              </p:cNvPr>
              <p:cNvSpPr/>
              <p:nvPr/>
            </p:nvSpPr>
            <p:spPr>
              <a:xfrm>
                <a:off x="3448975" y="1754875"/>
                <a:ext cx="305075" cy="598900"/>
              </a:xfrm>
              <a:custGeom>
                <a:avLst/>
                <a:gdLst/>
                <a:ahLst/>
                <a:cxnLst/>
                <a:rect l="l" t="t" r="r" b="b"/>
                <a:pathLst>
                  <a:path w="12203" h="23956" fill="none" extrusionOk="0">
                    <a:moveTo>
                      <a:pt x="5710" y="1"/>
                    </a:moveTo>
                    <a:lnTo>
                      <a:pt x="5710" y="1"/>
                    </a:lnTo>
                    <a:lnTo>
                      <a:pt x="6046" y="1"/>
                    </a:lnTo>
                    <a:lnTo>
                      <a:pt x="6381" y="113"/>
                    </a:lnTo>
                    <a:lnTo>
                      <a:pt x="6605" y="337"/>
                    </a:lnTo>
                    <a:lnTo>
                      <a:pt x="6829" y="673"/>
                    </a:lnTo>
                    <a:lnTo>
                      <a:pt x="7389" y="1232"/>
                    </a:lnTo>
                    <a:lnTo>
                      <a:pt x="7725" y="1456"/>
                    </a:lnTo>
                    <a:lnTo>
                      <a:pt x="8060" y="1568"/>
                    </a:lnTo>
                    <a:lnTo>
                      <a:pt x="8060" y="1568"/>
                    </a:lnTo>
                    <a:lnTo>
                      <a:pt x="8396" y="1456"/>
                    </a:lnTo>
                    <a:lnTo>
                      <a:pt x="8620" y="1344"/>
                    </a:lnTo>
                    <a:lnTo>
                      <a:pt x="8844" y="1008"/>
                    </a:lnTo>
                    <a:lnTo>
                      <a:pt x="8844" y="1008"/>
                    </a:lnTo>
                    <a:lnTo>
                      <a:pt x="9068" y="785"/>
                    </a:lnTo>
                    <a:lnTo>
                      <a:pt x="9180" y="785"/>
                    </a:lnTo>
                    <a:lnTo>
                      <a:pt x="9404" y="897"/>
                    </a:lnTo>
                    <a:lnTo>
                      <a:pt x="9404" y="897"/>
                    </a:lnTo>
                    <a:lnTo>
                      <a:pt x="9963" y="1456"/>
                    </a:lnTo>
                    <a:lnTo>
                      <a:pt x="10299" y="2016"/>
                    </a:lnTo>
                    <a:lnTo>
                      <a:pt x="10747" y="2576"/>
                    </a:lnTo>
                    <a:lnTo>
                      <a:pt x="11083" y="3247"/>
                    </a:lnTo>
                    <a:lnTo>
                      <a:pt x="11643" y="4702"/>
                    </a:lnTo>
                    <a:lnTo>
                      <a:pt x="11978" y="6270"/>
                    </a:lnTo>
                    <a:lnTo>
                      <a:pt x="12090" y="7837"/>
                    </a:lnTo>
                    <a:lnTo>
                      <a:pt x="12202" y="9516"/>
                    </a:lnTo>
                    <a:lnTo>
                      <a:pt x="12090" y="11195"/>
                    </a:lnTo>
                    <a:lnTo>
                      <a:pt x="11978" y="12874"/>
                    </a:lnTo>
                    <a:lnTo>
                      <a:pt x="11531" y="16008"/>
                    </a:lnTo>
                    <a:lnTo>
                      <a:pt x="11083" y="18695"/>
                    </a:lnTo>
                    <a:lnTo>
                      <a:pt x="10747" y="20710"/>
                    </a:lnTo>
                    <a:lnTo>
                      <a:pt x="10747" y="21269"/>
                    </a:lnTo>
                    <a:lnTo>
                      <a:pt x="10747" y="21605"/>
                    </a:lnTo>
                    <a:lnTo>
                      <a:pt x="10747" y="21605"/>
                    </a:lnTo>
                    <a:lnTo>
                      <a:pt x="10859" y="21829"/>
                    </a:lnTo>
                    <a:lnTo>
                      <a:pt x="10747" y="21941"/>
                    </a:lnTo>
                    <a:lnTo>
                      <a:pt x="10411" y="22389"/>
                    </a:lnTo>
                    <a:lnTo>
                      <a:pt x="9628" y="22837"/>
                    </a:lnTo>
                    <a:lnTo>
                      <a:pt x="8620" y="23284"/>
                    </a:lnTo>
                    <a:lnTo>
                      <a:pt x="7501" y="23620"/>
                    </a:lnTo>
                    <a:lnTo>
                      <a:pt x="6269" y="23844"/>
                    </a:lnTo>
                    <a:lnTo>
                      <a:pt x="5038" y="23956"/>
                    </a:lnTo>
                    <a:lnTo>
                      <a:pt x="3919" y="23844"/>
                    </a:lnTo>
                    <a:lnTo>
                      <a:pt x="3919" y="23844"/>
                    </a:lnTo>
                    <a:lnTo>
                      <a:pt x="3135" y="23620"/>
                    </a:lnTo>
                    <a:lnTo>
                      <a:pt x="2575" y="23396"/>
                    </a:lnTo>
                    <a:lnTo>
                      <a:pt x="2016" y="23060"/>
                    </a:lnTo>
                    <a:lnTo>
                      <a:pt x="1568" y="22725"/>
                    </a:lnTo>
                    <a:lnTo>
                      <a:pt x="1120" y="22277"/>
                    </a:lnTo>
                    <a:lnTo>
                      <a:pt x="896" y="21829"/>
                    </a:lnTo>
                    <a:lnTo>
                      <a:pt x="337" y="20934"/>
                    </a:lnTo>
                    <a:lnTo>
                      <a:pt x="113" y="19926"/>
                    </a:lnTo>
                    <a:lnTo>
                      <a:pt x="1" y="19031"/>
                    </a:lnTo>
                    <a:lnTo>
                      <a:pt x="1" y="17911"/>
                    </a:lnTo>
                    <a:lnTo>
                      <a:pt x="1" y="17911"/>
                    </a:lnTo>
                    <a:lnTo>
                      <a:pt x="2016" y="2911"/>
                    </a:lnTo>
                    <a:lnTo>
                      <a:pt x="2016" y="2911"/>
                    </a:lnTo>
                    <a:lnTo>
                      <a:pt x="3247" y="2128"/>
                    </a:lnTo>
                    <a:lnTo>
                      <a:pt x="4367" y="1232"/>
                    </a:lnTo>
                    <a:lnTo>
                      <a:pt x="571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8" name="Google Shape;2028;p16">
                <a:extLst>
                  <a:ext uri="{FF2B5EF4-FFF2-40B4-BE49-F238E27FC236}">
                    <a16:creationId xmlns:a16="http://schemas.microsoft.com/office/drawing/2014/main" id="{19AD2FB5-C77F-0E95-061B-3A944E947018}"/>
                  </a:ext>
                </a:extLst>
              </p:cNvPr>
              <p:cNvSpPr/>
              <p:nvPr/>
            </p:nvSpPr>
            <p:spPr>
              <a:xfrm>
                <a:off x="3672875" y="1684925"/>
                <a:ext cx="531725" cy="708050"/>
              </a:xfrm>
              <a:custGeom>
                <a:avLst/>
                <a:gdLst/>
                <a:ahLst/>
                <a:cxnLst/>
                <a:rect l="l" t="t" r="r" b="b"/>
                <a:pathLst>
                  <a:path w="21269" h="28322" extrusionOk="0">
                    <a:moveTo>
                      <a:pt x="19813" y="1"/>
                    </a:moveTo>
                    <a:lnTo>
                      <a:pt x="15671" y="1792"/>
                    </a:lnTo>
                    <a:lnTo>
                      <a:pt x="12985" y="2911"/>
                    </a:lnTo>
                    <a:lnTo>
                      <a:pt x="11866" y="3247"/>
                    </a:lnTo>
                    <a:lnTo>
                      <a:pt x="11194" y="3471"/>
                    </a:lnTo>
                    <a:lnTo>
                      <a:pt x="8731" y="3918"/>
                    </a:lnTo>
                    <a:lnTo>
                      <a:pt x="6381" y="4142"/>
                    </a:lnTo>
                    <a:lnTo>
                      <a:pt x="3806" y="4142"/>
                    </a:lnTo>
                    <a:lnTo>
                      <a:pt x="2239" y="3918"/>
                    </a:lnTo>
                    <a:lnTo>
                      <a:pt x="560" y="3695"/>
                    </a:lnTo>
                    <a:lnTo>
                      <a:pt x="560" y="4366"/>
                    </a:lnTo>
                    <a:lnTo>
                      <a:pt x="560" y="5486"/>
                    </a:lnTo>
                    <a:lnTo>
                      <a:pt x="784" y="7053"/>
                    </a:lnTo>
                    <a:lnTo>
                      <a:pt x="896" y="7724"/>
                    </a:lnTo>
                    <a:lnTo>
                      <a:pt x="896" y="8508"/>
                    </a:lnTo>
                    <a:lnTo>
                      <a:pt x="896" y="9068"/>
                    </a:lnTo>
                    <a:lnTo>
                      <a:pt x="896" y="9403"/>
                    </a:lnTo>
                    <a:lnTo>
                      <a:pt x="784" y="9627"/>
                    </a:lnTo>
                    <a:lnTo>
                      <a:pt x="672" y="10523"/>
                    </a:lnTo>
                    <a:lnTo>
                      <a:pt x="448" y="11866"/>
                    </a:lnTo>
                    <a:lnTo>
                      <a:pt x="112" y="13321"/>
                    </a:lnTo>
                    <a:lnTo>
                      <a:pt x="0" y="14776"/>
                    </a:lnTo>
                    <a:lnTo>
                      <a:pt x="0" y="15672"/>
                    </a:lnTo>
                    <a:lnTo>
                      <a:pt x="112" y="16568"/>
                    </a:lnTo>
                    <a:lnTo>
                      <a:pt x="224" y="18470"/>
                    </a:lnTo>
                    <a:lnTo>
                      <a:pt x="336" y="20261"/>
                    </a:lnTo>
                    <a:lnTo>
                      <a:pt x="336" y="23732"/>
                    </a:lnTo>
                    <a:lnTo>
                      <a:pt x="336" y="25187"/>
                    </a:lnTo>
                    <a:lnTo>
                      <a:pt x="336" y="26306"/>
                    </a:lnTo>
                    <a:lnTo>
                      <a:pt x="560" y="27314"/>
                    </a:lnTo>
                    <a:lnTo>
                      <a:pt x="784" y="27649"/>
                    </a:lnTo>
                    <a:lnTo>
                      <a:pt x="1007" y="27873"/>
                    </a:lnTo>
                    <a:lnTo>
                      <a:pt x="1231" y="28097"/>
                    </a:lnTo>
                    <a:lnTo>
                      <a:pt x="1567" y="28209"/>
                    </a:lnTo>
                    <a:lnTo>
                      <a:pt x="1903" y="28321"/>
                    </a:lnTo>
                    <a:lnTo>
                      <a:pt x="2239" y="28321"/>
                    </a:lnTo>
                    <a:lnTo>
                      <a:pt x="2687" y="28209"/>
                    </a:lnTo>
                    <a:lnTo>
                      <a:pt x="3022" y="27985"/>
                    </a:lnTo>
                    <a:lnTo>
                      <a:pt x="3470" y="27761"/>
                    </a:lnTo>
                    <a:lnTo>
                      <a:pt x="3918" y="27314"/>
                    </a:lnTo>
                    <a:lnTo>
                      <a:pt x="4254" y="26866"/>
                    </a:lnTo>
                    <a:lnTo>
                      <a:pt x="4478" y="26306"/>
                    </a:lnTo>
                    <a:lnTo>
                      <a:pt x="4589" y="25747"/>
                    </a:lnTo>
                    <a:lnTo>
                      <a:pt x="4701" y="25075"/>
                    </a:lnTo>
                    <a:lnTo>
                      <a:pt x="4813" y="23620"/>
                    </a:lnTo>
                    <a:lnTo>
                      <a:pt x="4701" y="22053"/>
                    </a:lnTo>
                    <a:lnTo>
                      <a:pt x="4589" y="20485"/>
                    </a:lnTo>
                    <a:lnTo>
                      <a:pt x="4366" y="19142"/>
                    </a:lnTo>
                    <a:lnTo>
                      <a:pt x="4030" y="17239"/>
                    </a:lnTo>
                    <a:lnTo>
                      <a:pt x="3582" y="15000"/>
                    </a:lnTo>
                    <a:lnTo>
                      <a:pt x="3582" y="14441"/>
                    </a:lnTo>
                    <a:lnTo>
                      <a:pt x="3582" y="13769"/>
                    </a:lnTo>
                    <a:lnTo>
                      <a:pt x="3918" y="12090"/>
                    </a:lnTo>
                    <a:lnTo>
                      <a:pt x="4254" y="10523"/>
                    </a:lnTo>
                    <a:lnTo>
                      <a:pt x="4589" y="9963"/>
                    </a:lnTo>
                    <a:lnTo>
                      <a:pt x="4813" y="9515"/>
                    </a:lnTo>
                    <a:lnTo>
                      <a:pt x="5485" y="9180"/>
                    </a:lnTo>
                    <a:lnTo>
                      <a:pt x="6269" y="8844"/>
                    </a:lnTo>
                    <a:lnTo>
                      <a:pt x="7164" y="8620"/>
                    </a:lnTo>
                    <a:lnTo>
                      <a:pt x="8060" y="8396"/>
                    </a:lnTo>
                    <a:lnTo>
                      <a:pt x="10075" y="8060"/>
                    </a:lnTo>
                    <a:lnTo>
                      <a:pt x="11977" y="7612"/>
                    </a:lnTo>
                    <a:lnTo>
                      <a:pt x="12985" y="7277"/>
                    </a:lnTo>
                    <a:lnTo>
                      <a:pt x="14328" y="6717"/>
                    </a:lnTo>
                    <a:lnTo>
                      <a:pt x="17127" y="5150"/>
                    </a:lnTo>
                    <a:lnTo>
                      <a:pt x="21045" y="2911"/>
                    </a:lnTo>
                    <a:lnTo>
                      <a:pt x="21156" y="2799"/>
                    </a:lnTo>
                    <a:lnTo>
                      <a:pt x="21268" y="2575"/>
                    </a:lnTo>
                    <a:lnTo>
                      <a:pt x="21268" y="2239"/>
                    </a:lnTo>
                    <a:lnTo>
                      <a:pt x="21156" y="1680"/>
                    </a:lnTo>
                    <a:lnTo>
                      <a:pt x="20933" y="1232"/>
                    </a:lnTo>
                    <a:lnTo>
                      <a:pt x="20261" y="336"/>
                    </a:lnTo>
                    <a:lnTo>
                      <a:pt x="20037" y="112"/>
                    </a:lnTo>
                    <a:lnTo>
                      <a:pt x="19813" y="1"/>
                    </a:lnTo>
                    <a:close/>
                  </a:path>
                </a:pathLst>
              </a:custGeom>
              <a:solidFill>
                <a:srgbClr val="DF332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9" name="Google Shape;2029;p16">
                <a:extLst>
                  <a:ext uri="{FF2B5EF4-FFF2-40B4-BE49-F238E27FC236}">
                    <a16:creationId xmlns:a16="http://schemas.microsoft.com/office/drawing/2014/main" id="{619A3A5A-3309-64F3-CA98-D079834E4E44}"/>
                  </a:ext>
                </a:extLst>
              </p:cNvPr>
              <p:cNvSpPr/>
              <p:nvPr/>
            </p:nvSpPr>
            <p:spPr>
              <a:xfrm>
                <a:off x="3407000" y="1754875"/>
                <a:ext cx="218325" cy="657675"/>
              </a:xfrm>
              <a:custGeom>
                <a:avLst/>
                <a:gdLst/>
                <a:ahLst/>
                <a:cxnLst/>
                <a:rect l="l" t="t" r="r" b="b"/>
                <a:pathLst>
                  <a:path w="8733" h="26307" extrusionOk="0">
                    <a:moveTo>
                      <a:pt x="7389" y="1"/>
                    </a:moveTo>
                    <a:lnTo>
                      <a:pt x="6941" y="113"/>
                    </a:lnTo>
                    <a:lnTo>
                      <a:pt x="5710" y="449"/>
                    </a:lnTo>
                    <a:lnTo>
                      <a:pt x="4926" y="785"/>
                    </a:lnTo>
                    <a:lnTo>
                      <a:pt x="4143" y="1232"/>
                    </a:lnTo>
                    <a:lnTo>
                      <a:pt x="3247" y="1904"/>
                    </a:lnTo>
                    <a:lnTo>
                      <a:pt x="2463" y="2688"/>
                    </a:lnTo>
                    <a:lnTo>
                      <a:pt x="2128" y="3247"/>
                    </a:lnTo>
                    <a:lnTo>
                      <a:pt x="1792" y="3919"/>
                    </a:lnTo>
                    <a:lnTo>
                      <a:pt x="1344" y="5374"/>
                    </a:lnTo>
                    <a:lnTo>
                      <a:pt x="1120" y="7053"/>
                    </a:lnTo>
                    <a:lnTo>
                      <a:pt x="1008" y="8844"/>
                    </a:lnTo>
                    <a:lnTo>
                      <a:pt x="1008" y="9740"/>
                    </a:lnTo>
                    <a:lnTo>
                      <a:pt x="1008" y="10523"/>
                    </a:lnTo>
                    <a:lnTo>
                      <a:pt x="1120" y="12762"/>
                    </a:lnTo>
                    <a:lnTo>
                      <a:pt x="1232" y="13546"/>
                    </a:lnTo>
                    <a:lnTo>
                      <a:pt x="1232" y="13770"/>
                    </a:lnTo>
                    <a:lnTo>
                      <a:pt x="1344" y="14777"/>
                    </a:lnTo>
                    <a:lnTo>
                      <a:pt x="1344" y="15449"/>
                    </a:lnTo>
                    <a:lnTo>
                      <a:pt x="1232" y="16232"/>
                    </a:lnTo>
                    <a:lnTo>
                      <a:pt x="896" y="18247"/>
                    </a:lnTo>
                    <a:lnTo>
                      <a:pt x="449" y="20598"/>
                    </a:lnTo>
                    <a:lnTo>
                      <a:pt x="113" y="22949"/>
                    </a:lnTo>
                    <a:lnTo>
                      <a:pt x="1" y="23844"/>
                    </a:lnTo>
                    <a:lnTo>
                      <a:pt x="1" y="24740"/>
                    </a:lnTo>
                    <a:lnTo>
                      <a:pt x="113" y="25299"/>
                    </a:lnTo>
                    <a:lnTo>
                      <a:pt x="337" y="25523"/>
                    </a:lnTo>
                    <a:lnTo>
                      <a:pt x="449" y="25635"/>
                    </a:lnTo>
                    <a:lnTo>
                      <a:pt x="1120" y="25971"/>
                    </a:lnTo>
                    <a:lnTo>
                      <a:pt x="1904" y="26195"/>
                    </a:lnTo>
                    <a:lnTo>
                      <a:pt x="2575" y="26307"/>
                    </a:lnTo>
                    <a:lnTo>
                      <a:pt x="3359" y="26307"/>
                    </a:lnTo>
                    <a:lnTo>
                      <a:pt x="4143" y="26083"/>
                    </a:lnTo>
                    <a:lnTo>
                      <a:pt x="4814" y="25859"/>
                    </a:lnTo>
                    <a:lnTo>
                      <a:pt x="5486" y="25411"/>
                    </a:lnTo>
                    <a:lnTo>
                      <a:pt x="6046" y="24851"/>
                    </a:lnTo>
                    <a:lnTo>
                      <a:pt x="6717" y="24068"/>
                    </a:lnTo>
                    <a:lnTo>
                      <a:pt x="7165" y="23284"/>
                    </a:lnTo>
                    <a:lnTo>
                      <a:pt x="7501" y="22277"/>
                    </a:lnTo>
                    <a:lnTo>
                      <a:pt x="7725" y="20374"/>
                    </a:lnTo>
                    <a:lnTo>
                      <a:pt x="7725" y="19255"/>
                    </a:lnTo>
                    <a:lnTo>
                      <a:pt x="7613" y="18135"/>
                    </a:lnTo>
                    <a:lnTo>
                      <a:pt x="7501" y="16904"/>
                    </a:lnTo>
                    <a:lnTo>
                      <a:pt x="7501" y="15113"/>
                    </a:lnTo>
                    <a:lnTo>
                      <a:pt x="7613" y="13993"/>
                    </a:lnTo>
                    <a:lnTo>
                      <a:pt x="7725" y="12986"/>
                    </a:lnTo>
                    <a:lnTo>
                      <a:pt x="7948" y="11978"/>
                    </a:lnTo>
                    <a:lnTo>
                      <a:pt x="8172" y="10747"/>
                    </a:lnTo>
                    <a:lnTo>
                      <a:pt x="8396" y="9740"/>
                    </a:lnTo>
                    <a:lnTo>
                      <a:pt x="8620" y="8732"/>
                    </a:lnTo>
                    <a:lnTo>
                      <a:pt x="8732" y="7613"/>
                    </a:lnTo>
                    <a:lnTo>
                      <a:pt x="8620" y="6829"/>
                    </a:lnTo>
                    <a:lnTo>
                      <a:pt x="8396" y="6046"/>
                    </a:lnTo>
                    <a:lnTo>
                      <a:pt x="8172" y="5150"/>
                    </a:lnTo>
                    <a:lnTo>
                      <a:pt x="8060" y="4479"/>
                    </a:lnTo>
                    <a:lnTo>
                      <a:pt x="8060" y="2799"/>
                    </a:lnTo>
                    <a:lnTo>
                      <a:pt x="7837" y="1792"/>
                    </a:lnTo>
                    <a:lnTo>
                      <a:pt x="7725" y="1008"/>
                    </a:lnTo>
                    <a:lnTo>
                      <a:pt x="7389" y="1"/>
                    </a:lnTo>
                    <a:close/>
                  </a:path>
                </a:pathLst>
              </a:custGeom>
              <a:solidFill>
                <a:srgbClr val="DF332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0" name="Google Shape;2030;p16">
                <a:extLst>
                  <a:ext uri="{FF2B5EF4-FFF2-40B4-BE49-F238E27FC236}">
                    <a16:creationId xmlns:a16="http://schemas.microsoft.com/office/drawing/2014/main" id="{83392A73-7BEF-6502-47A3-3CB9DC4EE79E}"/>
                  </a:ext>
                </a:extLst>
              </p:cNvPr>
              <p:cNvSpPr/>
              <p:nvPr/>
            </p:nvSpPr>
            <p:spPr>
              <a:xfrm>
                <a:off x="3407000" y="1754875"/>
                <a:ext cx="218325" cy="657675"/>
              </a:xfrm>
              <a:custGeom>
                <a:avLst/>
                <a:gdLst/>
                <a:ahLst/>
                <a:cxnLst/>
                <a:rect l="l" t="t" r="r" b="b"/>
                <a:pathLst>
                  <a:path w="8733" h="26307" fill="none" extrusionOk="0">
                    <a:moveTo>
                      <a:pt x="6046" y="24851"/>
                    </a:moveTo>
                    <a:lnTo>
                      <a:pt x="6046" y="24851"/>
                    </a:lnTo>
                    <a:lnTo>
                      <a:pt x="5486" y="25411"/>
                    </a:lnTo>
                    <a:lnTo>
                      <a:pt x="4814" y="25859"/>
                    </a:lnTo>
                    <a:lnTo>
                      <a:pt x="4143" y="26083"/>
                    </a:lnTo>
                    <a:lnTo>
                      <a:pt x="3359" y="26307"/>
                    </a:lnTo>
                    <a:lnTo>
                      <a:pt x="2575" y="26307"/>
                    </a:lnTo>
                    <a:lnTo>
                      <a:pt x="1904" y="26195"/>
                    </a:lnTo>
                    <a:lnTo>
                      <a:pt x="1120" y="25971"/>
                    </a:lnTo>
                    <a:lnTo>
                      <a:pt x="449" y="25635"/>
                    </a:lnTo>
                    <a:lnTo>
                      <a:pt x="449" y="25635"/>
                    </a:lnTo>
                    <a:lnTo>
                      <a:pt x="337" y="25523"/>
                    </a:lnTo>
                    <a:lnTo>
                      <a:pt x="113" y="25299"/>
                    </a:lnTo>
                    <a:lnTo>
                      <a:pt x="1" y="24740"/>
                    </a:lnTo>
                    <a:lnTo>
                      <a:pt x="1" y="23844"/>
                    </a:lnTo>
                    <a:lnTo>
                      <a:pt x="113" y="22949"/>
                    </a:lnTo>
                    <a:lnTo>
                      <a:pt x="449" y="20598"/>
                    </a:lnTo>
                    <a:lnTo>
                      <a:pt x="896" y="18247"/>
                    </a:lnTo>
                    <a:lnTo>
                      <a:pt x="896" y="18247"/>
                    </a:lnTo>
                    <a:lnTo>
                      <a:pt x="896" y="18247"/>
                    </a:lnTo>
                    <a:lnTo>
                      <a:pt x="1232" y="16232"/>
                    </a:lnTo>
                    <a:lnTo>
                      <a:pt x="1344" y="15449"/>
                    </a:lnTo>
                    <a:lnTo>
                      <a:pt x="1344" y="14777"/>
                    </a:lnTo>
                    <a:lnTo>
                      <a:pt x="1344" y="14777"/>
                    </a:lnTo>
                    <a:lnTo>
                      <a:pt x="1232" y="13770"/>
                    </a:lnTo>
                    <a:lnTo>
                      <a:pt x="1232" y="13770"/>
                    </a:lnTo>
                    <a:lnTo>
                      <a:pt x="1232" y="13546"/>
                    </a:lnTo>
                    <a:lnTo>
                      <a:pt x="1232" y="13546"/>
                    </a:lnTo>
                    <a:lnTo>
                      <a:pt x="1232" y="13546"/>
                    </a:lnTo>
                    <a:lnTo>
                      <a:pt x="1120" y="12762"/>
                    </a:lnTo>
                    <a:lnTo>
                      <a:pt x="1120" y="12762"/>
                    </a:lnTo>
                    <a:lnTo>
                      <a:pt x="1008" y="10523"/>
                    </a:lnTo>
                    <a:lnTo>
                      <a:pt x="1008" y="10523"/>
                    </a:lnTo>
                    <a:lnTo>
                      <a:pt x="1008" y="9740"/>
                    </a:lnTo>
                    <a:lnTo>
                      <a:pt x="1008" y="9740"/>
                    </a:lnTo>
                    <a:lnTo>
                      <a:pt x="1008" y="8844"/>
                    </a:lnTo>
                    <a:lnTo>
                      <a:pt x="1008" y="8844"/>
                    </a:lnTo>
                    <a:lnTo>
                      <a:pt x="1120" y="7053"/>
                    </a:lnTo>
                    <a:lnTo>
                      <a:pt x="1344" y="5374"/>
                    </a:lnTo>
                    <a:lnTo>
                      <a:pt x="1344" y="5374"/>
                    </a:lnTo>
                    <a:lnTo>
                      <a:pt x="1792" y="3919"/>
                    </a:lnTo>
                    <a:lnTo>
                      <a:pt x="1792" y="3919"/>
                    </a:lnTo>
                    <a:lnTo>
                      <a:pt x="2128" y="3247"/>
                    </a:lnTo>
                    <a:lnTo>
                      <a:pt x="2463" y="2688"/>
                    </a:lnTo>
                    <a:lnTo>
                      <a:pt x="2463" y="2688"/>
                    </a:lnTo>
                    <a:lnTo>
                      <a:pt x="3247" y="1904"/>
                    </a:lnTo>
                    <a:lnTo>
                      <a:pt x="4143" y="1232"/>
                    </a:lnTo>
                    <a:lnTo>
                      <a:pt x="4926" y="785"/>
                    </a:lnTo>
                    <a:lnTo>
                      <a:pt x="5710" y="449"/>
                    </a:lnTo>
                    <a:lnTo>
                      <a:pt x="6941" y="113"/>
                    </a:lnTo>
                    <a:lnTo>
                      <a:pt x="7389" y="1"/>
                    </a:lnTo>
                    <a:lnTo>
                      <a:pt x="7389" y="1"/>
                    </a:lnTo>
                    <a:lnTo>
                      <a:pt x="7725" y="1008"/>
                    </a:lnTo>
                    <a:lnTo>
                      <a:pt x="7837" y="1792"/>
                    </a:lnTo>
                    <a:lnTo>
                      <a:pt x="8060" y="2799"/>
                    </a:lnTo>
                    <a:lnTo>
                      <a:pt x="8060" y="2799"/>
                    </a:lnTo>
                    <a:lnTo>
                      <a:pt x="8060" y="4479"/>
                    </a:lnTo>
                    <a:lnTo>
                      <a:pt x="8060" y="4479"/>
                    </a:lnTo>
                    <a:lnTo>
                      <a:pt x="8172" y="5150"/>
                    </a:lnTo>
                    <a:lnTo>
                      <a:pt x="8396" y="6046"/>
                    </a:lnTo>
                    <a:lnTo>
                      <a:pt x="8620" y="6829"/>
                    </a:lnTo>
                    <a:lnTo>
                      <a:pt x="8732" y="7613"/>
                    </a:lnTo>
                    <a:lnTo>
                      <a:pt x="8732" y="7613"/>
                    </a:lnTo>
                    <a:lnTo>
                      <a:pt x="8620" y="8732"/>
                    </a:lnTo>
                    <a:lnTo>
                      <a:pt x="8396" y="9740"/>
                    </a:lnTo>
                    <a:lnTo>
                      <a:pt x="8172" y="10747"/>
                    </a:lnTo>
                    <a:lnTo>
                      <a:pt x="7948" y="11978"/>
                    </a:lnTo>
                    <a:lnTo>
                      <a:pt x="7948" y="11978"/>
                    </a:lnTo>
                    <a:lnTo>
                      <a:pt x="7725" y="12986"/>
                    </a:lnTo>
                    <a:lnTo>
                      <a:pt x="7613" y="13993"/>
                    </a:lnTo>
                    <a:lnTo>
                      <a:pt x="7501" y="15113"/>
                    </a:lnTo>
                    <a:lnTo>
                      <a:pt x="7501" y="15113"/>
                    </a:lnTo>
                    <a:lnTo>
                      <a:pt x="7501" y="16904"/>
                    </a:lnTo>
                    <a:lnTo>
                      <a:pt x="7613" y="18135"/>
                    </a:lnTo>
                    <a:lnTo>
                      <a:pt x="7725" y="19255"/>
                    </a:lnTo>
                    <a:lnTo>
                      <a:pt x="7725" y="20374"/>
                    </a:lnTo>
                    <a:lnTo>
                      <a:pt x="7725" y="20374"/>
                    </a:lnTo>
                    <a:lnTo>
                      <a:pt x="7501" y="22277"/>
                    </a:lnTo>
                    <a:lnTo>
                      <a:pt x="7165" y="23284"/>
                    </a:lnTo>
                    <a:lnTo>
                      <a:pt x="6717" y="24068"/>
                    </a:lnTo>
                    <a:lnTo>
                      <a:pt x="6046" y="2485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1" name="Google Shape;2031;p16">
                <a:extLst>
                  <a:ext uri="{FF2B5EF4-FFF2-40B4-BE49-F238E27FC236}">
                    <a16:creationId xmlns:a16="http://schemas.microsoft.com/office/drawing/2014/main" id="{61377466-8A08-DB44-24DD-87D785BB42B0}"/>
                  </a:ext>
                </a:extLst>
              </p:cNvPr>
              <p:cNvSpPr/>
              <p:nvPr/>
            </p:nvSpPr>
            <p:spPr>
              <a:xfrm>
                <a:off x="2858500" y="2006750"/>
                <a:ext cx="153950" cy="100775"/>
              </a:xfrm>
              <a:custGeom>
                <a:avLst/>
                <a:gdLst/>
                <a:ahLst/>
                <a:cxnLst/>
                <a:rect l="l" t="t" r="r" b="b"/>
                <a:pathLst>
                  <a:path w="6158" h="4031" extrusionOk="0">
                    <a:moveTo>
                      <a:pt x="2240" y="1"/>
                    </a:moveTo>
                    <a:lnTo>
                      <a:pt x="2016" y="112"/>
                    </a:lnTo>
                    <a:lnTo>
                      <a:pt x="2016" y="224"/>
                    </a:lnTo>
                    <a:lnTo>
                      <a:pt x="2128" y="672"/>
                    </a:lnTo>
                    <a:lnTo>
                      <a:pt x="2240" y="896"/>
                    </a:lnTo>
                    <a:lnTo>
                      <a:pt x="2240" y="1008"/>
                    </a:lnTo>
                    <a:lnTo>
                      <a:pt x="2128" y="1008"/>
                    </a:lnTo>
                    <a:lnTo>
                      <a:pt x="1232" y="784"/>
                    </a:lnTo>
                    <a:lnTo>
                      <a:pt x="449" y="784"/>
                    </a:lnTo>
                    <a:lnTo>
                      <a:pt x="225" y="1008"/>
                    </a:lnTo>
                    <a:lnTo>
                      <a:pt x="113" y="1232"/>
                    </a:lnTo>
                    <a:lnTo>
                      <a:pt x="1" y="1568"/>
                    </a:lnTo>
                    <a:lnTo>
                      <a:pt x="1" y="2015"/>
                    </a:lnTo>
                    <a:lnTo>
                      <a:pt x="113" y="2351"/>
                    </a:lnTo>
                    <a:lnTo>
                      <a:pt x="337" y="2799"/>
                    </a:lnTo>
                    <a:lnTo>
                      <a:pt x="560" y="3247"/>
                    </a:lnTo>
                    <a:lnTo>
                      <a:pt x="1008" y="3695"/>
                    </a:lnTo>
                    <a:lnTo>
                      <a:pt x="1456" y="3918"/>
                    </a:lnTo>
                    <a:lnTo>
                      <a:pt x="2016" y="4030"/>
                    </a:lnTo>
                    <a:lnTo>
                      <a:pt x="2463" y="4030"/>
                    </a:lnTo>
                    <a:lnTo>
                      <a:pt x="3023" y="3918"/>
                    </a:lnTo>
                    <a:lnTo>
                      <a:pt x="4143" y="3583"/>
                    </a:lnTo>
                    <a:lnTo>
                      <a:pt x="4814" y="3471"/>
                    </a:lnTo>
                    <a:lnTo>
                      <a:pt x="5374" y="3359"/>
                    </a:lnTo>
                    <a:lnTo>
                      <a:pt x="5822" y="3247"/>
                    </a:lnTo>
                    <a:lnTo>
                      <a:pt x="6045" y="3023"/>
                    </a:lnTo>
                    <a:lnTo>
                      <a:pt x="6157" y="2687"/>
                    </a:lnTo>
                    <a:lnTo>
                      <a:pt x="6045" y="2239"/>
                    </a:lnTo>
                    <a:lnTo>
                      <a:pt x="5710" y="1568"/>
                    </a:lnTo>
                    <a:lnTo>
                      <a:pt x="5486" y="1232"/>
                    </a:lnTo>
                    <a:lnTo>
                      <a:pt x="4702" y="1120"/>
                    </a:lnTo>
                    <a:lnTo>
                      <a:pt x="4031" y="896"/>
                    </a:lnTo>
                    <a:lnTo>
                      <a:pt x="3583" y="672"/>
                    </a:lnTo>
                    <a:lnTo>
                      <a:pt x="3135" y="448"/>
                    </a:lnTo>
                    <a:lnTo>
                      <a:pt x="2575" y="112"/>
                    </a:lnTo>
                    <a:lnTo>
                      <a:pt x="2352" y="1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2" name="Google Shape;2032;p16">
                <a:extLst>
                  <a:ext uri="{FF2B5EF4-FFF2-40B4-BE49-F238E27FC236}">
                    <a16:creationId xmlns:a16="http://schemas.microsoft.com/office/drawing/2014/main" id="{38184CFB-6D8A-B6E9-04B2-F58FA717571F}"/>
                  </a:ext>
                </a:extLst>
              </p:cNvPr>
              <p:cNvSpPr/>
              <p:nvPr/>
            </p:nvSpPr>
            <p:spPr>
              <a:xfrm>
                <a:off x="2976050" y="1777275"/>
                <a:ext cx="548525" cy="333050"/>
              </a:xfrm>
              <a:custGeom>
                <a:avLst/>
                <a:gdLst/>
                <a:ahLst/>
                <a:cxnLst/>
                <a:rect l="l" t="t" r="r" b="b"/>
                <a:pathLst>
                  <a:path w="21941" h="13322" extrusionOk="0">
                    <a:moveTo>
                      <a:pt x="21940" y="1"/>
                    </a:moveTo>
                    <a:lnTo>
                      <a:pt x="21157" y="336"/>
                    </a:lnTo>
                    <a:lnTo>
                      <a:pt x="20373" y="672"/>
                    </a:lnTo>
                    <a:lnTo>
                      <a:pt x="19590" y="1232"/>
                    </a:lnTo>
                    <a:lnTo>
                      <a:pt x="18806" y="1792"/>
                    </a:lnTo>
                    <a:lnTo>
                      <a:pt x="17239" y="3247"/>
                    </a:lnTo>
                    <a:lnTo>
                      <a:pt x="15672" y="4702"/>
                    </a:lnTo>
                    <a:lnTo>
                      <a:pt x="14216" y="6269"/>
                    </a:lnTo>
                    <a:lnTo>
                      <a:pt x="12985" y="7500"/>
                    </a:lnTo>
                    <a:lnTo>
                      <a:pt x="11754" y="8508"/>
                    </a:lnTo>
                    <a:lnTo>
                      <a:pt x="11194" y="8844"/>
                    </a:lnTo>
                    <a:lnTo>
                      <a:pt x="10746" y="9068"/>
                    </a:lnTo>
                    <a:lnTo>
                      <a:pt x="9627" y="9291"/>
                    </a:lnTo>
                    <a:lnTo>
                      <a:pt x="8284" y="9403"/>
                    </a:lnTo>
                    <a:lnTo>
                      <a:pt x="4926" y="9627"/>
                    </a:lnTo>
                    <a:lnTo>
                      <a:pt x="1791" y="9739"/>
                    </a:lnTo>
                    <a:lnTo>
                      <a:pt x="224" y="9739"/>
                    </a:lnTo>
                    <a:lnTo>
                      <a:pt x="112" y="9963"/>
                    </a:lnTo>
                    <a:lnTo>
                      <a:pt x="0" y="10299"/>
                    </a:lnTo>
                    <a:lnTo>
                      <a:pt x="112" y="11418"/>
                    </a:lnTo>
                    <a:lnTo>
                      <a:pt x="336" y="12538"/>
                    </a:lnTo>
                    <a:lnTo>
                      <a:pt x="448" y="12985"/>
                    </a:lnTo>
                    <a:lnTo>
                      <a:pt x="672" y="13097"/>
                    </a:lnTo>
                    <a:lnTo>
                      <a:pt x="1903" y="13097"/>
                    </a:lnTo>
                    <a:lnTo>
                      <a:pt x="4254" y="13209"/>
                    </a:lnTo>
                    <a:lnTo>
                      <a:pt x="8284" y="13321"/>
                    </a:lnTo>
                    <a:lnTo>
                      <a:pt x="10299" y="13321"/>
                    </a:lnTo>
                    <a:lnTo>
                      <a:pt x="12090" y="13209"/>
                    </a:lnTo>
                    <a:lnTo>
                      <a:pt x="12425" y="13097"/>
                    </a:lnTo>
                    <a:lnTo>
                      <a:pt x="12985" y="12874"/>
                    </a:lnTo>
                    <a:lnTo>
                      <a:pt x="14328" y="11978"/>
                    </a:lnTo>
                    <a:lnTo>
                      <a:pt x="15896" y="10747"/>
                    </a:lnTo>
                    <a:lnTo>
                      <a:pt x="17575" y="9291"/>
                    </a:lnTo>
                    <a:lnTo>
                      <a:pt x="20373" y="6717"/>
                    </a:lnTo>
                    <a:lnTo>
                      <a:pt x="21604" y="5597"/>
                    </a:lnTo>
                    <a:lnTo>
                      <a:pt x="21940" y="1"/>
                    </a:lnTo>
                    <a:close/>
                  </a:path>
                </a:pathLst>
              </a:custGeom>
              <a:solidFill>
                <a:srgbClr val="DF332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3" name="Google Shape;2033;p16">
                <a:extLst>
                  <a:ext uri="{FF2B5EF4-FFF2-40B4-BE49-F238E27FC236}">
                    <a16:creationId xmlns:a16="http://schemas.microsoft.com/office/drawing/2014/main" id="{113B4123-8AD5-C284-6896-B7A316E40C9D}"/>
                  </a:ext>
                </a:extLst>
              </p:cNvPr>
              <p:cNvSpPr/>
              <p:nvPr/>
            </p:nvSpPr>
            <p:spPr>
              <a:xfrm>
                <a:off x="2976050" y="1777275"/>
                <a:ext cx="548525" cy="333050"/>
              </a:xfrm>
              <a:custGeom>
                <a:avLst/>
                <a:gdLst/>
                <a:ahLst/>
                <a:cxnLst/>
                <a:rect l="l" t="t" r="r" b="b"/>
                <a:pathLst>
                  <a:path w="21941" h="13322" fill="none" extrusionOk="0">
                    <a:moveTo>
                      <a:pt x="21940" y="1"/>
                    </a:moveTo>
                    <a:lnTo>
                      <a:pt x="21940" y="1"/>
                    </a:lnTo>
                    <a:lnTo>
                      <a:pt x="21157" y="336"/>
                    </a:lnTo>
                    <a:lnTo>
                      <a:pt x="20373" y="672"/>
                    </a:lnTo>
                    <a:lnTo>
                      <a:pt x="19590" y="1232"/>
                    </a:lnTo>
                    <a:lnTo>
                      <a:pt x="18806" y="1792"/>
                    </a:lnTo>
                    <a:lnTo>
                      <a:pt x="17239" y="3247"/>
                    </a:lnTo>
                    <a:lnTo>
                      <a:pt x="15672" y="4702"/>
                    </a:lnTo>
                    <a:lnTo>
                      <a:pt x="14216" y="6269"/>
                    </a:lnTo>
                    <a:lnTo>
                      <a:pt x="12985" y="7500"/>
                    </a:lnTo>
                    <a:lnTo>
                      <a:pt x="11754" y="8508"/>
                    </a:lnTo>
                    <a:lnTo>
                      <a:pt x="11194" y="8844"/>
                    </a:lnTo>
                    <a:lnTo>
                      <a:pt x="10746" y="9068"/>
                    </a:lnTo>
                    <a:lnTo>
                      <a:pt x="10746" y="9068"/>
                    </a:lnTo>
                    <a:lnTo>
                      <a:pt x="9627" y="9291"/>
                    </a:lnTo>
                    <a:lnTo>
                      <a:pt x="8284" y="9403"/>
                    </a:lnTo>
                    <a:lnTo>
                      <a:pt x="4926" y="9627"/>
                    </a:lnTo>
                    <a:lnTo>
                      <a:pt x="1791" y="9739"/>
                    </a:lnTo>
                    <a:lnTo>
                      <a:pt x="224" y="9739"/>
                    </a:lnTo>
                    <a:lnTo>
                      <a:pt x="224" y="9739"/>
                    </a:lnTo>
                    <a:lnTo>
                      <a:pt x="112" y="9963"/>
                    </a:lnTo>
                    <a:lnTo>
                      <a:pt x="0" y="10299"/>
                    </a:lnTo>
                    <a:lnTo>
                      <a:pt x="112" y="11418"/>
                    </a:lnTo>
                    <a:lnTo>
                      <a:pt x="336" y="12538"/>
                    </a:lnTo>
                    <a:lnTo>
                      <a:pt x="448" y="12985"/>
                    </a:lnTo>
                    <a:lnTo>
                      <a:pt x="672" y="13097"/>
                    </a:lnTo>
                    <a:lnTo>
                      <a:pt x="672" y="13097"/>
                    </a:lnTo>
                    <a:lnTo>
                      <a:pt x="1903" y="13097"/>
                    </a:lnTo>
                    <a:lnTo>
                      <a:pt x="4254" y="13209"/>
                    </a:lnTo>
                    <a:lnTo>
                      <a:pt x="4254" y="13209"/>
                    </a:lnTo>
                    <a:lnTo>
                      <a:pt x="8284" y="13321"/>
                    </a:lnTo>
                    <a:lnTo>
                      <a:pt x="10299" y="13321"/>
                    </a:lnTo>
                    <a:lnTo>
                      <a:pt x="12090" y="13209"/>
                    </a:lnTo>
                    <a:lnTo>
                      <a:pt x="12090" y="13209"/>
                    </a:lnTo>
                    <a:lnTo>
                      <a:pt x="12425" y="13097"/>
                    </a:lnTo>
                    <a:lnTo>
                      <a:pt x="12985" y="12874"/>
                    </a:lnTo>
                    <a:lnTo>
                      <a:pt x="14328" y="11978"/>
                    </a:lnTo>
                    <a:lnTo>
                      <a:pt x="15896" y="10747"/>
                    </a:lnTo>
                    <a:lnTo>
                      <a:pt x="17575" y="9291"/>
                    </a:lnTo>
                    <a:lnTo>
                      <a:pt x="20373" y="6717"/>
                    </a:lnTo>
                    <a:lnTo>
                      <a:pt x="21604" y="5597"/>
                    </a:lnTo>
                    <a:lnTo>
                      <a:pt x="2194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4" name="Google Shape;2034;p16">
                <a:extLst>
                  <a:ext uri="{FF2B5EF4-FFF2-40B4-BE49-F238E27FC236}">
                    <a16:creationId xmlns:a16="http://schemas.microsoft.com/office/drawing/2014/main" id="{F7A72A5D-AFB1-AB01-7FB9-7F3FC485EDCD}"/>
                  </a:ext>
                </a:extLst>
              </p:cNvPr>
              <p:cNvSpPr/>
              <p:nvPr/>
            </p:nvSpPr>
            <p:spPr>
              <a:xfrm>
                <a:off x="3415400" y="1819250"/>
                <a:ext cx="33600" cy="28000"/>
              </a:xfrm>
              <a:custGeom>
                <a:avLst/>
                <a:gdLst/>
                <a:ahLst/>
                <a:cxnLst/>
                <a:rect l="l" t="t" r="r" b="b"/>
                <a:pathLst>
                  <a:path w="1344" h="1120" extrusionOk="0">
                    <a:moveTo>
                      <a:pt x="1344" y="1"/>
                    </a:moveTo>
                    <a:lnTo>
                      <a:pt x="784" y="336"/>
                    </a:lnTo>
                    <a:lnTo>
                      <a:pt x="523" y="685"/>
                    </a:lnTo>
                    <a:lnTo>
                      <a:pt x="1344" y="1"/>
                    </a:lnTo>
                    <a:close/>
                    <a:moveTo>
                      <a:pt x="523" y="685"/>
                    </a:moveTo>
                    <a:lnTo>
                      <a:pt x="1" y="1120"/>
                    </a:lnTo>
                    <a:lnTo>
                      <a:pt x="448" y="784"/>
                    </a:lnTo>
                    <a:lnTo>
                      <a:pt x="523" y="685"/>
                    </a:lnTo>
                    <a:close/>
                  </a:path>
                </a:pathLst>
              </a:custGeom>
              <a:solidFill>
                <a:srgbClr val="C0BDC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5" name="Google Shape;2035;p16">
                <a:extLst>
                  <a:ext uri="{FF2B5EF4-FFF2-40B4-BE49-F238E27FC236}">
                    <a16:creationId xmlns:a16="http://schemas.microsoft.com/office/drawing/2014/main" id="{1D032300-74B6-94F2-00C6-7C573E5B22DE}"/>
                  </a:ext>
                </a:extLst>
              </p:cNvPr>
              <p:cNvSpPr/>
              <p:nvPr/>
            </p:nvSpPr>
            <p:spPr>
              <a:xfrm>
                <a:off x="3415400" y="1819250"/>
                <a:ext cx="33600" cy="28000"/>
              </a:xfrm>
              <a:custGeom>
                <a:avLst/>
                <a:gdLst/>
                <a:ahLst/>
                <a:cxnLst/>
                <a:rect l="l" t="t" r="r" b="b"/>
                <a:pathLst>
                  <a:path w="1344" h="1120" fill="none" extrusionOk="0">
                    <a:moveTo>
                      <a:pt x="1344" y="1"/>
                    </a:moveTo>
                    <a:lnTo>
                      <a:pt x="1344" y="1"/>
                    </a:lnTo>
                    <a:lnTo>
                      <a:pt x="784" y="336"/>
                    </a:lnTo>
                    <a:lnTo>
                      <a:pt x="448" y="784"/>
                    </a:lnTo>
                    <a:lnTo>
                      <a:pt x="1" y="1120"/>
                    </a:lnTo>
                    <a:lnTo>
                      <a:pt x="1" y="1120"/>
                    </a:lnTo>
                    <a:lnTo>
                      <a:pt x="1" y="1120"/>
                    </a:lnTo>
                    <a:lnTo>
                      <a:pt x="1" y="1120"/>
                    </a:lnTo>
                    <a:lnTo>
                      <a:pt x="1344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6" name="Google Shape;2036;p16">
                <a:extLst>
                  <a:ext uri="{FF2B5EF4-FFF2-40B4-BE49-F238E27FC236}">
                    <a16:creationId xmlns:a16="http://schemas.microsoft.com/office/drawing/2014/main" id="{719F2281-48E4-B243-F499-54EFAEDF27FF}"/>
                  </a:ext>
                </a:extLst>
              </p:cNvPr>
              <p:cNvSpPr/>
              <p:nvPr/>
            </p:nvSpPr>
            <p:spPr>
              <a:xfrm>
                <a:off x="3605700" y="1796875"/>
                <a:ext cx="50400" cy="42000"/>
              </a:xfrm>
              <a:custGeom>
                <a:avLst/>
                <a:gdLst/>
                <a:ahLst/>
                <a:cxnLst/>
                <a:rect l="l" t="t" r="r" b="b"/>
                <a:pathLst>
                  <a:path w="2016" h="1680" extrusionOk="0">
                    <a:moveTo>
                      <a:pt x="1680" y="0"/>
                    </a:moveTo>
                    <a:lnTo>
                      <a:pt x="1456" y="112"/>
                    </a:lnTo>
                    <a:lnTo>
                      <a:pt x="1344" y="224"/>
                    </a:lnTo>
                    <a:lnTo>
                      <a:pt x="896" y="560"/>
                    </a:lnTo>
                    <a:lnTo>
                      <a:pt x="0" y="784"/>
                    </a:lnTo>
                    <a:lnTo>
                      <a:pt x="112" y="1119"/>
                    </a:lnTo>
                    <a:lnTo>
                      <a:pt x="112" y="1679"/>
                    </a:lnTo>
                    <a:lnTo>
                      <a:pt x="1008" y="1008"/>
                    </a:lnTo>
                    <a:lnTo>
                      <a:pt x="1456" y="672"/>
                    </a:lnTo>
                    <a:lnTo>
                      <a:pt x="1680" y="560"/>
                    </a:lnTo>
                    <a:lnTo>
                      <a:pt x="1903" y="448"/>
                    </a:lnTo>
                    <a:lnTo>
                      <a:pt x="2015" y="224"/>
                    </a:lnTo>
                    <a:lnTo>
                      <a:pt x="1903" y="112"/>
                    </a:lnTo>
                    <a:lnTo>
                      <a:pt x="1791" y="0"/>
                    </a:lnTo>
                    <a:close/>
                  </a:path>
                </a:pathLst>
              </a:custGeom>
              <a:solidFill>
                <a:srgbClr val="C0BDC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7" name="Google Shape;2037;p16">
                <a:extLst>
                  <a:ext uri="{FF2B5EF4-FFF2-40B4-BE49-F238E27FC236}">
                    <a16:creationId xmlns:a16="http://schemas.microsoft.com/office/drawing/2014/main" id="{50CE443E-D8CF-E04B-3741-D59E8D843C43}"/>
                  </a:ext>
                </a:extLst>
              </p:cNvPr>
              <p:cNvSpPr/>
              <p:nvPr/>
            </p:nvSpPr>
            <p:spPr>
              <a:xfrm>
                <a:off x="3605700" y="1796875"/>
                <a:ext cx="50400" cy="42000"/>
              </a:xfrm>
              <a:custGeom>
                <a:avLst/>
                <a:gdLst/>
                <a:ahLst/>
                <a:cxnLst/>
                <a:rect l="l" t="t" r="r" b="b"/>
                <a:pathLst>
                  <a:path w="2016" h="1680" fill="none" extrusionOk="0">
                    <a:moveTo>
                      <a:pt x="1680" y="0"/>
                    </a:moveTo>
                    <a:lnTo>
                      <a:pt x="1680" y="0"/>
                    </a:lnTo>
                    <a:lnTo>
                      <a:pt x="1456" y="112"/>
                    </a:lnTo>
                    <a:lnTo>
                      <a:pt x="1344" y="224"/>
                    </a:lnTo>
                    <a:lnTo>
                      <a:pt x="896" y="560"/>
                    </a:lnTo>
                    <a:lnTo>
                      <a:pt x="896" y="560"/>
                    </a:lnTo>
                    <a:lnTo>
                      <a:pt x="0" y="784"/>
                    </a:lnTo>
                    <a:lnTo>
                      <a:pt x="0" y="784"/>
                    </a:lnTo>
                    <a:lnTo>
                      <a:pt x="112" y="1119"/>
                    </a:lnTo>
                    <a:lnTo>
                      <a:pt x="112" y="1119"/>
                    </a:lnTo>
                    <a:lnTo>
                      <a:pt x="112" y="1679"/>
                    </a:lnTo>
                    <a:lnTo>
                      <a:pt x="112" y="1679"/>
                    </a:lnTo>
                    <a:lnTo>
                      <a:pt x="1008" y="1008"/>
                    </a:lnTo>
                    <a:lnTo>
                      <a:pt x="1456" y="672"/>
                    </a:lnTo>
                    <a:lnTo>
                      <a:pt x="1456" y="672"/>
                    </a:lnTo>
                    <a:lnTo>
                      <a:pt x="1456" y="672"/>
                    </a:lnTo>
                    <a:lnTo>
                      <a:pt x="1456" y="672"/>
                    </a:lnTo>
                    <a:lnTo>
                      <a:pt x="1456" y="672"/>
                    </a:lnTo>
                    <a:lnTo>
                      <a:pt x="1456" y="672"/>
                    </a:lnTo>
                    <a:lnTo>
                      <a:pt x="1680" y="560"/>
                    </a:lnTo>
                    <a:lnTo>
                      <a:pt x="1903" y="448"/>
                    </a:lnTo>
                    <a:lnTo>
                      <a:pt x="2015" y="224"/>
                    </a:lnTo>
                    <a:lnTo>
                      <a:pt x="1903" y="112"/>
                    </a:lnTo>
                    <a:lnTo>
                      <a:pt x="1791" y="0"/>
                    </a:lnTo>
                    <a:lnTo>
                      <a:pt x="1791" y="0"/>
                    </a:lnTo>
                    <a:lnTo>
                      <a:pt x="168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8" name="Google Shape;2038;p16">
                <a:extLst>
                  <a:ext uri="{FF2B5EF4-FFF2-40B4-BE49-F238E27FC236}">
                    <a16:creationId xmlns:a16="http://schemas.microsoft.com/office/drawing/2014/main" id="{CE7274D6-CDB3-712F-B90F-819E10A1F777}"/>
                  </a:ext>
                </a:extLst>
              </p:cNvPr>
              <p:cNvSpPr/>
              <p:nvPr/>
            </p:nvSpPr>
            <p:spPr>
              <a:xfrm>
                <a:off x="3518950" y="1816450"/>
                <a:ext cx="89575" cy="53200"/>
              </a:xfrm>
              <a:custGeom>
                <a:avLst/>
                <a:gdLst/>
                <a:ahLst/>
                <a:cxnLst/>
                <a:rect l="l" t="t" r="r" b="b"/>
                <a:pathLst>
                  <a:path w="3583" h="2128" extrusionOk="0">
                    <a:moveTo>
                      <a:pt x="3470" y="1"/>
                    </a:moveTo>
                    <a:lnTo>
                      <a:pt x="2575" y="336"/>
                    </a:lnTo>
                    <a:lnTo>
                      <a:pt x="1456" y="560"/>
                    </a:lnTo>
                    <a:lnTo>
                      <a:pt x="560" y="672"/>
                    </a:lnTo>
                    <a:lnTo>
                      <a:pt x="112" y="672"/>
                    </a:lnTo>
                    <a:lnTo>
                      <a:pt x="0" y="2128"/>
                    </a:lnTo>
                    <a:lnTo>
                      <a:pt x="1008" y="2128"/>
                    </a:lnTo>
                    <a:lnTo>
                      <a:pt x="1679" y="1904"/>
                    </a:lnTo>
                    <a:lnTo>
                      <a:pt x="2351" y="1680"/>
                    </a:lnTo>
                    <a:lnTo>
                      <a:pt x="3582" y="896"/>
                    </a:lnTo>
                    <a:lnTo>
                      <a:pt x="3582" y="336"/>
                    </a:lnTo>
                    <a:lnTo>
                      <a:pt x="3470" y="1"/>
                    </a:lnTo>
                    <a:close/>
                  </a:path>
                </a:pathLst>
              </a:custGeom>
              <a:solidFill>
                <a:srgbClr val="B5352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9" name="Google Shape;2039;p16">
                <a:extLst>
                  <a:ext uri="{FF2B5EF4-FFF2-40B4-BE49-F238E27FC236}">
                    <a16:creationId xmlns:a16="http://schemas.microsoft.com/office/drawing/2014/main" id="{C55C3EED-96BC-24A2-D06B-369CCD5CEA6F}"/>
                  </a:ext>
                </a:extLst>
              </p:cNvPr>
              <p:cNvSpPr/>
              <p:nvPr/>
            </p:nvSpPr>
            <p:spPr>
              <a:xfrm>
                <a:off x="3518950" y="1816450"/>
                <a:ext cx="89575" cy="53200"/>
              </a:xfrm>
              <a:custGeom>
                <a:avLst/>
                <a:gdLst/>
                <a:ahLst/>
                <a:cxnLst/>
                <a:rect l="l" t="t" r="r" b="b"/>
                <a:pathLst>
                  <a:path w="3583" h="2128" fill="none" extrusionOk="0">
                    <a:moveTo>
                      <a:pt x="3470" y="1"/>
                    </a:moveTo>
                    <a:lnTo>
                      <a:pt x="3470" y="1"/>
                    </a:lnTo>
                    <a:lnTo>
                      <a:pt x="2575" y="336"/>
                    </a:lnTo>
                    <a:lnTo>
                      <a:pt x="1456" y="560"/>
                    </a:lnTo>
                    <a:lnTo>
                      <a:pt x="1456" y="560"/>
                    </a:lnTo>
                    <a:lnTo>
                      <a:pt x="560" y="672"/>
                    </a:lnTo>
                    <a:lnTo>
                      <a:pt x="560" y="672"/>
                    </a:lnTo>
                    <a:lnTo>
                      <a:pt x="112" y="672"/>
                    </a:lnTo>
                    <a:lnTo>
                      <a:pt x="0" y="2128"/>
                    </a:lnTo>
                    <a:lnTo>
                      <a:pt x="0" y="2128"/>
                    </a:lnTo>
                    <a:lnTo>
                      <a:pt x="224" y="2128"/>
                    </a:lnTo>
                    <a:lnTo>
                      <a:pt x="224" y="2128"/>
                    </a:lnTo>
                    <a:lnTo>
                      <a:pt x="1008" y="2128"/>
                    </a:lnTo>
                    <a:lnTo>
                      <a:pt x="1008" y="2128"/>
                    </a:lnTo>
                    <a:lnTo>
                      <a:pt x="1679" y="1904"/>
                    </a:lnTo>
                    <a:lnTo>
                      <a:pt x="2351" y="1680"/>
                    </a:lnTo>
                    <a:lnTo>
                      <a:pt x="3582" y="896"/>
                    </a:lnTo>
                    <a:lnTo>
                      <a:pt x="3582" y="896"/>
                    </a:lnTo>
                    <a:lnTo>
                      <a:pt x="3582" y="336"/>
                    </a:lnTo>
                    <a:lnTo>
                      <a:pt x="3582" y="336"/>
                    </a:lnTo>
                    <a:lnTo>
                      <a:pt x="347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0" name="Google Shape;2040;p16">
                <a:extLst>
                  <a:ext uri="{FF2B5EF4-FFF2-40B4-BE49-F238E27FC236}">
                    <a16:creationId xmlns:a16="http://schemas.microsoft.com/office/drawing/2014/main" id="{57E92CC1-1C8C-28C7-5BFA-AE6CA0A09C96}"/>
                  </a:ext>
                </a:extLst>
              </p:cNvPr>
              <p:cNvSpPr/>
              <p:nvPr/>
            </p:nvSpPr>
            <p:spPr>
              <a:xfrm>
                <a:off x="3415400" y="1813650"/>
                <a:ext cx="106375" cy="56000"/>
              </a:xfrm>
              <a:custGeom>
                <a:avLst/>
                <a:gdLst/>
                <a:ahLst/>
                <a:cxnLst/>
                <a:rect l="l" t="t" r="r" b="b"/>
                <a:pathLst>
                  <a:path w="4255" h="2240" extrusionOk="0">
                    <a:moveTo>
                      <a:pt x="1904" y="1"/>
                    </a:moveTo>
                    <a:lnTo>
                      <a:pt x="1344" y="225"/>
                    </a:lnTo>
                    <a:lnTo>
                      <a:pt x="1" y="1344"/>
                    </a:lnTo>
                    <a:lnTo>
                      <a:pt x="3471" y="2240"/>
                    </a:lnTo>
                    <a:lnTo>
                      <a:pt x="4142" y="2240"/>
                    </a:lnTo>
                    <a:lnTo>
                      <a:pt x="4254" y="784"/>
                    </a:lnTo>
                    <a:lnTo>
                      <a:pt x="3807" y="672"/>
                    </a:lnTo>
                    <a:lnTo>
                      <a:pt x="3023" y="560"/>
                    </a:lnTo>
                    <a:lnTo>
                      <a:pt x="2575" y="448"/>
                    </a:lnTo>
                    <a:lnTo>
                      <a:pt x="1904" y="1"/>
                    </a:lnTo>
                    <a:close/>
                  </a:path>
                </a:pathLst>
              </a:custGeom>
              <a:solidFill>
                <a:srgbClr val="B5352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1" name="Google Shape;2041;p16">
                <a:extLst>
                  <a:ext uri="{FF2B5EF4-FFF2-40B4-BE49-F238E27FC236}">
                    <a16:creationId xmlns:a16="http://schemas.microsoft.com/office/drawing/2014/main" id="{7FC70146-6688-A7B5-EFCC-155E699AAF3D}"/>
                  </a:ext>
                </a:extLst>
              </p:cNvPr>
              <p:cNvSpPr/>
              <p:nvPr/>
            </p:nvSpPr>
            <p:spPr>
              <a:xfrm>
                <a:off x="3415400" y="1813650"/>
                <a:ext cx="106375" cy="56000"/>
              </a:xfrm>
              <a:custGeom>
                <a:avLst/>
                <a:gdLst/>
                <a:ahLst/>
                <a:cxnLst/>
                <a:rect l="l" t="t" r="r" b="b"/>
                <a:pathLst>
                  <a:path w="4255" h="2240" fill="none" extrusionOk="0">
                    <a:moveTo>
                      <a:pt x="1904" y="1"/>
                    </a:moveTo>
                    <a:lnTo>
                      <a:pt x="1904" y="1"/>
                    </a:lnTo>
                    <a:lnTo>
                      <a:pt x="1344" y="225"/>
                    </a:lnTo>
                    <a:lnTo>
                      <a:pt x="1344" y="225"/>
                    </a:lnTo>
                    <a:lnTo>
                      <a:pt x="1" y="1344"/>
                    </a:lnTo>
                    <a:lnTo>
                      <a:pt x="1" y="1344"/>
                    </a:lnTo>
                    <a:lnTo>
                      <a:pt x="3471" y="2240"/>
                    </a:lnTo>
                    <a:lnTo>
                      <a:pt x="3471" y="2240"/>
                    </a:lnTo>
                    <a:lnTo>
                      <a:pt x="4142" y="2240"/>
                    </a:lnTo>
                    <a:lnTo>
                      <a:pt x="4254" y="784"/>
                    </a:lnTo>
                    <a:lnTo>
                      <a:pt x="4254" y="784"/>
                    </a:lnTo>
                    <a:lnTo>
                      <a:pt x="3807" y="672"/>
                    </a:lnTo>
                    <a:lnTo>
                      <a:pt x="3807" y="672"/>
                    </a:lnTo>
                    <a:lnTo>
                      <a:pt x="3023" y="560"/>
                    </a:lnTo>
                    <a:lnTo>
                      <a:pt x="2575" y="448"/>
                    </a:lnTo>
                    <a:lnTo>
                      <a:pt x="1904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2" name="Google Shape;2042;p16">
                <a:extLst>
                  <a:ext uri="{FF2B5EF4-FFF2-40B4-BE49-F238E27FC236}">
                    <a16:creationId xmlns:a16="http://schemas.microsoft.com/office/drawing/2014/main" id="{A1D2AF41-26F6-AD8E-ED3B-0986A72DF04E}"/>
                  </a:ext>
                </a:extLst>
              </p:cNvPr>
              <p:cNvSpPr/>
              <p:nvPr/>
            </p:nvSpPr>
            <p:spPr>
              <a:xfrm>
                <a:off x="2922875" y="1684925"/>
                <a:ext cx="744425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29777" h="6605" extrusionOk="0">
                    <a:moveTo>
                      <a:pt x="560" y="1"/>
                    </a:moveTo>
                    <a:lnTo>
                      <a:pt x="224" y="224"/>
                    </a:lnTo>
                    <a:lnTo>
                      <a:pt x="0" y="448"/>
                    </a:lnTo>
                    <a:lnTo>
                      <a:pt x="0" y="784"/>
                    </a:lnTo>
                    <a:lnTo>
                      <a:pt x="224" y="1232"/>
                    </a:lnTo>
                    <a:lnTo>
                      <a:pt x="448" y="1680"/>
                    </a:lnTo>
                    <a:lnTo>
                      <a:pt x="896" y="2015"/>
                    </a:lnTo>
                    <a:lnTo>
                      <a:pt x="2239" y="2575"/>
                    </a:lnTo>
                    <a:lnTo>
                      <a:pt x="4590" y="3471"/>
                    </a:lnTo>
                    <a:lnTo>
                      <a:pt x="7276" y="4366"/>
                    </a:lnTo>
                    <a:lnTo>
                      <a:pt x="9179" y="4814"/>
                    </a:lnTo>
                    <a:lnTo>
                      <a:pt x="11306" y="4814"/>
                    </a:lnTo>
                    <a:lnTo>
                      <a:pt x="12314" y="4590"/>
                    </a:lnTo>
                    <a:lnTo>
                      <a:pt x="13321" y="4366"/>
                    </a:lnTo>
                    <a:lnTo>
                      <a:pt x="15224" y="3918"/>
                    </a:lnTo>
                    <a:lnTo>
                      <a:pt x="16008" y="3806"/>
                    </a:lnTo>
                    <a:lnTo>
                      <a:pt x="16679" y="3806"/>
                    </a:lnTo>
                    <a:lnTo>
                      <a:pt x="17463" y="4030"/>
                    </a:lnTo>
                    <a:lnTo>
                      <a:pt x="18246" y="4366"/>
                    </a:lnTo>
                    <a:lnTo>
                      <a:pt x="20149" y="5150"/>
                    </a:lnTo>
                    <a:lnTo>
                      <a:pt x="22052" y="5933"/>
                    </a:lnTo>
                    <a:lnTo>
                      <a:pt x="22948" y="6269"/>
                    </a:lnTo>
                    <a:lnTo>
                      <a:pt x="23843" y="6493"/>
                    </a:lnTo>
                    <a:lnTo>
                      <a:pt x="24627" y="6605"/>
                    </a:lnTo>
                    <a:lnTo>
                      <a:pt x="25522" y="6493"/>
                    </a:lnTo>
                    <a:lnTo>
                      <a:pt x="26306" y="6269"/>
                    </a:lnTo>
                    <a:lnTo>
                      <a:pt x="27090" y="5933"/>
                    </a:lnTo>
                    <a:lnTo>
                      <a:pt x="28321" y="5374"/>
                    </a:lnTo>
                    <a:lnTo>
                      <a:pt x="28769" y="5150"/>
                    </a:lnTo>
                    <a:lnTo>
                      <a:pt x="28993" y="5262"/>
                    </a:lnTo>
                    <a:lnTo>
                      <a:pt x="29328" y="5374"/>
                    </a:lnTo>
                    <a:lnTo>
                      <a:pt x="29440" y="5374"/>
                    </a:lnTo>
                    <a:lnTo>
                      <a:pt x="29552" y="5150"/>
                    </a:lnTo>
                    <a:lnTo>
                      <a:pt x="29664" y="4814"/>
                    </a:lnTo>
                    <a:lnTo>
                      <a:pt x="29776" y="4590"/>
                    </a:lnTo>
                    <a:lnTo>
                      <a:pt x="29664" y="4366"/>
                    </a:lnTo>
                    <a:lnTo>
                      <a:pt x="29552" y="4254"/>
                    </a:lnTo>
                    <a:lnTo>
                      <a:pt x="29216" y="4030"/>
                    </a:lnTo>
                    <a:lnTo>
                      <a:pt x="28993" y="4030"/>
                    </a:lnTo>
                    <a:lnTo>
                      <a:pt x="28881" y="4142"/>
                    </a:lnTo>
                    <a:lnTo>
                      <a:pt x="28433" y="4254"/>
                    </a:lnTo>
                    <a:lnTo>
                      <a:pt x="27537" y="4702"/>
                    </a:lnTo>
                    <a:lnTo>
                      <a:pt x="26418" y="5038"/>
                    </a:lnTo>
                    <a:lnTo>
                      <a:pt x="25299" y="5150"/>
                    </a:lnTo>
                    <a:lnTo>
                      <a:pt x="24627" y="5150"/>
                    </a:lnTo>
                    <a:lnTo>
                      <a:pt x="24067" y="5038"/>
                    </a:lnTo>
                    <a:lnTo>
                      <a:pt x="23396" y="4926"/>
                    </a:lnTo>
                    <a:lnTo>
                      <a:pt x="22612" y="4478"/>
                    </a:lnTo>
                    <a:lnTo>
                      <a:pt x="20821" y="3359"/>
                    </a:lnTo>
                    <a:lnTo>
                      <a:pt x="19926" y="2799"/>
                    </a:lnTo>
                    <a:lnTo>
                      <a:pt x="18918" y="2239"/>
                    </a:lnTo>
                    <a:lnTo>
                      <a:pt x="17911" y="1903"/>
                    </a:lnTo>
                    <a:lnTo>
                      <a:pt x="17015" y="1680"/>
                    </a:lnTo>
                    <a:lnTo>
                      <a:pt x="16120" y="1680"/>
                    </a:lnTo>
                    <a:lnTo>
                      <a:pt x="15224" y="1903"/>
                    </a:lnTo>
                    <a:lnTo>
                      <a:pt x="13657" y="2463"/>
                    </a:lnTo>
                    <a:lnTo>
                      <a:pt x="12873" y="2687"/>
                    </a:lnTo>
                    <a:lnTo>
                      <a:pt x="11866" y="2911"/>
                    </a:lnTo>
                    <a:lnTo>
                      <a:pt x="10858" y="3023"/>
                    </a:lnTo>
                    <a:lnTo>
                      <a:pt x="9627" y="2911"/>
                    </a:lnTo>
                    <a:lnTo>
                      <a:pt x="8284" y="2687"/>
                    </a:lnTo>
                    <a:lnTo>
                      <a:pt x="7053" y="2351"/>
                    </a:lnTo>
                    <a:lnTo>
                      <a:pt x="5933" y="1903"/>
                    </a:lnTo>
                    <a:lnTo>
                      <a:pt x="4814" y="1456"/>
                    </a:lnTo>
                    <a:lnTo>
                      <a:pt x="3023" y="560"/>
                    </a:lnTo>
                    <a:lnTo>
                      <a:pt x="2351" y="224"/>
                    </a:lnTo>
                    <a:lnTo>
                      <a:pt x="1791" y="112"/>
                    </a:lnTo>
                    <a:lnTo>
                      <a:pt x="1120" y="1"/>
                    </a:lnTo>
                    <a:close/>
                  </a:path>
                </a:pathLst>
              </a:custGeom>
              <a:solidFill>
                <a:srgbClr val="FDB61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3" name="Google Shape;2043;p16">
                <a:extLst>
                  <a:ext uri="{FF2B5EF4-FFF2-40B4-BE49-F238E27FC236}">
                    <a16:creationId xmlns:a16="http://schemas.microsoft.com/office/drawing/2014/main" id="{BBC6CB09-6A00-9B96-208D-29975F17ECAC}"/>
                  </a:ext>
                </a:extLst>
              </p:cNvPr>
              <p:cNvSpPr/>
              <p:nvPr/>
            </p:nvSpPr>
            <p:spPr>
              <a:xfrm>
                <a:off x="3432200" y="1953575"/>
                <a:ext cx="47600" cy="145550"/>
              </a:xfrm>
              <a:custGeom>
                <a:avLst/>
                <a:gdLst/>
                <a:ahLst/>
                <a:cxnLst/>
                <a:rect l="l" t="t" r="r" b="b"/>
                <a:pathLst>
                  <a:path w="1904" h="5822" extrusionOk="0">
                    <a:moveTo>
                      <a:pt x="1903" y="1"/>
                    </a:moveTo>
                    <a:lnTo>
                      <a:pt x="1455" y="336"/>
                    </a:lnTo>
                    <a:lnTo>
                      <a:pt x="0" y="1792"/>
                    </a:lnTo>
                    <a:lnTo>
                      <a:pt x="0" y="2575"/>
                    </a:lnTo>
                    <a:lnTo>
                      <a:pt x="112" y="4814"/>
                    </a:lnTo>
                    <a:lnTo>
                      <a:pt x="224" y="5598"/>
                    </a:lnTo>
                    <a:lnTo>
                      <a:pt x="224" y="5822"/>
                    </a:lnTo>
                    <a:lnTo>
                      <a:pt x="784" y="4366"/>
                    </a:lnTo>
                    <a:lnTo>
                      <a:pt x="1232" y="2463"/>
                    </a:lnTo>
                    <a:lnTo>
                      <a:pt x="1903" y="1"/>
                    </a:lnTo>
                    <a:close/>
                  </a:path>
                </a:pathLst>
              </a:custGeom>
              <a:solidFill>
                <a:srgbClr val="9B3433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4" name="Google Shape;2044;p16">
                <a:extLst>
                  <a:ext uri="{FF2B5EF4-FFF2-40B4-BE49-F238E27FC236}">
                    <a16:creationId xmlns:a16="http://schemas.microsoft.com/office/drawing/2014/main" id="{244B953D-1A93-94DB-1871-B5ADBA5D71EA}"/>
                  </a:ext>
                </a:extLst>
              </p:cNvPr>
              <p:cNvSpPr/>
              <p:nvPr/>
            </p:nvSpPr>
            <p:spPr>
              <a:xfrm>
                <a:off x="3432200" y="1953575"/>
                <a:ext cx="47600" cy="145550"/>
              </a:xfrm>
              <a:custGeom>
                <a:avLst/>
                <a:gdLst/>
                <a:ahLst/>
                <a:cxnLst/>
                <a:rect l="l" t="t" r="r" b="b"/>
                <a:pathLst>
                  <a:path w="1904" h="5822" fill="none" extrusionOk="0">
                    <a:moveTo>
                      <a:pt x="1903" y="1"/>
                    </a:moveTo>
                    <a:lnTo>
                      <a:pt x="1903" y="1"/>
                    </a:lnTo>
                    <a:lnTo>
                      <a:pt x="1455" y="336"/>
                    </a:lnTo>
                    <a:lnTo>
                      <a:pt x="0" y="1792"/>
                    </a:lnTo>
                    <a:lnTo>
                      <a:pt x="0" y="1792"/>
                    </a:lnTo>
                    <a:lnTo>
                      <a:pt x="0" y="2575"/>
                    </a:lnTo>
                    <a:lnTo>
                      <a:pt x="0" y="2575"/>
                    </a:lnTo>
                    <a:lnTo>
                      <a:pt x="112" y="4814"/>
                    </a:lnTo>
                    <a:lnTo>
                      <a:pt x="112" y="4814"/>
                    </a:lnTo>
                    <a:lnTo>
                      <a:pt x="224" y="5598"/>
                    </a:lnTo>
                    <a:lnTo>
                      <a:pt x="224" y="5598"/>
                    </a:lnTo>
                    <a:lnTo>
                      <a:pt x="224" y="5598"/>
                    </a:lnTo>
                    <a:lnTo>
                      <a:pt x="224" y="5598"/>
                    </a:lnTo>
                    <a:lnTo>
                      <a:pt x="224" y="5598"/>
                    </a:lnTo>
                    <a:lnTo>
                      <a:pt x="224" y="5822"/>
                    </a:lnTo>
                    <a:lnTo>
                      <a:pt x="224" y="5822"/>
                    </a:lnTo>
                    <a:lnTo>
                      <a:pt x="784" y="4366"/>
                    </a:lnTo>
                    <a:lnTo>
                      <a:pt x="1232" y="2463"/>
                    </a:lnTo>
                    <a:lnTo>
                      <a:pt x="190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5" name="Google Shape;2045;p16">
                <a:extLst>
                  <a:ext uri="{FF2B5EF4-FFF2-40B4-BE49-F238E27FC236}">
                    <a16:creationId xmlns:a16="http://schemas.microsoft.com/office/drawing/2014/main" id="{9A098D2B-94E9-20A3-3573-38ED396008B5}"/>
                  </a:ext>
                </a:extLst>
              </p:cNvPr>
              <p:cNvSpPr/>
              <p:nvPr/>
            </p:nvSpPr>
            <p:spPr>
              <a:xfrm>
                <a:off x="3468575" y="1950775"/>
                <a:ext cx="11225" cy="11225"/>
              </a:xfrm>
              <a:custGeom>
                <a:avLst/>
                <a:gdLst/>
                <a:ahLst/>
                <a:cxnLst/>
                <a:rect l="l" t="t" r="r" b="b"/>
                <a:pathLst>
                  <a:path w="449" h="449" extrusionOk="0">
                    <a:moveTo>
                      <a:pt x="448" y="1"/>
                    </a:moveTo>
                    <a:lnTo>
                      <a:pt x="0" y="448"/>
                    </a:lnTo>
                    <a:lnTo>
                      <a:pt x="448" y="113"/>
                    </a:lnTo>
                    <a:lnTo>
                      <a:pt x="448" y="1"/>
                    </a:lnTo>
                    <a:close/>
                  </a:path>
                </a:pathLst>
              </a:custGeom>
              <a:solidFill>
                <a:srgbClr val="9B3433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6" name="Google Shape;2046;p16">
                <a:extLst>
                  <a:ext uri="{FF2B5EF4-FFF2-40B4-BE49-F238E27FC236}">
                    <a16:creationId xmlns:a16="http://schemas.microsoft.com/office/drawing/2014/main" id="{10F1E35E-B3FC-315F-D90A-1BEBF823FC12}"/>
                  </a:ext>
                </a:extLst>
              </p:cNvPr>
              <p:cNvSpPr/>
              <p:nvPr/>
            </p:nvSpPr>
            <p:spPr>
              <a:xfrm>
                <a:off x="3468575" y="1950775"/>
                <a:ext cx="11225" cy="11225"/>
              </a:xfrm>
              <a:custGeom>
                <a:avLst/>
                <a:gdLst/>
                <a:ahLst/>
                <a:cxnLst/>
                <a:rect l="l" t="t" r="r" b="b"/>
                <a:pathLst>
                  <a:path w="449" h="449" fill="none" extrusionOk="0">
                    <a:moveTo>
                      <a:pt x="448" y="1"/>
                    </a:moveTo>
                    <a:lnTo>
                      <a:pt x="0" y="448"/>
                    </a:lnTo>
                    <a:lnTo>
                      <a:pt x="0" y="448"/>
                    </a:lnTo>
                    <a:lnTo>
                      <a:pt x="448" y="113"/>
                    </a:lnTo>
                    <a:lnTo>
                      <a:pt x="448" y="113"/>
                    </a:lnTo>
                    <a:lnTo>
                      <a:pt x="448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7" name="Google Shape;2047;p16">
                <a:extLst>
                  <a:ext uri="{FF2B5EF4-FFF2-40B4-BE49-F238E27FC236}">
                    <a16:creationId xmlns:a16="http://schemas.microsoft.com/office/drawing/2014/main" id="{06A5EE9D-C7FB-F856-4E37-1271A2AC2E42}"/>
                  </a:ext>
                </a:extLst>
              </p:cNvPr>
              <p:cNvSpPr/>
              <p:nvPr/>
            </p:nvSpPr>
            <p:spPr>
              <a:xfrm>
                <a:off x="3588900" y="1609375"/>
                <a:ext cx="134350" cy="120350"/>
              </a:xfrm>
              <a:custGeom>
                <a:avLst/>
                <a:gdLst/>
                <a:ahLst/>
                <a:cxnLst/>
                <a:rect l="l" t="t" r="r" b="b"/>
                <a:pathLst>
                  <a:path w="5374" h="4814" extrusionOk="0">
                    <a:moveTo>
                      <a:pt x="4031" y="0"/>
                    </a:moveTo>
                    <a:lnTo>
                      <a:pt x="1" y="1008"/>
                    </a:lnTo>
                    <a:lnTo>
                      <a:pt x="225" y="2127"/>
                    </a:lnTo>
                    <a:lnTo>
                      <a:pt x="449" y="3134"/>
                    </a:lnTo>
                    <a:lnTo>
                      <a:pt x="784" y="3918"/>
                    </a:lnTo>
                    <a:lnTo>
                      <a:pt x="1008" y="4142"/>
                    </a:lnTo>
                    <a:lnTo>
                      <a:pt x="1456" y="4366"/>
                    </a:lnTo>
                    <a:lnTo>
                      <a:pt x="1904" y="4590"/>
                    </a:lnTo>
                    <a:lnTo>
                      <a:pt x="2463" y="4702"/>
                    </a:lnTo>
                    <a:lnTo>
                      <a:pt x="3135" y="4814"/>
                    </a:lnTo>
                    <a:lnTo>
                      <a:pt x="4478" y="4814"/>
                    </a:lnTo>
                    <a:lnTo>
                      <a:pt x="5150" y="4702"/>
                    </a:lnTo>
                    <a:lnTo>
                      <a:pt x="5262" y="4590"/>
                    </a:lnTo>
                    <a:lnTo>
                      <a:pt x="5374" y="4254"/>
                    </a:lnTo>
                    <a:lnTo>
                      <a:pt x="5150" y="3582"/>
                    </a:lnTo>
                    <a:lnTo>
                      <a:pt x="4926" y="2911"/>
                    </a:lnTo>
                    <a:lnTo>
                      <a:pt x="5038" y="2687"/>
                    </a:lnTo>
                    <a:lnTo>
                      <a:pt x="5150" y="2575"/>
                    </a:lnTo>
                    <a:lnTo>
                      <a:pt x="5262" y="2463"/>
                    </a:lnTo>
                    <a:lnTo>
                      <a:pt x="5262" y="2239"/>
                    </a:lnTo>
                    <a:lnTo>
                      <a:pt x="4926" y="1567"/>
                    </a:lnTo>
                    <a:lnTo>
                      <a:pt x="4366" y="784"/>
                    </a:lnTo>
                    <a:lnTo>
                      <a:pt x="4031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8" name="Google Shape;2048;p16">
                <a:extLst>
                  <a:ext uri="{FF2B5EF4-FFF2-40B4-BE49-F238E27FC236}">
                    <a16:creationId xmlns:a16="http://schemas.microsoft.com/office/drawing/2014/main" id="{E1ED70A8-25AC-8D55-0104-F0FC259CD891}"/>
                  </a:ext>
                </a:extLst>
              </p:cNvPr>
              <p:cNvSpPr/>
              <p:nvPr/>
            </p:nvSpPr>
            <p:spPr>
              <a:xfrm>
                <a:off x="3552525" y="1559000"/>
                <a:ext cx="167925" cy="170725"/>
              </a:xfrm>
              <a:custGeom>
                <a:avLst/>
                <a:gdLst/>
                <a:ahLst/>
                <a:cxnLst/>
                <a:rect l="l" t="t" r="r" b="b"/>
                <a:pathLst>
                  <a:path w="6717" h="6829" extrusionOk="0">
                    <a:moveTo>
                      <a:pt x="3359" y="0"/>
                    </a:moveTo>
                    <a:lnTo>
                      <a:pt x="3023" y="112"/>
                    </a:lnTo>
                    <a:lnTo>
                      <a:pt x="2687" y="336"/>
                    </a:lnTo>
                    <a:lnTo>
                      <a:pt x="2463" y="672"/>
                    </a:lnTo>
                    <a:lnTo>
                      <a:pt x="2127" y="896"/>
                    </a:lnTo>
                    <a:lnTo>
                      <a:pt x="1792" y="1008"/>
                    </a:lnTo>
                    <a:lnTo>
                      <a:pt x="1344" y="1120"/>
                    </a:lnTo>
                    <a:lnTo>
                      <a:pt x="896" y="1232"/>
                    </a:lnTo>
                    <a:lnTo>
                      <a:pt x="448" y="1455"/>
                    </a:lnTo>
                    <a:lnTo>
                      <a:pt x="225" y="1791"/>
                    </a:lnTo>
                    <a:lnTo>
                      <a:pt x="113" y="2127"/>
                    </a:lnTo>
                    <a:lnTo>
                      <a:pt x="113" y="2351"/>
                    </a:lnTo>
                    <a:lnTo>
                      <a:pt x="225" y="2575"/>
                    </a:lnTo>
                    <a:lnTo>
                      <a:pt x="336" y="3135"/>
                    </a:lnTo>
                    <a:lnTo>
                      <a:pt x="336" y="3358"/>
                    </a:lnTo>
                    <a:lnTo>
                      <a:pt x="113" y="3694"/>
                    </a:lnTo>
                    <a:lnTo>
                      <a:pt x="1" y="3918"/>
                    </a:lnTo>
                    <a:lnTo>
                      <a:pt x="1" y="4142"/>
                    </a:lnTo>
                    <a:lnTo>
                      <a:pt x="113" y="4590"/>
                    </a:lnTo>
                    <a:lnTo>
                      <a:pt x="448" y="5038"/>
                    </a:lnTo>
                    <a:lnTo>
                      <a:pt x="896" y="5373"/>
                    </a:lnTo>
                    <a:lnTo>
                      <a:pt x="1904" y="5933"/>
                    </a:lnTo>
                    <a:lnTo>
                      <a:pt x="2463" y="6157"/>
                    </a:lnTo>
                    <a:lnTo>
                      <a:pt x="2575" y="6045"/>
                    </a:lnTo>
                    <a:lnTo>
                      <a:pt x="2687" y="5933"/>
                    </a:lnTo>
                    <a:lnTo>
                      <a:pt x="2687" y="5709"/>
                    </a:lnTo>
                    <a:lnTo>
                      <a:pt x="2463" y="5373"/>
                    </a:lnTo>
                    <a:lnTo>
                      <a:pt x="2127" y="4926"/>
                    </a:lnTo>
                    <a:lnTo>
                      <a:pt x="2127" y="4702"/>
                    </a:lnTo>
                    <a:lnTo>
                      <a:pt x="2127" y="4478"/>
                    </a:lnTo>
                    <a:lnTo>
                      <a:pt x="2351" y="4254"/>
                    </a:lnTo>
                    <a:lnTo>
                      <a:pt x="2575" y="4030"/>
                    </a:lnTo>
                    <a:lnTo>
                      <a:pt x="2799" y="4030"/>
                    </a:lnTo>
                    <a:lnTo>
                      <a:pt x="2911" y="4142"/>
                    </a:lnTo>
                    <a:lnTo>
                      <a:pt x="3023" y="4254"/>
                    </a:lnTo>
                    <a:lnTo>
                      <a:pt x="3135" y="4814"/>
                    </a:lnTo>
                    <a:lnTo>
                      <a:pt x="3359" y="5597"/>
                    </a:lnTo>
                    <a:lnTo>
                      <a:pt x="3471" y="6269"/>
                    </a:lnTo>
                    <a:lnTo>
                      <a:pt x="3695" y="6605"/>
                    </a:lnTo>
                    <a:lnTo>
                      <a:pt x="4366" y="6829"/>
                    </a:lnTo>
                    <a:lnTo>
                      <a:pt x="5486" y="6829"/>
                    </a:lnTo>
                    <a:lnTo>
                      <a:pt x="6381" y="6717"/>
                    </a:lnTo>
                    <a:lnTo>
                      <a:pt x="6717" y="6605"/>
                    </a:lnTo>
                    <a:lnTo>
                      <a:pt x="6717" y="6381"/>
                    </a:lnTo>
                    <a:lnTo>
                      <a:pt x="6605" y="6157"/>
                    </a:lnTo>
                    <a:lnTo>
                      <a:pt x="6381" y="6157"/>
                    </a:lnTo>
                    <a:lnTo>
                      <a:pt x="5598" y="6269"/>
                    </a:lnTo>
                    <a:lnTo>
                      <a:pt x="4926" y="6269"/>
                    </a:lnTo>
                    <a:lnTo>
                      <a:pt x="4702" y="6157"/>
                    </a:lnTo>
                    <a:lnTo>
                      <a:pt x="4590" y="6045"/>
                    </a:lnTo>
                    <a:lnTo>
                      <a:pt x="4590" y="5821"/>
                    </a:lnTo>
                    <a:lnTo>
                      <a:pt x="4814" y="5597"/>
                    </a:lnTo>
                    <a:lnTo>
                      <a:pt x="5486" y="5485"/>
                    </a:lnTo>
                    <a:lnTo>
                      <a:pt x="6157" y="5261"/>
                    </a:lnTo>
                    <a:lnTo>
                      <a:pt x="6381" y="5149"/>
                    </a:lnTo>
                    <a:lnTo>
                      <a:pt x="6493" y="5038"/>
                    </a:lnTo>
                    <a:lnTo>
                      <a:pt x="6381" y="4926"/>
                    </a:lnTo>
                    <a:lnTo>
                      <a:pt x="6157" y="4814"/>
                    </a:lnTo>
                    <a:lnTo>
                      <a:pt x="5374" y="5038"/>
                    </a:lnTo>
                    <a:lnTo>
                      <a:pt x="4590" y="5261"/>
                    </a:lnTo>
                    <a:lnTo>
                      <a:pt x="4030" y="5261"/>
                    </a:lnTo>
                    <a:lnTo>
                      <a:pt x="3918" y="4702"/>
                    </a:lnTo>
                    <a:lnTo>
                      <a:pt x="3807" y="4142"/>
                    </a:lnTo>
                    <a:lnTo>
                      <a:pt x="3918" y="3694"/>
                    </a:lnTo>
                    <a:lnTo>
                      <a:pt x="4030" y="3470"/>
                    </a:lnTo>
                    <a:lnTo>
                      <a:pt x="4254" y="3358"/>
                    </a:lnTo>
                    <a:lnTo>
                      <a:pt x="4478" y="3246"/>
                    </a:lnTo>
                    <a:lnTo>
                      <a:pt x="4702" y="3246"/>
                    </a:lnTo>
                    <a:lnTo>
                      <a:pt x="4814" y="3135"/>
                    </a:lnTo>
                    <a:lnTo>
                      <a:pt x="4926" y="3023"/>
                    </a:lnTo>
                    <a:lnTo>
                      <a:pt x="4926" y="2911"/>
                    </a:lnTo>
                    <a:lnTo>
                      <a:pt x="4814" y="2687"/>
                    </a:lnTo>
                    <a:lnTo>
                      <a:pt x="4814" y="2463"/>
                    </a:lnTo>
                    <a:lnTo>
                      <a:pt x="4926" y="2351"/>
                    </a:lnTo>
                    <a:lnTo>
                      <a:pt x="5038" y="2239"/>
                    </a:lnTo>
                    <a:lnTo>
                      <a:pt x="5486" y="2015"/>
                    </a:lnTo>
                    <a:lnTo>
                      <a:pt x="5821" y="1791"/>
                    </a:lnTo>
                    <a:lnTo>
                      <a:pt x="5933" y="1455"/>
                    </a:lnTo>
                    <a:lnTo>
                      <a:pt x="5933" y="1008"/>
                    </a:lnTo>
                    <a:lnTo>
                      <a:pt x="5821" y="672"/>
                    </a:lnTo>
                    <a:lnTo>
                      <a:pt x="5486" y="448"/>
                    </a:lnTo>
                    <a:lnTo>
                      <a:pt x="5150" y="336"/>
                    </a:lnTo>
                    <a:lnTo>
                      <a:pt x="4702" y="336"/>
                    </a:lnTo>
                    <a:lnTo>
                      <a:pt x="4590" y="448"/>
                    </a:lnTo>
                    <a:lnTo>
                      <a:pt x="4478" y="336"/>
                    </a:lnTo>
                    <a:lnTo>
                      <a:pt x="4142" y="224"/>
                    </a:lnTo>
                    <a:lnTo>
                      <a:pt x="3918" y="0"/>
                    </a:lnTo>
                    <a:close/>
                  </a:path>
                </a:pathLst>
              </a:custGeom>
              <a:solidFill>
                <a:srgbClr val="201F39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9" name="Google Shape;2049;p16">
                <a:extLst>
                  <a:ext uri="{FF2B5EF4-FFF2-40B4-BE49-F238E27FC236}">
                    <a16:creationId xmlns:a16="http://schemas.microsoft.com/office/drawing/2014/main" id="{C8ADAA0F-7555-B5F0-51EA-33C36B32AD32}"/>
                  </a:ext>
                </a:extLst>
              </p:cNvPr>
              <p:cNvSpPr/>
              <p:nvPr/>
            </p:nvSpPr>
            <p:spPr>
              <a:xfrm>
                <a:off x="1643975" y="2286600"/>
                <a:ext cx="156725" cy="106375"/>
              </a:xfrm>
              <a:custGeom>
                <a:avLst/>
                <a:gdLst/>
                <a:ahLst/>
                <a:cxnLst/>
                <a:rect l="l" t="t" r="r" b="b"/>
                <a:pathLst>
                  <a:path w="6269" h="4255" extrusionOk="0">
                    <a:moveTo>
                      <a:pt x="3135" y="0"/>
                    </a:moveTo>
                    <a:lnTo>
                      <a:pt x="2911" y="112"/>
                    </a:lnTo>
                    <a:lnTo>
                      <a:pt x="2351" y="672"/>
                    </a:lnTo>
                    <a:lnTo>
                      <a:pt x="2015" y="1008"/>
                    </a:lnTo>
                    <a:lnTo>
                      <a:pt x="1567" y="1344"/>
                    </a:lnTo>
                    <a:lnTo>
                      <a:pt x="896" y="1680"/>
                    </a:lnTo>
                    <a:lnTo>
                      <a:pt x="0" y="2015"/>
                    </a:lnTo>
                    <a:lnTo>
                      <a:pt x="0" y="2463"/>
                    </a:lnTo>
                    <a:lnTo>
                      <a:pt x="0" y="3471"/>
                    </a:lnTo>
                    <a:lnTo>
                      <a:pt x="112" y="3918"/>
                    </a:lnTo>
                    <a:lnTo>
                      <a:pt x="336" y="4142"/>
                    </a:lnTo>
                    <a:lnTo>
                      <a:pt x="560" y="4254"/>
                    </a:lnTo>
                    <a:lnTo>
                      <a:pt x="784" y="4254"/>
                    </a:lnTo>
                    <a:lnTo>
                      <a:pt x="1456" y="3918"/>
                    </a:lnTo>
                    <a:lnTo>
                      <a:pt x="2127" y="3582"/>
                    </a:lnTo>
                    <a:lnTo>
                      <a:pt x="2799" y="3247"/>
                    </a:lnTo>
                    <a:lnTo>
                      <a:pt x="3358" y="3135"/>
                    </a:lnTo>
                    <a:lnTo>
                      <a:pt x="4926" y="3135"/>
                    </a:lnTo>
                    <a:lnTo>
                      <a:pt x="5373" y="3023"/>
                    </a:lnTo>
                    <a:lnTo>
                      <a:pt x="5709" y="2799"/>
                    </a:lnTo>
                    <a:lnTo>
                      <a:pt x="6045" y="2463"/>
                    </a:lnTo>
                    <a:lnTo>
                      <a:pt x="6157" y="2127"/>
                    </a:lnTo>
                    <a:lnTo>
                      <a:pt x="6269" y="1680"/>
                    </a:lnTo>
                    <a:lnTo>
                      <a:pt x="6269" y="1344"/>
                    </a:lnTo>
                    <a:lnTo>
                      <a:pt x="6157" y="1008"/>
                    </a:lnTo>
                    <a:lnTo>
                      <a:pt x="6045" y="672"/>
                    </a:lnTo>
                    <a:lnTo>
                      <a:pt x="5821" y="448"/>
                    </a:lnTo>
                    <a:lnTo>
                      <a:pt x="5597" y="336"/>
                    </a:lnTo>
                    <a:lnTo>
                      <a:pt x="5373" y="224"/>
                    </a:lnTo>
                    <a:lnTo>
                      <a:pt x="5150" y="224"/>
                    </a:lnTo>
                    <a:lnTo>
                      <a:pt x="4590" y="560"/>
                    </a:lnTo>
                    <a:lnTo>
                      <a:pt x="4030" y="896"/>
                    </a:lnTo>
                    <a:lnTo>
                      <a:pt x="3582" y="896"/>
                    </a:lnTo>
                    <a:lnTo>
                      <a:pt x="3470" y="784"/>
                    </a:lnTo>
                    <a:lnTo>
                      <a:pt x="3470" y="672"/>
                    </a:lnTo>
                    <a:lnTo>
                      <a:pt x="3582" y="448"/>
                    </a:lnTo>
                    <a:lnTo>
                      <a:pt x="3694" y="224"/>
                    </a:lnTo>
                    <a:lnTo>
                      <a:pt x="3694" y="112"/>
                    </a:lnTo>
                    <a:lnTo>
                      <a:pt x="3470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0" name="Google Shape;2050;p16">
                <a:extLst>
                  <a:ext uri="{FF2B5EF4-FFF2-40B4-BE49-F238E27FC236}">
                    <a16:creationId xmlns:a16="http://schemas.microsoft.com/office/drawing/2014/main" id="{8F679EA0-9D60-4031-BF94-C37969CAFF23}"/>
                  </a:ext>
                </a:extLst>
              </p:cNvPr>
              <p:cNvSpPr/>
              <p:nvPr/>
            </p:nvSpPr>
            <p:spPr>
              <a:xfrm>
                <a:off x="1352925" y="3864950"/>
                <a:ext cx="89575" cy="148325"/>
              </a:xfrm>
              <a:custGeom>
                <a:avLst/>
                <a:gdLst/>
                <a:ahLst/>
                <a:cxnLst/>
                <a:rect l="l" t="t" r="r" b="b"/>
                <a:pathLst>
                  <a:path w="3583" h="5933" extrusionOk="0">
                    <a:moveTo>
                      <a:pt x="1" y="0"/>
                    </a:moveTo>
                    <a:lnTo>
                      <a:pt x="448" y="4590"/>
                    </a:lnTo>
                    <a:lnTo>
                      <a:pt x="2799" y="5933"/>
                    </a:lnTo>
                    <a:lnTo>
                      <a:pt x="3583" y="4254"/>
                    </a:lnTo>
                    <a:lnTo>
                      <a:pt x="3583" y="3022"/>
                    </a:lnTo>
                    <a:lnTo>
                      <a:pt x="3471" y="1679"/>
                    </a:lnTo>
                    <a:lnTo>
                      <a:pt x="3359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1" name="Google Shape;2051;p16">
                <a:extLst>
                  <a:ext uri="{FF2B5EF4-FFF2-40B4-BE49-F238E27FC236}">
                    <a16:creationId xmlns:a16="http://schemas.microsoft.com/office/drawing/2014/main" id="{B9171009-8DCF-58EC-7891-A11518F386D9}"/>
                  </a:ext>
                </a:extLst>
              </p:cNvPr>
              <p:cNvSpPr/>
              <p:nvPr/>
            </p:nvSpPr>
            <p:spPr>
              <a:xfrm>
                <a:off x="1352925" y="3957300"/>
                <a:ext cx="249100" cy="95150"/>
              </a:xfrm>
              <a:custGeom>
                <a:avLst/>
                <a:gdLst/>
                <a:ahLst/>
                <a:cxnLst/>
                <a:rect l="l" t="t" r="r" b="b"/>
                <a:pathLst>
                  <a:path w="9964" h="3806" extrusionOk="0">
                    <a:moveTo>
                      <a:pt x="3807" y="0"/>
                    </a:moveTo>
                    <a:lnTo>
                      <a:pt x="2799" y="224"/>
                    </a:lnTo>
                    <a:lnTo>
                      <a:pt x="1792" y="224"/>
                    </a:lnTo>
                    <a:lnTo>
                      <a:pt x="1008" y="336"/>
                    </a:lnTo>
                    <a:lnTo>
                      <a:pt x="448" y="448"/>
                    </a:lnTo>
                    <a:lnTo>
                      <a:pt x="225" y="448"/>
                    </a:lnTo>
                    <a:lnTo>
                      <a:pt x="113" y="672"/>
                    </a:lnTo>
                    <a:lnTo>
                      <a:pt x="1" y="1455"/>
                    </a:lnTo>
                    <a:lnTo>
                      <a:pt x="1" y="2351"/>
                    </a:lnTo>
                    <a:lnTo>
                      <a:pt x="225" y="3358"/>
                    </a:lnTo>
                    <a:lnTo>
                      <a:pt x="337" y="3470"/>
                    </a:lnTo>
                    <a:lnTo>
                      <a:pt x="448" y="3694"/>
                    </a:lnTo>
                    <a:lnTo>
                      <a:pt x="672" y="3806"/>
                    </a:lnTo>
                    <a:lnTo>
                      <a:pt x="896" y="3806"/>
                    </a:lnTo>
                    <a:lnTo>
                      <a:pt x="8844" y="3694"/>
                    </a:lnTo>
                    <a:lnTo>
                      <a:pt x="9404" y="3694"/>
                    </a:lnTo>
                    <a:lnTo>
                      <a:pt x="9739" y="3470"/>
                    </a:lnTo>
                    <a:lnTo>
                      <a:pt x="9963" y="3246"/>
                    </a:lnTo>
                    <a:lnTo>
                      <a:pt x="9963" y="2910"/>
                    </a:lnTo>
                    <a:lnTo>
                      <a:pt x="9963" y="2575"/>
                    </a:lnTo>
                    <a:lnTo>
                      <a:pt x="9851" y="2239"/>
                    </a:lnTo>
                    <a:lnTo>
                      <a:pt x="9739" y="2127"/>
                    </a:lnTo>
                    <a:lnTo>
                      <a:pt x="9627" y="2015"/>
                    </a:lnTo>
                    <a:lnTo>
                      <a:pt x="8508" y="1903"/>
                    </a:lnTo>
                    <a:lnTo>
                      <a:pt x="6829" y="1791"/>
                    </a:lnTo>
                    <a:lnTo>
                      <a:pt x="5822" y="1679"/>
                    </a:lnTo>
                    <a:lnTo>
                      <a:pt x="5038" y="1455"/>
                    </a:lnTo>
                    <a:lnTo>
                      <a:pt x="4478" y="1119"/>
                    </a:lnTo>
                    <a:lnTo>
                      <a:pt x="4254" y="1008"/>
                    </a:lnTo>
                    <a:lnTo>
                      <a:pt x="4142" y="784"/>
                    </a:lnTo>
                    <a:lnTo>
                      <a:pt x="4142" y="224"/>
                    </a:lnTo>
                    <a:lnTo>
                      <a:pt x="403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2" name="Google Shape;2052;p16">
                <a:extLst>
                  <a:ext uri="{FF2B5EF4-FFF2-40B4-BE49-F238E27FC236}">
                    <a16:creationId xmlns:a16="http://schemas.microsoft.com/office/drawing/2014/main" id="{38126678-6B61-6E76-12B6-F3B8899781D3}"/>
                  </a:ext>
                </a:extLst>
              </p:cNvPr>
              <p:cNvSpPr/>
              <p:nvPr/>
            </p:nvSpPr>
            <p:spPr>
              <a:xfrm>
                <a:off x="751250" y="3783775"/>
                <a:ext cx="128775" cy="156750"/>
              </a:xfrm>
              <a:custGeom>
                <a:avLst/>
                <a:gdLst/>
                <a:ahLst/>
                <a:cxnLst/>
                <a:rect l="l" t="t" r="r" b="b"/>
                <a:pathLst>
                  <a:path w="5151" h="6270" extrusionOk="0">
                    <a:moveTo>
                      <a:pt x="2352" y="1"/>
                    </a:moveTo>
                    <a:lnTo>
                      <a:pt x="1" y="3919"/>
                    </a:lnTo>
                    <a:lnTo>
                      <a:pt x="1120" y="6269"/>
                    </a:lnTo>
                    <a:lnTo>
                      <a:pt x="2799" y="5374"/>
                    </a:lnTo>
                    <a:lnTo>
                      <a:pt x="3471" y="4478"/>
                    </a:lnTo>
                    <a:lnTo>
                      <a:pt x="4255" y="3247"/>
                    </a:lnTo>
                    <a:lnTo>
                      <a:pt x="5150" y="1792"/>
                    </a:lnTo>
                    <a:lnTo>
                      <a:pt x="2352" y="1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3" name="Google Shape;2053;p16">
                <a:extLst>
                  <a:ext uri="{FF2B5EF4-FFF2-40B4-BE49-F238E27FC236}">
                    <a16:creationId xmlns:a16="http://schemas.microsoft.com/office/drawing/2014/main" id="{F7B065A0-D43C-91A9-8C2C-BA4FC93BF4D6}"/>
                  </a:ext>
                </a:extLst>
              </p:cNvPr>
              <p:cNvSpPr/>
              <p:nvPr/>
            </p:nvSpPr>
            <p:spPr>
              <a:xfrm>
                <a:off x="709275" y="3870525"/>
                <a:ext cx="215525" cy="193125"/>
              </a:xfrm>
              <a:custGeom>
                <a:avLst/>
                <a:gdLst/>
                <a:ahLst/>
                <a:cxnLst/>
                <a:rect l="l" t="t" r="r" b="b"/>
                <a:pathLst>
                  <a:path w="8621" h="7725" extrusionOk="0">
                    <a:moveTo>
                      <a:pt x="1792" y="1"/>
                    </a:moveTo>
                    <a:lnTo>
                      <a:pt x="1568" y="113"/>
                    </a:lnTo>
                    <a:lnTo>
                      <a:pt x="1008" y="673"/>
                    </a:lnTo>
                    <a:lnTo>
                      <a:pt x="449" y="1344"/>
                    </a:lnTo>
                    <a:lnTo>
                      <a:pt x="113" y="2240"/>
                    </a:lnTo>
                    <a:lnTo>
                      <a:pt x="1" y="2464"/>
                    </a:lnTo>
                    <a:lnTo>
                      <a:pt x="113" y="2688"/>
                    </a:lnTo>
                    <a:lnTo>
                      <a:pt x="113" y="2911"/>
                    </a:lnTo>
                    <a:lnTo>
                      <a:pt x="337" y="3023"/>
                    </a:lnTo>
                    <a:lnTo>
                      <a:pt x="6829" y="7501"/>
                    </a:lnTo>
                    <a:lnTo>
                      <a:pt x="7389" y="7725"/>
                    </a:lnTo>
                    <a:lnTo>
                      <a:pt x="7725" y="7725"/>
                    </a:lnTo>
                    <a:lnTo>
                      <a:pt x="8060" y="7613"/>
                    </a:lnTo>
                    <a:lnTo>
                      <a:pt x="8284" y="7389"/>
                    </a:lnTo>
                    <a:lnTo>
                      <a:pt x="8508" y="7165"/>
                    </a:lnTo>
                    <a:lnTo>
                      <a:pt x="8620" y="6829"/>
                    </a:lnTo>
                    <a:lnTo>
                      <a:pt x="8620" y="6605"/>
                    </a:lnTo>
                    <a:lnTo>
                      <a:pt x="8508" y="6493"/>
                    </a:lnTo>
                    <a:lnTo>
                      <a:pt x="7725" y="5822"/>
                    </a:lnTo>
                    <a:lnTo>
                      <a:pt x="6381" y="4702"/>
                    </a:lnTo>
                    <a:lnTo>
                      <a:pt x="5710" y="4031"/>
                    </a:lnTo>
                    <a:lnTo>
                      <a:pt x="5150" y="3471"/>
                    </a:lnTo>
                    <a:lnTo>
                      <a:pt x="4814" y="2911"/>
                    </a:lnTo>
                    <a:lnTo>
                      <a:pt x="4814" y="2688"/>
                    </a:lnTo>
                    <a:lnTo>
                      <a:pt x="4814" y="2464"/>
                    </a:lnTo>
                    <a:lnTo>
                      <a:pt x="5150" y="1904"/>
                    </a:lnTo>
                    <a:lnTo>
                      <a:pt x="5150" y="1792"/>
                    </a:lnTo>
                    <a:lnTo>
                      <a:pt x="5038" y="1680"/>
                    </a:lnTo>
                    <a:lnTo>
                      <a:pt x="4031" y="1120"/>
                    </a:lnTo>
                    <a:lnTo>
                      <a:pt x="3247" y="673"/>
                    </a:lnTo>
                    <a:lnTo>
                      <a:pt x="2575" y="225"/>
                    </a:lnTo>
                    <a:lnTo>
                      <a:pt x="2016" y="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4" name="Google Shape;2054;p16">
                <a:extLst>
                  <a:ext uri="{FF2B5EF4-FFF2-40B4-BE49-F238E27FC236}">
                    <a16:creationId xmlns:a16="http://schemas.microsoft.com/office/drawing/2014/main" id="{663D41EB-0C48-4D29-F311-6665A0A6E943}"/>
                  </a:ext>
                </a:extLst>
              </p:cNvPr>
              <p:cNvSpPr/>
              <p:nvPr/>
            </p:nvSpPr>
            <p:spPr>
              <a:xfrm>
                <a:off x="765250" y="2843500"/>
                <a:ext cx="694050" cy="1102625"/>
              </a:xfrm>
              <a:custGeom>
                <a:avLst/>
                <a:gdLst/>
                <a:ahLst/>
                <a:cxnLst/>
                <a:rect l="l" t="t" r="r" b="b"/>
                <a:pathLst>
                  <a:path w="27762" h="44105" extrusionOk="0">
                    <a:moveTo>
                      <a:pt x="16120" y="0"/>
                    </a:moveTo>
                    <a:lnTo>
                      <a:pt x="4702" y="784"/>
                    </a:lnTo>
                    <a:lnTo>
                      <a:pt x="5262" y="4142"/>
                    </a:lnTo>
                    <a:lnTo>
                      <a:pt x="6605" y="11754"/>
                    </a:lnTo>
                    <a:lnTo>
                      <a:pt x="7388" y="16008"/>
                    </a:lnTo>
                    <a:lnTo>
                      <a:pt x="7948" y="19925"/>
                    </a:lnTo>
                    <a:lnTo>
                      <a:pt x="8284" y="23060"/>
                    </a:lnTo>
                    <a:lnTo>
                      <a:pt x="8396" y="24179"/>
                    </a:lnTo>
                    <a:lnTo>
                      <a:pt x="8396" y="24963"/>
                    </a:lnTo>
                    <a:lnTo>
                      <a:pt x="8172" y="25522"/>
                    </a:lnTo>
                    <a:lnTo>
                      <a:pt x="7948" y="26306"/>
                    </a:lnTo>
                    <a:lnTo>
                      <a:pt x="7053" y="27985"/>
                    </a:lnTo>
                    <a:lnTo>
                      <a:pt x="5821" y="29888"/>
                    </a:lnTo>
                    <a:lnTo>
                      <a:pt x="4478" y="31903"/>
                    </a:lnTo>
                    <a:lnTo>
                      <a:pt x="1792" y="35933"/>
                    </a:lnTo>
                    <a:lnTo>
                      <a:pt x="672" y="37612"/>
                    </a:lnTo>
                    <a:lnTo>
                      <a:pt x="1" y="38955"/>
                    </a:lnTo>
                    <a:lnTo>
                      <a:pt x="1" y="39067"/>
                    </a:lnTo>
                    <a:lnTo>
                      <a:pt x="224" y="39403"/>
                    </a:lnTo>
                    <a:lnTo>
                      <a:pt x="560" y="39851"/>
                    </a:lnTo>
                    <a:lnTo>
                      <a:pt x="1120" y="40298"/>
                    </a:lnTo>
                    <a:lnTo>
                      <a:pt x="1792" y="40746"/>
                    </a:lnTo>
                    <a:lnTo>
                      <a:pt x="2463" y="41194"/>
                    </a:lnTo>
                    <a:lnTo>
                      <a:pt x="3247" y="41530"/>
                    </a:lnTo>
                    <a:lnTo>
                      <a:pt x="4030" y="41642"/>
                    </a:lnTo>
                    <a:lnTo>
                      <a:pt x="5374" y="39739"/>
                    </a:lnTo>
                    <a:lnTo>
                      <a:pt x="8396" y="35149"/>
                    </a:lnTo>
                    <a:lnTo>
                      <a:pt x="10187" y="32463"/>
                    </a:lnTo>
                    <a:lnTo>
                      <a:pt x="11754" y="29776"/>
                    </a:lnTo>
                    <a:lnTo>
                      <a:pt x="13097" y="27313"/>
                    </a:lnTo>
                    <a:lnTo>
                      <a:pt x="13993" y="25410"/>
                    </a:lnTo>
                    <a:lnTo>
                      <a:pt x="14217" y="25075"/>
                    </a:lnTo>
                    <a:lnTo>
                      <a:pt x="14217" y="24515"/>
                    </a:lnTo>
                    <a:lnTo>
                      <a:pt x="14329" y="23172"/>
                    </a:lnTo>
                    <a:lnTo>
                      <a:pt x="14217" y="21605"/>
                    </a:lnTo>
                    <a:lnTo>
                      <a:pt x="13993" y="19702"/>
                    </a:lnTo>
                    <a:lnTo>
                      <a:pt x="13321" y="15336"/>
                    </a:lnTo>
                    <a:lnTo>
                      <a:pt x="12762" y="10970"/>
                    </a:lnTo>
                    <a:lnTo>
                      <a:pt x="15336" y="16231"/>
                    </a:lnTo>
                    <a:lnTo>
                      <a:pt x="17463" y="20597"/>
                    </a:lnTo>
                    <a:lnTo>
                      <a:pt x="19254" y="24291"/>
                    </a:lnTo>
                    <a:lnTo>
                      <a:pt x="19478" y="25187"/>
                    </a:lnTo>
                    <a:lnTo>
                      <a:pt x="19814" y="26194"/>
                    </a:lnTo>
                    <a:lnTo>
                      <a:pt x="20373" y="28881"/>
                    </a:lnTo>
                    <a:lnTo>
                      <a:pt x="20933" y="32015"/>
                    </a:lnTo>
                    <a:lnTo>
                      <a:pt x="21493" y="35261"/>
                    </a:lnTo>
                    <a:lnTo>
                      <a:pt x="22164" y="40970"/>
                    </a:lnTo>
                    <a:lnTo>
                      <a:pt x="22500" y="42873"/>
                    </a:lnTo>
                    <a:lnTo>
                      <a:pt x="22612" y="43769"/>
                    </a:lnTo>
                    <a:lnTo>
                      <a:pt x="22724" y="43880"/>
                    </a:lnTo>
                    <a:lnTo>
                      <a:pt x="22948" y="43992"/>
                    </a:lnTo>
                    <a:lnTo>
                      <a:pt x="23508" y="44104"/>
                    </a:lnTo>
                    <a:lnTo>
                      <a:pt x="25299" y="44104"/>
                    </a:lnTo>
                    <a:lnTo>
                      <a:pt x="26194" y="43992"/>
                    </a:lnTo>
                    <a:lnTo>
                      <a:pt x="26978" y="43769"/>
                    </a:lnTo>
                    <a:lnTo>
                      <a:pt x="27537" y="43545"/>
                    </a:lnTo>
                    <a:lnTo>
                      <a:pt x="27761" y="43433"/>
                    </a:lnTo>
                    <a:lnTo>
                      <a:pt x="27761" y="43321"/>
                    </a:lnTo>
                    <a:lnTo>
                      <a:pt x="27761" y="42313"/>
                    </a:lnTo>
                    <a:lnTo>
                      <a:pt x="27426" y="40298"/>
                    </a:lnTo>
                    <a:lnTo>
                      <a:pt x="26418" y="34366"/>
                    </a:lnTo>
                    <a:lnTo>
                      <a:pt x="24515" y="23955"/>
                    </a:lnTo>
                    <a:lnTo>
                      <a:pt x="23844" y="20037"/>
                    </a:lnTo>
                    <a:lnTo>
                      <a:pt x="22388" y="13657"/>
                    </a:lnTo>
                    <a:lnTo>
                      <a:pt x="20597" y="6829"/>
                    </a:lnTo>
                    <a:lnTo>
                      <a:pt x="19702" y="3918"/>
                    </a:lnTo>
                    <a:lnTo>
                      <a:pt x="18918" y="1567"/>
                    </a:lnTo>
                    <a:lnTo>
                      <a:pt x="16120" y="0"/>
                    </a:lnTo>
                    <a:close/>
                  </a:path>
                </a:pathLst>
              </a:custGeom>
              <a:solidFill>
                <a:srgbClr val="2D2D2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5" name="Google Shape;2055;p16">
                <a:extLst>
                  <a:ext uri="{FF2B5EF4-FFF2-40B4-BE49-F238E27FC236}">
                    <a16:creationId xmlns:a16="http://schemas.microsoft.com/office/drawing/2014/main" id="{46528AD6-0D91-75EC-A262-1DE39EF4E90E}"/>
                  </a:ext>
                </a:extLst>
              </p:cNvPr>
              <p:cNvSpPr/>
              <p:nvPr/>
            </p:nvSpPr>
            <p:spPr>
              <a:xfrm>
                <a:off x="765250" y="2843500"/>
                <a:ext cx="694050" cy="1102625"/>
              </a:xfrm>
              <a:custGeom>
                <a:avLst/>
                <a:gdLst/>
                <a:ahLst/>
                <a:cxnLst/>
                <a:rect l="l" t="t" r="r" b="b"/>
                <a:pathLst>
                  <a:path w="27762" h="44105" fill="none" extrusionOk="0">
                    <a:moveTo>
                      <a:pt x="18918" y="1567"/>
                    </a:moveTo>
                    <a:lnTo>
                      <a:pt x="18918" y="1567"/>
                    </a:lnTo>
                    <a:lnTo>
                      <a:pt x="19702" y="3918"/>
                    </a:lnTo>
                    <a:lnTo>
                      <a:pt x="20597" y="6829"/>
                    </a:lnTo>
                    <a:lnTo>
                      <a:pt x="22388" y="13657"/>
                    </a:lnTo>
                    <a:lnTo>
                      <a:pt x="23844" y="20037"/>
                    </a:lnTo>
                    <a:lnTo>
                      <a:pt x="24515" y="23955"/>
                    </a:lnTo>
                    <a:lnTo>
                      <a:pt x="24515" y="23955"/>
                    </a:lnTo>
                    <a:lnTo>
                      <a:pt x="26418" y="34366"/>
                    </a:lnTo>
                    <a:lnTo>
                      <a:pt x="27426" y="40298"/>
                    </a:lnTo>
                    <a:lnTo>
                      <a:pt x="27761" y="42313"/>
                    </a:lnTo>
                    <a:lnTo>
                      <a:pt x="27761" y="43321"/>
                    </a:lnTo>
                    <a:lnTo>
                      <a:pt x="27761" y="43321"/>
                    </a:lnTo>
                    <a:lnTo>
                      <a:pt x="27761" y="43433"/>
                    </a:lnTo>
                    <a:lnTo>
                      <a:pt x="27537" y="43545"/>
                    </a:lnTo>
                    <a:lnTo>
                      <a:pt x="26978" y="43769"/>
                    </a:lnTo>
                    <a:lnTo>
                      <a:pt x="26194" y="43992"/>
                    </a:lnTo>
                    <a:lnTo>
                      <a:pt x="25299" y="44104"/>
                    </a:lnTo>
                    <a:lnTo>
                      <a:pt x="24403" y="44104"/>
                    </a:lnTo>
                    <a:lnTo>
                      <a:pt x="23508" y="44104"/>
                    </a:lnTo>
                    <a:lnTo>
                      <a:pt x="22948" y="43992"/>
                    </a:lnTo>
                    <a:lnTo>
                      <a:pt x="22724" y="43880"/>
                    </a:lnTo>
                    <a:lnTo>
                      <a:pt x="22612" y="43769"/>
                    </a:lnTo>
                    <a:lnTo>
                      <a:pt x="22612" y="43769"/>
                    </a:lnTo>
                    <a:lnTo>
                      <a:pt x="22500" y="42873"/>
                    </a:lnTo>
                    <a:lnTo>
                      <a:pt x="22164" y="40970"/>
                    </a:lnTo>
                    <a:lnTo>
                      <a:pt x="21493" y="35261"/>
                    </a:lnTo>
                    <a:lnTo>
                      <a:pt x="20933" y="32015"/>
                    </a:lnTo>
                    <a:lnTo>
                      <a:pt x="20373" y="28881"/>
                    </a:lnTo>
                    <a:lnTo>
                      <a:pt x="19814" y="26194"/>
                    </a:lnTo>
                    <a:lnTo>
                      <a:pt x="19478" y="25187"/>
                    </a:lnTo>
                    <a:lnTo>
                      <a:pt x="19254" y="24291"/>
                    </a:lnTo>
                    <a:lnTo>
                      <a:pt x="19254" y="24291"/>
                    </a:lnTo>
                    <a:lnTo>
                      <a:pt x="17463" y="20597"/>
                    </a:lnTo>
                    <a:lnTo>
                      <a:pt x="15336" y="16231"/>
                    </a:lnTo>
                    <a:lnTo>
                      <a:pt x="12762" y="10970"/>
                    </a:lnTo>
                    <a:lnTo>
                      <a:pt x="12762" y="10970"/>
                    </a:lnTo>
                    <a:lnTo>
                      <a:pt x="13321" y="15336"/>
                    </a:lnTo>
                    <a:lnTo>
                      <a:pt x="13993" y="19702"/>
                    </a:lnTo>
                    <a:lnTo>
                      <a:pt x="14217" y="21605"/>
                    </a:lnTo>
                    <a:lnTo>
                      <a:pt x="14329" y="23172"/>
                    </a:lnTo>
                    <a:lnTo>
                      <a:pt x="14217" y="24515"/>
                    </a:lnTo>
                    <a:lnTo>
                      <a:pt x="14217" y="25075"/>
                    </a:lnTo>
                    <a:lnTo>
                      <a:pt x="13993" y="25410"/>
                    </a:lnTo>
                    <a:lnTo>
                      <a:pt x="13993" y="25410"/>
                    </a:lnTo>
                    <a:lnTo>
                      <a:pt x="13097" y="27313"/>
                    </a:lnTo>
                    <a:lnTo>
                      <a:pt x="11754" y="29776"/>
                    </a:lnTo>
                    <a:lnTo>
                      <a:pt x="10187" y="32463"/>
                    </a:lnTo>
                    <a:lnTo>
                      <a:pt x="8396" y="35149"/>
                    </a:lnTo>
                    <a:lnTo>
                      <a:pt x="5374" y="39739"/>
                    </a:lnTo>
                    <a:lnTo>
                      <a:pt x="4030" y="41642"/>
                    </a:lnTo>
                    <a:lnTo>
                      <a:pt x="4030" y="41642"/>
                    </a:lnTo>
                    <a:lnTo>
                      <a:pt x="3247" y="41530"/>
                    </a:lnTo>
                    <a:lnTo>
                      <a:pt x="2463" y="41194"/>
                    </a:lnTo>
                    <a:lnTo>
                      <a:pt x="1792" y="40746"/>
                    </a:lnTo>
                    <a:lnTo>
                      <a:pt x="1120" y="40298"/>
                    </a:lnTo>
                    <a:lnTo>
                      <a:pt x="560" y="39851"/>
                    </a:lnTo>
                    <a:lnTo>
                      <a:pt x="224" y="39403"/>
                    </a:lnTo>
                    <a:lnTo>
                      <a:pt x="1" y="39067"/>
                    </a:lnTo>
                    <a:lnTo>
                      <a:pt x="1" y="38955"/>
                    </a:lnTo>
                    <a:lnTo>
                      <a:pt x="1" y="38955"/>
                    </a:lnTo>
                    <a:lnTo>
                      <a:pt x="672" y="37612"/>
                    </a:lnTo>
                    <a:lnTo>
                      <a:pt x="1792" y="35933"/>
                    </a:lnTo>
                    <a:lnTo>
                      <a:pt x="4478" y="31903"/>
                    </a:lnTo>
                    <a:lnTo>
                      <a:pt x="5821" y="29888"/>
                    </a:lnTo>
                    <a:lnTo>
                      <a:pt x="7053" y="27985"/>
                    </a:lnTo>
                    <a:lnTo>
                      <a:pt x="7948" y="26306"/>
                    </a:lnTo>
                    <a:lnTo>
                      <a:pt x="8172" y="25522"/>
                    </a:lnTo>
                    <a:lnTo>
                      <a:pt x="8396" y="24963"/>
                    </a:lnTo>
                    <a:lnTo>
                      <a:pt x="8396" y="24963"/>
                    </a:lnTo>
                    <a:lnTo>
                      <a:pt x="8396" y="24179"/>
                    </a:lnTo>
                    <a:lnTo>
                      <a:pt x="8284" y="23060"/>
                    </a:lnTo>
                    <a:lnTo>
                      <a:pt x="7948" y="19925"/>
                    </a:lnTo>
                    <a:lnTo>
                      <a:pt x="7388" y="16008"/>
                    </a:lnTo>
                    <a:lnTo>
                      <a:pt x="6605" y="11754"/>
                    </a:lnTo>
                    <a:lnTo>
                      <a:pt x="5262" y="4142"/>
                    </a:lnTo>
                    <a:lnTo>
                      <a:pt x="4702" y="784"/>
                    </a:lnTo>
                    <a:lnTo>
                      <a:pt x="16120" y="0"/>
                    </a:lnTo>
                    <a:lnTo>
                      <a:pt x="18918" y="1567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6" name="Google Shape;2056;p16">
                <a:extLst>
                  <a:ext uri="{FF2B5EF4-FFF2-40B4-BE49-F238E27FC236}">
                    <a16:creationId xmlns:a16="http://schemas.microsoft.com/office/drawing/2014/main" id="{4A1448CA-3BA1-2BDD-08CA-038203531DF5}"/>
                  </a:ext>
                </a:extLst>
              </p:cNvPr>
              <p:cNvSpPr/>
              <p:nvPr/>
            </p:nvSpPr>
            <p:spPr>
              <a:xfrm>
                <a:off x="1047900" y="3031000"/>
                <a:ext cx="53200" cy="218300"/>
              </a:xfrm>
              <a:custGeom>
                <a:avLst/>
                <a:gdLst/>
                <a:ahLst/>
                <a:cxnLst/>
                <a:rect l="l" t="t" r="r" b="b"/>
                <a:pathLst>
                  <a:path w="2128" h="8732" extrusionOk="0">
                    <a:moveTo>
                      <a:pt x="0" y="0"/>
                    </a:moveTo>
                    <a:lnTo>
                      <a:pt x="2127" y="8731"/>
                    </a:lnTo>
                    <a:lnTo>
                      <a:pt x="1791" y="5933"/>
                    </a:lnTo>
                    <a:lnTo>
                      <a:pt x="1456" y="3470"/>
                    </a:lnTo>
                    <a:lnTo>
                      <a:pt x="784" y="2127"/>
                    </a:lnTo>
                    <a:lnTo>
                      <a:pt x="336" y="100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6171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7" name="Google Shape;2057;p16">
                <a:extLst>
                  <a:ext uri="{FF2B5EF4-FFF2-40B4-BE49-F238E27FC236}">
                    <a16:creationId xmlns:a16="http://schemas.microsoft.com/office/drawing/2014/main" id="{C72C76BB-796A-89C7-0139-9605D1519D2B}"/>
                  </a:ext>
                </a:extLst>
              </p:cNvPr>
              <p:cNvSpPr/>
              <p:nvPr/>
            </p:nvSpPr>
            <p:spPr>
              <a:xfrm>
                <a:off x="1047900" y="3031000"/>
                <a:ext cx="53200" cy="218300"/>
              </a:xfrm>
              <a:custGeom>
                <a:avLst/>
                <a:gdLst/>
                <a:ahLst/>
                <a:cxnLst/>
                <a:rect l="l" t="t" r="r" b="b"/>
                <a:pathLst>
                  <a:path w="2128" h="8732" fill="none" extrusionOk="0">
                    <a:moveTo>
                      <a:pt x="0" y="0"/>
                    </a:moveTo>
                    <a:lnTo>
                      <a:pt x="2127" y="8731"/>
                    </a:lnTo>
                    <a:lnTo>
                      <a:pt x="2127" y="8731"/>
                    </a:lnTo>
                    <a:lnTo>
                      <a:pt x="1791" y="5933"/>
                    </a:lnTo>
                    <a:lnTo>
                      <a:pt x="1456" y="3470"/>
                    </a:lnTo>
                    <a:lnTo>
                      <a:pt x="1456" y="3470"/>
                    </a:lnTo>
                    <a:lnTo>
                      <a:pt x="784" y="2127"/>
                    </a:lnTo>
                    <a:lnTo>
                      <a:pt x="336" y="1008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8" name="Google Shape;2058;p16">
                <a:extLst>
                  <a:ext uri="{FF2B5EF4-FFF2-40B4-BE49-F238E27FC236}">
                    <a16:creationId xmlns:a16="http://schemas.microsoft.com/office/drawing/2014/main" id="{7E7A6720-51D6-2E4C-0226-4EE88B2B5262}"/>
                  </a:ext>
                </a:extLst>
              </p:cNvPr>
              <p:cNvSpPr/>
              <p:nvPr/>
            </p:nvSpPr>
            <p:spPr>
              <a:xfrm>
                <a:off x="983525" y="2208250"/>
                <a:ext cx="151150" cy="235100"/>
              </a:xfrm>
              <a:custGeom>
                <a:avLst/>
                <a:gdLst/>
                <a:ahLst/>
                <a:cxnLst/>
                <a:rect l="l" t="t" r="r" b="b"/>
                <a:pathLst>
                  <a:path w="6046" h="9404" extrusionOk="0">
                    <a:moveTo>
                      <a:pt x="2687" y="0"/>
                    </a:moveTo>
                    <a:lnTo>
                      <a:pt x="2016" y="112"/>
                    </a:lnTo>
                    <a:lnTo>
                      <a:pt x="1456" y="224"/>
                    </a:lnTo>
                    <a:lnTo>
                      <a:pt x="896" y="448"/>
                    </a:lnTo>
                    <a:lnTo>
                      <a:pt x="449" y="784"/>
                    </a:lnTo>
                    <a:lnTo>
                      <a:pt x="113" y="1231"/>
                    </a:lnTo>
                    <a:lnTo>
                      <a:pt x="1" y="1567"/>
                    </a:lnTo>
                    <a:lnTo>
                      <a:pt x="1" y="1903"/>
                    </a:lnTo>
                    <a:lnTo>
                      <a:pt x="225" y="2911"/>
                    </a:lnTo>
                    <a:lnTo>
                      <a:pt x="672" y="3918"/>
                    </a:lnTo>
                    <a:lnTo>
                      <a:pt x="1120" y="5149"/>
                    </a:lnTo>
                    <a:lnTo>
                      <a:pt x="2240" y="7500"/>
                    </a:lnTo>
                    <a:lnTo>
                      <a:pt x="2575" y="8508"/>
                    </a:lnTo>
                    <a:lnTo>
                      <a:pt x="2687" y="9403"/>
                    </a:lnTo>
                    <a:lnTo>
                      <a:pt x="5486" y="8619"/>
                    </a:lnTo>
                    <a:lnTo>
                      <a:pt x="5150" y="6605"/>
                    </a:lnTo>
                    <a:lnTo>
                      <a:pt x="4478" y="5261"/>
                    </a:lnTo>
                    <a:lnTo>
                      <a:pt x="5150" y="5373"/>
                    </a:lnTo>
                    <a:lnTo>
                      <a:pt x="5598" y="5373"/>
                    </a:lnTo>
                    <a:lnTo>
                      <a:pt x="5934" y="5149"/>
                    </a:lnTo>
                    <a:lnTo>
                      <a:pt x="6045" y="4925"/>
                    </a:lnTo>
                    <a:lnTo>
                      <a:pt x="6045" y="4590"/>
                    </a:lnTo>
                    <a:lnTo>
                      <a:pt x="5934" y="4254"/>
                    </a:lnTo>
                    <a:lnTo>
                      <a:pt x="5598" y="3246"/>
                    </a:lnTo>
                    <a:lnTo>
                      <a:pt x="5262" y="2687"/>
                    </a:lnTo>
                    <a:lnTo>
                      <a:pt x="5374" y="2575"/>
                    </a:lnTo>
                    <a:lnTo>
                      <a:pt x="5486" y="2463"/>
                    </a:lnTo>
                    <a:lnTo>
                      <a:pt x="5038" y="1903"/>
                    </a:lnTo>
                    <a:lnTo>
                      <a:pt x="4590" y="1343"/>
                    </a:lnTo>
                    <a:lnTo>
                      <a:pt x="3807" y="336"/>
                    </a:lnTo>
                    <a:lnTo>
                      <a:pt x="3583" y="112"/>
                    </a:lnTo>
                    <a:lnTo>
                      <a:pt x="3247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9" name="Google Shape;2059;p16">
                <a:extLst>
                  <a:ext uri="{FF2B5EF4-FFF2-40B4-BE49-F238E27FC236}">
                    <a16:creationId xmlns:a16="http://schemas.microsoft.com/office/drawing/2014/main" id="{3812085C-0D25-2C0D-5CC3-121B379D0174}"/>
                  </a:ext>
                </a:extLst>
              </p:cNvPr>
              <p:cNvSpPr/>
              <p:nvPr/>
            </p:nvSpPr>
            <p:spPr>
              <a:xfrm>
                <a:off x="983525" y="2208250"/>
                <a:ext cx="151150" cy="235100"/>
              </a:xfrm>
              <a:custGeom>
                <a:avLst/>
                <a:gdLst/>
                <a:ahLst/>
                <a:cxnLst/>
                <a:rect l="l" t="t" r="r" b="b"/>
                <a:pathLst>
                  <a:path w="6046" h="9404" fill="none" extrusionOk="0">
                    <a:moveTo>
                      <a:pt x="3807" y="336"/>
                    </a:moveTo>
                    <a:lnTo>
                      <a:pt x="3807" y="336"/>
                    </a:lnTo>
                    <a:lnTo>
                      <a:pt x="4590" y="1343"/>
                    </a:lnTo>
                    <a:lnTo>
                      <a:pt x="5038" y="1903"/>
                    </a:lnTo>
                    <a:lnTo>
                      <a:pt x="5486" y="2463"/>
                    </a:lnTo>
                    <a:lnTo>
                      <a:pt x="5486" y="2463"/>
                    </a:lnTo>
                    <a:lnTo>
                      <a:pt x="5374" y="2575"/>
                    </a:lnTo>
                    <a:lnTo>
                      <a:pt x="5262" y="2687"/>
                    </a:lnTo>
                    <a:lnTo>
                      <a:pt x="5598" y="3246"/>
                    </a:lnTo>
                    <a:lnTo>
                      <a:pt x="5598" y="3246"/>
                    </a:lnTo>
                    <a:lnTo>
                      <a:pt x="5934" y="4254"/>
                    </a:lnTo>
                    <a:lnTo>
                      <a:pt x="6045" y="4590"/>
                    </a:lnTo>
                    <a:lnTo>
                      <a:pt x="6045" y="4925"/>
                    </a:lnTo>
                    <a:lnTo>
                      <a:pt x="5934" y="5149"/>
                    </a:lnTo>
                    <a:lnTo>
                      <a:pt x="5598" y="5373"/>
                    </a:lnTo>
                    <a:lnTo>
                      <a:pt x="5150" y="5373"/>
                    </a:lnTo>
                    <a:lnTo>
                      <a:pt x="4478" y="5261"/>
                    </a:lnTo>
                    <a:lnTo>
                      <a:pt x="4478" y="5261"/>
                    </a:lnTo>
                    <a:lnTo>
                      <a:pt x="5150" y="6605"/>
                    </a:lnTo>
                    <a:lnTo>
                      <a:pt x="5486" y="8619"/>
                    </a:lnTo>
                    <a:lnTo>
                      <a:pt x="2687" y="9403"/>
                    </a:lnTo>
                    <a:lnTo>
                      <a:pt x="2687" y="9403"/>
                    </a:lnTo>
                    <a:lnTo>
                      <a:pt x="2575" y="8508"/>
                    </a:lnTo>
                    <a:lnTo>
                      <a:pt x="2240" y="7500"/>
                    </a:lnTo>
                    <a:lnTo>
                      <a:pt x="1120" y="5149"/>
                    </a:lnTo>
                    <a:lnTo>
                      <a:pt x="672" y="3918"/>
                    </a:lnTo>
                    <a:lnTo>
                      <a:pt x="225" y="2911"/>
                    </a:lnTo>
                    <a:lnTo>
                      <a:pt x="1" y="1903"/>
                    </a:lnTo>
                    <a:lnTo>
                      <a:pt x="1" y="1567"/>
                    </a:lnTo>
                    <a:lnTo>
                      <a:pt x="113" y="1231"/>
                    </a:lnTo>
                    <a:lnTo>
                      <a:pt x="113" y="1231"/>
                    </a:lnTo>
                    <a:lnTo>
                      <a:pt x="449" y="784"/>
                    </a:lnTo>
                    <a:lnTo>
                      <a:pt x="896" y="448"/>
                    </a:lnTo>
                    <a:lnTo>
                      <a:pt x="1456" y="224"/>
                    </a:lnTo>
                    <a:lnTo>
                      <a:pt x="2016" y="112"/>
                    </a:lnTo>
                    <a:lnTo>
                      <a:pt x="2687" y="0"/>
                    </a:lnTo>
                    <a:lnTo>
                      <a:pt x="3247" y="0"/>
                    </a:lnTo>
                    <a:lnTo>
                      <a:pt x="3583" y="112"/>
                    </a:lnTo>
                    <a:lnTo>
                      <a:pt x="3807" y="336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0" name="Google Shape;2060;p16">
                <a:extLst>
                  <a:ext uri="{FF2B5EF4-FFF2-40B4-BE49-F238E27FC236}">
                    <a16:creationId xmlns:a16="http://schemas.microsoft.com/office/drawing/2014/main" id="{76B8229F-6E4D-507D-582C-E4998DDCA47C}"/>
                  </a:ext>
                </a:extLst>
              </p:cNvPr>
              <p:cNvSpPr/>
              <p:nvPr/>
            </p:nvSpPr>
            <p:spPr>
              <a:xfrm>
                <a:off x="958350" y="2166275"/>
                <a:ext cx="131550" cy="198700"/>
              </a:xfrm>
              <a:custGeom>
                <a:avLst/>
                <a:gdLst/>
                <a:ahLst/>
                <a:cxnLst/>
                <a:rect l="l" t="t" r="r" b="b"/>
                <a:pathLst>
                  <a:path w="5262" h="7948" extrusionOk="0">
                    <a:moveTo>
                      <a:pt x="4030" y="0"/>
                    </a:moveTo>
                    <a:lnTo>
                      <a:pt x="3582" y="112"/>
                    </a:lnTo>
                    <a:lnTo>
                      <a:pt x="3358" y="224"/>
                    </a:lnTo>
                    <a:lnTo>
                      <a:pt x="3247" y="336"/>
                    </a:lnTo>
                    <a:lnTo>
                      <a:pt x="2911" y="1007"/>
                    </a:lnTo>
                    <a:lnTo>
                      <a:pt x="2799" y="1119"/>
                    </a:lnTo>
                    <a:lnTo>
                      <a:pt x="2687" y="1119"/>
                    </a:lnTo>
                    <a:lnTo>
                      <a:pt x="2239" y="1007"/>
                    </a:lnTo>
                    <a:lnTo>
                      <a:pt x="1567" y="896"/>
                    </a:lnTo>
                    <a:lnTo>
                      <a:pt x="1232" y="896"/>
                    </a:lnTo>
                    <a:lnTo>
                      <a:pt x="1008" y="1007"/>
                    </a:lnTo>
                    <a:lnTo>
                      <a:pt x="784" y="1119"/>
                    </a:lnTo>
                    <a:lnTo>
                      <a:pt x="672" y="1343"/>
                    </a:lnTo>
                    <a:lnTo>
                      <a:pt x="560" y="1679"/>
                    </a:lnTo>
                    <a:lnTo>
                      <a:pt x="560" y="2015"/>
                    </a:lnTo>
                    <a:lnTo>
                      <a:pt x="560" y="2463"/>
                    </a:lnTo>
                    <a:lnTo>
                      <a:pt x="560" y="2687"/>
                    </a:lnTo>
                    <a:lnTo>
                      <a:pt x="336" y="2910"/>
                    </a:lnTo>
                    <a:lnTo>
                      <a:pt x="112" y="3134"/>
                    </a:lnTo>
                    <a:lnTo>
                      <a:pt x="0" y="3358"/>
                    </a:lnTo>
                    <a:lnTo>
                      <a:pt x="0" y="3694"/>
                    </a:lnTo>
                    <a:lnTo>
                      <a:pt x="112" y="4366"/>
                    </a:lnTo>
                    <a:lnTo>
                      <a:pt x="224" y="4813"/>
                    </a:lnTo>
                    <a:lnTo>
                      <a:pt x="448" y="5149"/>
                    </a:lnTo>
                    <a:lnTo>
                      <a:pt x="672" y="5373"/>
                    </a:lnTo>
                    <a:lnTo>
                      <a:pt x="1232" y="5709"/>
                    </a:lnTo>
                    <a:lnTo>
                      <a:pt x="1344" y="5933"/>
                    </a:lnTo>
                    <a:lnTo>
                      <a:pt x="1567" y="6269"/>
                    </a:lnTo>
                    <a:lnTo>
                      <a:pt x="1903" y="7052"/>
                    </a:lnTo>
                    <a:lnTo>
                      <a:pt x="2351" y="7612"/>
                    </a:lnTo>
                    <a:lnTo>
                      <a:pt x="2687" y="7836"/>
                    </a:lnTo>
                    <a:lnTo>
                      <a:pt x="2911" y="7948"/>
                    </a:lnTo>
                    <a:lnTo>
                      <a:pt x="3470" y="7948"/>
                    </a:lnTo>
                    <a:lnTo>
                      <a:pt x="3694" y="7724"/>
                    </a:lnTo>
                    <a:lnTo>
                      <a:pt x="3918" y="7500"/>
                    </a:lnTo>
                    <a:lnTo>
                      <a:pt x="4142" y="6828"/>
                    </a:lnTo>
                    <a:lnTo>
                      <a:pt x="4142" y="6157"/>
                    </a:lnTo>
                    <a:lnTo>
                      <a:pt x="4030" y="5597"/>
                    </a:lnTo>
                    <a:lnTo>
                      <a:pt x="3694" y="5485"/>
                    </a:lnTo>
                    <a:lnTo>
                      <a:pt x="3470" y="5261"/>
                    </a:lnTo>
                    <a:lnTo>
                      <a:pt x="3358" y="5037"/>
                    </a:lnTo>
                    <a:lnTo>
                      <a:pt x="3358" y="4813"/>
                    </a:lnTo>
                    <a:lnTo>
                      <a:pt x="3470" y="4590"/>
                    </a:lnTo>
                    <a:lnTo>
                      <a:pt x="3582" y="4478"/>
                    </a:lnTo>
                    <a:lnTo>
                      <a:pt x="4142" y="4478"/>
                    </a:lnTo>
                    <a:lnTo>
                      <a:pt x="4478" y="4366"/>
                    </a:lnTo>
                    <a:lnTo>
                      <a:pt x="4590" y="4142"/>
                    </a:lnTo>
                    <a:lnTo>
                      <a:pt x="4590" y="3918"/>
                    </a:lnTo>
                    <a:lnTo>
                      <a:pt x="4366" y="3582"/>
                    </a:lnTo>
                    <a:lnTo>
                      <a:pt x="4366" y="3358"/>
                    </a:lnTo>
                    <a:lnTo>
                      <a:pt x="4478" y="3134"/>
                    </a:lnTo>
                    <a:lnTo>
                      <a:pt x="4702" y="2910"/>
                    </a:lnTo>
                    <a:lnTo>
                      <a:pt x="4926" y="2575"/>
                    </a:lnTo>
                    <a:lnTo>
                      <a:pt x="5149" y="2127"/>
                    </a:lnTo>
                    <a:lnTo>
                      <a:pt x="5261" y="1679"/>
                    </a:lnTo>
                    <a:lnTo>
                      <a:pt x="5261" y="1343"/>
                    </a:lnTo>
                    <a:lnTo>
                      <a:pt x="5149" y="1231"/>
                    </a:lnTo>
                    <a:lnTo>
                      <a:pt x="4926" y="1007"/>
                    </a:lnTo>
                    <a:lnTo>
                      <a:pt x="4926" y="784"/>
                    </a:lnTo>
                    <a:lnTo>
                      <a:pt x="4926" y="560"/>
                    </a:lnTo>
                    <a:lnTo>
                      <a:pt x="4702" y="336"/>
                    </a:lnTo>
                    <a:lnTo>
                      <a:pt x="4366" y="112"/>
                    </a:lnTo>
                    <a:lnTo>
                      <a:pt x="4030" y="0"/>
                    </a:lnTo>
                    <a:close/>
                  </a:path>
                </a:pathLst>
              </a:custGeom>
              <a:solidFill>
                <a:srgbClr val="2D2D2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1" name="Google Shape;2061;p16">
                <a:extLst>
                  <a:ext uri="{FF2B5EF4-FFF2-40B4-BE49-F238E27FC236}">
                    <a16:creationId xmlns:a16="http://schemas.microsoft.com/office/drawing/2014/main" id="{E4AF4B11-74A4-FD04-3DFA-62E073BA7F93}"/>
                  </a:ext>
                </a:extLst>
              </p:cNvPr>
              <p:cNvSpPr/>
              <p:nvPr/>
            </p:nvSpPr>
            <p:spPr>
              <a:xfrm>
                <a:off x="1067475" y="2334175"/>
                <a:ext cx="44800" cy="50400"/>
              </a:xfrm>
              <a:custGeom>
                <a:avLst/>
                <a:gdLst/>
                <a:ahLst/>
                <a:cxnLst/>
                <a:rect l="l" t="t" r="r" b="b"/>
                <a:pathLst>
                  <a:path w="1792" h="2016" extrusionOk="0">
                    <a:moveTo>
                      <a:pt x="561" y="0"/>
                    </a:moveTo>
                    <a:lnTo>
                      <a:pt x="337" y="112"/>
                    </a:lnTo>
                    <a:lnTo>
                      <a:pt x="225" y="224"/>
                    </a:lnTo>
                    <a:lnTo>
                      <a:pt x="1" y="672"/>
                    </a:lnTo>
                    <a:lnTo>
                      <a:pt x="1" y="1120"/>
                    </a:lnTo>
                    <a:lnTo>
                      <a:pt x="113" y="1344"/>
                    </a:lnTo>
                    <a:lnTo>
                      <a:pt x="337" y="1456"/>
                    </a:lnTo>
                    <a:lnTo>
                      <a:pt x="896" y="1791"/>
                    </a:lnTo>
                    <a:lnTo>
                      <a:pt x="1456" y="2015"/>
                    </a:lnTo>
                    <a:lnTo>
                      <a:pt x="1792" y="2015"/>
                    </a:lnTo>
                    <a:lnTo>
                      <a:pt x="1792" y="1568"/>
                    </a:lnTo>
                    <a:lnTo>
                      <a:pt x="1680" y="1232"/>
                    </a:lnTo>
                    <a:lnTo>
                      <a:pt x="1120" y="224"/>
                    </a:lnTo>
                    <a:lnTo>
                      <a:pt x="784" y="112"/>
                    </a:lnTo>
                    <a:lnTo>
                      <a:pt x="561" y="0"/>
                    </a:lnTo>
                    <a:close/>
                  </a:path>
                </a:pathLst>
              </a:custGeom>
              <a:solidFill>
                <a:srgbClr val="C08C8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2" name="Google Shape;2062;p16">
                <a:extLst>
                  <a:ext uri="{FF2B5EF4-FFF2-40B4-BE49-F238E27FC236}">
                    <a16:creationId xmlns:a16="http://schemas.microsoft.com/office/drawing/2014/main" id="{F60A2539-28B9-2704-A772-7071FAE888A0}"/>
                  </a:ext>
                </a:extLst>
              </p:cNvPr>
              <p:cNvSpPr/>
              <p:nvPr/>
            </p:nvSpPr>
            <p:spPr>
              <a:xfrm>
                <a:off x="1067475" y="2334175"/>
                <a:ext cx="44800" cy="50400"/>
              </a:xfrm>
              <a:custGeom>
                <a:avLst/>
                <a:gdLst/>
                <a:ahLst/>
                <a:cxnLst/>
                <a:rect l="l" t="t" r="r" b="b"/>
                <a:pathLst>
                  <a:path w="1792" h="2016" fill="none" extrusionOk="0">
                    <a:moveTo>
                      <a:pt x="561" y="0"/>
                    </a:moveTo>
                    <a:lnTo>
                      <a:pt x="561" y="0"/>
                    </a:lnTo>
                    <a:lnTo>
                      <a:pt x="337" y="112"/>
                    </a:lnTo>
                    <a:lnTo>
                      <a:pt x="225" y="224"/>
                    </a:lnTo>
                    <a:lnTo>
                      <a:pt x="225" y="224"/>
                    </a:lnTo>
                    <a:lnTo>
                      <a:pt x="1" y="672"/>
                    </a:lnTo>
                    <a:lnTo>
                      <a:pt x="1" y="1120"/>
                    </a:lnTo>
                    <a:lnTo>
                      <a:pt x="113" y="1344"/>
                    </a:lnTo>
                    <a:lnTo>
                      <a:pt x="337" y="1456"/>
                    </a:lnTo>
                    <a:lnTo>
                      <a:pt x="896" y="1791"/>
                    </a:lnTo>
                    <a:lnTo>
                      <a:pt x="1456" y="2015"/>
                    </a:lnTo>
                    <a:lnTo>
                      <a:pt x="1456" y="2015"/>
                    </a:lnTo>
                    <a:lnTo>
                      <a:pt x="1792" y="2015"/>
                    </a:lnTo>
                    <a:lnTo>
                      <a:pt x="1792" y="2015"/>
                    </a:lnTo>
                    <a:lnTo>
                      <a:pt x="1792" y="1568"/>
                    </a:lnTo>
                    <a:lnTo>
                      <a:pt x="1680" y="1232"/>
                    </a:lnTo>
                    <a:lnTo>
                      <a:pt x="1120" y="224"/>
                    </a:lnTo>
                    <a:lnTo>
                      <a:pt x="1120" y="224"/>
                    </a:lnTo>
                    <a:lnTo>
                      <a:pt x="1120" y="224"/>
                    </a:lnTo>
                    <a:lnTo>
                      <a:pt x="1120" y="224"/>
                    </a:lnTo>
                    <a:lnTo>
                      <a:pt x="784" y="112"/>
                    </a:lnTo>
                    <a:lnTo>
                      <a:pt x="56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3" name="Google Shape;2063;p16">
                <a:extLst>
                  <a:ext uri="{FF2B5EF4-FFF2-40B4-BE49-F238E27FC236}">
                    <a16:creationId xmlns:a16="http://schemas.microsoft.com/office/drawing/2014/main" id="{E490BEED-5827-F08A-87A3-3ACBFDF27D1E}"/>
                  </a:ext>
                </a:extLst>
              </p:cNvPr>
              <p:cNvSpPr/>
              <p:nvPr/>
            </p:nvSpPr>
            <p:spPr>
              <a:xfrm>
                <a:off x="868800" y="2297800"/>
                <a:ext cx="828375" cy="640875"/>
              </a:xfrm>
              <a:custGeom>
                <a:avLst/>
                <a:gdLst/>
                <a:ahLst/>
                <a:cxnLst/>
                <a:rect l="l" t="t" r="r" b="b"/>
                <a:pathLst>
                  <a:path w="33135" h="25635" extrusionOk="0">
                    <a:moveTo>
                      <a:pt x="31791" y="0"/>
                    </a:moveTo>
                    <a:lnTo>
                      <a:pt x="30672" y="784"/>
                    </a:lnTo>
                    <a:lnTo>
                      <a:pt x="27985" y="2239"/>
                    </a:lnTo>
                    <a:lnTo>
                      <a:pt x="26530" y="3134"/>
                    </a:lnTo>
                    <a:lnTo>
                      <a:pt x="24963" y="3806"/>
                    </a:lnTo>
                    <a:lnTo>
                      <a:pt x="23731" y="4366"/>
                    </a:lnTo>
                    <a:lnTo>
                      <a:pt x="22724" y="4702"/>
                    </a:lnTo>
                    <a:lnTo>
                      <a:pt x="21716" y="4702"/>
                    </a:lnTo>
                    <a:lnTo>
                      <a:pt x="20485" y="4590"/>
                    </a:lnTo>
                    <a:lnTo>
                      <a:pt x="17687" y="4366"/>
                    </a:lnTo>
                    <a:lnTo>
                      <a:pt x="14776" y="3918"/>
                    </a:lnTo>
                    <a:lnTo>
                      <a:pt x="12202" y="3694"/>
                    </a:lnTo>
                    <a:lnTo>
                      <a:pt x="8620" y="3470"/>
                    </a:lnTo>
                    <a:lnTo>
                      <a:pt x="6940" y="3358"/>
                    </a:lnTo>
                    <a:lnTo>
                      <a:pt x="5933" y="3470"/>
                    </a:lnTo>
                    <a:lnTo>
                      <a:pt x="4702" y="3918"/>
                    </a:lnTo>
                    <a:lnTo>
                      <a:pt x="4030" y="4254"/>
                    </a:lnTo>
                    <a:lnTo>
                      <a:pt x="3358" y="4702"/>
                    </a:lnTo>
                    <a:lnTo>
                      <a:pt x="2687" y="5261"/>
                    </a:lnTo>
                    <a:lnTo>
                      <a:pt x="2127" y="5821"/>
                    </a:lnTo>
                    <a:lnTo>
                      <a:pt x="1679" y="6381"/>
                    </a:lnTo>
                    <a:lnTo>
                      <a:pt x="1344" y="7052"/>
                    </a:lnTo>
                    <a:lnTo>
                      <a:pt x="1120" y="8172"/>
                    </a:lnTo>
                    <a:lnTo>
                      <a:pt x="896" y="9963"/>
                    </a:lnTo>
                    <a:lnTo>
                      <a:pt x="448" y="15112"/>
                    </a:lnTo>
                    <a:lnTo>
                      <a:pt x="112" y="20373"/>
                    </a:lnTo>
                    <a:lnTo>
                      <a:pt x="0" y="22388"/>
                    </a:lnTo>
                    <a:lnTo>
                      <a:pt x="112" y="23619"/>
                    </a:lnTo>
                    <a:lnTo>
                      <a:pt x="224" y="24067"/>
                    </a:lnTo>
                    <a:lnTo>
                      <a:pt x="672" y="24403"/>
                    </a:lnTo>
                    <a:lnTo>
                      <a:pt x="1232" y="24739"/>
                    </a:lnTo>
                    <a:lnTo>
                      <a:pt x="2015" y="24963"/>
                    </a:lnTo>
                    <a:lnTo>
                      <a:pt x="2799" y="25186"/>
                    </a:lnTo>
                    <a:lnTo>
                      <a:pt x="3806" y="25410"/>
                    </a:lnTo>
                    <a:lnTo>
                      <a:pt x="6045" y="25634"/>
                    </a:lnTo>
                    <a:lnTo>
                      <a:pt x="7276" y="25634"/>
                    </a:lnTo>
                    <a:lnTo>
                      <a:pt x="8508" y="25522"/>
                    </a:lnTo>
                    <a:lnTo>
                      <a:pt x="9739" y="25410"/>
                    </a:lnTo>
                    <a:lnTo>
                      <a:pt x="10858" y="25186"/>
                    </a:lnTo>
                    <a:lnTo>
                      <a:pt x="11978" y="24851"/>
                    </a:lnTo>
                    <a:lnTo>
                      <a:pt x="13097" y="24515"/>
                    </a:lnTo>
                    <a:lnTo>
                      <a:pt x="13993" y="23955"/>
                    </a:lnTo>
                    <a:lnTo>
                      <a:pt x="14776" y="23395"/>
                    </a:lnTo>
                    <a:lnTo>
                      <a:pt x="14328" y="21045"/>
                    </a:lnTo>
                    <a:lnTo>
                      <a:pt x="14105" y="19030"/>
                    </a:lnTo>
                    <a:lnTo>
                      <a:pt x="13993" y="17463"/>
                    </a:lnTo>
                    <a:lnTo>
                      <a:pt x="13993" y="16007"/>
                    </a:lnTo>
                    <a:lnTo>
                      <a:pt x="14105" y="13657"/>
                    </a:lnTo>
                    <a:lnTo>
                      <a:pt x="14216" y="11306"/>
                    </a:lnTo>
                    <a:lnTo>
                      <a:pt x="14328" y="11082"/>
                    </a:lnTo>
                    <a:lnTo>
                      <a:pt x="14552" y="10858"/>
                    </a:lnTo>
                    <a:lnTo>
                      <a:pt x="15224" y="10522"/>
                    </a:lnTo>
                    <a:lnTo>
                      <a:pt x="16231" y="10075"/>
                    </a:lnTo>
                    <a:lnTo>
                      <a:pt x="17463" y="9851"/>
                    </a:lnTo>
                    <a:lnTo>
                      <a:pt x="20261" y="9179"/>
                    </a:lnTo>
                    <a:lnTo>
                      <a:pt x="23060" y="8731"/>
                    </a:lnTo>
                    <a:lnTo>
                      <a:pt x="24179" y="8284"/>
                    </a:lnTo>
                    <a:lnTo>
                      <a:pt x="25634" y="7724"/>
                    </a:lnTo>
                    <a:lnTo>
                      <a:pt x="28880" y="6157"/>
                    </a:lnTo>
                    <a:lnTo>
                      <a:pt x="31903" y="4478"/>
                    </a:lnTo>
                    <a:lnTo>
                      <a:pt x="32798" y="3918"/>
                    </a:lnTo>
                    <a:lnTo>
                      <a:pt x="33134" y="3582"/>
                    </a:lnTo>
                    <a:lnTo>
                      <a:pt x="33022" y="2799"/>
                    </a:lnTo>
                    <a:lnTo>
                      <a:pt x="32686" y="1679"/>
                    </a:lnTo>
                    <a:lnTo>
                      <a:pt x="32239" y="560"/>
                    </a:lnTo>
                    <a:lnTo>
                      <a:pt x="32015" y="224"/>
                    </a:lnTo>
                    <a:lnTo>
                      <a:pt x="31791" y="0"/>
                    </a:lnTo>
                    <a:close/>
                  </a:path>
                </a:pathLst>
              </a:custGeom>
              <a:solidFill>
                <a:srgbClr val="EA8C23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4" name="Google Shape;2064;p16">
                <a:extLst>
                  <a:ext uri="{FF2B5EF4-FFF2-40B4-BE49-F238E27FC236}">
                    <a16:creationId xmlns:a16="http://schemas.microsoft.com/office/drawing/2014/main" id="{68BDCB7D-0753-EAE1-403C-1984D9D0C49F}"/>
                  </a:ext>
                </a:extLst>
              </p:cNvPr>
              <p:cNvSpPr/>
              <p:nvPr/>
            </p:nvSpPr>
            <p:spPr>
              <a:xfrm>
                <a:off x="868800" y="2297800"/>
                <a:ext cx="828375" cy="640875"/>
              </a:xfrm>
              <a:custGeom>
                <a:avLst/>
                <a:gdLst/>
                <a:ahLst/>
                <a:cxnLst/>
                <a:rect l="l" t="t" r="r" b="b"/>
                <a:pathLst>
                  <a:path w="33135" h="25635" fill="none" extrusionOk="0">
                    <a:moveTo>
                      <a:pt x="5933" y="3470"/>
                    </a:moveTo>
                    <a:lnTo>
                      <a:pt x="5933" y="3470"/>
                    </a:lnTo>
                    <a:lnTo>
                      <a:pt x="6940" y="3358"/>
                    </a:lnTo>
                    <a:lnTo>
                      <a:pt x="8620" y="3470"/>
                    </a:lnTo>
                    <a:lnTo>
                      <a:pt x="12202" y="3694"/>
                    </a:lnTo>
                    <a:lnTo>
                      <a:pt x="12202" y="3694"/>
                    </a:lnTo>
                    <a:lnTo>
                      <a:pt x="14776" y="3918"/>
                    </a:lnTo>
                    <a:lnTo>
                      <a:pt x="17687" y="4366"/>
                    </a:lnTo>
                    <a:lnTo>
                      <a:pt x="20485" y="4590"/>
                    </a:lnTo>
                    <a:lnTo>
                      <a:pt x="21716" y="4702"/>
                    </a:lnTo>
                    <a:lnTo>
                      <a:pt x="22724" y="4702"/>
                    </a:lnTo>
                    <a:lnTo>
                      <a:pt x="22724" y="4702"/>
                    </a:lnTo>
                    <a:lnTo>
                      <a:pt x="23731" y="4366"/>
                    </a:lnTo>
                    <a:lnTo>
                      <a:pt x="24963" y="3806"/>
                    </a:lnTo>
                    <a:lnTo>
                      <a:pt x="26530" y="3134"/>
                    </a:lnTo>
                    <a:lnTo>
                      <a:pt x="27985" y="2239"/>
                    </a:lnTo>
                    <a:lnTo>
                      <a:pt x="30672" y="784"/>
                    </a:lnTo>
                    <a:lnTo>
                      <a:pt x="31791" y="0"/>
                    </a:lnTo>
                    <a:lnTo>
                      <a:pt x="31791" y="0"/>
                    </a:lnTo>
                    <a:lnTo>
                      <a:pt x="32015" y="224"/>
                    </a:lnTo>
                    <a:lnTo>
                      <a:pt x="32239" y="560"/>
                    </a:lnTo>
                    <a:lnTo>
                      <a:pt x="32686" y="1679"/>
                    </a:lnTo>
                    <a:lnTo>
                      <a:pt x="33022" y="2799"/>
                    </a:lnTo>
                    <a:lnTo>
                      <a:pt x="33134" y="3582"/>
                    </a:lnTo>
                    <a:lnTo>
                      <a:pt x="33134" y="3582"/>
                    </a:lnTo>
                    <a:lnTo>
                      <a:pt x="32798" y="3918"/>
                    </a:lnTo>
                    <a:lnTo>
                      <a:pt x="31903" y="4478"/>
                    </a:lnTo>
                    <a:lnTo>
                      <a:pt x="28880" y="6157"/>
                    </a:lnTo>
                    <a:lnTo>
                      <a:pt x="25634" y="7724"/>
                    </a:lnTo>
                    <a:lnTo>
                      <a:pt x="24179" y="8284"/>
                    </a:lnTo>
                    <a:lnTo>
                      <a:pt x="23060" y="8731"/>
                    </a:lnTo>
                    <a:lnTo>
                      <a:pt x="23060" y="8731"/>
                    </a:lnTo>
                    <a:lnTo>
                      <a:pt x="20261" y="9179"/>
                    </a:lnTo>
                    <a:lnTo>
                      <a:pt x="17463" y="9851"/>
                    </a:lnTo>
                    <a:lnTo>
                      <a:pt x="16231" y="10075"/>
                    </a:lnTo>
                    <a:lnTo>
                      <a:pt x="15224" y="10522"/>
                    </a:lnTo>
                    <a:lnTo>
                      <a:pt x="14552" y="10858"/>
                    </a:lnTo>
                    <a:lnTo>
                      <a:pt x="14328" y="11082"/>
                    </a:lnTo>
                    <a:lnTo>
                      <a:pt x="14216" y="11306"/>
                    </a:lnTo>
                    <a:lnTo>
                      <a:pt x="14216" y="11306"/>
                    </a:lnTo>
                    <a:lnTo>
                      <a:pt x="14105" y="13657"/>
                    </a:lnTo>
                    <a:lnTo>
                      <a:pt x="13993" y="16007"/>
                    </a:lnTo>
                    <a:lnTo>
                      <a:pt x="13993" y="17463"/>
                    </a:lnTo>
                    <a:lnTo>
                      <a:pt x="14105" y="19030"/>
                    </a:lnTo>
                    <a:lnTo>
                      <a:pt x="14328" y="21045"/>
                    </a:lnTo>
                    <a:lnTo>
                      <a:pt x="14776" y="23395"/>
                    </a:lnTo>
                    <a:lnTo>
                      <a:pt x="14776" y="23395"/>
                    </a:lnTo>
                    <a:lnTo>
                      <a:pt x="13993" y="23955"/>
                    </a:lnTo>
                    <a:lnTo>
                      <a:pt x="13097" y="24515"/>
                    </a:lnTo>
                    <a:lnTo>
                      <a:pt x="11978" y="24851"/>
                    </a:lnTo>
                    <a:lnTo>
                      <a:pt x="10858" y="25186"/>
                    </a:lnTo>
                    <a:lnTo>
                      <a:pt x="9739" y="25410"/>
                    </a:lnTo>
                    <a:lnTo>
                      <a:pt x="8508" y="25522"/>
                    </a:lnTo>
                    <a:lnTo>
                      <a:pt x="7276" y="25634"/>
                    </a:lnTo>
                    <a:lnTo>
                      <a:pt x="6045" y="25634"/>
                    </a:lnTo>
                    <a:lnTo>
                      <a:pt x="3806" y="25410"/>
                    </a:lnTo>
                    <a:lnTo>
                      <a:pt x="2799" y="25186"/>
                    </a:lnTo>
                    <a:lnTo>
                      <a:pt x="2015" y="24963"/>
                    </a:lnTo>
                    <a:lnTo>
                      <a:pt x="1232" y="24739"/>
                    </a:lnTo>
                    <a:lnTo>
                      <a:pt x="672" y="24403"/>
                    </a:lnTo>
                    <a:lnTo>
                      <a:pt x="224" y="24067"/>
                    </a:lnTo>
                    <a:lnTo>
                      <a:pt x="112" y="23619"/>
                    </a:lnTo>
                    <a:lnTo>
                      <a:pt x="112" y="23619"/>
                    </a:lnTo>
                    <a:lnTo>
                      <a:pt x="0" y="22388"/>
                    </a:lnTo>
                    <a:lnTo>
                      <a:pt x="112" y="20373"/>
                    </a:lnTo>
                    <a:lnTo>
                      <a:pt x="448" y="15112"/>
                    </a:lnTo>
                    <a:lnTo>
                      <a:pt x="896" y="9963"/>
                    </a:lnTo>
                    <a:lnTo>
                      <a:pt x="1120" y="8172"/>
                    </a:lnTo>
                    <a:lnTo>
                      <a:pt x="1344" y="7052"/>
                    </a:lnTo>
                    <a:lnTo>
                      <a:pt x="1344" y="7052"/>
                    </a:lnTo>
                    <a:lnTo>
                      <a:pt x="1679" y="6381"/>
                    </a:lnTo>
                    <a:lnTo>
                      <a:pt x="2127" y="5821"/>
                    </a:lnTo>
                    <a:lnTo>
                      <a:pt x="2687" y="5261"/>
                    </a:lnTo>
                    <a:lnTo>
                      <a:pt x="3358" y="4702"/>
                    </a:lnTo>
                    <a:lnTo>
                      <a:pt x="4030" y="4254"/>
                    </a:lnTo>
                    <a:lnTo>
                      <a:pt x="4702" y="3918"/>
                    </a:lnTo>
                    <a:lnTo>
                      <a:pt x="5933" y="3470"/>
                    </a:lnTo>
                  </a:path>
                </a:pathLst>
              </a:custGeom>
              <a:solidFill>
                <a:srgbClr val="46464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5" name="Google Shape;2065;p16">
                <a:extLst>
                  <a:ext uri="{FF2B5EF4-FFF2-40B4-BE49-F238E27FC236}">
                    <a16:creationId xmlns:a16="http://schemas.microsoft.com/office/drawing/2014/main" id="{54AD8F5E-A172-F78F-0944-5E911874FD69}"/>
                  </a:ext>
                </a:extLst>
              </p:cNvPr>
              <p:cNvSpPr/>
              <p:nvPr/>
            </p:nvSpPr>
            <p:spPr>
              <a:xfrm>
                <a:off x="1227000" y="2574850"/>
                <a:ext cx="28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13" h="1" extrusionOk="0">
                    <a:moveTo>
                      <a:pt x="112" y="0"/>
                    </a:moveTo>
                    <a:lnTo>
                      <a:pt x="11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12" y="0"/>
                    </a:lnTo>
                    <a:close/>
                  </a:path>
                </a:pathLst>
              </a:custGeom>
              <a:solidFill>
                <a:srgbClr val="A7A2A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6" name="Google Shape;2066;p16">
                <a:extLst>
                  <a:ext uri="{FF2B5EF4-FFF2-40B4-BE49-F238E27FC236}">
                    <a16:creationId xmlns:a16="http://schemas.microsoft.com/office/drawing/2014/main" id="{C4D615B5-AC50-AAB6-7AF8-E864CEC706EA}"/>
                  </a:ext>
                </a:extLst>
              </p:cNvPr>
              <p:cNvSpPr/>
              <p:nvPr/>
            </p:nvSpPr>
            <p:spPr>
              <a:xfrm>
                <a:off x="1227000" y="2574850"/>
                <a:ext cx="28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13" h="1" fill="none" extrusionOk="0">
                    <a:moveTo>
                      <a:pt x="112" y="0"/>
                    </a:moveTo>
                    <a:lnTo>
                      <a:pt x="11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1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7" name="Google Shape;2067;p16">
                <a:extLst>
                  <a:ext uri="{FF2B5EF4-FFF2-40B4-BE49-F238E27FC236}">
                    <a16:creationId xmlns:a16="http://schemas.microsoft.com/office/drawing/2014/main" id="{04113598-717C-4CB6-AAE3-210F1969305B}"/>
                  </a:ext>
                </a:extLst>
              </p:cNvPr>
              <p:cNvSpPr/>
              <p:nvPr/>
            </p:nvSpPr>
            <p:spPr>
              <a:xfrm>
                <a:off x="1173825" y="2574850"/>
                <a:ext cx="58800" cy="274275"/>
              </a:xfrm>
              <a:custGeom>
                <a:avLst/>
                <a:gdLst/>
                <a:ahLst/>
                <a:cxnLst/>
                <a:rect l="l" t="t" r="r" b="b"/>
                <a:pathLst>
                  <a:path w="2352" h="10971" extrusionOk="0">
                    <a:moveTo>
                      <a:pt x="2127" y="0"/>
                    </a:moveTo>
                    <a:lnTo>
                      <a:pt x="1232" y="336"/>
                    </a:lnTo>
                    <a:lnTo>
                      <a:pt x="672" y="672"/>
                    </a:lnTo>
                    <a:lnTo>
                      <a:pt x="336" y="1008"/>
                    </a:lnTo>
                    <a:lnTo>
                      <a:pt x="113" y="1343"/>
                    </a:lnTo>
                    <a:lnTo>
                      <a:pt x="1" y="1791"/>
                    </a:lnTo>
                    <a:lnTo>
                      <a:pt x="113" y="2687"/>
                    </a:lnTo>
                    <a:lnTo>
                      <a:pt x="448" y="5261"/>
                    </a:lnTo>
                    <a:lnTo>
                      <a:pt x="1008" y="7948"/>
                    </a:lnTo>
                    <a:lnTo>
                      <a:pt x="1344" y="9067"/>
                    </a:lnTo>
                    <a:lnTo>
                      <a:pt x="1680" y="9851"/>
                    </a:lnTo>
                    <a:lnTo>
                      <a:pt x="2015" y="10522"/>
                    </a:lnTo>
                    <a:lnTo>
                      <a:pt x="2239" y="10858"/>
                    </a:lnTo>
                    <a:lnTo>
                      <a:pt x="2351" y="10970"/>
                    </a:lnTo>
                    <a:lnTo>
                      <a:pt x="2015" y="9067"/>
                    </a:lnTo>
                    <a:lnTo>
                      <a:pt x="1792" y="7500"/>
                    </a:lnTo>
                    <a:lnTo>
                      <a:pt x="1680" y="6045"/>
                    </a:lnTo>
                    <a:lnTo>
                      <a:pt x="1680" y="4702"/>
                    </a:lnTo>
                    <a:lnTo>
                      <a:pt x="1904" y="2463"/>
                    </a:lnTo>
                    <a:lnTo>
                      <a:pt x="2015" y="224"/>
                    </a:lnTo>
                    <a:lnTo>
                      <a:pt x="2127" y="0"/>
                    </a:lnTo>
                    <a:close/>
                  </a:path>
                </a:pathLst>
              </a:custGeom>
              <a:solidFill>
                <a:srgbClr val="A36739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8" name="Google Shape;2068;p16">
                <a:extLst>
                  <a:ext uri="{FF2B5EF4-FFF2-40B4-BE49-F238E27FC236}">
                    <a16:creationId xmlns:a16="http://schemas.microsoft.com/office/drawing/2014/main" id="{85A6C959-E2D5-BC0E-FC5C-A23CCA3A4240}"/>
                  </a:ext>
                </a:extLst>
              </p:cNvPr>
              <p:cNvSpPr/>
              <p:nvPr/>
            </p:nvSpPr>
            <p:spPr>
              <a:xfrm>
                <a:off x="1173825" y="2574850"/>
                <a:ext cx="58800" cy="274275"/>
              </a:xfrm>
              <a:custGeom>
                <a:avLst/>
                <a:gdLst/>
                <a:ahLst/>
                <a:cxnLst/>
                <a:rect l="l" t="t" r="r" b="b"/>
                <a:pathLst>
                  <a:path w="2352" h="10971" fill="none" extrusionOk="0">
                    <a:moveTo>
                      <a:pt x="2127" y="0"/>
                    </a:moveTo>
                    <a:lnTo>
                      <a:pt x="2127" y="0"/>
                    </a:lnTo>
                    <a:lnTo>
                      <a:pt x="1232" y="336"/>
                    </a:lnTo>
                    <a:lnTo>
                      <a:pt x="672" y="672"/>
                    </a:lnTo>
                    <a:lnTo>
                      <a:pt x="336" y="1008"/>
                    </a:lnTo>
                    <a:lnTo>
                      <a:pt x="113" y="1343"/>
                    </a:lnTo>
                    <a:lnTo>
                      <a:pt x="113" y="1343"/>
                    </a:lnTo>
                    <a:lnTo>
                      <a:pt x="1" y="1791"/>
                    </a:lnTo>
                    <a:lnTo>
                      <a:pt x="113" y="2687"/>
                    </a:lnTo>
                    <a:lnTo>
                      <a:pt x="448" y="5261"/>
                    </a:lnTo>
                    <a:lnTo>
                      <a:pt x="1008" y="7948"/>
                    </a:lnTo>
                    <a:lnTo>
                      <a:pt x="1344" y="9067"/>
                    </a:lnTo>
                    <a:lnTo>
                      <a:pt x="1680" y="9851"/>
                    </a:lnTo>
                    <a:lnTo>
                      <a:pt x="1680" y="9851"/>
                    </a:lnTo>
                    <a:lnTo>
                      <a:pt x="2015" y="10522"/>
                    </a:lnTo>
                    <a:lnTo>
                      <a:pt x="2239" y="10858"/>
                    </a:lnTo>
                    <a:lnTo>
                      <a:pt x="2351" y="10970"/>
                    </a:lnTo>
                    <a:lnTo>
                      <a:pt x="2351" y="10970"/>
                    </a:lnTo>
                    <a:lnTo>
                      <a:pt x="2015" y="9067"/>
                    </a:lnTo>
                    <a:lnTo>
                      <a:pt x="1792" y="7500"/>
                    </a:lnTo>
                    <a:lnTo>
                      <a:pt x="1680" y="6045"/>
                    </a:lnTo>
                    <a:lnTo>
                      <a:pt x="1680" y="4702"/>
                    </a:lnTo>
                    <a:lnTo>
                      <a:pt x="1904" y="2463"/>
                    </a:lnTo>
                    <a:lnTo>
                      <a:pt x="2015" y="224"/>
                    </a:lnTo>
                    <a:lnTo>
                      <a:pt x="2015" y="224"/>
                    </a:lnTo>
                    <a:lnTo>
                      <a:pt x="2127" y="0"/>
                    </a:lnTo>
                    <a:lnTo>
                      <a:pt x="2127" y="0"/>
                    </a:lnTo>
                    <a:lnTo>
                      <a:pt x="2127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2" name="Google Shape;86523;p167">
            <a:extLst>
              <a:ext uri="{FF2B5EF4-FFF2-40B4-BE49-F238E27FC236}">
                <a16:creationId xmlns:a16="http://schemas.microsoft.com/office/drawing/2014/main" id="{EBC5EC07-C2C8-F769-DDD9-5E4A9680D53C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16422" t="6642" b="7653"/>
          <a:stretch/>
        </p:blipFill>
        <p:spPr>
          <a:xfrm>
            <a:off x="10912004" y="4928684"/>
            <a:ext cx="977626" cy="1035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539007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3E9ED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5C9A9AD-38A8-5C5B-46AE-0B845F3729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hink-cell data - do not delete" hidden="1">
            <a:extLst>
              <a:ext uri="{FF2B5EF4-FFF2-40B4-BE49-F238E27FC236}">
                <a16:creationId xmlns:a16="http://schemas.microsoft.com/office/drawing/2014/main" id="{5CF7A90E-B953-973D-DBB8-BAD1E628B8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3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F7A90E-B953-973D-DBB8-BAD1E628B8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angle 47">
            <a:extLst>
              <a:ext uri="{FF2B5EF4-FFF2-40B4-BE49-F238E27FC236}">
                <a16:creationId xmlns:a16="http://schemas.microsoft.com/office/drawing/2014/main" id="{FA68BBE3-AD90-BD27-CC47-49A99EFB87B3}"/>
              </a:ext>
            </a:extLst>
          </p:cNvPr>
          <p:cNvSpPr/>
          <p:nvPr/>
        </p:nvSpPr>
        <p:spPr>
          <a:xfrm>
            <a:off x="4640913" y="2109269"/>
            <a:ext cx="7073024" cy="1328314"/>
          </a:xfrm>
          <a:prstGeom prst="rect">
            <a:avLst/>
          </a:prstGeom>
          <a:solidFill>
            <a:srgbClr val="F3F3F3"/>
          </a:solidFill>
          <a:ln w="63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4E09473-7080-F3AD-B8D5-FE7B603AA3E2}"/>
              </a:ext>
            </a:extLst>
          </p:cNvPr>
          <p:cNvSpPr/>
          <p:nvPr/>
        </p:nvSpPr>
        <p:spPr>
          <a:xfrm>
            <a:off x="4634428" y="3513927"/>
            <a:ext cx="7073024" cy="1328314"/>
          </a:xfrm>
          <a:prstGeom prst="rect">
            <a:avLst/>
          </a:prstGeom>
          <a:solidFill>
            <a:srgbClr val="F3F3F3"/>
          </a:solidFill>
          <a:ln w="63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DCC99B0-4D0B-4A63-BC1A-31AA5502D65D}"/>
              </a:ext>
            </a:extLst>
          </p:cNvPr>
          <p:cNvSpPr/>
          <p:nvPr/>
        </p:nvSpPr>
        <p:spPr>
          <a:xfrm>
            <a:off x="4640913" y="4994993"/>
            <a:ext cx="7073024" cy="1328314"/>
          </a:xfrm>
          <a:prstGeom prst="rect">
            <a:avLst/>
          </a:prstGeom>
          <a:solidFill>
            <a:srgbClr val="F3F3F3"/>
          </a:solidFill>
          <a:ln w="63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1395754-F1A5-7CCA-4BA6-2F573BD2F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89692"/>
            <a:ext cx="11306000" cy="1029507"/>
          </a:xfrm>
        </p:spPr>
        <p:txBody>
          <a:bodyPr vert="horz">
            <a:normAutofit fontScale="90000"/>
          </a:bodyPr>
          <a:lstStyle/>
          <a:p>
            <a:r>
              <a:rPr lang="nb-NO"/>
              <a:t>Deltakerne pekte på behovet for utvikling av en felles visjon og bred </a:t>
            </a:r>
            <a:r>
              <a:rPr lang="nb-NO" err="1"/>
              <a:t>involering</a:t>
            </a:r>
            <a:r>
              <a:rPr lang="nb-NO"/>
              <a:t> i tidlig fase for å få til bedre by- og stedsutvikling </a:t>
            </a: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F21B5524-2B20-6BD9-DC09-7C4304706E77}"/>
              </a:ext>
            </a:extLst>
          </p:cNvPr>
          <p:cNvSpPr/>
          <p:nvPr/>
        </p:nvSpPr>
        <p:spPr>
          <a:xfrm>
            <a:off x="-24505" y="20600"/>
            <a:ext cx="3722451" cy="312945"/>
          </a:xfrm>
          <a:prstGeom prst="homePlate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nb-NO" sz="1100"/>
              <a:t>1.  Hva skal til for å lykkes med by- og </a:t>
            </a:r>
            <a:r>
              <a:rPr lang="nb-NO" sz="1100" err="1"/>
              <a:t>stedstuvikling</a:t>
            </a:r>
            <a:r>
              <a:rPr lang="nb-NO" sz="1100"/>
              <a:t>?</a:t>
            </a: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A1C948F1-AC45-DD90-5EDF-B8E2944F0857}"/>
              </a:ext>
            </a:extLst>
          </p:cNvPr>
          <p:cNvSpPr/>
          <p:nvPr/>
        </p:nvSpPr>
        <p:spPr>
          <a:xfrm>
            <a:off x="3602470" y="27943"/>
            <a:ext cx="6498078" cy="312945"/>
          </a:xfrm>
          <a:prstGeom prst="chevron">
            <a:avLst/>
          </a:prstGeom>
          <a:solidFill>
            <a:srgbClr val="F3F3F3"/>
          </a:solidFill>
          <a:ln>
            <a:noFill/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100">
                <a:solidFill>
                  <a:schemeClr val="tx1"/>
                </a:solidFill>
              </a:rPr>
              <a:t>Hva er de viktigste grepene vi kan ta for å få til en vellykket by- og stedsutvikling i Tromsøregionen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D49A7B-FF66-F697-5360-ABA4DBD1029D}"/>
              </a:ext>
            </a:extLst>
          </p:cNvPr>
          <p:cNvSpPr/>
          <p:nvPr/>
        </p:nvSpPr>
        <p:spPr>
          <a:xfrm>
            <a:off x="442724" y="2103439"/>
            <a:ext cx="3902297" cy="265662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3F7C9C2E-D69D-4CA2-E3DF-5FD51AE8A811}"/>
              </a:ext>
            </a:extLst>
          </p:cNvPr>
          <p:cNvSpPr/>
          <p:nvPr/>
        </p:nvSpPr>
        <p:spPr>
          <a:xfrm rot="10800000">
            <a:off x="704353" y="2397463"/>
            <a:ext cx="3006320" cy="1976962"/>
          </a:xfrm>
          <a:prstGeom prst="triangle">
            <a:avLst/>
          </a:prstGeom>
          <a:solidFill>
            <a:srgbClr val="1C33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25FE324-F1B8-CE59-E336-2D0C52942228}"/>
              </a:ext>
            </a:extLst>
          </p:cNvPr>
          <p:cNvSpPr txBox="1"/>
          <p:nvPr/>
        </p:nvSpPr>
        <p:spPr>
          <a:xfrm>
            <a:off x="776677" y="2442663"/>
            <a:ext cx="2834931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nb-NO" sz="1050">
                <a:solidFill>
                  <a:schemeClr val="bg1"/>
                </a:solidFill>
              </a:rPr>
              <a:t>Bred involvering i tidlig fase: Visjonsbygging</a:t>
            </a:r>
          </a:p>
        </p:txBody>
      </p:sp>
      <p:sp>
        <p:nvSpPr>
          <p:cNvPr id="13" name="Speech Bubble: Rectangle 12">
            <a:extLst>
              <a:ext uri="{FF2B5EF4-FFF2-40B4-BE49-F238E27FC236}">
                <a16:creationId xmlns:a16="http://schemas.microsoft.com/office/drawing/2014/main" id="{F04B6347-AC48-ED1D-BE01-3803BB8DFB43}"/>
              </a:ext>
            </a:extLst>
          </p:cNvPr>
          <p:cNvSpPr/>
          <p:nvPr/>
        </p:nvSpPr>
        <p:spPr>
          <a:xfrm>
            <a:off x="7199657" y="2232706"/>
            <a:ext cx="3891520" cy="362077"/>
          </a:xfrm>
          <a:prstGeom prst="wedgeRectCallout">
            <a:avLst/>
          </a:prstGeom>
          <a:solidFill>
            <a:srgbClr val="1C33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/>
              <a:t>Involvering med flere, tidligere, oftere og lettere</a:t>
            </a:r>
          </a:p>
        </p:txBody>
      </p:sp>
      <p:sp>
        <p:nvSpPr>
          <p:cNvPr id="15" name="Speech Bubble: Rectangle 14">
            <a:extLst>
              <a:ext uri="{FF2B5EF4-FFF2-40B4-BE49-F238E27FC236}">
                <a16:creationId xmlns:a16="http://schemas.microsoft.com/office/drawing/2014/main" id="{A4D006E9-0A2B-C434-E241-F302487B1E88}"/>
              </a:ext>
            </a:extLst>
          </p:cNvPr>
          <p:cNvSpPr/>
          <p:nvPr/>
        </p:nvSpPr>
        <p:spPr>
          <a:xfrm>
            <a:off x="6248769" y="5032208"/>
            <a:ext cx="4234538" cy="355255"/>
          </a:xfrm>
          <a:prstGeom prst="wedgeRectCallout">
            <a:avLst/>
          </a:prstGeom>
          <a:solidFill>
            <a:srgbClr val="1C33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/>
              <a:t>Bred dialog og klare visjon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430A5DF-4240-869C-0D61-4E5729F5D81A}"/>
              </a:ext>
            </a:extLst>
          </p:cNvPr>
          <p:cNvSpPr txBox="1"/>
          <p:nvPr/>
        </p:nvSpPr>
        <p:spPr>
          <a:xfrm rot="18427245">
            <a:off x="2650845" y="3110508"/>
            <a:ext cx="183782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50"/>
              <a:t>Involvere tidligere og oftere 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9230A7E-8B06-E3D2-A758-30477401AD2F}"/>
              </a:ext>
            </a:extLst>
          </p:cNvPr>
          <p:cNvCxnSpPr>
            <a:cxnSpLocks/>
          </p:cNvCxnSpPr>
          <p:nvPr/>
        </p:nvCxnSpPr>
        <p:spPr>
          <a:xfrm flipH="1" flipV="1">
            <a:off x="3612895" y="2555987"/>
            <a:ext cx="170103" cy="14059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3CCBB26-65C0-5253-7ACD-3BDBF32B7E9B}"/>
              </a:ext>
            </a:extLst>
          </p:cNvPr>
          <p:cNvCxnSpPr>
            <a:cxnSpLocks/>
          </p:cNvCxnSpPr>
          <p:nvPr/>
        </p:nvCxnSpPr>
        <p:spPr>
          <a:xfrm flipH="1" flipV="1">
            <a:off x="3257459" y="3085290"/>
            <a:ext cx="170103" cy="14059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240848E8-2A7F-CC5B-BC3C-E6AE1C5EEDA2}"/>
              </a:ext>
            </a:extLst>
          </p:cNvPr>
          <p:cNvCxnSpPr>
            <a:cxnSpLocks/>
          </p:cNvCxnSpPr>
          <p:nvPr/>
        </p:nvCxnSpPr>
        <p:spPr>
          <a:xfrm flipH="1" flipV="1">
            <a:off x="3432367" y="2848979"/>
            <a:ext cx="170103" cy="14059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FA087512-DB7D-FD9E-7BED-C75CE637B447}"/>
              </a:ext>
            </a:extLst>
          </p:cNvPr>
          <p:cNvCxnSpPr>
            <a:cxnSpLocks/>
          </p:cNvCxnSpPr>
          <p:nvPr/>
        </p:nvCxnSpPr>
        <p:spPr>
          <a:xfrm flipH="1" flipV="1">
            <a:off x="3087356" y="3309198"/>
            <a:ext cx="170103" cy="14059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54AA6F8D-86E4-CDFB-2484-49CF18C2231F}"/>
              </a:ext>
            </a:extLst>
          </p:cNvPr>
          <p:cNvSpPr txBox="1"/>
          <p:nvPr/>
        </p:nvSpPr>
        <p:spPr>
          <a:xfrm rot="3130027">
            <a:off x="409124" y="3839404"/>
            <a:ext cx="196556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50"/>
              <a:t>Spisset involvering i sluttfasen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10CCD72-9603-85C4-D79B-985CC823977E}"/>
              </a:ext>
            </a:extLst>
          </p:cNvPr>
          <p:cNvCxnSpPr>
            <a:cxnSpLocks/>
          </p:cNvCxnSpPr>
          <p:nvPr/>
        </p:nvCxnSpPr>
        <p:spPr>
          <a:xfrm flipV="1">
            <a:off x="1871912" y="4256248"/>
            <a:ext cx="202345" cy="14059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Speech Bubble: Rectangle 27">
            <a:extLst>
              <a:ext uri="{FF2B5EF4-FFF2-40B4-BE49-F238E27FC236}">
                <a16:creationId xmlns:a16="http://schemas.microsoft.com/office/drawing/2014/main" id="{46680A94-563D-9D0F-0647-FFA19DA0F729}"/>
              </a:ext>
            </a:extLst>
          </p:cNvPr>
          <p:cNvSpPr/>
          <p:nvPr/>
        </p:nvSpPr>
        <p:spPr>
          <a:xfrm>
            <a:off x="4741637" y="5466153"/>
            <a:ext cx="2411249" cy="674796"/>
          </a:xfrm>
          <a:prstGeom prst="wedgeRectCallout">
            <a:avLst/>
          </a:prstGeom>
          <a:solidFill>
            <a:srgbClr val="1C33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/>
              <a:t>Tromsø mangler en visjon: Hva skal byen bli og for hvem?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DADDD17-3CE4-9743-766D-D70C98453EDA}"/>
              </a:ext>
            </a:extLst>
          </p:cNvPr>
          <p:cNvSpPr/>
          <p:nvPr/>
        </p:nvSpPr>
        <p:spPr>
          <a:xfrm>
            <a:off x="442723" y="4827009"/>
            <a:ext cx="3902297" cy="149629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713AB1B-B553-F8A4-B2BD-9A1C9C9BF4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724" y="5028239"/>
            <a:ext cx="3680486" cy="1046440"/>
          </a:xfrm>
        </p:spPr>
        <p:txBody>
          <a:bodyPr wrap="square">
            <a:spAutoFit/>
          </a:bodyPr>
          <a:lstStyle/>
          <a:p>
            <a:pPr marL="203195" indent="0">
              <a:buNone/>
            </a:pPr>
            <a:r>
              <a:rPr lang="nb-NO" sz="1200">
                <a:solidFill>
                  <a:schemeClr val="bg1"/>
                </a:solidFill>
              </a:rPr>
              <a:t>Behov for en </a:t>
            </a:r>
            <a:r>
              <a:rPr lang="nb-NO" sz="1200" u="sng">
                <a:solidFill>
                  <a:schemeClr val="bg1"/>
                </a:solidFill>
              </a:rPr>
              <a:t>visjon og felles ambisjon</a:t>
            </a:r>
            <a:r>
              <a:rPr lang="nb-NO" sz="1200">
                <a:solidFill>
                  <a:schemeClr val="bg1"/>
                </a:solidFill>
              </a:rPr>
              <a:t>: </a:t>
            </a:r>
          </a:p>
          <a:p>
            <a:pPr marL="203195" indent="0">
              <a:buNone/>
            </a:pPr>
            <a:r>
              <a:rPr lang="nb-NO" sz="2000">
                <a:solidFill>
                  <a:schemeClr val="bg1"/>
                </a:solidFill>
              </a:rPr>
              <a:t>Et felles eierskap om hva Tromsø skal være </a:t>
            </a:r>
          </a:p>
          <a:p>
            <a:pPr marL="203195" indent="0">
              <a:buNone/>
            </a:pPr>
            <a:endParaRPr lang="nb-NO" sz="1400">
              <a:solidFill>
                <a:schemeClr val="bg1"/>
              </a:solidFill>
            </a:endParaRPr>
          </a:p>
        </p:txBody>
      </p:sp>
      <p:sp>
        <p:nvSpPr>
          <p:cNvPr id="32" name="Speech Bubble: Rectangle 31">
            <a:extLst>
              <a:ext uri="{FF2B5EF4-FFF2-40B4-BE49-F238E27FC236}">
                <a16:creationId xmlns:a16="http://schemas.microsoft.com/office/drawing/2014/main" id="{8613D09A-AC03-7BF3-592D-1C1886F4D1CC}"/>
              </a:ext>
            </a:extLst>
          </p:cNvPr>
          <p:cNvSpPr/>
          <p:nvPr/>
        </p:nvSpPr>
        <p:spPr>
          <a:xfrm>
            <a:off x="4710029" y="3985526"/>
            <a:ext cx="2845392" cy="706969"/>
          </a:xfrm>
          <a:prstGeom prst="wedgeRectCallout">
            <a:avLst/>
          </a:prstGeom>
          <a:solidFill>
            <a:srgbClr val="1C33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1100"/>
              <a:t>Vi bør legge til rette for uttesting av nye ideer og midlertidige tiltak, feks Kaipromenade og gågate i Skippergata</a:t>
            </a:r>
          </a:p>
        </p:txBody>
      </p:sp>
      <p:sp>
        <p:nvSpPr>
          <p:cNvPr id="33" name="Speech Bubble: Rectangle 32">
            <a:extLst>
              <a:ext uri="{FF2B5EF4-FFF2-40B4-BE49-F238E27FC236}">
                <a16:creationId xmlns:a16="http://schemas.microsoft.com/office/drawing/2014/main" id="{2FDE9AF7-07A7-CA2C-0687-C1354EA5E99F}"/>
              </a:ext>
            </a:extLst>
          </p:cNvPr>
          <p:cNvSpPr/>
          <p:nvPr/>
        </p:nvSpPr>
        <p:spPr>
          <a:xfrm>
            <a:off x="5865425" y="3591098"/>
            <a:ext cx="3214421" cy="315738"/>
          </a:xfrm>
          <a:prstGeom prst="wedgeRectCallout">
            <a:avLst/>
          </a:prstGeom>
          <a:solidFill>
            <a:srgbClr val="1C33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/>
              <a:t>Ta i bruk mest mulig ord som begynner med sam-  </a:t>
            </a:r>
          </a:p>
        </p:txBody>
      </p:sp>
      <p:sp>
        <p:nvSpPr>
          <p:cNvPr id="45" name="Speech Bubble: Rectangle 44">
            <a:extLst>
              <a:ext uri="{FF2B5EF4-FFF2-40B4-BE49-F238E27FC236}">
                <a16:creationId xmlns:a16="http://schemas.microsoft.com/office/drawing/2014/main" id="{7939986F-A6DB-06ED-AF59-3B41F01F83FF}"/>
              </a:ext>
            </a:extLst>
          </p:cNvPr>
          <p:cNvSpPr/>
          <p:nvPr/>
        </p:nvSpPr>
        <p:spPr>
          <a:xfrm>
            <a:off x="9693795" y="3588914"/>
            <a:ext cx="1907569" cy="937690"/>
          </a:xfrm>
          <a:prstGeom prst="wedgeRectCallout">
            <a:avLst/>
          </a:prstGeom>
          <a:solidFill>
            <a:srgbClr val="1C33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/>
              <a:t>Vi må øve oss på samskaping, bruke klarspråk, visualisere og invitere for å inkludere. 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D436BF1B-5AE9-90D4-7ABF-8F1F11991761}"/>
              </a:ext>
            </a:extLst>
          </p:cNvPr>
          <p:cNvCxnSpPr>
            <a:cxnSpLocks/>
          </p:cNvCxnSpPr>
          <p:nvPr/>
        </p:nvCxnSpPr>
        <p:spPr>
          <a:xfrm flipV="1">
            <a:off x="1669567" y="4038940"/>
            <a:ext cx="202345" cy="14059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Speech Bubble: Rectangle 46">
            <a:extLst>
              <a:ext uri="{FF2B5EF4-FFF2-40B4-BE49-F238E27FC236}">
                <a16:creationId xmlns:a16="http://schemas.microsoft.com/office/drawing/2014/main" id="{FEC3B508-0FCB-F66C-5521-48CD204E01ED}"/>
              </a:ext>
            </a:extLst>
          </p:cNvPr>
          <p:cNvSpPr/>
          <p:nvPr/>
        </p:nvSpPr>
        <p:spPr>
          <a:xfrm>
            <a:off x="9610928" y="5466153"/>
            <a:ext cx="1928396" cy="529513"/>
          </a:xfrm>
          <a:prstGeom prst="wedgeRectCallout">
            <a:avLst/>
          </a:prstGeom>
          <a:solidFill>
            <a:srgbClr val="1C33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/>
              <a:t>Vi trenger en god KPA som rulleres og utvikles</a:t>
            </a:r>
          </a:p>
        </p:txBody>
      </p:sp>
      <p:sp>
        <p:nvSpPr>
          <p:cNvPr id="53" name="Google Shape;756;p16">
            <a:extLst>
              <a:ext uri="{FF2B5EF4-FFF2-40B4-BE49-F238E27FC236}">
                <a16:creationId xmlns:a16="http://schemas.microsoft.com/office/drawing/2014/main" id="{C1E94946-3F35-2F23-3F85-D7B68CD02357}"/>
              </a:ext>
            </a:extLst>
          </p:cNvPr>
          <p:cNvSpPr/>
          <p:nvPr/>
        </p:nvSpPr>
        <p:spPr>
          <a:xfrm>
            <a:off x="4634427" y="1944534"/>
            <a:ext cx="2148993" cy="2476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SzPts val="700"/>
            </a:pPr>
            <a:r>
              <a:rPr lang="en" sz="933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BRED OG TIDLIG INVOLVERING</a:t>
            </a:r>
            <a:endParaRPr sz="933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Google Shape;756;p16">
            <a:extLst>
              <a:ext uri="{FF2B5EF4-FFF2-40B4-BE49-F238E27FC236}">
                <a16:creationId xmlns:a16="http://schemas.microsoft.com/office/drawing/2014/main" id="{22D28E00-0674-6A7F-5EAF-FA3C2C227EDA}"/>
              </a:ext>
            </a:extLst>
          </p:cNvPr>
          <p:cNvSpPr/>
          <p:nvPr/>
        </p:nvSpPr>
        <p:spPr>
          <a:xfrm>
            <a:off x="4634428" y="3370369"/>
            <a:ext cx="1124000" cy="2476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SzPts val="700"/>
            </a:pPr>
            <a:r>
              <a:rPr lang="en" sz="933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AMSKAPING</a:t>
            </a:r>
            <a:endParaRPr sz="933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" name="Google Shape;756;p16">
            <a:extLst>
              <a:ext uri="{FF2B5EF4-FFF2-40B4-BE49-F238E27FC236}">
                <a16:creationId xmlns:a16="http://schemas.microsoft.com/office/drawing/2014/main" id="{38B4EA4B-FB4F-F147-DE7D-3CD4E5384525}"/>
              </a:ext>
            </a:extLst>
          </p:cNvPr>
          <p:cNvSpPr/>
          <p:nvPr/>
        </p:nvSpPr>
        <p:spPr>
          <a:xfrm>
            <a:off x="4623989" y="4898827"/>
            <a:ext cx="1124000" cy="2476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SzPts val="700"/>
            </a:pPr>
            <a:r>
              <a:rPr lang="en" sz="933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VISJON</a:t>
            </a:r>
            <a:endParaRPr sz="933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Speech Bubble: Rectangle 56">
            <a:extLst>
              <a:ext uri="{FF2B5EF4-FFF2-40B4-BE49-F238E27FC236}">
                <a16:creationId xmlns:a16="http://schemas.microsoft.com/office/drawing/2014/main" id="{7AA575A2-5DE8-7B2B-DB05-17883F15BCBC}"/>
              </a:ext>
            </a:extLst>
          </p:cNvPr>
          <p:cNvSpPr/>
          <p:nvPr/>
        </p:nvSpPr>
        <p:spPr>
          <a:xfrm>
            <a:off x="7269196" y="5538794"/>
            <a:ext cx="2272547" cy="529513"/>
          </a:xfrm>
          <a:prstGeom prst="wedgeRectCallout">
            <a:avLst/>
          </a:prstGeom>
          <a:solidFill>
            <a:srgbClr val="1C33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/>
              <a:t>Visjon med mål og de «10 bud», invitere til fri tenking</a:t>
            </a:r>
          </a:p>
        </p:txBody>
      </p:sp>
      <p:grpSp>
        <p:nvGrpSpPr>
          <p:cNvPr id="58" name="Google Shape;1655;p16">
            <a:extLst>
              <a:ext uri="{FF2B5EF4-FFF2-40B4-BE49-F238E27FC236}">
                <a16:creationId xmlns:a16="http://schemas.microsoft.com/office/drawing/2014/main" id="{18F0379B-A158-6798-68DD-6C977A7BE504}"/>
              </a:ext>
            </a:extLst>
          </p:cNvPr>
          <p:cNvGrpSpPr/>
          <p:nvPr/>
        </p:nvGrpSpPr>
        <p:grpSpPr>
          <a:xfrm>
            <a:off x="2736223" y="4303707"/>
            <a:ext cx="1430545" cy="599329"/>
            <a:chOff x="238675" y="1649175"/>
            <a:chExt cx="7143200" cy="2416650"/>
          </a:xfrm>
        </p:grpSpPr>
        <p:sp>
          <p:nvSpPr>
            <p:cNvPr id="59" name="Google Shape;1656;p16">
              <a:extLst>
                <a:ext uri="{FF2B5EF4-FFF2-40B4-BE49-F238E27FC236}">
                  <a16:creationId xmlns:a16="http://schemas.microsoft.com/office/drawing/2014/main" id="{DA74C930-1EFE-C545-BBD5-4CDCA8ADA537}"/>
                </a:ext>
              </a:extLst>
            </p:cNvPr>
            <p:cNvSpPr/>
            <p:nvPr/>
          </p:nvSpPr>
          <p:spPr>
            <a:xfrm>
              <a:off x="3945875" y="2546425"/>
              <a:ext cx="520425" cy="1021625"/>
            </a:xfrm>
            <a:custGeom>
              <a:avLst/>
              <a:gdLst/>
              <a:ahLst/>
              <a:cxnLst/>
              <a:rect l="l" t="t" r="r" b="b"/>
              <a:pathLst>
                <a:path w="20817" h="40865" extrusionOk="0">
                  <a:moveTo>
                    <a:pt x="679" y="1"/>
                  </a:moveTo>
                  <a:lnTo>
                    <a:pt x="543" y="24"/>
                  </a:lnTo>
                  <a:lnTo>
                    <a:pt x="407" y="69"/>
                  </a:lnTo>
                  <a:lnTo>
                    <a:pt x="294" y="137"/>
                  </a:lnTo>
                  <a:lnTo>
                    <a:pt x="181" y="250"/>
                  </a:lnTo>
                  <a:lnTo>
                    <a:pt x="91" y="363"/>
                  </a:lnTo>
                  <a:lnTo>
                    <a:pt x="46" y="476"/>
                  </a:lnTo>
                  <a:lnTo>
                    <a:pt x="23" y="611"/>
                  </a:lnTo>
                  <a:lnTo>
                    <a:pt x="1" y="747"/>
                  </a:lnTo>
                  <a:lnTo>
                    <a:pt x="23" y="905"/>
                  </a:lnTo>
                  <a:lnTo>
                    <a:pt x="91" y="1041"/>
                  </a:lnTo>
                  <a:lnTo>
                    <a:pt x="19438" y="40457"/>
                  </a:lnTo>
                  <a:lnTo>
                    <a:pt x="19528" y="40593"/>
                  </a:lnTo>
                  <a:lnTo>
                    <a:pt x="19619" y="40683"/>
                  </a:lnTo>
                  <a:lnTo>
                    <a:pt x="19732" y="40774"/>
                  </a:lnTo>
                  <a:lnTo>
                    <a:pt x="19845" y="40842"/>
                  </a:lnTo>
                  <a:lnTo>
                    <a:pt x="19980" y="40864"/>
                  </a:lnTo>
                  <a:lnTo>
                    <a:pt x="20139" y="40864"/>
                  </a:lnTo>
                  <a:lnTo>
                    <a:pt x="20274" y="40842"/>
                  </a:lnTo>
                  <a:lnTo>
                    <a:pt x="20410" y="40796"/>
                  </a:lnTo>
                  <a:lnTo>
                    <a:pt x="20523" y="40729"/>
                  </a:lnTo>
                  <a:lnTo>
                    <a:pt x="20636" y="40616"/>
                  </a:lnTo>
                  <a:lnTo>
                    <a:pt x="20726" y="40503"/>
                  </a:lnTo>
                  <a:lnTo>
                    <a:pt x="20771" y="40390"/>
                  </a:lnTo>
                  <a:lnTo>
                    <a:pt x="20794" y="40254"/>
                  </a:lnTo>
                  <a:lnTo>
                    <a:pt x="20817" y="40096"/>
                  </a:lnTo>
                  <a:lnTo>
                    <a:pt x="20794" y="39960"/>
                  </a:lnTo>
                  <a:lnTo>
                    <a:pt x="20749" y="39825"/>
                  </a:lnTo>
                  <a:lnTo>
                    <a:pt x="1379" y="408"/>
                  </a:lnTo>
                  <a:lnTo>
                    <a:pt x="1312" y="272"/>
                  </a:lnTo>
                  <a:lnTo>
                    <a:pt x="1199" y="159"/>
                  </a:lnTo>
                  <a:lnTo>
                    <a:pt x="1086" y="91"/>
                  </a:lnTo>
                  <a:lnTo>
                    <a:pt x="973" y="24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" name="Google Shape;1657;p16">
              <a:extLst>
                <a:ext uri="{FF2B5EF4-FFF2-40B4-BE49-F238E27FC236}">
                  <a16:creationId xmlns:a16="http://schemas.microsoft.com/office/drawing/2014/main" id="{19569DD5-0DB2-1CEA-11F0-123BCB71DCD3}"/>
                </a:ext>
              </a:extLst>
            </p:cNvPr>
            <p:cNvSpPr/>
            <p:nvPr/>
          </p:nvSpPr>
          <p:spPr>
            <a:xfrm>
              <a:off x="4345925" y="3429575"/>
              <a:ext cx="211350" cy="211350"/>
            </a:xfrm>
            <a:custGeom>
              <a:avLst/>
              <a:gdLst/>
              <a:ahLst/>
              <a:cxnLst/>
              <a:rect l="l" t="t" r="r" b="b"/>
              <a:pathLst>
                <a:path w="8454" h="8454" extrusionOk="0">
                  <a:moveTo>
                    <a:pt x="4227" y="1"/>
                  </a:moveTo>
                  <a:lnTo>
                    <a:pt x="3798" y="23"/>
                  </a:lnTo>
                  <a:lnTo>
                    <a:pt x="3368" y="91"/>
                  </a:lnTo>
                  <a:lnTo>
                    <a:pt x="2961" y="182"/>
                  </a:lnTo>
                  <a:lnTo>
                    <a:pt x="2577" y="340"/>
                  </a:lnTo>
                  <a:lnTo>
                    <a:pt x="2215" y="521"/>
                  </a:lnTo>
                  <a:lnTo>
                    <a:pt x="1854" y="724"/>
                  </a:lnTo>
                  <a:lnTo>
                    <a:pt x="1537" y="973"/>
                  </a:lnTo>
                  <a:lnTo>
                    <a:pt x="1221" y="1244"/>
                  </a:lnTo>
                  <a:lnTo>
                    <a:pt x="950" y="1538"/>
                  </a:lnTo>
                  <a:lnTo>
                    <a:pt x="724" y="1854"/>
                  </a:lnTo>
                  <a:lnTo>
                    <a:pt x="498" y="2216"/>
                  </a:lnTo>
                  <a:lnTo>
                    <a:pt x="317" y="2577"/>
                  </a:lnTo>
                  <a:lnTo>
                    <a:pt x="181" y="2962"/>
                  </a:lnTo>
                  <a:lnTo>
                    <a:pt x="68" y="3368"/>
                  </a:lnTo>
                  <a:lnTo>
                    <a:pt x="23" y="3798"/>
                  </a:lnTo>
                  <a:lnTo>
                    <a:pt x="0" y="4227"/>
                  </a:lnTo>
                  <a:lnTo>
                    <a:pt x="23" y="4657"/>
                  </a:lnTo>
                  <a:lnTo>
                    <a:pt x="68" y="5086"/>
                  </a:lnTo>
                  <a:lnTo>
                    <a:pt x="181" y="5493"/>
                  </a:lnTo>
                  <a:lnTo>
                    <a:pt x="317" y="5877"/>
                  </a:lnTo>
                  <a:lnTo>
                    <a:pt x="498" y="6239"/>
                  </a:lnTo>
                  <a:lnTo>
                    <a:pt x="724" y="6600"/>
                  </a:lnTo>
                  <a:lnTo>
                    <a:pt x="950" y="6917"/>
                  </a:lnTo>
                  <a:lnTo>
                    <a:pt x="1221" y="7211"/>
                  </a:lnTo>
                  <a:lnTo>
                    <a:pt x="1537" y="7482"/>
                  </a:lnTo>
                  <a:lnTo>
                    <a:pt x="1854" y="7731"/>
                  </a:lnTo>
                  <a:lnTo>
                    <a:pt x="2215" y="7957"/>
                  </a:lnTo>
                  <a:lnTo>
                    <a:pt x="2577" y="8115"/>
                  </a:lnTo>
                  <a:lnTo>
                    <a:pt x="2961" y="8273"/>
                  </a:lnTo>
                  <a:lnTo>
                    <a:pt x="3368" y="8363"/>
                  </a:lnTo>
                  <a:lnTo>
                    <a:pt x="3798" y="8431"/>
                  </a:lnTo>
                  <a:lnTo>
                    <a:pt x="4227" y="8454"/>
                  </a:lnTo>
                  <a:lnTo>
                    <a:pt x="4656" y="8431"/>
                  </a:lnTo>
                  <a:lnTo>
                    <a:pt x="5063" y="8363"/>
                  </a:lnTo>
                  <a:lnTo>
                    <a:pt x="5470" y="8273"/>
                  </a:lnTo>
                  <a:lnTo>
                    <a:pt x="5877" y="8115"/>
                  </a:lnTo>
                  <a:lnTo>
                    <a:pt x="6238" y="7957"/>
                  </a:lnTo>
                  <a:lnTo>
                    <a:pt x="6577" y="7731"/>
                  </a:lnTo>
                  <a:lnTo>
                    <a:pt x="6917" y="7482"/>
                  </a:lnTo>
                  <a:lnTo>
                    <a:pt x="7210" y="7211"/>
                  </a:lnTo>
                  <a:lnTo>
                    <a:pt x="7482" y="6917"/>
                  </a:lnTo>
                  <a:lnTo>
                    <a:pt x="7730" y="6600"/>
                  </a:lnTo>
                  <a:lnTo>
                    <a:pt x="7934" y="6239"/>
                  </a:lnTo>
                  <a:lnTo>
                    <a:pt x="8114" y="5877"/>
                  </a:lnTo>
                  <a:lnTo>
                    <a:pt x="8250" y="5493"/>
                  </a:lnTo>
                  <a:lnTo>
                    <a:pt x="8363" y="5086"/>
                  </a:lnTo>
                  <a:lnTo>
                    <a:pt x="8431" y="4657"/>
                  </a:lnTo>
                  <a:lnTo>
                    <a:pt x="8453" y="4227"/>
                  </a:lnTo>
                  <a:lnTo>
                    <a:pt x="8431" y="3798"/>
                  </a:lnTo>
                  <a:lnTo>
                    <a:pt x="8363" y="3368"/>
                  </a:lnTo>
                  <a:lnTo>
                    <a:pt x="8250" y="2962"/>
                  </a:lnTo>
                  <a:lnTo>
                    <a:pt x="8114" y="2577"/>
                  </a:lnTo>
                  <a:lnTo>
                    <a:pt x="7934" y="2216"/>
                  </a:lnTo>
                  <a:lnTo>
                    <a:pt x="7730" y="1854"/>
                  </a:lnTo>
                  <a:lnTo>
                    <a:pt x="7482" y="1538"/>
                  </a:lnTo>
                  <a:lnTo>
                    <a:pt x="7210" y="1244"/>
                  </a:lnTo>
                  <a:lnTo>
                    <a:pt x="6917" y="973"/>
                  </a:lnTo>
                  <a:lnTo>
                    <a:pt x="6577" y="724"/>
                  </a:lnTo>
                  <a:lnTo>
                    <a:pt x="6238" y="521"/>
                  </a:lnTo>
                  <a:lnTo>
                    <a:pt x="5877" y="340"/>
                  </a:lnTo>
                  <a:lnTo>
                    <a:pt x="5470" y="182"/>
                  </a:lnTo>
                  <a:lnTo>
                    <a:pt x="5063" y="91"/>
                  </a:lnTo>
                  <a:lnTo>
                    <a:pt x="4656" y="23"/>
                  </a:lnTo>
                  <a:lnTo>
                    <a:pt x="4227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" name="Google Shape;1658;p16">
              <a:extLst>
                <a:ext uri="{FF2B5EF4-FFF2-40B4-BE49-F238E27FC236}">
                  <a16:creationId xmlns:a16="http://schemas.microsoft.com/office/drawing/2014/main" id="{786EA407-9E93-9DB1-35DD-8A2EEDCE6C36}"/>
                </a:ext>
              </a:extLst>
            </p:cNvPr>
            <p:cNvSpPr/>
            <p:nvPr/>
          </p:nvSpPr>
          <p:spPr>
            <a:xfrm>
              <a:off x="5609900" y="2732325"/>
              <a:ext cx="1175" cy="1150"/>
            </a:xfrm>
            <a:custGeom>
              <a:avLst/>
              <a:gdLst/>
              <a:ahLst/>
              <a:cxnLst/>
              <a:rect l="l" t="t" r="r" b="b"/>
              <a:pathLst>
                <a:path w="47" h="46" extrusionOk="0">
                  <a:moveTo>
                    <a:pt x="46" y="1"/>
                  </a:moveTo>
                  <a:lnTo>
                    <a:pt x="1" y="23"/>
                  </a:lnTo>
                  <a:lnTo>
                    <a:pt x="1" y="46"/>
                  </a:lnTo>
                  <a:lnTo>
                    <a:pt x="46" y="1"/>
                  </a:lnTo>
                  <a:close/>
                </a:path>
              </a:pathLst>
            </a:custGeom>
            <a:solidFill>
              <a:srgbClr val="A1A0A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2" name="Google Shape;1659;p16">
              <a:extLst>
                <a:ext uri="{FF2B5EF4-FFF2-40B4-BE49-F238E27FC236}">
                  <a16:creationId xmlns:a16="http://schemas.microsoft.com/office/drawing/2014/main" id="{EDDE00FD-9333-18BF-7286-7D970898E70C}"/>
                </a:ext>
              </a:extLst>
            </p:cNvPr>
            <p:cNvSpPr/>
            <p:nvPr/>
          </p:nvSpPr>
          <p:spPr>
            <a:xfrm>
              <a:off x="5609900" y="2732325"/>
              <a:ext cx="1175" cy="1150"/>
            </a:xfrm>
            <a:custGeom>
              <a:avLst/>
              <a:gdLst/>
              <a:ahLst/>
              <a:cxnLst/>
              <a:rect l="l" t="t" r="r" b="b"/>
              <a:pathLst>
                <a:path w="47" h="46" fill="none" extrusionOk="0">
                  <a:moveTo>
                    <a:pt x="46" y="1"/>
                  </a:moveTo>
                  <a:lnTo>
                    <a:pt x="1" y="23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4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3" name="Google Shape;1660;p16">
              <a:extLst>
                <a:ext uri="{FF2B5EF4-FFF2-40B4-BE49-F238E27FC236}">
                  <a16:creationId xmlns:a16="http://schemas.microsoft.com/office/drawing/2014/main" id="{E00194E2-37E3-3351-95E8-68245FE12291}"/>
                </a:ext>
              </a:extLst>
            </p:cNvPr>
            <p:cNvSpPr/>
            <p:nvPr/>
          </p:nvSpPr>
          <p:spPr>
            <a:xfrm>
              <a:off x="2171100" y="3508125"/>
              <a:ext cx="3750175" cy="36175"/>
            </a:xfrm>
            <a:custGeom>
              <a:avLst/>
              <a:gdLst/>
              <a:ahLst/>
              <a:cxnLst/>
              <a:rect l="l" t="t" r="r" b="b"/>
              <a:pathLst>
                <a:path w="150007" h="1447" extrusionOk="0">
                  <a:moveTo>
                    <a:pt x="566" y="0"/>
                  </a:moveTo>
                  <a:lnTo>
                    <a:pt x="430" y="46"/>
                  </a:lnTo>
                  <a:lnTo>
                    <a:pt x="317" y="113"/>
                  </a:lnTo>
                  <a:lnTo>
                    <a:pt x="204" y="204"/>
                  </a:lnTo>
                  <a:lnTo>
                    <a:pt x="114" y="317"/>
                  </a:lnTo>
                  <a:lnTo>
                    <a:pt x="46" y="430"/>
                  </a:lnTo>
                  <a:lnTo>
                    <a:pt x="1" y="566"/>
                  </a:lnTo>
                  <a:lnTo>
                    <a:pt x="1" y="724"/>
                  </a:lnTo>
                  <a:lnTo>
                    <a:pt x="1" y="859"/>
                  </a:lnTo>
                  <a:lnTo>
                    <a:pt x="46" y="995"/>
                  </a:lnTo>
                  <a:lnTo>
                    <a:pt x="114" y="1131"/>
                  </a:lnTo>
                  <a:lnTo>
                    <a:pt x="204" y="1221"/>
                  </a:lnTo>
                  <a:lnTo>
                    <a:pt x="317" y="1311"/>
                  </a:lnTo>
                  <a:lnTo>
                    <a:pt x="430" y="1379"/>
                  </a:lnTo>
                  <a:lnTo>
                    <a:pt x="566" y="1424"/>
                  </a:lnTo>
                  <a:lnTo>
                    <a:pt x="724" y="1447"/>
                  </a:lnTo>
                  <a:lnTo>
                    <a:pt x="149283" y="1447"/>
                  </a:lnTo>
                  <a:lnTo>
                    <a:pt x="149441" y="1424"/>
                  </a:lnTo>
                  <a:lnTo>
                    <a:pt x="149577" y="1379"/>
                  </a:lnTo>
                  <a:lnTo>
                    <a:pt x="149690" y="1311"/>
                  </a:lnTo>
                  <a:lnTo>
                    <a:pt x="149803" y="1221"/>
                  </a:lnTo>
                  <a:lnTo>
                    <a:pt x="149893" y="1131"/>
                  </a:lnTo>
                  <a:lnTo>
                    <a:pt x="149961" y="995"/>
                  </a:lnTo>
                  <a:lnTo>
                    <a:pt x="149984" y="859"/>
                  </a:lnTo>
                  <a:lnTo>
                    <a:pt x="150006" y="724"/>
                  </a:lnTo>
                  <a:lnTo>
                    <a:pt x="149984" y="566"/>
                  </a:lnTo>
                  <a:lnTo>
                    <a:pt x="149961" y="430"/>
                  </a:lnTo>
                  <a:lnTo>
                    <a:pt x="149893" y="317"/>
                  </a:lnTo>
                  <a:lnTo>
                    <a:pt x="149803" y="204"/>
                  </a:lnTo>
                  <a:lnTo>
                    <a:pt x="149690" y="113"/>
                  </a:lnTo>
                  <a:lnTo>
                    <a:pt x="149577" y="46"/>
                  </a:lnTo>
                  <a:lnTo>
                    <a:pt x="149441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4" name="Google Shape;1661;p16">
              <a:extLst>
                <a:ext uri="{FF2B5EF4-FFF2-40B4-BE49-F238E27FC236}">
                  <a16:creationId xmlns:a16="http://schemas.microsoft.com/office/drawing/2014/main" id="{8DA8380A-3512-F25B-25C5-7EB7CACD8F3F}"/>
                </a:ext>
              </a:extLst>
            </p:cNvPr>
            <p:cNvSpPr/>
            <p:nvPr/>
          </p:nvSpPr>
          <p:spPr>
            <a:xfrm>
              <a:off x="6097525" y="3320525"/>
              <a:ext cx="118700" cy="196675"/>
            </a:xfrm>
            <a:custGeom>
              <a:avLst/>
              <a:gdLst/>
              <a:ahLst/>
              <a:cxnLst/>
              <a:rect l="l" t="t" r="r" b="b"/>
              <a:pathLst>
                <a:path w="4748" h="7867" extrusionOk="0">
                  <a:moveTo>
                    <a:pt x="905" y="1"/>
                  </a:moveTo>
                  <a:lnTo>
                    <a:pt x="1" y="5583"/>
                  </a:lnTo>
                  <a:lnTo>
                    <a:pt x="2193" y="7866"/>
                  </a:lnTo>
                  <a:lnTo>
                    <a:pt x="3662" y="6058"/>
                  </a:lnTo>
                  <a:lnTo>
                    <a:pt x="3843" y="5425"/>
                  </a:lnTo>
                  <a:lnTo>
                    <a:pt x="4024" y="4657"/>
                  </a:lnTo>
                  <a:lnTo>
                    <a:pt x="4363" y="2962"/>
                  </a:lnTo>
                  <a:lnTo>
                    <a:pt x="4634" y="1515"/>
                  </a:lnTo>
                  <a:lnTo>
                    <a:pt x="4747" y="927"/>
                  </a:lnTo>
                  <a:lnTo>
                    <a:pt x="905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5" name="Google Shape;1662;p16">
              <a:extLst>
                <a:ext uri="{FF2B5EF4-FFF2-40B4-BE49-F238E27FC236}">
                  <a16:creationId xmlns:a16="http://schemas.microsoft.com/office/drawing/2014/main" id="{A8B01701-43BB-1B21-B1B6-90F915C40110}"/>
                </a:ext>
              </a:extLst>
            </p:cNvPr>
            <p:cNvSpPr/>
            <p:nvPr/>
          </p:nvSpPr>
          <p:spPr>
            <a:xfrm>
              <a:off x="6097525" y="3320525"/>
              <a:ext cx="118700" cy="196675"/>
            </a:xfrm>
            <a:custGeom>
              <a:avLst/>
              <a:gdLst/>
              <a:ahLst/>
              <a:cxnLst/>
              <a:rect l="l" t="t" r="r" b="b"/>
              <a:pathLst>
                <a:path w="4748" h="7867" fill="none" extrusionOk="0">
                  <a:moveTo>
                    <a:pt x="3662" y="6058"/>
                  </a:moveTo>
                  <a:lnTo>
                    <a:pt x="3662" y="6058"/>
                  </a:lnTo>
                  <a:lnTo>
                    <a:pt x="3843" y="5425"/>
                  </a:lnTo>
                  <a:lnTo>
                    <a:pt x="4024" y="4657"/>
                  </a:lnTo>
                  <a:lnTo>
                    <a:pt x="4363" y="2962"/>
                  </a:lnTo>
                  <a:lnTo>
                    <a:pt x="4634" y="1515"/>
                  </a:lnTo>
                  <a:lnTo>
                    <a:pt x="4747" y="927"/>
                  </a:lnTo>
                  <a:lnTo>
                    <a:pt x="905" y="1"/>
                  </a:lnTo>
                  <a:lnTo>
                    <a:pt x="1" y="5583"/>
                  </a:lnTo>
                  <a:lnTo>
                    <a:pt x="2193" y="7866"/>
                  </a:lnTo>
                  <a:lnTo>
                    <a:pt x="3662" y="6058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6" name="Google Shape;1663;p16">
              <a:extLst>
                <a:ext uri="{FF2B5EF4-FFF2-40B4-BE49-F238E27FC236}">
                  <a16:creationId xmlns:a16="http://schemas.microsoft.com/office/drawing/2014/main" id="{8EA9A069-C470-1E0D-85AD-944727475AC1}"/>
                </a:ext>
              </a:extLst>
            </p:cNvPr>
            <p:cNvSpPr/>
            <p:nvPr/>
          </p:nvSpPr>
          <p:spPr>
            <a:xfrm>
              <a:off x="6071550" y="3444275"/>
              <a:ext cx="281975" cy="163325"/>
            </a:xfrm>
            <a:custGeom>
              <a:avLst/>
              <a:gdLst/>
              <a:ahLst/>
              <a:cxnLst/>
              <a:rect l="l" t="t" r="r" b="b"/>
              <a:pathLst>
                <a:path w="11279" h="6533" extrusionOk="0">
                  <a:moveTo>
                    <a:pt x="1040" y="1"/>
                  </a:moveTo>
                  <a:lnTo>
                    <a:pt x="927" y="68"/>
                  </a:lnTo>
                  <a:lnTo>
                    <a:pt x="837" y="159"/>
                  </a:lnTo>
                  <a:lnTo>
                    <a:pt x="746" y="294"/>
                  </a:lnTo>
                  <a:lnTo>
                    <a:pt x="633" y="475"/>
                  </a:lnTo>
                  <a:lnTo>
                    <a:pt x="543" y="656"/>
                  </a:lnTo>
                  <a:lnTo>
                    <a:pt x="384" y="1131"/>
                  </a:lnTo>
                  <a:lnTo>
                    <a:pt x="226" y="1673"/>
                  </a:lnTo>
                  <a:lnTo>
                    <a:pt x="113" y="2261"/>
                  </a:lnTo>
                  <a:lnTo>
                    <a:pt x="45" y="2848"/>
                  </a:lnTo>
                  <a:lnTo>
                    <a:pt x="0" y="3391"/>
                  </a:lnTo>
                  <a:lnTo>
                    <a:pt x="23" y="3549"/>
                  </a:lnTo>
                  <a:lnTo>
                    <a:pt x="68" y="3685"/>
                  </a:lnTo>
                  <a:lnTo>
                    <a:pt x="113" y="3820"/>
                  </a:lnTo>
                  <a:lnTo>
                    <a:pt x="204" y="3933"/>
                  </a:lnTo>
                  <a:lnTo>
                    <a:pt x="294" y="4046"/>
                  </a:lnTo>
                  <a:lnTo>
                    <a:pt x="407" y="4114"/>
                  </a:lnTo>
                  <a:lnTo>
                    <a:pt x="543" y="4182"/>
                  </a:lnTo>
                  <a:lnTo>
                    <a:pt x="678" y="4250"/>
                  </a:lnTo>
                  <a:lnTo>
                    <a:pt x="5199" y="5380"/>
                  </a:lnTo>
                  <a:lnTo>
                    <a:pt x="9628" y="6465"/>
                  </a:lnTo>
                  <a:lnTo>
                    <a:pt x="9968" y="6532"/>
                  </a:lnTo>
                  <a:lnTo>
                    <a:pt x="10261" y="6532"/>
                  </a:lnTo>
                  <a:lnTo>
                    <a:pt x="10510" y="6487"/>
                  </a:lnTo>
                  <a:lnTo>
                    <a:pt x="10713" y="6397"/>
                  </a:lnTo>
                  <a:lnTo>
                    <a:pt x="10894" y="6284"/>
                  </a:lnTo>
                  <a:lnTo>
                    <a:pt x="11030" y="6148"/>
                  </a:lnTo>
                  <a:lnTo>
                    <a:pt x="11143" y="5967"/>
                  </a:lnTo>
                  <a:lnTo>
                    <a:pt x="11211" y="5786"/>
                  </a:lnTo>
                  <a:lnTo>
                    <a:pt x="11256" y="5583"/>
                  </a:lnTo>
                  <a:lnTo>
                    <a:pt x="11278" y="5402"/>
                  </a:lnTo>
                  <a:lnTo>
                    <a:pt x="11278" y="5199"/>
                  </a:lnTo>
                  <a:lnTo>
                    <a:pt x="11278" y="5041"/>
                  </a:lnTo>
                  <a:lnTo>
                    <a:pt x="11233" y="4882"/>
                  </a:lnTo>
                  <a:lnTo>
                    <a:pt x="11188" y="4747"/>
                  </a:lnTo>
                  <a:lnTo>
                    <a:pt x="11120" y="4656"/>
                  </a:lnTo>
                  <a:lnTo>
                    <a:pt x="11052" y="4611"/>
                  </a:lnTo>
                  <a:lnTo>
                    <a:pt x="10600" y="4453"/>
                  </a:lnTo>
                  <a:lnTo>
                    <a:pt x="9854" y="4204"/>
                  </a:lnTo>
                  <a:lnTo>
                    <a:pt x="8928" y="3888"/>
                  </a:lnTo>
                  <a:lnTo>
                    <a:pt x="7911" y="3504"/>
                  </a:lnTo>
                  <a:lnTo>
                    <a:pt x="7414" y="3300"/>
                  </a:lnTo>
                  <a:lnTo>
                    <a:pt x="6939" y="3074"/>
                  </a:lnTo>
                  <a:lnTo>
                    <a:pt x="6487" y="2848"/>
                  </a:lnTo>
                  <a:lnTo>
                    <a:pt x="6103" y="2600"/>
                  </a:lnTo>
                  <a:lnTo>
                    <a:pt x="5764" y="2351"/>
                  </a:lnTo>
                  <a:lnTo>
                    <a:pt x="5628" y="2215"/>
                  </a:lnTo>
                  <a:lnTo>
                    <a:pt x="5515" y="2080"/>
                  </a:lnTo>
                  <a:lnTo>
                    <a:pt x="5425" y="1944"/>
                  </a:lnTo>
                  <a:lnTo>
                    <a:pt x="5357" y="1809"/>
                  </a:lnTo>
                  <a:lnTo>
                    <a:pt x="5312" y="1673"/>
                  </a:lnTo>
                  <a:lnTo>
                    <a:pt x="5289" y="1537"/>
                  </a:lnTo>
                  <a:lnTo>
                    <a:pt x="5312" y="1311"/>
                  </a:lnTo>
                  <a:lnTo>
                    <a:pt x="5334" y="1108"/>
                  </a:lnTo>
                  <a:lnTo>
                    <a:pt x="5379" y="814"/>
                  </a:lnTo>
                  <a:lnTo>
                    <a:pt x="5379" y="701"/>
                  </a:lnTo>
                  <a:lnTo>
                    <a:pt x="5334" y="611"/>
                  </a:lnTo>
                  <a:lnTo>
                    <a:pt x="5266" y="566"/>
                  </a:lnTo>
                  <a:lnTo>
                    <a:pt x="5131" y="566"/>
                  </a:lnTo>
                  <a:lnTo>
                    <a:pt x="4498" y="520"/>
                  </a:lnTo>
                  <a:lnTo>
                    <a:pt x="3888" y="453"/>
                  </a:lnTo>
                  <a:lnTo>
                    <a:pt x="3323" y="362"/>
                  </a:lnTo>
                  <a:lnTo>
                    <a:pt x="2780" y="249"/>
                  </a:lnTo>
                  <a:lnTo>
                    <a:pt x="1876" y="68"/>
                  </a:lnTo>
                  <a:lnTo>
                    <a:pt x="1469" y="1"/>
                  </a:lnTo>
                  <a:close/>
                </a:path>
              </a:pathLst>
            </a:custGeom>
            <a:solidFill>
              <a:srgbClr val="3331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7" name="Google Shape;1664;p16">
              <a:extLst>
                <a:ext uri="{FF2B5EF4-FFF2-40B4-BE49-F238E27FC236}">
                  <a16:creationId xmlns:a16="http://schemas.microsoft.com/office/drawing/2014/main" id="{880D0825-559F-CC2F-9582-7774733BC6D3}"/>
                </a:ext>
              </a:extLst>
            </p:cNvPr>
            <p:cNvSpPr/>
            <p:nvPr/>
          </p:nvSpPr>
          <p:spPr>
            <a:xfrm>
              <a:off x="5624025" y="2413100"/>
              <a:ext cx="723850" cy="1003525"/>
            </a:xfrm>
            <a:custGeom>
              <a:avLst/>
              <a:gdLst/>
              <a:ahLst/>
              <a:cxnLst/>
              <a:rect l="l" t="t" r="r" b="b"/>
              <a:pathLst>
                <a:path w="28954" h="40141" extrusionOk="0">
                  <a:moveTo>
                    <a:pt x="476" y="0"/>
                  </a:moveTo>
                  <a:lnTo>
                    <a:pt x="227" y="23"/>
                  </a:lnTo>
                  <a:lnTo>
                    <a:pt x="1" y="45"/>
                  </a:lnTo>
                  <a:lnTo>
                    <a:pt x="272" y="565"/>
                  </a:lnTo>
                  <a:lnTo>
                    <a:pt x="1018" y="1944"/>
                  </a:lnTo>
                  <a:lnTo>
                    <a:pt x="1560" y="2893"/>
                  </a:lnTo>
                  <a:lnTo>
                    <a:pt x="2193" y="3955"/>
                  </a:lnTo>
                  <a:lnTo>
                    <a:pt x="2917" y="5131"/>
                  </a:lnTo>
                  <a:lnTo>
                    <a:pt x="3708" y="6351"/>
                  </a:lnTo>
                  <a:lnTo>
                    <a:pt x="3956" y="6667"/>
                  </a:lnTo>
                  <a:lnTo>
                    <a:pt x="4295" y="7006"/>
                  </a:lnTo>
                  <a:lnTo>
                    <a:pt x="4679" y="7368"/>
                  </a:lnTo>
                  <a:lnTo>
                    <a:pt x="5131" y="7730"/>
                  </a:lnTo>
                  <a:lnTo>
                    <a:pt x="5629" y="8091"/>
                  </a:lnTo>
                  <a:lnTo>
                    <a:pt x="6194" y="8498"/>
                  </a:lnTo>
                  <a:lnTo>
                    <a:pt x="6804" y="8882"/>
                  </a:lnTo>
                  <a:lnTo>
                    <a:pt x="7459" y="9289"/>
                  </a:lnTo>
                  <a:lnTo>
                    <a:pt x="8861" y="10103"/>
                  </a:lnTo>
                  <a:lnTo>
                    <a:pt x="10375" y="10939"/>
                  </a:lnTo>
                  <a:lnTo>
                    <a:pt x="11957" y="11775"/>
                  </a:lnTo>
                  <a:lnTo>
                    <a:pt x="13539" y="12589"/>
                  </a:lnTo>
                  <a:lnTo>
                    <a:pt x="16636" y="14126"/>
                  </a:lnTo>
                  <a:lnTo>
                    <a:pt x="19303" y="15459"/>
                  </a:lnTo>
                  <a:lnTo>
                    <a:pt x="20387" y="16024"/>
                  </a:lnTo>
                  <a:lnTo>
                    <a:pt x="21224" y="16499"/>
                  </a:lnTo>
                  <a:lnTo>
                    <a:pt x="21563" y="16702"/>
                  </a:lnTo>
                  <a:lnTo>
                    <a:pt x="21811" y="16883"/>
                  </a:lnTo>
                  <a:lnTo>
                    <a:pt x="21992" y="17041"/>
                  </a:lnTo>
                  <a:lnTo>
                    <a:pt x="22083" y="17154"/>
                  </a:lnTo>
                  <a:lnTo>
                    <a:pt x="22128" y="17313"/>
                  </a:lnTo>
                  <a:lnTo>
                    <a:pt x="22128" y="17584"/>
                  </a:lnTo>
                  <a:lnTo>
                    <a:pt x="22105" y="17946"/>
                  </a:lnTo>
                  <a:lnTo>
                    <a:pt x="22060" y="18420"/>
                  </a:lnTo>
                  <a:lnTo>
                    <a:pt x="21902" y="19573"/>
                  </a:lnTo>
                  <a:lnTo>
                    <a:pt x="21676" y="21019"/>
                  </a:lnTo>
                  <a:lnTo>
                    <a:pt x="21382" y="22692"/>
                  </a:lnTo>
                  <a:lnTo>
                    <a:pt x="21043" y="24545"/>
                  </a:lnTo>
                  <a:lnTo>
                    <a:pt x="20274" y="28500"/>
                  </a:lnTo>
                  <a:lnTo>
                    <a:pt x="19461" y="32433"/>
                  </a:lnTo>
                  <a:lnTo>
                    <a:pt x="18738" y="35914"/>
                  </a:lnTo>
                  <a:lnTo>
                    <a:pt x="18218" y="38445"/>
                  </a:lnTo>
                  <a:lnTo>
                    <a:pt x="18059" y="39213"/>
                  </a:lnTo>
                  <a:lnTo>
                    <a:pt x="17992" y="39598"/>
                  </a:lnTo>
                  <a:lnTo>
                    <a:pt x="17992" y="39665"/>
                  </a:lnTo>
                  <a:lnTo>
                    <a:pt x="18037" y="39733"/>
                  </a:lnTo>
                  <a:lnTo>
                    <a:pt x="18127" y="39801"/>
                  </a:lnTo>
                  <a:lnTo>
                    <a:pt x="18240" y="39846"/>
                  </a:lnTo>
                  <a:lnTo>
                    <a:pt x="18534" y="39937"/>
                  </a:lnTo>
                  <a:lnTo>
                    <a:pt x="18918" y="40004"/>
                  </a:lnTo>
                  <a:lnTo>
                    <a:pt x="19370" y="40072"/>
                  </a:lnTo>
                  <a:lnTo>
                    <a:pt x="19890" y="40095"/>
                  </a:lnTo>
                  <a:lnTo>
                    <a:pt x="21020" y="40140"/>
                  </a:lnTo>
                  <a:lnTo>
                    <a:pt x="22173" y="40140"/>
                  </a:lnTo>
                  <a:lnTo>
                    <a:pt x="23167" y="40117"/>
                  </a:lnTo>
                  <a:lnTo>
                    <a:pt x="24139" y="40072"/>
                  </a:lnTo>
                  <a:lnTo>
                    <a:pt x="24410" y="39033"/>
                  </a:lnTo>
                  <a:lnTo>
                    <a:pt x="25134" y="36275"/>
                  </a:lnTo>
                  <a:lnTo>
                    <a:pt x="25586" y="34422"/>
                  </a:lnTo>
                  <a:lnTo>
                    <a:pt x="26106" y="32320"/>
                  </a:lnTo>
                  <a:lnTo>
                    <a:pt x="26625" y="30060"/>
                  </a:lnTo>
                  <a:lnTo>
                    <a:pt x="27145" y="27687"/>
                  </a:lnTo>
                  <a:lnTo>
                    <a:pt x="27642" y="25291"/>
                  </a:lnTo>
                  <a:lnTo>
                    <a:pt x="28095" y="22895"/>
                  </a:lnTo>
                  <a:lnTo>
                    <a:pt x="28298" y="21743"/>
                  </a:lnTo>
                  <a:lnTo>
                    <a:pt x="28479" y="20612"/>
                  </a:lnTo>
                  <a:lnTo>
                    <a:pt x="28637" y="19528"/>
                  </a:lnTo>
                  <a:lnTo>
                    <a:pt x="28750" y="18488"/>
                  </a:lnTo>
                  <a:lnTo>
                    <a:pt x="28840" y="17493"/>
                  </a:lnTo>
                  <a:lnTo>
                    <a:pt x="28908" y="16567"/>
                  </a:lnTo>
                  <a:lnTo>
                    <a:pt x="28953" y="15708"/>
                  </a:lnTo>
                  <a:lnTo>
                    <a:pt x="28931" y="14940"/>
                  </a:lnTo>
                  <a:lnTo>
                    <a:pt x="28886" y="14261"/>
                  </a:lnTo>
                  <a:lnTo>
                    <a:pt x="28840" y="13945"/>
                  </a:lnTo>
                  <a:lnTo>
                    <a:pt x="28795" y="13674"/>
                  </a:lnTo>
                  <a:lnTo>
                    <a:pt x="28727" y="13403"/>
                  </a:lnTo>
                  <a:lnTo>
                    <a:pt x="28660" y="13177"/>
                  </a:lnTo>
                  <a:lnTo>
                    <a:pt x="28569" y="12973"/>
                  </a:lnTo>
                  <a:lnTo>
                    <a:pt x="28456" y="12815"/>
                  </a:lnTo>
                  <a:lnTo>
                    <a:pt x="28388" y="12702"/>
                  </a:lnTo>
                  <a:lnTo>
                    <a:pt x="28275" y="12566"/>
                  </a:lnTo>
                  <a:lnTo>
                    <a:pt x="27959" y="12295"/>
                  </a:lnTo>
                  <a:lnTo>
                    <a:pt x="27529" y="11979"/>
                  </a:lnTo>
                  <a:lnTo>
                    <a:pt x="27010" y="11595"/>
                  </a:lnTo>
                  <a:lnTo>
                    <a:pt x="26399" y="11210"/>
                  </a:lnTo>
                  <a:lnTo>
                    <a:pt x="25676" y="10758"/>
                  </a:lnTo>
                  <a:lnTo>
                    <a:pt x="24908" y="10284"/>
                  </a:lnTo>
                  <a:lnTo>
                    <a:pt x="24049" y="9786"/>
                  </a:lnTo>
                  <a:lnTo>
                    <a:pt x="22128" y="8724"/>
                  </a:lnTo>
                  <a:lnTo>
                    <a:pt x="20026" y="7617"/>
                  </a:lnTo>
                  <a:lnTo>
                    <a:pt x="17743" y="6464"/>
                  </a:lnTo>
                  <a:lnTo>
                    <a:pt x="15393" y="5311"/>
                  </a:lnTo>
                  <a:lnTo>
                    <a:pt x="12997" y="4204"/>
                  </a:lnTo>
                  <a:lnTo>
                    <a:pt x="11799" y="3684"/>
                  </a:lnTo>
                  <a:lnTo>
                    <a:pt x="10624" y="3164"/>
                  </a:lnTo>
                  <a:lnTo>
                    <a:pt x="9471" y="2667"/>
                  </a:lnTo>
                  <a:lnTo>
                    <a:pt x="8341" y="2215"/>
                  </a:lnTo>
                  <a:lnTo>
                    <a:pt x="7233" y="1786"/>
                  </a:lnTo>
                  <a:lnTo>
                    <a:pt x="6171" y="1401"/>
                  </a:lnTo>
                  <a:lnTo>
                    <a:pt x="5154" y="1040"/>
                  </a:lnTo>
                  <a:lnTo>
                    <a:pt x="4205" y="746"/>
                  </a:lnTo>
                  <a:lnTo>
                    <a:pt x="3301" y="475"/>
                  </a:lnTo>
                  <a:lnTo>
                    <a:pt x="2487" y="271"/>
                  </a:lnTo>
                  <a:lnTo>
                    <a:pt x="1719" y="113"/>
                  </a:lnTo>
                  <a:lnTo>
                    <a:pt x="1063" y="23"/>
                  </a:lnTo>
                  <a:lnTo>
                    <a:pt x="769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8" name="Google Shape;1665;p16">
              <a:extLst>
                <a:ext uri="{FF2B5EF4-FFF2-40B4-BE49-F238E27FC236}">
                  <a16:creationId xmlns:a16="http://schemas.microsoft.com/office/drawing/2014/main" id="{25BDDAF1-DF54-2A95-41DE-7F905FAF3CA8}"/>
                </a:ext>
              </a:extLst>
            </p:cNvPr>
            <p:cNvSpPr/>
            <p:nvPr/>
          </p:nvSpPr>
          <p:spPr>
            <a:xfrm>
              <a:off x="5624025" y="2413100"/>
              <a:ext cx="723850" cy="1003525"/>
            </a:xfrm>
            <a:custGeom>
              <a:avLst/>
              <a:gdLst/>
              <a:ahLst/>
              <a:cxnLst/>
              <a:rect l="l" t="t" r="r" b="b"/>
              <a:pathLst>
                <a:path w="28954" h="40141" fill="none" extrusionOk="0">
                  <a:moveTo>
                    <a:pt x="1" y="45"/>
                  </a:moveTo>
                  <a:lnTo>
                    <a:pt x="1" y="45"/>
                  </a:lnTo>
                  <a:lnTo>
                    <a:pt x="227" y="23"/>
                  </a:lnTo>
                  <a:lnTo>
                    <a:pt x="476" y="0"/>
                  </a:lnTo>
                  <a:lnTo>
                    <a:pt x="769" y="0"/>
                  </a:lnTo>
                  <a:lnTo>
                    <a:pt x="1063" y="23"/>
                  </a:lnTo>
                  <a:lnTo>
                    <a:pt x="1719" y="113"/>
                  </a:lnTo>
                  <a:lnTo>
                    <a:pt x="2487" y="271"/>
                  </a:lnTo>
                  <a:lnTo>
                    <a:pt x="3301" y="475"/>
                  </a:lnTo>
                  <a:lnTo>
                    <a:pt x="4205" y="746"/>
                  </a:lnTo>
                  <a:lnTo>
                    <a:pt x="5154" y="1040"/>
                  </a:lnTo>
                  <a:lnTo>
                    <a:pt x="6171" y="1401"/>
                  </a:lnTo>
                  <a:lnTo>
                    <a:pt x="7233" y="1786"/>
                  </a:lnTo>
                  <a:lnTo>
                    <a:pt x="8341" y="2215"/>
                  </a:lnTo>
                  <a:lnTo>
                    <a:pt x="9471" y="2667"/>
                  </a:lnTo>
                  <a:lnTo>
                    <a:pt x="10624" y="3164"/>
                  </a:lnTo>
                  <a:lnTo>
                    <a:pt x="11799" y="3684"/>
                  </a:lnTo>
                  <a:lnTo>
                    <a:pt x="12997" y="4204"/>
                  </a:lnTo>
                  <a:lnTo>
                    <a:pt x="15393" y="5311"/>
                  </a:lnTo>
                  <a:lnTo>
                    <a:pt x="17743" y="6464"/>
                  </a:lnTo>
                  <a:lnTo>
                    <a:pt x="20026" y="7617"/>
                  </a:lnTo>
                  <a:lnTo>
                    <a:pt x="22128" y="8724"/>
                  </a:lnTo>
                  <a:lnTo>
                    <a:pt x="24049" y="9786"/>
                  </a:lnTo>
                  <a:lnTo>
                    <a:pt x="24908" y="10284"/>
                  </a:lnTo>
                  <a:lnTo>
                    <a:pt x="25676" y="10758"/>
                  </a:lnTo>
                  <a:lnTo>
                    <a:pt x="26399" y="11210"/>
                  </a:lnTo>
                  <a:lnTo>
                    <a:pt x="27010" y="11595"/>
                  </a:lnTo>
                  <a:lnTo>
                    <a:pt x="27529" y="11979"/>
                  </a:lnTo>
                  <a:lnTo>
                    <a:pt x="27959" y="12295"/>
                  </a:lnTo>
                  <a:lnTo>
                    <a:pt x="28275" y="12566"/>
                  </a:lnTo>
                  <a:lnTo>
                    <a:pt x="28388" y="12702"/>
                  </a:lnTo>
                  <a:lnTo>
                    <a:pt x="28456" y="12815"/>
                  </a:lnTo>
                  <a:lnTo>
                    <a:pt x="28456" y="12815"/>
                  </a:lnTo>
                  <a:lnTo>
                    <a:pt x="28569" y="12973"/>
                  </a:lnTo>
                  <a:lnTo>
                    <a:pt x="28660" y="13177"/>
                  </a:lnTo>
                  <a:lnTo>
                    <a:pt x="28727" y="13403"/>
                  </a:lnTo>
                  <a:lnTo>
                    <a:pt x="28795" y="13674"/>
                  </a:lnTo>
                  <a:lnTo>
                    <a:pt x="28840" y="13945"/>
                  </a:lnTo>
                  <a:lnTo>
                    <a:pt x="28886" y="14261"/>
                  </a:lnTo>
                  <a:lnTo>
                    <a:pt x="28931" y="14940"/>
                  </a:lnTo>
                  <a:lnTo>
                    <a:pt x="28953" y="15708"/>
                  </a:lnTo>
                  <a:lnTo>
                    <a:pt x="28908" y="16567"/>
                  </a:lnTo>
                  <a:lnTo>
                    <a:pt x="28840" y="17493"/>
                  </a:lnTo>
                  <a:lnTo>
                    <a:pt x="28750" y="18488"/>
                  </a:lnTo>
                  <a:lnTo>
                    <a:pt x="28637" y="19528"/>
                  </a:lnTo>
                  <a:lnTo>
                    <a:pt x="28479" y="20612"/>
                  </a:lnTo>
                  <a:lnTo>
                    <a:pt x="28298" y="21743"/>
                  </a:lnTo>
                  <a:lnTo>
                    <a:pt x="28095" y="22895"/>
                  </a:lnTo>
                  <a:lnTo>
                    <a:pt x="27642" y="25291"/>
                  </a:lnTo>
                  <a:lnTo>
                    <a:pt x="27145" y="27687"/>
                  </a:lnTo>
                  <a:lnTo>
                    <a:pt x="26625" y="30060"/>
                  </a:lnTo>
                  <a:lnTo>
                    <a:pt x="26106" y="32320"/>
                  </a:lnTo>
                  <a:lnTo>
                    <a:pt x="25586" y="34422"/>
                  </a:lnTo>
                  <a:lnTo>
                    <a:pt x="25134" y="36275"/>
                  </a:lnTo>
                  <a:lnTo>
                    <a:pt x="24410" y="39033"/>
                  </a:lnTo>
                  <a:lnTo>
                    <a:pt x="24139" y="40072"/>
                  </a:lnTo>
                  <a:lnTo>
                    <a:pt x="24139" y="40072"/>
                  </a:lnTo>
                  <a:lnTo>
                    <a:pt x="23167" y="40117"/>
                  </a:lnTo>
                  <a:lnTo>
                    <a:pt x="22173" y="40140"/>
                  </a:lnTo>
                  <a:lnTo>
                    <a:pt x="21020" y="40140"/>
                  </a:lnTo>
                  <a:lnTo>
                    <a:pt x="19890" y="40095"/>
                  </a:lnTo>
                  <a:lnTo>
                    <a:pt x="19370" y="40072"/>
                  </a:lnTo>
                  <a:lnTo>
                    <a:pt x="18918" y="40004"/>
                  </a:lnTo>
                  <a:lnTo>
                    <a:pt x="18534" y="39937"/>
                  </a:lnTo>
                  <a:lnTo>
                    <a:pt x="18240" y="39846"/>
                  </a:lnTo>
                  <a:lnTo>
                    <a:pt x="18127" y="39801"/>
                  </a:lnTo>
                  <a:lnTo>
                    <a:pt x="18037" y="39733"/>
                  </a:lnTo>
                  <a:lnTo>
                    <a:pt x="17992" y="39665"/>
                  </a:lnTo>
                  <a:lnTo>
                    <a:pt x="17992" y="39598"/>
                  </a:lnTo>
                  <a:lnTo>
                    <a:pt x="17992" y="39598"/>
                  </a:lnTo>
                  <a:lnTo>
                    <a:pt x="18059" y="39213"/>
                  </a:lnTo>
                  <a:lnTo>
                    <a:pt x="18218" y="38445"/>
                  </a:lnTo>
                  <a:lnTo>
                    <a:pt x="18738" y="35914"/>
                  </a:lnTo>
                  <a:lnTo>
                    <a:pt x="19461" y="32433"/>
                  </a:lnTo>
                  <a:lnTo>
                    <a:pt x="20274" y="28500"/>
                  </a:lnTo>
                  <a:lnTo>
                    <a:pt x="21043" y="24545"/>
                  </a:lnTo>
                  <a:lnTo>
                    <a:pt x="21382" y="22692"/>
                  </a:lnTo>
                  <a:lnTo>
                    <a:pt x="21676" y="21019"/>
                  </a:lnTo>
                  <a:lnTo>
                    <a:pt x="21902" y="19573"/>
                  </a:lnTo>
                  <a:lnTo>
                    <a:pt x="22060" y="18420"/>
                  </a:lnTo>
                  <a:lnTo>
                    <a:pt x="22105" y="17946"/>
                  </a:lnTo>
                  <a:lnTo>
                    <a:pt x="22128" y="17584"/>
                  </a:lnTo>
                  <a:lnTo>
                    <a:pt x="22128" y="17313"/>
                  </a:lnTo>
                  <a:lnTo>
                    <a:pt x="22083" y="17154"/>
                  </a:lnTo>
                  <a:lnTo>
                    <a:pt x="22083" y="17154"/>
                  </a:lnTo>
                  <a:lnTo>
                    <a:pt x="21992" y="17041"/>
                  </a:lnTo>
                  <a:lnTo>
                    <a:pt x="21811" y="16883"/>
                  </a:lnTo>
                  <a:lnTo>
                    <a:pt x="21563" y="16702"/>
                  </a:lnTo>
                  <a:lnTo>
                    <a:pt x="21224" y="16499"/>
                  </a:lnTo>
                  <a:lnTo>
                    <a:pt x="20387" y="16024"/>
                  </a:lnTo>
                  <a:lnTo>
                    <a:pt x="19303" y="15459"/>
                  </a:lnTo>
                  <a:lnTo>
                    <a:pt x="16636" y="14126"/>
                  </a:lnTo>
                  <a:lnTo>
                    <a:pt x="13539" y="12589"/>
                  </a:lnTo>
                  <a:lnTo>
                    <a:pt x="11957" y="11775"/>
                  </a:lnTo>
                  <a:lnTo>
                    <a:pt x="10375" y="10939"/>
                  </a:lnTo>
                  <a:lnTo>
                    <a:pt x="8861" y="10103"/>
                  </a:lnTo>
                  <a:lnTo>
                    <a:pt x="7459" y="9289"/>
                  </a:lnTo>
                  <a:lnTo>
                    <a:pt x="6804" y="8882"/>
                  </a:lnTo>
                  <a:lnTo>
                    <a:pt x="6194" y="8498"/>
                  </a:lnTo>
                  <a:lnTo>
                    <a:pt x="5629" y="8091"/>
                  </a:lnTo>
                  <a:lnTo>
                    <a:pt x="5131" y="7730"/>
                  </a:lnTo>
                  <a:lnTo>
                    <a:pt x="4679" y="7368"/>
                  </a:lnTo>
                  <a:lnTo>
                    <a:pt x="4295" y="7006"/>
                  </a:lnTo>
                  <a:lnTo>
                    <a:pt x="3956" y="6667"/>
                  </a:lnTo>
                  <a:lnTo>
                    <a:pt x="3708" y="6351"/>
                  </a:lnTo>
                  <a:lnTo>
                    <a:pt x="3708" y="6351"/>
                  </a:lnTo>
                  <a:lnTo>
                    <a:pt x="2917" y="5131"/>
                  </a:lnTo>
                  <a:lnTo>
                    <a:pt x="2193" y="3955"/>
                  </a:lnTo>
                  <a:lnTo>
                    <a:pt x="1560" y="2893"/>
                  </a:lnTo>
                  <a:lnTo>
                    <a:pt x="1018" y="1944"/>
                  </a:lnTo>
                  <a:lnTo>
                    <a:pt x="272" y="565"/>
                  </a:lnTo>
                  <a:lnTo>
                    <a:pt x="1" y="4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Google Shape;1666;p16">
              <a:extLst>
                <a:ext uri="{FF2B5EF4-FFF2-40B4-BE49-F238E27FC236}">
                  <a16:creationId xmlns:a16="http://schemas.microsoft.com/office/drawing/2014/main" id="{5DD34ECC-0B0A-07EC-C5D0-978D870D09BC}"/>
                </a:ext>
              </a:extLst>
            </p:cNvPr>
            <p:cNvSpPr/>
            <p:nvPr/>
          </p:nvSpPr>
          <p:spPr>
            <a:xfrm>
              <a:off x="5738175" y="2439650"/>
              <a:ext cx="609125" cy="976975"/>
            </a:xfrm>
            <a:custGeom>
              <a:avLst/>
              <a:gdLst/>
              <a:ahLst/>
              <a:cxnLst/>
              <a:rect l="l" t="t" r="r" b="b"/>
              <a:pathLst>
                <a:path w="24365" h="39079" extrusionOk="0">
                  <a:moveTo>
                    <a:pt x="678" y="0"/>
                  </a:moveTo>
                  <a:lnTo>
                    <a:pt x="520" y="272"/>
                  </a:lnTo>
                  <a:lnTo>
                    <a:pt x="430" y="362"/>
                  </a:lnTo>
                  <a:lnTo>
                    <a:pt x="272" y="407"/>
                  </a:lnTo>
                  <a:lnTo>
                    <a:pt x="0" y="430"/>
                  </a:lnTo>
                  <a:lnTo>
                    <a:pt x="385" y="1153"/>
                  </a:lnTo>
                  <a:lnTo>
                    <a:pt x="611" y="1515"/>
                  </a:lnTo>
                  <a:lnTo>
                    <a:pt x="859" y="1876"/>
                  </a:lnTo>
                  <a:lnTo>
                    <a:pt x="1130" y="2238"/>
                  </a:lnTo>
                  <a:lnTo>
                    <a:pt x="1424" y="2622"/>
                  </a:lnTo>
                  <a:lnTo>
                    <a:pt x="1786" y="3006"/>
                  </a:lnTo>
                  <a:lnTo>
                    <a:pt x="2170" y="3391"/>
                  </a:lnTo>
                  <a:lnTo>
                    <a:pt x="2667" y="3843"/>
                  </a:lnTo>
                  <a:lnTo>
                    <a:pt x="3278" y="4295"/>
                  </a:lnTo>
                  <a:lnTo>
                    <a:pt x="3956" y="4814"/>
                  </a:lnTo>
                  <a:lnTo>
                    <a:pt x="4747" y="5334"/>
                  </a:lnTo>
                  <a:lnTo>
                    <a:pt x="6464" y="6487"/>
                  </a:lnTo>
                  <a:lnTo>
                    <a:pt x="8363" y="7730"/>
                  </a:lnTo>
                  <a:lnTo>
                    <a:pt x="9357" y="8385"/>
                  </a:lnTo>
                  <a:lnTo>
                    <a:pt x="10329" y="9063"/>
                  </a:lnTo>
                  <a:lnTo>
                    <a:pt x="11301" y="9764"/>
                  </a:lnTo>
                  <a:lnTo>
                    <a:pt x="12273" y="10487"/>
                  </a:lnTo>
                  <a:lnTo>
                    <a:pt x="13177" y="11211"/>
                  </a:lnTo>
                  <a:lnTo>
                    <a:pt x="14059" y="11956"/>
                  </a:lnTo>
                  <a:lnTo>
                    <a:pt x="14465" y="12341"/>
                  </a:lnTo>
                  <a:lnTo>
                    <a:pt x="14872" y="12725"/>
                  </a:lnTo>
                  <a:lnTo>
                    <a:pt x="15256" y="13109"/>
                  </a:lnTo>
                  <a:lnTo>
                    <a:pt x="15618" y="13493"/>
                  </a:lnTo>
                  <a:lnTo>
                    <a:pt x="24342" y="13493"/>
                  </a:lnTo>
                  <a:lnTo>
                    <a:pt x="24297" y="12951"/>
                  </a:lnTo>
                  <a:lnTo>
                    <a:pt x="24207" y="12454"/>
                  </a:lnTo>
                  <a:lnTo>
                    <a:pt x="24139" y="12250"/>
                  </a:lnTo>
                  <a:lnTo>
                    <a:pt x="24071" y="12069"/>
                  </a:lnTo>
                  <a:lnTo>
                    <a:pt x="23981" y="11889"/>
                  </a:lnTo>
                  <a:lnTo>
                    <a:pt x="23890" y="11753"/>
                  </a:lnTo>
                  <a:lnTo>
                    <a:pt x="23755" y="11572"/>
                  </a:lnTo>
                  <a:lnTo>
                    <a:pt x="23551" y="11369"/>
                  </a:lnTo>
                  <a:lnTo>
                    <a:pt x="23257" y="11143"/>
                  </a:lnTo>
                  <a:lnTo>
                    <a:pt x="22918" y="10872"/>
                  </a:lnTo>
                  <a:lnTo>
                    <a:pt x="22037" y="10284"/>
                  </a:lnTo>
                  <a:lnTo>
                    <a:pt x="20952" y="9583"/>
                  </a:lnTo>
                  <a:lnTo>
                    <a:pt x="19664" y="8837"/>
                  </a:lnTo>
                  <a:lnTo>
                    <a:pt x="18217" y="8024"/>
                  </a:lnTo>
                  <a:lnTo>
                    <a:pt x="16635" y="7165"/>
                  </a:lnTo>
                  <a:lnTo>
                    <a:pt x="14940" y="6283"/>
                  </a:lnTo>
                  <a:lnTo>
                    <a:pt x="13154" y="5379"/>
                  </a:lnTo>
                  <a:lnTo>
                    <a:pt x="11324" y="4498"/>
                  </a:lnTo>
                  <a:lnTo>
                    <a:pt x="9470" y="3617"/>
                  </a:lnTo>
                  <a:lnTo>
                    <a:pt x="7617" y="2780"/>
                  </a:lnTo>
                  <a:lnTo>
                    <a:pt x="5764" y="1967"/>
                  </a:lnTo>
                  <a:lnTo>
                    <a:pt x="3978" y="1243"/>
                  </a:lnTo>
                  <a:lnTo>
                    <a:pt x="2261" y="588"/>
                  </a:lnTo>
                  <a:lnTo>
                    <a:pt x="1447" y="272"/>
                  </a:lnTo>
                  <a:lnTo>
                    <a:pt x="678" y="0"/>
                  </a:lnTo>
                  <a:close/>
                  <a:moveTo>
                    <a:pt x="16725" y="14940"/>
                  </a:moveTo>
                  <a:lnTo>
                    <a:pt x="16997" y="15392"/>
                  </a:lnTo>
                  <a:lnTo>
                    <a:pt x="17245" y="15821"/>
                  </a:lnTo>
                  <a:lnTo>
                    <a:pt x="17426" y="15979"/>
                  </a:lnTo>
                  <a:lnTo>
                    <a:pt x="17517" y="16092"/>
                  </a:lnTo>
                  <a:lnTo>
                    <a:pt x="17539" y="16228"/>
                  </a:lnTo>
                  <a:lnTo>
                    <a:pt x="17562" y="16454"/>
                  </a:lnTo>
                  <a:lnTo>
                    <a:pt x="17562" y="16567"/>
                  </a:lnTo>
                  <a:lnTo>
                    <a:pt x="17675" y="16997"/>
                  </a:lnTo>
                  <a:lnTo>
                    <a:pt x="17765" y="17426"/>
                  </a:lnTo>
                  <a:lnTo>
                    <a:pt x="17833" y="17855"/>
                  </a:lnTo>
                  <a:lnTo>
                    <a:pt x="17833" y="18285"/>
                  </a:lnTo>
                  <a:lnTo>
                    <a:pt x="17810" y="18601"/>
                  </a:lnTo>
                  <a:lnTo>
                    <a:pt x="17743" y="18963"/>
                  </a:lnTo>
                  <a:lnTo>
                    <a:pt x="17675" y="19347"/>
                  </a:lnTo>
                  <a:lnTo>
                    <a:pt x="17562" y="19731"/>
                  </a:lnTo>
                  <a:lnTo>
                    <a:pt x="17426" y="20116"/>
                  </a:lnTo>
                  <a:lnTo>
                    <a:pt x="17245" y="20545"/>
                  </a:lnTo>
                  <a:lnTo>
                    <a:pt x="17065" y="20974"/>
                  </a:lnTo>
                  <a:lnTo>
                    <a:pt x="16861" y="21426"/>
                  </a:lnTo>
                  <a:lnTo>
                    <a:pt x="16432" y="23664"/>
                  </a:lnTo>
                  <a:lnTo>
                    <a:pt x="15980" y="26060"/>
                  </a:lnTo>
                  <a:lnTo>
                    <a:pt x="14985" y="30919"/>
                  </a:lnTo>
                  <a:lnTo>
                    <a:pt x="14104" y="35145"/>
                  </a:lnTo>
                  <a:lnTo>
                    <a:pt x="13539" y="37925"/>
                  </a:lnTo>
                  <a:lnTo>
                    <a:pt x="13426" y="38536"/>
                  </a:lnTo>
                  <a:lnTo>
                    <a:pt x="13448" y="38626"/>
                  </a:lnTo>
                  <a:lnTo>
                    <a:pt x="13516" y="38694"/>
                  </a:lnTo>
                  <a:lnTo>
                    <a:pt x="13606" y="38762"/>
                  </a:lnTo>
                  <a:lnTo>
                    <a:pt x="13742" y="38807"/>
                  </a:lnTo>
                  <a:lnTo>
                    <a:pt x="14104" y="38897"/>
                  </a:lnTo>
                  <a:lnTo>
                    <a:pt x="14556" y="38965"/>
                  </a:lnTo>
                  <a:lnTo>
                    <a:pt x="15098" y="39033"/>
                  </a:lnTo>
                  <a:lnTo>
                    <a:pt x="15708" y="39055"/>
                  </a:lnTo>
                  <a:lnTo>
                    <a:pt x="16951" y="39078"/>
                  </a:lnTo>
                  <a:lnTo>
                    <a:pt x="17946" y="39078"/>
                  </a:lnTo>
                  <a:lnTo>
                    <a:pt x="18782" y="39055"/>
                  </a:lnTo>
                  <a:lnTo>
                    <a:pt x="19573" y="39010"/>
                  </a:lnTo>
                  <a:lnTo>
                    <a:pt x="19754" y="38287"/>
                  </a:lnTo>
                  <a:lnTo>
                    <a:pt x="20274" y="36298"/>
                  </a:lnTo>
                  <a:lnTo>
                    <a:pt x="21020" y="33360"/>
                  </a:lnTo>
                  <a:lnTo>
                    <a:pt x="21449" y="31642"/>
                  </a:lnTo>
                  <a:lnTo>
                    <a:pt x="21879" y="29789"/>
                  </a:lnTo>
                  <a:lnTo>
                    <a:pt x="22331" y="27845"/>
                  </a:lnTo>
                  <a:lnTo>
                    <a:pt x="22760" y="25856"/>
                  </a:lnTo>
                  <a:lnTo>
                    <a:pt x="23167" y="23845"/>
                  </a:lnTo>
                  <a:lnTo>
                    <a:pt x="23529" y="21856"/>
                  </a:lnTo>
                  <a:lnTo>
                    <a:pt x="23845" y="19935"/>
                  </a:lnTo>
                  <a:lnTo>
                    <a:pt x="24116" y="18127"/>
                  </a:lnTo>
                  <a:lnTo>
                    <a:pt x="24207" y="17268"/>
                  </a:lnTo>
                  <a:lnTo>
                    <a:pt x="24274" y="16454"/>
                  </a:lnTo>
                  <a:lnTo>
                    <a:pt x="24342" y="15663"/>
                  </a:lnTo>
                  <a:lnTo>
                    <a:pt x="24365" y="14940"/>
                  </a:lnTo>
                  <a:close/>
                </a:path>
              </a:pathLst>
            </a:custGeom>
            <a:solidFill>
              <a:srgbClr val="9B9DA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Google Shape;1667;p16">
              <a:extLst>
                <a:ext uri="{FF2B5EF4-FFF2-40B4-BE49-F238E27FC236}">
                  <a16:creationId xmlns:a16="http://schemas.microsoft.com/office/drawing/2014/main" id="{37AFCB30-A8C1-8F68-2D65-24D8045D9F8A}"/>
                </a:ext>
              </a:extLst>
            </p:cNvPr>
            <p:cNvSpPr/>
            <p:nvPr/>
          </p:nvSpPr>
          <p:spPr>
            <a:xfrm>
              <a:off x="6073800" y="2813125"/>
              <a:ext cx="273500" cy="603500"/>
            </a:xfrm>
            <a:custGeom>
              <a:avLst/>
              <a:gdLst/>
              <a:ahLst/>
              <a:cxnLst/>
              <a:rect l="l" t="t" r="r" b="b"/>
              <a:pathLst>
                <a:path w="10940" h="24140" fill="none" extrusionOk="0">
                  <a:moveTo>
                    <a:pt x="10940" y="1"/>
                  </a:moveTo>
                  <a:lnTo>
                    <a:pt x="3300" y="1"/>
                  </a:lnTo>
                  <a:lnTo>
                    <a:pt x="3300" y="1"/>
                  </a:lnTo>
                  <a:lnTo>
                    <a:pt x="3572" y="453"/>
                  </a:lnTo>
                  <a:lnTo>
                    <a:pt x="3820" y="882"/>
                  </a:lnTo>
                  <a:lnTo>
                    <a:pt x="3820" y="882"/>
                  </a:lnTo>
                  <a:lnTo>
                    <a:pt x="4001" y="1040"/>
                  </a:lnTo>
                  <a:lnTo>
                    <a:pt x="4092" y="1153"/>
                  </a:lnTo>
                  <a:lnTo>
                    <a:pt x="4092" y="1153"/>
                  </a:lnTo>
                  <a:lnTo>
                    <a:pt x="4092" y="1153"/>
                  </a:lnTo>
                  <a:lnTo>
                    <a:pt x="4114" y="1289"/>
                  </a:lnTo>
                  <a:lnTo>
                    <a:pt x="4137" y="1515"/>
                  </a:lnTo>
                  <a:lnTo>
                    <a:pt x="4137" y="1515"/>
                  </a:lnTo>
                  <a:lnTo>
                    <a:pt x="4137" y="1515"/>
                  </a:lnTo>
                  <a:lnTo>
                    <a:pt x="4137" y="1628"/>
                  </a:lnTo>
                  <a:lnTo>
                    <a:pt x="4137" y="1628"/>
                  </a:lnTo>
                  <a:lnTo>
                    <a:pt x="4250" y="2058"/>
                  </a:lnTo>
                  <a:lnTo>
                    <a:pt x="4340" y="2487"/>
                  </a:lnTo>
                  <a:lnTo>
                    <a:pt x="4408" y="2916"/>
                  </a:lnTo>
                  <a:lnTo>
                    <a:pt x="4408" y="3346"/>
                  </a:lnTo>
                  <a:lnTo>
                    <a:pt x="4408" y="3346"/>
                  </a:lnTo>
                  <a:lnTo>
                    <a:pt x="4385" y="3662"/>
                  </a:lnTo>
                  <a:lnTo>
                    <a:pt x="4318" y="4024"/>
                  </a:lnTo>
                  <a:lnTo>
                    <a:pt x="4250" y="4408"/>
                  </a:lnTo>
                  <a:lnTo>
                    <a:pt x="4137" y="4792"/>
                  </a:lnTo>
                  <a:lnTo>
                    <a:pt x="4001" y="5177"/>
                  </a:lnTo>
                  <a:lnTo>
                    <a:pt x="3820" y="5606"/>
                  </a:lnTo>
                  <a:lnTo>
                    <a:pt x="3640" y="6035"/>
                  </a:lnTo>
                  <a:lnTo>
                    <a:pt x="3436" y="6487"/>
                  </a:lnTo>
                  <a:lnTo>
                    <a:pt x="3436" y="6487"/>
                  </a:lnTo>
                  <a:lnTo>
                    <a:pt x="3007" y="8725"/>
                  </a:lnTo>
                  <a:lnTo>
                    <a:pt x="2555" y="11121"/>
                  </a:lnTo>
                  <a:lnTo>
                    <a:pt x="1560" y="15980"/>
                  </a:lnTo>
                  <a:lnTo>
                    <a:pt x="679" y="20206"/>
                  </a:lnTo>
                  <a:lnTo>
                    <a:pt x="114" y="22986"/>
                  </a:lnTo>
                  <a:lnTo>
                    <a:pt x="1" y="23597"/>
                  </a:lnTo>
                  <a:lnTo>
                    <a:pt x="1" y="23597"/>
                  </a:lnTo>
                  <a:lnTo>
                    <a:pt x="1" y="23597"/>
                  </a:lnTo>
                  <a:lnTo>
                    <a:pt x="1" y="23597"/>
                  </a:lnTo>
                  <a:lnTo>
                    <a:pt x="1" y="23597"/>
                  </a:lnTo>
                  <a:lnTo>
                    <a:pt x="23" y="23687"/>
                  </a:lnTo>
                  <a:lnTo>
                    <a:pt x="91" y="23755"/>
                  </a:lnTo>
                  <a:lnTo>
                    <a:pt x="181" y="23823"/>
                  </a:lnTo>
                  <a:lnTo>
                    <a:pt x="317" y="23868"/>
                  </a:lnTo>
                  <a:lnTo>
                    <a:pt x="679" y="23958"/>
                  </a:lnTo>
                  <a:lnTo>
                    <a:pt x="1131" y="24026"/>
                  </a:lnTo>
                  <a:lnTo>
                    <a:pt x="1673" y="24094"/>
                  </a:lnTo>
                  <a:lnTo>
                    <a:pt x="2283" y="24116"/>
                  </a:lnTo>
                  <a:lnTo>
                    <a:pt x="3526" y="24139"/>
                  </a:lnTo>
                  <a:lnTo>
                    <a:pt x="3526" y="24139"/>
                  </a:lnTo>
                  <a:lnTo>
                    <a:pt x="4521" y="24139"/>
                  </a:lnTo>
                  <a:lnTo>
                    <a:pt x="5357" y="24116"/>
                  </a:lnTo>
                  <a:lnTo>
                    <a:pt x="6148" y="24071"/>
                  </a:lnTo>
                  <a:lnTo>
                    <a:pt x="6148" y="24071"/>
                  </a:lnTo>
                  <a:lnTo>
                    <a:pt x="6329" y="23348"/>
                  </a:lnTo>
                  <a:lnTo>
                    <a:pt x="6849" y="21359"/>
                  </a:lnTo>
                  <a:lnTo>
                    <a:pt x="7595" y="18421"/>
                  </a:lnTo>
                  <a:lnTo>
                    <a:pt x="8024" y="16703"/>
                  </a:lnTo>
                  <a:lnTo>
                    <a:pt x="8454" y="14850"/>
                  </a:lnTo>
                  <a:lnTo>
                    <a:pt x="8906" y="12906"/>
                  </a:lnTo>
                  <a:lnTo>
                    <a:pt x="9335" y="10917"/>
                  </a:lnTo>
                  <a:lnTo>
                    <a:pt x="9742" y="8906"/>
                  </a:lnTo>
                  <a:lnTo>
                    <a:pt x="10104" y="6917"/>
                  </a:lnTo>
                  <a:lnTo>
                    <a:pt x="10420" y="4996"/>
                  </a:lnTo>
                  <a:lnTo>
                    <a:pt x="10691" y="3188"/>
                  </a:lnTo>
                  <a:lnTo>
                    <a:pt x="10782" y="2329"/>
                  </a:lnTo>
                  <a:lnTo>
                    <a:pt x="10849" y="1515"/>
                  </a:lnTo>
                  <a:lnTo>
                    <a:pt x="10917" y="724"/>
                  </a:lnTo>
                  <a:lnTo>
                    <a:pt x="1094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Google Shape;1668;p16">
              <a:extLst>
                <a:ext uri="{FF2B5EF4-FFF2-40B4-BE49-F238E27FC236}">
                  <a16:creationId xmlns:a16="http://schemas.microsoft.com/office/drawing/2014/main" id="{D237DF39-F8C3-608C-3518-8E96F29C8461}"/>
                </a:ext>
              </a:extLst>
            </p:cNvPr>
            <p:cNvSpPr/>
            <p:nvPr/>
          </p:nvSpPr>
          <p:spPr>
            <a:xfrm>
              <a:off x="5738175" y="2439650"/>
              <a:ext cx="608575" cy="337350"/>
            </a:xfrm>
            <a:custGeom>
              <a:avLst/>
              <a:gdLst/>
              <a:ahLst/>
              <a:cxnLst/>
              <a:rect l="l" t="t" r="r" b="b"/>
              <a:pathLst>
                <a:path w="24343" h="13494" fill="none" extrusionOk="0">
                  <a:moveTo>
                    <a:pt x="678" y="0"/>
                  </a:moveTo>
                  <a:lnTo>
                    <a:pt x="678" y="0"/>
                  </a:lnTo>
                  <a:lnTo>
                    <a:pt x="520" y="272"/>
                  </a:lnTo>
                  <a:lnTo>
                    <a:pt x="430" y="362"/>
                  </a:lnTo>
                  <a:lnTo>
                    <a:pt x="430" y="362"/>
                  </a:lnTo>
                  <a:lnTo>
                    <a:pt x="272" y="407"/>
                  </a:lnTo>
                  <a:lnTo>
                    <a:pt x="0" y="430"/>
                  </a:lnTo>
                  <a:lnTo>
                    <a:pt x="0" y="430"/>
                  </a:lnTo>
                  <a:lnTo>
                    <a:pt x="385" y="1153"/>
                  </a:lnTo>
                  <a:lnTo>
                    <a:pt x="611" y="1515"/>
                  </a:lnTo>
                  <a:lnTo>
                    <a:pt x="859" y="1876"/>
                  </a:lnTo>
                  <a:lnTo>
                    <a:pt x="1130" y="2238"/>
                  </a:lnTo>
                  <a:lnTo>
                    <a:pt x="1424" y="2622"/>
                  </a:lnTo>
                  <a:lnTo>
                    <a:pt x="1786" y="3006"/>
                  </a:lnTo>
                  <a:lnTo>
                    <a:pt x="2170" y="3391"/>
                  </a:lnTo>
                  <a:lnTo>
                    <a:pt x="2170" y="3391"/>
                  </a:lnTo>
                  <a:lnTo>
                    <a:pt x="2667" y="3843"/>
                  </a:lnTo>
                  <a:lnTo>
                    <a:pt x="3278" y="4295"/>
                  </a:lnTo>
                  <a:lnTo>
                    <a:pt x="3956" y="4814"/>
                  </a:lnTo>
                  <a:lnTo>
                    <a:pt x="4747" y="5334"/>
                  </a:lnTo>
                  <a:lnTo>
                    <a:pt x="6464" y="6487"/>
                  </a:lnTo>
                  <a:lnTo>
                    <a:pt x="8363" y="7730"/>
                  </a:lnTo>
                  <a:lnTo>
                    <a:pt x="9357" y="8385"/>
                  </a:lnTo>
                  <a:lnTo>
                    <a:pt x="10329" y="9063"/>
                  </a:lnTo>
                  <a:lnTo>
                    <a:pt x="11301" y="9764"/>
                  </a:lnTo>
                  <a:lnTo>
                    <a:pt x="12273" y="10487"/>
                  </a:lnTo>
                  <a:lnTo>
                    <a:pt x="13177" y="11211"/>
                  </a:lnTo>
                  <a:lnTo>
                    <a:pt x="14059" y="11956"/>
                  </a:lnTo>
                  <a:lnTo>
                    <a:pt x="14465" y="12341"/>
                  </a:lnTo>
                  <a:lnTo>
                    <a:pt x="14872" y="12725"/>
                  </a:lnTo>
                  <a:lnTo>
                    <a:pt x="15256" y="13109"/>
                  </a:lnTo>
                  <a:lnTo>
                    <a:pt x="15618" y="13493"/>
                  </a:lnTo>
                  <a:lnTo>
                    <a:pt x="24342" y="13493"/>
                  </a:lnTo>
                  <a:lnTo>
                    <a:pt x="24342" y="13493"/>
                  </a:lnTo>
                  <a:lnTo>
                    <a:pt x="24297" y="12951"/>
                  </a:lnTo>
                  <a:lnTo>
                    <a:pt x="24207" y="12454"/>
                  </a:lnTo>
                  <a:lnTo>
                    <a:pt x="24139" y="12250"/>
                  </a:lnTo>
                  <a:lnTo>
                    <a:pt x="24071" y="12069"/>
                  </a:lnTo>
                  <a:lnTo>
                    <a:pt x="23981" y="11889"/>
                  </a:lnTo>
                  <a:lnTo>
                    <a:pt x="23890" y="11753"/>
                  </a:lnTo>
                  <a:lnTo>
                    <a:pt x="23890" y="11753"/>
                  </a:lnTo>
                  <a:lnTo>
                    <a:pt x="23755" y="11572"/>
                  </a:lnTo>
                  <a:lnTo>
                    <a:pt x="23551" y="11369"/>
                  </a:lnTo>
                  <a:lnTo>
                    <a:pt x="23257" y="11143"/>
                  </a:lnTo>
                  <a:lnTo>
                    <a:pt x="22918" y="10872"/>
                  </a:lnTo>
                  <a:lnTo>
                    <a:pt x="22037" y="10284"/>
                  </a:lnTo>
                  <a:lnTo>
                    <a:pt x="20952" y="9583"/>
                  </a:lnTo>
                  <a:lnTo>
                    <a:pt x="19664" y="8837"/>
                  </a:lnTo>
                  <a:lnTo>
                    <a:pt x="18217" y="8024"/>
                  </a:lnTo>
                  <a:lnTo>
                    <a:pt x="16635" y="7165"/>
                  </a:lnTo>
                  <a:lnTo>
                    <a:pt x="14940" y="6283"/>
                  </a:lnTo>
                  <a:lnTo>
                    <a:pt x="13154" y="5379"/>
                  </a:lnTo>
                  <a:lnTo>
                    <a:pt x="11324" y="4498"/>
                  </a:lnTo>
                  <a:lnTo>
                    <a:pt x="9470" y="3617"/>
                  </a:lnTo>
                  <a:lnTo>
                    <a:pt x="7617" y="2780"/>
                  </a:lnTo>
                  <a:lnTo>
                    <a:pt x="5764" y="1967"/>
                  </a:lnTo>
                  <a:lnTo>
                    <a:pt x="3978" y="1243"/>
                  </a:lnTo>
                  <a:lnTo>
                    <a:pt x="2261" y="588"/>
                  </a:lnTo>
                  <a:lnTo>
                    <a:pt x="1447" y="272"/>
                  </a:lnTo>
                  <a:lnTo>
                    <a:pt x="67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Google Shape;1669;p16">
              <a:extLst>
                <a:ext uri="{FF2B5EF4-FFF2-40B4-BE49-F238E27FC236}">
                  <a16:creationId xmlns:a16="http://schemas.microsoft.com/office/drawing/2014/main" id="{40EE6C1E-1B3C-21D6-DE9C-DBD5524BE682}"/>
                </a:ext>
              </a:extLst>
            </p:cNvPr>
            <p:cNvSpPr/>
            <p:nvPr/>
          </p:nvSpPr>
          <p:spPr>
            <a:xfrm>
              <a:off x="6076625" y="2841950"/>
              <a:ext cx="100600" cy="545850"/>
            </a:xfrm>
            <a:custGeom>
              <a:avLst/>
              <a:gdLst/>
              <a:ahLst/>
              <a:cxnLst/>
              <a:rect l="l" t="t" r="r" b="b"/>
              <a:pathLst>
                <a:path w="4024" h="21834" extrusionOk="0">
                  <a:moveTo>
                    <a:pt x="3979" y="0"/>
                  </a:moveTo>
                  <a:lnTo>
                    <a:pt x="3933" y="249"/>
                  </a:lnTo>
                  <a:lnTo>
                    <a:pt x="4024" y="475"/>
                  </a:lnTo>
                  <a:lnTo>
                    <a:pt x="4024" y="362"/>
                  </a:lnTo>
                  <a:lnTo>
                    <a:pt x="4001" y="136"/>
                  </a:lnTo>
                  <a:lnTo>
                    <a:pt x="3979" y="0"/>
                  </a:lnTo>
                  <a:close/>
                  <a:moveTo>
                    <a:pt x="3323" y="5334"/>
                  </a:moveTo>
                  <a:lnTo>
                    <a:pt x="2848" y="6238"/>
                  </a:lnTo>
                  <a:lnTo>
                    <a:pt x="1" y="21833"/>
                  </a:lnTo>
                  <a:lnTo>
                    <a:pt x="566" y="19053"/>
                  </a:lnTo>
                  <a:lnTo>
                    <a:pt x="1447" y="14827"/>
                  </a:lnTo>
                  <a:lnTo>
                    <a:pt x="2442" y="9968"/>
                  </a:lnTo>
                  <a:lnTo>
                    <a:pt x="2894" y="7572"/>
                  </a:lnTo>
                  <a:lnTo>
                    <a:pt x="3323" y="5334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Google Shape;1670;p16">
              <a:extLst>
                <a:ext uri="{FF2B5EF4-FFF2-40B4-BE49-F238E27FC236}">
                  <a16:creationId xmlns:a16="http://schemas.microsoft.com/office/drawing/2014/main" id="{16BADB3B-4846-71C3-13F5-D5D6911B69D6}"/>
                </a:ext>
              </a:extLst>
            </p:cNvPr>
            <p:cNvSpPr/>
            <p:nvPr/>
          </p:nvSpPr>
          <p:spPr>
            <a:xfrm>
              <a:off x="6076625" y="2975300"/>
              <a:ext cx="83100" cy="412500"/>
            </a:xfrm>
            <a:custGeom>
              <a:avLst/>
              <a:gdLst/>
              <a:ahLst/>
              <a:cxnLst/>
              <a:rect l="l" t="t" r="r" b="b"/>
              <a:pathLst>
                <a:path w="3324" h="16500" fill="none" extrusionOk="0">
                  <a:moveTo>
                    <a:pt x="3323" y="0"/>
                  </a:moveTo>
                  <a:lnTo>
                    <a:pt x="3323" y="0"/>
                  </a:lnTo>
                  <a:lnTo>
                    <a:pt x="2848" y="904"/>
                  </a:lnTo>
                  <a:lnTo>
                    <a:pt x="1" y="16499"/>
                  </a:lnTo>
                  <a:lnTo>
                    <a:pt x="1" y="16499"/>
                  </a:lnTo>
                  <a:lnTo>
                    <a:pt x="566" y="13719"/>
                  </a:lnTo>
                  <a:lnTo>
                    <a:pt x="1447" y="9493"/>
                  </a:lnTo>
                  <a:lnTo>
                    <a:pt x="2442" y="4634"/>
                  </a:lnTo>
                  <a:lnTo>
                    <a:pt x="2894" y="2238"/>
                  </a:lnTo>
                  <a:lnTo>
                    <a:pt x="332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4" name="Google Shape;1671;p16">
              <a:extLst>
                <a:ext uri="{FF2B5EF4-FFF2-40B4-BE49-F238E27FC236}">
                  <a16:creationId xmlns:a16="http://schemas.microsoft.com/office/drawing/2014/main" id="{BF1EE0C1-09E2-3D1E-F038-048AA9F51005}"/>
                </a:ext>
              </a:extLst>
            </p:cNvPr>
            <p:cNvSpPr/>
            <p:nvPr/>
          </p:nvSpPr>
          <p:spPr>
            <a:xfrm>
              <a:off x="6174950" y="2841950"/>
              <a:ext cx="2275" cy="11900"/>
            </a:xfrm>
            <a:custGeom>
              <a:avLst/>
              <a:gdLst/>
              <a:ahLst/>
              <a:cxnLst/>
              <a:rect l="l" t="t" r="r" b="b"/>
              <a:pathLst>
                <a:path w="91" h="476" fill="none" extrusionOk="0">
                  <a:moveTo>
                    <a:pt x="46" y="0"/>
                  </a:moveTo>
                  <a:lnTo>
                    <a:pt x="0" y="249"/>
                  </a:lnTo>
                  <a:lnTo>
                    <a:pt x="0" y="249"/>
                  </a:lnTo>
                  <a:lnTo>
                    <a:pt x="91" y="475"/>
                  </a:lnTo>
                  <a:lnTo>
                    <a:pt x="91" y="475"/>
                  </a:lnTo>
                  <a:lnTo>
                    <a:pt x="91" y="362"/>
                  </a:lnTo>
                  <a:lnTo>
                    <a:pt x="91" y="362"/>
                  </a:lnTo>
                  <a:lnTo>
                    <a:pt x="68" y="136"/>
                  </a:lnTo>
                  <a:lnTo>
                    <a:pt x="46" y="0"/>
                  </a:lnTo>
                  <a:lnTo>
                    <a:pt x="4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Google Shape;1672;p16">
              <a:extLst>
                <a:ext uri="{FF2B5EF4-FFF2-40B4-BE49-F238E27FC236}">
                  <a16:creationId xmlns:a16="http://schemas.microsoft.com/office/drawing/2014/main" id="{1086419F-31FA-4659-BE06-5F887DF50B7F}"/>
                </a:ext>
              </a:extLst>
            </p:cNvPr>
            <p:cNvSpPr/>
            <p:nvPr/>
          </p:nvSpPr>
          <p:spPr>
            <a:xfrm>
              <a:off x="6073800" y="3387775"/>
              <a:ext cx="2850" cy="15275"/>
            </a:xfrm>
            <a:custGeom>
              <a:avLst/>
              <a:gdLst/>
              <a:ahLst/>
              <a:cxnLst/>
              <a:rect l="l" t="t" r="r" b="b"/>
              <a:pathLst>
                <a:path w="114" h="611" extrusionOk="0">
                  <a:moveTo>
                    <a:pt x="114" y="0"/>
                  </a:moveTo>
                  <a:lnTo>
                    <a:pt x="114" y="0"/>
                  </a:lnTo>
                  <a:lnTo>
                    <a:pt x="1" y="611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9092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Google Shape;1673;p16">
              <a:extLst>
                <a:ext uri="{FF2B5EF4-FFF2-40B4-BE49-F238E27FC236}">
                  <a16:creationId xmlns:a16="http://schemas.microsoft.com/office/drawing/2014/main" id="{2672AB3F-53BC-9318-69EB-265D081ED9C1}"/>
                </a:ext>
              </a:extLst>
            </p:cNvPr>
            <p:cNvSpPr/>
            <p:nvPr/>
          </p:nvSpPr>
          <p:spPr>
            <a:xfrm>
              <a:off x="6073800" y="3387775"/>
              <a:ext cx="2850" cy="15275"/>
            </a:xfrm>
            <a:custGeom>
              <a:avLst/>
              <a:gdLst/>
              <a:ahLst/>
              <a:cxnLst/>
              <a:rect l="l" t="t" r="r" b="b"/>
              <a:pathLst>
                <a:path w="114" h="611" fill="none" extrusionOk="0">
                  <a:moveTo>
                    <a:pt x="114" y="0"/>
                  </a:moveTo>
                  <a:lnTo>
                    <a:pt x="114" y="0"/>
                  </a:lnTo>
                  <a:lnTo>
                    <a:pt x="1" y="611"/>
                  </a:lnTo>
                  <a:lnTo>
                    <a:pt x="11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7" name="Google Shape;1674;p16">
              <a:extLst>
                <a:ext uri="{FF2B5EF4-FFF2-40B4-BE49-F238E27FC236}">
                  <a16:creationId xmlns:a16="http://schemas.microsoft.com/office/drawing/2014/main" id="{BDCEF46A-0F3B-6CF2-205A-5C7BCA34C4E4}"/>
                </a:ext>
              </a:extLst>
            </p:cNvPr>
            <p:cNvSpPr/>
            <p:nvPr/>
          </p:nvSpPr>
          <p:spPr>
            <a:xfrm>
              <a:off x="2594875" y="2776975"/>
              <a:ext cx="3927025" cy="36175"/>
            </a:xfrm>
            <a:custGeom>
              <a:avLst/>
              <a:gdLst/>
              <a:ahLst/>
              <a:cxnLst/>
              <a:rect l="l" t="t" r="r" b="b"/>
              <a:pathLst>
                <a:path w="157081" h="1447" extrusionOk="0">
                  <a:moveTo>
                    <a:pt x="724" y="0"/>
                  </a:moveTo>
                  <a:lnTo>
                    <a:pt x="588" y="23"/>
                  </a:lnTo>
                  <a:lnTo>
                    <a:pt x="453" y="68"/>
                  </a:lnTo>
                  <a:lnTo>
                    <a:pt x="340" y="136"/>
                  </a:lnTo>
                  <a:lnTo>
                    <a:pt x="227" y="226"/>
                  </a:lnTo>
                  <a:lnTo>
                    <a:pt x="136" y="317"/>
                  </a:lnTo>
                  <a:lnTo>
                    <a:pt x="68" y="452"/>
                  </a:lnTo>
                  <a:lnTo>
                    <a:pt x="23" y="588"/>
                  </a:lnTo>
                  <a:lnTo>
                    <a:pt x="1" y="724"/>
                  </a:lnTo>
                  <a:lnTo>
                    <a:pt x="23" y="882"/>
                  </a:lnTo>
                  <a:lnTo>
                    <a:pt x="68" y="1017"/>
                  </a:lnTo>
                  <a:lnTo>
                    <a:pt x="136" y="1130"/>
                  </a:lnTo>
                  <a:lnTo>
                    <a:pt x="227" y="1243"/>
                  </a:lnTo>
                  <a:lnTo>
                    <a:pt x="340" y="1334"/>
                  </a:lnTo>
                  <a:lnTo>
                    <a:pt x="453" y="1402"/>
                  </a:lnTo>
                  <a:lnTo>
                    <a:pt x="588" y="1447"/>
                  </a:lnTo>
                  <a:lnTo>
                    <a:pt x="156516" y="1447"/>
                  </a:lnTo>
                  <a:lnTo>
                    <a:pt x="156651" y="1402"/>
                  </a:lnTo>
                  <a:lnTo>
                    <a:pt x="156764" y="1334"/>
                  </a:lnTo>
                  <a:lnTo>
                    <a:pt x="156877" y="1243"/>
                  </a:lnTo>
                  <a:lnTo>
                    <a:pt x="156968" y="1130"/>
                  </a:lnTo>
                  <a:lnTo>
                    <a:pt x="157035" y="1017"/>
                  </a:lnTo>
                  <a:lnTo>
                    <a:pt x="157081" y="882"/>
                  </a:lnTo>
                  <a:lnTo>
                    <a:pt x="157081" y="724"/>
                  </a:lnTo>
                  <a:lnTo>
                    <a:pt x="157081" y="588"/>
                  </a:lnTo>
                  <a:lnTo>
                    <a:pt x="157035" y="452"/>
                  </a:lnTo>
                  <a:lnTo>
                    <a:pt x="156968" y="317"/>
                  </a:lnTo>
                  <a:lnTo>
                    <a:pt x="156877" y="226"/>
                  </a:lnTo>
                  <a:lnTo>
                    <a:pt x="156764" y="136"/>
                  </a:lnTo>
                  <a:lnTo>
                    <a:pt x="156651" y="68"/>
                  </a:lnTo>
                  <a:lnTo>
                    <a:pt x="156516" y="23"/>
                  </a:lnTo>
                  <a:lnTo>
                    <a:pt x="156357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8" name="Google Shape;1675;p16">
              <a:extLst>
                <a:ext uri="{FF2B5EF4-FFF2-40B4-BE49-F238E27FC236}">
                  <a16:creationId xmlns:a16="http://schemas.microsoft.com/office/drawing/2014/main" id="{7F4ACCDA-4184-4620-D87A-364CD5D1D71C}"/>
                </a:ext>
              </a:extLst>
            </p:cNvPr>
            <p:cNvSpPr/>
            <p:nvPr/>
          </p:nvSpPr>
          <p:spPr>
            <a:xfrm>
              <a:off x="2594875" y="2776975"/>
              <a:ext cx="3927025" cy="36175"/>
            </a:xfrm>
            <a:custGeom>
              <a:avLst/>
              <a:gdLst/>
              <a:ahLst/>
              <a:cxnLst/>
              <a:rect l="l" t="t" r="r" b="b"/>
              <a:pathLst>
                <a:path w="157081" h="1447" fill="none" extrusionOk="0">
                  <a:moveTo>
                    <a:pt x="724" y="0"/>
                  </a:moveTo>
                  <a:lnTo>
                    <a:pt x="156357" y="0"/>
                  </a:lnTo>
                  <a:lnTo>
                    <a:pt x="156357" y="0"/>
                  </a:lnTo>
                  <a:lnTo>
                    <a:pt x="156516" y="23"/>
                  </a:lnTo>
                  <a:lnTo>
                    <a:pt x="156651" y="68"/>
                  </a:lnTo>
                  <a:lnTo>
                    <a:pt x="156764" y="136"/>
                  </a:lnTo>
                  <a:lnTo>
                    <a:pt x="156877" y="226"/>
                  </a:lnTo>
                  <a:lnTo>
                    <a:pt x="156968" y="317"/>
                  </a:lnTo>
                  <a:lnTo>
                    <a:pt x="157035" y="452"/>
                  </a:lnTo>
                  <a:lnTo>
                    <a:pt x="157081" y="588"/>
                  </a:lnTo>
                  <a:lnTo>
                    <a:pt x="157081" y="724"/>
                  </a:lnTo>
                  <a:lnTo>
                    <a:pt x="157081" y="724"/>
                  </a:lnTo>
                  <a:lnTo>
                    <a:pt x="157081" y="882"/>
                  </a:lnTo>
                  <a:lnTo>
                    <a:pt x="157035" y="1017"/>
                  </a:lnTo>
                  <a:lnTo>
                    <a:pt x="156968" y="1130"/>
                  </a:lnTo>
                  <a:lnTo>
                    <a:pt x="156877" y="1243"/>
                  </a:lnTo>
                  <a:lnTo>
                    <a:pt x="156764" y="1334"/>
                  </a:lnTo>
                  <a:lnTo>
                    <a:pt x="156651" y="1402"/>
                  </a:lnTo>
                  <a:lnTo>
                    <a:pt x="156516" y="1447"/>
                  </a:lnTo>
                  <a:lnTo>
                    <a:pt x="156357" y="1447"/>
                  </a:lnTo>
                  <a:lnTo>
                    <a:pt x="724" y="1447"/>
                  </a:lnTo>
                  <a:lnTo>
                    <a:pt x="724" y="1447"/>
                  </a:lnTo>
                  <a:lnTo>
                    <a:pt x="588" y="1447"/>
                  </a:lnTo>
                  <a:lnTo>
                    <a:pt x="453" y="1402"/>
                  </a:lnTo>
                  <a:lnTo>
                    <a:pt x="340" y="1334"/>
                  </a:lnTo>
                  <a:lnTo>
                    <a:pt x="227" y="1243"/>
                  </a:lnTo>
                  <a:lnTo>
                    <a:pt x="136" y="1130"/>
                  </a:lnTo>
                  <a:lnTo>
                    <a:pt x="68" y="1017"/>
                  </a:lnTo>
                  <a:lnTo>
                    <a:pt x="23" y="882"/>
                  </a:lnTo>
                  <a:lnTo>
                    <a:pt x="1" y="724"/>
                  </a:lnTo>
                  <a:lnTo>
                    <a:pt x="1" y="724"/>
                  </a:lnTo>
                  <a:lnTo>
                    <a:pt x="23" y="588"/>
                  </a:lnTo>
                  <a:lnTo>
                    <a:pt x="68" y="452"/>
                  </a:lnTo>
                  <a:lnTo>
                    <a:pt x="136" y="317"/>
                  </a:lnTo>
                  <a:lnTo>
                    <a:pt x="227" y="226"/>
                  </a:lnTo>
                  <a:lnTo>
                    <a:pt x="340" y="136"/>
                  </a:lnTo>
                  <a:lnTo>
                    <a:pt x="453" y="68"/>
                  </a:lnTo>
                  <a:lnTo>
                    <a:pt x="588" y="23"/>
                  </a:lnTo>
                  <a:lnTo>
                    <a:pt x="72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9" name="Google Shape;1676;p16">
              <a:extLst>
                <a:ext uri="{FF2B5EF4-FFF2-40B4-BE49-F238E27FC236}">
                  <a16:creationId xmlns:a16="http://schemas.microsoft.com/office/drawing/2014/main" id="{97155B24-A3E1-91FF-F269-4ACCBD32D113}"/>
                </a:ext>
              </a:extLst>
            </p:cNvPr>
            <p:cNvSpPr/>
            <p:nvPr/>
          </p:nvSpPr>
          <p:spPr>
            <a:xfrm>
              <a:off x="5816725" y="2110225"/>
              <a:ext cx="453725" cy="255425"/>
            </a:xfrm>
            <a:custGeom>
              <a:avLst/>
              <a:gdLst/>
              <a:ahLst/>
              <a:cxnLst/>
              <a:rect l="l" t="t" r="r" b="b"/>
              <a:pathLst>
                <a:path w="18149" h="10217" extrusionOk="0">
                  <a:moveTo>
                    <a:pt x="3707" y="1"/>
                  </a:moveTo>
                  <a:lnTo>
                    <a:pt x="0" y="2532"/>
                  </a:lnTo>
                  <a:lnTo>
                    <a:pt x="407" y="3662"/>
                  </a:lnTo>
                  <a:lnTo>
                    <a:pt x="859" y="4837"/>
                  </a:lnTo>
                  <a:lnTo>
                    <a:pt x="1401" y="6193"/>
                  </a:lnTo>
                  <a:lnTo>
                    <a:pt x="1695" y="6872"/>
                  </a:lnTo>
                  <a:lnTo>
                    <a:pt x="2012" y="7550"/>
                  </a:lnTo>
                  <a:lnTo>
                    <a:pt x="2351" y="8205"/>
                  </a:lnTo>
                  <a:lnTo>
                    <a:pt x="2667" y="8793"/>
                  </a:lnTo>
                  <a:lnTo>
                    <a:pt x="2983" y="9290"/>
                  </a:lnTo>
                  <a:lnTo>
                    <a:pt x="3142" y="9516"/>
                  </a:lnTo>
                  <a:lnTo>
                    <a:pt x="3300" y="9719"/>
                  </a:lnTo>
                  <a:lnTo>
                    <a:pt x="3458" y="9878"/>
                  </a:lnTo>
                  <a:lnTo>
                    <a:pt x="3616" y="10013"/>
                  </a:lnTo>
                  <a:lnTo>
                    <a:pt x="3752" y="10104"/>
                  </a:lnTo>
                  <a:lnTo>
                    <a:pt x="3887" y="10171"/>
                  </a:lnTo>
                  <a:lnTo>
                    <a:pt x="4068" y="10194"/>
                  </a:lnTo>
                  <a:lnTo>
                    <a:pt x="4272" y="10217"/>
                  </a:lnTo>
                  <a:lnTo>
                    <a:pt x="4837" y="10217"/>
                  </a:lnTo>
                  <a:lnTo>
                    <a:pt x="5560" y="10149"/>
                  </a:lnTo>
                  <a:lnTo>
                    <a:pt x="6419" y="10058"/>
                  </a:lnTo>
                  <a:lnTo>
                    <a:pt x="7368" y="9900"/>
                  </a:lnTo>
                  <a:lnTo>
                    <a:pt x="8408" y="9742"/>
                  </a:lnTo>
                  <a:lnTo>
                    <a:pt x="10555" y="9358"/>
                  </a:lnTo>
                  <a:lnTo>
                    <a:pt x="12679" y="8928"/>
                  </a:lnTo>
                  <a:lnTo>
                    <a:pt x="14533" y="8567"/>
                  </a:lnTo>
                  <a:lnTo>
                    <a:pt x="15866" y="8273"/>
                  </a:lnTo>
                  <a:lnTo>
                    <a:pt x="16476" y="8160"/>
                  </a:lnTo>
                  <a:lnTo>
                    <a:pt x="16589" y="8137"/>
                  </a:lnTo>
                  <a:lnTo>
                    <a:pt x="16702" y="8047"/>
                  </a:lnTo>
                  <a:lnTo>
                    <a:pt x="16838" y="7934"/>
                  </a:lnTo>
                  <a:lnTo>
                    <a:pt x="16996" y="7798"/>
                  </a:lnTo>
                  <a:lnTo>
                    <a:pt x="17290" y="7437"/>
                  </a:lnTo>
                  <a:lnTo>
                    <a:pt x="17607" y="7007"/>
                  </a:lnTo>
                  <a:lnTo>
                    <a:pt x="17855" y="6578"/>
                  </a:lnTo>
                  <a:lnTo>
                    <a:pt x="17968" y="6352"/>
                  </a:lnTo>
                  <a:lnTo>
                    <a:pt x="18059" y="6148"/>
                  </a:lnTo>
                  <a:lnTo>
                    <a:pt x="18126" y="5967"/>
                  </a:lnTo>
                  <a:lnTo>
                    <a:pt x="18149" y="5809"/>
                  </a:lnTo>
                  <a:lnTo>
                    <a:pt x="18149" y="5674"/>
                  </a:lnTo>
                  <a:lnTo>
                    <a:pt x="18104" y="5583"/>
                  </a:lnTo>
                  <a:lnTo>
                    <a:pt x="18036" y="5561"/>
                  </a:lnTo>
                  <a:lnTo>
                    <a:pt x="17878" y="5538"/>
                  </a:lnTo>
                  <a:lnTo>
                    <a:pt x="17335" y="5515"/>
                  </a:lnTo>
                  <a:lnTo>
                    <a:pt x="16544" y="5538"/>
                  </a:lnTo>
                  <a:lnTo>
                    <a:pt x="15550" y="5606"/>
                  </a:lnTo>
                  <a:lnTo>
                    <a:pt x="13154" y="5787"/>
                  </a:lnTo>
                  <a:lnTo>
                    <a:pt x="10487" y="6013"/>
                  </a:lnTo>
                  <a:lnTo>
                    <a:pt x="6735" y="6374"/>
                  </a:lnTo>
                  <a:lnTo>
                    <a:pt x="5470" y="6487"/>
                  </a:lnTo>
                  <a:lnTo>
                    <a:pt x="4814" y="6533"/>
                  </a:lnTo>
                  <a:lnTo>
                    <a:pt x="4746" y="6510"/>
                  </a:lnTo>
                  <a:lnTo>
                    <a:pt x="4701" y="6465"/>
                  </a:lnTo>
                  <a:lnTo>
                    <a:pt x="4633" y="6397"/>
                  </a:lnTo>
                  <a:lnTo>
                    <a:pt x="4588" y="6306"/>
                  </a:lnTo>
                  <a:lnTo>
                    <a:pt x="4475" y="6058"/>
                  </a:lnTo>
                  <a:lnTo>
                    <a:pt x="4407" y="5719"/>
                  </a:lnTo>
                  <a:lnTo>
                    <a:pt x="4339" y="5335"/>
                  </a:lnTo>
                  <a:lnTo>
                    <a:pt x="4272" y="4883"/>
                  </a:lnTo>
                  <a:lnTo>
                    <a:pt x="4181" y="3866"/>
                  </a:lnTo>
                  <a:lnTo>
                    <a:pt x="4091" y="2781"/>
                  </a:lnTo>
                  <a:lnTo>
                    <a:pt x="4000" y="1696"/>
                  </a:lnTo>
                  <a:lnTo>
                    <a:pt x="3955" y="1199"/>
                  </a:lnTo>
                  <a:lnTo>
                    <a:pt x="3887" y="747"/>
                  </a:lnTo>
                  <a:lnTo>
                    <a:pt x="3797" y="340"/>
                  </a:lnTo>
                  <a:lnTo>
                    <a:pt x="3707" y="1"/>
                  </a:lnTo>
                  <a:close/>
                </a:path>
              </a:pathLst>
            </a:custGeom>
            <a:solidFill>
              <a:srgbClr val="DE36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0" name="Google Shape;1677;p16">
              <a:extLst>
                <a:ext uri="{FF2B5EF4-FFF2-40B4-BE49-F238E27FC236}">
                  <a16:creationId xmlns:a16="http://schemas.microsoft.com/office/drawing/2014/main" id="{819767C1-6E25-3C44-41C8-3E8D7B911E21}"/>
                </a:ext>
              </a:extLst>
            </p:cNvPr>
            <p:cNvSpPr/>
            <p:nvPr/>
          </p:nvSpPr>
          <p:spPr>
            <a:xfrm>
              <a:off x="5816725" y="2110225"/>
              <a:ext cx="453725" cy="255425"/>
            </a:xfrm>
            <a:custGeom>
              <a:avLst/>
              <a:gdLst/>
              <a:ahLst/>
              <a:cxnLst/>
              <a:rect l="l" t="t" r="r" b="b"/>
              <a:pathLst>
                <a:path w="18149" h="10217" fill="none" extrusionOk="0">
                  <a:moveTo>
                    <a:pt x="3707" y="1"/>
                  </a:moveTo>
                  <a:lnTo>
                    <a:pt x="3707" y="1"/>
                  </a:lnTo>
                  <a:lnTo>
                    <a:pt x="3797" y="340"/>
                  </a:lnTo>
                  <a:lnTo>
                    <a:pt x="3887" y="747"/>
                  </a:lnTo>
                  <a:lnTo>
                    <a:pt x="3955" y="1199"/>
                  </a:lnTo>
                  <a:lnTo>
                    <a:pt x="4000" y="1696"/>
                  </a:lnTo>
                  <a:lnTo>
                    <a:pt x="4091" y="2781"/>
                  </a:lnTo>
                  <a:lnTo>
                    <a:pt x="4181" y="3866"/>
                  </a:lnTo>
                  <a:lnTo>
                    <a:pt x="4272" y="4883"/>
                  </a:lnTo>
                  <a:lnTo>
                    <a:pt x="4339" y="5335"/>
                  </a:lnTo>
                  <a:lnTo>
                    <a:pt x="4407" y="5719"/>
                  </a:lnTo>
                  <a:lnTo>
                    <a:pt x="4475" y="6058"/>
                  </a:lnTo>
                  <a:lnTo>
                    <a:pt x="4588" y="6306"/>
                  </a:lnTo>
                  <a:lnTo>
                    <a:pt x="4633" y="6397"/>
                  </a:lnTo>
                  <a:lnTo>
                    <a:pt x="4701" y="6465"/>
                  </a:lnTo>
                  <a:lnTo>
                    <a:pt x="4746" y="6510"/>
                  </a:lnTo>
                  <a:lnTo>
                    <a:pt x="4814" y="6533"/>
                  </a:lnTo>
                  <a:lnTo>
                    <a:pt x="4814" y="6533"/>
                  </a:lnTo>
                  <a:lnTo>
                    <a:pt x="5470" y="6487"/>
                  </a:lnTo>
                  <a:lnTo>
                    <a:pt x="6735" y="6374"/>
                  </a:lnTo>
                  <a:lnTo>
                    <a:pt x="10487" y="6013"/>
                  </a:lnTo>
                  <a:lnTo>
                    <a:pt x="10487" y="6013"/>
                  </a:lnTo>
                  <a:lnTo>
                    <a:pt x="13154" y="5787"/>
                  </a:lnTo>
                  <a:lnTo>
                    <a:pt x="15550" y="5606"/>
                  </a:lnTo>
                  <a:lnTo>
                    <a:pt x="16544" y="5538"/>
                  </a:lnTo>
                  <a:lnTo>
                    <a:pt x="17335" y="5515"/>
                  </a:lnTo>
                  <a:lnTo>
                    <a:pt x="17878" y="5538"/>
                  </a:lnTo>
                  <a:lnTo>
                    <a:pt x="18036" y="5561"/>
                  </a:lnTo>
                  <a:lnTo>
                    <a:pt x="18104" y="5583"/>
                  </a:lnTo>
                  <a:lnTo>
                    <a:pt x="18104" y="5583"/>
                  </a:lnTo>
                  <a:lnTo>
                    <a:pt x="18149" y="5674"/>
                  </a:lnTo>
                  <a:lnTo>
                    <a:pt x="18149" y="5809"/>
                  </a:lnTo>
                  <a:lnTo>
                    <a:pt x="18126" y="5967"/>
                  </a:lnTo>
                  <a:lnTo>
                    <a:pt x="18059" y="6148"/>
                  </a:lnTo>
                  <a:lnTo>
                    <a:pt x="17968" y="6352"/>
                  </a:lnTo>
                  <a:lnTo>
                    <a:pt x="17855" y="6578"/>
                  </a:lnTo>
                  <a:lnTo>
                    <a:pt x="17607" y="7007"/>
                  </a:lnTo>
                  <a:lnTo>
                    <a:pt x="17290" y="7437"/>
                  </a:lnTo>
                  <a:lnTo>
                    <a:pt x="16996" y="7798"/>
                  </a:lnTo>
                  <a:lnTo>
                    <a:pt x="16838" y="7934"/>
                  </a:lnTo>
                  <a:lnTo>
                    <a:pt x="16702" y="8047"/>
                  </a:lnTo>
                  <a:lnTo>
                    <a:pt x="16589" y="8137"/>
                  </a:lnTo>
                  <a:lnTo>
                    <a:pt x="16476" y="8160"/>
                  </a:lnTo>
                  <a:lnTo>
                    <a:pt x="16476" y="8160"/>
                  </a:lnTo>
                  <a:lnTo>
                    <a:pt x="15866" y="8273"/>
                  </a:lnTo>
                  <a:lnTo>
                    <a:pt x="14533" y="8567"/>
                  </a:lnTo>
                  <a:lnTo>
                    <a:pt x="12679" y="8928"/>
                  </a:lnTo>
                  <a:lnTo>
                    <a:pt x="10555" y="9358"/>
                  </a:lnTo>
                  <a:lnTo>
                    <a:pt x="8408" y="9742"/>
                  </a:lnTo>
                  <a:lnTo>
                    <a:pt x="7368" y="9900"/>
                  </a:lnTo>
                  <a:lnTo>
                    <a:pt x="6419" y="10058"/>
                  </a:lnTo>
                  <a:lnTo>
                    <a:pt x="5560" y="10149"/>
                  </a:lnTo>
                  <a:lnTo>
                    <a:pt x="4837" y="10217"/>
                  </a:lnTo>
                  <a:lnTo>
                    <a:pt x="4272" y="10217"/>
                  </a:lnTo>
                  <a:lnTo>
                    <a:pt x="4068" y="10194"/>
                  </a:lnTo>
                  <a:lnTo>
                    <a:pt x="3887" y="10171"/>
                  </a:lnTo>
                  <a:lnTo>
                    <a:pt x="3887" y="10171"/>
                  </a:lnTo>
                  <a:lnTo>
                    <a:pt x="3752" y="10104"/>
                  </a:lnTo>
                  <a:lnTo>
                    <a:pt x="3616" y="10013"/>
                  </a:lnTo>
                  <a:lnTo>
                    <a:pt x="3458" y="9878"/>
                  </a:lnTo>
                  <a:lnTo>
                    <a:pt x="3300" y="9719"/>
                  </a:lnTo>
                  <a:lnTo>
                    <a:pt x="3142" y="9516"/>
                  </a:lnTo>
                  <a:lnTo>
                    <a:pt x="2983" y="9290"/>
                  </a:lnTo>
                  <a:lnTo>
                    <a:pt x="2667" y="8793"/>
                  </a:lnTo>
                  <a:lnTo>
                    <a:pt x="2351" y="8205"/>
                  </a:lnTo>
                  <a:lnTo>
                    <a:pt x="2012" y="7550"/>
                  </a:lnTo>
                  <a:lnTo>
                    <a:pt x="1695" y="6872"/>
                  </a:lnTo>
                  <a:lnTo>
                    <a:pt x="1401" y="6193"/>
                  </a:lnTo>
                  <a:lnTo>
                    <a:pt x="859" y="4837"/>
                  </a:lnTo>
                  <a:lnTo>
                    <a:pt x="407" y="3662"/>
                  </a:lnTo>
                  <a:lnTo>
                    <a:pt x="0" y="2532"/>
                  </a:lnTo>
                  <a:lnTo>
                    <a:pt x="370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1" name="Google Shape;1678;p16">
              <a:extLst>
                <a:ext uri="{FF2B5EF4-FFF2-40B4-BE49-F238E27FC236}">
                  <a16:creationId xmlns:a16="http://schemas.microsoft.com/office/drawing/2014/main" id="{595CC370-EA7F-A55B-8BF7-2C2826019CCE}"/>
                </a:ext>
              </a:extLst>
            </p:cNvPr>
            <p:cNvSpPr/>
            <p:nvPr/>
          </p:nvSpPr>
          <p:spPr>
            <a:xfrm>
              <a:off x="5837625" y="2110225"/>
              <a:ext cx="432825" cy="255425"/>
            </a:xfrm>
            <a:custGeom>
              <a:avLst/>
              <a:gdLst/>
              <a:ahLst/>
              <a:cxnLst/>
              <a:rect l="l" t="t" r="r" b="b"/>
              <a:pathLst>
                <a:path w="17313" h="10217" extrusionOk="0">
                  <a:moveTo>
                    <a:pt x="2871" y="1"/>
                  </a:moveTo>
                  <a:lnTo>
                    <a:pt x="972" y="1289"/>
                  </a:lnTo>
                  <a:lnTo>
                    <a:pt x="746" y="2193"/>
                  </a:lnTo>
                  <a:lnTo>
                    <a:pt x="498" y="3074"/>
                  </a:lnTo>
                  <a:lnTo>
                    <a:pt x="249" y="3956"/>
                  </a:lnTo>
                  <a:lnTo>
                    <a:pt x="0" y="4815"/>
                  </a:lnTo>
                  <a:lnTo>
                    <a:pt x="339" y="5628"/>
                  </a:lnTo>
                  <a:lnTo>
                    <a:pt x="701" y="6510"/>
                  </a:lnTo>
                  <a:lnTo>
                    <a:pt x="1085" y="7369"/>
                  </a:lnTo>
                  <a:lnTo>
                    <a:pt x="1492" y="8182"/>
                  </a:lnTo>
                  <a:lnTo>
                    <a:pt x="1899" y="8906"/>
                  </a:lnTo>
                  <a:lnTo>
                    <a:pt x="2102" y="9222"/>
                  </a:lnTo>
                  <a:lnTo>
                    <a:pt x="2306" y="9516"/>
                  </a:lnTo>
                  <a:lnTo>
                    <a:pt x="2509" y="9742"/>
                  </a:lnTo>
                  <a:lnTo>
                    <a:pt x="2690" y="9945"/>
                  </a:lnTo>
                  <a:lnTo>
                    <a:pt x="2871" y="10081"/>
                  </a:lnTo>
                  <a:lnTo>
                    <a:pt x="3051" y="10171"/>
                  </a:lnTo>
                  <a:lnTo>
                    <a:pt x="3300" y="10217"/>
                  </a:lnTo>
                  <a:lnTo>
                    <a:pt x="3617" y="10217"/>
                  </a:lnTo>
                  <a:lnTo>
                    <a:pt x="4182" y="10194"/>
                  </a:lnTo>
                  <a:lnTo>
                    <a:pt x="4882" y="10126"/>
                  </a:lnTo>
                  <a:lnTo>
                    <a:pt x="5673" y="10036"/>
                  </a:lnTo>
                  <a:lnTo>
                    <a:pt x="6555" y="9900"/>
                  </a:lnTo>
                  <a:lnTo>
                    <a:pt x="8476" y="9584"/>
                  </a:lnTo>
                  <a:lnTo>
                    <a:pt x="10465" y="9199"/>
                  </a:lnTo>
                  <a:lnTo>
                    <a:pt x="12341" y="8838"/>
                  </a:lnTo>
                  <a:lnTo>
                    <a:pt x="13945" y="8499"/>
                  </a:lnTo>
                  <a:lnTo>
                    <a:pt x="15121" y="8250"/>
                  </a:lnTo>
                  <a:lnTo>
                    <a:pt x="15640" y="8160"/>
                  </a:lnTo>
                  <a:lnTo>
                    <a:pt x="15731" y="8137"/>
                  </a:lnTo>
                  <a:lnTo>
                    <a:pt x="15844" y="8069"/>
                  </a:lnTo>
                  <a:lnTo>
                    <a:pt x="15957" y="7979"/>
                  </a:lnTo>
                  <a:lnTo>
                    <a:pt x="16092" y="7866"/>
                  </a:lnTo>
                  <a:lnTo>
                    <a:pt x="16364" y="7550"/>
                  </a:lnTo>
                  <a:lnTo>
                    <a:pt x="16658" y="7165"/>
                  </a:lnTo>
                  <a:lnTo>
                    <a:pt x="16906" y="6781"/>
                  </a:lnTo>
                  <a:lnTo>
                    <a:pt x="17110" y="6397"/>
                  </a:lnTo>
                  <a:lnTo>
                    <a:pt x="17200" y="6193"/>
                  </a:lnTo>
                  <a:lnTo>
                    <a:pt x="17268" y="6035"/>
                  </a:lnTo>
                  <a:lnTo>
                    <a:pt x="17313" y="5877"/>
                  </a:lnTo>
                  <a:lnTo>
                    <a:pt x="17313" y="5741"/>
                  </a:lnTo>
                  <a:lnTo>
                    <a:pt x="17313" y="5651"/>
                  </a:lnTo>
                  <a:lnTo>
                    <a:pt x="17268" y="5583"/>
                  </a:lnTo>
                  <a:lnTo>
                    <a:pt x="17200" y="5561"/>
                  </a:lnTo>
                  <a:lnTo>
                    <a:pt x="17064" y="5538"/>
                  </a:lnTo>
                  <a:lnTo>
                    <a:pt x="16612" y="5515"/>
                  </a:lnTo>
                  <a:lnTo>
                    <a:pt x="16047" y="5515"/>
                  </a:lnTo>
                  <a:lnTo>
                    <a:pt x="15369" y="5561"/>
                  </a:lnTo>
                  <a:lnTo>
                    <a:pt x="13674" y="5674"/>
                  </a:lnTo>
                  <a:lnTo>
                    <a:pt x="11708" y="5832"/>
                  </a:lnTo>
                  <a:lnTo>
                    <a:pt x="9651" y="6013"/>
                  </a:lnTo>
                  <a:lnTo>
                    <a:pt x="5967" y="6374"/>
                  </a:lnTo>
                  <a:lnTo>
                    <a:pt x="4679" y="6487"/>
                  </a:lnTo>
                  <a:lnTo>
                    <a:pt x="4001" y="6533"/>
                  </a:lnTo>
                  <a:lnTo>
                    <a:pt x="3978" y="6533"/>
                  </a:lnTo>
                  <a:lnTo>
                    <a:pt x="3910" y="6510"/>
                  </a:lnTo>
                  <a:lnTo>
                    <a:pt x="3865" y="6465"/>
                  </a:lnTo>
                  <a:lnTo>
                    <a:pt x="3797" y="6397"/>
                  </a:lnTo>
                  <a:lnTo>
                    <a:pt x="3752" y="6306"/>
                  </a:lnTo>
                  <a:lnTo>
                    <a:pt x="3639" y="6058"/>
                  </a:lnTo>
                  <a:lnTo>
                    <a:pt x="3571" y="5719"/>
                  </a:lnTo>
                  <a:lnTo>
                    <a:pt x="3503" y="5335"/>
                  </a:lnTo>
                  <a:lnTo>
                    <a:pt x="3436" y="4883"/>
                  </a:lnTo>
                  <a:lnTo>
                    <a:pt x="3345" y="3866"/>
                  </a:lnTo>
                  <a:lnTo>
                    <a:pt x="3255" y="2781"/>
                  </a:lnTo>
                  <a:lnTo>
                    <a:pt x="3164" y="1696"/>
                  </a:lnTo>
                  <a:lnTo>
                    <a:pt x="3119" y="1199"/>
                  </a:lnTo>
                  <a:lnTo>
                    <a:pt x="3051" y="747"/>
                  </a:lnTo>
                  <a:lnTo>
                    <a:pt x="2961" y="340"/>
                  </a:lnTo>
                  <a:lnTo>
                    <a:pt x="2871" y="1"/>
                  </a:lnTo>
                  <a:close/>
                </a:path>
              </a:pathLst>
            </a:custGeom>
            <a:solidFill>
              <a:srgbClr val="C1352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2" name="Google Shape;1679;p16">
              <a:extLst>
                <a:ext uri="{FF2B5EF4-FFF2-40B4-BE49-F238E27FC236}">
                  <a16:creationId xmlns:a16="http://schemas.microsoft.com/office/drawing/2014/main" id="{D69D2E35-F225-A9F1-FCAF-EF3A48944F6F}"/>
                </a:ext>
              </a:extLst>
            </p:cNvPr>
            <p:cNvSpPr/>
            <p:nvPr/>
          </p:nvSpPr>
          <p:spPr>
            <a:xfrm>
              <a:off x="5837625" y="2110225"/>
              <a:ext cx="432825" cy="255425"/>
            </a:xfrm>
            <a:custGeom>
              <a:avLst/>
              <a:gdLst/>
              <a:ahLst/>
              <a:cxnLst/>
              <a:rect l="l" t="t" r="r" b="b"/>
              <a:pathLst>
                <a:path w="17313" h="10217" fill="none" extrusionOk="0">
                  <a:moveTo>
                    <a:pt x="2871" y="1"/>
                  </a:moveTo>
                  <a:lnTo>
                    <a:pt x="972" y="1289"/>
                  </a:lnTo>
                  <a:lnTo>
                    <a:pt x="972" y="1289"/>
                  </a:lnTo>
                  <a:lnTo>
                    <a:pt x="746" y="2193"/>
                  </a:lnTo>
                  <a:lnTo>
                    <a:pt x="498" y="3074"/>
                  </a:lnTo>
                  <a:lnTo>
                    <a:pt x="249" y="3956"/>
                  </a:lnTo>
                  <a:lnTo>
                    <a:pt x="0" y="4815"/>
                  </a:lnTo>
                  <a:lnTo>
                    <a:pt x="0" y="4815"/>
                  </a:lnTo>
                  <a:lnTo>
                    <a:pt x="339" y="5628"/>
                  </a:lnTo>
                  <a:lnTo>
                    <a:pt x="701" y="6510"/>
                  </a:lnTo>
                  <a:lnTo>
                    <a:pt x="1085" y="7369"/>
                  </a:lnTo>
                  <a:lnTo>
                    <a:pt x="1492" y="8182"/>
                  </a:lnTo>
                  <a:lnTo>
                    <a:pt x="1899" y="8906"/>
                  </a:lnTo>
                  <a:lnTo>
                    <a:pt x="2102" y="9222"/>
                  </a:lnTo>
                  <a:lnTo>
                    <a:pt x="2306" y="9516"/>
                  </a:lnTo>
                  <a:lnTo>
                    <a:pt x="2509" y="9742"/>
                  </a:lnTo>
                  <a:lnTo>
                    <a:pt x="2690" y="9945"/>
                  </a:lnTo>
                  <a:lnTo>
                    <a:pt x="2871" y="10081"/>
                  </a:lnTo>
                  <a:lnTo>
                    <a:pt x="3051" y="10171"/>
                  </a:lnTo>
                  <a:lnTo>
                    <a:pt x="3051" y="10171"/>
                  </a:lnTo>
                  <a:lnTo>
                    <a:pt x="3300" y="10217"/>
                  </a:lnTo>
                  <a:lnTo>
                    <a:pt x="3617" y="10217"/>
                  </a:lnTo>
                  <a:lnTo>
                    <a:pt x="3617" y="10217"/>
                  </a:lnTo>
                  <a:lnTo>
                    <a:pt x="4182" y="10194"/>
                  </a:lnTo>
                  <a:lnTo>
                    <a:pt x="4882" y="10126"/>
                  </a:lnTo>
                  <a:lnTo>
                    <a:pt x="5673" y="10036"/>
                  </a:lnTo>
                  <a:lnTo>
                    <a:pt x="6555" y="9900"/>
                  </a:lnTo>
                  <a:lnTo>
                    <a:pt x="8476" y="9584"/>
                  </a:lnTo>
                  <a:lnTo>
                    <a:pt x="10465" y="9199"/>
                  </a:lnTo>
                  <a:lnTo>
                    <a:pt x="12341" y="8838"/>
                  </a:lnTo>
                  <a:lnTo>
                    <a:pt x="13945" y="8499"/>
                  </a:lnTo>
                  <a:lnTo>
                    <a:pt x="15121" y="8250"/>
                  </a:lnTo>
                  <a:lnTo>
                    <a:pt x="15640" y="8160"/>
                  </a:lnTo>
                  <a:lnTo>
                    <a:pt x="15640" y="8160"/>
                  </a:lnTo>
                  <a:lnTo>
                    <a:pt x="15731" y="8137"/>
                  </a:lnTo>
                  <a:lnTo>
                    <a:pt x="15844" y="8069"/>
                  </a:lnTo>
                  <a:lnTo>
                    <a:pt x="15957" y="7979"/>
                  </a:lnTo>
                  <a:lnTo>
                    <a:pt x="16092" y="7866"/>
                  </a:lnTo>
                  <a:lnTo>
                    <a:pt x="16364" y="7550"/>
                  </a:lnTo>
                  <a:lnTo>
                    <a:pt x="16658" y="7165"/>
                  </a:lnTo>
                  <a:lnTo>
                    <a:pt x="16906" y="6781"/>
                  </a:lnTo>
                  <a:lnTo>
                    <a:pt x="17110" y="6397"/>
                  </a:lnTo>
                  <a:lnTo>
                    <a:pt x="17200" y="6193"/>
                  </a:lnTo>
                  <a:lnTo>
                    <a:pt x="17268" y="6035"/>
                  </a:lnTo>
                  <a:lnTo>
                    <a:pt x="17313" y="5877"/>
                  </a:lnTo>
                  <a:lnTo>
                    <a:pt x="17313" y="5741"/>
                  </a:lnTo>
                  <a:lnTo>
                    <a:pt x="17313" y="5741"/>
                  </a:lnTo>
                  <a:lnTo>
                    <a:pt x="17313" y="5651"/>
                  </a:lnTo>
                  <a:lnTo>
                    <a:pt x="17268" y="5583"/>
                  </a:lnTo>
                  <a:lnTo>
                    <a:pt x="17268" y="5583"/>
                  </a:lnTo>
                  <a:lnTo>
                    <a:pt x="17200" y="5561"/>
                  </a:lnTo>
                  <a:lnTo>
                    <a:pt x="17064" y="5538"/>
                  </a:lnTo>
                  <a:lnTo>
                    <a:pt x="16612" y="5515"/>
                  </a:lnTo>
                  <a:lnTo>
                    <a:pt x="16612" y="5515"/>
                  </a:lnTo>
                  <a:lnTo>
                    <a:pt x="16047" y="5515"/>
                  </a:lnTo>
                  <a:lnTo>
                    <a:pt x="15369" y="5561"/>
                  </a:lnTo>
                  <a:lnTo>
                    <a:pt x="13674" y="5674"/>
                  </a:lnTo>
                  <a:lnTo>
                    <a:pt x="11708" y="5832"/>
                  </a:lnTo>
                  <a:lnTo>
                    <a:pt x="9651" y="6013"/>
                  </a:lnTo>
                  <a:lnTo>
                    <a:pt x="9651" y="6013"/>
                  </a:lnTo>
                  <a:lnTo>
                    <a:pt x="5967" y="6374"/>
                  </a:lnTo>
                  <a:lnTo>
                    <a:pt x="4679" y="6487"/>
                  </a:lnTo>
                  <a:lnTo>
                    <a:pt x="4001" y="6533"/>
                  </a:lnTo>
                  <a:lnTo>
                    <a:pt x="4001" y="6533"/>
                  </a:lnTo>
                  <a:lnTo>
                    <a:pt x="3978" y="6533"/>
                  </a:lnTo>
                  <a:lnTo>
                    <a:pt x="3978" y="6533"/>
                  </a:lnTo>
                  <a:lnTo>
                    <a:pt x="3910" y="6510"/>
                  </a:lnTo>
                  <a:lnTo>
                    <a:pt x="3865" y="6465"/>
                  </a:lnTo>
                  <a:lnTo>
                    <a:pt x="3797" y="6397"/>
                  </a:lnTo>
                  <a:lnTo>
                    <a:pt x="3752" y="6306"/>
                  </a:lnTo>
                  <a:lnTo>
                    <a:pt x="3639" y="6058"/>
                  </a:lnTo>
                  <a:lnTo>
                    <a:pt x="3571" y="5719"/>
                  </a:lnTo>
                  <a:lnTo>
                    <a:pt x="3503" y="5335"/>
                  </a:lnTo>
                  <a:lnTo>
                    <a:pt x="3436" y="4883"/>
                  </a:lnTo>
                  <a:lnTo>
                    <a:pt x="3345" y="3866"/>
                  </a:lnTo>
                  <a:lnTo>
                    <a:pt x="3255" y="2781"/>
                  </a:lnTo>
                  <a:lnTo>
                    <a:pt x="3164" y="1696"/>
                  </a:lnTo>
                  <a:lnTo>
                    <a:pt x="3119" y="1199"/>
                  </a:lnTo>
                  <a:lnTo>
                    <a:pt x="3051" y="747"/>
                  </a:lnTo>
                  <a:lnTo>
                    <a:pt x="2961" y="340"/>
                  </a:lnTo>
                  <a:lnTo>
                    <a:pt x="287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3" name="Google Shape;1680;p16">
              <a:extLst>
                <a:ext uri="{FF2B5EF4-FFF2-40B4-BE49-F238E27FC236}">
                  <a16:creationId xmlns:a16="http://schemas.microsoft.com/office/drawing/2014/main" id="{2EF2D726-380F-726F-5BCD-467B725313B3}"/>
                </a:ext>
              </a:extLst>
            </p:cNvPr>
            <p:cNvSpPr/>
            <p:nvPr/>
          </p:nvSpPr>
          <p:spPr>
            <a:xfrm>
              <a:off x="5450000" y="2546425"/>
              <a:ext cx="520425" cy="1021625"/>
            </a:xfrm>
            <a:custGeom>
              <a:avLst/>
              <a:gdLst/>
              <a:ahLst/>
              <a:cxnLst/>
              <a:rect l="l" t="t" r="r" b="b"/>
              <a:pathLst>
                <a:path w="20817" h="40865" extrusionOk="0">
                  <a:moveTo>
                    <a:pt x="679" y="1"/>
                  </a:moveTo>
                  <a:lnTo>
                    <a:pt x="543" y="24"/>
                  </a:lnTo>
                  <a:lnTo>
                    <a:pt x="408" y="69"/>
                  </a:lnTo>
                  <a:lnTo>
                    <a:pt x="295" y="137"/>
                  </a:lnTo>
                  <a:lnTo>
                    <a:pt x="181" y="250"/>
                  </a:lnTo>
                  <a:lnTo>
                    <a:pt x="91" y="363"/>
                  </a:lnTo>
                  <a:lnTo>
                    <a:pt x="46" y="476"/>
                  </a:lnTo>
                  <a:lnTo>
                    <a:pt x="1" y="611"/>
                  </a:lnTo>
                  <a:lnTo>
                    <a:pt x="1" y="747"/>
                  </a:lnTo>
                  <a:lnTo>
                    <a:pt x="23" y="905"/>
                  </a:lnTo>
                  <a:lnTo>
                    <a:pt x="68" y="1041"/>
                  </a:lnTo>
                  <a:lnTo>
                    <a:pt x="19438" y="40457"/>
                  </a:lnTo>
                  <a:lnTo>
                    <a:pt x="19506" y="40593"/>
                  </a:lnTo>
                  <a:lnTo>
                    <a:pt x="19619" y="40683"/>
                  </a:lnTo>
                  <a:lnTo>
                    <a:pt x="19732" y="40774"/>
                  </a:lnTo>
                  <a:lnTo>
                    <a:pt x="19845" y="40842"/>
                  </a:lnTo>
                  <a:lnTo>
                    <a:pt x="19980" y="40864"/>
                  </a:lnTo>
                  <a:lnTo>
                    <a:pt x="20139" y="40864"/>
                  </a:lnTo>
                  <a:lnTo>
                    <a:pt x="20274" y="40842"/>
                  </a:lnTo>
                  <a:lnTo>
                    <a:pt x="20410" y="40796"/>
                  </a:lnTo>
                  <a:lnTo>
                    <a:pt x="20523" y="40729"/>
                  </a:lnTo>
                  <a:lnTo>
                    <a:pt x="20636" y="40616"/>
                  </a:lnTo>
                  <a:lnTo>
                    <a:pt x="20704" y="40503"/>
                  </a:lnTo>
                  <a:lnTo>
                    <a:pt x="20771" y="40390"/>
                  </a:lnTo>
                  <a:lnTo>
                    <a:pt x="20794" y="40254"/>
                  </a:lnTo>
                  <a:lnTo>
                    <a:pt x="20817" y="40096"/>
                  </a:lnTo>
                  <a:lnTo>
                    <a:pt x="20794" y="39960"/>
                  </a:lnTo>
                  <a:lnTo>
                    <a:pt x="20726" y="39825"/>
                  </a:lnTo>
                  <a:lnTo>
                    <a:pt x="1379" y="408"/>
                  </a:lnTo>
                  <a:lnTo>
                    <a:pt x="1289" y="272"/>
                  </a:lnTo>
                  <a:lnTo>
                    <a:pt x="1199" y="159"/>
                  </a:lnTo>
                  <a:lnTo>
                    <a:pt x="1086" y="91"/>
                  </a:lnTo>
                  <a:lnTo>
                    <a:pt x="973" y="24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4" name="Google Shape;1681;p16">
              <a:extLst>
                <a:ext uri="{FF2B5EF4-FFF2-40B4-BE49-F238E27FC236}">
                  <a16:creationId xmlns:a16="http://schemas.microsoft.com/office/drawing/2014/main" id="{C6B2BBD9-526F-9298-4335-5487BFF0B044}"/>
                </a:ext>
              </a:extLst>
            </p:cNvPr>
            <p:cNvSpPr/>
            <p:nvPr/>
          </p:nvSpPr>
          <p:spPr>
            <a:xfrm>
              <a:off x="5707650" y="1873475"/>
              <a:ext cx="207975" cy="600100"/>
            </a:xfrm>
            <a:custGeom>
              <a:avLst/>
              <a:gdLst/>
              <a:ahLst/>
              <a:cxnLst/>
              <a:rect l="l" t="t" r="r" b="b"/>
              <a:pathLst>
                <a:path w="8319" h="24004" extrusionOk="0">
                  <a:moveTo>
                    <a:pt x="6940" y="1"/>
                  </a:moveTo>
                  <a:lnTo>
                    <a:pt x="6872" y="23"/>
                  </a:lnTo>
                  <a:lnTo>
                    <a:pt x="6804" y="46"/>
                  </a:lnTo>
                  <a:lnTo>
                    <a:pt x="6759" y="91"/>
                  </a:lnTo>
                  <a:lnTo>
                    <a:pt x="6736" y="182"/>
                  </a:lnTo>
                  <a:lnTo>
                    <a:pt x="6714" y="272"/>
                  </a:lnTo>
                  <a:lnTo>
                    <a:pt x="6691" y="408"/>
                  </a:lnTo>
                  <a:lnTo>
                    <a:pt x="6714" y="566"/>
                  </a:lnTo>
                  <a:lnTo>
                    <a:pt x="6759" y="747"/>
                  </a:lnTo>
                  <a:lnTo>
                    <a:pt x="6759" y="905"/>
                  </a:lnTo>
                  <a:lnTo>
                    <a:pt x="6714" y="1199"/>
                  </a:lnTo>
                  <a:lnTo>
                    <a:pt x="6646" y="1583"/>
                  </a:lnTo>
                  <a:lnTo>
                    <a:pt x="6533" y="2057"/>
                  </a:lnTo>
                  <a:lnTo>
                    <a:pt x="6216" y="3278"/>
                  </a:lnTo>
                  <a:lnTo>
                    <a:pt x="5810" y="4792"/>
                  </a:lnTo>
                  <a:lnTo>
                    <a:pt x="5312" y="6533"/>
                  </a:lnTo>
                  <a:lnTo>
                    <a:pt x="4725" y="8454"/>
                  </a:lnTo>
                  <a:lnTo>
                    <a:pt x="3482" y="12567"/>
                  </a:lnTo>
                  <a:lnTo>
                    <a:pt x="2193" y="16635"/>
                  </a:lnTo>
                  <a:lnTo>
                    <a:pt x="1086" y="20139"/>
                  </a:lnTo>
                  <a:lnTo>
                    <a:pt x="1" y="23551"/>
                  </a:lnTo>
                  <a:lnTo>
                    <a:pt x="204" y="23664"/>
                  </a:lnTo>
                  <a:lnTo>
                    <a:pt x="453" y="23755"/>
                  </a:lnTo>
                  <a:lnTo>
                    <a:pt x="747" y="23868"/>
                  </a:lnTo>
                  <a:lnTo>
                    <a:pt x="1108" y="23958"/>
                  </a:lnTo>
                  <a:lnTo>
                    <a:pt x="1312" y="23981"/>
                  </a:lnTo>
                  <a:lnTo>
                    <a:pt x="1515" y="24003"/>
                  </a:lnTo>
                  <a:lnTo>
                    <a:pt x="1741" y="24003"/>
                  </a:lnTo>
                  <a:lnTo>
                    <a:pt x="1945" y="23981"/>
                  </a:lnTo>
                  <a:lnTo>
                    <a:pt x="2171" y="23913"/>
                  </a:lnTo>
                  <a:lnTo>
                    <a:pt x="2397" y="23845"/>
                  </a:lnTo>
                  <a:lnTo>
                    <a:pt x="2510" y="23777"/>
                  </a:lnTo>
                  <a:lnTo>
                    <a:pt x="2645" y="23642"/>
                  </a:lnTo>
                  <a:lnTo>
                    <a:pt x="2781" y="23484"/>
                  </a:lnTo>
                  <a:lnTo>
                    <a:pt x="2939" y="23258"/>
                  </a:lnTo>
                  <a:lnTo>
                    <a:pt x="3278" y="22693"/>
                  </a:lnTo>
                  <a:lnTo>
                    <a:pt x="3640" y="21969"/>
                  </a:lnTo>
                  <a:lnTo>
                    <a:pt x="4047" y="21110"/>
                  </a:lnTo>
                  <a:lnTo>
                    <a:pt x="4453" y="20161"/>
                  </a:lnTo>
                  <a:lnTo>
                    <a:pt x="4883" y="19099"/>
                  </a:lnTo>
                  <a:lnTo>
                    <a:pt x="5312" y="17991"/>
                  </a:lnTo>
                  <a:lnTo>
                    <a:pt x="5742" y="16861"/>
                  </a:lnTo>
                  <a:lnTo>
                    <a:pt x="6171" y="15686"/>
                  </a:lnTo>
                  <a:lnTo>
                    <a:pt x="6940" y="13403"/>
                  </a:lnTo>
                  <a:lnTo>
                    <a:pt x="7595" y="11347"/>
                  </a:lnTo>
                  <a:lnTo>
                    <a:pt x="7866" y="10443"/>
                  </a:lnTo>
                  <a:lnTo>
                    <a:pt x="8092" y="9652"/>
                  </a:lnTo>
                  <a:lnTo>
                    <a:pt x="8160" y="9267"/>
                  </a:lnTo>
                  <a:lnTo>
                    <a:pt x="8228" y="8770"/>
                  </a:lnTo>
                  <a:lnTo>
                    <a:pt x="8273" y="8228"/>
                  </a:lnTo>
                  <a:lnTo>
                    <a:pt x="8318" y="7595"/>
                  </a:lnTo>
                  <a:lnTo>
                    <a:pt x="8318" y="6939"/>
                  </a:lnTo>
                  <a:lnTo>
                    <a:pt x="8318" y="6239"/>
                  </a:lnTo>
                  <a:lnTo>
                    <a:pt x="8296" y="5515"/>
                  </a:lnTo>
                  <a:lnTo>
                    <a:pt x="8273" y="4792"/>
                  </a:lnTo>
                  <a:lnTo>
                    <a:pt x="8205" y="4046"/>
                  </a:lnTo>
                  <a:lnTo>
                    <a:pt x="8137" y="3346"/>
                  </a:lnTo>
                  <a:lnTo>
                    <a:pt x="8047" y="2645"/>
                  </a:lnTo>
                  <a:lnTo>
                    <a:pt x="7934" y="2012"/>
                  </a:lnTo>
                  <a:lnTo>
                    <a:pt x="7821" y="1425"/>
                  </a:lnTo>
                  <a:lnTo>
                    <a:pt x="7663" y="905"/>
                  </a:lnTo>
                  <a:lnTo>
                    <a:pt x="7505" y="453"/>
                  </a:lnTo>
                  <a:lnTo>
                    <a:pt x="7414" y="272"/>
                  </a:lnTo>
                  <a:lnTo>
                    <a:pt x="7324" y="114"/>
                  </a:lnTo>
                  <a:lnTo>
                    <a:pt x="7188" y="46"/>
                  </a:lnTo>
                  <a:lnTo>
                    <a:pt x="7075" y="1"/>
                  </a:lnTo>
                  <a:close/>
                </a:path>
              </a:pathLst>
            </a:custGeom>
            <a:solidFill>
              <a:srgbClr val="DE36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5" name="Google Shape;1682;p16">
              <a:extLst>
                <a:ext uri="{FF2B5EF4-FFF2-40B4-BE49-F238E27FC236}">
                  <a16:creationId xmlns:a16="http://schemas.microsoft.com/office/drawing/2014/main" id="{39772D09-6D1F-B7B3-8558-A5F59E655013}"/>
                </a:ext>
              </a:extLst>
            </p:cNvPr>
            <p:cNvSpPr/>
            <p:nvPr/>
          </p:nvSpPr>
          <p:spPr>
            <a:xfrm>
              <a:off x="5363550" y="2516500"/>
              <a:ext cx="502900" cy="217550"/>
            </a:xfrm>
            <a:custGeom>
              <a:avLst/>
              <a:gdLst/>
              <a:ahLst/>
              <a:cxnLst/>
              <a:rect l="l" t="t" r="r" b="b"/>
              <a:pathLst>
                <a:path w="20116" h="8702" extrusionOk="0">
                  <a:moveTo>
                    <a:pt x="1402" y="0"/>
                  </a:moveTo>
                  <a:lnTo>
                    <a:pt x="1266" y="23"/>
                  </a:lnTo>
                  <a:lnTo>
                    <a:pt x="1108" y="68"/>
                  </a:lnTo>
                  <a:lnTo>
                    <a:pt x="973" y="113"/>
                  </a:lnTo>
                  <a:lnTo>
                    <a:pt x="837" y="203"/>
                  </a:lnTo>
                  <a:lnTo>
                    <a:pt x="701" y="317"/>
                  </a:lnTo>
                  <a:lnTo>
                    <a:pt x="566" y="452"/>
                  </a:lnTo>
                  <a:lnTo>
                    <a:pt x="430" y="610"/>
                  </a:lnTo>
                  <a:lnTo>
                    <a:pt x="340" y="769"/>
                  </a:lnTo>
                  <a:lnTo>
                    <a:pt x="249" y="927"/>
                  </a:lnTo>
                  <a:lnTo>
                    <a:pt x="159" y="1130"/>
                  </a:lnTo>
                  <a:lnTo>
                    <a:pt x="114" y="1334"/>
                  </a:lnTo>
                  <a:lnTo>
                    <a:pt x="68" y="1537"/>
                  </a:lnTo>
                  <a:lnTo>
                    <a:pt x="23" y="1763"/>
                  </a:lnTo>
                  <a:lnTo>
                    <a:pt x="1" y="2260"/>
                  </a:lnTo>
                  <a:lnTo>
                    <a:pt x="1" y="2780"/>
                  </a:lnTo>
                  <a:lnTo>
                    <a:pt x="68" y="3300"/>
                  </a:lnTo>
                  <a:lnTo>
                    <a:pt x="181" y="3842"/>
                  </a:lnTo>
                  <a:lnTo>
                    <a:pt x="317" y="4407"/>
                  </a:lnTo>
                  <a:lnTo>
                    <a:pt x="520" y="4927"/>
                  </a:lnTo>
                  <a:lnTo>
                    <a:pt x="747" y="5447"/>
                  </a:lnTo>
                  <a:lnTo>
                    <a:pt x="1018" y="5944"/>
                  </a:lnTo>
                  <a:lnTo>
                    <a:pt x="1312" y="6396"/>
                  </a:lnTo>
                  <a:lnTo>
                    <a:pt x="1470" y="6600"/>
                  </a:lnTo>
                  <a:lnTo>
                    <a:pt x="1628" y="6780"/>
                  </a:lnTo>
                  <a:lnTo>
                    <a:pt x="1809" y="6961"/>
                  </a:lnTo>
                  <a:lnTo>
                    <a:pt x="1990" y="7120"/>
                  </a:lnTo>
                  <a:lnTo>
                    <a:pt x="2170" y="7278"/>
                  </a:lnTo>
                  <a:lnTo>
                    <a:pt x="2374" y="7391"/>
                  </a:lnTo>
                  <a:lnTo>
                    <a:pt x="2555" y="7504"/>
                  </a:lnTo>
                  <a:lnTo>
                    <a:pt x="2781" y="7594"/>
                  </a:lnTo>
                  <a:lnTo>
                    <a:pt x="3007" y="7662"/>
                  </a:lnTo>
                  <a:lnTo>
                    <a:pt x="3300" y="7730"/>
                  </a:lnTo>
                  <a:lnTo>
                    <a:pt x="4046" y="7888"/>
                  </a:lnTo>
                  <a:lnTo>
                    <a:pt x="4973" y="8046"/>
                  </a:lnTo>
                  <a:lnTo>
                    <a:pt x="6035" y="8182"/>
                  </a:lnTo>
                  <a:lnTo>
                    <a:pt x="7233" y="8295"/>
                  </a:lnTo>
                  <a:lnTo>
                    <a:pt x="8521" y="8430"/>
                  </a:lnTo>
                  <a:lnTo>
                    <a:pt x="9855" y="8521"/>
                  </a:lnTo>
                  <a:lnTo>
                    <a:pt x="11211" y="8611"/>
                  </a:lnTo>
                  <a:lnTo>
                    <a:pt x="12544" y="8656"/>
                  </a:lnTo>
                  <a:lnTo>
                    <a:pt x="13855" y="8702"/>
                  </a:lnTo>
                  <a:lnTo>
                    <a:pt x="15098" y="8702"/>
                  </a:lnTo>
                  <a:lnTo>
                    <a:pt x="16228" y="8656"/>
                  </a:lnTo>
                  <a:lnTo>
                    <a:pt x="17223" y="8611"/>
                  </a:lnTo>
                  <a:lnTo>
                    <a:pt x="17652" y="8543"/>
                  </a:lnTo>
                  <a:lnTo>
                    <a:pt x="18059" y="8498"/>
                  </a:lnTo>
                  <a:lnTo>
                    <a:pt x="18398" y="8430"/>
                  </a:lnTo>
                  <a:lnTo>
                    <a:pt x="18692" y="8340"/>
                  </a:lnTo>
                  <a:lnTo>
                    <a:pt x="18918" y="8250"/>
                  </a:lnTo>
                  <a:lnTo>
                    <a:pt x="19099" y="8159"/>
                  </a:lnTo>
                  <a:lnTo>
                    <a:pt x="19212" y="8046"/>
                  </a:lnTo>
                  <a:lnTo>
                    <a:pt x="19325" y="7911"/>
                  </a:lnTo>
                  <a:lnTo>
                    <a:pt x="19438" y="7775"/>
                  </a:lnTo>
                  <a:lnTo>
                    <a:pt x="19551" y="7617"/>
                  </a:lnTo>
                  <a:lnTo>
                    <a:pt x="19709" y="7300"/>
                  </a:lnTo>
                  <a:lnTo>
                    <a:pt x="19867" y="6916"/>
                  </a:lnTo>
                  <a:lnTo>
                    <a:pt x="19980" y="6509"/>
                  </a:lnTo>
                  <a:lnTo>
                    <a:pt x="20048" y="6080"/>
                  </a:lnTo>
                  <a:lnTo>
                    <a:pt x="20093" y="5650"/>
                  </a:lnTo>
                  <a:lnTo>
                    <a:pt x="20116" y="5198"/>
                  </a:lnTo>
                  <a:lnTo>
                    <a:pt x="20071" y="4769"/>
                  </a:lnTo>
                  <a:lnTo>
                    <a:pt x="20003" y="4340"/>
                  </a:lnTo>
                  <a:lnTo>
                    <a:pt x="19913" y="3933"/>
                  </a:lnTo>
                  <a:lnTo>
                    <a:pt x="19777" y="3548"/>
                  </a:lnTo>
                  <a:lnTo>
                    <a:pt x="19687" y="3390"/>
                  </a:lnTo>
                  <a:lnTo>
                    <a:pt x="19596" y="3209"/>
                  </a:lnTo>
                  <a:lnTo>
                    <a:pt x="19483" y="3051"/>
                  </a:lnTo>
                  <a:lnTo>
                    <a:pt x="19370" y="2916"/>
                  </a:lnTo>
                  <a:lnTo>
                    <a:pt x="19234" y="2803"/>
                  </a:lnTo>
                  <a:lnTo>
                    <a:pt x="19099" y="2690"/>
                  </a:lnTo>
                  <a:lnTo>
                    <a:pt x="18963" y="2577"/>
                  </a:lnTo>
                  <a:lnTo>
                    <a:pt x="18805" y="2509"/>
                  </a:lnTo>
                  <a:lnTo>
                    <a:pt x="18534" y="2396"/>
                  </a:lnTo>
                  <a:lnTo>
                    <a:pt x="18240" y="2305"/>
                  </a:lnTo>
                  <a:lnTo>
                    <a:pt x="17924" y="2215"/>
                  </a:lnTo>
                  <a:lnTo>
                    <a:pt x="17562" y="2147"/>
                  </a:lnTo>
                  <a:lnTo>
                    <a:pt x="16771" y="2034"/>
                  </a:lnTo>
                  <a:lnTo>
                    <a:pt x="15912" y="1966"/>
                  </a:lnTo>
                  <a:lnTo>
                    <a:pt x="14985" y="1921"/>
                  </a:lnTo>
                  <a:lnTo>
                    <a:pt x="13991" y="1899"/>
                  </a:lnTo>
                  <a:lnTo>
                    <a:pt x="11979" y="1899"/>
                  </a:lnTo>
                  <a:lnTo>
                    <a:pt x="9991" y="1966"/>
                  </a:lnTo>
                  <a:lnTo>
                    <a:pt x="8160" y="2034"/>
                  </a:lnTo>
                  <a:lnTo>
                    <a:pt x="7369" y="2057"/>
                  </a:lnTo>
                  <a:lnTo>
                    <a:pt x="6668" y="2057"/>
                  </a:lnTo>
                  <a:lnTo>
                    <a:pt x="6080" y="2034"/>
                  </a:lnTo>
                  <a:lnTo>
                    <a:pt x="5628" y="2012"/>
                  </a:lnTo>
                  <a:lnTo>
                    <a:pt x="5448" y="1966"/>
                  </a:lnTo>
                  <a:lnTo>
                    <a:pt x="5267" y="1921"/>
                  </a:lnTo>
                  <a:lnTo>
                    <a:pt x="4905" y="1786"/>
                  </a:lnTo>
                  <a:lnTo>
                    <a:pt x="4544" y="1627"/>
                  </a:lnTo>
                  <a:lnTo>
                    <a:pt x="4182" y="1424"/>
                  </a:lnTo>
                  <a:lnTo>
                    <a:pt x="3481" y="949"/>
                  </a:lnTo>
                  <a:lnTo>
                    <a:pt x="2803" y="520"/>
                  </a:lnTo>
                  <a:lnTo>
                    <a:pt x="2487" y="317"/>
                  </a:lnTo>
                  <a:lnTo>
                    <a:pt x="2170" y="158"/>
                  </a:lnTo>
                  <a:lnTo>
                    <a:pt x="1854" y="45"/>
                  </a:lnTo>
                  <a:lnTo>
                    <a:pt x="1696" y="23"/>
                  </a:lnTo>
                  <a:lnTo>
                    <a:pt x="1560" y="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6" name="Google Shape;1683;p16">
              <a:extLst>
                <a:ext uri="{FF2B5EF4-FFF2-40B4-BE49-F238E27FC236}">
                  <a16:creationId xmlns:a16="http://schemas.microsoft.com/office/drawing/2014/main" id="{83529EE4-67CB-2C9D-B235-DE4D5CDCBF94}"/>
                </a:ext>
              </a:extLst>
            </p:cNvPr>
            <p:cNvSpPr/>
            <p:nvPr/>
          </p:nvSpPr>
          <p:spPr>
            <a:xfrm>
              <a:off x="3885425" y="2516500"/>
              <a:ext cx="502900" cy="217550"/>
            </a:xfrm>
            <a:custGeom>
              <a:avLst/>
              <a:gdLst/>
              <a:ahLst/>
              <a:cxnLst/>
              <a:rect l="l" t="t" r="r" b="b"/>
              <a:pathLst>
                <a:path w="20116" h="8702" extrusionOk="0">
                  <a:moveTo>
                    <a:pt x="1424" y="0"/>
                  </a:moveTo>
                  <a:lnTo>
                    <a:pt x="1266" y="23"/>
                  </a:lnTo>
                  <a:lnTo>
                    <a:pt x="1130" y="68"/>
                  </a:lnTo>
                  <a:lnTo>
                    <a:pt x="995" y="113"/>
                  </a:lnTo>
                  <a:lnTo>
                    <a:pt x="859" y="203"/>
                  </a:lnTo>
                  <a:lnTo>
                    <a:pt x="724" y="317"/>
                  </a:lnTo>
                  <a:lnTo>
                    <a:pt x="588" y="452"/>
                  </a:lnTo>
                  <a:lnTo>
                    <a:pt x="452" y="610"/>
                  </a:lnTo>
                  <a:lnTo>
                    <a:pt x="339" y="769"/>
                  </a:lnTo>
                  <a:lnTo>
                    <a:pt x="249" y="927"/>
                  </a:lnTo>
                  <a:lnTo>
                    <a:pt x="181" y="1130"/>
                  </a:lnTo>
                  <a:lnTo>
                    <a:pt x="113" y="1334"/>
                  </a:lnTo>
                  <a:lnTo>
                    <a:pt x="68" y="1537"/>
                  </a:lnTo>
                  <a:lnTo>
                    <a:pt x="46" y="1763"/>
                  </a:lnTo>
                  <a:lnTo>
                    <a:pt x="0" y="2260"/>
                  </a:lnTo>
                  <a:lnTo>
                    <a:pt x="23" y="2780"/>
                  </a:lnTo>
                  <a:lnTo>
                    <a:pt x="91" y="3300"/>
                  </a:lnTo>
                  <a:lnTo>
                    <a:pt x="181" y="3842"/>
                  </a:lnTo>
                  <a:lnTo>
                    <a:pt x="339" y="4407"/>
                  </a:lnTo>
                  <a:lnTo>
                    <a:pt x="520" y="4927"/>
                  </a:lnTo>
                  <a:lnTo>
                    <a:pt x="746" y="5447"/>
                  </a:lnTo>
                  <a:lnTo>
                    <a:pt x="1017" y="5944"/>
                  </a:lnTo>
                  <a:lnTo>
                    <a:pt x="1311" y="6396"/>
                  </a:lnTo>
                  <a:lnTo>
                    <a:pt x="1469" y="6600"/>
                  </a:lnTo>
                  <a:lnTo>
                    <a:pt x="1650" y="6780"/>
                  </a:lnTo>
                  <a:lnTo>
                    <a:pt x="1808" y="6961"/>
                  </a:lnTo>
                  <a:lnTo>
                    <a:pt x="1989" y="7120"/>
                  </a:lnTo>
                  <a:lnTo>
                    <a:pt x="2193" y="7278"/>
                  </a:lnTo>
                  <a:lnTo>
                    <a:pt x="2373" y="7391"/>
                  </a:lnTo>
                  <a:lnTo>
                    <a:pt x="2577" y="7504"/>
                  </a:lnTo>
                  <a:lnTo>
                    <a:pt x="2780" y="7594"/>
                  </a:lnTo>
                  <a:lnTo>
                    <a:pt x="3029" y="7662"/>
                  </a:lnTo>
                  <a:lnTo>
                    <a:pt x="3323" y="7730"/>
                  </a:lnTo>
                  <a:lnTo>
                    <a:pt x="4069" y="7888"/>
                  </a:lnTo>
                  <a:lnTo>
                    <a:pt x="4995" y="8046"/>
                  </a:lnTo>
                  <a:lnTo>
                    <a:pt x="6057" y="8182"/>
                  </a:lnTo>
                  <a:lnTo>
                    <a:pt x="7255" y="8295"/>
                  </a:lnTo>
                  <a:lnTo>
                    <a:pt x="8521" y="8430"/>
                  </a:lnTo>
                  <a:lnTo>
                    <a:pt x="9855" y="8521"/>
                  </a:lnTo>
                  <a:lnTo>
                    <a:pt x="11211" y="8611"/>
                  </a:lnTo>
                  <a:lnTo>
                    <a:pt x="12567" y="8656"/>
                  </a:lnTo>
                  <a:lnTo>
                    <a:pt x="13878" y="8702"/>
                  </a:lnTo>
                  <a:lnTo>
                    <a:pt x="15098" y="8702"/>
                  </a:lnTo>
                  <a:lnTo>
                    <a:pt x="16228" y="8656"/>
                  </a:lnTo>
                  <a:lnTo>
                    <a:pt x="17223" y="8611"/>
                  </a:lnTo>
                  <a:lnTo>
                    <a:pt x="17675" y="8543"/>
                  </a:lnTo>
                  <a:lnTo>
                    <a:pt x="18059" y="8498"/>
                  </a:lnTo>
                  <a:lnTo>
                    <a:pt x="18398" y="8430"/>
                  </a:lnTo>
                  <a:lnTo>
                    <a:pt x="18692" y="8340"/>
                  </a:lnTo>
                  <a:lnTo>
                    <a:pt x="18940" y="8250"/>
                  </a:lnTo>
                  <a:lnTo>
                    <a:pt x="19099" y="8159"/>
                  </a:lnTo>
                  <a:lnTo>
                    <a:pt x="19234" y="8046"/>
                  </a:lnTo>
                  <a:lnTo>
                    <a:pt x="19347" y="7911"/>
                  </a:lnTo>
                  <a:lnTo>
                    <a:pt x="19460" y="7775"/>
                  </a:lnTo>
                  <a:lnTo>
                    <a:pt x="19551" y="7617"/>
                  </a:lnTo>
                  <a:lnTo>
                    <a:pt x="19731" y="7300"/>
                  </a:lnTo>
                  <a:lnTo>
                    <a:pt x="19867" y="6916"/>
                  </a:lnTo>
                  <a:lnTo>
                    <a:pt x="19980" y="6509"/>
                  </a:lnTo>
                  <a:lnTo>
                    <a:pt x="20070" y="6080"/>
                  </a:lnTo>
                  <a:lnTo>
                    <a:pt x="20116" y="5650"/>
                  </a:lnTo>
                  <a:lnTo>
                    <a:pt x="20116" y="5198"/>
                  </a:lnTo>
                  <a:lnTo>
                    <a:pt x="20093" y="4769"/>
                  </a:lnTo>
                  <a:lnTo>
                    <a:pt x="20025" y="4340"/>
                  </a:lnTo>
                  <a:lnTo>
                    <a:pt x="19912" y="3933"/>
                  </a:lnTo>
                  <a:lnTo>
                    <a:pt x="19777" y="3548"/>
                  </a:lnTo>
                  <a:lnTo>
                    <a:pt x="19686" y="3390"/>
                  </a:lnTo>
                  <a:lnTo>
                    <a:pt x="19596" y="3209"/>
                  </a:lnTo>
                  <a:lnTo>
                    <a:pt x="19505" y="3051"/>
                  </a:lnTo>
                  <a:lnTo>
                    <a:pt x="19370" y="2916"/>
                  </a:lnTo>
                  <a:lnTo>
                    <a:pt x="19257" y="2803"/>
                  </a:lnTo>
                  <a:lnTo>
                    <a:pt x="19121" y="2690"/>
                  </a:lnTo>
                  <a:lnTo>
                    <a:pt x="18986" y="2577"/>
                  </a:lnTo>
                  <a:lnTo>
                    <a:pt x="18827" y="2509"/>
                  </a:lnTo>
                  <a:lnTo>
                    <a:pt x="18466" y="2373"/>
                  </a:lnTo>
                  <a:lnTo>
                    <a:pt x="18081" y="2260"/>
                  </a:lnTo>
                  <a:lnTo>
                    <a:pt x="17629" y="2170"/>
                  </a:lnTo>
                  <a:lnTo>
                    <a:pt x="17155" y="2079"/>
                  </a:lnTo>
                  <a:lnTo>
                    <a:pt x="16635" y="2012"/>
                  </a:lnTo>
                  <a:lnTo>
                    <a:pt x="16070" y="1966"/>
                  </a:lnTo>
                  <a:lnTo>
                    <a:pt x="14895" y="1921"/>
                  </a:lnTo>
                  <a:lnTo>
                    <a:pt x="13629" y="1899"/>
                  </a:lnTo>
                  <a:lnTo>
                    <a:pt x="12341" y="1899"/>
                  </a:lnTo>
                  <a:lnTo>
                    <a:pt x="11052" y="1944"/>
                  </a:lnTo>
                  <a:lnTo>
                    <a:pt x="9809" y="1966"/>
                  </a:lnTo>
                  <a:lnTo>
                    <a:pt x="8476" y="2012"/>
                  </a:lnTo>
                  <a:lnTo>
                    <a:pt x="7301" y="2057"/>
                  </a:lnTo>
                  <a:lnTo>
                    <a:pt x="6351" y="2057"/>
                  </a:lnTo>
                  <a:lnTo>
                    <a:pt x="5967" y="2034"/>
                  </a:lnTo>
                  <a:lnTo>
                    <a:pt x="5651" y="2012"/>
                  </a:lnTo>
                  <a:lnTo>
                    <a:pt x="5470" y="1966"/>
                  </a:lnTo>
                  <a:lnTo>
                    <a:pt x="5289" y="1921"/>
                  </a:lnTo>
                  <a:lnTo>
                    <a:pt x="4905" y="1786"/>
                  </a:lnTo>
                  <a:lnTo>
                    <a:pt x="4543" y="1627"/>
                  </a:lnTo>
                  <a:lnTo>
                    <a:pt x="4182" y="1424"/>
                  </a:lnTo>
                  <a:lnTo>
                    <a:pt x="3481" y="949"/>
                  </a:lnTo>
                  <a:lnTo>
                    <a:pt x="2825" y="520"/>
                  </a:lnTo>
                  <a:lnTo>
                    <a:pt x="2486" y="317"/>
                  </a:lnTo>
                  <a:lnTo>
                    <a:pt x="2170" y="158"/>
                  </a:lnTo>
                  <a:lnTo>
                    <a:pt x="1876" y="45"/>
                  </a:lnTo>
                  <a:lnTo>
                    <a:pt x="1718" y="23"/>
                  </a:lnTo>
                  <a:lnTo>
                    <a:pt x="1560" y="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7" name="Google Shape;1684;p16">
              <a:extLst>
                <a:ext uri="{FF2B5EF4-FFF2-40B4-BE49-F238E27FC236}">
                  <a16:creationId xmlns:a16="http://schemas.microsoft.com/office/drawing/2014/main" id="{50BF8B7E-88C2-2A21-EF57-15593A529C7B}"/>
                </a:ext>
              </a:extLst>
            </p:cNvPr>
            <p:cNvSpPr/>
            <p:nvPr/>
          </p:nvSpPr>
          <p:spPr>
            <a:xfrm>
              <a:off x="3885425" y="2516500"/>
              <a:ext cx="502900" cy="217550"/>
            </a:xfrm>
            <a:custGeom>
              <a:avLst/>
              <a:gdLst/>
              <a:ahLst/>
              <a:cxnLst/>
              <a:rect l="l" t="t" r="r" b="b"/>
              <a:pathLst>
                <a:path w="20116" h="8702" fill="none" extrusionOk="0">
                  <a:moveTo>
                    <a:pt x="452" y="610"/>
                  </a:moveTo>
                  <a:lnTo>
                    <a:pt x="452" y="610"/>
                  </a:lnTo>
                  <a:lnTo>
                    <a:pt x="339" y="769"/>
                  </a:lnTo>
                  <a:lnTo>
                    <a:pt x="249" y="927"/>
                  </a:lnTo>
                  <a:lnTo>
                    <a:pt x="181" y="1130"/>
                  </a:lnTo>
                  <a:lnTo>
                    <a:pt x="113" y="1334"/>
                  </a:lnTo>
                  <a:lnTo>
                    <a:pt x="68" y="1537"/>
                  </a:lnTo>
                  <a:lnTo>
                    <a:pt x="46" y="1763"/>
                  </a:lnTo>
                  <a:lnTo>
                    <a:pt x="0" y="2260"/>
                  </a:lnTo>
                  <a:lnTo>
                    <a:pt x="23" y="2780"/>
                  </a:lnTo>
                  <a:lnTo>
                    <a:pt x="91" y="3300"/>
                  </a:lnTo>
                  <a:lnTo>
                    <a:pt x="181" y="3842"/>
                  </a:lnTo>
                  <a:lnTo>
                    <a:pt x="339" y="4407"/>
                  </a:lnTo>
                  <a:lnTo>
                    <a:pt x="520" y="4927"/>
                  </a:lnTo>
                  <a:lnTo>
                    <a:pt x="746" y="5447"/>
                  </a:lnTo>
                  <a:lnTo>
                    <a:pt x="1017" y="5944"/>
                  </a:lnTo>
                  <a:lnTo>
                    <a:pt x="1311" y="6396"/>
                  </a:lnTo>
                  <a:lnTo>
                    <a:pt x="1469" y="6600"/>
                  </a:lnTo>
                  <a:lnTo>
                    <a:pt x="1650" y="6780"/>
                  </a:lnTo>
                  <a:lnTo>
                    <a:pt x="1808" y="6961"/>
                  </a:lnTo>
                  <a:lnTo>
                    <a:pt x="1989" y="7120"/>
                  </a:lnTo>
                  <a:lnTo>
                    <a:pt x="2193" y="7278"/>
                  </a:lnTo>
                  <a:lnTo>
                    <a:pt x="2373" y="7391"/>
                  </a:lnTo>
                  <a:lnTo>
                    <a:pt x="2577" y="7504"/>
                  </a:lnTo>
                  <a:lnTo>
                    <a:pt x="2780" y="7594"/>
                  </a:lnTo>
                  <a:lnTo>
                    <a:pt x="2780" y="7594"/>
                  </a:lnTo>
                  <a:lnTo>
                    <a:pt x="3029" y="7662"/>
                  </a:lnTo>
                  <a:lnTo>
                    <a:pt x="3323" y="7730"/>
                  </a:lnTo>
                  <a:lnTo>
                    <a:pt x="4069" y="7888"/>
                  </a:lnTo>
                  <a:lnTo>
                    <a:pt x="4995" y="8046"/>
                  </a:lnTo>
                  <a:lnTo>
                    <a:pt x="6057" y="8182"/>
                  </a:lnTo>
                  <a:lnTo>
                    <a:pt x="7255" y="8295"/>
                  </a:lnTo>
                  <a:lnTo>
                    <a:pt x="8521" y="8430"/>
                  </a:lnTo>
                  <a:lnTo>
                    <a:pt x="9855" y="8521"/>
                  </a:lnTo>
                  <a:lnTo>
                    <a:pt x="11211" y="8611"/>
                  </a:lnTo>
                  <a:lnTo>
                    <a:pt x="12567" y="8656"/>
                  </a:lnTo>
                  <a:lnTo>
                    <a:pt x="13878" y="8702"/>
                  </a:lnTo>
                  <a:lnTo>
                    <a:pt x="15098" y="8702"/>
                  </a:lnTo>
                  <a:lnTo>
                    <a:pt x="16228" y="8656"/>
                  </a:lnTo>
                  <a:lnTo>
                    <a:pt x="17223" y="8611"/>
                  </a:lnTo>
                  <a:lnTo>
                    <a:pt x="17675" y="8543"/>
                  </a:lnTo>
                  <a:lnTo>
                    <a:pt x="18059" y="8498"/>
                  </a:lnTo>
                  <a:lnTo>
                    <a:pt x="18398" y="8430"/>
                  </a:lnTo>
                  <a:lnTo>
                    <a:pt x="18692" y="8340"/>
                  </a:lnTo>
                  <a:lnTo>
                    <a:pt x="18940" y="8250"/>
                  </a:lnTo>
                  <a:lnTo>
                    <a:pt x="19099" y="8159"/>
                  </a:lnTo>
                  <a:lnTo>
                    <a:pt x="19099" y="8159"/>
                  </a:lnTo>
                  <a:lnTo>
                    <a:pt x="19234" y="8046"/>
                  </a:lnTo>
                  <a:lnTo>
                    <a:pt x="19347" y="7911"/>
                  </a:lnTo>
                  <a:lnTo>
                    <a:pt x="19460" y="7775"/>
                  </a:lnTo>
                  <a:lnTo>
                    <a:pt x="19551" y="7617"/>
                  </a:lnTo>
                  <a:lnTo>
                    <a:pt x="19731" y="7300"/>
                  </a:lnTo>
                  <a:lnTo>
                    <a:pt x="19867" y="6916"/>
                  </a:lnTo>
                  <a:lnTo>
                    <a:pt x="19980" y="6509"/>
                  </a:lnTo>
                  <a:lnTo>
                    <a:pt x="20070" y="6080"/>
                  </a:lnTo>
                  <a:lnTo>
                    <a:pt x="20116" y="5650"/>
                  </a:lnTo>
                  <a:lnTo>
                    <a:pt x="20116" y="5198"/>
                  </a:lnTo>
                  <a:lnTo>
                    <a:pt x="20093" y="4769"/>
                  </a:lnTo>
                  <a:lnTo>
                    <a:pt x="20025" y="4340"/>
                  </a:lnTo>
                  <a:lnTo>
                    <a:pt x="19912" y="3933"/>
                  </a:lnTo>
                  <a:lnTo>
                    <a:pt x="19777" y="3548"/>
                  </a:lnTo>
                  <a:lnTo>
                    <a:pt x="19686" y="3390"/>
                  </a:lnTo>
                  <a:lnTo>
                    <a:pt x="19596" y="3209"/>
                  </a:lnTo>
                  <a:lnTo>
                    <a:pt x="19505" y="3051"/>
                  </a:lnTo>
                  <a:lnTo>
                    <a:pt x="19370" y="2916"/>
                  </a:lnTo>
                  <a:lnTo>
                    <a:pt x="19257" y="2803"/>
                  </a:lnTo>
                  <a:lnTo>
                    <a:pt x="19121" y="2690"/>
                  </a:lnTo>
                  <a:lnTo>
                    <a:pt x="18986" y="2577"/>
                  </a:lnTo>
                  <a:lnTo>
                    <a:pt x="18827" y="2509"/>
                  </a:lnTo>
                  <a:lnTo>
                    <a:pt x="18827" y="2509"/>
                  </a:lnTo>
                  <a:lnTo>
                    <a:pt x="18466" y="2373"/>
                  </a:lnTo>
                  <a:lnTo>
                    <a:pt x="18081" y="2260"/>
                  </a:lnTo>
                  <a:lnTo>
                    <a:pt x="17629" y="2170"/>
                  </a:lnTo>
                  <a:lnTo>
                    <a:pt x="17155" y="2079"/>
                  </a:lnTo>
                  <a:lnTo>
                    <a:pt x="16635" y="2012"/>
                  </a:lnTo>
                  <a:lnTo>
                    <a:pt x="16070" y="1966"/>
                  </a:lnTo>
                  <a:lnTo>
                    <a:pt x="14895" y="1921"/>
                  </a:lnTo>
                  <a:lnTo>
                    <a:pt x="13629" y="1899"/>
                  </a:lnTo>
                  <a:lnTo>
                    <a:pt x="12341" y="1899"/>
                  </a:lnTo>
                  <a:lnTo>
                    <a:pt x="11052" y="1944"/>
                  </a:lnTo>
                  <a:lnTo>
                    <a:pt x="9809" y="1966"/>
                  </a:lnTo>
                  <a:lnTo>
                    <a:pt x="9809" y="1966"/>
                  </a:lnTo>
                  <a:lnTo>
                    <a:pt x="8476" y="2012"/>
                  </a:lnTo>
                  <a:lnTo>
                    <a:pt x="7301" y="2057"/>
                  </a:lnTo>
                  <a:lnTo>
                    <a:pt x="6351" y="2057"/>
                  </a:lnTo>
                  <a:lnTo>
                    <a:pt x="5967" y="2034"/>
                  </a:lnTo>
                  <a:lnTo>
                    <a:pt x="5651" y="2012"/>
                  </a:lnTo>
                  <a:lnTo>
                    <a:pt x="5651" y="2012"/>
                  </a:lnTo>
                  <a:lnTo>
                    <a:pt x="5470" y="1966"/>
                  </a:lnTo>
                  <a:lnTo>
                    <a:pt x="5289" y="1921"/>
                  </a:lnTo>
                  <a:lnTo>
                    <a:pt x="4905" y="1786"/>
                  </a:lnTo>
                  <a:lnTo>
                    <a:pt x="4543" y="1627"/>
                  </a:lnTo>
                  <a:lnTo>
                    <a:pt x="4182" y="1424"/>
                  </a:lnTo>
                  <a:lnTo>
                    <a:pt x="3481" y="949"/>
                  </a:lnTo>
                  <a:lnTo>
                    <a:pt x="2825" y="520"/>
                  </a:lnTo>
                  <a:lnTo>
                    <a:pt x="2486" y="317"/>
                  </a:lnTo>
                  <a:lnTo>
                    <a:pt x="2170" y="158"/>
                  </a:lnTo>
                  <a:lnTo>
                    <a:pt x="1876" y="45"/>
                  </a:lnTo>
                  <a:lnTo>
                    <a:pt x="1718" y="23"/>
                  </a:lnTo>
                  <a:lnTo>
                    <a:pt x="1560" y="0"/>
                  </a:lnTo>
                  <a:lnTo>
                    <a:pt x="1424" y="0"/>
                  </a:lnTo>
                  <a:lnTo>
                    <a:pt x="1266" y="23"/>
                  </a:lnTo>
                  <a:lnTo>
                    <a:pt x="1130" y="68"/>
                  </a:lnTo>
                  <a:lnTo>
                    <a:pt x="995" y="113"/>
                  </a:lnTo>
                  <a:lnTo>
                    <a:pt x="859" y="203"/>
                  </a:lnTo>
                  <a:lnTo>
                    <a:pt x="724" y="317"/>
                  </a:lnTo>
                  <a:lnTo>
                    <a:pt x="588" y="452"/>
                  </a:lnTo>
                  <a:lnTo>
                    <a:pt x="452" y="61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8" name="Google Shape;1685;p16">
              <a:extLst>
                <a:ext uri="{FF2B5EF4-FFF2-40B4-BE49-F238E27FC236}">
                  <a16:creationId xmlns:a16="http://schemas.microsoft.com/office/drawing/2014/main" id="{729A81BD-75D8-2D71-8363-CBD8D28ED705}"/>
                </a:ext>
              </a:extLst>
            </p:cNvPr>
            <p:cNvSpPr/>
            <p:nvPr/>
          </p:nvSpPr>
          <p:spPr>
            <a:xfrm>
              <a:off x="5664725" y="3302450"/>
              <a:ext cx="152025" cy="194975"/>
            </a:xfrm>
            <a:custGeom>
              <a:avLst/>
              <a:gdLst/>
              <a:ahLst/>
              <a:cxnLst/>
              <a:rect l="l" t="t" r="r" b="b"/>
              <a:pathLst>
                <a:path w="6081" h="7799" extrusionOk="0">
                  <a:moveTo>
                    <a:pt x="2825" y="1"/>
                  </a:moveTo>
                  <a:lnTo>
                    <a:pt x="0" y="4905"/>
                  </a:lnTo>
                  <a:lnTo>
                    <a:pt x="1266" y="7798"/>
                  </a:lnTo>
                  <a:lnTo>
                    <a:pt x="3277" y="6645"/>
                  </a:lnTo>
                  <a:lnTo>
                    <a:pt x="3662" y="6103"/>
                  </a:lnTo>
                  <a:lnTo>
                    <a:pt x="4091" y="5448"/>
                  </a:lnTo>
                  <a:lnTo>
                    <a:pt x="5018" y="3978"/>
                  </a:lnTo>
                  <a:lnTo>
                    <a:pt x="5786" y="2735"/>
                  </a:lnTo>
                  <a:lnTo>
                    <a:pt x="6080" y="2193"/>
                  </a:lnTo>
                  <a:lnTo>
                    <a:pt x="2825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9" name="Google Shape;1686;p16">
              <a:extLst>
                <a:ext uri="{FF2B5EF4-FFF2-40B4-BE49-F238E27FC236}">
                  <a16:creationId xmlns:a16="http://schemas.microsoft.com/office/drawing/2014/main" id="{1757A8CC-4F3C-B006-EF5C-647EABB49287}"/>
                </a:ext>
              </a:extLst>
            </p:cNvPr>
            <p:cNvSpPr/>
            <p:nvPr/>
          </p:nvSpPr>
          <p:spPr>
            <a:xfrm>
              <a:off x="5615000" y="3410375"/>
              <a:ext cx="250900" cy="235075"/>
            </a:xfrm>
            <a:custGeom>
              <a:avLst/>
              <a:gdLst/>
              <a:ahLst/>
              <a:cxnLst/>
              <a:rect l="l" t="t" r="r" b="b"/>
              <a:pathLst>
                <a:path w="10036" h="9403" extrusionOk="0">
                  <a:moveTo>
                    <a:pt x="2215" y="0"/>
                  </a:moveTo>
                  <a:lnTo>
                    <a:pt x="2102" y="23"/>
                  </a:lnTo>
                  <a:lnTo>
                    <a:pt x="1967" y="68"/>
                  </a:lnTo>
                  <a:lnTo>
                    <a:pt x="1831" y="159"/>
                  </a:lnTo>
                  <a:lnTo>
                    <a:pt x="1673" y="294"/>
                  </a:lnTo>
                  <a:lnTo>
                    <a:pt x="1515" y="430"/>
                  </a:lnTo>
                  <a:lnTo>
                    <a:pt x="1198" y="814"/>
                  </a:lnTo>
                  <a:lnTo>
                    <a:pt x="859" y="1266"/>
                  </a:lnTo>
                  <a:lnTo>
                    <a:pt x="565" y="1786"/>
                  </a:lnTo>
                  <a:lnTo>
                    <a:pt x="272" y="2306"/>
                  </a:lnTo>
                  <a:lnTo>
                    <a:pt x="68" y="2803"/>
                  </a:lnTo>
                  <a:lnTo>
                    <a:pt x="23" y="2961"/>
                  </a:lnTo>
                  <a:lnTo>
                    <a:pt x="0" y="3097"/>
                  </a:lnTo>
                  <a:lnTo>
                    <a:pt x="23" y="3232"/>
                  </a:lnTo>
                  <a:lnTo>
                    <a:pt x="46" y="3368"/>
                  </a:lnTo>
                  <a:lnTo>
                    <a:pt x="91" y="3504"/>
                  </a:lnTo>
                  <a:lnTo>
                    <a:pt x="181" y="3617"/>
                  </a:lnTo>
                  <a:lnTo>
                    <a:pt x="272" y="3730"/>
                  </a:lnTo>
                  <a:lnTo>
                    <a:pt x="385" y="3820"/>
                  </a:lnTo>
                  <a:lnTo>
                    <a:pt x="4227" y="6487"/>
                  </a:lnTo>
                  <a:lnTo>
                    <a:pt x="7979" y="9064"/>
                  </a:lnTo>
                  <a:lnTo>
                    <a:pt x="8272" y="9244"/>
                  </a:lnTo>
                  <a:lnTo>
                    <a:pt x="8544" y="9357"/>
                  </a:lnTo>
                  <a:lnTo>
                    <a:pt x="8792" y="9403"/>
                  </a:lnTo>
                  <a:lnTo>
                    <a:pt x="9018" y="9403"/>
                  </a:lnTo>
                  <a:lnTo>
                    <a:pt x="9222" y="9335"/>
                  </a:lnTo>
                  <a:lnTo>
                    <a:pt x="9403" y="9244"/>
                  </a:lnTo>
                  <a:lnTo>
                    <a:pt x="9561" y="9131"/>
                  </a:lnTo>
                  <a:lnTo>
                    <a:pt x="9696" y="8973"/>
                  </a:lnTo>
                  <a:lnTo>
                    <a:pt x="9809" y="8815"/>
                  </a:lnTo>
                  <a:lnTo>
                    <a:pt x="9900" y="8657"/>
                  </a:lnTo>
                  <a:lnTo>
                    <a:pt x="9968" y="8476"/>
                  </a:lnTo>
                  <a:lnTo>
                    <a:pt x="10013" y="8295"/>
                  </a:lnTo>
                  <a:lnTo>
                    <a:pt x="10035" y="8137"/>
                  </a:lnTo>
                  <a:lnTo>
                    <a:pt x="10035" y="8001"/>
                  </a:lnTo>
                  <a:lnTo>
                    <a:pt x="10035" y="7911"/>
                  </a:lnTo>
                  <a:lnTo>
                    <a:pt x="9990" y="7821"/>
                  </a:lnTo>
                  <a:lnTo>
                    <a:pt x="9606" y="7527"/>
                  </a:lnTo>
                  <a:lnTo>
                    <a:pt x="8996" y="7029"/>
                  </a:lnTo>
                  <a:lnTo>
                    <a:pt x="8227" y="6397"/>
                  </a:lnTo>
                  <a:lnTo>
                    <a:pt x="7414" y="5696"/>
                  </a:lnTo>
                  <a:lnTo>
                    <a:pt x="7007" y="5312"/>
                  </a:lnTo>
                  <a:lnTo>
                    <a:pt x="6645" y="4950"/>
                  </a:lnTo>
                  <a:lnTo>
                    <a:pt x="6306" y="4566"/>
                  </a:lnTo>
                  <a:lnTo>
                    <a:pt x="6035" y="4204"/>
                  </a:lnTo>
                  <a:lnTo>
                    <a:pt x="5809" y="3843"/>
                  </a:lnTo>
                  <a:lnTo>
                    <a:pt x="5741" y="3684"/>
                  </a:lnTo>
                  <a:lnTo>
                    <a:pt x="5673" y="3526"/>
                  </a:lnTo>
                  <a:lnTo>
                    <a:pt x="5628" y="3368"/>
                  </a:lnTo>
                  <a:lnTo>
                    <a:pt x="5605" y="3210"/>
                  </a:lnTo>
                  <a:lnTo>
                    <a:pt x="5628" y="3074"/>
                  </a:lnTo>
                  <a:lnTo>
                    <a:pt x="5651" y="2939"/>
                  </a:lnTo>
                  <a:lnTo>
                    <a:pt x="5741" y="2735"/>
                  </a:lnTo>
                  <a:lnTo>
                    <a:pt x="5831" y="2554"/>
                  </a:lnTo>
                  <a:lnTo>
                    <a:pt x="5990" y="2283"/>
                  </a:lnTo>
                  <a:lnTo>
                    <a:pt x="6035" y="2170"/>
                  </a:lnTo>
                  <a:lnTo>
                    <a:pt x="6012" y="2080"/>
                  </a:lnTo>
                  <a:lnTo>
                    <a:pt x="5967" y="2012"/>
                  </a:lnTo>
                  <a:lnTo>
                    <a:pt x="5854" y="1944"/>
                  </a:lnTo>
                  <a:lnTo>
                    <a:pt x="5266" y="1696"/>
                  </a:lnTo>
                  <a:lnTo>
                    <a:pt x="4724" y="1424"/>
                  </a:lnTo>
                  <a:lnTo>
                    <a:pt x="4227" y="1131"/>
                  </a:lnTo>
                  <a:lnTo>
                    <a:pt x="3775" y="837"/>
                  </a:lnTo>
                  <a:lnTo>
                    <a:pt x="2961" y="339"/>
                  </a:lnTo>
                  <a:lnTo>
                    <a:pt x="2622" y="159"/>
                  </a:lnTo>
                  <a:lnTo>
                    <a:pt x="2464" y="91"/>
                  </a:lnTo>
                  <a:lnTo>
                    <a:pt x="2306" y="23"/>
                  </a:lnTo>
                  <a:lnTo>
                    <a:pt x="2215" y="0"/>
                  </a:lnTo>
                  <a:close/>
                </a:path>
              </a:pathLst>
            </a:custGeom>
            <a:solidFill>
              <a:srgbClr val="3331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0" name="Google Shape;1687;p16">
              <a:extLst>
                <a:ext uri="{FF2B5EF4-FFF2-40B4-BE49-F238E27FC236}">
                  <a16:creationId xmlns:a16="http://schemas.microsoft.com/office/drawing/2014/main" id="{4F113F93-77EB-4475-63DF-BC549ADAECFF}"/>
                </a:ext>
              </a:extLst>
            </p:cNvPr>
            <p:cNvSpPr/>
            <p:nvPr/>
          </p:nvSpPr>
          <p:spPr>
            <a:xfrm>
              <a:off x="5484475" y="2315900"/>
              <a:ext cx="699525" cy="1122750"/>
            </a:xfrm>
            <a:custGeom>
              <a:avLst/>
              <a:gdLst/>
              <a:ahLst/>
              <a:cxnLst/>
              <a:rect l="l" t="t" r="r" b="b"/>
              <a:pathLst>
                <a:path w="27981" h="44910" extrusionOk="0">
                  <a:moveTo>
                    <a:pt x="3752" y="1"/>
                  </a:moveTo>
                  <a:lnTo>
                    <a:pt x="3549" y="23"/>
                  </a:lnTo>
                  <a:lnTo>
                    <a:pt x="3368" y="46"/>
                  </a:lnTo>
                  <a:lnTo>
                    <a:pt x="3187" y="91"/>
                  </a:lnTo>
                  <a:lnTo>
                    <a:pt x="3029" y="159"/>
                  </a:lnTo>
                  <a:lnTo>
                    <a:pt x="2848" y="227"/>
                  </a:lnTo>
                  <a:lnTo>
                    <a:pt x="2690" y="294"/>
                  </a:lnTo>
                  <a:lnTo>
                    <a:pt x="2396" y="498"/>
                  </a:lnTo>
                  <a:lnTo>
                    <a:pt x="2125" y="724"/>
                  </a:lnTo>
                  <a:lnTo>
                    <a:pt x="1899" y="972"/>
                  </a:lnTo>
                  <a:lnTo>
                    <a:pt x="1673" y="1244"/>
                  </a:lnTo>
                  <a:lnTo>
                    <a:pt x="1469" y="1515"/>
                  </a:lnTo>
                  <a:lnTo>
                    <a:pt x="1311" y="1786"/>
                  </a:lnTo>
                  <a:lnTo>
                    <a:pt x="1040" y="2306"/>
                  </a:lnTo>
                  <a:lnTo>
                    <a:pt x="837" y="2690"/>
                  </a:lnTo>
                  <a:lnTo>
                    <a:pt x="611" y="3255"/>
                  </a:lnTo>
                  <a:lnTo>
                    <a:pt x="407" y="3820"/>
                  </a:lnTo>
                  <a:lnTo>
                    <a:pt x="249" y="4363"/>
                  </a:lnTo>
                  <a:lnTo>
                    <a:pt x="113" y="4882"/>
                  </a:lnTo>
                  <a:lnTo>
                    <a:pt x="46" y="5402"/>
                  </a:lnTo>
                  <a:lnTo>
                    <a:pt x="0" y="5922"/>
                  </a:lnTo>
                  <a:lnTo>
                    <a:pt x="0" y="6419"/>
                  </a:lnTo>
                  <a:lnTo>
                    <a:pt x="46" y="6917"/>
                  </a:lnTo>
                  <a:lnTo>
                    <a:pt x="91" y="7414"/>
                  </a:lnTo>
                  <a:lnTo>
                    <a:pt x="204" y="7888"/>
                  </a:lnTo>
                  <a:lnTo>
                    <a:pt x="339" y="8341"/>
                  </a:lnTo>
                  <a:lnTo>
                    <a:pt x="498" y="8815"/>
                  </a:lnTo>
                  <a:lnTo>
                    <a:pt x="701" y="9245"/>
                  </a:lnTo>
                  <a:lnTo>
                    <a:pt x="904" y="9697"/>
                  </a:lnTo>
                  <a:lnTo>
                    <a:pt x="1153" y="10126"/>
                  </a:lnTo>
                  <a:lnTo>
                    <a:pt x="1447" y="10555"/>
                  </a:lnTo>
                  <a:lnTo>
                    <a:pt x="1741" y="10962"/>
                  </a:lnTo>
                  <a:lnTo>
                    <a:pt x="2057" y="11369"/>
                  </a:lnTo>
                  <a:lnTo>
                    <a:pt x="2396" y="11753"/>
                  </a:lnTo>
                  <a:lnTo>
                    <a:pt x="2758" y="12160"/>
                  </a:lnTo>
                  <a:lnTo>
                    <a:pt x="3165" y="12522"/>
                  </a:lnTo>
                  <a:lnTo>
                    <a:pt x="3549" y="12906"/>
                  </a:lnTo>
                  <a:lnTo>
                    <a:pt x="3978" y="13268"/>
                  </a:lnTo>
                  <a:lnTo>
                    <a:pt x="4408" y="13629"/>
                  </a:lnTo>
                  <a:lnTo>
                    <a:pt x="4860" y="13991"/>
                  </a:lnTo>
                  <a:lnTo>
                    <a:pt x="5334" y="14330"/>
                  </a:lnTo>
                  <a:lnTo>
                    <a:pt x="6306" y="14985"/>
                  </a:lnTo>
                  <a:lnTo>
                    <a:pt x="7301" y="15641"/>
                  </a:lnTo>
                  <a:lnTo>
                    <a:pt x="8340" y="16251"/>
                  </a:lnTo>
                  <a:lnTo>
                    <a:pt x="9403" y="16839"/>
                  </a:lnTo>
                  <a:lnTo>
                    <a:pt x="10465" y="17426"/>
                  </a:lnTo>
                  <a:lnTo>
                    <a:pt x="11527" y="17969"/>
                  </a:lnTo>
                  <a:lnTo>
                    <a:pt x="12567" y="18489"/>
                  </a:lnTo>
                  <a:lnTo>
                    <a:pt x="14601" y="19483"/>
                  </a:lnTo>
                  <a:lnTo>
                    <a:pt x="16477" y="20410"/>
                  </a:lnTo>
                  <a:lnTo>
                    <a:pt x="17336" y="20862"/>
                  </a:lnTo>
                  <a:lnTo>
                    <a:pt x="18127" y="21291"/>
                  </a:lnTo>
                  <a:lnTo>
                    <a:pt x="18827" y="21698"/>
                  </a:lnTo>
                  <a:lnTo>
                    <a:pt x="19438" y="22105"/>
                  </a:lnTo>
                  <a:lnTo>
                    <a:pt x="19709" y="22286"/>
                  </a:lnTo>
                  <a:lnTo>
                    <a:pt x="19957" y="22489"/>
                  </a:lnTo>
                  <a:lnTo>
                    <a:pt x="20161" y="22692"/>
                  </a:lnTo>
                  <a:lnTo>
                    <a:pt x="20364" y="22873"/>
                  </a:lnTo>
                  <a:lnTo>
                    <a:pt x="20522" y="23054"/>
                  </a:lnTo>
                  <a:lnTo>
                    <a:pt x="20635" y="23257"/>
                  </a:lnTo>
                  <a:lnTo>
                    <a:pt x="20726" y="23438"/>
                  </a:lnTo>
                  <a:lnTo>
                    <a:pt x="20794" y="23619"/>
                  </a:lnTo>
                  <a:lnTo>
                    <a:pt x="20816" y="23777"/>
                  </a:lnTo>
                  <a:lnTo>
                    <a:pt x="20839" y="23981"/>
                  </a:lnTo>
                  <a:lnTo>
                    <a:pt x="20816" y="24161"/>
                  </a:lnTo>
                  <a:lnTo>
                    <a:pt x="20794" y="24365"/>
                  </a:lnTo>
                  <a:lnTo>
                    <a:pt x="20748" y="24591"/>
                  </a:lnTo>
                  <a:lnTo>
                    <a:pt x="20703" y="24817"/>
                  </a:lnTo>
                  <a:lnTo>
                    <a:pt x="20522" y="25292"/>
                  </a:lnTo>
                  <a:lnTo>
                    <a:pt x="20296" y="25789"/>
                  </a:lnTo>
                  <a:lnTo>
                    <a:pt x="20003" y="26331"/>
                  </a:lnTo>
                  <a:lnTo>
                    <a:pt x="19664" y="26896"/>
                  </a:lnTo>
                  <a:lnTo>
                    <a:pt x="19257" y="27484"/>
                  </a:lnTo>
                  <a:lnTo>
                    <a:pt x="18827" y="28094"/>
                  </a:lnTo>
                  <a:lnTo>
                    <a:pt x="18353" y="28727"/>
                  </a:lnTo>
                  <a:lnTo>
                    <a:pt x="17856" y="29382"/>
                  </a:lnTo>
                  <a:lnTo>
                    <a:pt x="17313" y="30038"/>
                  </a:lnTo>
                  <a:lnTo>
                    <a:pt x="16183" y="31394"/>
                  </a:lnTo>
                  <a:lnTo>
                    <a:pt x="14963" y="32773"/>
                  </a:lnTo>
                  <a:lnTo>
                    <a:pt x="12522" y="35507"/>
                  </a:lnTo>
                  <a:lnTo>
                    <a:pt x="11346" y="36796"/>
                  </a:lnTo>
                  <a:lnTo>
                    <a:pt x="10261" y="38016"/>
                  </a:lnTo>
                  <a:lnTo>
                    <a:pt x="9290" y="39169"/>
                  </a:lnTo>
                  <a:lnTo>
                    <a:pt x="8860" y="39689"/>
                  </a:lnTo>
                  <a:lnTo>
                    <a:pt x="8476" y="40186"/>
                  </a:lnTo>
                  <a:lnTo>
                    <a:pt x="8137" y="40638"/>
                  </a:lnTo>
                  <a:lnTo>
                    <a:pt x="7866" y="41067"/>
                  </a:lnTo>
                  <a:lnTo>
                    <a:pt x="7640" y="41429"/>
                  </a:lnTo>
                  <a:lnTo>
                    <a:pt x="7459" y="41768"/>
                  </a:lnTo>
                  <a:lnTo>
                    <a:pt x="7617" y="42084"/>
                  </a:lnTo>
                  <a:lnTo>
                    <a:pt x="7866" y="42559"/>
                  </a:lnTo>
                  <a:lnTo>
                    <a:pt x="8024" y="42830"/>
                  </a:lnTo>
                  <a:lnTo>
                    <a:pt x="8227" y="43124"/>
                  </a:lnTo>
                  <a:lnTo>
                    <a:pt x="8453" y="43418"/>
                  </a:lnTo>
                  <a:lnTo>
                    <a:pt x="8702" y="43712"/>
                  </a:lnTo>
                  <a:lnTo>
                    <a:pt x="8996" y="43983"/>
                  </a:lnTo>
                  <a:lnTo>
                    <a:pt x="9335" y="44231"/>
                  </a:lnTo>
                  <a:lnTo>
                    <a:pt x="9696" y="44457"/>
                  </a:lnTo>
                  <a:lnTo>
                    <a:pt x="9900" y="44570"/>
                  </a:lnTo>
                  <a:lnTo>
                    <a:pt x="10103" y="44661"/>
                  </a:lnTo>
                  <a:lnTo>
                    <a:pt x="10307" y="44729"/>
                  </a:lnTo>
                  <a:lnTo>
                    <a:pt x="10555" y="44796"/>
                  </a:lnTo>
                  <a:lnTo>
                    <a:pt x="10781" y="44842"/>
                  </a:lnTo>
                  <a:lnTo>
                    <a:pt x="11030" y="44887"/>
                  </a:lnTo>
                  <a:lnTo>
                    <a:pt x="11301" y="44910"/>
                  </a:lnTo>
                  <a:lnTo>
                    <a:pt x="11844" y="44910"/>
                  </a:lnTo>
                  <a:lnTo>
                    <a:pt x="12137" y="44864"/>
                  </a:lnTo>
                  <a:lnTo>
                    <a:pt x="12815" y="44186"/>
                  </a:lnTo>
                  <a:lnTo>
                    <a:pt x="14578" y="42333"/>
                  </a:lnTo>
                  <a:lnTo>
                    <a:pt x="15776" y="41045"/>
                  </a:lnTo>
                  <a:lnTo>
                    <a:pt x="17110" y="39598"/>
                  </a:lnTo>
                  <a:lnTo>
                    <a:pt x="18511" y="37993"/>
                  </a:lnTo>
                  <a:lnTo>
                    <a:pt x="19980" y="36298"/>
                  </a:lnTo>
                  <a:lnTo>
                    <a:pt x="21449" y="34513"/>
                  </a:lnTo>
                  <a:lnTo>
                    <a:pt x="22172" y="33609"/>
                  </a:lnTo>
                  <a:lnTo>
                    <a:pt x="22873" y="32705"/>
                  </a:lnTo>
                  <a:lnTo>
                    <a:pt x="23551" y="31801"/>
                  </a:lnTo>
                  <a:lnTo>
                    <a:pt x="24207" y="30897"/>
                  </a:lnTo>
                  <a:lnTo>
                    <a:pt x="24839" y="30015"/>
                  </a:lnTo>
                  <a:lnTo>
                    <a:pt x="25427" y="29134"/>
                  </a:lnTo>
                  <a:lnTo>
                    <a:pt x="25947" y="28275"/>
                  </a:lnTo>
                  <a:lnTo>
                    <a:pt x="26444" y="27439"/>
                  </a:lnTo>
                  <a:lnTo>
                    <a:pt x="26873" y="26648"/>
                  </a:lnTo>
                  <a:lnTo>
                    <a:pt x="27235" y="25879"/>
                  </a:lnTo>
                  <a:lnTo>
                    <a:pt x="27529" y="25133"/>
                  </a:lnTo>
                  <a:lnTo>
                    <a:pt x="27665" y="24794"/>
                  </a:lnTo>
                  <a:lnTo>
                    <a:pt x="27778" y="24455"/>
                  </a:lnTo>
                  <a:lnTo>
                    <a:pt x="27845" y="24139"/>
                  </a:lnTo>
                  <a:lnTo>
                    <a:pt x="27913" y="23822"/>
                  </a:lnTo>
                  <a:lnTo>
                    <a:pt x="27958" y="23506"/>
                  </a:lnTo>
                  <a:lnTo>
                    <a:pt x="27981" y="23235"/>
                  </a:lnTo>
                  <a:lnTo>
                    <a:pt x="27981" y="22941"/>
                  </a:lnTo>
                  <a:lnTo>
                    <a:pt x="27958" y="22670"/>
                  </a:lnTo>
                  <a:lnTo>
                    <a:pt x="27936" y="22376"/>
                  </a:lnTo>
                  <a:lnTo>
                    <a:pt x="27868" y="22105"/>
                  </a:lnTo>
                  <a:lnTo>
                    <a:pt x="27800" y="21834"/>
                  </a:lnTo>
                  <a:lnTo>
                    <a:pt x="27710" y="21540"/>
                  </a:lnTo>
                  <a:lnTo>
                    <a:pt x="27619" y="21268"/>
                  </a:lnTo>
                  <a:lnTo>
                    <a:pt x="27506" y="20997"/>
                  </a:lnTo>
                  <a:lnTo>
                    <a:pt x="27213" y="20455"/>
                  </a:lnTo>
                  <a:lnTo>
                    <a:pt x="26896" y="19890"/>
                  </a:lnTo>
                  <a:lnTo>
                    <a:pt x="26512" y="19347"/>
                  </a:lnTo>
                  <a:lnTo>
                    <a:pt x="26082" y="18805"/>
                  </a:lnTo>
                  <a:lnTo>
                    <a:pt x="25608" y="18285"/>
                  </a:lnTo>
                  <a:lnTo>
                    <a:pt x="25088" y="17743"/>
                  </a:lnTo>
                  <a:lnTo>
                    <a:pt x="24546" y="17223"/>
                  </a:lnTo>
                  <a:lnTo>
                    <a:pt x="23958" y="16703"/>
                  </a:lnTo>
                  <a:lnTo>
                    <a:pt x="23370" y="16183"/>
                  </a:lnTo>
                  <a:lnTo>
                    <a:pt x="22737" y="15686"/>
                  </a:lnTo>
                  <a:lnTo>
                    <a:pt x="22105" y="15189"/>
                  </a:lnTo>
                  <a:lnTo>
                    <a:pt x="21427" y="14691"/>
                  </a:lnTo>
                  <a:lnTo>
                    <a:pt x="20093" y="13742"/>
                  </a:lnTo>
                  <a:lnTo>
                    <a:pt x="18737" y="12838"/>
                  </a:lnTo>
                  <a:lnTo>
                    <a:pt x="16160" y="11120"/>
                  </a:lnTo>
                  <a:lnTo>
                    <a:pt x="14985" y="10352"/>
                  </a:lnTo>
                  <a:lnTo>
                    <a:pt x="13923" y="9629"/>
                  </a:lnTo>
                  <a:lnTo>
                    <a:pt x="13448" y="9290"/>
                  </a:lnTo>
                  <a:lnTo>
                    <a:pt x="13019" y="8951"/>
                  </a:lnTo>
                  <a:lnTo>
                    <a:pt x="12657" y="8634"/>
                  </a:lnTo>
                  <a:lnTo>
                    <a:pt x="12318" y="8341"/>
                  </a:lnTo>
                  <a:lnTo>
                    <a:pt x="12024" y="8069"/>
                  </a:lnTo>
                  <a:lnTo>
                    <a:pt x="11753" y="7775"/>
                  </a:lnTo>
                  <a:lnTo>
                    <a:pt x="11527" y="7504"/>
                  </a:lnTo>
                  <a:lnTo>
                    <a:pt x="11301" y="7233"/>
                  </a:lnTo>
                  <a:lnTo>
                    <a:pt x="10917" y="6691"/>
                  </a:lnTo>
                  <a:lnTo>
                    <a:pt x="10578" y="6171"/>
                  </a:lnTo>
                  <a:lnTo>
                    <a:pt x="10284" y="5651"/>
                  </a:lnTo>
                  <a:lnTo>
                    <a:pt x="10013" y="5131"/>
                  </a:lnTo>
                  <a:lnTo>
                    <a:pt x="9764" y="4634"/>
                  </a:lnTo>
                  <a:lnTo>
                    <a:pt x="9493" y="4137"/>
                  </a:lnTo>
                  <a:lnTo>
                    <a:pt x="9199" y="3662"/>
                  </a:lnTo>
                  <a:lnTo>
                    <a:pt x="8860" y="3165"/>
                  </a:lnTo>
                  <a:lnTo>
                    <a:pt x="8679" y="2939"/>
                  </a:lnTo>
                  <a:lnTo>
                    <a:pt x="8476" y="2690"/>
                  </a:lnTo>
                  <a:lnTo>
                    <a:pt x="8250" y="2464"/>
                  </a:lnTo>
                  <a:lnTo>
                    <a:pt x="8001" y="2216"/>
                  </a:lnTo>
                  <a:lnTo>
                    <a:pt x="7753" y="1990"/>
                  </a:lnTo>
                  <a:lnTo>
                    <a:pt x="7459" y="1741"/>
                  </a:lnTo>
                  <a:lnTo>
                    <a:pt x="7142" y="1515"/>
                  </a:lnTo>
                  <a:lnTo>
                    <a:pt x="6781" y="1266"/>
                  </a:lnTo>
                  <a:lnTo>
                    <a:pt x="6397" y="1040"/>
                  </a:lnTo>
                  <a:lnTo>
                    <a:pt x="5990" y="792"/>
                  </a:lnTo>
                  <a:lnTo>
                    <a:pt x="5538" y="543"/>
                  </a:lnTo>
                  <a:lnTo>
                    <a:pt x="5063" y="317"/>
                  </a:lnTo>
                  <a:lnTo>
                    <a:pt x="4814" y="204"/>
                  </a:lnTo>
                  <a:lnTo>
                    <a:pt x="4588" y="136"/>
                  </a:lnTo>
                  <a:lnTo>
                    <a:pt x="4362" y="68"/>
                  </a:lnTo>
                  <a:lnTo>
                    <a:pt x="4159" y="23"/>
                  </a:lnTo>
                  <a:lnTo>
                    <a:pt x="3956" y="1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1" name="Google Shape;1688;p16">
              <a:extLst>
                <a:ext uri="{FF2B5EF4-FFF2-40B4-BE49-F238E27FC236}">
                  <a16:creationId xmlns:a16="http://schemas.microsoft.com/office/drawing/2014/main" id="{22C7C31D-AB78-4478-1050-F2866F72D626}"/>
                </a:ext>
              </a:extLst>
            </p:cNvPr>
            <p:cNvSpPr/>
            <p:nvPr/>
          </p:nvSpPr>
          <p:spPr>
            <a:xfrm>
              <a:off x="5484475" y="2315900"/>
              <a:ext cx="699525" cy="1122750"/>
            </a:xfrm>
            <a:custGeom>
              <a:avLst/>
              <a:gdLst/>
              <a:ahLst/>
              <a:cxnLst/>
              <a:rect l="l" t="t" r="r" b="b"/>
              <a:pathLst>
                <a:path w="27981" h="44910" fill="none" extrusionOk="0">
                  <a:moveTo>
                    <a:pt x="12318" y="8341"/>
                  </a:moveTo>
                  <a:lnTo>
                    <a:pt x="12318" y="8341"/>
                  </a:lnTo>
                  <a:lnTo>
                    <a:pt x="12657" y="8634"/>
                  </a:lnTo>
                  <a:lnTo>
                    <a:pt x="13019" y="8951"/>
                  </a:lnTo>
                  <a:lnTo>
                    <a:pt x="13448" y="9290"/>
                  </a:lnTo>
                  <a:lnTo>
                    <a:pt x="13923" y="9629"/>
                  </a:lnTo>
                  <a:lnTo>
                    <a:pt x="14985" y="10352"/>
                  </a:lnTo>
                  <a:lnTo>
                    <a:pt x="16160" y="11120"/>
                  </a:lnTo>
                  <a:lnTo>
                    <a:pt x="18737" y="12838"/>
                  </a:lnTo>
                  <a:lnTo>
                    <a:pt x="20093" y="13742"/>
                  </a:lnTo>
                  <a:lnTo>
                    <a:pt x="21427" y="14691"/>
                  </a:lnTo>
                  <a:lnTo>
                    <a:pt x="22105" y="15189"/>
                  </a:lnTo>
                  <a:lnTo>
                    <a:pt x="22737" y="15686"/>
                  </a:lnTo>
                  <a:lnTo>
                    <a:pt x="23370" y="16183"/>
                  </a:lnTo>
                  <a:lnTo>
                    <a:pt x="23958" y="16703"/>
                  </a:lnTo>
                  <a:lnTo>
                    <a:pt x="24546" y="17223"/>
                  </a:lnTo>
                  <a:lnTo>
                    <a:pt x="25088" y="17743"/>
                  </a:lnTo>
                  <a:lnTo>
                    <a:pt x="25608" y="18285"/>
                  </a:lnTo>
                  <a:lnTo>
                    <a:pt x="26082" y="18805"/>
                  </a:lnTo>
                  <a:lnTo>
                    <a:pt x="26512" y="19347"/>
                  </a:lnTo>
                  <a:lnTo>
                    <a:pt x="26896" y="19890"/>
                  </a:lnTo>
                  <a:lnTo>
                    <a:pt x="27213" y="20455"/>
                  </a:lnTo>
                  <a:lnTo>
                    <a:pt x="27506" y="20997"/>
                  </a:lnTo>
                  <a:lnTo>
                    <a:pt x="27619" y="21268"/>
                  </a:lnTo>
                  <a:lnTo>
                    <a:pt x="27710" y="21540"/>
                  </a:lnTo>
                  <a:lnTo>
                    <a:pt x="27800" y="21834"/>
                  </a:lnTo>
                  <a:lnTo>
                    <a:pt x="27868" y="22105"/>
                  </a:lnTo>
                  <a:lnTo>
                    <a:pt x="27936" y="22376"/>
                  </a:lnTo>
                  <a:lnTo>
                    <a:pt x="27958" y="22670"/>
                  </a:lnTo>
                  <a:lnTo>
                    <a:pt x="27981" y="22941"/>
                  </a:lnTo>
                  <a:lnTo>
                    <a:pt x="27981" y="23235"/>
                  </a:lnTo>
                  <a:lnTo>
                    <a:pt x="27981" y="23235"/>
                  </a:lnTo>
                  <a:lnTo>
                    <a:pt x="27958" y="23506"/>
                  </a:lnTo>
                  <a:lnTo>
                    <a:pt x="27913" y="23822"/>
                  </a:lnTo>
                  <a:lnTo>
                    <a:pt x="27845" y="24139"/>
                  </a:lnTo>
                  <a:lnTo>
                    <a:pt x="27778" y="24455"/>
                  </a:lnTo>
                  <a:lnTo>
                    <a:pt x="27665" y="24794"/>
                  </a:lnTo>
                  <a:lnTo>
                    <a:pt x="27529" y="25133"/>
                  </a:lnTo>
                  <a:lnTo>
                    <a:pt x="27235" y="25879"/>
                  </a:lnTo>
                  <a:lnTo>
                    <a:pt x="26873" y="26648"/>
                  </a:lnTo>
                  <a:lnTo>
                    <a:pt x="26444" y="27439"/>
                  </a:lnTo>
                  <a:lnTo>
                    <a:pt x="25947" y="28275"/>
                  </a:lnTo>
                  <a:lnTo>
                    <a:pt x="25427" y="29134"/>
                  </a:lnTo>
                  <a:lnTo>
                    <a:pt x="24839" y="30015"/>
                  </a:lnTo>
                  <a:lnTo>
                    <a:pt x="24207" y="30897"/>
                  </a:lnTo>
                  <a:lnTo>
                    <a:pt x="23551" y="31801"/>
                  </a:lnTo>
                  <a:lnTo>
                    <a:pt x="22873" y="32705"/>
                  </a:lnTo>
                  <a:lnTo>
                    <a:pt x="22172" y="33609"/>
                  </a:lnTo>
                  <a:lnTo>
                    <a:pt x="21449" y="34513"/>
                  </a:lnTo>
                  <a:lnTo>
                    <a:pt x="19980" y="36298"/>
                  </a:lnTo>
                  <a:lnTo>
                    <a:pt x="18511" y="37993"/>
                  </a:lnTo>
                  <a:lnTo>
                    <a:pt x="17110" y="39598"/>
                  </a:lnTo>
                  <a:lnTo>
                    <a:pt x="15776" y="41045"/>
                  </a:lnTo>
                  <a:lnTo>
                    <a:pt x="14578" y="42333"/>
                  </a:lnTo>
                  <a:lnTo>
                    <a:pt x="12815" y="44186"/>
                  </a:lnTo>
                  <a:lnTo>
                    <a:pt x="12137" y="44864"/>
                  </a:lnTo>
                  <a:lnTo>
                    <a:pt x="12137" y="44864"/>
                  </a:lnTo>
                  <a:lnTo>
                    <a:pt x="11844" y="44910"/>
                  </a:lnTo>
                  <a:lnTo>
                    <a:pt x="11572" y="44910"/>
                  </a:lnTo>
                  <a:lnTo>
                    <a:pt x="11301" y="44910"/>
                  </a:lnTo>
                  <a:lnTo>
                    <a:pt x="11030" y="44887"/>
                  </a:lnTo>
                  <a:lnTo>
                    <a:pt x="10781" y="44842"/>
                  </a:lnTo>
                  <a:lnTo>
                    <a:pt x="10555" y="44796"/>
                  </a:lnTo>
                  <a:lnTo>
                    <a:pt x="10307" y="44729"/>
                  </a:lnTo>
                  <a:lnTo>
                    <a:pt x="10103" y="44661"/>
                  </a:lnTo>
                  <a:lnTo>
                    <a:pt x="9900" y="44570"/>
                  </a:lnTo>
                  <a:lnTo>
                    <a:pt x="9696" y="44457"/>
                  </a:lnTo>
                  <a:lnTo>
                    <a:pt x="9335" y="44231"/>
                  </a:lnTo>
                  <a:lnTo>
                    <a:pt x="8996" y="43983"/>
                  </a:lnTo>
                  <a:lnTo>
                    <a:pt x="8702" y="43712"/>
                  </a:lnTo>
                  <a:lnTo>
                    <a:pt x="8453" y="43418"/>
                  </a:lnTo>
                  <a:lnTo>
                    <a:pt x="8227" y="43124"/>
                  </a:lnTo>
                  <a:lnTo>
                    <a:pt x="8024" y="42830"/>
                  </a:lnTo>
                  <a:lnTo>
                    <a:pt x="7866" y="42559"/>
                  </a:lnTo>
                  <a:lnTo>
                    <a:pt x="7617" y="42084"/>
                  </a:lnTo>
                  <a:lnTo>
                    <a:pt x="7459" y="41768"/>
                  </a:lnTo>
                  <a:lnTo>
                    <a:pt x="7459" y="41768"/>
                  </a:lnTo>
                  <a:lnTo>
                    <a:pt x="7640" y="41429"/>
                  </a:lnTo>
                  <a:lnTo>
                    <a:pt x="7866" y="41067"/>
                  </a:lnTo>
                  <a:lnTo>
                    <a:pt x="8137" y="40638"/>
                  </a:lnTo>
                  <a:lnTo>
                    <a:pt x="8476" y="40186"/>
                  </a:lnTo>
                  <a:lnTo>
                    <a:pt x="8860" y="39689"/>
                  </a:lnTo>
                  <a:lnTo>
                    <a:pt x="9290" y="39169"/>
                  </a:lnTo>
                  <a:lnTo>
                    <a:pt x="10261" y="38016"/>
                  </a:lnTo>
                  <a:lnTo>
                    <a:pt x="11346" y="36796"/>
                  </a:lnTo>
                  <a:lnTo>
                    <a:pt x="12522" y="35507"/>
                  </a:lnTo>
                  <a:lnTo>
                    <a:pt x="14963" y="32773"/>
                  </a:lnTo>
                  <a:lnTo>
                    <a:pt x="16183" y="31394"/>
                  </a:lnTo>
                  <a:lnTo>
                    <a:pt x="17313" y="30038"/>
                  </a:lnTo>
                  <a:lnTo>
                    <a:pt x="17856" y="29382"/>
                  </a:lnTo>
                  <a:lnTo>
                    <a:pt x="18353" y="28727"/>
                  </a:lnTo>
                  <a:lnTo>
                    <a:pt x="18827" y="28094"/>
                  </a:lnTo>
                  <a:lnTo>
                    <a:pt x="19257" y="27484"/>
                  </a:lnTo>
                  <a:lnTo>
                    <a:pt x="19664" y="26896"/>
                  </a:lnTo>
                  <a:lnTo>
                    <a:pt x="20003" y="26331"/>
                  </a:lnTo>
                  <a:lnTo>
                    <a:pt x="20296" y="25789"/>
                  </a:lnTo>
                  <a:lnTo>
                    <a:pt x="20522" y="25292"/>
                  </a:lnTo>
                  <a:lnTo>
                    <a:pt x="20703" y="24817"/>
                  </a:lnTo>
                  <a:lnTo>
                    <a:pt x="20748" y="24591"/>
                  </a:lnTo>
                  <a:lnTo>
                    <a:pt x="20794" y="24365"/>
                  </a:lnTo>
                  <a:lnTo>
                    <a:pt x="20816" y="24161"/>
                  </a:lnTo>
                  <a:lnTo>
                    <a:pt x="20839" y="23981"/>
                  </a:lnTo>
                  <a:lnTo>
                    <a:pt x="20816" y="23777"/>
                  </a:lnTo>
                  <a:lnTo>
                    <a:pt x="20794" y="23619"/>
                  </a:lnTo>
                  <a:lnTo>
                    <a:pt x="20794" y="23619"/>
                  </a:lnTo>
                  <a:lnTo>
                    <a:pt x="20726" y="23438"/>
                  </a:lnTo>
                  <a:lnTo>
                    <a:pt x="20635" y="23257"/>
                  </a:lnTo>
                  <a:lnTo>
                    <a:pt x="20522" y="23054"/>
                  </a:lnTo>
                  <a:lnTo>
                    <a:pt x="20364" y="22873"/>
                  </a:lnTo>
                  <a:lnTo>
                    <a:pt x="20161" y="22692"/>
                  </a:lnTo>
                  <a:lnTo>
                    <a:pt x="19957" y="22489"/>
                  </a:lnTo>
                  <a:lnTo>
                    <a:pt x="19709" y="22286"/>
                  </a:lnTo>
                  <a:lnTo>
                    <a:pt x="19438" y="22105"/>
                  </a:lnTo>
                  <a:lnTo>
                    <a:pt x="18827" y="21698"/>
                  </a:lnTo>
                  <a:lnTo>
                    <a:pt x="18127" y="21291"/>
                  </a:lnTo>
                  <a:lnTo>
                    <a:pt x="17336" y="20862"/>
                  </a:lnTo>
                  <a:lnTo>
                    <a:pt x="16477" y="20410"/>
                  </a:lnTo>
                  <a:lnTo>
                    <a:pt x="14601" y="19483"/>
                  </a:lnTo>
                  <a:lnTo>
                    <a:pt x="12567" y="18489"/>
                  </a:lnTo>
                  <a:lnTo>
                    <a:pt x="11527" y="17969"/>
                  </a:lnTo>
                  <a:lnTo>
                    <a:pt x="10465" y="17426"/>
                  </a:lnTo>
                  <a:lnTo>
                    <a:pt x="9403" y="16839"/>
                  </a:lnTo>
                  <a:lnTo>
                    <a:pt x="8340" y="16251"/>
                  </a:lnTo>
                  <a:lnTo>
                    <a:pt x="7301" y="15641"/>
                  </a:lnTo>
                  <a:lnTo>
                    <a:pt x="6306" y="14985"/>
                  </a:lnTo>
                  <a:lnTo>
                    <a:pt x="5334" y="14330"/>
                  </a:lnTo>
                  <a:lnTo>
                    <a:pt x="4860" y="13991"/>
                  </a:lnTo>
                  <a:lnTo>
                    <a:pt x="4408" y="13629"/>
                  </a:lnTo>
                  <a:lnTo>
                    <a:pt x="3978" y="13268"/>
                  </a:lnTo>
                  <a:lnTo>
                    <a:pt x="3549" y="12906"/>
                  </a:lnTo>
                  <a:lnTo>
                    <a:pt x="3165" y="12522"/>
                  </a:lnTo>
                  <a:lnTo>
                    <a:pt x="2758" y="12160"/>
                  </a:lnTo>
                  <a:lnTo>
                    <a:pt x="2396" y="11753"/>
                  </a:lnTo>
                  <a:lnTo>
                    <a:pt x="2057" y="11369"/>
                  </a:lnTo>
                  <a:lnTo>
                    <a:pt x="1741" y="10962"/>
                  </a:lnTo>
                  <a:lnTo>
                    <a:pt x="1447" y="10555"/>
                  </a:lnTo>
                  <a:lnTo>
                    <a:pt x="1153" y="10126"/>
                  </a:lnTo>
                  <a:lnTo>
                    <a:pt x="904" y="9697"/>
                  </a:lnTo>
                  <a:lnTo>
                    <a:pt x="701" y="9245"/>
                  </a:lnTo>
                  <a:lnTo>
                    <a:pt x="498" y="8815"/>
                  </a:lnTo>
                  <a:lnTo>
                    <a:pt x="339" y="8341"/>
                  </a:lnTo>
                  <a:lnTo>
                    <a:pt x="204" y="7888"/>
                  </a:lnTo>
                  <a:lnTo>
                    <a:pt x="91" y="7414"/>
                  </a:lnTo>
                  <a:lnTo>
                    <a:pt x="46" y="6917"/>
                  </a:lnTo>
                  <a:lnTo>
                    <a:pt x="0" y="6419"/>
                  </a:lnTo>
                  <a:lnTo>
                    <a:pt x="0" y="5922"/>
                  </a:lnTo>
                  <a:lnTo>
                    <a:pt x="46" y="5402"/>
                  </a:lnTo>
                  <a:lnTo>
                    <a:pt x="113" y="4882"/>
                  </a:lnTo>
                  <a:lnTo>
                    <a:pt x="249" y="4363"/>
                  </a:lnTo>
                  <a:lnTo>
                    <a:pt x="407" y="3820"/>
                  </a:lnTo>
                  <a:lnTo>
                    <a:pt x="611" y="3255"/>
                  </a:lnTo>
                  <a:lnTo>
                    <a:pt x="837" y="2690"/>
                  </a:lnTo>
                  <a:lnTo>
                    <a:pt x="837" y="2690"/>
                  </a:lnTo>
                  <a:lnTo>
                    <a:pt x="1040" y="2306"/>
                  </a:lnTo>
                  <a:lnTo>
                    <a:pt x="1311" y="1786"/>
                  </a:lnTo>
                  <a:lnTo>
                    <a:pt x="1469" y="1515"/>
                  </a:lnTo>
                  <a:lnTo>
                    <a:pt x="1673" y="1244"/>
                  </a:lnTo>
                  <a:lnTo>
                    <a:pt x="1899" y="972"/>
                  </a:lnTo>
                  <a:lnTo>
                    <a:pt x="2125" y="724"/>
                  </a:lnTo>
                  <a:lnTo>
                    <a:pt x="2396" y="498"/>
                  </a:lnTo>
                  <a:lnTo>
                    <a:pt x="2690" y="294"/>
                  </a:lnTo>
                  <a:lnTo>
                    <a:pt x="2848" y="227"/>
                  </a:lnTo>
                  <a:lnTo>
                    <a:pt x="3029" y="159"/>
                  </a:lnTo>
                  <a:lnTo>
                    <a:pt x="3187" y="91"/>
                  </a:lnTo>
                  <a:lnTo>
                    <a:pt x="3368" y="46"/>
                  </a:lnTo>
                  <a:lnTo>
                    <a:pt x="3549" y="23"/>
                  </a:lnTo>
                  <a:lnTo>
                    <a:pt x="3752" y="1"/>
                  </a:lnTo>
                  <a:lnTo>
                    <a:pt x="3956" y="1"/>
                  </a:lnTo>
                  <a:lnTo>
                    <a:pt x="4159" y="23"/>
                  </a:lnTo>
                  <a:lnTo>
                    <a:pt x="4362" y="68"/>
                  </a:lnTo>
                  <a:lnTo>
                    <a:pt x="4588" y="136"/>
                  </a:lnTo>
                  <a:lnTo>
                    <a:pt x="4814" y="204"/>
                  </a:lnTo>
                  <a:lnTo>
                    <a:pt x="5063" y="317"/>
                  </a:lnTo>
                  <a:lnTo>
                    <a:pt x="5063" y="317"/>
                  </a:lnTo>
                  <a:lnTo>
                    <a:pt x="5538" y="543"/>
                  </a:lnTo>
                  <a:lnTo>
                    <a:pt x="5990" y="792"/>
                  </a:lnTo>
                  <a:lnTo>
                    <a:pt x="6397" y="1040"/>
                  </a:lnTo>
                  <a:lnTo>
                    <a:pt x="6781" y="1266"/>
                  </a:lnTo>
                  <a:lnTo>
                    <a:pt x="7142" y="1515"/>
                  </a:lnTo>
                  <a:lnTo>
                    <a:pt x="7459" y="1741"/>
                  </a:lnTo>
                  <a:lnTo>
                    <a:pt x="7753" y="1990"/>
                  </a:lnTo>
                  <a:lnTo>
                    <a:pt x="8001" y="2216"/>
                  </a:lnTo>
                  <a:lnTo>
                    <a:pt x="8250" y="2464"/>
                  </a:lnTo>
                  <a:lnTo>
                    <a:pt x="8476" y="2690"/>
                  </a:lnTo>
                  <a:lnTo>
                    <a:pt x="8679" y="2939"/>
                  </a:lnTo>
                  <a:lnTo>
                    <a:pt x="8860" y="3165"/>
                  </a:lnTo>
                  <a:lnTo>
                    <a:pt x="9199" y="3662"/>
                  </a:lnTo>
                  <a:lnTo>
                    <a:pt x="9493" y="4137"/>
                  </a:lnTo>
                  <a:lnTo>
                    <a:pt x="9764" y="4634"/>
                  </a:lnTo>
                  <a:lnTo>
                    <a:pt x="10013" y="5131"/>
                  </a:lnTo>
                  <a:lnTo>
                    <a:pt x="10284" y="5651"/>
                  </a:lnTo>
                  <a:lnTo>
                    <a:pt x="10578" y="6171"/>
                  </a:lnTo>
                  <a:lnTo>
                    <a:pt x="10917" y="6691"/>
                  </a:lnTo>
                  <a:lnTo>
                    <a:pt x="11301" y="7233"/>
                  </a:lnTo>
                  <a:lnTo>
                    <a:pt x="11527" y="7504"/>
                  </a:lnTo>
                  <a:lnTo>
                    <a:pt x="11753" y="7775"/>
                  </a:lnTo>
                  <a:lnTo>
                    <a:pt x="12024" y="8069"/>
                  </a:lnTo>
                  <a:lnTo>
                    <a:pt x="12318" y="834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" name="Google Shape;1689;p16">
              <a:extLst>
                <a:ext uri="{FF2B5EF4-FFF2-40B4-BE49-F238E27FC236}">
                  <a16:creationId xmlns:a16="http://schemas.microsoft.com/office/drawing/2014/main" id="{1DBEFE64-C3C2-7591-58AE-40936FA39D4E}"/>
                </a:ext>
              </a:extLst>
            </p:cNvPr>
            <p:cNvSpPr/>
            <p:nvPr/>
          </p:nvSpPr>
          <p:spPr>
            <a:xfrm>
              <a:off x="5800325" y="1754250"/>
              <a:ext cx="98900" cy="178025"/>
            </a:xfrm>
            <a:custGeom>
              <a:avLst/>
              <a:gdLst/>
              <a:ahLst/>
              <a:cxnLst/>
              <a:rect l="l" t="t" r="r" b="b"/>
              <a:pathLst>
                <a:path w="3956" h="7121" extrusionOk="0">
                  <a:moveTo>
                    <a:pt x="2080" y="1"/>
                  </a:moveTo>
                  <a:lnTo>
                    <a:pt x="2057" y="23"/>
                  </a:lnTo>
                  <a:lnTo>
                    <a:pt x="1990" y="91"/>
                  </a:lnTo>
                  <a:lnTo>
                    <a:pt x="1741" y="362"/>
                  </a:lnTo>
                  <a:lnTo>
                    <a:pt x="1334" y="950"/>
                  </a:lnTo>
                  <a:lnTo>
                    <a:pt x="1198" y="1131"/>
                  </a:lnTo>
                  <a:lnTo>
                    <a:pt x="1085" y="1357"/>
                  </a:lnTo>
                  <a:lnTo>
                    <a:pt x="837" y="1854"/>
                  </a:lnTo>
                  <a:lnTo>
                    <a:pt x="611" y="2442"/>
                  </a:lnTo>
                  <a:lnTo>
                    <a:pt x="407" y="3052"/>
                  </a:lnTo>
                  <a:lnTo>
                    <a:pt x="227" y="3685"/>
                  </a:lnTo>
                  <a:lnTo>
                    <a:pt x="114" y="4273"/>
                  </a:lnTo>
                  <a:lnTo>
                    <a:pt x="23" y="4838"/>
                  </a:lnTo>
                  <a:lnTo>
                    <a:pt x="23" y="5109"/>
                  </a:lnTo>
                  <a:lnTo>
                    <a:pt x="1" y="5335"/>
                  </a:lnTo>
                  <a:lnTo>
                    <a:pt x="1" y="5493"/>
                  </a:lnTo>
                  <a:lnTo>
                    <a:pt x="23" y="5696"/>
                  </a:lnTo>
                  <a:lnTo>
                    <a:pt x="68" y="5945"/>
                  </a:lnTo>
                  <a:lnTo>
                    <a:pt x="114" y="6081"/>
                  </a:lnTo>
                  <a:lnTo>
                    <a:pt x="181" y="6216"/>
                  </a:lnTo>
                  <a:lnTo>
                    <a:pt x="272" y="6352"/>
                  </a:lnTo>
                  <a:lnTo>
                    <a:pt x="385" y="6510"/>
                  </a:lnTo>
                  <a:lnTo>
                    <a:pt x="543" y="6668"/>
                  </a:lnTo>
                  <a:lnTo>
                    <a:pt x="701" y="6804"/>
                  </a:lnTo>
                  <a:lnTo>
                    <a:pt x="905" y="6962"/>
                  </a:lnTo>
                  <a:lnTo>
                    <a:pt x="1131" y="7120"/>
                  </a:lnTo>
                  <a:lnTo>
                    <a:pt x="1537" y="6894"/>
                  </a:lnTo>
                  <a:lnTo>
                    <a:pt x="1944" y="6691"/>
                  </a:lnTo>
                  <a:lnTo>
                    <a:pt x="2329" y="6487"/>
                  </a:lnTo>
                  <a:lnTo>
                    <a:pt x="2668" y="6307"/>
                  </a:lnTo>
                  <a:lnTo>
                    <a:pt x="2984" y="6103"/>
                  </a:lnTo>
                  <a:lnTo>
                    <a:pt x="3097" y="6013"/>
                  </a:lnTo>
                  <a:lnTo>
                    <a:pt x="3210" y="5900"/>
                  </a:lnTo>
                  <a:lnTo>
                    <a:pt x="3278" y="5787"/>
                  </a:lnTo>
                  <a:lnTo>
                    <a:pt x="3323" y="5674"/>
                  </a:lnTo>
                  <a:lnTo>
                    <a:pt x="3346" y="5538"/>
                  </a:lnTo>
                  <a:lnTo>
                    <a:pt x="3346" y="5403"/>
                  </a:lnTo>
                  <a:lnTo>
                    <a:pt x="3300" y="5064"/>
                  </a:lnTo>
                  <a:lnTo>
                    <a:pt x="3278" y="4815"/>
                  </a:lnTo>
                  <a:lnTo>
                    <a:pt x="3278" y="4657"/>
                  </a:lnTo>
                  <a:lnTo>
                    <a:pt x="3300" y="4521"/>
                  </a:lnTo>
                  <a:lnTo>
                    <a:pt x="3391" y="4318"/>
                  </a:lnTo>
                  <a:lnTo>
                    <a:pt x="3459" y="4182"/>
                  </a:lnTo>
                  <a:lnTo>
                    <a:pt x="3504" y="3979"/>
                  </a:lnTo>
                  <a:lnTo>
                    <a:pt x="3572" y="3685"/>
                  </a:lnTo>
                  <a:lnTo>
                    <a:pt x="3639" y="3414"/>
                  </a:lnTo>
                  <a:lnTo>
                    <a:pt x="3707" y="3210"/>
                  </a:lnTo>
                  <a:lnTo>
                    <a:pt x="3798" y="3029"/>
                  </a:lnTo>
                  <a:lnTo>
                    <a:pt x="3911" y="2781"/>
                  </a:lnTo>
                  <a:lnTo>
                    <a:pt x="3956" y="2713"/>
                  </a:lnTo>
                  <a:lnTo>
                    <a:pt x="3368" y="1854"/>
                  </a:lnTo>
                  <a:lnTo>
                    <a:pt x="2103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3" name="Google Shape;1690;p16">
              <a:extLst>
                <a:ext uri="{FF2B5EF4-FFF2-40B4-BE49-F238E27FC236}">
                  <a16:creationId xmlns:a16="http://schemas.microsoft.com/office/drawing/2014/main" id="{BBC20605-5C00-C658-ED60-5372060A62EB}"/>
                </a:ext>
              </a:extLst>
            </p:cNvPr>
            <p:cNvSpPr/>
            <p:nvPr/>
          </p:nvSpPr>
          <p:spPr>
            <a:xfrm>
              <a:off x="5800325" y="1754250"/>
              <a:ext cx="98900" cy="178025"/>
            </a:xfrm>
            <a:custGeom>
              <a:avLst/>
              <a:gdLst/>
              <a:ahLst/>
              <a:cxnLst/>
              <a:rect l="l" t="t" r="r" b="b"/>
              <a:pathLst>
                <a:path w="3956" h="7121" fill="none" extrusionOk="0">
                  <a:moveTo>
                    <a:pt x="1131" y="7120"/>
                  </a:moveTo>
                  <a:lnTo>
                    <a:pt x="1131" y="7120"/>
                  </a:lnTo>
                  <a:lnTo>
                    <a:pt x="905" y="6962"/>
                  </a:lnTo>
                  <a:lnTo>
                    <a:pt x="701" y="6804"/>
                  </a:lnTo>
                  <a:lnTo>
                    <a:pt x="543" y="6668"/>
                  </a:lnTo>
                  <a:lnTo>
                    <a:pt x="385" y="6510"/>
                  </a:lnTo>
                  <a:lnTo>
                    <a:pt x="272" y="6352"/>
                  </a:lnTo>
                  <a:lnTo>
                    <a:pt x="181" y="6216"/>
                  </a:lnTo>
                  <a:lnTo>
                    <a:pt x="114" y="6081"/>
                  </a:lnTo>
                  <a:lnTo>
                    <a:pt x="68" y="5945"/>
                  </a:lnTo>
                  <a:lnTo>
                    <a:pt x="23" y="5696"/>
                  </a:lnTo>
                  <a:lnTo>
                    <a:pt x="1" y="5493"/>
                  </a:lnTo>
                  <a:lnTo>
                    <a:pt x="1" y="5335"/>
                  </a:lnTo>
                  <a:lnTo>
                    <a:pt x="1" y="5335"/>
                  </a:lnTo>
                  <a:lnTo>
                    <a:pt x="23" y="5109"/>
                  </a:lnTo>
                  <a:lnTo>
                    <a:pt x="23" y="4838"/>
                  </a:lnTo>
                  <a:lnTo>
                    <a:pt x="114" y="4273"/>
                  </a:lnTo>
                  <a:lnTo>
                    <a:pt x="227" y="3685"/>
                  </a:lnTo>
                  <a:lnTo>
                    <a:pt x="407" y="3052"/>
                  </a:lnTo>
                  <a:lnTo>
                    <a:pt x="611" y="2442"/>
                  </a:lnTo>
                  <a:lnTo>
                    <a:pt x="837" y="1854"/>
                  </a:lnTo>
                  <a:lnTo>
                    <a:pt x="1085" y="1357"/>
                  </a:lnTo>
                  <a:lnTo>
                    <a:pt x="1198" y="1131"/>
                  </a:lnTo>
                  <a:lnTo>
                    <a:pt x="1334" y="950"/>
                  </a:lnTo>
                  <a:lnTo>
                    <a:pt x="1334" y="950"/>
                  </a:lnTo>
                  <a:lnTo>
                    <a:pt x="1741" y="362"/>
                  </a:lnTo>
                  <a:lnTo>
                    <a:pt x="1990" y="91"/>
                  </a:lnTo>
                  <a:lnTo>
                    <a:pt x="2057" y="23"/>
                  </a:lnTo>
                  <a:lnTo>
                    <a:pt x="2080" y="1"/>
                  </a:lnTo>
                  <a:lnTo>
                    <a:pt x="2103" y="1"/>
                  </a:lnTo>
                  <a:lnTo>
                    <a:pt x="3368" y="1854"/>
                  </a:lnTo>
                  <a:lnTo>
                    <a:pt x="3956" y="2713"/>
                  </a:lnTo>
                  <a:lnTo>
                    <a:pt x="3956" y="2713"/>
                  </a:lnTo>
                  <a:lnTo>
                    <a:pt x="3911" y="2781"/>
                  </a:lnTo>
                  <a:lnTo>
                    <a:pt x="3798" y="3029"/>
                  </a:lnTo>
                  <a:lnTo>
                    <a:pt x="3707" y="3210"/>
                  </a:lnTo>
                  <a:lnTo>
                    <a:pt x="3639" y="3414"/>
                  </a:lnTo>
                  <a:lnTo>
                    <a:pt x="3572" y="3685"/>
                  </a:lnTo>
                  <a:lnTo>
                    <a:pt x="3504" y="3979"/>
                  </a:lnTo>
                  <a:lnTo>
                    <a:pt x="3504" y="3979"/>
                  </a:lnTo>
                  <a:lnTo>
                    <a:pt x="3459" y="4182"/>
                  </a:lnTo>
                  <a:lnTo>
                    <a:pt x="3391" y="4318"/>
                  </a:lnTo>
                  <a:lnTo>
                    <a:pt x="3300" y="4521"/>
                  </a:lnTo>
                  <a:lnTo>
                    <a:pt x="3278" y="4657"/>
                  </a:lnTo>
                  <a:lnTo>
                    <a:pt x="3278" y="4815"/>
                  </a:lnTo>
                  <a:lnTo>
                    <a:pt x="3300" y="5064"/>
                  </a:lnTo>
                  <a:lnTo>
                    <a:pt x="3346" y="5403"/>
                  </a:lnTo>
                  <a:lnTo>
                    <a:pt x="3346" y="5403"/>
                  </a:lnTo>
                  <a:lnTo>
                    <a:pt x="3346" y="5538"/>
                  </a:lnTo>
                  <a:lnTo>
                    <a:pt x="3323" y="5674"/>
                  </a:lnTo>
                  <a:lnTo>
                    <a:pt x="3278" y="5787"/>
                  </a:lnTo>
                  <a:lnTo>
                    <a:pt x="3210" y="5900"/>
                  </a:lnTo>
                  <a:lnTo>
                    <a:pt x="3097" y="6013"/>
                  </a:lnTo>
                  <a:lnTo>
                    <a:pt x="2984" y="6103"/>
                  </a:lnTo>
                  <a:lnTo>
                    <a:pt x="2668" y="6307"/>
                  </a:lnTo>
                  <a:lnTo>
                    <a:pt x="2329" y="6487"/>
                  </a:lnTo>
                  <a:lnTo>
                    <a:pt x="1944" y="6691"/>
                  </a:lnTo>
                  <a:lnTo>
                    <a:pt x="1537" y="6894"/>
                  </a:lnTo>
                  <a:lnTo>
                    <a:pt x="1131" y="712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" name="Google Shape;1691;p16">
              <a:extLst>
                <a:ext uri="{FF2B5EF4-FFF2-40B4-BE49-F238E27FC236}">
                  <a16:creationId xmlns:a16="http://schemas.microsoft.com/office/drawing/2014/main" id="{198E805D-EB72-B5DD-89AD-8D62F1AB0751}"/>
                </a:ext>
              </a:extLst>
            </p:cNvPr>
            <p:cNvSpPr/>
            <p:nvPr/>
          </p:nvSpPr>
          <p:spPr>
            <a:xfrm>
              <a:off x="5886775" y="1822075"/>
              <a:ext cx="12450" cy="35050"/>
            </a:xfrm>
            <a:custGeom>
              <a:avLst/>
              <a:gdLst/>
              <a:ahLst/>
              <a:cxnLst/>
              <a:rect l="l" t="t" r="r" b="b"/>
              <a:pathLst>
                <a:path w="498" h="1402" extrusionOk="0">
                  <a:moveTo>
                    <a:pt x="498" y="0"/>
                  </a:moveTo>
                  <a:lnTo>
                    <a:pt x="453" y="68"/>
                  </a:lnTo>
                  <a:lnTo>
                    <a:pt x="340" y="316"/>
                  </a:lnTo>
                  <a:lnTo>
                    <a:pt x="249" y="497"/>
                  </a:lnTo>
                  <a:lnTo>
                    <a:pt x="181" y="701"/>
                  </a:lnTo>
                  <a:lnTo>
                    <a:pt x="114" y="972"/>
                  </a:lnTo>
                  <a:lnTo>
                    <a:pt x="46" y="1266"/>
                  </a:lnTo>
                  <a:lnTo>
                    <a:pt x="1" y="1401"/>
                  </a:lnTo>
                  <a:lnTo>
                    <a:pt x="23" y="1401"/>
                  </a:lnTo>
                  <a:lnTo>
                    <a:pt x="91" y="1085"/>
                  </a:lnTo>
                  <a:lnTo>
                    <a:pt x="159" y="814"/>
                  </a:lnTo>
                  <a:lnTo>
                    <a:pt x="317" y="384"/>
                  </a:lnTo>
                  <a:lnTo>
                    <a:pt x="453" y="90"/>
                  </a:lnTo>
                  <a:lnTo>
                    <a:pt x="498" y="0"/>
                  </a:lnTo>
                  <a:close/>
                </a:path>
              </a:pathLst>
            </a:custGeom>
            <a:solidFill>
              <a:srgbClr val="E2E2E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" name="Google Shape;1692;p16">
              <a:extLst>
                <a:ext uri="{FF2B5EF4-FFF2-40B4-BE49-F238E27FC236}">
                  <a16:creationId xmlns:a16="http://schemas.microsoft.com/office/drawing/2014/main" id="{3FBFE441-6926-14B1-7157-45A37DBA488E}"/>
                </a:ext>
              </a:extLst>
            </p:cNvPr>
            <p:cNvSpPr/>
            <p:nvPr/>
          </p:nvSpPr>
          <p:spPr>
            <a:xfrm>
              <a:off x="5886775" y="1822075"/>
              <a:ext cx="12450" cy="35050"/>
            </a:xfrm>
            <a:custGeom>
              <a:avLst/>
              <a:gdLst/>
              <a:ahLst/>
              <a:cxnLst/>
              <a:rect l="l" t="t" r="r" b="b"/>
              <a:pathLst>
                <a:path w="498" h="1402" fill="none" extrusionOk="0">
                  <a:moveTo>
                    <a:pt x="498" y="0"/>
                  </a:moveTo>
                  <a:lnTo>
                    <a:pt x="498" y="0"/>
                  </a:lnTo>
                  <a:lnTo>
                    <a:pt x="453" y="68"/>
                  </a:lnTo>
                  <a:lnTo>
                    <a:pt x="340" y="316"/>
                  </a:lnTo>
                  <a:lnTo>
                    <a:pt x="249" y="497"/>
                  </a:lnTo>
                  <a:lnTo>
                    <a:pt x="181" y="701"/>
                  </a:lnTo>
                  <a:lnTo>
                    <a:pt x="114" y="972"/>
                  </a:lnTo>
                  <a:lnTo>
                    <a:pt x="46" y="1266"/>
                  </a:lnTo>
                  <a:lnTo>
                    <a:pt x="46" y="1266"/>
                  </a:lnTo>
                  <a:lnTo>
                    <a:pt x="1" y="1401"/>
                  </a:lnTo>
                  <a:lnTo>
                    <a:pt x="1" y="1401"/>
                  </a:lnTo>
                  <a:lnTo>
                    <a:pt x="23" y="1401"/>
                  </a:lnTo>
                  <a:lnTo>
                    <a:pt x="23" y="1401"/>
                  </a:lnTo>
                  <a:lnTo>
                    <a:pt x="23" y="1401"/>
                  </a:lnTo>
                  <a:lnTo>
                    <a:pt x="23" y="1401"/>
                  </a:lnTo>
                  <a:lnTo>
                    <a:pt x="91" y="1085"/>
                  </a:lnTo>
                  <a:lnTo>
                    <a:pt x="159" y="814"/>
                  </a:lnTo>
                  <a:lnTo>
                    <a:pt x="317" y="384"/>
                  </a:lnTo>
                  <a:lnTo>
                    <a:pt x="453" y="90"/>
                  </a:lnTo>
                  <a:lnTo>
                    <a:pt x="49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" name="Google Shape;1693;p16">
              <a:extLst>
                <a:ext uri="{FF2B5EF4-FFF2-40B4-BE49-F238E27FC236}">
                  <a16:creationId xmlns:a16="http://schemas.microsoft.com/office/drawing/2014/main" id="{B5FD1603-C8F1-4251-F0CB-F2342C6C8935}"/>
                </a:ext>
              </a:extLst>
            </p:cNvPr>
            <p:cNvSpPr/>
            <p:nvPr/>
          </p:nvSpPr>
          <p:spPr>
            <a:xfrm>
              <a:off x="5839325" y="1800600"/>
              <a:ext cx="59900" cy="56525"/>
            </a:xfrm>
            <a:custGeom>
              <a:avLst/>
              <a:gdLst/>
              <a:ahLst/>
              <a:cxnLst/>
              <a:rect l="l" t="t" r="r" b="b"/>
              <a:pathLst>
                <a:path w="2396" h="2261" extrusionOk="0">
                  <a:moveTo>
                    <a:pt x="1808" y="0"/>
                  </a:moveTo>
                  <a:lnTo>
                    <a:pt x="1175" y="136"/>
                  </a:lnTo>
                  <a:lnTo>
                    <a:pt x="656" y="271"/>
                  </a:lnTo>
                  <a:lnTo>
                    <a:pt x="430" y="317"/>
                  </a:lnTo>
                  <a:lnTo>
                    <a:pt x="249" y="384"/>
                  </a:lnTo>
                  <a:lnTo>
                    <a:pt x="158" y="452"/>
                  </a:lnTo>
                  <a:lnTo>
                    <a:pt x="68" y="543"/>
                  </a:lnTo>
                  <a:lnTo>
                    <a:pt x="23" y="656"/>
                  </a:lnTo>
                  <a:lnTo>
                    <a:pt x="0" y="791"/>
                  </a:lnTo>
                  <a:lnTo>
                    <a:pt x="0" y="949"/>
                  </a:lnTo>
                  <a:lnTo>
                    <a:pt x="23" y="1108"/>
                  </a:lnTo>
                  <a:lnTo>
                    <a:pt x="68" y="1266"/>
                  </a:lnTo>
                  <a:lnTo>
                    <a:pt x="158" y="1424"/>
                  </a:lnTo>
                  <a:lnTo>
                    <a:pt x="271" y="1582"/>
                  </a:lnTo>
                  <a:lnTo>
                    <a:pt x="407" y="1740"/>
                  </a:lnTo>
                  <a:lnTo>
                    <a:pt x="565" y="1876"/>
                  </a:lnTo>
                  <a:lnTo>
                    <a:pt x="769" y="2012"/>
                  </a:lnTo>
                  <a:lnTo>
                    <a:pt x="1017" y="2102"/>
                  </a:lnTo>
                  <a:lnTo>
                    <a:pt x="1266" y="2192"/>
                  </a:lnTo>
                  <a:lnTo>
                    <a:pt x="1582" y="2238"/>
                  </a:lnTo>
                  <a:lnTo>
                    <a:pt x="1899" y="2260"/>
                  </a:lnTo>
                  <a:lnTo>
                    <a:pt x="1944" y="2125"/>
                  </a:lnTo>
                  <a:lnTo>
                    <a:pt x="2012" y="1831"/>
                  </a:lnTo>
                  <a:lnTo>
                    <a:pt x="2079" y="1560"/>
                  </a:lnTo>
                  <a:lnTo>
                    <a:pt x="2147" y="1356"/>
                  </a:lnTo>
                  <a:lnTo>
                    <a:pt x="2238" y="1175"/>
                  </a:lnTo>
                  <a:lnTo>
                    <a:pt x="2351" y="927"/>
                  </a:lnTo>
                  <a:lnTo>
                    <a:pt x="2396" y="859"/>
                  </a:lnTo>
                  <a:lnTo>
                    <a:pt x="1808" y="0"/>
                  </a:lnTo>
                  <a:close/>
                </a:path>
              </a:pathLst>
            </a:custGeom>
            <a:solidFill>
              <a:srgbClr val="D49C9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" name="Google Shape;1694;p16">
              <a:extLst>
                <a:ext uri="{FF2B5EF4-FFF2-40B4-BE49-F238E27FC236}">
                  <a16:creationId xmlns:a16="http://schemas.microsoft.com/office/drawing/2014/main" id="{017F4495-D089-7312-B6ED-9939336C136B}"/>
                </a:ext>
              </a:extLst>
            </p:cNvPr>
            <p:cNvSpPr/>
            <p:nvPr/>
          </p:nvSpPr>
          <p:spPr>
            <a:xfrm>
              <a:off x="5839325" y="1800600"/>
              <a:ext cx="59900" cy="56525"/>
            </a:xfrm>
            <a:custGeom>
              <a:avLst/>
              <a:gdLst/>
              <a:ahLst/>
              <a:cxnLst/>
              <a:rect l="l" t="t" r="r" b="b"/>
              <a:pathLst>
                <a:path w="2396" h="2261" fill="none" extrusionOk="0">
                  <a:moveTo>
                    <a:pt x="1808" y="0"/>
                  </a:moveTo>
                  <a:lnTo>
                    <a:pt x="1808" y="0"/>
                  </a:lnTo>
                  <a:lnTo>
                    <a:pt x="1175" y="136"/>
                  </a:lnTo>
                  <a:lnTo>
                    <a:pt x="656" y="271"/>
                  </a:lnTo>
                  <a:lnTo>
                    <a:pt x="430" y="317"/>
                  </a:lnTo>
                  <a:lnTo>
                    <a:pt x="249" y="384"/>
                  </a:lnTo>
                  <a:lnTo>
                    <a:pt x="249" y="384"/>
                  </a:lnTo>
                  <a:lnTo>
                    <a:pt x="158" y="452"/>
                  </a:lnTo>
                  <a:lnTo>
                    <a:pt x="68" y="543"/>
                  </a:lnTo>
                  <a:lnTo>
                    <a:pt x="23" y="656"/>
                  </a:lnTo>
                  <a:lnTo>
                    <a:pt x="0" y="791"/>
                  </a:lnTo>
                  <a:lnTo>
                    <a:pt x="0" y="949"/>
                  </a:lnTo>
                  <a:lnTo>
                    <a:pt x="23" y="1108"/>
                  </a:lnTo>
                  <a:lnTo>
                    <a:pt x="68" y="1266"/>
                  </a:lnTo>
                  <a:lnTo>
                    <a:pt x="158" y="1424"/>
                  </a:lnTo>
                  <a:lnTo>
                    <a:pt x="271" y="1582"/>
                  </a:lnTo>
                  <a:lnTo>
                    <a:pt x="407" y="1740"/>
                  </a:lnTo>
                  <a:lnTo>
                    <a:pt x="565" y="1876"/>
                  </a:lnTo>
                  <a:lnTo>
                    <a:pt x="769" y="2012"/>
                  </a:lnTo>
                  <a:lnTo>
                    <a:pt x="1017" y="2102"/>
                  </a:lnTo>
                  <a:lnTo>
                    <a:pt x="1266" y="2192"/>
                  </a:lnTo>
                  <a:lnTo>
                    <a:pt x="1582" y="2238"/>
                  </a:lnTo>
                  <a:lnTo>
                    <a:pt x="1899" y="2260"/>
                  </a:lnTo>
                  <a:lnTo>
                    <a:pt x="1899" y="2260"/>
                  </a:lnTo>
                  <a:lnTo>
                    <a:pt x="1944" y="2125"/>
                  </a:lnTo>
                  <a:lnTo>
                    <a:pt x="1944" y="2125"/>
                  </a:lnTo>
                  <a:lnTo>
                    <a:pt x="2012" y="1831"/>
                  </a:lnTo>
                  <a:lnTo>
                    <a:pt x="2079" y="1560"/>
                  </a:lnTo>
                  <a:lnTo>
                    <a:pt x="2147" y="1356"/>
                  </a:lnTo>
                  <a:lnTo>
                    <a:pt x="2238" y="1175"/>
                  </a:lnTo>
                  <a:lnTo>
                    <a:pt x="2351" y="927"/>
                  </a:lnTo>
                  <a:lnTo>
                    <a:pt x="2396" y="859"/>
                  </a:lnTo>
                  <a:lnTo>
                    <a:pt x="2396" y="859"/>
                  </a:lnTo>
                  <a:lnTo>
                    <a:pt x="180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" name="Google Shape;1695;p16">
              <a:extLst>
                <a:ext uri="{FF2B5EF4-FFF2-40B4-BE49-F238E27FC236}">
                  <a16:creationId xmlns:a16="http://schemas.microsoft.com/office/drawing/2014/main" id="{45F3B1F8-6A4A-D98D-C0F4-7027652CC38D}"/>
                </a:ext>
              </a:extLst>
            </p:cNvPr>
            <p:cNvSpPr/>
            <p:nvPr/>
          </p:nvSpPr>
          <p:spPr>
            <a:xfrm>
              <a:off x="5825750" y="1705675"/>
              <a:ext cx="126600" cy="146925"/>
            </a:xfrm>
            <a:custGeom>
              <a:avLst/>
              <a:gdLst/>
              <a:ahLst/>
              <a:cxnLst/>
              <a:rect l="l" t="t" r="r" b="b"/>
              <a:pathLst>
                <a:path w="5064" h="5877" extrusionOk="0">
                  <a:moveTo>
                    <a:pt x="362" y="0"/>
                  </a:moveTo>
                  <a:lnTo>
                    <a:pt x="294" y="384"/>
                  </a:lnTo>
                  <a:lnTo>
                    <a:pt x="159" y="1334"/>
                  </a:lnTo>
                  <a:lnTo>
                    <a:pt x="91" y="1899"/>
                  </a:lnTo>
                  <a:lnTo>
                    <a:pt x="23" y="2441"/>
                  </a:lnTo>
                  <a:lnTo>
                    <a:pt x="1" y="2938"/>
                  </a:lnTo>
                  <a:lnTo>
                    <a:pt x="1" y="3164"/>
                  </a:lnTo>
                  <a:lnTo>
                    <a:pt x="23" y="3345"/>
                  </a:lnTo>
                  <a:lnTo>
                    <a:pt x="68" y="3526"/>
                  </a:lnTo>
                  <a:lnTo>
                    <a:pt x="159" y="3707"/>
                  </a:lnTo>
                  <a:lnTo>
                    <a:pt x="272" y="3910"/>
                  </a:lnTo>
                  <a:lnTo>
                    <a:pt x="430" y="4114"/>
                  </a:lnTo>
                  <a:lnTo>
                    <a:pt x="611" y="4294"/>
                  </a:lnTo>
                  <a:lnTo>
                    <a:pt x="837" y="4498"/>
                  </a:lnTo>
                  <a:lnTo>
                    <a:pt x="1063" y="4701"/>
                  </a:lnTo>
                  <a:lnTo>
                    <a:pt x="1334" y="4882"/>
                  </a:lnTo>
                  <a:lnTo>
                    <a:pt x="1605" y="5063"/>
                  </a:lnTo>
                  <a:lnTo>
                    <a:pt x="1922" y="5244"/>
                  </a:lnTo>
                  <a:lnTo>
                    <a:pt x="2238" y="5402"/>
                  </a:lnTo>
                  <a:lnTo>
                    <a:pt x="2555" y="5537"/>
                  </a:lnTo>
                  <a:lnTo>
                    <a:pt x="2894" y="5650"/>
                  </a:lnTo>
                  <a:lnTo>
                    <a:pt x="3233" y="5763"/>
                  </a:lnTo>
                  <a:lnTo>
                    <a:pt x="3572" y="5831"/>
                  </a:lnTo>
                  <a:lnTo>
                    <a:pt x="3911" y="5876"/>
                  </a:lnTo>
                  <a:lnTo>
                    <a:pt x="4046" y="5876"/>
                  </a:lnTo>
                  <a:lnTo>
                    <a:pt x="4137" y="5809"/>
                  </a:lnTo>
                  <a:lnTo>
                    <a:pt x="4227" y="5696"/>
                  </a:lnTo>
                  <a:lnTo>
                    <a:pt x="4272" y="5560"/>
                  </a:lnTo>
                  <a:lnTo>
                    <a:pt x="4318" y="5402"/>
                  </a:lnTo>
                  <a:lnTo>
                    <a:pt x="4340" y="5198"/>
                  </a:lnTo>
                  <a:lnTo>
                    <a:pt x="4363" y="4792"/>
                  </a:lnTo>
                  <a:lnTo>
                    <a:pt x="4408" y="4385"/>
                  </a:lnTo>
                  <a:lnTo>
                    <a:pt x="4431" y="4204"/>
                  </a:lnTo>
                  <a:lnTo>
                    <a:pt x="4453" y="4023"/>
                  </a:lnTo>
                  <a:lnTo>
                    <a:pt x="4498" y="3888"/>
                  </a:lnTo>
                  <a:lnTo>
                    <a:pt x="4566" y="3797"/>
                  </a:lnTo>
                  <a:lnTo>
                    <a:pt x="4657" y="3729"/>
                  </a:lnTo>
                  <a:lnTo>
                    <a:pt x="4792" y="3729"/>
                  </a:lnTo>
                  <a:lnTo>
                    <a:pt x="4905" y="3707"/>
                  </a:lnTo>
                  <a:lnTo>
                    <a:pt x="4950" y="3684"/>
                  </a:lnTo>
                  <a:lnTo>
                    <a:pt x="4973" y="3662"/>
                  </a:lnTo>
                  <a:lnTo>
                    <a:pt x="5041" y="3571"/>
                  </a:lnTo>
                  <a:lnTo>
                    <a:pt x="5063" y="3436"/>
                  </a:lnTo>
                  <a:lnTo>
                    <a:pt x="5063" y="3255"/>
                  </a:lnTo>
                  <a:lnTo>
                    <a:pt x="5041" y="3051"/>
                  </a:lnTo>
                  <a:lnTo>
                    <a:pt x="4973" y="2599"/>
                  </a:lnTo>
                  <a:lnTo>
                    <a:pt x="4770" y="1560"/>
                  </a:lnTo>
                  <a:lnTo>
                    <a:pt x="4702" y="1040"/>
                  </a:lnTo>
                  <a:lnTo>
                    <a:pt x="4679" y="814"/>
                  </a:lnTo>
                  <a:lnTo>
                    <a:pt x="4679" y="610"/>
                  </a:lnTo>
                  <a:lnTo>
                    <a:pt x="362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Google Shape;1696;p16">
              <a:extLst>
                <a:ext uri="{FF2B5EF4-FFF2-40B4-BE49-F238E27FC236}">
                  <a16:creationId xmlns:a16="http://schemas.microsoft.com/office/drawing/2014/main" id="{904F4FE8-A30B-E299-5343-1963FCCCE012}"/>
                </a:ext>
              </a:extLst>
            </p:cNvPr>
            <p:cNvSpPr/>
            <p:nvPr/>
          </p:nvSpPr>
          <p:spPr>
            <a:xfrm>
              <a:off x="5781675" y="1649175"/>
              <a:ext cx="183675" cy="143525"/>
            </a:xfrm>
            <a:custGeom>
              <a:avLst/>
              <a:gdLst/>
              <a:ahLst/>
              <a:cxnLst/>
              <a:rect l="l" t="t" r="r" b="b"/>
              <a:pathLst>
                <a:path w="7347" h="5741" extrusionOk="0">
                  <a:moveTo>
                    <a:pt x="4702" y="0"/>
                  </a:moveTo>
                  <a:lnTo>
                    <a:pt x="4521" y="23"/>
                  </a:lnTo>
                  <a:lnTo>
                    <a:pt x="4385" y="90"/>
                  </a:lnTo>
                  <a:lnTo>
                    <a:pt x="4250" y="158"/>
                  </a:lnTo>
                  <a:lnTo>
                    <a:pt x="4137" y="226"/>
                  </a:lnTo>
                  <a:lnTo>
                    <a:pt x="4001" y="271"/>
                  </a:lnTo>
                  <a:lnTo>
                    <a:pt x="3843" y="316"/>
                  </a:lnTo>
                  <a:lnTo>
                    <a:pt x="3640" y="316"/>
                  </a:lnTo>
                  <a:lnTo>
                    <a:pt x="3459" y="294"/>
                  </a:lnTo>
                  <a:lnTo>
                    <a:pt x="3233" y="249"/>
                  </a:lnTo>
                  <a:lnTo>
                    <a:pt x="2645" y="113"/>
                  </a:lnTo>
                  <a:lnTo>
                    <a:pt x="2329" y="90"/>
                  </a:lnTo>
                  <a:lnTo>
                    <a:pt x="2012" y="68"/>
                  </a:lnTo>
                  <a:lnTo>
                    <a:pt x="1877" y="90"/>
                  </a:lnTo>
                  <a:lnTo>
                    <a:pt x="1718" y="113"/>
                  </a:lnTo>
                  <a:lnTo>
                    <a:pt x="1583" y="158"/>
                  </a:lnTo>
                  <a:lnTo>
                    <a:pt x="1470" y="203"/>
                  </a:lnTo>
                  <a:lnTo>
                    <a:pt x="1266" y="339"/>
                  </a:lnTo>
                  <a:lnTo>
                    <a:pt x="1108" y="475"/>
                  </a:lnTo>
                  <a:lnTo>
                    <a:pt x="973" y="610"/>
                  </a:lnTo>
                  <a:lnTo>
                    <a:pt x="882" y="746"/>
                  </a:lnTo>
                  <a:lnTo>
                    <a:pt x="814" y="881"/>
                  </a:lnTo>
                  <a:lnTo>
                    <a:pt x="747" y="1017"/>
                  </a:lnTo>
                  <a:lnTo>
                    <a:pt x="679" y="1311"/>
                  </a:lnTo>
                  <a:lnTo>
                    <a:pt x="634" y="1627"/>
                  </a:lnTo>
                  <a:lnTo>
                    <a:pt x="566" y="1944"/>
                  </a:lnTo>
                  <a:lnTo>
                    <a:pt x="498" y="2125"/>
                  </a:lnTo>
                  <a:lnTo>
                    <a:pt x="430" y="2283"/>
                  </a:lnTo>
                  <a:lnTo>
                    <a:pt x="340" y="2464"/>
                  </a:lnTo>
                  <a:lnTo>
                    <a:pt x="204" y="2644"/>
                  </a:lnTo>
                  <a:lnTo>
                    <a:pt x="136" y="2780"/>
                  </a:lnTo>
                  <a:lnTo>
                    <a:pt x="69" y="2893"/>
                  </a:lnTo>
                  <a:lnTo>
                    <a:pt x="23" y="3006"/>
                  </a:lnTo>
                  <a:lnTo>
                    <a:pt x="1" y="3142"/>
                  </a:lnTo>
                  <a:lnTo>
                    <a:pt x="1" y="3277"/>
                  </a:lnTo>
                  <a:lnTo>
                    <a:pt x="1" y="3413"/>
                  </a:lnTo>
                  <a:lnTo>
                    <a:pt x="23" y="3684"/>
                  </a:lnTo>
                  <a:lnTo>
                    <a:pt x="114" y="3955"/>
                  </a:lnTo>
                  <a:lnTo>
                    <a:pt x="227" y="4204"/>
                  </a:lnTo>
                  <a:lnTo>
                    <a:pt x="385" y="4475"/>
                  </a:lnTo>
                  <a:lnTo>
                    <a:pt x="543" y="4724"/>
                  </a:lnTo>
                  <a:lnTo>
                    <a:pt x="747" y="4950"/>
                  </a:lnTo>
                  <a:lnTo>
                    <a:pt x="927" y="5176"/>
                  </a:lnTo>
                  <a:lnTo>
                    <a:pt x="1108" y="5357"/>
                  </a:lnTo>
                  <a:lnTo>
                    <a:pt x="1312" y="5515"/>
                  </a:lnTo>
                  <a:lnTo>
                    <a:pt x="1470" y="5628"/>
                  </a:lnTo>
                  <a:lnTo>
                    <a:pt x="1605" y="5718"/>
                  </a:lnTo>
                  <a:lnTo>
                    <a:pt x="1741" y="5741"/>
                  </a:lnTo>
                  <a:lnTo>
                    <a:pt x="1786" y="5741"/>
                  </a:lnTo>
                  <a:lnTo>
                    <a:pt x="1809" y="5718"/>
                  </a:lnTo>
                  <a:lnTo>
                    <a:pt x="1877" y="5673"/>
                  </a:lnTo>
                  <a:lnTo>
                    <a:pt x="1922" y="5583"/>
                  </a:lnTo>
                  <a:lnTo>
                    <a:pt x="1944" y="5492"/>
                  </a:lnTo>
                  <a:lnTo>
                    <a:pt x="1967" y="5402"/>
                  </a:lnTo>
                  <a:lnTo>
                    <a:pt x="2012" y="5153"/>
                  </a:lnTo>
                  <a:lnTo>
                    <a:pt x="2012" y="4904"/>
                  </a:lnTo>
                  <a:lnTo>
                    <a:pt x="2012" y="4656"/>
                  </a:lnTo>
                  <a:lnTo>
                    <a:pt x="2035" y="4430"/>
                  </a:lnTo>
                  <a:lnTo>
                    <a:pt x="2057" y="4317"/>
                  </a:lnTo>
                  <a:lnTo>
                    <a:pt x="2103" y="4249"/>
                  </a:lnTo>
                  <a:lnTo>
                    <a:pt x="2148" y="4181"/>
                  </a:lnTo>
                  <a:lnTo>
                    <a:pt x="2193" y="4113"/>
                  </a:lnTo>
                  <a:lnTo>
                    <a:pt x="2396" y="4046"/>
                  </a:lnTo>
                  <a:lnTo>
                    <a:pt x="2532" y="4023"/>
                  </a:lnTo>
                  <a:lnTo>
                    <a:pt x="2577" y="4023"/>
                  </a:lnTo>
                  <a:lnTo>
                    <a:pt x="2645" y="4046"/>
                  </a:lnTo>
                  <a:lnTo>
                    <a:pt x="2736" y="4113"/>
                  </a:lnTo>
                  <a:lnTo>
                    <a:pt x="2826" y="4226"/>
                  </a:lnTo>
                  <a:lnTo>
                    <a:pt x="2894" y="4362"/>
                  </a:lnTo>
                  <a:lnTo>
                    <a:pt x="3007" y="4520"/>
                  </a:lnTo>
                  <a:lnTo>
                    <a:pt x="3120" y="4701"/>
                  </a:lnTo>
                  <a:lnTo>
                    <a:pt x="3278" y="4859"/>
                  </a:lnTo>
                  <a:lnTo>
                    <a:pt x="3459" y="4972"/>
                  </a:lnTo>
                  <a:lnTo>
                    <a:pt x="3640" y="5063"/>
                  </a:lnTo>
                  <a:lnTo>
                    <a:pt x="3888" y="5063"/>
                  </a:lnTo>
                  <a:lnTo>
                    <a:pt x="3956" y="5018"/>
                  </a:lnTo>
                  <a:lnTo>
                    <a:pt x="3979" y="4972"/>
                  </a:lnTo>
                  <a:lnTo>
                    <a:pt x="4024" y="4904"/>
                  </a:lnTo>
                  <a:lnTo>
                    <a:pt x="4024" y="4814"/>
                  </a:lnTo>
                  <a:lnTo>
                    <a:pt x="4001" y="4701"/>
                  </a:lnTo>
                  <a:lnTo>
                    <a:pt x="3979" y="4588"/>
                  </a:lnTo>
                  <a:lnTo>
                    <a:pt x="3911" y="4430"/>
                  </a:lnTo>
                  <a:lnTo>
                    <a:pt x="3798" y="4136"/>
                  </a:lnTo>
                  <a:lnTo>
                    <a:pt x="3730" y="3910"/>
                  </a:lnTo>
                  <a:lnTo>
                    <a:pt x="3730" y="3820"/>
                  </a:lnTo>
                  <a:lnTo>
                    <a:pt x="3753" y="3752"/>
                  </a:lnTo>
                  <a:lnTo>
                    <a:pt x="3775" y="3684"/>
                  </a:lnTo>
                  <a:lnTo>
                    <a:pt x="3820" y="3639"/>
                  </a:lnTo>
                  <a:lnTo>
                    <a:pt x="3866" y="3616"/>
                  </a:lnTo>
                  <a:lnTo>
                    <a:pt x="3933" y="3594"/>
                  </a:lnTo>
                  <a:lnTo>
                    <a:pt x="4069" y="3571"/>
                  </a:lnTo>
                  <a:lnTo>
                    <a:pt x="4250" y="3571"/>
                  </a:lnTo>
                  <a:lnTo>
                    <a:pt x="4431" y="3616"/>
                  </a:lnTo>
                  <a:lnTo>
                    <a:pt x="4770" y="3729"/>
                  </a:lnTo>
                  <a:lnTo>
                    <a:pt x="4973" y="3797"/>
                  </a:lnTo>
                  <a:lnTo>
                    <a:pt x="5063" y="3820"/>
                  </a:lnTo>
                  <a:lnTo>
                    <a:pt x="5176" y="3820"/>
                  </a:lnTo>
                  <a:lnTo>
                    <a:pt x="5289" y="3797"/>
                  </a:lnTo>
                  <a:lnTo>
                    <a:pt x="5425" y="3752"/>
                  </a:lnTo>
                  <a:lnTo>
                    <a:pt x="5493" y="3729"/>
                  </a:lnTo>
                  <a:lnTo>
                    <a:pt x="5538" y="3684"/>
                  </a:lnTo>
                  <a:lnTo>
                    <a:pt x="5561" y="3639"/>
                  </a:lnTo>
                  <a:lnTo>
                    <a:pt x="5583" y="3571"/>
                  </a:lnTo>
                  <a:lnTo>
                    <a:pt x="5583" y="3435"/>
                  </a:lnTo>
                  <a:lnTo>
                    <a:pt x="5583" y="3277"/>
                  </a:lnTo>
                  <a:lnTo>
                    <a:pt x="5583" y="3142"/>
                  </a:lnTo>
                  <a:lnTo>
                    <a:pt x="5606" y="3096"/>
                  </a:lnTo>
                  <a:lnTo>
                    <a:pt x="5651" y="3051"/>
                  </a:lnTo>
                  <a:lnTo>
                    <a:pt x="5696" y="3006"/>
                  </a:lnTo>
                  <a:lnTo>
                    <a:pt x="5764" y="2961"/>
                  </a:lnTo>
                  <a:lnTo>
                    <a:pt x="5877" y="2938"/>
                  </a:lnTo>
                  <a:lnTo>
                    <a:pt x="6284" y="2938"/>
                  </a:lnTo>
                  <a:lnTo>
                    <a:pt x="6420" y="2916"/>
                  </a:lnTo>
                  <a:lnTo>
                    <a:pt x="6578" y="2870"/>
                  </a:lnTo>
                  <a:lnTo>
                    <a:pt x="6713" y="2825"/>
                  </a:lnTo>
                  <a:lnTo>
                    <a:pt x="6826" y="2757"/>
                  </a:lnTo>
                  <a:lnTo>
                    <a:pt x="6962" y="2690"/>
                  </a:lnTo>
                  <a:lnTo>
                    <a:pt x="7052" y="2577"/>
                  </a:lnTo>
                  <a:lnTo>
                    <a:pt x="7143" y="2486"/>
                  </a:lnTo>
                  <a:lnTo>
                    <a:pt x="7233" y="2351"/>
                  </a:lnTo>
                  <a:lnTo>
                    <a:pt x="7301" y="2215"/>
                  </a:lnTo>
                  <a:lnTo>
                    <a:pt x="7324" y="2034"/>
                  </a:lnTo>
                  <a:lnTo>
                    <a:pt x="7346" y="1853"/>
                  </a:lnTo>
                  <a:lnTo>
                    <a:pt x="7346" y="1650"/>
                  </a:lnTo>
                  <a:lnTo>
                    <a:pt x="7301" y="1446"/>
                  </a:lnTo>
                  <a:lnTo>
                    <a:pt x="7233" y="1198"/>
                  </a:lnTo>
                  <a:lnTo>
                    <a:pt x="7165" y="994"/>
                  </a:lnTo>
                  <a:lnTo>
                    <a:pt x="7075" y="836"/>
                  </a:lnTo>
                  <a:lnTo>
                    <a:pt x="7007" y="723"/>
                  </a:lnTo>
                  <a:lnTo>
                    <a:pt x="6917" y="655"/>
                  </a:lnTo>
                  <a:lnTo>
                    <a:pt x="6826" y="610"/>
                  </a:lnTo>
                  <a:lnTo>
                    <a:pt x="6736" y="588"/>
                  </a:lnTo>
                  <a:lnTo>
                    <a:pt x="6646" y="610"/>
                  </a:lnTo>
                  <a:lnTo>
                    <a:pt x="6555" y="633"/>
                  </a:lnTo>
                  <a:lnTo>
                    <a:pt x="6352" y="746"/>
                  </a:lnTo>
                  <a:lnTo>
                    <a:pt x="6148" y="859"/>
                  </a:lnTo>
                  <a:lnTo>
                    <a:pt x="5922" y="972"/>
                  </a:lnTo>
                  <a:lnTo>
                    <a:pt x="5787" y="1017"/>
                  </a:lnTo>
                  <a:lnTo>
                    <a:pt x="5651" y="1040"/>
                  </a:lnTo>
                  <a:lnTo>
                    <a:pt x="5583" y="1017"/>
                  </a:lnTo>
                  <a:lnTo>
                    <a:pt x="5538" y="994"/>
                  </a:lnTo>
                  <a:lnTo>
                    <a:pt x="5493" y="949"/>
                  </a:lnTo>
                  <a:lnTo>
                    <a:pt x="5470" y="904"/>
                  </a:lnTo>
                  <a:lnTo>
                    <a:pt x="5470" y="746"/>
                  </a:lnTo>
                  <a:lnTo>
                    <a:pt x="5448" y="565"/>
                  </a:lnTo>
                  <a:lnTo>
                    <a:pt x="5425" y="362"/>
                  </a:lnTo>
                  <a:lnTo>
                    <a:pt x="5402" y="271"/>
                  </a:lnTo>
                  <a:lnTo>
                    <a:pt x="5357" y="203"/>
                  </a:lnTo>
                  <a:lnTo>
                    <a:pt x="5289" y="136"/>
                  </a:lnTo>
                  <a:lnTo>
                    <a:pt x="5199" y="68"/>
                  </a:lnTo>
                  <a:lnTo>
                    <a:pt x="5086" y="23"/>
                  </a:lnTo>
                  <a:lnTo>
                    <a:pt x="4928" y="0"/>
                  </a:lnTo>
                  <a:close/>
                </a:path>
              </a:pathLst>
            </a:custGeom>
            <a:solidFill>
              <a:srgbClr val="3331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" name="Google Shape;1697;p16">
              <a:extLst>
                <a:ext uri="{FF2B5EF4-FFF2-40B4-BE49-F238E27FC236}">
                  <a16:creationId xmlns:a16="http://schemas.microsoft.com/office/drawing/2014/main" id="{3E0A4262-B588-CC3A-1294-ACA4068D05AD}"/>
                </a:ext>
              </a:extLst>
            </p:cNvPr>
            <p:cNvSpPr/>
            <p:nvPr/>
          </p:nvSpPr>
          <p:spPr>
            <a:xfrm>
              <a:off x="5507075" y="1835050"/>
              <a:ext cx="382550" cy="615925"/>
            </a:xfrm>
            <a:custGeom>
              <a:avLst/>
              <a:gdLst/>
              <a:ahLst/>
              <a:cxnLst/>
              <a:rect l="l" t="t" r="r" b="b"/>
              <a:pathLst>
                <a:path w="15302" h="24637" extrusionOk="0">
                  <a:moveTo>
                    <a:pt x="11527" y="1"/>
                  </a:moveTo>
                  <a:lnTo>
                    <a:pt x="11098" y="249"/>
                  </a:lnTo>
                  <a:lnTo>
                    <a:pt x="10714" y="475"/>
                  </a:lnTo>
                  <a:lnTo>
                    <a:pt x="9990" y="950"/>
                  </a:lnTo>
                  <a:lnTo>
                    <a:pt x="9403" y="1402"/>
                  </a:lnTo>
                  <a:lnTo>
                    <a:pt x="8905" y="1786"/>
                  </a:lnTo>
                  <a:lnTo>
                    <a:pt x="8521" y="2125"/>
                  </a:lnTo>
                  <a:lnTo>
                    <a:pt x="8250" y="2374"/>
                  </a:lnTo>
                  <a:lnTo>
                    <a:pt x="8047" y="2600"/>
                  </a:lnTo>
                  <a:lnTo>
                    <a:pt x="4634" y="10850"/>
                  </a:lnTo>
                  <a:lnTo>
                    <a:pt x="1967" y="17246"/>
                  </a:lnTo>
                  <a:lnTo>
                    <a:pt x="859" y="19845"/>
                  </a:lnTo>
                  <a:lnTo>
                    <a:pt x="68" y="21630"/>
                  </a:lnTo>
                  <a:lnTo>
                    <a:pt x="23" y="21789"/>
                  </a:lnTo>
                  <a:lnTo>
                    <a:pt x="0" y="21924"/>
                  </a:lnTo>
                  <a:lnTo>
                    <a:pt x="23" y="22037"/>
                  </a:lnTo>
                  <a:lnTo>
                    <a:pt x="91" y="22128"/>
                  </a:lnTo>
                  <a:lnTo>
                    <a:pt x="181" y="22218"/>
                  </a:lnTo>
                  <a:lnTo>
                    <a:pt x="317" y="22308"/>
                  </a:lnTo>
                  <a:lnTo>
                    <a:pt x="475" y="22376"/>
                  </a:lnTo>
                  <a:lnTo>
                    <a:pt x="656" y="22444"/>
                  </a:lnTo>
                  <a:lnTo>
                    <a:pt x="1085" y="22602"/>
                  </a:lnTo>
                  <a:lnTo>
                    <a:pt x="1583" y="22760"/>
                  </a:lnTo>
                  <a:lnTo>
                    <a:pt x="2148" y="22964"/>
                  </a:lnTo>
                  <a:lnTo>
                    <a:pt x="2441" y="23077"/>
                  </a:lnTo>
                  <a:lnTo>
                    <a:pt x="2735" y="23212"/>
                  </a:lnTo>
                  <a:lnTo>
                    <a:pt x="3391" y="23506"/>
                  </a:lnTo>
                  <a:lnTo>
                    <a:pt x="4023" y="23777"/>
                  </a:lnTo>
                  <a:lnTo>
                    <a:pt x="4634" y="23981"/>
                  </a:lnTo>
                  <a:lnTo>
                    <a:pt x="5244" y="24162"/>
                  </a:lnTo>
                  <a:lnTo>
                    <a:pt x="5809" y="24297"/>
                  </a:lnTo>
                  <a:lnTo>
                    <a:pt x="6351" y="24433"/>
                  </a:lnTo>
                  <a:lnTo>
                    <a:pt x="6871" y="24501"/>
                  </a:lnTo>
                  <a:lnTo>
                    <a:pt x="7369" y="24569"/>
                  </a:lnTo>
                  <a:lnTo>
                    <a:pt x="7821" y="24614"/>
                  </a:lnTo>
                  <a:lnTo>
                    <a:pt x="8227" y="24636"/>
                  </a:lnTo>
                  <a:lnTo>
                    <a:pt x="8928" y="24636"/>
                  </a:lnTo>
                  <a:lnTo>
                    <a:pt x="9403" y="24614"/>
                  </a:lnTo>
                  <a:lnTo>
                    <a:pt x="9674" y="24546"/>
                  </a:lnTo>
                  <a:lnTo>
                    <a:pt x="9719" y="24501"/>
                  </a:lnTo>
                  <a:lnTo>
                    <a:pt x="9809" y="24388"/>
                  </a:lnTo>
                  <a:lnTo>
                    <a:pt x="10058" y="23913"/>
                  </a:lnTo>
                  <a:lnTo>
                    <a:pt x="10420" y="23190"/>
                  </a:lnTo>
                  <a:lnTo>
                    <a:pt x="10849" y="22218"/>
                  </a:lnTo>
                  <a:lnTo>
                    <a:pt x="11346" y="21043"/>
                  </a:lnTo>
                  <a:lnTo>
                    <a:pt x="11889" y="19687"/>
                  </a:lnTo>
                  <a:lnTo>
                    <a:pt x="12454" y="18150"/>
                  </a:lnTo>
                  <a:lnTo>
                    <a:pt x="12996" y="16500"/>
                  </a:lnTo>
                  <a:lnTo>
                    <a:pt x="13267" y="15641"/>
                  </a:lnTo>
                  <a:lnTo>
                    <a:pt x="13539" y="14737"/>
                  </a:lnTo>
                  <a:lnTo>
                    <a:pt x="13810" y="13833"/>
                  </a:lnTo>
                  <a:lnTo>
                    <a:pt x="14036" y="12906"/>
                  </a:lnTo>
                  <a:lnTo>
                    <a:pt x="14285" y="11980"/>
                  </a:lnTo>
                  <a:lnTo>
                    <a:pt x="14488" y="11030"/>
                  </a:lnTo>
                  <a:lnTo>
                    <a:pt x="14691" y="10058"/>
                  </a:lnTo>
                  <a:lnTo>
                    <a:pt x="14850" y="9109"/>
                  </a:lnTo>
                  <a:lnTo>
                    <a:pt x="15008" y="8137"/>
                  </a:lnTo>
                  <a:lnTo>
                    <a:pt x="15121" y="7188"/>
                  </a:lnTo>
                  <a:lnTo>
                    <a:pt x="15211" y="6239"/>
                  </a:lnTo>
                  <a:lnTo>
                    <a:pt x="15279" y="5290"/>
                  </a:lnTo>
                  <a:lnTo>
                    <a:pt x="15302" y="4363"/>
                  </a:lnTo>
                  <a:lnTo>
                    <a:pt x="15279" y="3459"/>
                  </a:lnTo>
                  <a:lnTo>
                    <a:pt x="15234" y="2555"/>
                  </a:lnTo>
                  <a:lnTo>
                    <a:pt x="15143" y="1696"/>
                  </a:lnTo>
                  <a:lnTo>
                    <a:pt x="15098" y="1560"/>
                  </a:lnTo>
                  <a:lnTo>
                    <a:pt x="15076" y="1515"/>
                  </a:lnTo>
                  <a:lnTo>
                    <a:pt x="15008" y="1515"/>
                  </a:lnTo>
                  <a:lnTo>
                    <a:pt x="14963" y="1538"/>
                  </a:lnTo>
                  <a:lnTo>
                    <a:pt x="14895" y="1628"/>
                  </a:lnTo>
                  <a:lnTo>
                    <a:pt x="14827" y="1764"/>
                  </a:lnTo>
                  <a:lnTo>
                    <a:pt x="14782" y="1945"/>
                  </a:lnTo>
                  <a:lnTo>
                    <a:pt x="14759" y="2103"/>
                  </a:lnTo>
                  <a:lnTo>
                    <a:pt x="14782" y="2284"/>
                  </a:lnTo>
                  <a:lnTo>
                    <a:pt x="14782" y="2442"/>
                  </a:lnTo>
                  <a:lnTo>
                    <a:pt x="14782" y="2600"/>
                  </a:lnTo>
                  <a:lnTo>
                    <a:pt x="14759" y="2736"/>
                  </a:lnTo>
                  <a:lnTo>
                    <a:pt x="14714" y="2871"/>
                  </a:lnTo>
                  <a:lnTo>
                    <a:pt x="14624" y="2962"/>
                  </a:lnTo>
                  <a:lnTo>
                    <a:pt x="14578" y="3007"/>
                  </a:lnTo>
                  <a:lnTo>
                    <a:pt x="14511" y="3029"/>
                  </a:lnTo>
                  <a:lnTo>
                    <a:pt x="14420" y="3052"/>
                  </a:lnTo>
                  <a:lnTo>
                    <a:pt x="14352" y="3052"/>
                  </a:lnTo>
                  <a:lnTo>
                    <a:pt x="14126" y="3007"/>
                  </a:lnTo>
                  <a:lnTo>
                    <a:pt x="13946" y="2916"/>
                  </a:lnTo>
                  <a:lnTo>
                    <a:pt x="13787" y="2758"/>
                  </a:lnTo>
                  <a:lnTo>
                    <a:pt x="13629" y="2577"/>
                  </a:lnTo>
                  <a:lnTo>
                    <a:pt x="13493" y="2374"/>
                  </a:lnTo>
                  <a:lnTo>
                    <a:pt x="13358" y="2148"/>
                  </a:lnTo>
                  <a:lnTo>
                    <a:pt x="13222" y="1899"/>
                  </a:lnTo>
                  <a:lnTo>
                    <a:pt x="12974" y="1357"/>
                  </a:lnTo>
                  <a:lnTo>
                    <a:pt x="12838" y="1108"/>
                  </a:lnTo>
                  <a:lnTo>
                    <a:pt x="12680" y="837"/>
                  </a:lnTo>
                  <a:lnTo>
                    <a:pt x="12544" y="611"/>
                  </a:lnTo>
                  <a:lnTo>
                    <a:pt x="12363" y="408"/>
                  </a:lnTo>
                  <a:lnTo>
                    <a:pt x="12183" y="249"/>
                  </a:lnTo>
                  <a:lnTo>
                    <a:pt x="12002" y="114"/>
                  </a:lnTo>
                  <a:lnTo>
                    <a:pt x="11889" y="69"/>
                  </a:lnTo>
                  <a:lnTo>
                    <a:pt x="11776" y="23"/>
                  </a:lnTo>
                  <a:lnTo>
                    <a:pt x="11663" y="23"/>
                  </a:lnTo>
                  <a:lnTo>
                    <a:pt x="1152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" name="Google Shape;1698;p16">
              <a:extLst>
                <a:ext uri="{FF2B5EF4-FFF2-40B4-BE49-F238E27FC236}">
                  <a16:creationId xmlns:a16="http://schemas.microsoft.com/office/drawing/2014/main" id="{6DD896DC-F787-1789-4EF7-8D4A5B139490}"/>
                </a:ext>
              </a:extLst>
            </p:cNvPr>
            <p:cNvSpPr/>
            <p:nvPr/>
          </p:nvSpPr>
          <p:spPr>
            <a:xfrm>
              <a:off x="5507075" y="1835050"/>
              <a:ext cx="382550" cy="615925"/>
            </a:xfrm>
            <a:custGeom>
              <a:avLst/>
              <a:gdLst/>
              <a:ahLst/>
              <a:cxnLst/>
              <a:rect l="l" t="t" r="r" b="b"/>
              <a:pathLst>
                <a:path w="15302" h="24637" fill="none" extrusionOk="0">
                  <a:moveTo>
                    <a:pt x="11527" y="1"/>
                  </a:moveTo>
                  <a:lnTo>
                    <a:pt x="11527" y="1"/>
                  </a:lnTo>
                  <a:lnTo>
                    <a:pt x="11663" y="23"/>
                  </a:lnTo>
                  <a:lnTo>
                    <a:pt x="11776" y="23"/>
                  </a:lnTo>
                  <a:lnTo>
                    <a:pt x="11889" y="69"/>
                  </a:lnTo>
                  <a:lnTo>
                    <a:pt x="12002" y="114"/>
                  </a:lnTo>
                  <a:lnTo>
                    <a:pt x="12183" y="249"/>
                  </a:lnTo>
                  <a:lnTo>
                    <a:pt x="12363" y="408"/>
                  </a:lnTo>
                  <a:lnTo>
                    <a:pt x="12544" y="611"/>
                  </a:lnTo>
                  <a:lnTo>
                    <a:pt x="12680" y="837"/>
                  </a:lnTo>
                  <a:lnTo>
                    <a:pt x="12838" y="1108"/>
                  </a:lnTo>
                  <a:lnTo>
                    <a:pt x="12974" y="1357"/>
                  </a:lnTo>
                  <a:lnTo>
                    <a:pt x="13222" y="1899"/>
                  </a:lnTo>
                  <a:lnTo>
                    <a:pt x="13358" y="2148"/>
                  </a:lnTo>
                  <a:lnTo>
                    <a:pt x="13493" y="2374"/>
                  </a:lnTo>
                  <a:lnTo>
                    <a:pt x="13629" y="2577"/>
                  </a:lnTo>
                  <a:lnTo>
                    <a:pt x="13787" y="2758"/>
                  </a:lnTo>
                  <a:lnTo>
                    <a:pt x="13946" y="2916"/>
                  </a:lnTo>
                  <a:lnTo>
                    <a:pt x="14126" y="3007"/>
                  </a:lnTo>
                  <a:lnTo>
                    <a:pt x="14126" y="3007"/>
                  </a:lnTo>
                  <a:lnTo>
                    <a:pt x="14352" y="3052"/>
                  </a:lnTo>
                  <a:lnTo>
                    <a:pt x="14420" y="3052"/>
                  </a:lnTo>
                  <a:lnTo>
                    <a:pt x="14511" y="3029"/>
                  </a:lnTo>
                  <a:lnTo>
                    <a:pt x="14578" y="3007"/>
                  </a:lnTo>
                  <a:lnTo>
                    <a:pt x="14624" y="2962"/>
                  </a:lnTo>
                  <a:lnTo>
                    <a:pt x="14714" y="2871"/>
                  </a:lnTo>
                  <a:lnTo>
                    <a:pt x="14759" y="2736"/>
                  </a:lnTo>
                  <a:lnTo>
                    <a:pt x="14782" y="2600"/>
                  </a:lnTo>
                  <a:lnTo>
                    <a:pt x="14782" y="2442"/>
                  </a:lnTo>
                  <a:lnTo>
                    <a:pt x="14782" y="2284"/>
                  </a:lnTo>
                  <a:lnTo>
                    <a:pt x="14782" y="2284"/>
                  </a:lnTo>
                  <a:lnTo>
                    <a:pt x="14759" y="2103"/>
                  </a:lnTo>
                  <a:lnTo>
                    <a:pt x="14782" y="1945"/>
                  </a:lnTo>
                  <a:lnTo>
                    <a:pt x="14827" y="1764"/>
                  </a:lnTo>
                  <a:lnTo>
                    <a:pt x="14895" y="1628"/>
                  </a:lnTo>
                  <a:lnTo>
                    <a:pt x="14963" y="1538"/>
                  </a:lnTo>
                  <a:lnTo>
                    <a:pt x="15008" y="1515"/>
                  </a:lnTo>
                  <a:lnTo>
                    <a:pt x="15030" y="1515"/>
                  </a:lnTo>
                  <a:lnTo>
                    <a:pt x="15076" y="1515"/>
                  </a:lnTo>
                  <a:lnTo>
                    <a:pt x="15098" y="1560"/>
                  </a:lnTo>
                  <a:lnTo>
                    <a:pt x="15143" y="1696"/>
                  </a:lnTo>
                  <a:lnTo>
                    <a:pt x="15143" y="1696"/>
                  </a:lnTo>
                  <a:lnTo>
                    <a:pt x="15234" y="2555"/>
                  </a:lnTo>
                  <a:lnTo>
                    <a:pt x="15279" y="3459"/>
                  </a:lnTo>
                  <a:lnTo>
                    <a:pt x="15302" y="4363"/>
                  </a:lnTo>
                  <a:lnTo>
                    <a:pt x="15279" y="5290"/>
                  </a:lnTo>
                  <a:lnTo>
                    <a:pt x="15211" y="6239"/>
                  </a:lnTo>
                  <a:lnTo>
                    <a:pt x="15121" y="7188"/>
                  </a:lnTo>
                  <a:lnTo>
                    <a:pt x="15008" y="8137"/>
                  </a:lnTo>
                  <a:lnTo>
                    <a:pt x="14850" y="9109"/>
                  </a:lnTo>
                  <a:lnTo>
                    <a:pt x="14691" y="10058"/>
                  </a:lnTo>
                  <a:lnTo>
                    <a:pt x="14488" y="11030"/>
                  </a:lnTo>
                  <a:lnTo>
                    <a:pt x="14285" y="11980"/>
                  </a:lnTo>
                  <a:lnTo>
                    <a:pt x="14036" y="12906"/>
                  </a:lnTo>
                  <a:lnTo>
                    <a:pt x="13810" y="13833"/>
                  </a:lnTo>
                  <a:lnTo>
                    <a:pt x="13539" y="14737"/>
                  </a:lnTo>
                  <a:lnTo>
                    <a:pt x="13267" y="15641"/>
                  </a:lnTo>
                  <a:lnTo>
                    <a:pt x="12996" y="16500"/>
                  </a:lnTo>
                  <a:lnTo>
                    <a:pt x="12454" y="18150"/>
                  </a:lnTo>
                  <a:lnTo>
                    <a:pt x="11889" y="19687"/>
                  </a:lnTo>
                  <a:lnTo>
                    <a:pt x="11346" y="21043"/>
                  </a:lnTo>
                  <a:lnTo>
                    <a:pt x="10849" y="22218"/>
                  </a:lnTo>
                  <a:lnTo>
                    <a:pt x="10420" y="23190"/>
                  </a:lnTo>
                  <a:lnTo>
                    <a:pt x="10058" y="23913"/>
                  </a:lnTo>
                  <a:lnTo>
                    <a:pt x="9809" y="24388"/>
                  </a:lnTo>
                  <a:lnTo>
                    <a:pt x="9719" y="24501"/>
                  </a:lnTo>
                  <a:lnTo>
                    <a:pt x="9674" y="24546"/>
                  </a:lnTo>
                  <a:lnTo>
                    <a:pt x="9674" y="24546"/>
                  </a:lnTo>
                  <a:lnTo>
                    <a:pt x="9403" y="24614"/>
                  </a:lnTo>
                  <a:lnTo>
                    <a:pt x="8928" y="24636"/>
                  </a:lnTo>
                  <a:lnTo>
                    <a:pt x="8227" y="24636"/>
                  </a:lnTo>
                  <a:lnTo>
                    <a:pt x="7821" y="24614"/>
                  </a:lnTo>
                  <a:lnTo>
                    <a:pt x="7369" y="24569"/>
                  </a:lnTo>
                  <a:lnTo>
                    <a:pt x="6871" y="24501"/>
                  </a:lnTo>
                  <a:lnTo>
                    <a:pt x="6351" y="24433"/>
                  </a:lnTo>
                  <a:lnTo>
                    <a:pt x="5809" y="24297"/>
                  </a:lnTo>
                  <a:lnTo>
                    <a:pt x="5244" y="24162"/>
                  </a:lnTo>
                  <a:lnTo>
                    <a:pt x="4634" y="23981"/>
                  </a:lnTo>
                  <a:lnTo>
                    <a:pt x="4023" y="23777"/>
                  </a:lnTo>
                  <a:lnTo>
                    <a:pt x="3391" y="23506"/>
                  </a:lnTo>
                  <a:lnTo>
                    <a:pt x="2735" y="23212"/>
                  </a:lnTo>
                  <a:lnTo>
                    <a:pt x="2735" y="23212"/>
                  </a:lnTo>
                  <a:lnTo>
                    <a:pt x="2441" y="23077"/>
                  </a:lnTo>
                  <a:lnTo>
                    <a:pt x="2148" y="22964"/>
                  </a:lnTo>
                  <a:lnTo>
                    <a:pt x="1583" y="22760"/>
                  </a:lnTo>
                  <a:lnTo>
                    <a:pt x="1085" y="22602"/>
                  </a:lnTo>
                  <a:lnTo>
                    <a:pt x="656" y="22444"/>
                  </a:lnTo>
                  <a:lnTo>
                    <a:pt x="475" y="22376"/>
                  </a:lnTo>
                  <a:lnTo>
                    <a:pt x="317" y="22308"/>
                  </a:lnTo>
                  <a:lnTo>
                    <a:pt x="181" y="22218"/>
                  </a:lnTo>
                  <a:lnTo>
                    <a:pt x="91" y="22128"/>
                  </a:lnTo>
                  <a:lnTo>
                    <a:pt x="23" y="22037"/>
                  </a:lnTo>
                  <a:lnTo>
                    <a:pt x="0" y="21924"/>
                  </a:lnTo>
                  <a:lnTo>
                    <a:pt x="23" y="21789"/>
                  </a:lnTo>
                  <a:lnTo>
                    <a:pt x="68" y="21630"/>
                  </a:lnTo>
                  <a:lnTo>
                    <a:pt x="68" y="21630"/>
                  </a:lnTo>
                  <a:lnTo>
                    <a:pt x="859" y="19845"/>
                  </a:lnTo>
                  <a:lnTo>
                    <a:pt x="1967" y="17246"/>
                  </a:lnTo>
                  <a:lnTo>
                    <a:pt x="4634" y="10850"/>
                  </a:lnTo>
                  <a:lnTo>
                    <a:pt x="8047" y="2600"/>
                  </a:lnTo>
                  <a:lnTo>
                    <a:pt x="8047" y="2600"/>
                  </a:lnTo>
                  <a:lnTo>
                    <a:pt x="8250" y="2374"/>
                  </a:lnTo>
                  <a:lnTo>
                    <a:pt x="8521" y="2125"/>
                  </a:lnTo>
                  <a:lnTo>
                    <a:pt x="8905" y="1786"/>
                  </a:lnTo>
                  <a:lnTo>
                    <a:pt x="9403" y="1402"/>
                  </a:lnTo>
                  <a:lnTo>
                    <a:pt x="9990" y="950"/>
                  </a:lnTo>
                  <a:lnTo>
                    <a:pt x="10714" y="475"/>
                  </a:lnTo>
                  <a:lnTo>
                    <a:pt x="11098" y="249"/>
                  </a:lnTo>
                  <a:lnTo>
                    <a:pt x="1152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" name="Google Shape;1699;p16">
              <a:extLst>
                <a:ext uri="{FF2B5EF4-FFF2-40B4-BE49-F238E27FC236}">
                  <a16:creationId xmlns:a16="http://schemas.microsoft.com/office/drawing/2014/main" id="{7D0A169A-3B0B-E685-9FCE-424A099C42B5}"/>
                </a:ext>
              </a:extLst>
            </p:cNvPr>
            <p:cNvSpPr/>
            <p:nvPr/>
          </p:nvSpPr>
          <p:spPr>
            <a:xfrm>
              <a:off x="5401400" y="1835625"/>
              <a:ext cx="397250" cy="784850"/>
            </a:xfrm>
            <a:custGeom>
              <a:avLst/>
              <a:gdLst/>
              <a:ahLst/>
              <a:cxnLst/>
              <a:rect l="l" t="t" r="r" b="b"/>
              <a:pathLst>
                <a:path w="15890" h="31394" extrusionOk="0">
                  <a:moveTo>
                    <a:pt x="15709" y="0"/>
                  </a:moveTo>
                  <a:lnTo>
                    <a:pt x="15483" y="46"/>
                  </a:lnTo>
                  <a:lnTo>
                    <a:pt x="15189" y="136"/>
                  </a:lnTo>
                  <a:lnTo>
                    <a:pt x="14760" y="317"/>
                  </a:lnTo>
                  <a:lnTo>
                    <a:pt x="14172" y="565"/>
                  </a:lnTo>
                  <a:lnTo>
                    <a:pt x="13449" y="950"/>
                  </a:lnTo>
                  <a:lnTo>
                    <a:pt x="12545" y="1470"/>
                  </a:lnTo>
                  <a:lnTo>
                    <a:pt x="11460" y="2148"/>
                  </a:lnTo>
                  <a:lnTo>
                    <a:pt x="10940" y="2487"/>
                  </a:lnTo>
                  <a:lnTo>
                    <a:pt x="10398" y="2893"/>
                  </a:lnTo>
                  <a:lnTo>
                    <a:pt x="9833" y="3368"/>
                  </a:lnTo>
                  <a:lnTo>
                    <a:pt x="9539" y="3617"/>
                  </a:lnTo>
                  <a:lnTo>
                    <a:pt x="9268" y="3888"/>
                  </a:lnTo>
                  <a:lnTo>
                    <a:pt x="8996" y="4182"/>
                  </a:lnTo>
                  <a:lnTo>
                    <a:pt x="8725" y="4498"/>
                  </a:lnTo>
                  <a:lnTo>
                    <a:pt x="8477" y="4815"/>
                  </a:lnTo>
                  <a:lnTo>
                    <a:pt x="8250" y="5176"/>
                  </a:lnTo>
                  <a:lnTo>
                    <a:pt x="8024" y="5538"/>
                  </a:lnTo>
                  <a:lnTo>
                    <a:pt x="7844" y="5922"/>
                  </a:lnTo>
                  <a:lnTo>
                    <a:pt x="7663" y="6329"/>
                  </a:lnTo>
                  <a:lnTo>
                    <a:pt x="7527" y="6758"/>
                  </a:lnTo>
                  <a:lnTo>
                    <a:pt x="7324" y="7414"/>
                  </a:lnTo>
                  <a:lnTo>
                    <a:pt x="7143" y="8092"/>
                  </a:lnTo>
                  <a:lnTo>
                    <a:pt x="6985" y="8725"/>
                  </a:lnTo>
                  <a:lnTo>
                    <a:pt x="6849" y="9357"/>
                  </a:lnTo>
                  <a:lnTo>
                    <a:pt x="6646" y="10578"/>
                  </a:lnTo>
                  <a:lnTo>
                    <a:pt x="6442" y="11731"/>
                  </a:lnTo>
                  <a:lnTo>
                    <a:pt x="6284" y="12815"/>
                  </a:lnTo>
                  <a:lnTo>
                    <a:pt x="6126" y="13855"/>
                  </a:lnTo>
                  <a:lnTo>
                    <a:pt x="5923" y="14850"/>
                  </a:lnTo>
                  <a:lnTo>
                    <a:pt x="5810" y="15324"/>
                  </a:lnTo>
                  <a:lnTo>
                    <a:pt x="5697" y="15776"/>
                  </a:lnTo>
                  <a:lnTo>
                    <a:pt x="5561" y="16251"/>
                  </a:lnTo>
                  <a:lnTo>
                    <a:pt x="5448" y="16725"/>
                  </a:lnTo>
                  <a:lnTo>
                    <a:pt x="5199" y="17765"/>
                  </a:lnTo>
                  <a:lnTo>
                    <a:pt x="4951" y="18850"/>
                  </a:lnTo>
                  <a:lnTo>
                    <a:pt x="4815" y="19415"/>
                  </a:lnTo>
                  <a:lnTo>
                    <a:pt x="4634" y="19980"/>
                  </a:lnTo>
                  <a:lnTo>
                    <a:pt x="4453" y="20522"/>
                  </a:lnTo>
                  <a:lnTo>
                    <a:pt x="4250" y="21088"/>
                  </a:lnTo>
                  <a:lnTo>
                    <a:pt x="4024" y="21630"/>
                  </a:lnTo>
                  <a:lnTo>
                    <a:pt x="3775" y="22150"/>
                  </a:lnTo>
                  <a:lnTo>
                    <a:pt x="3459" y="22670"/>
                  </a:lnTo>
                  <a:lnTo>
                    <a:pt x="3143" y="23167"/>
                  </a:lnTo>
                  <a:lnTo>
                    <a:pt x="2758" y="23641"/>
                  </a:lnTo>
                  <a:lnTo>
                    <a:pt x="2555" y="23867"/>
                  </a:lnTo>
                  <a:lnTo>
                    <a:pt x="2329" y="24093"/>
                  </a:lnTo>
                  <a:lnTo>
                    <a:pt x="1854" y="24568"/>
                  </a:lnTo>
                  <a:lnTo>
                    <a:pt x="1447" y="25043"/>
                  </a:lnTo>
                  <a:lnTo>
                    <a:pt x="1063" y="25495"/>
                  </a:lnTo>
                  <a:lnTo>
                    <a:pt x="747" y="25947"/>
                  </a:lnTo>
                  <a:lnTo>
                    <a:pt x="476" y="26399"/>
                  </a:lnTo>
                  <a:lnTo>
                    <a:pt x="272" y="26851"/>
                  </a:lnTo>
                  <a:lnTo>
                    <a:pt x="114" y="27280"/>
                  </a:lnTo>
                  <a:lnTo>
                    <a:pt x="69" y="27506"/>
                  </a:lnTo>
                  <a:lnTo>
                    <a:pt x="24" y="27710"/>
                  </a:lnTo>
                  <a:lnTo>
                    <a:pt x="1" y="27913"/>
                  </a:lnTo>
                  <a:lnTo>
                    <a:pt x="1" y="28117"/>
                  </a:lnTo>
                  <a:lnTo>
                    <a:pt x="1" y="28320"/>
                  </a:lnTo>
                  <a:lnTo>
                    <a:pt x="24" y="28523"/>
                  </a:lnTo>
                  <a:lnTo>
                    <a:pt x="46" y="28727"/>
                  </a:lnTo>
                  <a:lnTo>
                    <a:pt x="114" y="28908"/>
                  </a:lnTo>
                  <a:lnTo>
                    <a:pt x="182" y="29088"/>
                  </a:lnTo>
                  <a:lnTo>
                    <a:pt x="250" y="29292"/>
                  </a:lnTo>
                  <a:lnTo>
                    <a:pt x="363" y="29450"/>
                  </a:lnTo>
                  <a:lnTo>
                    <a:pt x="476" y="29631"/>
                  </a:lnTo>
                  <a:lnTo>
                    <a:pt x="611" y="29812"/>
                  </a:lnTo>
                  <a:lnTo>
                    <a:pt x="769" y="29970"/>
                  </a:lnTo>
                  <a:lnTo>
                    <a:pt x="928" y="30128"/>
                  </a:lnTo>
                  <a:lnTo>
                    <a:pt x="1108" y="30286"/>
                  </a:lnTo>
                  <a:lnTo>
                    <a:pt x="1334" y="30444"/>
                  </a:lnTo>
                  <a:lnTo>
                    <a:pt x="1538" y="30580"/>
                  </a:lnTo>
                  <a:lnTo>
                    <a:pt x="1877" y="30761"/>
                  </a:lnTo>
                  <a:lnTo>
                    <a:pt x="2216" y="30942"/>
                  </a:lnTo>
                  <a:lnTo>
                    <a:pt x="2532" y="31077"/>
                  </a:lnTo>
                  <a:lnTo>
                    <a:pt x="2849" y="31168"/>
                  </a:lnTo>
                  <a:lnTo>
                    <a:pt x="3188" y="31258"/>
                  </a:lnTo>
                  <a:lnTo>
                    <a:pt x="3504" y="31326"/>
                  </a:lnTo>
                  <a:lnTo>
                    <a:pt x="3821" y="31371"/>
                  </a:lnTo>
                  <a:lnTo>
                    <a:pt x="4137" y="31394"/>
                  </a:lnTo>
                  <a:lnTo>
                    <a:pt x="4431" y="31394"/>
                  </a:lnTo>
                  <a:lnTo>
                    <a:pt x="4747" y="31371"/>
                  </a:lnTo>
                  <a:lnTo>
                    <a:pt x="5041" y="31349"/>
                  </a:lnTo>
                  <a:lnTo>
                    <a:pt x="5335" y="31303"/>
                  </a:lnTo>
                  <a:lnTo>
                    <a:pt x="5629" y="31236"/>
                  </a:lnTo>
                  <a:lnTo>
                    <a:pt x="5923" y="31168"/>
                  </a:lnTo>
                  <a:lnTo>
                    <a:pt x="6488" y="30987"/>
                  </a:lnTo>
                  <a:lnTo>
                    <a:pt x="7030" y="30761"/>
                  </a:lnTo>
                  <a:lnTo>
                    <a:pt x="7572" y="30512"/>
                  </a:lnTo>
                  <a:lnTo>
                    <a:pt x="8070" y="30218"/>
                  </a:lnTo>
                  <a:lnTo>
                    <a:pt x="8544" y="29947"/>
                  </a:lnTo>
                  <a:lnTo>
                    <a:pt x="9403" y="29360"/>
                  </a:lnTo>
                  <a:lnTo>
                    <a:pt x="10172" y="28862"/>
                  </a:lnTo>
                  <a:lnTo>
                    <a:pt x="10352" y="28727"/>
                  </a:lnTo>
                  <a:lnTo>
                    <a:pt x="10533" y="28591"/>
                  </a:lnTo>
                  <a:lnTo>
                    <a:pt x="10691" y="28456"/>
                  </a:lnTo>
                  <a:lnTo>
                    <a:pt x="10804" y="28297"/>
                  </a:lnTo>
                  <a:lnTo>
                    <a:pt x="10917" y="28139"/>
                  </a:lnTo>
                  <a:lnTo>
                    <a:pt x="11008" y="27981"/>
                  </a:lnTo>
                  <a:lnTo>
                    <a:pt x="11098" y="27823"/>
                  </a:lnTo>
                  <a:lnTo>
                    <a:pt x="11166" y="27642"/>
                  </a:lnTo>
                  <a:lnTo>
                    <a:pt x="11256" y="27280"/>
                  </a:lnTo>
                  <a:lnTo>
                    <a:pt x="11324" y="26896"/>
                  </a:lnTo>
                  <a:lnTo>
                    <a:pt x="11369" y="26467"/>
                  </a:lnTo>
                  <a:lnTo>
                    <a:pt x="11392" y="26015"/>
                  </a:lnTo>
                  <a:lnTo>
                    <a:pt x="11437" y="25540"/>
                  </a:lnTo>
                  <a:lnTo>
                    <a:pt x="11482" y="25020"/>
                  </a:lnTo>
                  <a:lnTo>
                    <a:pt x="11573" y="24478"/>
                  </a:lnTo>
                  <a:lnTo>
                    <a:pt x="11709" y="23890"/>
                  </a:lnTo>
                  <a:lnTo>
                    <a:pt x="11867" y="23257"/>
                  </a:lnTo>
                  <a:lnTo>
                    <a:pt x="11980" y="22941"/>
                  </a:lnTo>
                  <a:lnTo>
                    <a:pt x="12115" y="22602"/>
                  </a:lnTo>
                  <a:lnTo>
                    <a:pt x="12274" y="22240"/>
                  </a:lnTo>
                  <a:lnTo>
                    <a:pt x="12454" y="21901"/>
                  </a:lnTo>
                  <a:lnTo>
                    <a:pt x="12658" y="21517"/>
                  </a:lnTo>
                  <a:lnTo>
                    <a:pt x="12861" y="21155"/>
                  </a:lnTo>
                  <a:lnTo>
                    <a:pt x="13065" y="20794"/>
                  </a:lnTo>
                  <a:lnTo>
                    <a:pt x="13245" y="20409"/>
                  </a:lnTo>
                  <a:lnTo>
                    <a:pt x="13404" y="20003"/>
                  </a:lnTo>
                  <a:lnTo>
                    <a:pt x="13539" y="19573"/>
                  </a:lnTo>
                  <a:lnTo>
                    <a:pt x="13675" y="19099"/>
                  </a:lnTo>
                  <a:lnTo>
                    <a:pt x="13788" y="18647"/>
                  </a:lnTo>
                  <a:lnTo>
                    <a:pt x="14014" y="17652"/>
                  </a:lnTo>
                  <a:lnTo>
                    <a:pt x="14421" y="15618"/>
                  </a:lnTo>
                  <a:lnTo>
                    <a:pt x="14669" y="14646"/>
                  </a:lnTo>
                  <a:lnTo>
                    <a:pt x="14805" y="14172"/>
                  </a:lnTo>
                  <a:lnTo>
                    <a:pt x="14941" y="13719"/>
                  </a:lnTo>
                  <a:lnTo>
                    <a:pt x="15099" y="13245"/>
                  </a:lnTo>
                  <a:lnTo>
                    <a:pt x="15234" y="12748"/>
                  </a:lnTo>
                  <a:lnTo>
                    <a:pt x="15347" y="12250"/>
                  </a:lnTo>
                  <a:lnTo>
                    <a:pt x="15460" y="11753"/>
                  </a:lnTo>
                  <a:lnTo>
                    <a:pt x="15551" y="11233"/>
                  </a:lnTo>
                  <a:lnTo>
                    <a:pt x="15619" y="10713"/>
                  </a:lnTo>
                  <a:lnTo>
                    <a:pt x="15754" y="9651"/>
                  </a:lnTo>
                  <a:lnTo>
                    <a:pt x="15822" y="8612"/>
                  </a:lnTo>
                  <a:lnTo>
                    <a:pt x="15867" y="7549"/>
                  </a:lnTo>
                  <a:lnTo>
                    <a:pt x="15890" y="6532"/>
                  </a:lnTo>
                  <a:lnTo>
                    <a:pt x="15867" y="5538"/>
                  </a:lnTo>
                  <a:lnTo>
                    <a:pt x="15845" y="4566"/>
                  </a:lnTo>
                  <a:lnTo>
                    <a:pt x="15799" y="3662"/>
                  </a:lnTo>
                  <a:lnTo>
                    <a:pt x="15709" y="2057"/>
                  </a:lnTo>
                  <a:lnTo>
                    <a:pt x="15664" y="814"/>
                  </a:lnTo>
                  <a:lnTo>
                    <a:pt x="15686" y="339"/>
                  </a:lnTo>
                  <a:lnTo>
                    <a:pt x="15709" y="0"/>
                  </a:lnTo>
                  <a:close/>
                </a:path>
              </a:pathLst>
            </a:custGeom>
            <a:solidFill>
              <a:srgbClr val="DE36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" name="Google Shape;1700;p16">
              <a:extLst>
                <a:ext uri="{FF2B5EF4-FFF2-40B4-BE49-F238E27FC236}">
                  <a16:creationId xmlns:a16="http://schemas.microsoft.com/office/drawing/2014/main" id="{7E0727B0-F278-C8F4-0BC0-7AE26DC070FB}"/>
                </a:ext>
              </a:extLst>
            </p:cNvPr>
            <p:cNvSpPr/>
            <p:nvPr/>
          </p:nvSpPr>
          <p:spPr>
            <a:xfrm>
              <a:off x="5401400" y="1835625"/>
              <a:ext cx="397250" cy="784850"/>
            </a:xfrm>
            <a:custGeom>
              <a:avLst/>
              <a:gdLst/>
              <a:ahLst/>
              <a:cxnLst/>
              <a:rect l="l" t="t" r="r" b="b"/>
              <a:pathLst>
                <a:path w="15890" h="31394" fill="none" extrusionOk="0">
                  <a:moveTo>
                    <a:pt x="14941" y="13719"/>
                  </a:moveTo>
                  <a:lnTo>
                    <a:pt x="14941" y="13719"/>
                  </a:lnTo>
                  <a:lnTo>
                    <a:pt x="14805" y="14172"/>
                  </a:lnTo>
                  <a:lnTo>
                    <a:pt x="14669" y="14646"/>
                  </a:lnTo>
                  <a:lnTo>
                    <a:pt x="14421" y="15618"/>
                  </a:lnTo>
                  <a:lnTo>
                    <a:pt x="14014" y="17652"/>
                  </a:lnTo>
                  <a:lnTo>
                    <a:pt x="13788" y="18647"/>
                  </a:lnTo>
                  <a:lnTo>
                    <a:pt x="13675" y="19099"/>
                  </a:lnTo>
                  <a:lnTo>
                    <a:pt x="13539" y="19573"/>
                  </a:lnTo>
                  <a:lnTo>
                    <a:pt x="13404" y="20003"/>
                  </a:lnTo>
                  <a:lnTo>
                    <a:pt x="13245" y="20409"/>
                  </a:lnTo>
                  <a:lnTo>
                    <a:pt x="13065" y="20794"/>
                  </a:lnTo>
                  <a:lnTo>
                    <a:pt x="12861" y="21155"/>
                  </a:lnTo>
                  <a:lnTo>
                    <a:pt x="12861" y="21155"/>
                  </a:lnTo>
                  <a:lnTo>
                    <a:pt x="12658" y="21517"/>
                  </a:lnTo>
                  <a:lnTo>
                    <a:pt x="12454" y="21901"/>
                  </a:lnTo>
                  <a:lnTo>
                    <a:pt x="12274" y="22240"/>
                  </a:lnTo>
                  <a:lnTo>
                    <a:pt x="12115" y="22602"/>
                  </a:lnTo>
                  <a:lnTo>
                    <a:pt x="11980" y="22941"/>
                  </a:lnTo>
                  <a:lnTo>
                    <a:pt x="11867" y="23257"/>
                  </a:lnTo>
                  <a:lnTo>
                    <a:pt x="11709" y="23890"/>
                  </a:lnTo>
                  <a:lnTo>
                    <a:pt x="11573" y="24478"/>
                  </a:lnTo>
                  <a:lnTo>
                    <a:pt x="11482" y="25020"/>
                  </a:lnTo>
                  <a:lnTo>
                    <a:pt x="11437" y="25540"/>
                  </a:lnTo>
                  <a:lnTo>
                    <a:pt x="11392" y="26015"/>
                  </a:lnTo>
                  <a:lnTo>
                    <a:pt x="11369" y="26467"/>
                  </a:lnTo>
                  <a:lnTo>
                    <a:pt x="11324" y="26896"/>
                  </a:lnTo>
                  <a:lnTo>
                    <a:pt x="11256" y="27280"/>
                  </a:lnTo>
                  <a:lnTo>
                    <a:pt x="11166" y="27642"/>
                  </a:lnTo>
                  <a:lnTo>
                    <a:pt x="11098" y="27823"/>
                  </a:lnTo>
                  <a:lnTo>
                    <a:pt x="11008" y="27981"/>
                  </a:lnTo>
                  <a:lnTo>
                    <a:pt x="10917" y="28139"/>
                  </a:lnTo>
                  <a:lnTo>
                    <a:pt x="10804" y="28297"/>
                  </a:lnTo>
                  <a:lnTo>
                    <a:pt x="10691" y="28456"/>
                  </a:lnTo>
                  <a:lnTo>
                    <a:pt x="10533" y="28591"/>
                  </a:lnTo>
                  <a:lnTo>
                    <a:pt x="10352" y="28727"/>
                  </a:lnTo>
                  <a:lnTo>
                    <a:pt x="10172" y="28862"/>
                  </a:lnTo>
                  <a:lnTo>
                    <a:pt x="10172" y="28862"/>
                  </a:lnTo>
                  <a:lnTo>
                    <a:pt x="9403" y="29360"/>
                  </a:lnTo>
                  <a:lnTo>
                    <a:pt x="8544" y="29947"/>
                  </a:lnTo>
                  <a:lnTo>
                    <a:pt x="8070" y="30218"/>
                  </a:lnTo>
                  <a:lnTo>
                    <a:pt x="7572" y="30512"/>
                  </a:lnTo>
                  <a:lnTo>
                    <a:pt x="7030" y="30761"/>
                  </a:lnTo>
                  <a:lnTo>
                    <a:pt x="6488" y="30987"/>
                  </a:lnTo>
                  <a:lnTo>
                    <a:pt x="5923" y="31168"/>
                  </a:lnTo>
                  <a:lnTo>
                    <a:pt x="5629" y="31236"/>
                  </a:lnTo>
                  <a:lnTo>
                    <a:pt x="5335" y="31303"/>
                  </a:lnTo>
                  <a:lnTo>
                    <a:pt x="5041" y="31349"/>
                  </a:lnTo>
                  <a:lnTo>
                    <a:pt x="4747" y="31371"/>
                  </a:lnTo>
                  <a:lnTo>
                    <a:pt x="4431" y="31394"/>
                  </a:lnTo>
                  <a:lnTo>
                    <a:pt x="4137" y="31394"/>
                  </a:lnTo>
                  <a:lnTo>
                    <a:pt x="3821" y="31371"/>
                  </a:lnTo>
                  <a:lnTo>
                    <a:pt x="3504" y="31326"/>
                  </a:lnTo>
                  <a:lnTo>
                    <a:pt x="3188" y="31258"/>
                  </a:lnTo>
                  <a:lnTo>
                    <a:pt x="2849" y="31168"/>
                  </a:lnTo>
                  <a:lnTo>
                    <a:pt x="2532" y="31077"/>
                  </a:lnTo>
                  <a:lnTo>
                    <a:pt x="2216" y="30942"/>
                  </a:lnTo>
                  <a:lnTo>
                    <a:pt x="1877" y="30761"/>
                  </a:lnTo>
                  <a:lnTo>
                    <a:pt x="1538" y="30580"/>
                  </a:lnTo>
                  <a:lnTo>
                    <a:pt x="1538" y="30580"/>
                  </a:lnTo>
                  <a:lnTo>
                    <a:pt x="1334" y="30444"/>
                  </a:lnTo>
                  <a:lnTo>
                    <a:pt x="1108" y="30286"/>
                  </a:lnTo>
                  <a:lnTo>
                    <a:pt x="928" y="30128"/>
                  </a:lnTo>
                  <a:lnTo>
                    <a:pt x="769" y="29970"/>
                  </a:lnTo>
                  <a:lnTo>
                    <a:pt x="611" y="29812"/>
                  </a:lnTo>
                  <a:lnTo>
                    <a:pt x="476" y="29631"/>
                  </a:lnTo>
                  <a:lnTo>
                    <a:pt x="363" y="29450"/>
                  </a:lnTo>
                  <a:lnTo>
                    <a:pt x="250" y="29292"/>
                  </a:lnTo>
                  <a:lnTo>
                    <a:pt x="182" y="29088"/>
                  </a:lnTo>
                  <a:lnTo>
                    <a:pt x="114" y="28908"/>
                  </a:lnTo>
                  <a:lnTo>
                    <a:pt x="46" y="28727"/>
                  </a:lnTo>
                  <a:lnTo>
                    <a:pt x="24" y="28523"/>
                  </a:lnTo>
                  <a:lnTo>
                    <a:pt x="1" y="28320"/>
                  </a:lnTo>
                  <a:lnTo>
                    <a:pt x="1" y="28117"/>
                  </a:lnTo>
                  <a:lnTo>
                    <a:pt x="1" y="27913"/>
                  </a:lnTo>
                  <a:lnTo>
                    <a:pt x="24" y="27710"/>
                  </a:lnTo>
                  <a:lnTo>
                    <a:pt x="69" y="27506"/>
                  </a:lnTo>
                  <a:lnTo>
                    <a:pt x="114" y="27280"/>
                  </a:lnTo>
                  <a:lnTo>
                    <a:pt x="272" y="26851"/>
                  </a:lnTo>
                  <a:lnTo>
                    <a:pt x="476" y="26399"/>
                  </a:lnTo>
                  <a:lnTo>
                    <a:pt x="747" y="25947"/>
                  </a:lnTo>
                  <a:lnTo>
                    <a:pt x="1063" y="25495"/>
                  </a:lnTo>
                  <a:lnTo>
                    <a:pt x="1447" y="25043"/>
                  </a:lnTo>
                  <a:lnTo>
                    <a:pt x="1854" y="24568"/>
                  </a:lnTo>
                  <a:lnTo>
                    <a:pt x="2329" y="24093"/>
                  </a:lnTo>
                  <a:lnTo>
                    <a:pt x="2329" y="24093"/>
                  </a:lnTo>
                  <a:lnTo>
                    <a:pt x="2555" y="23867"/>
                  </a:lnTo>
                  <a:lnTo>
                    <a:pt x="2758" y="23641"/>
                  </a:lnTo>
                  <a:lnTo>
                    <a:pt x="3143" y="23167"/>
                  </a:lnTo>
                  <a:lnTo>
                    <a:pt x="3459" y="22670"/>
                  </a:lnTo>
                  <a:lnTo>
                    <a:pt x="3775" y="22150"/>
                  </a:lnTo>
                  <a:lnTo>
                    <a:pt x="4024" y="21630"/>
                  </a:lnTo>
                  <a:lnTo>
                    <a:pt x="4250" y="21088"/>
                  </a:lnTo>
                  <a:lnTo>
                    <a:pt x="4453" y="20522"/>
                  </a:lnTo>
                  <a:lnTo>
                    <a:pt x="4634" y="19980"/>
                  </a:lnTo>
                  <a:lnTo>
                    <a:pt x="4815" y="19415"/>
                  </a:lnTo>
                  <a:lnTo>
                    <a:pt x="4951" y="18850"/>
                  </a:lnTo>
                  <a:lnTo>
                    <a:pt x="5199" y="17765"/>
                  </a:lnTo>
                  <a:lnTo>
                    <a:pt x="5448" y="16725"/>
                  </a:lnTo>
                  <a:lnTo>
                    <a:pt x="5561" y="16251"/>
                  </a:lnTo>
                  <a:lnTo>
                    <a:pt x="5697" y="15776"/>
                  </a:lnTo>
                  <a:lnTo>
                    <a:pt x="5697" y="15776"/>
                  </a:lnTo>
                  <a:lnTo>
                    <a:pt x="5810" y="15324"/>
                  </a:lnTo>
                  <a:lnTo>
                    <a:pt x="5923" y="14850"/>
                  </a:lnTo>
                  <a:lnTo>
                    <a:pt x="6126" y="13855"/>
                  </a:lnTo>
                  <a:lnTo>
                    <a:pt x="6284" y="12815"/>
                  </a:lnTo>
                  <a:lnTo>
                    <a:pt x="6442" y="11731"/>
                  </a:lnTo>
                  <a:lnTo>
                    <a:pt x="6646" y="10578"/>
                  </a:lnTo>
                  <a:lnTo>
                    <a:pt x="6849" y="9357"/>
                  </a:lnTo>
                  <a:lnTo>
                    <a:pt x="6985" y="8725"/>
                  </a:lnTo>
                  <a:lnTo>
                    <a:pt x="7143" y="8092"/>
                  </a:lnTo>
                  <a:lnTo>
                    <a:pt x="7324" y="7414"/>
                  </a:lnTo>
                  <a:lnTo>
                    <a:pt x="7527" y="6758"/>
                  </a:lnTo>
                  <a:lnTo>
                    <a:pt x="7527" y="6758"/>
                  </a:lnTo>
                  <a:lnTo>
                    <a:pt x="7663" y="6329"/>
                  </a:lnTo>
                  <a:lnTo>
                    <a:pt x="7844" y="5922"/>
                  </a:lnTo>
                  <a:lnTo>
                    <a:pt x="8024" y="5538"/>
                  </a:lnTo>
                  <a:lnTo>
                    <a:pt x="8250" y="5176"/>
                  </a:lnTo>
                  <a:lnTo>
                    <a:pt x="8477" y="4815"/>
                  </a:lnTo>
                  <a:lnTo>
                    <a:pt x="8725" y="4498"/>
                  </a:lnTo>
                  <a:lnTo>
                    <a:pt x="8996" y="4182"/>
                  </a:lnTo>
                  <a:lnTo>
                    <a:pt x="9268" y="3888"/>
                  </a:lnTo>
                  <a:lnTo>
                    <a:pt x="9539" y="3617"/>
                  </a:lnTo>
                  <a:lnTo>
                    <a:pt x="9833" y="3368"/>
                  </a:lnTo>
                  <a:lnTo>
                    <a:pt x="10398" y="2893"/>
                  </a:lnTo>
                  <a:lnTo>
                    <a:pt x="10940" y="2487"/>
                  </a:lnTo>
                  <a:lnTo>
                    <a:pt x="11460" y="2148"/>
                  </a:lnTo>
                  <a:lnTo>
                    <a:pt x="11460" y="2148"/>
                  </a:lnTo>
                  <a:lnTo>
                    <a:pt x="12545" y="1470"/>
                  </a:lnTo>
                  <a:lnTo>
                    <a:pt x="13449" y="950"/>
                  </a:lnTo>
                  <a:lnTo>
                    <a:pt x="14172" y="565"/>
                  </a:lnTo>
                  <a:lnTo>
                    <a:pt x="14760" y="317"/>
                  </a:lnTo>
                  <a:lnTo>
                    <a:pt x="15189" y="136"/>
                  </a:lnTo>
                  <a:lnTo>
                    <a:pt x="15483" y="46"/>
                  </a:lnTo>
                  <a:lnTo>
                    <a:pt x="15709" y="0"/>
                  </a:lnTo>
                  <a:lnTo>
                    <a:pt x="15709" y="0"/>
                  </a:lnTo>
                  <a:lnTo>
                    <a:pt x="15686" y="339"/>
                  </a:lnTo>
                  <a:lnTo>
                    <a:pt x="15664" y="814"/>
                  </a:lnTo>
                  <a:lnTo>
                    <a:pt x="15709" y="2057"/>
                  </a:lnTo>
                  <a:lnTo>
                    <a:pt x="15799" y="3662"/>
                  </a:lnTo>
                  <a:lnTo>
                    <a:pt x="15845" y="4566"/>
                  </a:lnTo>
                  <a:lnTo>
                    <a:pt x="15867" y="5538"/>
                  </a:lnTo>
                  <a:lnTo>
                    <a:pt x="15890" y="6532"/>
                  </a:lnTo>
                  <a:lnTo>
                    <a:pt x="15867" y="7549"/>
                  </a:lnTo>
                  <a:lnTo>
                    <a:pt x="15822" y="8612"/>
                  </a:lnTo>
                  <a:lnTo>
                    <a:pt x="15754" y="9651"/>
                  </a:lnTo>
                  <a:lnTo>
                    <a:pt x="15619" y="10713"/>
                  </a:lnTo>
                  <a:lnTo>
                    <a:pt x="15551" y="11233"/>
                  </a:lnTo>
                  <a:lnTo>
                    <a:pt x="15460" y="11753"/>
                  </a:lnTo>
                  <a:lnTo>
                    <a:pt x="15347" y="12250"/>
                  </a:lnTo>
                  <a:lnTo>
                    <a:pt x="15234" y="12748"/>
                  </a:lnTo>
                  <a:lnTo>
                    <a:pt x="15099" y="13245"/>
                  </a:lnTo>
                  <a:lnTo>
                    <a:pt x="14941" y="1371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" name="Google Shape;1701;p16">
              <a:extLst>
                <a:ext uri="{FF2B5EF4-FFF2-40B4-BE49-F238E27FC236}">
                  <a16:creationId xmlns:a16="http://schemas.microsoft.com/office/drawing/2014/main" id="{76DE9FC2-5C80-6C29-CCBD-9867231E08FD}"/>
                </a:ext>
              </a:extLst>
            </p:cNvPr>
            <p:cNvSpPr/>
            <p:nvPr/>
          </p:nvSpPr>
          <p:spPr>
            <a:xfrm>
              <a:off x="5705975" y="2201775"/>
              <a:ext cx="62175" cy="195525"/>
            </a:xfrm>
            <a:custGeom>
              <a:avLst/>
              <a:gdLst/>
              <a:ahLst/>
              <a:cxnLst/>
              <a:rect l="l" t="t" r="r" b="b"/>
              <a:pathLst>
                <a:path w="2487" h="7821" extrusionOk="0">
                  <a:moveTo>
                    <a:pt x="2486" y="0"/>
                  </a:moveTo>
                  <a:lnTo>
                    <a:pt x="2238" y="972"/>
                  </a:lnTo>
                  <a:lnTo>
                    <a:pt x="1831" y="3006"/>
                  </a:lnTo>
                  <a:lnTo>
                    <a:pt x="1605" y="4001"/>
                  </a:lnTo>
                  <a:lnTo>
                    <a:pt x="1492" y="4453"/>
                  </a:lnTo>
                  <a:lnTo>
                    <a:pt x="1356" y="4927"/>
                  </a:lnTo>
                  <a:lnTo>
                    <a:pt x="1221" y="5357"/>
                  </a:lnTo>
                  <a:lnTo>
                    <a:pt x="1062" y="5763"/>
                  </a:lnTo>
                  <a:lnTo>
                    <a:pt x="882" y="6148"/>
                  </a:lnTo>
                  <a:lnTo>
                    <a:pt x="678" y="6509"/>
                  </a:lnTo>
                  <a:lnTo>
                    <a:pt x="475" y="6848"/>
                  </a:lnTo>
                  <a:lnTo>
                    <a:pt x="294" y="7187"/>
                  </a:lnTo>
                  <a:lnTo>
                    <a:pt x="0" y="7820"/>
                  </a:lnTo>
                  <a:lnTo>
                    <a:pt x="362" y="7233"/>
                  </a:lnTo>
                  <a:lnTo>
                    <a:pt x="678" y="6645"/>
                  </a:lnTo>
                  <a:lnTo>
                    <a:pt x="949" y="6057"/>
                  </a:lnTo>
                  <a:lnTo>
                    <a:pt x="1198" y="5470"/>
                  </a:lnTo>
                  <a:lnTo>
                    <a:pt x="1401" y="4882"/>
                  </a:lnTo>
                  <a:lnTo>
                    <a:pt x="1560" y="4294"/>
                  </a:lnTo>
                  <a:lnTo>
                    <a:pt x="1718" y="3729"/>
                  </a:lnTo>
                  <a:lnTo>
                    <a:pt x="1853" y="3164"/>
                  </a:lnTo>
                  <a:lnTo>
                    <a:pt x="2079" y="2057"/>
                  </a:lnTo>
                  <a:lnTo>
                    <a:pt x="2283" y="995"/>
                  </a:lnTo>
                  <a:lnTo>
                    <a:pt x="2486" y="0"/>
                  </a:lnTo>
                  <a:close/>
                </a:path>
              </a:pathLst>
            </a:custGeom>
            <a:solidFill>
              <a:srgbClr val="DDDCD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" name="Google Shape;1702;p16">
              <a:extLst>
                <a:ext uri="{FF2B5EF4-FFF2-40B4-BE49-F238E27FC236}">
                  <a16:creationId xmlns:a16="http://schemas.microsoft.com/office/drawing/2014/main" id="{7ADA5E7B-D04C-6D53-007D-8BCC64E519DC}"/>
                </a:ext>
              </a:extLst>
            </p:cNvPr>
            <p:cNvSpPr/>
            <p:nvPr/>
          </p:nvSpPr>
          <p:spPr>
            <a:xfrm>
              <a:off x="5705975" y="2176350"/>
              <a:ext cx="69525" cy="220950"/>
            </a:xfrm>
            <a:custGeom>
              <a:avLst/>
              <a:gdLst/>
              <a:ahLst/>
              <a:cxnLst/>
              <a:rect l="l" t="t" r="r" b="b"/>
              <a:pathLst>
                <a:path w="2781" h="8838" fill="none" extrusionOk="0">
                  <a:moveTo>
                    <a:pt x="2780" y="0"/>
                  </a:moveTo>
                  <a:lnTo>
                    <a:pt x="2780" y="0"/>
                  </a:lnTo>
                  <a:lnTo>
                    <a:pt x="2758" y="90"/>
                  </a:lnTo>
                  <a:lnTo>
                    <a:pt x="2758" y="90"/>
                  </a:lnTo>
                  <a:lnTo>
                    <a:pt x="2622" y="543"/>
                  </a:lnTo>
                  <a:lnTo>
                    <a:pt x="2486" y="1017"/>
                  </a:lnTo>
                  <a:lnTo>
                    <a:pt x="2238" y="1989"/>
                  </a:lnTo>
                  <a:lnTo>
                    <a:pt x="1831" y="4023"/>
                  </a:lnTo>
                  <a:lnTo>
                    <a:pt x="1605" y="5018"/>
                  </a:lnTo>
                  <a:lnTo>
                    <a:pt x="1492" y="5470"/>
                  </a:lnTo>
                  <a:lnTo>
                    <a:pt x="1356" y="5944"/>
                  </a:lnTo>
                  <a:lnTo>
                    <a:pt x="1221" y="6374"/>
                  </a:lnTo>
                  <a:lnTo>
                    <a:pt x="1062" y="6780"/>
                  </a:lnTo>
                  <a:lnTo>
                    <a:pt x="882" y="7165"/>
                  </a:lnTo>
                  <a:lnTo>
                    <a:pt x="678" y="7526"/>
                  </a:lnTo>
                  <a:lnTo>
                    <a:pt x="678" y="7526"/>
                  </a:lnTo>
                  <a:lnTo>
                    <a:pt x="475" y="7865"/>
                  </a:lnTo>
                  <a:lnTo>
                    <a:pt x="294" y="8204"/>
                  </a:lnTo>
                  <a:lnTo>
                    <a:pt x="0" y="8837"/>
                  </a:lnTo>
                  <a:lnTo>
                    <a:pt x="0" y="8837"/>
                  </a:lnTo>
                  <a:lnTo>
                    <a:pt x="0" y="8837"/>
                  </a:lnTo>
                  <a:lnTo>
                    <a:pt x="0" y="8837"/>
                  </a:lnTo>
                  <a:lnTo>
                    <a:pt x="362" y="8250"/>
                  </a:lnTo>
                  <a:lnTo>
                    <a:pt x="678" y="7662"/>
                  </a:lnTo>
                  <a:lnTo>
                    <a:pt x="949" y="7074"/>
                  </a:lnTo>
                  <a:lnTo>
                    <a:pt x="1198" y="6487"/>
                  </a:lnTo>
                  <a:lnTo>
                    <a:pt x="1401" y="5899"/>
                  </a:lnTo>
                  <a:lnTo>
                    <a:pt x="1560" y="5311"/>
                  </a:lnTo>
                  <a:lnTo>
                    <a:pt x="1718" y="4746"/>
                  </a:lnTo>
                  <a:lnTo>
                    <a:pt x="1853" y="4181"/>
                  </a:lnTo>
                  <a:lnTo>
                    <a:pt x="2079" y="3074"/>
                  </a:lnTo>
                  <a:lnTo>
                    <a:pt x="2283" y="2012"/>
                  </a:lnTo>
                  <a:lnTo>
                    <a:pt x="2486" y="1017"/>
                  </a:lnTo>
                  <a:lnTo>
                    <a:pt x="2622" y="543"/>
                  </a:lnTo>
                  <a:lnTo>
                    <a:pt x="2758" y="90"/>
                  </a:lnTo>
                  <a:lnTo>
                    <a:pt x="2758" y="90"/>
                  </a:lnTo>
                  <a:lnTo>
                    <a:pt x="278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" name="Google Shape;1703;p16">
              <a:extLst>
                <a:ext uri="{FF2B5EF4-FFF2-40B4-BE49-F238E27FC236}">
                  <a16:creationId xmlns:a16="http://schemas.microsoft.com/office/drawing/2014/main" id="{DF24F246-CC54-45C3-5DF7-5E66CEE01A8A}"/>
                </a:ext>
              </a:extLst>
            </p:cNvPr>
            <p:cNvSpPr/>
            <p:nvPr/>
          </p:nvSpPr>
          <p:spPr>
            <a:xfrm>
              <a:off x="5669250" y="2030550"/>
              <a:ext cx="124875" cy="366750"/>
            </a:xfrm>
            <a:custGeom>
              <a:avLst/>
              <a:gdLst/>
              <a:ahLst/>
              <a:cxnLst/>
              <a:rect l="l" t="t" r="r" b="b"/>
              <a:pathLst>
                <a:path w="4995" h="14670" extrusionOk="0">
                  <a:moveTo>
                    <a:pt x="0" y="1"/>
                  </a:moveTo>
                  <a:lnTo>
                    <a:pt x="226" y="317"/>
                  </a:lnTo>
                  <a:lnTo>
                    <a:pt x="407" y="656"/>
                  </a:lnTo>
                  <a:lnTo>
                    <a:pt x="565" y="1041"/>
                  </a:lnTo>
                  <a:lnTo>
                    <a:pt x="723" y="1470"/>
                  </a:lnTo>
                  <a:lnTo>
                    <a:pt x="859" y="1899"/>
                  </a:lnTo>
                  <a:lnTo>
                    <a:pt x="972" y="2374"/>
                  </a:lnTo>
                  <a:lnTo>
                    <a:pt x="1062" y="2871"/>
                  </a:lnTo>
                  <a:lnTo>
                    <a:pt x="1153" y="3369"/>
                  </a:lnTo>
                  <a:lnTo>
                    <a:pt x="1221" y="3888"/>
                  </a:lnTo>
                  <a:lnTo>
                    <a:pt x="1288" y="4431"/>
                  </a:lnTo>
                  <a:lnTo>
                    <a:pt x="1356" y="5538"/>
                  </a:lnTo>
                  <a:lnTo>
                    <a:pt x="1401" y="6691"/>
                  </a:lnTo>
                  <a:lnTo>
                    <a:pt x="1424" y="7821"/>
                  </a:lnTo>
                  <a:lnTo>
                    <a:pt x="1424" y="8951"/>
                  </a:lnTo>
                  <a:lnTo>
                    <a:pt x="1401" y="10059"/>
                  </a:lnTo>
                  <a:lnTo>
                    <a:pt x="1356" y="12047"/>
                  </a:lnTo>
                  <a:lnTo>
                    <a:pt x="1334" y="12906"/>
                  </a:lnTo>
                  <a:lnTo>
                    <a:pt x="1356" y="13630"/>
                  </a:lnTo>
                  <a:lnTo>
                    <a:pt x="1401" y="14240"/>
                  </a:lnTo>
                  <a:lnTo>
                    <a:pt x="1424" y="14466"/>
                  </a:lnTo>
                  <a:lnTo>
                    <a:pt x="1469" y="14669"/>
                  </a:lnTo>
                  <a:lnTo>
                    <a:pt x="1763" y="14036"/>
                  </a:lnTo>
                  <a:lnTo>
                    <a:pt x="1944" y="13697"/>
                  </a:lnTo>
                  <a:lnTo>
                    <a:pt x="2147" y="13358"/>
                  </a:lnTo>
                  <a:lnTo>
                    <a:pt x="2351" y="12997"/>
                  </a:lnTo>
                  <a:lnTo>
                    <a:pt x="2531" y="12612"/>
                  </a:lnTo>
                  <a:lnTo>
                    <a:pt x="2690" y="12206"/>
                  </a:lnTo>
                  <a:lnTo>
                    <a:pt x="2825" y="11776"/>
                  </a:lnTo>
                  <a:lnTo>
                    <a:pt x="2961" y="11302"/>
                  </a:lnTo>
                  <a:lnTo>
                    <a:pt x="3074" y="10850"/>
                  </a:lnTo>
                  <a:lnTo>
                    <a:pt x="3300" y="9855"/>
                  </a:lnTo>
                  <a:lnTo>
                    <a:pt x="3707" y="7821"/>
                  </a:lnTo>
                  <a:lnTo>
                    <a:pt x="3955" y="6849"/>
                  </a:lnTo>
                  <a:lnTo>
                    <a:pt x="4091" y="6375"/>
                  </a:lnTo>
                  <a:lnTo>
                    <a:pt x="4227" y="5922"/>
                  </a:lnTo>
                  <a:lnTo>
                    <a:pt x="4249" y="5832"/>
                  </a:lnTo>
                  <a:lnTo>
                    <a:pt x="4362" y="5470"/>
                  </a:lnTo>
                  <a:lnTo>
                    <a:pt x="4475" y="5041"/>
                  </a:lnTo>
                  <a:lnTo>
                    <a:pt x="4679" y="4069"/>
                  </a:lnTo>
                  <a:lnTo>
                    <a:pt x="4859" y="3120"/>
                  </a:lnTo>
                  <a:lnTo>
                    <a:pt x="4995" y="2284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C1352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" name="Google Shape;1704;p16">
              <a:extLst>
                <a:ext uri="{FF2B5EF4-FFF2-40B4-BE49-F238E27FC236}">
                  <a16:creationId xmlns:a16="http://schemas.microsoft.com/office/drawing/2014/main" id="{85C731C4-06B8-6D5D-D597-7CF21AF02350}"/>
                </a:ext>
              </a:extLst>
            </p:cNvPr>
            <p:cNvSpPr/>
            <p:nvPr/>
          </p:nvSpPr>
          <p:spPr>
            <a:xfrm>
              <a:off x="5669250" y="2030550"/>
              <a:ext cx="124875" cy="366750"/>
            </a:xfrm>
            <a:custGeom>
              <a:avLst/>
              <a:gdLst/>
              <a:ahLst/>
              <a:cxnLst/>
              <a:rect l="l" t="t" r="r" b="b"/>
              <a:pathLst>
                <a:path w="4995" h="14670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226" y="317"/>
                  </a:lnTo>
                  <a:lnTo>
                    <a:pt x="407" y="656"/>
                  </a:lnTo>
                  <a:lnTo>
                    <a:pt x="565" y="1041"/>
                  </a:lnTo>
                  <a:lnTo>
                    <a:pt x="723" y="1470"/>
                  </a:lnTo>
                  <a:lnTo>
                    <a:pt x="859" y="1899"/>
                  </a:lnTo>
                  <a:lnTo>
                    <a:pt x="972" y="2374"/>
                  </a:lnTo>
                  <a:lnTo>
                    <a:pt x="1062" y="2871"/>
                  </a:lnTo>
                  <a:lnTo>
                    <a:pt x="1153" y="3369"/>
                  </a:lnTo>
                  <a:lnTo>
                    <a:pt x="1221" y="3888"/>
                  </a:lnTo>
                  <a:lnTo>
                    <a:pt x="1288" y="4431"/>
                  </a:lnTo>
                  <a:lnTo>
                    <a:pt x="1356" y="5538"/>
                  </a:lnTo>
                  <a:lnTo>
                    <a:pt x="1401" y="6691"/>
                  </a:lnTo>
                  <a:lnTo>
                    <a:pt x="1424" y="7821"/>
                  </a:lnTo>
                  <a:lnTo>
                    <a:pt x="1424" y="8951"/>
                  </a:lnTo>
                  <a:lnTo>
                    <a:pt x="1401" y="10059"/>
                  </a:lnTo>
                  <a:lnTo>
                    <a:pt x="1356" y="12047"/>
                  </a:lnTo>
                  <a:lnTo>
                    <a:pt x="1334" y="12906"/>
                  </a:lnTo>
                  <a:lnTo>
                    <a:pt x="1356" y="13630"/>
                  </a:lnTo>
                  <a:lnTo>
                    <a:pt x="1401" y="14240"/>
                  </a:lnTo>
                  <a:lnTo>
                    <a:pt x="1424" y="14466"/>
                  </a:lnTo>
                  <a:lnTo>
                    <a:pt x="1469" y="14669"/>
                  </a:lnTo>
                  <a:lnTo>
                    <a:pt x="1469" y="14669"/>
                  </a:lnTo>
                  <a:lnTo>
                    <a:pt x="1763" y="14036"/>
                  </a:lnTo>
                  <a:lnTo>
                    <a:pt x="1944" y="13697"/>
                  </a:lnTo>
                  <a:lnTo>
                    <a:pt x="2147" y="13358"/>
                  </a:lnTo>
                  <a:lnTo>
                    <a:pt x="2147" y="13358"/>
                  </a:lnTo>
                  <a:lnTo>
                    <a:pt x="2351" y="12997"/>
                  </a:lnTo>
                  <a:lnTo>
                    <a:pt x="2531" y="12612"/>
                  </a:lnTo>
                  <a:lnTo>
                    <a:pt x="2690" y="12206"/>
                  </a:lnTo>
                  <a:lnTo>
                    <a:pt x="2825" y="11776"/>
                  </a:lnTo>
                  <a:lnTo>
                    <a:pt x="2961" y="11302"/>
                  </a:lnTo>
                  <a:lnTo>
                    <a:pt x="3074" y="10850"/>
                  </a:lnTo>
                  <a:lnTo>
                    <a:pt x="3300" y="9855"/>
                  </a:lnTo>
                  <a:lnTo>
                    <a:pt x="3707" y="7821"/>
                  </a:lnTo>
                  <a:lnTo>
                    <a:pt x="3955" y="6849"/>
                  </a:lnTo>
                  <a:lnTo>
                    <a:pt x="4091" y="6375"/>
                  </a:lnTo>
                  <a:lnTo>
                    <a:pt x="4227" y="5922"/>
                  </a:lnTo>
                  <a:lnTo>
                    <a:pt x="4227" y="5922"/>
                  </a:lnTo>
                  <a:lnTo>
                    <a:pt x="4249" y="5832"/>
                  </a:lnTo>
                  <a:lnTo>
                    <a:pt x="4249" y="5832"/>
                  </a:lnTo>
                  <a:lnTo>
                    <a:pt x="4362" y="5470"/>
                  </a:lnTo>
                  <a:lnTo>
                    <a:pt x="4475" y="5041"/>
                  </a:lnTo>
                  <a:lnTo>
                    <a:pt x="4679" y="4069"/>
                  </a:lnTo>
                  <a:lnTo>
                    <a:pt x="4859" y="3120"/>
                  </a:lnTo>
                  <a:lnTo>
                    <a:pt x="4995" y="2284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" name="Google Shape;1705;p16">
              <a:extLst>
                <a:ext uri="{FF2B5EF4-FFF2-40B4-BE49-F238E27FC236}">
                  <a16:creationId xmlns:a16="http://schemas.microsoft.com/office/drawing/2014/main" id="{B5EF8934-C1CE-9EF2-36E9-4A1AF0E794CD}"/>
                </a:ext>
              </a:extLst>
            </p:cNvPr>
            <p:cNvSpPr/>
            <p:nvPr/>
          </p:nvSpPr>
          <p:spPr>
            <a:xfrm>
              <a:off x="6128625" y="2240750"/>
              <a:ext cx="285925" cy="118125"/>
            </a:xfrm>
            <a:custGeom>
              <a:avLst/>
              <a:gdLst/>
              <a:ahLst/>
              <a:cxnLst/>
              <a:rect l="l" t="t" r="r" b="b"/>
              <a:pathLst>
                <a:path w="11437" h="4725" extrusionOk="0">
                  <a:moveTo>
                    <a:pt x="8769" y="1"/>
                  </a:moveTo>
                  <a:lnTo>
                    <a:pt x="8430" y="46"/>
                  </a:lnTo>
                  <a:lnTo>
                    <a:pt x="8046" y="114"/>
                  </a:lnTo>
                  <a:lnTo>
                    <a:pt x="7639" y="181"/>
                  </a:lnTo>
                  <a:lnTo>
                    <a:pt x="6826" y="362"/>
                  </a:lnTo>
                  <a:lnTo>
                    <a:pt x="5967" y="566"/>
                  </a:lnTo>
                  <a:lnTo>
                    <a:pt x="5198" y="746"/>
                  </a:lnTo>
                  <a:lnTo>
                    <a:pt x="4724" y="859"/>
                  </a:lnTo>
                  <a:lnTo>
                    <a:pt x="4452" y="905"/>
                  </a:lnTo>
                  <a:lnTo>
                    <a:pt x="4204" y="927"/>
                  </a:lnTo>
                  <a:lnTo>
                    <a:pt x="3752" y="927"/>
                  </a:lnTo>
                  <a:lnTo>
                    <a:pt x="3322" y="905"/>
                  </a:lnTo>
                  <a:lnTo>
                    <a:pt x="2870" y="927"/>
                  </a:lnTo>
                  <a:lnTo>
                    <a:pt x="2622" y="950"/>
                  </a:lnTo>
                  <a:lnTo>
                    <a:pt x="2351" y="995"/>
                  </a:lnTo>
                  <a:lnTo>
                    <a:pt x="2057" y="1063"/>
                  </a:lnTo>
                  <a:lnTo>
                    <a:pt x="1740" y="1153"/>
                  </a:lnTo>
                  <a:lnTo>
                    <a:pt x="1379" y="1289"/>
                  </a:lnTo>
                  <a:lnTo>
                    <a:pt x="972" y="1470"/>
                  </a:lnTo>
                  <a:lnTo>
                    <a:pt x="520" y="1673"/>
                  </a:lnTo>
                  <a:lnTo>
                    <a:pt x="0" y="1944"/>
                  </a:lnTo>
                  <a:lnTo>
                    <a:pt x="0" y="2080"/>
                  </a:lnTo>
                  <a:lnTo>
                    <a:pt x="0" y="2487"/>
                  </a:lnTo>
                  <a:lnTo>
                    <a:pt x="23" y="2735"/>
                  </a:lnTo>
                  <a:lnTo>
                    <a:pt x="68" y="3029"/>
                  </a:lnTo>
                  <a:lnTo>
                    <a:pt x="113" y="3323"/>
                  </a:lnTo>
                  <a:lnTo>
                    <a:pt x="203" y="3617"/>
                  </a:lnTo>
                  <a:lnTo>
                    <a:pt x="316" y="3911"/>
                  </a:lnTo>
                  <a:lnTo>
                    <a:pt x="452" y="4159"/>
                  </a:lnTo>
                  <a:lnTo>
                    <a:pt x="542" y="4272"/>
                  </a:lnTo>
                  <a:lnTo>
                    <a:pt x="655" y="4385"/>
                  </a:lnTo>
                  <a:lnTo>
                    <a:pt x="746" y="4476"/>
                  </a:lnTo>
                  <a:lnTo>
                    <a:pt x="881" y="4566"/>
                  </a:lnTo>
                  <a:lnTo>
                    <a:pt x="994" y="4634"/>
                  </a:lnTo>
                  <a:lnTo>
                    <a:pt x="1153" y="4679"/>
                  </a:lnTo>
                  <a:lnTo>
                    <a:pt x="1288" y="4702"/>
                  </a:lnTo>
                  <a:lnTo>
                    <a:pt x="1469" y="4724"/>
                  </a:lnTo>
                  <a:lnTo>
                    <a:pt x="1650" y="4702"/>
                  </a:lnTo>
                  <a:lnTo>
                    <a:pt x="1853" y="4679"/>
                  </a:lnTo>
                  <a:lnTo>
                    <a:pt x="2057" y="4611"/>
                  </a:lnTo>
                  <a:lnTo>
                    <a:pt x="2283" y="4543"/>
                  </a:lnTo>
                  <a:lnTo>
                    <a:pt x="3232" y="4182"/>
                  </a:lnTo>
                  <a:lnTo>
                    <a:pt x="4068" y="3888"/>
                  </a:lnTo>
                  <a:lnTo>
                    <a:pt x="4859" y="3617"/>
                  </a:lnTo>
                  <a:lnTo>
                    <a:pt x="5244" y="3459"/>
                  </a:lnTo>
                  <a:lnTo>
                    <a:pt x="5605" y="3323"/>
                  </a:lnTo>
                  <a:lnTo>
                    <a:pt x="6713" y="2848"/>
                  </a:lnTo>
                  <a:lnTo>
                    <a:pt x="7210" y="2645"/>
                  </a:lnTo>
                  <a:lnTo>
                    <a:pt x="7662" y="2487"/>
                  </a:lnTo>
                  <a:lnTo>
                    <a:pt x="8114" y="2351"/>
                  </a:lnTo>
                  <a:lnTo>
                    <a:pt x="8521" y="2261"/>
                  </a:lnTo>
                  <a:lnTo>
                    <a:pt x="8905" y="2193"/>
                  </a:lnTo>
                  <a:lnTo>
                    <a:pt x="9267" y="2170"/>
                  </a:lnTo>
                  <a:lnTo>
                    <a:pt x="9538" y="2216"/>
                  </a:lnTo>
                  <a:lnTo>
                    <a:pt x="9741" y="2283"/>
                  </a:lnTo>
                  <a:lnTo>
                    <a:pt x="9899" y="2374"/>
                  </a:lnTo>
                  <a:lnTo>
                    <a:pt x="10035" y="2509"/>
                  </a:lnTo>
                  <a:lnTo>
                    <a:pt x="10148" y="2645"/>
                  </a:lnTo>
                  <a:lnTo>
                    <a:pt x="10238" y="2803"/>
                  </a:lnTo>
                  <a:lnTo>
                    <a:pt x="10374" y="3120"/>
                  </a:lnTo>
                  <a:lnTo>
                    <a:pt x="10487" y="3391"/>
                  </a:lnTo>
                  <a:lnTo>
                    <a:pt x="10532" y="3504"/>
                  </a:lnTo>
                  <a:lnTo>
                    <a:pt x="10623" y="3594"/>
                  </a:lnTo>
                  <a:lnTo>
                    <a:pt x="10713" y="3639"/>
                  </a:lnTo>
                  <a:lnTo>
                    <a:pt x="10849" y="3639"/>
                  </a:lnTo>
                  <a:lnTo>
                    <a:pt x="11007" y="3572"/>
                  </a:lnTo>
                  <a:lnTo>
                    <a:pt x="11188" y="3481"/>
                  </a:lnTo>
                  <a:lnTo>
                    <a:pt x="11278" y="3391"/>
                  </a:lnTo>
                  <a:lnTo>
                    <a:pt x="11346" y="3278"/>
                  </a:lnTo>
                  <a:lnTo>
                    <a:pt x="11391" y="3120"/>
                  </a:lnTo>
                  <a:lnTo>
                    <a:pt x="11414" y="2916"/>
                  </a:lnTo>
                  <a:lnTo>
                    <a:pt x="11436" y="2713"/>
                  </a:lnTo>
                  <a:lnTo>
                    <a:pt x="11436" y="2487"/>
                  </a:lnTo>
                  <a:lnTo>
                    <a:pt x="11414" y="2238"/>
                  </a:lnTo>
                  <a:lnTo>
                    <a:pt x="11369" y="1990"/>
                  </a:lnTo>
                  <a:lnTo>
                    <a:pt x="11301" y="1741"/>
                  </a:lnTo>
                  <a:lnTo>
                    <a:pt x="11210" y="1470"/>
                  </a:lnTo>
                  <a:lnTo>
                    <a:pt x="11097" y="1221"/>
                  </a:lnTo>
                  <a:lnTo>
                    <a:pt x="10962" y="995"/>
                  </a:lnTo>
                  <a:lnTo>
                    <a:pt x="10804" y="769"/>
                  </a:lnTo>
                  <a:lnTo>
                    <a:pt x="10623" y="566"/>
                  </a:lnTo>
                  <a:lnTo>
                    <a:pt x="10419" y="385"/>
                  </a:lnTo>
                  <a:lnTo>
                    <a:pt x="10193" y="227"/>
                  </a:lnTo>
                  <a:lnTo>
                    <a:pt x="9945" y="136"/>
                  </a:lnTo>
                  <a:lnTo>
                    <a:pt x="9673" y="46"/>
                  </a:lnTo>
                  <a:lnTo>
                    <a:pt x="9402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" name="Google Shape;1706;p16">
              <a:extLst>
                <a:ext uri="{FF2B5EF4-FFF2-40B4-BE49-F238E27FC236}">
                  <a16:creationId xmlns:a16="http://schemas.microsoft.com/office/drawing/2014/main" id="{72361506-994D-C1AD-FAC8-F88D54D47E29}"/>
                </a:ext>
              </a:extLst>
            </p:cNvPr>
            <p:cNvSpPr/>
            <p:nvPr/>
          </p:nvSpPr>
          <p:spPr>
            <a:xfrm>
              <a:off x="5636475" y="1904000"/>
              <a:ext cx="657725" cy="506850"/>
            </a:xfrm>
            <a:custGeom>
              <a:avLst/>
              <a:gdLst/>
              <a:ahLst/>
              <a:cxnLst/>
              <a:rect l="l" t="t" r="r" b="b"/>
              <a:pathLst>
                <a:path w="26309" h="20274" extrusionOk="0">
                  <a:moveTo>
                    <a:pt x="3164" y="0"/>
                  </a:moveTo>
                  <a:lnTo>
                    <a:pt x="2758" y="23"/>
                  </a:lnTo>
                  <a:lnTo>
                    <a:pt x="2306" y="113"/>
                  </a:lnTo>
                  <a:lnTo>
                    <a:pt x="2102" y="181"/>
                  </a:lnTo>
                  <a:lnTo>
                    <a:pt x="1876" y="249"/>
                  </a:lnTo>
                  <a:lnTo>
                    <a:pt x="1673" y="339"/>
                  </a:lnTo>
                  <a:lnTo>
                    <a:pt x="1469" y="452"/>
                  </a:lnTo>
                  <a:lnTo>
                    <a:pt x="1243" y="565"/>
                  </a:lnTo>
                  <a:lnTo>
                    <a:pt x="1040" y="723"/>
                  </a:lnTo>
                  <a:lnTo>
                    <a:pt x="836" y="882"/>
                  </a:lnTo>
                  <a:lnTo>
                    <a:pt x="633" y="1062"/>
                  </a:lnTo>
                  <a:lnTo>
                    <a:pt x="452" y="1243"/>
                  </a:lnTo>
                  <a:lnTo>
                    <a:pt x="317" y="1447"/>
                  </a:lnTo>
                  <a:lnTo>
                    <a:pt x="204" y="1673"/>
                  </a:lnTo>
                  <a:lnTo>
                    <a:pt x="113" y="1876"/>
                  </a:lnTo>
                  <a:lnTo>
                    <a:pt x="45" y="2102"/>
                  </a:lnTo>
                  <a:lnTo>
                    <a:pt x="23" y="2306"/>
                  </a:lnTo>
                  <a:lnTo>
                    <a:pt x="0" y="2532"/>
                  </a:lnTo>
                  <a:lnTo>
                    <a:pt x="23" y="2758"/>
                  </a:lnTo>
                  <a:lnTo>
                    <a:pt x="45" y="2984"/>
                  </a:lnTo>
                  <a:lnTo>
                    <a:pt x="91" y="3210"/>
                  </a:lnTo>
                  <a:lnTo>
                    <a:pt x="158" y="3436"/>
                  </a:lnTo>
                  <a:lnTo>
                    <a:pt x="226" y="3662"/>
                  </a:lnTo>
                  <a:lnTo>
                    <a:pt x="430" y="4091"/>
                  </a:lnTo>
                  <a:lnTo>
                    <a:pt x="678" y="4520"/>
                  </a:lnTo>
                  <a:lnTo>
                    <a:pt x="927" y="4905"/>
                  </a:lnTo>
                  <a:lnTo>
                    <a:pt x="1198" y="5266"/>
                  </a:lnTo>
                  <a:lnTo>
                    <a:pt x="1469" y="5605"/>
                  </a:lnTo>
                  <a:lnTo>
                    <a:pt x="1718" y="5877"/>
                  </a:lnTo>
                  <a:lnTo>
                    <a:pt x="2102" y="6283"/>
                  </a:lnTo>
                  <a:lnTo>
                    <a:pt x="2260" y="6442"/>
                  </a:lnTo>
                  <a:lnTo>
                    <a:pt x="2509" y="7029"/>
                  </a:lnTo>
                  <a:lnTo>
                    <a:pt x="3164" y="8566"/>
                  </a:lnTo>
                  <a:lnTo>
                    <a:pt x="3616" y="9606"/>
                  </a:lnTo>
                  <a:lnTo>
                    <a:pt x="4159" y="10758"/>
                  </a:lnTo>
                  <a:lnTo>
                    <a:pt x="4746" y="12002"/>
                  </a:lnTo>
                  <a:lnTo>
                    <a:pt x="5379" y="13290"/>
                  </a:lnTo>
                  <a:lnTo>
                    <a:pt x="6080" y="14578"/>
                  </a:lnTo>
                  <a:lnTo>
                    <a:pt x="6781" y="15821"/>
                  </a:lnTo>
                  <a:lnTo>
                    <a:pt x="7165" y="16409"/>
                  </a:lnTo>
                  <a:lnTo>
                    <a:pt x="7526" y="16996"/>
                  </a:lnTo>
                  <a:lnTo>
                    <a:pt x="7888" y="17539"/>
                  </a:lnTo>
                  <a:lnTo>
                    <a:pt x="8272" y="18036"/>
                  </a:lnTo>
                  <a:lnTo>
                    <a:pt x="8657" y="18511"/>
                  </a:lnTo>
                  <a:lnTo>
                    <a:pt x="9018" y="18940"/>
                  </a:lnTo>
                  <a:lnTo>
                    <a:pt x="9380" y="19302"/>
                  </a:lnTo>
                  <a:lnTo>
                    <a:pt x="9741" y="19618"/>
                  </a:lnTo>
                  <a:lnTo>
                    <a:pt x="10103" y="19889"/>
                  </a:lnTo>
                  <a:lnTo>
                    <a:pt x="10284" y="20002"/>
                  </a:lnTo>
                  <a:lnTo>
                    <a:pt x="10465" y="20093"/>
                  </a:lnTo>
                  <a:lnTo>
                    <a:pt x="10623" y="20161"/>
                  </a:lnTo>
                  <a:lnTo>
                    <a:pt x="10804" y="20206"/>
                  </a:lnTo>
                  <a:lnTo>
                    <a:pt x="10962" y="20251"/>
                  </a:lnTo>
                  <a:lnTo>
                    <a:pt x="11143" y="20274"/>
                  </a:lnTo>
                  <a:lnTo>
                    <a:pt x="11911" y="20274"/>
                  </a:lnTo>
                  <a:lnTo>
                    <a:pt x="12838" y="20206"/>
                  </a:lnTo>
                  <a:lnTo>
                    <a:pt x="13877" y="20093"/>
                  </a:lnTo>
                  <a:lnTo>
                    <a:pt x="14985" y="19935"/>
                  </a:lnTo>
                  <a:lnTo>
                    <a:pt x="16160" y="19731"/>
                  </a:lnTo>
                  <a:lnTo>
                    <a:pt x="17358" y="19505"/>
                  </a:lnTo>
                  <a:lnTo>
                    <a:pt x="18579" y="19257"/>
                  </a:lnTo>
                  <a:lnTo>
                    <a:pt x="19799" y="18985"/>
                  </a:lnTo>
                  <a:lnTo>
                    <a:pt x="20952" y="18692"/>
                  </a:lnTo>
                  <a:lnTo>
                    <a:pt x="22059" y="18398"/>
                  </a:lnTo>
                  <a:lnTo>
                    <a:pt x="23076" y="18127"/>
                  </a:lnTo>
                  <a:lnTo>
                    <a:pt x="24003" y="17833"/>
                  </a:lnTo>
                  <a:lnTo>
                    <a:pt x="24771" y="17584"/>
                  </a:lnTo>
                  <a:lnTo>
                    <a:pt x="25382" y="17335"/>
                  </a:lnTo>
                  <a:lnTo>
                    <a:pt x="25608" y="17245"/>
                  </a:lnTo>
                  <a:lnTo>
                    <a:pt x="25811" y="17132"/>
                  </a:lnTo>
                  <a:lnTo>
                    <a:pt x="25947" y="17042"/>
                  </a:lnTo>
                  <a:lnTo>
                    <a:pt x="26014" y="16974"/>
                  </a:lnTo>
                  <a:lnTo>
                    <a:pt x="26082" y="16861"/>
                  </a:lnTo>
                  <a:lnTo>
                    <a:pt x="26150" y="16725"/>
                  </a:lnTo>
                  <a:lnTo>
                    <a:pt x="26240" y="16454"/>
                  </a:lnTo>
                  <a:lnTo>
                    <a:pt x="26286" y="16138"/>
                  </a:lnTo>
                  <a:lnTo>
                    <a:pt x="26308" y="15776"/>
                  </a:lnTo>
                  <a:lnTo>
                    <a:pt x="26286" y="15392"/>
                  </a:lnTo>
                  <a:lnTo>
                    <a:pt x="26263" y="14940"/>
                  </a:lnTo>
                  <a:lnTo>
                    <a:pt x="26150" y="13900"/>
                  </a:lnTo>
                  <a:lnTo>
                    <a:pt x="26150" y="13877"/>
                  </a:lnTo>
                  <a:lnTo>
                    <a:pt x="26105" y="13855"/>
                  </a:lnTo>
                  <a:lnTo>
                    <a:pt x="26014" y="13832"/>
                  </a:lnTo>
                  <a:lnTo>
                    <a:pt x="25834" y="13832"/>
                  </a:lnTo>
                  <a:lnTo>
                    <a:pt x="25608" y="13855"/>
                  </a:lnTo>
                  <a:lnTo>
                    <a:pt x="24997" y="13923"/>
                  </a:lnTo>
                  <a:lnTo>
                    <a:pt x="24184" y="14036"/>
                  </a:lnTo>
                  <a:lnTo>
                    <a:pt x="22150" y="14375"/>
                  </a:lnTo>
                  <a:lnTo>
                    <a:pt x="19776" y="14804"/>
                  </a:lnTo>
                  <a:lnTo>
                    <a:pt x="17290" y="15234"/>
                  </a:lnTo>
                  <a:lnTo>
                    <a:pt x="16115" y="15437"/>
                  </a:lnTo>
                  <a:lnTo>
                    <a:pt x="14985" y="15595"/>
                  </a:lnTo>
                  <a:lnTo>
                    <a:pt x="13968" y="15708"/>
                  </a:lnTo>
                  <a:lnTo>
                    <a:pt x="13086" y="15776"/>
                  </a:lnTo>
                  <a:lnTo>
                    <a:pt x="12386" y="15776"/>
                  </a:lnTo>
                  <a:lnTo>
                    <a:pt x="12115" y="15753"/>
                  </a:lnTo>
                  <a:lnTo>
                    <a:pt x="11889" y="15708"/>
                  </a:lnTo>
                  <a:lnTo>
                    <a:pt x="11165" y="14216"/>
                  </a:lnTo>
                  <a:lnTo>
                    <a:pt x="10600" y="13041"/>
                  </a:lnTo>
                  <a:lnTo>
                    <a:pt x="10126" y="11934"/>
                  </a:lnTo>
                  <a:lnTo>
                    <a:pt x="9606" y="10713"/>
                  </a:lnTo>
                  <a:lnTo>
                    <a:pt x="9018" y="9176"/>
                  </a:lnTo>
                  <a:lnTo>
                    <a:pt x="8227" y="7120"/>
                  </a:lnTo>
                  <a:lnTo>
                    <a:pt x="5741" y="543"/>
                  </a:lnTo>
                  <a:lnTo>
                    <a:pt x="5605" y="475"/>
                  </a:lnTo>
                  <a:lnTo>
                    <a:pt x="5221" y="339"/>
                  </a:lnTo>
                  <a:lnTo>
                    <a:pt x="4972" y="249"/>
                  </a:lnTo>
                  <a:lnTo>
                    <a:pt x="4679" y="158"/>
                  </a:lnTo>
                  <a:lnTo>
                    <a:pt x="4340" y="91"/>
                  </a:lnTo>
                  <a:lnTo>
                    <a:pt x="3978" y="23"/>
                  </a:lnTo>
                  <a:lnTo>
                    <a:pt x="3571" y="0"/>
                  </a:lnTo>
                  <a:close/>
                </a:path>
              </a:pathLst>
            </a:custGeom>
            <a:solidFill>
              <a:srgbClr val="DE36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" name="Google Shape;1707;p16">
              <a:extLst>
                <a:ext uri="{FF2B5EF4-FFF2-40B4-BE49-F238E27FC236}">
                  <a16:creationId xmlns:a16="http://schemas.microsoft.com/office/drawing/2014/main" id="{F31B2F76-5D4D-CF57-950A-290D0AC77AE7}"/>
                </a:ext>
              </a:extLst>
            </p:cNvPr>
            <p:cNvSpPr/>
            <p:nvPr/>
          </p:nvSpPr>
          <p:spPr>
            <a:xfrm>
              <a:off x="1741675" y="4026250"/>
              <a:ext cx="5610825" cy="39575"/>
            </a:xfrm>
            <a:custGeom>
              <a:avLst/>
              <a:gdLst/>
              <a:ahLst/>
              <a:cxnLst/>
              <a:rect l="l" t="t" r="r" b="b"/>
              <a:pathLst>
                <a:path w="224433" h="1583" extrusionOk="0">
                  <a:moveTo>
                    <a:pt x="88214" y="1"/>
                  </a:moveTo>
                  <a:lnTo>
                    <a:pt x="67466" y="69"/>
                  </a:lnTo>
                  <a:lnTo>
                    <a:pt x="48707" y="137"/>
                  </a:lnTo>
                  <a:lnTo>
                    <a:pt x="32343" y="227"/>
                  </a:lnTo>
                  <a:lnTo>
                    <a:pt x="18850" y="340"/>
                  </a:lnTo>
                  <a:lnTo>
                    <a:pt x="13335" y="408"/>
                  </a:lnTo>
                  <a:lnTo>
                    <a:pt x="8679" y="476"/>
                  </a:lnTo>
                  <a:lnTo>
                    <a:pt x="4950" y="566"/>
                  </a:lnTo>
                  <a:lnTo>
                    <a:pt x="2238" y="634"/>
                  </a:lnTo>
                  <a:lnTo>
                    <a:pt x="565" y="702"/>
                  </a:lnTo>
                  <a:lnTo>
                    <a:pt x="136" y="747"/>
                  </a:lnTo>
                  <a:lnTo>
                    <a:pt x="23" y="769"/>
                  </a:lnTo>
                  <a:lnTo>
                    <a:pt x="0" y="792"/>
                  </a:lnTo>
                  <a:lnTo>
                    <a:pt x="110476" y="1583"/>
                  </a:lnTo>
                  <a:lnTo>
                    <a:pt x="132897" y="1560"/>
                  </a:lnTo>
                  <a:lnTo>
                    <a:pt x="154029" y="1493"/>
                  </a:lnTo>
                  <a:lnTo>
                    <a:pt x="173353" y="1402"/>
                  </a:lnTo>
                  <a:lnTo>
                    <a:pt x="190327" y="1267"/>
                  </a:lnTo>
                  <a:lnTo>
                    <a:pt x="204476" y="1131"/>
                  </a:lnTo>
                  <a:lnTo>
                    <a:pt x="210307" y="1063"/>
                  </a:lnTo>
                  <a:lnTo>
                    <a:pt x="215211" y="973"/>
                  </a:lnTo>
                  <a:lnTo>
                    <a:pt x="219144" y="882"/>
                  </a:lnTo>
                  <a:lnTo>
                    <a:pt x="222037" y="815"/>
                  </a:lnTo>
                  <a:lnTo>
                    <a:pt x="223823" y="724"/>
                  </a:lnTo>
                  <a:lnTo>
                    <a:pt x="224297" y="679"/>
                  </a:lnTo>
                  <a:lnTo>
                    <a:pt x="224410" y="656"/>
                  </a:lnTo>
                  <a:lnTo>
                    <a:pt x="224433" y="634"/>
                  </a:lnTo>
                  <a:lnTo>
                    <a:pt x="224410" y="611"/>
                  </a:lnTo>
                  <a:lnTo>
                    <a:pt x="224297" y="589"/>
                  </a:lnTo>
                  <a:lnTo>
                    <a:pt x="223823" y="566"/>
                  </a:lnTo>
                  <a:lnTo>
                    <a:pt x="222037" y="476"/>
                  </a:lnTo>
                  <a:lnTo>
                    <a:pt x="219144" y="408"/>
                  </a:lnTo>
                  <a:lnTo>
                    <a:pt x="215211" y="363"/>
                  </a:lnTo>
                  <a:lnTo>
                    <a:pt x="210307" y="295"/>
                  </a:lnTo>
                  <a:lnTo>
                    <a:pt x="204476" y="250"/>
                  </a:lnTo>
                  <a:lnTo>
                    <a:pt x="190327" y="159"/>
                  </a:lnTo>
                  <a:lnTo>
                    <a:pt x="173353" y="91"/>
                  </a:lnTo>
                  <a:lnTo>
                    <a:pt x="154029" y="24"/>
                  </a:lnTo>
                  <a:lnTo>
                    <a:pt x="132897" y="1"/>
                  </a:lnTo>
                  <a:close/>
                </a:path>
              </a:pathLst>
            </a:custGeom>
            <a:solidFill>
              <a:srgbClr val="D0D0D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" name="Google Shape;1708;p16">
              <a:extLst>
                <a:ext uri="{FF2B5EF4-FFF2-40B4-BE49-F238E27FC236}">
                  <a16:creationId xmlns:a16="http://schemas.microsoft.com/office/drawing/2014/main" id="{7F87AB37-5E95-6280-0593-E0E3ED84424F}"/>
                </a:ext>
              </a:extLst>
            </p:cNvPr>
            <p:cNvSpPr/>
            <p:nvPr/>
          </p:nvSpPr>
          <p:spPr>
            <a:xfrm>
              <a:off x="1741675" y="4026250"/>
              <a:ext cx="5610825" cy="39575"/>
            </a:xfrm>
            <a:custGeom>
              <a:avLst/>
              <a:gdLst/>
              <a:ahLst/>
              <a:cxnLst/>
              <a:rect l="l" t="t" r="r" b="b"/>
              <a:pathLst>
                <a:path w="224433" h="1583" fill="none" extrusionOk="0">
                  <a:moveTo>
                    <a:pt x="110476" y="1"/>
                  </a:moveTo>
                  <a:lnTo>
                    <a:pt x="110476" y="1"/>
                  </a:lnTo>
                  <a:lnTo>
                    <a:pt x="88214" y="1"/>
                  </a:lnTo>
                  <a:lnTo>
                    <a:pt x="67466" y="69"/>
                  </a:lnTo>
                  <a:lnTo>
                    <a:pt x="48707" y="137"/>
                  </a:lnTo>
                  <a:lnTo>
                    <a:pt x="32343" y="227"/>
                  </a:lnTo>
                  <a:lnTo>
                    <a:pt x="18850" y="340"/>
                  </a:lnTo>
                  <a:lnTo>
                    <a:pt x="13335" y="408"/>
                  </a:lnTo>
                  <a:lnTo>
                    <a:pt x="8679" y="476"/>
                  </a:lnTo>
                  <a:lnTo>
                    <a:pt x="4950" y="566"/>
                  </a:lnTo>
                  <a:lnTo>
                    <a:pt x="2238" y="634"/>
                  </a:lnTo>
                  <a:lnTo>
                    <a:pt x="565" y="702"/>
                  </a:lnTo>
                  <a:lnTo>
                    <a:pt x="136" y="747"/>
                  </a:lnTo>
                  <a:lnTo>
                    <a:pt x="23" y="769"/>
                  </a:lnTo>
                  <a:lnTo>
                    <a:pt x="0" y="792"/>
                  </a:lnTo>
                  <a:lnTo>
                    <a:pt x="110476" y="1583"/>
                  </a:lnTo>
                  <a:lnTo>
                    <a:pt x="110476" y="1583"/>
                  </a:lnTo>
                  <a:lnTo>
                    <a:pt x="132897" y="1560"/>
                  </a:lnTo>
                  <a:lnTo>
                    <a:pt x="154029" y="1493"/>
                  </a:lnTo>
                  <a:lnTo>
                    <a:pt x="173353" y="1402"/>
                  </a:lnTo>
                  <a:lnTo>
                    <a:pt x="190327" y="1267"/>
                  </a:lnTo>
                  <a:lnTo>
                    <a:pt x="204476" y="1131"/>
                  </a:lnTo>
                  <a:lnTo>
                    <a:pt x="210307" y="1063"/>
                  </a:lnTo>
                  <a:lnTo>
                    <a:pt x="215211" y="973"/>
                  </a:lnTo>
                  <a:lnTo>
                    <a:pt x="219144" y="882"/>
                  </a:lnTo>
                  <a:lnTo>
                    <a:pt x="222037" y="815"/>
                  </a:lnTo>
                  <a:lnTo>
                    <a:pt x="223823" y="724"/>
                  </a:lnTo>
                  <a:lnTo>
                    <a:pt x="224297" y="679"/>
                  </a:lnTo>
                  <a:lnTo>
                    <a:pt x="224410" y="656"/>
                  </a:lnTo>
                  <a:lnTo>
                    <a:pt x="224433" y="634"/>
                  </a:lnTo>
                  <a:lnTo>
                    <a:pt x="224433" y="634"/>
                  </a:lnTo>
                  <a:lnTo>
                    <a:pt x="224410" y="611"/>
                  </a:lnTo>
                  <a:lnTo>
                    <a:pt x="224297" y="589"/>
                  </a:lnTo>
                  <a:lnTo>
                    <a:pt x="223823" y="566"/>
                  </a:lnTo>
                  <a:lnTo>
                    <a:pt x="222037" y="476"/>
                  </a:lnTo>
                  <a:lnTo>
                    <a:pt x="219144" y="408"/>
                  </a:lnTo>
                  <a:lnTo>
                    <a:pt x="215211" y="363"/>
                  </a:lnTo>
                  <a:lnTo>
                    <a:pt x="210307" y="295"/>
                  </a:lnTo>
                  <a:lnTo>
                    <a:pt x="204476" y="250"/>
                  </a:lnTo>
                  <a:lnTo>
                    <a:pt x="190327" y="159"/>
                  </a:lnTo>
                  <a:lnTo>
                    <a:pt x="173353" y="91"/>
                  </a:lnTo>
                  <a:lnTo>
                    <a:pt x="154029" y="24"/>
                  </a:lnTo>
                  <a:lnTo>
                    <a:pt x="132897" y="1"/>
                  </a:lnTo>
                  <a:lnTo>
                    <a:pt x="11047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" name="Google Shape;1709;p16">
              <a:extLst>
                <a:ext uri="{FF2B5EF4-FFF2-40B4-BE49-F238E27FC236}">
                  <a16:creationId xmlns:a16="http://schemas.microsoft.com/office/drawing/2014/main" id="{0DF8FC8F-D5E4-3098-3D2F-58FA1221765F}"/>
                </a:ext>
              </a:extLst>
            </p:cNvPr>
            <p:cNvSpPr/>
            <p:nvPr/>
          </p:nvSpPr>
          <p:spPr>
            <a:xfrm>
              <a:off x="5624025" y="3545425"/>
              <a:ext cx="130550" cy="95500"/>
            </a:xfrm>
            <a:custGeom>
              <a:avLst/>
              <a:gdLst/>
              <a:ahLst/>
              <a:cxnLst/>
              <a:rect l="l" t="t" r="r" b="b"/>
              <a:pathLst>
                <a:path w="5222" h="3820" extrusionOk="0">
                  <a:moveTo>
                    <a:pt x="702" y="0"/>
                  </a:moveTo>
                  <a:lnTo>
                    <a:pt x="566" y="23"/>
                  </a:lnTo>
                  <a:lnTo>
                    <a:pt x="430" y="68"/>
                  </a:lnTo>
                  <a:lnTo>
                    <a:pt x="317" y="136"/>
                  </a:lnTo>
                  <a:lnTo>
                    <a:pt x="204" y="226"/>
                  </a:lnTo>
                  <a:lnTo>
                    <a:pt x="114" y="339"/>
                  </a:lnTo>
                  <a:lnTo>
                    <a:pt x="46" y="475"/>
                  </a:lnTo>
                  <a:lnTo>
                    <a:pt x="24" y="610"/>
                  </a:lnTo>
                  <a:lnTo>
                    <a:pt x="1" y="746"/>
                  </a:lnTo>
                  <a:lnTo>
                    <a:pt x="24" y="882"/>
                  </a:lnTo>
                  <a:lnTo>
                    <a:pt x="69" y="1017"/>
                  </a:lnTo>
                  <a:lnTo>
                    <a:pt x="137" y="1153"/>
                  </a:lnTo>
                  <a:lnTo>
                    <a:pt x="227" y="1243"/>
                  </a:lnTo>
                  <a:lnTo>
                    <a:pt x="340" y="1334"/>
                  </a:lnTo>
                  <a:lnTo>
                    <a:pt x="4114" y="3707"/>
                  </a:lnTo>
                  <a:lnTo>
                    <a:pt x="4250" y="3775"/>
                  </a:lnTo>
                  <a:lnTo>
                    <a:pt x="4386" y="3820"/>
                  </a:lnTo>
                  <a:lnTo>
                    <a:pt x="4521" y="3820"/>
                  </a:lnTo>
                  <a:lnTo>
                    <a:pt x="4657" y="3797"/>
                  </a:lnTo>
                  <a:lnTo>
                    <a:pt x="4792" y="3752"/>
                  </a:lnTo>
                  <a:lnTo>
                    <a:pt x="4905" y="3684"/>
                  </a:lnTo>
                  <a:lnTo>
                    <a:pt x="5018" y="3594"/>
                  </a:lnTo>
                  <a:lnTo>
                    <a:pt x="5109" y="3481"/>
                  </a:lnTo>
                  <a:lnTo>
                    <a:pt x="5177" y="3345"/>
                  </a:lnTo>
                  <a:lnTo>
                    <a:pt x="5199" y="3210"/>
                  </a:lnTo>
                  <a:lnTo>
                    <a:pt x="5222" y="3074"/>
                  </a:lnTo>
                  <a:lnTo>
                    <a:pt x="5199" y="2938"/>
                  </a:lnTo>
                  <a:lnTo>
                    <a:pt x="5154" y="2803"/>
                  </a:lnTo>
                  <a:lnTo>
                    <a:pt x="5086" y="2690"/>
                  </a:lnTo>
                  <a:lnTo>
                    <a:pt x="4996" y="2577"/>
                  </a:lnTo>
                  <a:lnTo>
                    <a:pt x="4883" y="2486"/>
                  </a:lnTo>
                  <a:lnTo>
                    <a:pt x="1108" y="113"/>
                  </a:lnTo>
                  <a:lnTo>
                    <a:pt x="973" y="45"/>
                  </a:lnTo>
                  <a:lnTo>
                    <a:pt x="837" y="23"/>
                  </a:lnTo>
                  <a:lnTo>
                    <a:pt x="702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" name="Google Shape;1710;p16">
              <a:extLst>
                <a:ext uri="{FF2B5EF4-FFF2-40B4-BE49-F238E27FC236}">
                  <a16:creationId xmlns:a16="http://schemas.microsoft.com/office/drawing/2014/main" id="{9E2881E7-96F2-D3D3-CDF7-968334148243}"/>
                </a:ext>
              </a:extLst>
            </p:cNvPr>
            <p:cNvSpPr/>
            <p:nvPr/>
          </p:nvSpPr>
          <p:spPr>
            <a:xfrm>
              <a:off x="6105450" y="3565750"/>
              <a:ext cx="142975" cy="66150"/>
            </a:xfrm>
            <a:custGeom>
              <a:avLst/>
              <a:gdLst/>
              <a:ahLst/>
              <a:cxnLst/>
              <a:rect l="l" t="t" r="r" b="b"/>
              <a:pathLst>
                <a:path w="5719" h="2646" extrusionOk="0">
                  <a:moveTo>
                    <a:pt x="611" y="1"/>
                  </a:moveTo>
                  <a:lnTo>
                    <a:pt x="475" y="46"/>
                  </a:lnTo>
                  <a:lnTo>
                    <a:pt x="362" y="91"/>
                  </a:lnTo>
                  <a:lnTo>
                    <a:pt x="249" y="182"/>
                  </a:lnTo>
                  <a:lnTo>
                    <a:pt x="159" y="272"/>
                  </a:lnTo>
                  <a:lnTo>
                    <a:pt x="68" y="408"/>
                  </a:lnTo>
                  <a:lnTo>
                    <a:pt x="23" y="543"/>
                  </a:lnTo>
                  <a:lnTo>
                    <a:pt x="0" y="679"/>
                  </a:lnTo>
                  <a:lnTo>
                    <a:pt x="0" y="814"/>
                  </a:lnTo>
                  <a:lnTo>
                    <a:pt x="23" y="950"/>
                  </a:lnTo>
                  <a:lnTo>
                    <a:pt x="91" y="1086"/>
                  </a:lnTo>
                  <a:lnTo>
                    <a:pt x="159" y="1199"/>
                  </a:lnTo>
                  <a:lnTo>
                    <a:pt x="272" y="1289"/>
                  </a:lnTo>
                  <a:lnTo>
                    <a:pt x="385" y="1379"/>
                  </a:lnTo>
                  <a:lnTo>
                    <a:pt x="520" y="1425"/>
                  </a:lnTo>
                  <a:lnTo>
                    <a:pt x="4814" y="2600"/>
                  </a:lnTo>
                  <a:lnTo>
                    <a:pt x="4950" y="2645"/>
                  </a:lnTo>
                  <a:lnTo>
                    <a:pt x="5086" y="2623"/>
                  </a:lnTo>
                  <a:lnTo>
                    <a:pt x="5244" y="2600"/>
                  </a:lnTo>
                  <a:lnTo>
                    <a:pt x="5357" y="2532"/>
                  </a:lnTo>
                  <a:lnTo>
                    <a:pt x="5470" y="2464"/>
                  </a:lnTo>
                  <a:lnTo>
                    <a:pt x="5560" y="2374"/>
                  </a:lnTo>
                  <a:lnTo>
                    <a:pt x="5651" y="2238"/>
                  </a:lnTo>
                  <a:lnTo>
                    <a:pt x="5696" y="2103"/>
                  </a:lnTo>
                  <a:lnTo>
                    <a:pt x="5719" y="1967"/>
                  </a:lnTo>
                  <a:lnTo>
                    <a:pt x="5719" y="1832"/>
                  </a:lnTo>
                  <a:lnTo>
                    <a:pt x="5696" y="1673"/>
                  </a:lnTo>
                  <a:lnTo>
                    <a:pt x="5628" y="1560"/>
                  </a:lnTo>
                  <a:lnTo>
                    <a:pt x="5560" y="1447"/>
                  </a:lnTo>
                  <a:lnTo>
                    <a:pt x="5447" y="1357"/>
                  </a:lnTo>
                  <a:lnTo>
                    <a:pt x="5334" y="1266"/>
                  </a:lnTo>
                  <a:lnTo>
                    <a:pt x="5199" y="1221"/>
                  </a:lnTo>
                  <a:lnTo>
                    <a:pt x="904" y="23"/>
                  </a:lnTo>
                  <a:lnTo>
                    <a:pt x="769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" name="Google Shape;1711;p16">
              <a:extLst>
                <a:ext uri="{FF2B5EF4-FFF2-40B4-BE49-F238E27FC236}">
                  <a16:creationId xmlns:a16="http://schemas.microsoft.com/office/drawing/2014/main" id="{A89CDB06-2F60-6328-ADF6-2AE5D7399B4D}"/>
                </a:ext>
              </a:extLst>
            </p:cNvPr>
            <p:cNvSpPr/>
            <p:nvPr/>
          </p:nvSpPr>
          <p:spPr>
            <a:xfrm>
              <a:off x="4117650" y="3545425"/>
              <a:ext cx="130550" cy="95500"/>
            </a:xfrm>
            <a:custGeom>
              <a:avLst/>
              <a:gdLst/>
              <a:ahLst/>
              <a:cxnLst/>
              <a:rect l="l" t="t" r="r" b="b"/>
              <a:pathLst>
                <a:path w="5222" h="3820" extrusionOk="0">
                  <a:moveTo>
                    <a:pt x="701" y="0"/>
                  </a:moveTo>
                  <a:lnTo>
                    <a:pt x="566" y="23"/>
                  </a:lnTo>
                  <a:lnTo>
                    <a:pt x="430" y="68"/>
                  </a:lnTo>
                  <a:lnTo>
                    <a:pt x="317" y="136"/>
                  </a:lnTo>
                  <a:lnTo>
                    <a:pt x="204" y="226"/>
                  </a:lnTo>
                  <a:lnTo>
                    <a:pt x="113" y="339"/>
                  </a:lnTo>
                  <a:lnTo>
                    <a:pt x="46" y="475"/>
                  </a:lnTo>
                  <a:lnTo>
                    <a:pt x="23" y="610"/>
                  </a:lnTo>
                  <a:lnTo>
                    <a:pt x="0" y="746"/>
                  </a:lnTo>
                  <a:lnTo>
                    <a:pt x="23" y="882"/>
                  </a:lnTo>
                  <a:lnTo>
                    <a:pt x="68" y="1017"/>
                  </a:lnTo>
                  <a:lnTo>
                    <a:pt x="136" y="1153"/>
                  </a:lnTo>
                  <a:lnTo>
                    <a:pt x="227" y="1243"/>
                  </a:lnTo>
                  <a:lnTo>
                    <a:pt x="340" y="1334"/>
                  </a:lnTo>
                  <a:lnTo>
                    <a:pt x="4114" y="3707"/>
                  </a:lnTo>
                  <a:lnTo>
                    <a:pt x="4250" y="3775"/>
                  </a:lnTo>
                  <a:lnTo>
                    <a:pt x="4385" y="3820"/>
                  </a:lnTo>
                  <a:lnTo>
                    <a:pt x="4521" y="3820"/>
                  </a:lnTo>
                  <a:lnTo>
                    <a:pt x="4656" y="3797"/>
                  </a:lnTo>
                  <a:lnTo>
                    <a:pt x="4792" y="3752"/>
                  </a:lnTo>
                  <a:lnTo>
                    <a:pt x="4905" y="3684"/>
                  </a:lnTo>
                  <a:lnTo>
                    <a:pt x="5018" y="3594"/>
                  </a:lnTo>
                  <a:lnTo>
                    <a:pt x="5108" y="3481"/>
                  </a:lnTo>
                  <a:lnTo>
                    <a:pt x="5176" y="3345"/>
                  </a:lnTo>
                  <a:lnTo>
                    <a:pt x="5221" y="3210"/>
                  </a:lnTo>
                  <a:lnTo>
                    <a:pt x="5221" y="3074"/>
                  </a:lnTo>
                  <a:lnTo>
                    <a:pt x="5199" y="2938"/>
                  </a:lnTo>
                  <a:lnTo>
                    <a:pt x="5154" y="2803"/>
                  </a:lnTo>
                  <a:lnTo>
                    <a:pt x="5086" y="2690"/>
                  </a:lnTo>
                  <a:lnTo>
                    <a:pt x="4995" y="2577"/>
                  </a:lnTo>
                  <a:lnTo>
                    <a:pt x="4882" y="2486"/>
                  </a:lnTo>
                  <a:lnTo>
                    <a:pt x="1108" y="113"/>
                  </a:lnTo>
                  <a:lnTo>
                    <a:pt x="995" y="45"/>
                  </a:lnTo>
                  <a:lnTo>
                    <a:pt x="837" y="23"/>
                  </a:lnTo>
                  <a:lnTo>
                    <a:pt x="701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" name="Google Shape;1712;p16">
              <a:extLst>
                <a:ext uri="{FF2B5EF4-FFF2-40B4-BE49-F238E27FC236}">
                  <a16:creationId xmlns:a16="http://schemas.microsoft.com/office/drawing/2014/main" id="{CE916F2B-1105-1DB7-70D0-74222A764373}"/>
                </a:ext>
              </a:extLst>
            </p:cNvPr>
            <p:cNvSpPr/>
            <p:nvPr/>
          </p:nvSpPr>
          <p:spPr>
            <a:xfrm>
              <a:off x="4599050" y="3565750"/>
              <a:ext cx="143000" cy="66150"/>
            </a:xfrm>
            <a:custGeom>
              <a:avLst/>
              <a:gdLst/>
              <a:ahLst/>
              <a:cxnLst/>
              <a:rect l="l" t="t" r="r" b="b"/>
              <a:pathLst>
                <a:path w="5720" h="2646" extrusionOk="0">
                  <a:moveTo>
                    <a:pt x="634" y="1"/>
                  </a:moveTo>
                  <a:lnTo>
                    <a:pt x="498" y="46"/>
                  </a:lnTo>
                  <a:lnTo>
                    <a:pt x="363" y="91"/>
                  </a:lnTo>
                  <a:lnTo>
                    <a:pt x="250" y="182"/>
                  </a:lnTo>
                  <a:lnTo>
                    <a:pt x="159" y="272"/>
                  </a:lnTo>
                  <a:lnTo>
                    <a:pt x="69" y="408"/>
                  </a:lnTo>
                  <a:lnTo>
                    <a:pt x="24" y="543"/>
                  </a:lnTo>
                  <a:lnTo>
                    <a:pt x="1" y="679"/>
                  </a:lnTo>
                  <a:lnTo>
                    <a:pt x="1" y="814"/>
                  </a:lnTo>
                  <a:lnTo>
                    <a:pt x="24" y="950"/>
                  </a:lnTo>
                  <a:lnTo>
                    <a:pt x="91" y="1086"/>
                  </a:lnTo>
                  <a:lnTo>
                    <a:pt x="159" y="1199"/>
                  </a:lnTo>
                  <a:lnTo>
                    <a:pt x="272" y="1289"/>
                  </a:lnTo>
                  <a:lnTo>
                    <a:pt x="385" y="1379"/>
                  </a:lnTo>
                  <a:lnTo>
                    <a:pt x="521" y="1425"/>
                  </a:lnTo>
                  <a:lnTo>
                    <a:pt x="4815" y="2600"/>
                  </a:lnTo>
                  <a:lnTo>
                    <a:pt x="4951" y="2645"/>
                  </a:lnTo>
                  <a:lnTo>
                    <a:pt x="5109" y="2623"/>
                  </a:lnTo>
                  <a:lnTo>
                    <a:pt x="5244" y="2600"/>
                  </a:lnTo>
                  <a:lnTo>
                    <a:pt x="5357" y="2532"/>
                  </a:lnTo>
                  <a:lnTo>
                    <a:pt x="5470" y="2464"/>
                  </a:lnTo>
                  <a:lnTo>
                    <a:pt x="5583" y="2374"/>
                  </a:lnTo>
                  <a:lnTo>
                    <a:pt x="5651" y="2238"/>
                  </a:lnTo>
                  <a:lnTo>
                    <a:pt x="5696" y="2103"/>
                  </a:lnTo>
                  <a:lnTo>
                    <a:pt x="5719" y="1967"/>
                  </a:lnTo>
                  <a:lnTo>
                    <a:pt x="5719" y="1832"/>
                  </a:lnTo>
                  <a:lnTo>
                    <a:pt x="5696" y="1673"/>
                  </a:lnTo>
                  <a:lnTo>
                    <a:pt x="5629" y="1560"/>
                  </a:lnTo>
                  <a:lnTo>
                    <a:pt x="5561" y="1447"/>
                  </a:lnTo>
                  <a:lnTo>
                    <a:pt x="5448" y="1357"/>
                  </a:lnTo>
                  <a:lnTo>
                    <a:pt x="5335" y="1266"/>
                  </a:lnTo>
                  <a:lnTo>
                    <a:pt x="5199" y="1221"/>
                  </a:lnTo>
                  <a:lnTo>
                    <a:pt x="905" y="23"/>
                  </a:lnTo>
                  <a:lnTo>
                    <a:pt x="769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" name="Google Shape;1713;p16">
              <a:extLst>
                <a:ext uri="{FF2B5EF4-FFF2-40B4-BE49-F238E27FC236}">
                  <a16:creationId xmlns:a16="http://schemas.microsoft.com/office/drawing/2014/main" id="{4F22F0BD-6A4A-4880-9F8D-A7583C0E9C24}"/>
                </a:ext>
              </a:extLst>
            </p:cNvPr>
            <p:cNvSpPr/>
            <p:nvPr/>
          </p:nvSpPr>
          <p:spPr>
            <a:xfrm>
              <a:off x="5939325" y="2902975"/>
              <a:ext cx="636250" cy="635675"/>
            </a:xfrm>
            <a:custGeom>
              <a:avLst/>
              <a:gdLst/>
              <a:ahLst/>
              <a:cxnLst/>
              <a:rect l="l" t="t" r="r" b="b"/>
              <a:pathLst>
                <a:path w="25450" h="25427" extrusionOk="0">
                  <a:moveTo>
                    <a:pt x="24727" y="0"/>
                  </a:moveTo>
                  <a:lnTo>
                    <a:pt x="24568" y="23"/>
                  </a:lnTo>
                  <a:lnTo>
                    <a:pt x="24455" y="46"/>
                  </a:lnTo>
                  <a:lnTo>
                    <a:pt x="24320" y="113"/>
                  </a:lnTo>
                  <a:lnTo>
                    <a:pt x="24207" y="226"/>
                  </a:lnTo>
                  <a:lnTo>
                    <a:pt x="227" y="24206"/>
                  </a:lnTo>
                  <a:lnTo>
                    <a:pt x="136" y="24319"/>
                  </a:lnTo>
                  <a:lnTo>
                    <a:pt x="68" y="24432"/>
                  </a:lnTo>
                  <a:lnTo>
                    <a:pt x="23" y="24568"/>
                  </a:lnTo>
                  <a:lnTo>
                    <a:pt x="1" y="24704"/>
                  </a:lnTo>
                  <a:lnTo>
                    <a:pt x="23" y="24839"/>
                  </a:lnTo>
                  <a:lnTo>
                    <a:pt x="68" y="24975"/>
                  </a:lnTo>
                  <a:lnTo>
                    <a:pt x="136" y="25111"/>
                  </a:lnTo>
                  <a:lnTo>
                    <a:pt x="227" y="25224"/>
                  </a:lnTo>
                  <a:lnTo>
                    <a:pt x="340" y="25314"/>
                  </a:lnTo>
                  <a:lnTo>
                    <a:pt x="453" y="25382"/>
                  </a:lnTo>
                  <a:lnTo>
                    <a:pt x="588" y="25427"/>
                  </a:lnTo>
                  <a:lnTo>
                    <a:pt x="882" y="25427"/>
                  </a:lnTo>
                  <a:lnTo>
                    <a:pt x="995" y="25382"/>
                  </a:lnTo>
                  <a:lnTo>
                    <a:pt x="1131" y="25314"/>
                  </a:lnTo>
                  <a:lnTo>
                    <a:pt x="1244" y="25224"/>
                  </a:lnTo>
                  <a:lnTo>
                    <a:pt x="25224" y="1243"/>
                  </a:lnTo>
                  <a:lnTo>
                    <a:pt x="25314" y="1130"/>
                  </a:lnTo>
                  <a:lnTo>
                    <a:pt x="25382" y="995"/>
                  </a:lnTo>
                  <a:lnTo>
                    <a:pt x="25427" y="859"/>
                  </a:lnTo>
                  <a:lnTo>
                    <a:pt x="25450" y="724"/>
                  </a:lnTo>
                  <a:lnTo>
                    <a:pt x="25427" y="588"/>
                  </a:lnTo>
                  <a:lnTo>
                    <a:pt x="25382" y="452"/>
                  </a:lnTo>
                  <a:lnTo>
                    <a:pt x="25314" y="339"/>
                  </a:lnTo>
                  <a:lnTo>
                    <a:pt x="25224" y="226"/>
                  </a:lnTo>
                  <a:lnTo>
                    <a:pt x="25111" y="113"/>
                  </a:lnTo>
                  <a:lnTo>
                    <a:pt x="24998" y="46"/>
                  </a:lnTo>
                  <a:lnTo>
                    <a:pt x="24862" y="23"/>
                  </a:lnTo>
                  <a:lnTo>
                    <a:pt x="24727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" name="Google Shape;1714;p16">
              <a:extLst>
                <a:ext uri="{FF2B5EF4-FFF2-40B4-BE49-F238E27FC236}">
                  <a16:creationId xmlns:a16="http://schemas.microsoft.com/office/drawing/2014/main" id="{CCA5F9B5-D5ED-191E-EB69-69C2744674C5}"/>
                </a:ext>
              </a:extLst>
            </p:cNvPr>
            <p:cNvSpPr/>
            <p:nvPr/>
          </p:nvSpPr>
          <p:spPr>
            <a:xfrm>
              <a:off x="6294175" y="2953250"/>
              <a:ext cx="1087700" cy="1088300"/>
            </a:xfrm>
            <a:custGeom>
              <a:avLst/>
              <a:gdLst/>
              <a:ahLst/>
              <a:cxnLst/>
              <a:rect l="l" t="t" r="r" b="b"/>
              <a:pathLst>
                <a:path w="43508" h="43532" extrusionOk="0">
                  <a:moveTo>
                    <a:pt x="21743" y="2464"/>
                  </a:moveTo>
                  <a:lnTo>
                    <a:pt x="22737" y="2487"/>
                  </a:lnTo>
                  <a:lnTo>
                    <a:pt x="23732" y="2555"/>
                  </a:lnTo>
                  <a:lnTo>
                    <a:pt x="24681" y="2690"/>
                  </a:lnTo>
                  <a:lnTo>
                    <a:pt x="25630" y="2849"/>
                  </a:lnTo>
                  <a:lnTo>
                    <a:pt x="26580" y="3075"/>
                  </a:lnTo>
                  <a:lnTo>
                    <a:pt x="27484" y="3323"/>
                  </a:lnTo>
                  <a:lnTo>
                    <a:pt x="28388" y="3640"/>
                  </a:lnTo>
                  <a:lnTo>
                    <a:pt x="29269" y="3979"/>
                  </a:lnTo>
                  <a:lnTo>
                    <a:pt x="30128" y="4363"/>
                  </a:lnTo>
                  <a:lnTo>
                    <a:pt x="30942" y="4792"/>
                  </a:lnTo>
                  <a:lnTo>
                    <a:pt x="31755" y="5244"/>
                  </a:lnTo>
                  <a:lnTo>
                    <a:pt x="32546" y="5764"/>
                  </a:lnTo>
                  <a:lnTo>
                    <a:pt x="33292" y="6284"/>
                  </a:lnTo>
                  <a:lnTo>
                    <a:pt x="34038" y="6872"/>
                  </a:lnTo>
                  <a:lnTo>
                    <a:pt x="34739" y="7482"/>
                  </a:lnTo>
                  <a:lnTo>
                    <a:pt x="35394" y="8115"/>
                  </a:lnTo>
                  <a:lnTo>
                    <a:pt x="36050" y="8793"/>
                  </a:lnTo>
                  <a:lnTo>
                    <a:pt x="36660" y="9494"/>
                  </a:lnTo>
                  <a:lnTo>
                    <a:pt x="37225" y="10217"/>
                  </a:lnTo>
                  <a:lnTo>
                    <a:pt x="37767" y="10963"/>
                  </a:lnTo>
                  <a:lnTo>
                    <a:pt x="38264" y="11754"/>
                  </a:lnTo>
                  <a:lnTo>
                    <a:pt x="38739" y="12567"/>
                  </a:lnTo>
                  <a:lnTo>
                    <a:pt x="39146" y="13404"/>
                  </a:lnTo>
                  <a:lnTo>
                    <a:pt x="39553" y="14262"/>
                  </a:lnTo>
                  <a:lnTo>
                    <a:pt x="39892" y="15121"/>
                  </a:lnTo>
                  <a:lnTo>
                    <a:pt x="40186" y="16025"/>
                  </a:lnTo>
                  <a:lnTo>
                    <a:pt x="40457" y="16952"/>
                  </a:lnTo>
                  <a:lnTo>
                    <a:pt x="40660" y="17879"/>
                  </a:lnTo>
                  <a:lnTo>
                    <a:pt x="40841" y="18828"/>
                  </a:lnTo>
                  <a:lnTo>
                    <a:pt x="40954" y="19800"/>
                  </a:lnTo>
                  <a:lnTo>
                    <a:pt x="41044" y="20772"/>
                  </a:lnTo>
                  <a:lnTo>
                    <a:pt x="41067" y="21766"/>
                  </a:lnTo>
                  <a:lnTo>
                    <a:pt x="41044" y="22761"/>
                  </a:lnTo>
                  <a:lnTo>
                    <a:pt x="40954" y="23755"/>
                  </a:lnTo>
                  <a:lnTo>
                    <a:pt x="40841" y="24704"/>
                  </a:lnTo>
                  <a:lnTo>
                    <a:pt x="40660" y="25653"/>
                  </a:lnTo>
                  <a:lnTo>
                    <a:pt x="40457" y="26603"/>
                  </a:lnTo>
                  <a:lnTo>
                    <a:pt x="40186" y="27507"/>
                  </a:lnTo>
                  <a:lnTo>
                    <a:pt x="39892" y="28411"/>
                  </a:lnTo>
                  <a:lnTo>
                    <a:pt x="39553" y="29292"/>
                  </a:lnTo>
                  <a:lnTo>
                    <a:pt x="39146" y="30151"/>
                  </a:lnTo>
                  <a:lnTo>
                    <a:pt x="38739" y="30965"/>
                  </a:lnTo>
                  <a:lnTo>
                    <a:pt x="38264" y="31778"/>
                  </a:lnTo>
                  <a:lnTo>
                    <a:pt x="37767" y="32569"/>
                  </a:lnTo>
                  <a:lnTo>
                    <a:pt x="37225" y="33315"/>
                  </a:lnTo>
                  <a:lnTo>
                    <a:pt x="36660" y="34061"/>
                  </a:lnTo>
                  <a:lnTo>
                    <a:pt x="36050" y="34762"/>
                  </a:lnTo>
                  <a:lnTo>
                    <a:pt x="35394" y="35417"/>
                  </a:lnTo>
                  <a:lnTo>
                    <a:pt x="34739" y="36073"/>
                  </a:lnTo>
                  <a:lnTo>
                    <a:pt x="34038" y="36660"/>
                  </a:lnTo>
                  <a:lnTo>
                    <a:pt x="33292" y="37248"/>
                  </a:lnTo>
                  <a:lnTo>
                    <a:pt x="32546" y="37790"/>
                  </a:lnTo>
                  <a:lnTo>
                    <a:pt x="31755" y="38288"/>
                  </a:lnTo>
                  <a:lnTo>
                    <a:pt x="30942" y="38740"/>
                  </a:lnTo>
                  <a:lnTo>
                    <a:pt x="30128" y="39169"/>
                  </a:lnTo>
                  <a:lnTo>
                    <a:pt x="29269" y="39553"/>
                  </a:lnTo>
                  <a:lnTo>
                    <a:pt x="28388" y="39915"/>
                  </a:lnTo>
                  <a:lnTo>
                    <a:pt x="27484" y="40209"/>
                  </a:lnTo>
                  <a:lnTo>
                    <a:pt x="26580" y="40480"/>
                  </a:lnTo>
                  <a:lnTo>
                    <a:pt x="25630" y="40683"/>
                  </a:lnTo>
                  <a:lnTo>
                    <a:pt x="24681" y="40864"/>
                  </a:lnTo>
                  <a:lnTo>
                    <a:pt x="23732" y="40977"/>
                  </a:lnTo>
                  <a:lnTo>
                    <a:pt x="22737" y="41045"/>
                  </a:lnTo>
                  <a:lnTo>
                    <a:pt x="21743" y="41090"/>
                  </a:lnTo>
                  <a:lnTo>
                    <a:pt x="20748" y="41045"/>
                  </a:lnTo>
                  <a:lnTo>
                    <a:pt x="19777" y="40977"/>
                  </a:lnTo>
                  <a:lnTo>
                    <a:pt x="18805" y="40864"/>
                  </a:lnTo>
                  <a:lnTo>
                    <a:pt x="17855" y="40683"/>
                  </a:lnTo>
                  <a:lnTo>
                    <a:pt x="16929" y="40480"/>
                  </a:lnTo>
                  <a:lnTo>
                    <a:pt x="16002" y="40209"/>
                  </a:lnTo>
                  <a:lnTo>
                    <a:pt x="15098" y="39915"/>
                  </a:lnTo>
                  <a:lnTo>
                    <a:pt x="14239" y="39553"/>
                  </a:lnTo>
                  <a:lnTo>
                    <a:pt x="13380" y="39169"/>
                  </a:lnTo>
                  <a:lnTo>
                    <a:pt x="12544" y="38740"/>
                  </a:lnTo>
                  <a:lnTo>
                    <a:pt x="11730" y="38288"/>
                  </a:lnTo>
                  <a:lnTo>
                    <a:pt x="10939" y="37790"/>
                  </a:lnTo>
                  <a:lnTo>
                    <a:pt x="10193" y="37248"/>
                  </a:lnTo>
                  <a:lnTo>
                    <a:pt x="9470" y="36660"/>
                  </a:lnTo>
                  <a:lnTo>
                    <a:pt x="8770" y="36073"/>
                  </a:lnTo>
                  <a:lnTo>
                    <a:pt x="8092" y="35417"/>
                  </a:lnTo>
                  <a:lnTo>
                    <a:pt x="7459" y="34762"/>
                  </a:lnTo>
                  <a:lnTo>
                    <a:pt x="6848" y="34061"/>
                  </a:lnTo>
                  <a:lnTo>
                    <a:pt x="6261" y="33315"/>
                  </a:lnTo>
                  <a:lnTo>
                    <a:pt x="5741" y="32569"/>
                  </a:lnTo>
                  <a:lnTo>
                    <a:pt x="5221" y="31778"/>
                  </a:lnTo>
                  <a:lnTo>
                    <a:pt x="4769" y="30965"/>
                  </a:lnTo>
                  <a:lnTo>
                    <a:pt x="4340" y="30151"/>
                  </a:lnTo>
                  <a:lnTo>
                    <a:pt x="3955" y="29292"/>
                  </a:lnTo>
                  <a:lnTo>
                    <a:pt x="3616" y="28411"/>
                  </a:lnTo>
                  <a:lnTo>
                    <a:pt x="3300" y="27507"/>
                  </a:lnTo>
                  <a:lnTo>
                    <a:pt x="3051" y="26603"/>
                  </a:lnTo>
                  <a:lnTo>
                    <a:pt x="2825" y="25653"/>
                  </a:lnTo>
                  <a:lnTo>
                    <a:pt x="2667" y="24704"/>
                  </a:lnTo>
                  <a:lnTo>
                    <a:pt x="2532" y="23755"/>
                  </a:lnTo>
                  <a:lnTo>
                    <a:pt x="2464" y="22761"/>
                  </a:lnTo>
                  <a:lnTo>
                    <a:pt x="2441" y="21766"/>
                  </a:lnTo>
                  <a:lnTo>
                    <a:pt x="2464" y="20772"/>
                  </a:lnTo>
                  <a:lnTo>
                    <a:pt x="2532" y="19800"/>
                  </a:lnTo>
                  <a:lnTo>
                    <a:pt x="2667" y="18828"/>
                  </a:lnTo>
                  <a:lnTo>
                    <a:pt x="2825" y="17879"/>
                  </a:lnTo>
                  <a:lnTo>
                    <a:pt x="3051" y="16952"/>
                  </a:lnTo>
                  <a:lnTo>
                    <a:pt x="3300" y="16025"/>
                  </a:lnTo>
                  <a:lnTo>
                    <a:pt x="3616" y="15121"/>
                  </a:lnTo>
                  <a:lnTo>
                    <a:pt x="3955" y="14262"/>
                  </a:lnTo>
                  <a:lnTo>
                    <a:pt x="4340" y="13404"/>
                  </a:lnTo>
                  <a:lnTo>
                    <a:pt x="4769" y="12567"/>
                  </a:lnTo>
                  <a:lnTo>
                    <a:pt x="5221" y="11754"/>
                  </a:lnTo>
                  <a:lnTo>
                    <a:pt x="5741" y="10963"/>
                  </a:lnTo>
                  <a:lnTo>
                    <a:pt x="6261" y="10217"/>
                  </a:lnTo>
                  <a:lnTo>
                    <a:pt x="6848" y="9494"/>
                  </a:lnTo>
                  <a:lnTo>
                    <a:pt x="7459" y="8793"/>
                  </a:lnTo>
                  <a:lnTo>
                    <a:pt x="8092" y="8115"/>
                  </a:lnTo>
                  <a:lnTo>
                    <a:pt x="8770" y="7482"/>
                  </a:lnTo>
                  <a:lnTo>
                    <a:pt x="9470" y="6872"/>
                  </a:lnTo>
                  <a:lnTo>
                    <a:pt x="10193" y="6284"/>
                  </a:lnTo>
                  <a:lnTo>
                    <a:pt x="10939" y="5764"/>
                  </a:lnTo>
                  <a:lnTo>
                    <a:pt x="11730" y="5244"/>
                  </a:lnTo>
                  <a:lnTo>
                    <a:pt x="12544" y="4792"/>
                  </a:lnTo>
                  <a:lnTo>
                    <a:pt x="13380" y="4363"/>
                  </a:lnTo>
                  <a:lnTo>
                    <a:pt x="14239" y="3979"/>
                  </a:lnTo>
                  <a:lnTo>
                    <a:pt x="15098" y="3640"/>
                  </a:lnTo>
                  <a:lnTo>
                    <a:pt x="16002" y="3323"/>
                  </a:lnTo>
                  <a:lnTo>
                    <a:pt x="16929" y="3075"/>
                  </a:lnTo>
                  <a:lnTo>
                    <a:pt x="17855" y="2849"/>
                  </a:lnTo>
                  <a:lnTo>
                    <a:pt x="18805" y="2690"/>
                  </a:lnTo>
                  <a:lnTo>
                    <a:pt x="19777" y="2555"/>
                  </a:lnTo>
                  <a:lnTo>
                    <a:pt x="20748" y="2487"/>
                  </a:lnTo>
                  <a:lnTo>
                    <a:pt x="21743" y="2464"/>
                  </a:lnTo>
                  <a:close/>
                  <a:moveTo>
                    <a:pt x="21743" y="1"/>
                  </a:moveTo>
                  <a:lnTo>
                    <a:pt x="21178" y="24"/>
                  </a:lnTo>
                  <a:lnTo>
                    <a:pt x="20635" y="46"/>
                  </a:lnTo>
                  <a:lnTo>
                    <a:pt x="20070" y="69"/>
                  </a:lnTo>
                  <a:lnTo>
                    <a:pt x="19528" y="114"/>
                  </a:lnTo>
                  <a:lnTo>
                    <a:pt x="18985" y="182"/>
                  </a:lnTo>
                  <a:lnTo>
                    <a:pt x="18443" y="272"/>
                  </a:lnTo>
                  <a:lnTo>
                    <a:pt x="17901" y="363"/>
                  </a:lnTo>
                  <a:lnTo>
                    <a:pt x="17358" y="453"/>
                  </a:lnTo>
                  <a:lnTo>
                    <a:pt x="16318" y="702"/>
                  </a:lnTo>
                  <a:lnTo>
                    <a:pt x="15279" y="995"/>
                  </a:lnTo>
                  <a:lnTo>
                    <a:pt x="14262" y="1334"/>
                  </a:lnTo>
                  <a:lnTo>
                    <a:pt x="13267" y="1719"/>
                  </a:lnTo>
                  <a:lnTo>
                    <a:pt x="12318" y="2148"/>
                  </a:lnTo>
                  <a:lnTo>
                    <a:pt x="11369" y="2645"/>
                  </a:lnTo>
                  <a:lnTo>
                    <a:pt x="10465" y="3165"/>
                  </a:lnTo>
                  <a:lnTo>
                    <a:pt x="9583" y="3730"/>
                  </a:lnTo>
                  <a:lnTo>
                    <a:pt x="8724" y="4340"/>
                  </a:lnTo>
                  <a:lnTo>
                    <a:pt x="7911" y="4973"/>
                  </a:lnTo>
                  <a:lnTo>
                    <a:pt x="7120" y="5674"/>
                  </a:lnTo>
                  <a:lnTo>
                    <a:pt x="6351" y="6375"/>
                  </a:lnTo>
                  <a:lnTo>
                    <a:pt x="5651" y="7143"/>
                  </a:lnTo>
                  <a:lnTo>
                    <a:pt x="4950" y="7934"/>
                  </a:lnTo>
                  <a:lnTo>
                    <a:pt x="4317" y="8748"/>
                  </a:lnTo>
                  <a:lnTo>
                    <a:pt x="3707" y="9607"/>
                  </a:lnTo>
                  <a:lnTo>
                    <a:pt x="3142" y="10488"/>
                  </a:lnTo>
                  <a:lnTo>
                    <a:pt x="2622" y="11392"/>
                  </a:lnTo>
                  <a:lnTo>
                    <a:pt x="2125" y="12341"/>
                  </a:lnTo>
                  <a:lnTo>
                    <a:pt x="1695" y="13291"/>
                  </a:lnTo>
                  <a:lnTo>
                    <a:pt x="1311" y="14285"/>
                  </a:lnTo>
                  <a:lnTo>
                    <a:pt x="972" y="15302"/>
                  </a:lnTo>
                  <a:lnTo>
                    <a:pt x="678" y="16342"/>
                  </a:lnTo>
                  <a:lnTo>
                    <a:pt x="430" y="17381"/>
                  </a:lnTo>
                  <a:lnTo>
                    <a:pt x="339" y="17924"/>
                  </a:lnTo>
                  <a:lnTo>
                    <a:pt x="249" y="18466"/>
                  </a:lnTo>
                  <a:lnTo>
                    <a:pt x="158" y="19009"/>
                  </a:lnTo>
                  <a:lnTo>
                    <a:pt x="91" y="19551"/>
                  </a:lnTo>
                  <a:lnTo>
                    <a:pt x="45" y="20094"/>
                  </a:lnTo>
                  <a:lnTo>
                    <a:pt x="23" y="20659"/>
                  </a:lnTo>
                  <a:lnTo>
                    <a:pt x="0" y="21201"/>
                  </a:lnTo>
                  <a:lnTo>
                    <a:pt x="0" y="21766"/>
                  </a:lnTo>
                  <a:lnTo>
                    <a:pt x="0" y="22331"/>
                  </a:lnTo>
                  <a:lnTo>
                    <a:pt x="23" y="22896"/>
                  </a:lnTo>
                  <a:lnTo>
                    <a:pt x="45" y="23439"/>
                  </a:lnTo>
                  <a:lnTo>
                    <a:pt x="91" y="24004"/>
                  </a:lnTo>
                  <a:lnTo>
                    <a:pt x="158" y="24546"/>
                  </a:lnTo>
                  <a:lnTo>
                    <a:pt x="249" y="25088"/>
                  </a:lnTo>
                  <a:lnTo>
                    <a:pt x="339" y="25631"/>
                  </a:lnTo>
                  <a:lnTo>
                    <a:pt x="430" y="26151"/>
                  </a:lnTo>
                  <a:lnTo>
                    <a:pt x="678" y="27213"/>
                  </a:lnTo>
                  <a:lnTo>
                    <a:pt x="972" y="28230"/>
                  </a:lnTo>
                  <a:lnTo>
                    <a:pt x="1311" y="29247"/>
                  </a:lnTo>
                  <a:lnTo>
                    <a:pt x="1695" y="30242"/>
                  </a:lnTo>
                  <a:lnTo>
                    <a:pt x="2125" y="31213"/>
                  </a:lnTo>
                  <a:lnTo>
                    <a:pt x="2622" y="32140"/>
                  </a:lnTo>
                  <a:lnTo>
                    <a:pt x="3142" y="33044"/>
                  </a:lnTo>
                  <a:lnTo>
                    <a:pt x="3707" y="33926"/>
                  </a:lnTo>
                  <a:lnTo>
                    <a:pt x="4317" y="34784"/>
                  </a:lnTo>
                  <a:lnTo>
                    <a:pt x="4950" y="35621"/>
                  </a:lnTo>
                  <a:lnTo>
                    <a:pt x="5651" y="36389"/>
                  </a:lnTo>
                  <a:lnTo>
                    <a:pt x="6351" y="37158"/>
                  </a:lnTo>
                  <a:lnTo>
                    <a:pt x="7120" y="37881"/>
                  </a:lnTo>
                  <a:lnTo>
                    <a:pt x="7911" y="38559"/>
                  </a:lnTo>
                  <a:lnTo>
                    <a:pt x="8724" y="39214"/>
                  </a:lnTo>
                  <a:lnTo>
                    <a:pt x="9583" y="39802"/>
                  </a:lnTo>
                  <a:lnTo>
                    <a:pt x="10465" y="40367"/>
                  </a:lnTo>
                  <a:lnTo>
                    <a:pt x="11369" y="40909"/>
                  </a:lnTo>
                  <a:lnTo>
                    <a:pt x="12318" y="41384"/>
                  </a:lnTo>
                  <a:lnTo>
                    <a:pt x="13267" y="41813"/>
                  </a:lnTo>
                  <a:lnTo>
                    <a:pt x="14262" y="42198"/>
                  </a:lnTo>
                  <a:lnTo>
                    <a:pt x="15279" y="42559"/>
                  </a:lnTo>
                  <a:lnTo>
                    <a:pt x="16318" y="42853"/>
                  </a:lnTo>
                  <a:lnTo>
                    <a:pt x="17358" y="43079"/>
                  </a:lnTo>
                  <a:lnTo>
                    <a:pt x="17901" y="43192"/>
                  </a:lnTo>
                  <a:lnTo>
                    <a:pt x="18443" y="43283"/>
                  </a:lnTo>
                  <a:lnTo>
                    <a:pt x="18985" y="43350"/>
                  </a:lnTo>
                  <a:lnTo>
                    <a:pt x="19528" y="43418"/>
                  </a:lnTo>
                  <a:lnTo>
                    <a:pt x="20070" y="43463"/>
                  </a:lnTo>
                  <a:lnTo>
                    <a:pt x="20635" y="43509"/>
                  </a:lnTo>
                  <a:lnTo>
                    <a:pt x="21178" y="43531"/>
                  </a:lnTo>
                  <a:lnTo>
                    <a:pt x="22308" y="43531"/>
                  </a:lnTo>
                  <a:lnTo>
                    <a:pt x="22873" y="43509"/>
                  </a:lnTo>
                  <a:lnTo>
                    <a:pt x="23415" y="43463"/>
                  </a:lnTo>
                  <a:lnTo>
                    <a:pt x="23980" y="43418"/>
                  </a:lnTo>
                  <a:lnTo>
                    <a:pt x="24523" y="43350"/>
                  </a:lnTo>
                  <a:lnTo>
                    <a:pt x="25065" y="43283"/>
                  </a:lnTo>
                  <a:lnTo>
                    <a:pt x="25608" y="43192"/>
                  </a:lnTo>
                  <a:lnTo>
                    <a:pt x="26128" y="43079"/>
                  </a:lnTo>
                  <a:lnTo>
                    <a:pt x="27190" y="42853"/>
                  </a:lnTo>
                  <a:lnTo>
                    <a:pt x="28207" y="42559"/>
                  </a:lnTo>
                  <a:lnTo>
                    <a:pt x="29224" y="42198"/>
                  </a:lnTo>
                  <a:lnTo>
                    <a:pt x="30218" y="41813"/>
                  </a:lnTo>
                  <a:lnTo>
                    <a:pt x="31190" y="41384"/>
                  </a:lnTo>
                  <a:lnTo>
                    <a:pt x="32117" y="40909"/>
                  </a:lnTo>
                  <a:lnTo>
                    <a:pt x="33021" y="40367"/>
                  </a:lnTo>
                  <a:lnTo>
                    <a:pt x="33902" y="39802"/>
                  </a:lnTo>
                  <a:lnTo>
                    <a:pt x="34761" y="39214"/>
                  </a:lnTo>
                  <a:lnTo>
                    <a:pt x="35598" y="38559"/>
                  </a:lnTo>
                  <a:lnTo>
                    <a:pt x="36366" y="37881"/>
                  </a:lnTo>
                  <a:lnTo>
                    <a:pt x="37134" y="37158"/>
                  </a:lnTo>
                  <a:lnTo>
                    <a:pt x="37858" y="36389"/>
                  </a:lnTo>
                  <a:lnTo>
                    <a:pt x="38536" y="35621"/>
                  </a:lnTo>
                  <a:lnTo>
                    <a:pt x="39191" y="34784"/>
                  </a:lnTo>
                  <a:lnTo>
                    <a:pt x="39779" y="33926"/>
                  </a:lnTo>
                  <a:lnTo>
                    <a:pt x="40344" y="33044"/>
                  </a:lnTo>
                  <a:lnTo>
                    <a:pt x="40886" y="32140"/>
                  </a:lnTo>
                  <a:lnTo>
                    <a:pt x="41361" y="31213"/>
                  </a:lnTo>
                  <a:lnTo>
                    <a:pt x="41790" y="30242"/>
                  </a:lnTo>
                  <a:lnTo>
                    <a:pt x="42175" y="29247"/>
                  </a:lnTo>
                  <a:lnTo>
                    <a:pt x="42536" y="28230"/>
                  </a:lnTo>
                  <a:lnTo>
                    <a:pt x="42830" y="27213"/>
                  </a:lnTo>
                  <a:lnTo>
                    <a:pt x="43056" y="26151"/>
                  </a:lnTo>
                  <a:lnTo>
                    <a:pt x="43169" y="25631"/>
                  </a:lnTo>
                  <a:lnTo>
                    <a:pt x="43259" y="25088"/>
                  </a:lnTo>
                  <a:lnTo>
                    <a:pt x="43327" y="24546"/>
                  </a:lnTo>
                  <a:lnTo>
                    <a:pt x="43395" y="24004"/>
                  </a:lnTo>
                  <a:lnTo>
                    <a:pt x="43440" y="23439"/>
                  </a:lnTo>
                  <a:lnTo>
                    <a:pt x="43485" y="22896"/>
                  </a:lnTo>
                  <a:lnTo>
                    <a:pt x="43508" y="22331"/>
                  </a:lnTo>
                  <a:lnTo>
                    <a:pt x="43508" y="21766"/>
                  </a:lnTo>
                  <a:lnTo>
                    <a:pt x="43508" y="21201"/>
                  </a:lnTo>
                  <a:lnTo>
                    <a:pt x="43485" y="20659"/>
                  </a:lnTo>
                  <a:lnTo>
                    <a:pt x="43440" y="20094"/>
                  </a:lnTo>
                  <a:lnTo>
                    <a:pt x="43395" y="19551"/>
                  </a:lnTo>
                  <a:lnTo>
                    <a:pt x="43327" y="19009"/>
                  </a:lnTo>
                  <a:lnTo>
                    <a:pt x="43259" y="18466"/>
                  </a:lnTo>
                  <a:lnTo>
                    <a:pt x="43169" y="17924"/>
                  </a:lnTo>
                  <a:lnTo>
                    <a:pt x="43056" y="17381"/>
                  </a:lnTo>
                  <a:lnTo>
                    <a:pt x="42830" y="16342"/>
                  </a:lnTo>
                  <a:lnTo>
                    <a:pt x="42536" y="15302"/>
                  </a:lnTo>
                  <a:lnTo>
                    <a:pt x="42175" y="14285"/>
                  </a:lnTo>
                  <a:lnTo>
                    <a:pt x="41790" y="13291"/>
                  </a:lnTo>
                  <a:lnTo>
                    <a:pt x="41361" y="12341"/>
                  </a:lnTo>
                  <a:lnTo>
                    <a:pt x="40886" y="11392"/>
                  </a:lnTo>
                  <a:lnTo>
                    <a:pt x="40344" y="10488"/>
                  </a:lnTo>
                  <a:lnTo>
                    <a:pt x="39779" y="9607"/>
                  </a:lnTo>
                  <a:lnTo>
                    <a:pt x="39191" y="8748"/>
                  </a:lnTo>
                  <a:lnTo>
                    <a:pt x="38536" y="7934"/>
                  </a:lnTo>
                  <a:lnTo>
                    <a:pt x="37858" y="7143"/>
                  </a:lnTo>
                  <a:lnTo>
                    <a:pt x="37134" y="6375"/>
                  </a:lnTo>
                  <a:lnTo>
                    <a:pt x="36366" y="5674"/>
                  </a:lnTo>
                  <a:lnTo>
                    <a:pt x="35598" y="4973"/>
                  </a:lnTo>
                  <a:lnTo>
                    <a:pt x="34761" y="4340"/>
                  </a:lnTo>
                  <a:lnTo>
                    <a:pt x="33902" y="3730"/>
                  </a:lnTo>
                  <a:lnTo>
                    <a:pt x="33021" y="3165"/>
                  </a:lnTo>
                  <a:lnTo>
                    <a:pt x="32117" y="2645"/>
                  </a:lnTo>
                  <a:lnTo>
                    <a:pt x="31190" y="2148"/>
                  </a:lnTo>
                  <a:lnTo>
                    <a:pt x="30218" y="1719"/>
                  </a:lnTo>
                  <a:lnTo>
                    <a:pt x="29224" y="1334"/>
                  </a:lnTo>
                  <a:lnTo>
                    <a:pt x="28207" y="995"/>
                  </a:lnTo>
                  <a:lnTo>
                    <a:pt x="27190" y="702"/>
                  </a:lnTo>
                  <a:lnTo>
                    <a:pt x="26128" y="453"/>
                  </a:lnTo>
                  <a:lnTo>
                    <a:pt x="25608" y="363"/>
                  </a:lnTo>
                  <a:lnTo>
                    <a:pt x="25065" y="272"/>
                  </a:lnTo>
                  <a:lnTo>
                    <a:pt x="24523" y="182"/>
                  </a:lnTo>
                  <a:lnTo>
                    <a:pt x="23980" y="114"/>
                  </a:lnTo>
                  <a:lnTo>
                    <a:pt x="23415" y="69"/>
                  </a:lnTo>
                  <a:lnTo>
                    <a:pt x="22873" y="46"/>
                  </a:lnTo>
                  <a:lnTo>
                    <a:pt x="22308" y="24"/>
                  </a:lnTo>
                  <a:lnTo>
                    <a:pt x="21743" y="1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" name="Google Shape;1715;p16">
              <a:extLst>
                <a:ext uri="{FF2B5EF4-FFF2-40B4-BE49-F238E27FC236}">
                  <a16:creationId xmlns:a16="http://schemas.microsoft.com/office/drawing/2014/main" id="{C16BABE0-D0B3-5AB4-3E09-9089C2F109EF}"/>
                </a:ext>
              </a:extLst>
            </p:cNvPr>
            <p:cNvSpPr/>
            <p:nvPr/>
          </p:nvSpPr>
          <p:spPr>
            <a:xfrm>
              <a:off x="6239925" y="2297825"/>
              <a:ext cx="146925" cy="36175"/>
            </a:xfrm>
            <a:custGeom>
              <a:avLst/>
              <a:gdLst/>
              <a:ahLst/>
              <a:cxnLst/>
              <a:rect l="l" t="t" r="r" b="b"/>
              <a:pathLst>
                <a:path w="5877" h="1447" extrusionOk="0">
                  <a:moveTo>
                    <a:pt x="724" y="0"/>
                  </a:moveTo>
                  <a:lnTo>
                    <a:pt x="566" y="23"/>
                  </a:lnTo>
                  <a:lnTo>
                    <a:pt x="430" y="68"/>
                  </a:lnTo>
                  <a:lnTo>
                    <a:pt x="317" y="113"/>
                  </a:lnTo>
                  <a:lnTo>
                    <a:pt x="204" y="204"/>
                  </a:lnTo>
                  <a:lnTo>
                    <a:pt x="114" y="317"/>
                  </a:lnTo>
                  <a:lnTo>
                    <a:pt x="46" y="452"/>
                  </a:lnTo>
                  <a:lnTo>
                    <a:pt x="0" y="588"/>
                  </a:lnTo>
                  <a:lnTo>
                    <a:pt x="0" y="724"/>
                  </a:lnTo>
                  <a:lnTo>
                    <a:pt x="0" y="859"/>
                  </a:lnTo>
                  <a:lnTo>
                    <a:pt x="46" y="995"/>
                  </a:lnTo>
                  <a:lnTo>
                    <a:pt x="114" y="1130"/>
                  </a:lnTo>
                  <a:lnTo>
                    <a:pt x="204" y="1243"/>
                  </a:lnTo>
                  <a:lnTo>
                    <a:pt x="317" y="1311"/>
                  </a:lnTo>
                  <a:lnTo>
                    <a:pt x="430" y="1379"/>
                  </a:lnTo>
                  <a:lnTo>
                    <a:pt x="566" y="1424"/>
                  </a:lnTo>
                  <a:lnTo>
                    <a:pt x="724" y="1447"/>
                  </a:lnTo>
                  <a:lnTo>
                    <a:pt x="5154" y="1447"/>
                  </a:lnTo>
                  <a:lnTo>
                    <a:pt x="5312" y="1424"/>
                  </a:lnTo>
                  <a:lnTo>
                    <a:pt x="5447" y="1379"/>
                  </a:lnTo>
                  <a:lnTo>
                    <a:pt x="5560" y="1311"/>
                  </a:lnTo>
                  <a:lnTo>
                    <a:pt x="5673" y="1243"/>
                  </a:lnTo>
                  <a:lnTo>
                    <a:pt x="5764" y="1130"/>
                  </a:lnTo>
                  <a:lnTo>
                    <a:pt x="5832" y="995"/>
                  </a:lnTo>
                  <a:lnTo>
                    <a:pt x="5877" y="859"/>
                  </a:lnTo>
                  <a:lnTo>
                    <a:pt x="5877" y="724"/>
                  </a:lnTo>
                  <a:lnTo>
                    <a:pt x="5877" y="588"/>
                  </a:lnTo>
                  <a:lnTo>
                    <a:pt x="5832" y="452"/>
                  </a:lnTo>
                  <a:lnTo>
                    <a:pt x="5764" y="317"/>
                  </a:lnTo>
                  <a:lnTo>
                    <a:pt x="5673" y="204"/>
                  </a:lnTo>
                  <a:lnTo>
                    <a:pt x="5560" y="113"/>
                  </a:lnTo>
                  <a:lnTo>
                    <a:pt x="5447" y="68"/>
                  </a:lnTo>
                  <a:lnTo>
                    <a:pt x="5312" y="23"/>
                  </a:lnTo>
                  <a:lnTo>
                    <a:pt x="5154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" name="Google Shape;1716;p16">
              <a:extLst>
                <a:ext uri="{FF2B5EF4-FFF2-40B4-BE49-F238E27FC236}">
                  <a16:creationId xmlns:a16="http://schemas.microsoft.com/office/drawing/2014/main" id="{3B8D5647-ED89-9E7D-7190-C1BE271768AD}"/>
                </a:ext>
              </a:extLst>
            </p:cNvPr>
            <p:cNvSpPr/>
            <p:nvPr/>
          </p:nvSpPr>
          <p:spPr>
            <a:xfrm>
              <a:off x="6350675" y="2305725"/>
              <a:ext cx="36175" cy="210225"/>
            </a:xfrm>
            <a:custGeom>
              <a:avLst/>
              <a:gdLst/>
              <a:ahLst/>
              <a:cxnLst/>
              <a:rect l="l" t="t" r="r" b="b"/>
              <a:pathLst>
                <a:path w="1447" h="8409" extrusionOk="0">
                  <a:moveTo>
                    <a:pt x="588" y="1"/>
                  </a:moveTo>
                  <a:lnTo>
                    <a:pt x="452" y="46"/>
                  </a:lnTo>
                  <a:lnTo>
                    <a:pt x="339" y="114"/>
                  </a:lnTo>
                  <a:lnTo>
                    <a:pt x="226" y="204"/>
                  </a:lnTo>
                  <a:lnTo>
                    <a:pt x="136" y="317"/>
                  </a:lnTo>
                  <a:lnTo>
                    <a:pt x="68" y="430"/>
                  </a:lnTo>
                  <a:lnTo>
                    <a:pt x="23" y="566"/>
                  </a:lnTo>
                  <a:lnTo>
                    <a:pt x="0" y="724"/>
                  </a:lnTo>
                  <a:lnTo>
                    <a:pt x="0" y="7685"/>
                  </a:lnTo>
                  <a:lnTo>
                    <a:pt x="23" y="7843"/>
                  </a:lnTo>
                  <a:lnTo>
                    <a:pt x="68" y="7979"/>
                  </a:lnTo>
                  <a:lnTo>
                    <a:pt x="136" y="8092"/>
                  </a:lnTo>
                  <a:lnTo>
                    <a:pt x="226" y="8205"/>
                  </a:lnTo>
                  <a:lnTo>
                    <a:pt x="339" y="8295"/>
                  </a:lnTo>
                  <a:lnTo>
                    <a:pt x="452" y="8363"/>
                  </a:lnTo>
                  <a:lnTo>
                    <a:pt x="588" y="8408"/>
                  </a:lnTo>
                  <a:lnTo>
                    <a:pt x="882" y="8408"/>
                  </a:lnTo>
                  <a:lnTo>
                    <a:pt x="1017" y="8363"/>
                  </a:lnTo>
                  <a:lnTo>
                    <a:pt x="1130" y="8295"/>
                  </a:lnTo>
                  <a:lnTo>
                    <a:pt x="1243" y="8205"/>
                  </a:lnTo>
                  <a:lnTo>
                    <a:pt x="1334" y="8092"/>
                  </a:lnTo>
                  <a:lnTo>
                    <a:pt x="1402" y="7979"/>
                  </a:lnTo>
                  <a:lnTo>
                    <a:pt x="1447" y="7843"/>
                  </a:lnTo>
                  <a:lnTo>
                    <a:pt x="1447" y="7685"/>
                  </a:lnTo>
                  <a:lnTo>
                    <a:pt x="1447" y="724"/>
                  </a:lnTo>
                  <a:lnTo>
                    <a:pt x="1447" y="566"/>
                  </a:lnTo>
                  <a:lnTo>
                    <a:pt x="1402" y="430"/>
                  </a:lnTo>
                  <a:lnTo>
                    <a:pt x="1334" y="317"/>
                  </a:lnTo>
                  <a:lnTo>
                    <a:pt x="1243" y="204"/>
                  </a:lnTo>
                  <a:lnTo>
                    <a:pt x="1130" y="114"/>
                  </a:lnTo>
                  <a:lnTo>
                    <a:pt x="1017" y="46"/>
                  </a:lnTo>
                  <a:lnTo>
                    <a:pt x="882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" name="Google Shape;1717;p16">
              <a:extLst>
                <a:ext uri="{FF2B5EF4-FFF2-40B4-BE49-F238E27FC236}">
                  <a16:creationId xmlns:a16="http://schemas.microsoft.com/office/drawing/2014/main" id="{F59B07F5-6DDF-9202-6CE0-D264455657CF}"/>
                </a:ext>
              </a:extLst>
            </p:cNvPr>
            <p:cNvSpPr/>
            <p:nvPr/>
          </p:nvSpPr>
          <p:spPr>
            <a:xfrm>
              <a:off x="6350675" y="2485975"/>
              <a:ext cx="520425" cy="1021600"/>
            </a:xfrm>
            <a:custGeom>
              <a:avLst/>
              <a:gdLst/>
              <a:ahLst/>
              <a:cxnLst/>
              <a:rect l="l" t="t" r="r" b="b"/>
              <a:pathLst>
                <a:path w="20817" h="40864" extrusionOk="0">
                  <a:moveTo>
                    <a:pt x="701" y="1"/>
                  </a:moveTo>
                  <a:lnTo>
                    <a:pt x="543" y="23"/>
                  </a:lnTo>
                  <a:lnTo>
                    <a:pt x="407" y="68"/>
                  </a:lnTo>
                  <a:lnTo>
                    <a:pt x="294" y="136"/>
                  </a:lnTo>
                  <a:lnTo>
                    <a:pt x="181" y="249"/>
                  </a:lnTo>
                  <a:lnTo>
                    <a:pt x="113" y="362"/>
                  </a:lnTo>
                  <a:lnTo>
                    <a:pt x="46" y="475"/>
                  </a:lnTo>
                  <a:lnTo>
                    <a:pt x="23" y="611"/>
                  </a:lnTo>
                  <a:lnTo>
                    <a:pt x="0" y="769"/>
                  </a:lnTo>
                  <a:lnTo>
                    <a:pt x="23" y="905"/>
                  </a:lnTo>
                  <a:lnTo>
                    <a:pt x="91" y="1040"/>
                  </a:lnTo>
                  <a:lnTo>
                    <a:pt x="19438" y="40480"/>
                  </a:lnTo>
                  <a:lnTo>
                    <a:pt x="19528" y="40593"/>
                  </a:lnTo>
                  <a:lnTo>
                    <a:pt x="19618" y="40706"/>
                  </a:lnTo>
                  <a:lnTo>
                    <a:pt x="19731" y="40773"/>
                  </a:lnTo>
                  <a:lnTo>
                    <a:pt x="19867" y="40841"/>
                  </a:lnTo>
                  <a:lnTo>
                    <a:pt x="20003" y="40864"/>
                  </a:lnTo>
                  <a:lnTo>
                    <a:pt x="20138" y="40864"/>
                  </a:lnTo>
                  <a:lnTo>
                    <a:pt x="20274" y="40841"/>
                  </a:lnTo>
                  <a:lnTo>
                    <a:pt x="20409" y="40796"/>
                  </a:lnTo>
                  <a:lnTo>
                    <a:pt x="20545" y="40728"/>
                  </a:lnTo>
                  <a:lnTo>
                    <a:pt x="20636" y="40615"/>
                  </a:lnTo>
                  <a:lnTo>
                    <a:pt x="20726" y="40502"/>
                  </a:lnTo>
                  <a:lnTo>
                    <a:pt x="20771" y="40389"/>
                  </a:lnTo>
                  <a:lnTo>
                    <a:pt x="20816" y="40254"/>
                  </a:lnTo>
                  <a:lnTo>
                    <a:pt x="20816" y="40118"/>
                  </a:lnTo>
                  <a:lnTo>
                    <a:pt x="20794" y="39960"/>
                  </a:lnTo>
                  <a:lnTo>
                    <a:pt x="20749" y="39824"/>
                  </a:lnTo>
                  <a:lnTo>
                    <a:pt x="1379" y="407"/>
                  </a:lnTo>
                  <a:lnTo>
                    <a:pt x="1311" y="272"/>
                  </a:lnTo>
                  <a:lnTo>
                    <a:pt x="1198" y="181"/>
                  </a:lnTo>
                  <a:lnTo>
                    <a:pt x="1085" y="91"/>
                  </a:lnTo>
                  <a:lnTo>
                    <a:pt x="972" y="23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" name="Google Shape;1718;p16">
              <a:extLst>
                <a:ext uri="{FF2B5EF4-FFF2-40B4-BE49-F238E27FC236}">
                  <a16:creationId xmlns:a16="http://schemas.microsoft.com/office/drawing/2014/main" id="{4C5AE0B8-44CA-CC49-0236-345B6F09CC68}"/>
                </a:ext>
              </a:extLst>
            </p:cNvPr>
            <p:cNvSpPr/>
            <p:nvPr/>
          </p:nvSpPr>
          <p:spPr>
            <a:xfrm>
              <a:off x="6329200" y="2462250"/>
              <a:ext cx="79125" cy="79125"/>
            </a:xfrm>
            <a:custGeom>
              <a:avLst/>
              <a:gdLst/>
              <a:ahLst/>
              <a:cxnLst/>
              <a:rect l="l" t="t" r="r" b="b"/>
              <a:pathLst>
                <a:path w="3165" h="3165" extrusionOk="0">
                  <a:moveTo>
                    <a:pt x="1583" y="0"/>
                  </a:moveTo>
                  <a:lnTo>
                    <a:pt x="1424" y="23"/>
                  </a:lnTo>
                  <a:lnTo>
                    <a:pt x="1266" y="46"/>
                  </a:lnTo>
                  <a:lnTo>
                    <a:pt x="1131" y="91"/>
                  </a:lnTo>
                  <a:lnTo>
                    <a:pt x="972" y="136"/>
                  </a:lnTo>
                  <a:lnTo>
                    <a:pt x="837" y="204"/>
                  </a:lnTo>
                  <a:lnTo>
                    <a:pt x="701" y="272"/>
                  </a:lnTo>
                  <a:lnTo>
                    <a:pt x="588" y="362"/>
                  </a:lnTo>
                  <a:lnTo>
                    <a:pt x="475" y="475"/>
                  </a:lnTo>
                  <a:lnTo>
                    <a:pt x="362" y="588"/>
                  </a:lnTo>
                  <a:lnTo>
                    <a:pt x="272" y="701"/>
                  </a:lnTo>
                  <a:lnTo>
                    <a:pt x="204" y="837"/>
                  </a:lnTo>
                  <a:lnTo>
                    <a:pt x="136" y="972"/>
                  </a:lnTo>
                  <a:lnTo>
                    <a:pt x="91" y="1130"/>
                  </a:lnTo>
                  <a:lnTo>
                    <a:pt x="46" y="1266"/>
                  </a:lnTo>
                  <a:lnTo>
                    <a:pt x="23" y="1424"/>
                  </a:lnTo>
                  <a:lnTo>
                    <a:pt x="1" y="1582"/>
                  </a:lnTo>
                  <a:lnTo>
                    <a:pt x="23" y="1763"/>
                  </a:lnTo>
                  <a:lnTo>
                    <a:pt x="46" y="1899"/>
                  </a:lnTo>
                  <a:lnTo>
                    <a:pt x="91" y="2057"/>
                  </a:lnTo>
                  <a:lnTo>
                    <a:pt x="136" y="2215"/>
                  </a:lnTo>
                  <a:lnTo>
                    <a:pt x="204" y="2351"/>
                  </a:lnTo>
                  <a:lnTo>
                    <a:pt x="272" y="2464"/>
                  </a:lnTo>
                  <a:lnTo>
                    <a:pt x="362" y="2600"/>
                  </a:lnTo>
                  <a:lnTo>
                    <a:pt x="475" y="2713"/>
                  </a:lnTo>
                  <a:lnTo>
                    <a:pt x="588" y="2803"/>
                  </a:lnTo>
                  <a:lnTo>
                    <a:pt x="701" y="2893"/>
                  </a:lnTo>
                  <a:lnTo>
                    <a:pt x="837" y="2984"/>
                  </a:lnTo>
                  <a:lnTo>
                    <a:pt x="972" y="3052"/>
                  </a:lnTo>
                  <a:lnTo>
                    <a:pt x="1131" y="3097"/>
                  </a:lnTo>
                  <a:lnTo>
                    <a:pt x="1266" y="3142"/>
                  </a:lnTo>
                  <a:lnTo>
                    <a:pt x="1424" y="3165"/>
                  </a:lnTo>
                  <a:lnTo>
                    <a:pt x="1763" y="3165"/>
                  </a:lnTo>
                  <a:lnTo>
                    <a:pt x="1899" y="3142"/>
                  </a:lnTo>
                  <a:lnTo>
                    <a:pt x="2057" y="3097"/>
                  </a:lnTo>
                  <a:lnTo>
                    <a:pt x="2215" y="3052"/>
                  </a:lnTo>
                  <a:lnTo>
                    <a:pt x="2351" y="2984"/>
                  </a:lnTo>
                  <a:lnTo>
                    <a:pt x="2464" y="2893"/>
                  </a:lnTo>
                  <a:lnTo>
                    <a:pt x="2600" y="2803"/>
                  </a:lnTo>
                  <a:lnTo>
                    <a:pt x="2713" y="2713"/>
                  </a:lnTo>
                  <a:lnTo>
                    <a:pt x="2803" y="2600"/>
                  </a:lnTo>
                  <a:lnTo>
                    <a:pt x="2894" y="2464"/>
                  </a:lnTo>
                  <a:lnTo>
                    <a:pt x="2984" y="2351"/>
                  </a:lnTo>
                  <a:lnTo>
                    <a:pt x="3052" y="2215"/>
                  </a:lnTo>
                  <a:lnTo>
                    <a:pt x="3097" y="2057"/>
                  </a:lnTo>
                  <a:lnTo>
                    <a:pt x="3142" y="1899"/>
                  </a:lnTo>
                  <a:lnTo>
                    <a:pt x="3165" y="1763"/>
                  </a:lnTo>
                  <a:lnTo>
                    <a:pt x="3165" y="1582"/>
                  </a:lnTo>
                  <a:lnTo>
                    <a:pt x="3165" y="1424"/>
                  </a:lnTo>
                  <a:lnTo>
                    <a:pt x="3142" y="1266"/>
                  </a:lnTo>
                  <a:lnTo>
                    <a:pt x="3097" y="1130"/>
                  </a:lnTo>
                  <a:lnTo>
                    <a:pt x="3052" y="972"/>
                  </a:lnTo>
                  <a:lnTo>
                    <a:pt x="2984" y="837"/>
                  </a:lnTo>
                  <a:lnTo>
                    <a:pt x="2894" y="701"/>
                  </a:lnTo>
                  <a:lnTo>
                    <a:pt x="2803" y="588"/>
                  </a:lnTo>
                  <a:lnTo>
                    <a:pt x="2713" y="475"/>
                  </a:lnTo>
                  <a:lnTo>
                    <a:pt x="2600" y="362"/>
                  </a:lnTo>
                  <a:lnTo>
                    <a:pt x="2464" y="272"/>
                  </a:lnTo>
                  <a:lnTo>
                    <a:pt x="2351" y="204"/>
                  </a:lnTo>
                  <a:lnTo>
                    <a:pt x="2215" y="136"/>
                  </a:lnTo>
                  <a:lnTo>
                    <a:pt x="2057" y="91"/>
                  </a:lnTo>
                  <a:lnTo>
                    <a:pt x="1899" y="46"/>
                  </a:lnTo>
                  <a:lnTo>
                    <a:pt x="1763" y="23"/>
                  </a:lnTo>
                  <a:lnTo>
                    <a:pt x="1583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" name="Google Shape;1719;p16">
              <a:extLst>
                <a:ext uri="{FF2B5EF4-FFF2-40B4-BE49-F238E27FC236}">
                  <a16:creationId xmlns:a16="http://schemas.microsoft.com/office/drawing/2014/main" id="{8073CBBD-5D3C-DBB6-D848-1F98254F50D5}"/>
                </a:ext>
              </a:extLst>
            </p:cNvPr>
            <p:cNvSpPr/>
            <p:nvPr/>
          </p:nvSpPr>
          <p:spPr>
            <a:xfrm>
              <a:off x="3236750" y="2297825"/>
              <a:ext cx="147500" cy="36175"/>
            </a:xfrm>
            <a:custGeom>
              <a:avLst/>
              <a:gdLst/>
              <a:ahLst/>
              <a:cxnLst/>
              <a:rect l="l" t="t" r="r" b="b"/>
              <a:pathLst>
                <a:path w="5900" h="1447" extrusionOk="0">
                  <a:moveTo>
                    <a:pt x="724" y="0"/>
                  </a:moveTo>
                  <a:lnTo>
                    <a:pt x="588" y="23"/>
                  </a:lnTo>
                  <a:lnTo>
                    <a:pt x="453" y="68"/>
                  </a:lnTo>
                  <a:lnTo>
                    <a:pt x="317" y="113"/>
                  </a:lnTo>
                  <a:lnTo>
                    <a:pt x="227" y="204"/>
                  </a:lnTo>
                  <a:lnTo>
                    <a:pt x="136" y="317"/>
                  </a:lnTo>
                  <a:lnTo>
                    <a:pt x="69" y="452"/>
                  </a:lnTo>
                  <a:lnTo>
                    <a:pt x="23" y="588"/>
                  </a:lnTo>
                  <a:lnTo>
                    <a:pt x="1" y="724"/>
                  </a:lnTo>
                  <a:lnTo>
                    <a:pt x="23" y="859"/>
                  </a:lnTo>
                  <a:lnTo>
                    <a:pt x="69" y="995"/>
                  </a:lnTo>
                  <a:lnTo>
                    <a:pt x="136" y="1130"/>
                  </a:lnTo>
                  <a:lnTo>
                    <a:pt x="227" y="1243"/>
                  </a:lnTo>
                  <a:lnTo>
                    <a:pt x="317" y="1311"/>
                  </a:lnTo>
                  <a:lnTo>
                    <a:pt x="453" y="1379"/>
                  </a:lnTo>
                  <a:lnTo>
                    <a:pt x="588" y="1424"/>
                  </a:lnTo>
                  <a:lnTo>
                    <a:pt x="724" y="1447"/>
                  </a:lnTo>
                  <a:lnTo>
                    <a:pt x="5177" y="1447"/>
                  </a:lnTo>
                  <a:lnTo>
                    <a:pt x="5335" y="1424"/>
                  </a:lnTo>
                  <a:lnTo>
                    <a:pt x="5470" y="1379"/>
                  </a:lnTo>
                  <a:lnTo>
                    <a:pt x="5583" y="1311"/>
                  </a:lnTo>
                  <a:lnTo>
                    <a:pt x="5696" y="1243"/>
                  </a:lnTo>
                  <a:lnTo>
                    <a:pt x="5787" y="1130"/>
                  </a:lnTo>
                  <a:lnTo>
                    <a:pt x="5855" y="995"/>
                  </a:lnTo>
                  <a:lnTo>
                    <a:pt x="5877" y="859"/>
                  </a:lnTo>
                  <a:lnTo>
                    <a:pt x="5900" y="724"/>
                  </a:lnTo>
                  <a:lnTo>
                    <a:pt x="5877" y="588"/>
                  </a:lnTo>
                  <a:lnTo>
                    <a:pt x="5855" y="452"/>
                  </a:lnTo>
                  <a:lnTo>
                    <a:pt x="5787" y="317"/>
                  </a:lnTo>
                  <a:lnTo>
                    <a:pt x="5696" y="204"/>
                  </a:lnTo>
                  <a:lnTo>
                    <a:pt x="5583" y="113"/>
                  </a:lnTo>
                  <a:lnTo>
                    <a:pt x="5470" y="68"/>
                  </a:lnTo>
                  <a:lnTo>
                    <a:pt x="5335" y="23"/>
                  </a:lnTo>
                  <a:lnTo>
                    <a:pt x="5177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3" name="Google Shape;1720;p16">
              <a:extLst>
                <a:ext uri="{FF2B5EF4-FFF2-40B4-BE49-F238E27FC236}">
                  <a16:creationId xmlns:a16="http://schemas.microsoft.com/office/drawing/2014/main" id="{87528DB4-B45B-AB73-4C4B-109DE726996D}"/>
                </a:ext>
              </a:extLst>
            </p:cNvPr>
            <p:cNvSpPr/>
            <p:nvPr/>
          </p:nvSpPr>
          <p:spPr>
            <a:xfrm>
              <a:off x="3236750" y="2297825"/>
              <a:ext cx="147500" cy="36175"/>
            </a:xfrm>
            <a:custGeom>
              <a:avLst/>
              <a:gdLst/>
              <a:ahLst/>
              <a:cxnLst/>
              <a:rect l="l" t="t" r="r" b="b"/>
              <a:pathLst>
                <a:path w="5900" h="1447" fill="none" extrusionOk="0">
                  <a:moveTo>
                    <a:pt x="724" y="0"/>
                  </a:moveTo>
                  <a:lnTo>
                    <a:pt x="5177" y="0"/>
                  </a:lnTo>
                  <a:lnTo>
                    <a:pt x="5177" y="0"/>
                  </a:lnTo>
                  <a:lnTo>
                    <a:pt x="5335" y="23"/>
                  </a:lnTo>
                  <a:lnTo>
                    <a:pt x="5470" y="68"/>
                  </a:lnTo>
                  <a:lnTo>
                    <a:pt x="5583" y="113"/>
                  </a:lnTo>
                  <a:lnTo>
                    <a:pt x="5696" y="204"/>
                  </a:lnTo>
                  <a:lnTo>
                    <a:pt x="5787" y="317"/>
                  </a:lnTo>
                  <a:lnTo>
                    <a:pt x="5855" y="452"/>
                  </a:lnTo>
                  <a:lnTo>
                    <a:pt x="5877" y="588"/>
                  </a:lnTo>
                  <a:lnTo>
                    <a:pt x="5900" y="724"/>
                  </a:lnTo>
                  <a:lnTo>
                    <a:pt x="5900" y="724"/>
                  </a:lnTo>
                  <a:lnTo>
                    <a:pt x="5877" y="859"/>
                  </a:lnTo>
                  <a:lnTo>
                    <a:pt x="5855" y="995"/>
                  </a:lnTo>
                  <a:lnTo>
                    <a:pt x="5787" y="1130"/>
                  </a:lnTo>
                  <a:lnTo>
                    <a:pt x="5696" y="1243"/>
                  </a:lnTo>
                  <a:lnTo>
                    <a:pt x="5583" y="1311"/>
                  </a:lnTo>
                  <a:lnTo>
                    <a:pt x="5470" y="1379"/>
                  </a:lnTo>
                  <a:lnTo>
                    <a:pt x="5335" y="1424"/>
                  </a:lnTo>
                  <a:lnTo>
                    <a:pt x="5177" y="1447"/>
                  </a:lnTo>
                  <a:lnTo>
                    <a:pt x="724" y="1447"/>
                  </a:lnTo>
                  <a:lnTo>
                    <a:pt x="724" y="1447"/>
                  </a:lnTo>
                  <a:lnTo>
                    <a:pt x="588" y="1424"/>
                  </a:lnTo>
                  <a:lnTo>
                    <a:pt x="453" y="1379"/>
                  </a:lnTo>
                  <a:lnTo>
                    <a:pt x="317" y="1311"/>
                  </a:lnTo>
                  <a:lnTo>
                    <a:pt x="227" y="1243"/>
                  </a:lnTo>
                  <a:lnTo>
                    <a:pt x="136" y="1130"/>
                  </a:lnTo>
                  <a:lnTo>
                    <a:pt x="69" y="995"/>
                  </a:lnTo>
                  <a:lnTo>
                    <a:pt x="23" y="859"/>
                  </a:lnTo>
                  <a:lnTo>
                    <a:pt x="1" y="724"/>
                  </a:lnTo>
                  <a:lnTo>
                    <a:pt x="1" y="724"/>
                  </a:lnTo>
                  <a:lnTo>
                    <a:pt x="23" y="588"/>
                  </a:lnTo>
                  <a:lnTo>
                    <a:pt x="69" y="452"/>
                  </a:lnTo>
                  <a:lnTo>
                    <a:pt x="136" y="317"/>
                  </a:lnTo>
                  <a:lnTo>
                    <a:pt x="227" y="204"/>
                  </a:lnTo>
                  <a:lnTo>
                    <a:pt x="317" y="113"/>
                  </a:lnTo>
                  <a:lnTo>
                    <a:pt x="453" y="68"/>
                  </a:lnTo>
                  <a:lnTo>
                    <a:pt x="588" y="23"/>
                  </a:lnTo>
                  <a:lnTo>
                    <a:pt x="72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4" name="Google Shape;1721;p16">
              <a:extLst>
                <a:ext uri="{FF2B5EF4-FFF2-40B4-BE49-F238E27FC236}">
                  <a16:creationId xmlns:a16="http://schemas.microsoft.com/office/drawing/2014/main" id="{D14E4DD0-E7B4-EAD8-2610-DD21B53A73A2}"/>
                </a:ext>
              </a:extLst>
            </p:cNvPr>
            <p:cNvSpPr/>
            <p:nvPr/>
          </p:nvSpPr>
          <p:spPr>
            <a:xfrm>
              <a:off x="3348075" y="2305725"/>
              <a:ext cx="36175" cy="210225"/>
            </a:xfrm>
            <a:custGeom>
              <a:avLst/>
              <a:gdLst/>
              <a:ahLst/>
              <a:cxnLst/>
              <a:rect l="l" t="t" r="r" b="b"/>
              <a:pathLst>
                <a:path w="1447" h="8409" extrusionOk="0">
                  <a:moveTo>
                    <a:pt x="588" y="1"/>
                  </a:moveTo>
                  <a:lnTo>
                    <a:pt x="452" y="46"/>
                  </a:lnTo>
                  <a:lnTo>
                    <a:pt x="317" y="114"/>
                  </a:lnTo>
                  <a:lnTo>
                    <a:pt x="226" y="204"/>
                  </a:lnTo>
                  <a:lnTo>
                    <a:pt x="136" y="317"/>
                  </a:lnTo>
                  <a:lnTo>
                    <a:pt x="68" y="430"/>
                  </a:lnTo>
                  <a:lnTo>
                    <a:pt x="23" y="566"/>
                  </a:lnTo>
                  <a:lnTo>
                    <a:pt x="0" y="724"/>
                  </a:lnTo>
                  <a:lnTo>
                    <a:pt x="0" y="7685"/>
                  </a:lnTo>
                  <a:lnTo>
                    <a:pt x="23" y="7843"/>
                  </a:lnTo>
                  <a:lnTo>
                    <a:pt x="68" y="7979"/>
                  </a:lnTo>
                  <a:lnTo>
                    <a:pt x="136" y="8092"/>
                  </a:lnTo>
                  <a:lnTo>
                    <a:pt x="226" y="8205"/>
                  </a:lnTo>
                  <a:lnTo>
                    <a:pt x="317" y="8295"/>
                  </a:lnTo>
                  <a:lnTo>
                    <a:pt x="452" y="8363"/>
                  </a:lnTo>
                  <a:lnTo>
                    <a:pt x="588" y="8408"/>
                  </a:lnTo>
                  <a:lnTo>
                    <a:pt x="882" y="8408"/>
                  </a:lnTo>
                  <a:lnTo>
                    <a:pt x="1017" y="8363"/>
                  </a:lnTo>
                  <a:lnTo>
                    <a:pt x="1130" y="8295"/>
                  </a:lnTo>
                  <a:lnTo>
                    <a:pt x="1243" y="8205"/>
                  </a:lnTo>
                  <a:lnTo>
                    <a:pt x="1334" y="8092"/>
                  </a:lnTo>
                  <a:lnTo>
                    <a:pt x="1402" y="7979"/>
                  </a:lnTo>
                  <a:lnTo>
                    <a:pt x="1424" y="7843"/>
                  </a:lnTo>
                  <a:lnTo>
                    <a:pt x="1447" y="7685"/>
                  </a:lnTo>
                  <a:lnTo>
                    <a:pt x="1447" y="724"/>
                  </a:lnTo>
                  <a:lnTo>
                    <a:pt x="1424" y="566"/>
                  </a:lnTo>
                  <a:lnTo>
                    <a:pt x="1402" y="430"/>
                  </a:lnTo>
                  <a:lnTo>
                    <a:pt x="1334" y="317"/>
                  </a:lnTo>
                  <a:lnTo>
                    <a:pt x="1243" y="204"/>
                  </a:lnTo>
                  <a:lnTo>
                    <a:pt x="1130" y="114"/>
                  </a:lnTo>
                  <a:lnTo>
                    <a:pt x="1017" y="46"/>
                  </a:lnTo>
                  <a:lnTo>
                    <a:pt x="882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5" name="Google Shape;1722;p16">
              <a:extLst>
                <a:ext uri="{FF2B5EF4-FFF2-40B4-BE49-F238E27FC236}">
                  <a16:creationId xmlns:a16="http://schemas.microsoft.com/office/drawing/2014/main" id="{35F97E69-A5B2-34A0-7350-946300CBA88A}"/>
                </a:ext>
              </a:extLst>
            </p:cNvPr>
            <p:cNvSpPr/>
            <p:nvPr/>
          </p:nvSpPr>
          <p:spPr>
            <a:xfrm>
              <a:off x="3348075" y="2485975"/>
              <a:ext cx="532850" cy="1047600"/>
            </a:xfrm>
            <a:custGeom>
              <a:avLst/>
              <a:gdLst/>
              <a:ahLst/>
              <a:cxnLst/>
              <a:rect l="l" t="t" r="r" b="b"/>
              <a:pathLst>
                <a:path w="21314" h="41904" extrusionOk="0">
                  <a:moveTo>
                    <a:pt x="678" y="1"/>
                  </a:moveTo>
                  <a:lnTo>
                    <a:pt x="543" y="23"/>
                  </a:lnTo>
                  <a:lnTo>
                    <a:pt x="407" y="68"/>
                  </a:lnTo>
                  <a:lnTo>
                    <a:pt x="294" y="136"/>
                  </a:lnTo>
                  <a:lnTo>
                    <a:pt x="181" y="249"/>
                  </a:lnTo>
                  <a:lnTo>
                    <a:pt x="91" y="362"/>
                  </a:lnTo>
                  <a:lnTo>
                    <a:pt x="46" y="475"/>
                  </a:lnTo>
                  <a:lnTo>
                    <a:pt x="0" y="611"/>
                  </a:lnTo>
                  <a:lnTo>
                    <a:pt x="0" y="769"/>
                  </a:lnTo>
                  <a:lnTo>
                    <a:pt x="23" y="905"/>
                  </a:lnTo>
                  <a:lnTo>
                    <a:pt x="68" y="1040"/>
                  </a:lnTo>
                  <a:lnTo>
                    <a:pt x="19935" y="41497"/>
                  </a:lnTo>
                  <a:lnTo>
                    <a:pt x="20025" y="41632"/>
                  </a:lnTo>
                  <a:lnTo>
                    <a:pt x="20116" y="41723"/>
                  </a:lnTo>
                  <a:lnTo>
                    <a:pt x="20229" y="41813"/>
                  </a:lnTo>
                  <a:lnTo>
                    <a:pt x="20364" y="41858"/>
                  </a:lnTo>
                  <a:lnTo>
                    <a:pt x="20500" y="41904"/>
                  </a:lnTo>
                  <a:lnTo>
                    <a:pt x="20635" y="41904"/>
                  </a:lnTo>
                  <a:lnTo>
                    <a:pt x="20771" y="41881"/>
                  </a:lnTo>
                  <a:lnTo>
                    <a:pt x="20907" y="41836"/>
                  </a:lnTo>
                  <a:lnTo>
                    <a:pt x="21042" y="41745"/>
                  </a:lnTo>
                  <a:lnTo>
                    <a:pt x="21133" y="41655"/>
                  </a:lnTo>
                  <a:lnTo>
                    <a:pt x="21223" y="41542"/>
                  </a:lnTo>
                  <a:lnTo>
                    <a:pt x="21268" y="41406"/>
                  </a:lnTo>
                  <a:lnTo>
                    <a:pt x="21313" y="41293"/>
                  </a:lnTo>
                  <a:lnTo>
                    <a:pt x="21313" y="41135"/>
                  </a:lnTo>
                  <a:lnTo>
                    <a:pt x="21291" y="40999"/>
                  </a:lnTo>
                  <a:lnTo>
                    <a:pt x="21246" y="40864"/>
                  </a:lnTo>
                  <a:lnTo>
                    <a:pt x="1379" y="407"/>
                  </a:lnTo>
                  <a:lnTo>
                    <a:pt x="1289" y="272"/>
                  </a:lnTo>
                  <a:lnTo>
                    <a:pt x="1198" y="181"/>
                  </a:lnTo>
                  <a:lnTo>
                    <a:pt x="1085" y="91"/>
                  </a:lnTo>
                  <a:lnTo>
                    <a:pt x="950" y="23"/>
                  </a:lnTo>
                  <a:lnTo>
                    <a:pt x="814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6" name="Google Shape;1723;p16">
              <a:extLst>
                <a:ext uri="{FF2B5EF4-FFF2-40B4-BE49-F238E27FC236}">
                  <a16:creationId xmlns:a16="http://schemas.microsoft.com/office/drawing/2014/main" id="{19FF9F5F-8E26-2BB4-AD1E-312E293A4AE9}"/>
                </a:ext>
              </a:extLst>
            </p:cNvPr>
            <p:cNvSpPr/>
            <p:nvPr/>
          </p:nvSpPr>
          <p:spPr>
            <a:xfrm>
              <a:off x="3326600" y="2462250"/>
              <a:ext cx="79125" cy="79125"/>
            </a:xfrm>
            <a:custGeom>
              <a:avLst/>
              <a:gdLst/>
              <a:ahLst/>
              <a:cxnLst/>
              <a:rect l="l" t="t" r="r" b="b"/>
              <a:pathLst>
                <a:path w="3165" h="3165" extrusionOk="0">
                  <a:moveTo>
                    <a:pt x="1583" y="0"/>
                  </a:moveTo>
                  <a:lnTo>
                    <a:pt x="1424" y="23"/>
                  </a:lnTo>
                  <a:lnTo>
                    <a:pt x="1266" y="46"/>
                  </a:lnTo>
                  <a:lnTo>
                    <a:pt x="1108" y="91"/>
                  </a:lnTo>
                  <a:lnTo>
                    <a:pt x="972" y="136"/>
                  </a:lnTo>
                  <a:lnTo>
                    <a:pt x="837" y="204"/>
                  </a:lnTo>
                  <a:lnTo>
                    <a:pt x="701" y="272"/>
                  </a:lnTo>
                  <a:lnTo>
                    <a:pt x="588" y="362"/>
                  </a:lnTo>
                  <a:lnTo>
                    <a:pt x="475" y="475"/>
                  </a:lnTo>
                  <a:lnTo>
                    <a:pt x="362" y="588"/>
                  </a:lnTo>
                  <a:lnTo>
                    <a:pt x="272" y="701"/>
                  </a:lnTo>
                  <a:lnTo>
                    <a:pt x="204" y="837"/>
                  </a:lnTo>
                  <a:lnTo>
                    <a:pt x="136" y="972"/>
                  </a:lnTo>
                  <a:lnTo>
                    <a:pt x="68" y="1130"/>
                  </a:lnTo>
                  <a:lnTo>
                    <a:pt x="46" y="1266"/>
                  </a:lnTo>
                  <a:lnTo>
                    <a:pt x="23" y="1424"/>
                  </a:lnTo>
                  <a:lnTo>
                    <a:pt x="0" y="1582"/>
                  </a:lnTo>
                  <a:lnTo>
                    <a:pt x="23" y="1763"/>
                  </a:lnTo>
                  <a:lnTo>
                    <a:pt x="46" y="1899"/>
                  </a:lnTo>
                  <a:lnTo>
                    <a:pt x="68" y="2057"/>
                  </a:lnTo>
                  <a:lnTo>
                    <a:pt x="136" y="2215"/>
                  </a:lnTo>
                  <a:lnTo>
                    <a:pt x="204" y="2351"/>
                  </a:lnTo>
                  <a:lnTo>
                    <a:pt x="272" y="2464"/>
                  </a:lnTo>
                  <a:lnTo>
                    <a:pt x="362" y="2600"/>
                  </a:lnTo>
                  <a:lnTo>
                    <a:pt x="475" y="2713"/>
                  </a:lnTo>
                  <a:lnTo>
                    <a:pt x="588" y="2803"/>
                  </a:lnTo>
                  <a:lnTo>
                    <a:pt x="701" y="2893"/>
                  </a:lnTo>
                  <a:lnTo>
                    <a:pt x="837" y="2984"/>
                  </a:lnTo>
                  <a:lnTo>
                    <a:pt x="972" y="3052"/>
                  </a:lnTo>
                  <a:lnTo>
                    <a:pt x="1108" y="3097"/>
                  </a:lnTo>
                  <a:lnTo>
                    <a:pt x="1266" y="3142"/>
                  </a:lnTo>
                  <a:lnTo>
                    <a:pt x="1424" y="3165"/>
                  </a:lnTo>
                  <a:lnTo>
                    <a:pt x="1741" y="3165"/>
                  </a:lnTo>
                  <a:lnTo>
                    <a:pt x="1899" y="3142"/>
                  </a:lnTo>
                  <a:lnTo>
                    <a:pt x="2057" y="3097"/>
                  </a:lnTo>
                  <a:lnTo>
                    <a:pt x="2193" y="3052"/>
                  </a:lnTo>
                  <a:lnTo>
                    <a:pt x="2328" y="2984"/>
                  </a:lnTo>
                  <a:lnTo>
                    <a:pt x="2464" y="2893"/>
                  </a:lnTo>
                  <a:lnTo>
                    <a:pt x="2600" y="2803"/>
                  </a:lnTo>
                  <a:lnTo>
                    <a:pt x="2713" y="2713"/>
                  </a:lnTo>
                  <a:lnTo>
                    <a:pt x="2803" y="2600"/>
                  </a:lnTo>
                  <a:lnTo>
                    <a:pt x="2893" y="2464"/>
                  </a:lnTo>
                  <a:lnTo>
                    <a:pt x="2984" y="2351"/>
                  </a:lnTo>
                  <a:lnTo>
                    <a:pt x="3052" y="2215"/>
                  </a:lnTo>
                  <a:lnTo>
                    <a:pt x="3097" y="2057"/>
                  </a:lnTo>
                  <a:lnTo>
                    <a:pt x="3142" y="1899"/>
                  </a:lnTo>
                  <a:lnTo>
                    <a:pt x="3165" y="1763"/>
                  </a:lnTo>
                  <a:lnTo>
                    <a:pt x="3165" y="1582"/>
                  </a:lnTo>
                  <a:lnTo>
                    <a:pt x="3165" y="1424"/>
                  </a:lnTo>
                  <a:lnTo>
                    <a:pt x="3142" y="1266"/>
                  </a:lnTo>
                  <a:lnTo>
                    <a:pt x="3097" y="1130"/>
                  </a:lnTo>
                  <a:lnTo>
                    <a:pt x="3052" y="972"/>
                  </a:lnTo>
                  <a:lnTo>
                    <a:pt x="2984" y="837"/>
                  </a:lnTo>
                  <a:lnTo>
                    <a:pt x="2893" y="701"/>
                  </a:lnTo>
                  <a:lnTo>
                    <a:pt x="2803" y="588"/>
                  </a:lnTo>
                  <a:lnTo>
                    <a:pt x="2713" y="475"/>
                  </a:lnTo>
                  <a:lnTo>
                    <a:pt x="2600" y="362"/>
                  </a:lnTo>
                  <a:lnTo>
                    <a:pt x="2464" y="272"/>
                  </a:lnTo>
                  <a:lnTo>
                    <a:pt x="2328" y="204"/>
                  </a:lnTo>
                  <a:lnTo>
                    <a:pt x="2193" y="136"/>
                  </a:lnTo>
                  <a:lnTo>
                    <a:pt x="2057" y="91"/>
                  </a:lnTo>
                  <a:lnTo>
                    <a:pt x="1899" y="46"/>
                  </a:lnTo>
                  <a:lnTo>
                    <a:pt x="1741" y="23"/>
                  </a:lnTo>
                  <a:lnTo>
                    <a:pt x="1583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7" name="Google Shape;1724;p16">
              <a:extLst>
                <a:ext uri="{FF2B5EF4-FFF2-40B4-BE49-F238E27FC236}">
                  <a16:creationId xmlns:a16="http://schemas.microsoft.com/office/drawing/2014/main" id="{E141B63D-0D1F-5C1C-B257-79BBFAB22E29}"/>
                </a:ext>
              </a:extLst>
            </p:cNvPr>
            <p:cNvSpPr/>
            <p:nvPr/>
          </p:nvSpPr>
          <p:spPr>
            <a:xfrm>
              <a:off x="4690600" y="2297825"/>
              <a:ext cx="147500" cy="36175"/>
            </a:xfrm>
            <a:custGeom>
              <a:avLst/>
              <a:gdLst/>
              <a:ahLst/>
              <a:cxnLst/>
              <a:rect l="l" t="t" r="r" b="b"/>
              <a:pathLst>
                <a:path w="5900" h="1447" extrusionOk="0">
                  <a:moveTo>
                    <a:pt x="724" y="0"/>
                  </a:moveTo>
                  <a:lnTo>
                    <a:pt x="588" y="23"/>
                  </a:lnTo>
                  <a:lnTo>
                    <a:pt x="452" y="68"/>
                  </a:lnTo>
                  <a:lnTo>
                    <a:pt x="317" y="113"/>
                  </a:lnTo>
                  <a:lnTo>
                    <a:pt x="226" y="204"/>
                  </a:lnTo>
                  <a:lnTo>
                    <a:pt x="136" y="317"/>
                  </a:lnTo>
                  <a:lnTo>
                    <a:pt x="68" y="452"/>
                  </a:lnTo>
                  <a:lnTo>
                    <a:pt x="23" y="588"/>
                  </a:lnTo>
                  <a:lnTo>
                    <a:pt x="0" y="724"/>
                  </a:lnTo>
                  <a:lnTo>
                    <a:pt x="23" y="859"/>
                  </a:lnTo>
                  <a:lnTo>
                    <a:pt x="68" y="995"/>
                  </a:lnTo>
                  <a:lnTo>
                    <a:pt x="136" y="1130"/>
                  </a:lnTo>
                  <a:lnTo>
                    <a:pt x="226" y="1243"/>
                  </a:lnTo>
                  <a:lnTo>
                    <a:pt x="317" y="1311"/>
                  </a:lnTo>
                  <a:lnTo>
                    <a:pt x="452" y="1379"/>
                  </a:lnTo>
                  <a:lnTo>
                    <a:pt x="588" y="1424"/>
                  </a:lnTo>
                  <a:lnTo>
                    <a:pt x="724" y="1447"/>
                  </a:lnTo>
                  <a:lnTo>
                    <a:pt x="5176" y="1447"/>
                  </a:lnTo>
                  <a:lnTo>
                    <a:pt x="5334" y="1424"/>
                  </a:lnTo>
                  <a:lnTo>
                    <a:pt x="5470" y="1379"/>
                  </a:lnTo>
                  <a:lnTo>
                    <a:pt x="5583" y="1311"/>
                  </a:lnTo>
                  <a:lnTo>
                    <a:pt x="5696" y="1243"/>
                  </a:lnTo>
                  <a:lnTo>
                    <a:pt x="5786" y="1130"/>
                  </a:lnTo>
                  <a:lnTo>
                    <a:pt x="5854" y="995"/>
                  </a:lnTo>
                  <a:lnTo>
                    <a:pt x="5899" y="859"/>
                  </a:lnTo>
                  <a:lnTo>
                    <a:pt x="5899" y="724"/>
                  </a:lnTo>
                  <a:lnTo>
                    <a:pt x="5899" y="588"/>
                  </a:lnTo>
                  <a:lnTo>
                    <a:pt x="5854" y="452"/>
                  </a:lnTo>
                  <a:lnTo>
                    <a:pt x="5786" y="317"/>
                  </a:lnTo>
                  <a:lnTo>
                    <a:pt x="5696" y="204"/>
                  </a:lnTo>
                  <a:lnTo>
                    <a:pt x="5583" y="113"/>
                  </a:lnTo>
                  <a:lnTo>
                    <a:pt x="5470" y="68"/>
                  </a:lnTo>
                  <a:lnTo>
                    <a:pt x="5334" y="23"/>
                  </a:lnTo>
                  <a:lnTo>
                    <a:pt x="5176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8" name="Google Shape;1725;p16">
              <a:extLst>
                <a:ext uri="{FF2B5EF4-FFF2-40B4-BE49-F238E27FC236}">
                  <a16:creationId xmlns:a16="http://schemas.microsoft.com/office/drawing/2014/main" id="{4C518FC5-D8AE-5E39-CE0F-B63D5AC15949}"/>
                </a:ext>
              </a:extLst>
            </p:cNvPr>
            <p:cNvSpPr/>
            <p:nvPr/>
          </p:nvSpPr>
          <p:spPr>
            <a:xfrm>
              <a:off x="4801900" y="2305725"/>
              <a:ext cx="36200" cy="210225"/>
            </a:xfrm>
            <a:custGeom>
              <a:avLst/>
              <a:gdLst/>
              <a:ahLst/>
              <a:cxnLst/>
              <a:rect l="l" t="t" r="r" b="b"/>
              <a:pathLst>
                <a:path w="1448" h="8409" extrusionOk="0">
                  <a:moveTo>
                    <a:pt x="588" y="1"/>
                  </a:moveTo>
                  <a:lnTo>
                    <a:pt x="453" y="46"/>
                  </a:lnTo>
                  <a:lnTo>
                    <a:pt x="317" y="114"/>
                  </a:lnTo>
                  <a:lnTo>
                    <a:pt x="227" y="204"/>
                  </a:lnTo>
                  <a:lnTo>
                    <a:pt x="136" y="317"/>
                  </a:lnTo>
                  <a:lnTo>
                    <a:pt x="69" y="430"/>
                  </a:lnTo>
                  <a:lnTo>
                    <a:pt x="23" y="566"/>
                  </a:lnTo>
                  <a:lnTo>
                    <a:pt x="1" y="724"/>
                  </a:lnTo>
                  <a:lnTo>
                    <a:pt x="1" y="7685"/>
                  </a:lnTo>
                  <a:lnTo>
                    <a:pt x="23" y="7843"/>
                  </a:lnTo>
                  <a:lnTo>
                    <a:pt x="69" y="7979"/>
                  </a:lnTo>
                  <a:lnTo>
                    <a:pt x="136" y="8092"/>
                  </a:lnTo>
                  <a:lnTo>
                    <a:pt x="227" y="8205"/>
                  </a:lnTo>
                  <a:lnTo>
                    <a:pt x="317" y="8295"/>
                  </a:lnTo>
                  <a:lnTo>
                    <a:pt x="453" y="8363"/>
                  </a:lnTo>
                  <a:lnTo>
                    <a:pt x="588" y="8408"/>
                  </a:lnTo>
                  <a:lnTo>
                    <a:pt x="882" y="8408"/>
                  </a:lnTo>
                  <a:lnTo>
                    <a:pt x="1018" y="8363"/>
                  </a:lnTo>
                  <a:lnTo>
                    <a:pt x="1131" y="8295"/>
                  </a:lnTo>
                  <a:lnTo>
                    <a:pt x="1244" y="8205"/>
                  </a:lnTo>
                  <a:lnTo>
                    <a:pt x="1334" y="8092"/>
                  </a:lnTo>
                  <a:lnTo>
                    <a:pt x="1402" y="7979"/>
                  </a:lnTo>
                  <a:lnTo>
                    <a:pt x="1447" y="7843"/>
                  </a:lnTo>
                  <a:lnTo>
                    <a:pt x="1447" y="7685"/>
                  </a:lnTo>
                  <a:lnTo>
                    <a:pt x="1447" y="724"/>
                  </a:lnTo>
                  <a:lnTo>
                    <a:pt x="1447" y="566"/>
                  </a:lnTo>
                  <a:lnTo>
                    <a:pt x="1402" y="430"/>
                  </a:lnTo>
                  <a:lnTo>
                    <a:pt x="1334" y="317"/>
                  </a:lnTo>
                  <a:lnTo>
                    <a:pt x="1244" y="204"/>
                  </a:lnTo>
                  <a:lnTo>
                    <a:pt x="1131" y="114"/>
                  </a:lnTo>
                  <a:lnTo>
                    <a:pt x="1018" y="46"/>
                  </a:lnTo>
                  <a:lnTo>
                    <a:pt x="882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" name="Google Shape;1726;p16">
              <a:extLst>
                <a:ext uri="{FF2B5EF4-FFF2-40B4-BE49-F238E27FC236}">
                  <a16:creationId xmlns:a16="http://schemas.microsoft.com/office/drawing/2014/main" id="{EA0ACCD8-0604-9D14-ED25-59523EE60D35}"/>
                </a:ext>
              </a:extLst>
            </p:cNvPr>
            <p:cNvSpPr/>
            <p:nvPr/>
          </p:nvSpPr>
          <p:spPr>
            <a:xfrm>
              <a:off x="4801900" y="2485975"/>
              <a:ext cx="532850" cy="1047600"/>
            </a:xfrm>
            <a:custGeom>
              <a:avLst/>
              <a:gdLst/>
              <a:ahLst/>
              <a:cxnLst/>
              <a:rect l="l" t="t" r="r" b="b"/>
              <a:pathLst>
                <a:path w="21314" h="41904" extrusionOk="0">
                  <a:moveTo>
                    <a:pt x="679" y="1"/>
                  </a:moveTo>
                  <a:lnTo>
                    <a:pt x="543" y="23"/>
                  </a:lnTo>
                  <a:lnTo>
                    <a:pt x="408" y="68"/>
                  </a:lnTo>
                  <a:lnTo>
                    <a:pt x="295" y="136"/>
                  </a:lnTo>
                  <a:lnTo>
                    <a:pt x="182" y="249"/>
                  </a:lnTo>
                  <a:lnTo>
                    <a:pt x="91" y="362"/>
                  </a:lnTo>
                  <a:lnTo>
                    <a:pt x="46" y="475"/>
                  </a:lnTo>
                  <a:lnTo>
                    <a:pt x="23" y="611"/>
                  </a:lnTo>
                  <a:lnTo>
                    <a:pt x="1" y="769"/>
                  </a:lnTo>
                  <a:lnTo>
                    <a:pt x="23" y="905"/>
                  </a:lnTo>
                  <a:lnTo>
                    <a:pt x="69" y="1040"/>
                  </a:lnTo>
                  <a:lnTo>
                    <a:pt x="19958" y="41497"/>
                  </a:lnTo>
                  <a:lnTo>
                    <a:pt x="20026" y="41632"/>
                  </a:lnTo>
                  <a:lnTo>
                    <a:pt x="20116" y="41723"/>
                  </a:lnTo>
                  <a:lnTo>
                    <a:pt x="20229" y="41813"/>
                  </a:lnTo>
                  <a:lnTo>
                    <a:pt x="20365" y="41858"/>
                  </a:lnTo>
                  <a:lnTo>
                    <a:pt x="20500" y="41904"/>
                  </a:lnTo>
                  <a:lnTo>
                    <a:pt x="20636" y="41904"/>
                  </a:lnTo>
                  <a:lnTo>
                    <a:pt x="20772" y="41881"/>
                  </a:lnTo>
                  <a:lnTo>
                    <a:pt x="20907" y="41836"/>
                  </a:lnTo>
                  <a:lnTo>
                    <a:pt x="21043" y="41745"/>
                  </a:lnTo>
                  <a:lnTo>
                    <a:pt x="21133" y="41655"/>
                  </a:lnTo>
                  <a:lnTo>
                    <a:pt x="21224" y="41542"/>
                  </a:lnTo>
                  <a:lnTo>
                    <a:pt x="21269" y="41406"/>
                  </a:lnTo>
                  <a:lnTo>
                    <a:pt x="21314" y="41293"/>
                  </a:lnTo>
                  <a:lnTo>
                    <a:pt x="21314" y="41135"/>
                  </a:lnTo>
                  <a:lnTo>
                    <a:pt x="21291" y="40999"/>
                  </a:lnTo>
                  <a:lnTo>
                    <a:pt x="21246" y="40864"/>
                  </a:lnTo>
                  <a:lnTo>
                    <a:pt x="1380" y="407"/>
                  </a:lnTo>
                  <a:lnTo>
                    <a:pt x="1289" y="272"/>
                  </a:lnTo>
                  <a:lnTo>
                    <a:pt x="1199" y="181"/>
                  </a:lnTo>
                  <a:lnTo>
                    <a:pt x="1086" y="91"/>
                  </a:lnTo>
                  <a:lnTo>
                    <a:pt x="973" y="23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0" name="Google Shape;1727;p16">
              <a:extLst>
                <a:ext uri="{FF2B5EF4-FFF2-40B4-BE49-F238E27FC236}">
                  <a16:creationId xmlns:a16="http://schemas.microsoft.com/office/drawing/2014/main" id="{B27D9310-B523-BE85-454B-F6E60610BE0A}"/>
                </a:ext>
              </a:extLst>
            </p:cNvPr>
            <p:cNvSpPr/>
            <p:nvPr/>
          </p:nvSpPr>
          <p:spPr>
            <a:xfrm>
              <a:off x="4780425" y="2462250"/>
              <a:ext cx="79150" cy="79125"/>
            </a:xfrm>
            <a:custGeom>
              <a:avLst/>
              <a:gdLst/>
              <a:ahLst/>
              <a:cxnLst/>
              <a:rect l="l" t="t" r="r" b="b"/>
              <a:pathLst>
                <a:path w="3166" h="3165" extrusionOk="0">
                  <a:moveTo>
                    <a:pt x="1583" y="0"/>
                  </a:moveTo>
                  <a:lnTo>
                    <a:pt x="1425" y="23"/>
                  </a:lnTo>
                  <a:lnTo>
                    <a:pt x="1267" y="46"/>
                  </a:lnTo>
                  <a:lnTo>
                    <a:pt x="1108" y="91"/>
                  </a:lnTo>
                  <a:lnTo>
                    <a:pt x="973" y="136"/>
                  </a:lnTo>
                  <a:lnTo>
                    <a:pt x="837" y="204"/>
                  </a:lnTo>
                  <a:lnTo>
                    <a:pt x="702" y="272"/>
                  </a:lnTo>
                  <a:lnTo>
                    <a:pt x="589" y="362"/>
                  </a:lnTo>
                  <a:lnTo>
                    <a:pt x="476" y="475"/>
                  </a:lnTo>
                  <a:lnTo>
                    <a:pt x="363" y="588"/>
                  </a:lnTo>
                  <a:lnTo>
                    <a:pt x="272" y="701"/>
                  </a:lnTo>
                  <a:lnTo>
                    <a:pt x="204" y="837"/>
                  </a:lnTo>
                  <a:lnTo>
                    <a:pt x="137" y="972"/>
                  </a:lnTo>
                  <a:lnTo>
                    <a:pt x="69" y="1130"/>
                  </a:lnTo>
                  <a:lnTo>
                    <a:pt x="46" y="1266"/>
                  </a:lnTo>
                  <a:lnTo>
                    <a:pt x="24" y="1424"/>
                  </a:lnTo>
                  <a:lnTo>
                    <a:pt x="1" y="1582"/>
                  </a:lnTo>
                  <a:lnTo>
                    <a:pt x="24" y="1763"/>
                  </a:lnTo>
                  <a:lnTo>
                    <a:pt x="46" y="1899"/>
                  </a:lnTo>
                  <a:lnTo>
                    <a:pt x="69" y="2057"/>
                  </a:lnTo>
                  <a:lnTo>
                    <a:pt x="137" y="2215"/>
                  </a:lnTo>
                  <a:lnTo>
                    <a:pt x="204" y="2351"/>
                  </a:lnTo>
                  <a:lnTo>
                    <a:pt x="272" y="2464"/>
                  </a:lnTo>
                  <a:lnTo>
                    <a:pt x="363" y="2600"/>
                  </a:lnTo>
                  <a:lnTo>
                    <a:pt x="476" y="2713"/>
                  </a:lnTo>
                  <a:lnTo>
                    <a:pt x="589" y="2803"/>
                  </a:lnTo>
                  <a:lnTo>
                    <a:pt x="702" y="2893"/>
                  </a:lnTo>
                  <a:lnTo>
                    <a:pt x="837" y="2984"/>
                  </a:lnTo>
                  <a:lnTo>
                    <a:pt x="973" y="3052"/>
                  </a:lnTo>
                  <a:lnTo>
                    <a:pt x="1108" y="3097"/>
                  </a:lnTo>
                  <a:lnTo>
                    <a:pt x="1267" y="3142"/>
                  </a:lnTo>
                  <a:lnTo>
                    <a:pt x="1425" y="3165"/>
                  </a:lnTo>
                  <a:lnTo>
                    <a:pt x="1741" y="3165"/>
                  </a:lnTo>
                  <a:lnTo>
                    <a:pt x="1900" y="3142"/>
                  </a:lnTo>
                  <a:lnTo>
                    <a:pt x="2058" y="3097"/>
                  </a:lnTo>
                  <a:lnTo>
                    <a:pt x="2193" y="3052"/>
                  </a:lnTo>
                  <a:lnTo>
                    <a:pt x="2352" y="2984"/>
                  </a:lnTo>
                  <a:lnTo>
                    <a:pt x="2465" y="2893"/>
                  </a:lnTo>
                  <a:lnTo>
                    <a:pt x="2600" y="2803"/>
                  </a:lnTo>
                  <a:lnTo>
                    <a:pt x="2713" y="2713"/>
                  </a:lnTo>
                  <a:lnTo>
                    <a:pt x="2804" y="2600"/>
                  </a:lnTo>
                  <a:lnTo>
                    <a:pt x="2894" y="2464"/>
                  </a:lnTo>
                  <a:lnTo>
                    <a:pt x="2984" y="2351"/>
                  </a:lnTo>
                  <a:lnTo>
                    <a:pt x="3052" y="2215"/>
                  </a:lnTo>
                  <a:lnTo>
                    <a:pt x="3097" y="2057"/>
                  </a:lnTo>
                  <a:lnTo>
                    <a:pt x="3143" y="1899"/>
                  </a:lnTo>
                  <a:lnTo>
                    <a:pt x="3165" y="1763"/>
                  </a:lnTo>
                  <a:lnTo>
                    <a:pt x="3165" y="1582"/>
                  </a:lnTo>
                  <a:lnTo>
                    <a:pt x="3165" y="1424"/>
                  </a:lnTo>
                  <a:lnTo>
                    <a:pt x="3143" y="1266"/>
                  </a:lnTo>
                  <a:lnTo>
                    <a:pt x="3097" y="1130"/>
                  </a:lnTo>
                  <a:lnTo>
                    <a:pt x="3052" y="972"/>
                  </a:lnTo>
                  <a:lnTo>
                    <a:pt x="2984" y="837"/>
                  </a:lnTo>
                  <a:lnTo>
                    <a:pt x="2894" y="701"/>
                  </a:lnTo>
                  <a:lnTo>
                    <a:pt x="2804" y="588"/>
                  </a:lnTo>
                  <a:lnTo>
                    <a:pt x="2713" y="475"/>
                  </a:lnTo>
                  <a:lnTo>
                    <a:pt x="2600" y="362"/>
                  </a:lnTo>
                  <a:lnTo>
                    <a:pt x="2465" y="272"/>
                  </a:lnTo>
                  <a:lnTo>
                    <a:pt x="2352" y="204"/>
                  </a:lnTo>
                  <a:lnTo>
                    <a:pt x="2193" y="136"/>
                  </a:lnTo>
                  <a:lnTo>
                    <a:pt x="2058" y="91"/>
                  </a:lnTo>
                  <a:lnTo>
                    <a:pt x="1900" y="46"/>
                  </a:lnTo>
                  <a:lnTo>
                    <a:pt x="1741" y="23"/>
                  </a:lnTo>
                  <a:lnTo>
                    <a:pt x="1583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1" name="Google Shape;1728;p16">
              <a:extLst>
                <a:ext uri="{FF2B5EF4-FFF2-40B4-BE49-F238E27FC236}">
                  <a16:creationId xmlns:a16="http://schemas.microsoft.com/office/drawing/2014/main" id="{2D725CB1-1187-97CB-F917-457F932AFD12}"/>
                </a:ext>
              </a:extLst>
            </p:cNvPr>
            <p:cNvSpPr/>
            <p:nvPr/>
          </p:nvSpPr>
          <p:spPr>
            <a:xfrm>
              <a:off x="5850050" y="3429575"/>
              <a:ext cx="211350" cy="211350"/>
            </a:xfrm>
            <a:custGeom>
              <a:avLst/>
              <a:gdLst/>
              <a:ahLst/>
              <a:cxnLst/>
              <a:rect l="l" t="t" r="r" b="b"/>
              <a:pathLst>
                <a:path w="8454" h="8454" extrusionOk="0">
                  <a:moveTo>
                    <a:pt x="4227" y="1"/>
                  </a:moveTo>
                  <a:lnTo>
                    <a:pt x="3798" y="23"/>
                  </a:lnTo>
                  <a:lnTo>
                    <a:pt x="3368" y="91"/>
                  </a:lnTo>
                  <a:lnTo>
                    <a:pt x="2961" y="182"/>
                  </a:lnTo>
                  <a:lnTo>
                    <a:pt x="2577" y="340"/>
                  </a:lnTo>
                  <a:lnTo>
                    <a:pt x="2215" y="521"/>
                  </a:lnTo>
                  <a:lnTo>
                    <a:pt x="1854" y="724"/>
                  </a:lnTo>
                  <a:lnTo>
                    <a:pt x="1537" y="973"/>
                  </a:lnTo>
                  <a:lnTo>
                    <a:pt x="1221" y="1244"/>
                  </a:lnTo>
                  <a:lnTo>
                    <a:pt x="950" y="1538"/>
                  </a:lnTo>
                  <a:lnTo>
                    <a:pt x="724" y="1854"/>
                  </a:lnTo>
                  <a:lnTo>
                    <a:pt x="498" y="2216"/>
                  </a:lnTo>
                  <a:lnTo>
                    <a:pt x="317" y="2577"/>
                  </a:lnTo>
                  <a:lnTo>
                    <a:pt x="181" y="2962"/>
                  </a:lnTo>
                  <a:lnTo>
                    <a:pt x="68" y="3368"/>
                  </a:lnTo>
                  <a:lnTo>
                    <a:pt x="23" y="3798"/>
                  </a:lnTo>
                  <a:lnTo>
                    <a:pt x="1" y="4227"/>
                  </a:lnTo>
                  <a:lnTo>
                    <a:pt x="23" y="4657"/>
                  </a:lnTo>
                  <a:lnTo>
                    <a:pt x="68" y="5086"/>
                  </a:lnTo>
                  <a:lnTo>
                    <a:pt x="181" y="5493"/>
                  </a:lnTo>
                  <a:lnTo>
                    <a:pt x="317" y="5877"/>
                  </a:lnTo>
                  <a:lnTo>
                    <a:pt x="498" y="6239"/>
                  </a:lnTo>
                  <a:lnTo>
                    <a:pt x="724" y="6600"/>
                  </a:lnTo>
                  <a:lnTo>
                    <a:pt x="950" y="6917"/>
                  </a:lnTo>
                  <a:lnTo>
                    <a:pt x="1221" y="7211"/>
                  </a:lnTo>
                  <a:lnTo>
                    <a:pt x="1537" y="7482"/>
                  </a:lnTo>
                  <a:lnTo>
                    <a:pt x="1854" y="7731"/>
                  </a:lnTo>
                  <a:lnTo>
                    <a:pt x="2215" y="7957"/>
                  </a:lnTo>
                  <a:lnTo>
                    <a:pt x="2577" y="8115"/>
                  </a:lnTo>
                  <a:lnTo>
                    <a:pt x="2961" y="8273"/>
                  </a:lnTo>
                  <a:lnTo>
                    <a:pt x="3368" y="8363"/>
                  </a:lnTo>
                  <a:lnTo>
                    <a:pt x="3798" y="8431"/>
                  </a:lnTo>
                  <a:lnTo>
                    <a:pt x="4227" y="8454"/>
                  </a:lnTo>
                  <a:lnTo>
                    <a:pt x="4656" y="8431"/>
                  </a:lnTo>
                  <a:lnTo>
                    <a:pt x="5063" y="8363"/>
                  </a:lnTo>
                  <a:lnTo>
                    <a:pt x="5470" y="8273"/>
                  </a:lnTo>
                  <a:lnTo>
                    <a:pt x="5854" y="8115"/>
                  </a:lnTo>
                  <a:lnTo>
                    <a:pt x="6239" y="7957"/>
                  </a:lnTo>
                  <a:lnTo>
                    <a:pt x="6578" y="7731"/>
                  </a:lnTo>
                  <a:lnTo>
                    <a:pt x="6917" y="7482"/>
                  </a:lnTo>
                  <a:lnTo>
                    <a:pt x="7210" y="7211"/>
                  </a:lnTo>
                  <a:lnTo>
                    <a:pt x="7482" y="6917"/>
                  </a:lnTo>
                  <a:lnTo>
                    <a:pt x="7730" y="6600"/>
                  </a:lnTo>
                  <a:lnTo>
                    <a:pt x="7934" y="6239"/>
                  </a:lnTo>
                  <a:lnTo>
                    <a:pt x="8114" y="5877"/>
                  </a:lnTo>
                  <a:lnTo>
                    <a:pt x="8250" y="5493"/>
                  </a:lnTo>
                  <a:lnTo>
                    <a:pt x="8363" y="5086"/>
                  </a:lnTo>
                  <a:lnTo>
                    <a:pt x="8431" y="4657"/>
                  </a:lnTo>
                  <a:lnTo>
                    <a:pt x="8453" y="4227"/>
                  </a:lnTo>
                  <a:lnTo>
                    <a:pt x="8431" y="3798"/>
                  </a:lnTo>
                  <a:lnTo>
                    <a:pt x="8363" y="3368"/>
                  </a:lnTo>
                  <a:lnTo>
                    <a:pt x="8250" y="2962"/>
                  </a:lnTo>
                  <a:lnTo>
                    <a:pt x="8114" y="2577"/>
                  </a:lnTo>
                  <a:lnTo>
                    <a:pt x="7934" y="2216"/>
                  </a:lnTo>
                  <a:lnTo>
                    <a:pt x="7730" y="1854"/>
                  </a:lnTo>
                  <a:lnTo>
                    <a:pt x="7482" y="1538"/>
                  </a:lnTo>
                  <a:lnTo>
                    <a:pt x="7210" y="1244"/>
                  </a:lnTo>
                  <a:lnTo>
                    <a:pt x="6917" y="973"/>
                  </a:lnTo>
                  <a:lnTo>
                    <a:pt x="6578" y="724"/>
                  </a:lnTo>
                  <a:lnTo>
                    <a:pt x="6239" y="521"/>
                  </a:lnTo>
                  <a:lnTo>
                    <a:pt x="5854" y="340"/>
                  </a:lnTo>
                  <a:lnTo>
                    <a:pt x="5470" y="182"/>
                  </a:lnTo>
                  <a:lnTo>
                    <a:pt x="5063" y="91"/>
                  </a:lnTo>
                  <a:lnTo>
                    <a:pt x="4656" y="23"/>
                  </a:lnTo>
                  <a:lnTo>
                    <a:pt x="4227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2" name="Google Shape;1729;p16">
              <a:extLst>
                <a:ext uri="{FF2B5EF4-FFF2-40B4-BE49-F238E27FC236}">
                  <a16:creationId xmlns:a16="http://schemas.microsoft.com/office/drawing/2014/main" id="{04950E37-7F9F-D016-DC34-DBC98FBA58FD}"/>
                </a:ext>
              </a:extLst>
            </p:cNvPr>
            <p:cNvSpPr/>
            <p:nvPr/>
          </p:nvSpPr>
          <p:spPr>
            <a:xfrm>
              <a:off x="1641100" y="2953250"/>
              <a:ext cx="1087725" cy="1088300"/>
            </a:xfrm>
            <a:custGeom>
              <a:avLst/>
              <a:gdLst/>
              <a:ahLst/>
              <a:cxnLst/>
              <a:rect l="l" t="t" r="r" b="b"/>
              <a:pathLst>
                <a:path w="43509" h="43532" extrusionOk="0">
                  <a:moveTo>
                    <a:pt x="21743" y="2464"/>
                  </a:moveTo>
                  <a:lnTo>
                    <a:pt x="22737" y="2487"/>
                  </a:lnTo>
                  <a:lnTo>
                    <a:pt x="23732" y="2555"/>
                  </a:lnTo>
                  <a:lnTo>
                    <a:pt x="24681" y="2690"/>
                  </a:lnTo>
                  <a:lnTo>
                    <a:pt x="25630" y="2849"/>
                  </a:lnTo>
                  <a:lnTo>
                    <a:pt x="26580" y="3075"/>
                  </a:lnTo>
                  <a:lnTo>
                    <a:pt x="27484" y="3323"/>
                  </a:lnTo>
                  <a:lnTo>
                    <a:pt x="28388" y="3640"/>
                  </a:lnTo>
                  <a:lnTo>
                    <a:pt x="29269" y="3979"/>
                  </a:lnTo>
                  <a:lnTo>
                    <a:pt x="30128" y="4363"/>
                  </a:lnTo>
                  <a:lnTo>
                    <a:pt x="30964" y="4792"/>
                  </a:lnTo>
                  <a:lnTo>
                    <a:pt x="31755" y="5244"/>
                  </a:lnTo>
                  <a:lnTo>
                    <a:pt x="32546" y="5764"/>
                  </a:lnTo>
                  <a:lnTo>
                    <a:pt x="33292" y="6284"/>
                  </a:lnTo>
                  <a:lnTo>
                    <a:pt x="34038" y="6872"/>
                  </a:lnTo>
                  <a:lnTo>
                    <a:pt x="34739" y="7482"/>
                  </a:lnTo>
                  <a:lnTo>
                    <a:pt x="35394" y="8115"/>
                  </a:lnTo>
                  <a:lnTo>
                    <a:pt x="36050" y="8793"/>
                  </a:lnTo>
                  <a:lnTo>
                    <a:pt x="36660" y="9494"/>
                  </a:lnTo>
                  <a:lnTo>
                    <a:pt x="37225" y="10217"/>
                  </a:lnTo>
                  <a:lnTo>
                    <a:pt x="37767" y="10963"/>
                  </a:lnTo>
                  <a:lnTo>
                    <a:pt x="38265" y="11754"/>
                  </a:lnTo>
                  <a:lnTo>
                    <a:pt x="38739" y="12567"/>
                  </a:lnTo>
                  <a:lnTo>
                    <a:pt x="39146" y="13404"/>
                  </a:lnTo>
                  <a:lnTo>
                    <a:pt x="39553" y="14262"/>
                  </a:lnTo>
                  <a:lnTo>
                    <a:pt x="39892" y="15121"/>
                  </a:lnTo>
                  <a:lnTo>
                    <a:pt x="40186" y="16025"/>
                  </a:lnTo>
                  <a:lnTo>
                    <a:pt x="40457" y="16952"/>
                  </a:lnTo>
                  <a:lnTo>
                    <a:pt x="40660" y="17879"/>
                  </a:lnTo>
                  <a:lnTo>
                    <a:pt x="40841" y="18828"/>
                  </a:lnTo>
                  <a:lnTo>
                    <a:pt x="40954" y="19800"/>
                  </a:lnTo>
                  <a:lnTo>
                    <a:pt x="41045" y="20772"/>
                  </a:lnTo>
                  <a:lnTo>
                    <a:pt x="41067" y="21766"/>
                  </a:lnTo>
                  <a:lnTo>
                    <a:pt x="41045" y="22761"/>
                  </a:lnTo>
                  <a:lnTo>
                    <a:pt x="40954" y="23755"/>
                  </a:lnTo>
                  <a:lnTo>
                    <a:pt x="40841" y="24704"/>
                  </a:lnTo>
                  <a:lnTo>
                    <a:pt x="40660" y="25653"/>
                  </a:lnTo>
                  <a:lnTo>
                    <a:pt x="40457" y="26603"/>
                  </a:lnTo>
                  <a:lnTo>
                    <a:pt x="40186" y="27507"/>
                  </a:lnTo>
                  <a:lnTo>
                    <a:pt x="39892" y="28411"/>
                  </a:lnTo>
                  <a:lnTo>
                    <a:pt x="39553" y="29292"/>
                  </a:lnTo>
                  <a:lnTo>
                    <a:pt x="39146" y="30151"/>
                  </a:lnTo>
                  <a:lnTo>
                    <a:pt x="38739" y="30965"/>
                  </a:lnTo>
                  <a:lnTo>
                    <a:pt x="38265" y="31778"/>
                  </a:lnTo>
                  <a:lnTo>
                    <a:pt x="37767" y="32569"/>
                  </a:lnTo>
                  <a:lnTo>
                    <a:pt x="37225" y="33315"/>
                  </a:lnTo>
                  <a:lnTo>
                    <a:pt x="36660" y="34061"/>
                  </a:lnTo>
                  <a:lnTo>
                    <a:pt x="36050" y="34762"/>
                  </a:lnTo>
                  <a:lnTo>
                    <a:pt x="35394" y="35417"/>
                  </a:lnTo>
                  <a:lnTo>
                    <a:pt x="34739" y="36073"/>
                  </a:lnTo>
                  <a:lnTo>
                    <a:pt x="34038" y="36660"/>
                  </a:lnTo>
                  <a:lnTo>
                    <a:pt x="33292" y="37248"/>
                  </a:lnTo>
                  <a:lnTo>
                    <a:pt x="32546" y="37790"/>
                  </a:lnTo>
                  <a:lnTo>
                    <a:pt x="31755" y="38288"/>
                  </a:lnTo>
                  <a:lnTo>
                    <a:pt x="30964" y="38740"/>
                  </a:lnTo>
                  <a:lnTo>
                    <a:pt x="30128" y="39169"/>
                  </a:lnTo>
                  <a:lnTo>
                    <a:pt x="29269" y="39553"/>
                  </a:lnTo>
                  <a:lnTo>
                    <a:pt x="28388" y="39915"/>
                  </a:lnTo>
                  <a:lnTo>
                    <a:pt x="27484" y="40209"/>
                  </a:lnTo>
                  <a:lnTo>
                    <a:pt x="26580" y="40480"/>
                  </a:lnTo>
                  <a:lnTo>
                    <a:pt x="25630" y="40683"/>
                  </a:lnTo>
                  <a:lnTo>
                    <a:pt x="24681" y="40864"/>
                  </a:lnTo>
                  <a:lnTo>
                    <a:pt x="23732" y="40977"/>
                  </a:lnTo>
                  <a:lnTo>
                    <a:pt x="22737" y="41045"/>
                  </a:lnTo>
                  <a:lnTo>
                    <a:pt x="21743" y="41090"/>
                  </a:lnTo>
                  <a:lnTo>
                    <a:pt x="20748" y="41045"/>
                  </a:lnTo>
                  <a:lnTo>
                    <a:pt x="19777" y="40977"/>
                  </a:lnTo>
                  <a:lnTo>
                    <a:pt x="18805" y="40864"/>
                  </a:lnTo>
                  <a:lnTo>
                    <a:pt x="17856" y="40683"/>
                  </a:lnTo>
                  <a:lnTo>
                    <a:pt x="16929" y="40480"/>
                  </a:lnTo>
                  <a:lnTo>
                    <a:pt x="16002" y="40209"/>
                  </a:lnTo>
                  <a:lnTo>
                    <a:pt x="15098" y="39915"/>
                  </a:lnTo>
                  <a:lnTo>
                    <a:pt x="14239" y="39553"/>
                  </a:lnTo>
                  <a:lnTo>
                    <a:pt x="13380" y="39169"/>
                  </a:lnTo>
                  <a:lnTo>
                    <a:pt x="12544" y="38740"/>
                  </a:lnTo>
                  <a:lnTo>
                    <a:pt x="11731" y="38288"/>
                  </a:lnTo>
                  <a:lnTo>
                    <a:pt x="10939" y="37790"/>
                  </a:lnTo>
                  <a:lnTo>
                    <a:pt x="10194" y="37248"/>
                  </a:lnTo>
                  <a:lnTo>
                    <a:pt x="9470" y="36660"/>
                  </a:lnTo>
                  <a:lnTo>
                    <a:pt x="8770" y="36073"/>
                  </a:lnTo>
                  <a:lnTo>
                    <a:pt x="8092" y="35417"/>
                  </a:lnTo>
                  <a:lnTo>
                    <a:pt x="7459" y="34762"/>
                  </a:lnTo>
                  <a:lnTo>
                    <a:pt x="6849" y="34061"/>
                  </a:lnTo>
                  <a:lnTo>
                    <a:pt x="6284" y="33315"/>
                  </a:lnTo>
                  <a:lnTo>
                    <a:pt x="5741" y="32569"/>
                  </a:lnTo>
                  <a:lnTo>
                    <a:pt x="5221" y="31778"/>
                  </a:lnTo>
                  <a:lnTo>
                    <a:pt x="4769" y="30965"/>
                  </a:lnTo>
                  <a:lnTo>
                    <a:pt x="4340" y="30151"/>
                  </a:lnTo>
                  <a:lnTo>
                    <a:pt x="3956" y="29292"/>
                  </a:lnTo>
                  <a:lnTo>
                    <a:pt x="3617" y="28411"/>
                  </a:lnTo>
                  <a:lnTo>
                    <a:pt x="3300" y="27507"/>
                  </a:lnTo>
                  <a:lnTo>
                    <a:pt x="3052" y="26603"/>
                  </a:lnTo>
                  <a:lnTo>
                    <a:pt x="2826" y="25653"/>
                  </a:lnTo>
                  <a:lnTo>
                    <a:pt x="2667" y="24704"/>
                  </a:lnTo>
                  <a:lnTo>
                    <a:pt x="2532" y="23755"/>
                  </a:lnTo>
                  <a:lnTo>
                    <a:pt x="2464" y="22761"/>
                  </a:lnTo>
                  <a:lnTo>
                    <a:pt x="2441" y="21766"/>
                  </a:lnTo>
                  <a:lnTo>
                    <a:pt x="2464" y="20772"/>
                  </a:lnTo>
                  <a:lnTo>
                    <a:pt x="2532" y="19800"/>
                  </a:lnTo>
                  <a:lnTo>
                    <a:pt x="2667" y="18828"/>
                  </a:lnTo>
                  <a:lnTo>
                    <a:pt x="2826" y="17879"/>
                  </a:lnTo>
                  <a:lnTo>
                    <a:pt x="3052" y="16952"/>
                  </a:lnTo>
                  <a:lnTo>
                    <a:pt x="3300" y="16025"/>
                  </a:lnTo>
                  <a:lnTo>
                    <a:pt x="3617" y="15121"/>
                  </a:lnTo>
                  <a:lnTo>
                    <a:pt x="3956" y="14262"/>
                  </a:lnTo>
                  <a:lnTo>
                    <a:pt x="4340" y="13404"/>
                  </a:lnTo>
                  <a:lnTo>
                    <a:pt x="4769" y="12567"/>
                  </a:lnTo>
                  <a:lnTo>
                    <a:pt x="5221" y="11754"/>
                  </a:lnTo>
                  <a:lnTo>
                    <a:pt x="5741" y="10963"/>
                  </a:lnTo>
                  <a:lnTo>
                    <a:pt x="6284" y="10217"/>
                  </a:lnTo>
                  <a:lnTo>
                    <a:pt x="6849" y="9494"/>
                  </a:lnTo>
                  <a:lnTo>
                    <a:pt x="7459" y="8793"/>
                  </a:lnTo>
                  <a:lnTo>
                    <a:pt x="8092" y="8115"/>
                  </a:lnTo>
                  <a:lnTo>
                    <a:pt x="8770" y="7482"/>
                  </a:lnTo>
                  <a:lnTo>
                    <a:pt x="9470" y="6872"/>
                  </a:lnTo>
                  <a:lnTo>
                    <a:pt x="10194" y="6284"/>
                  </a:lnTo>
                  <a:lnTo>
                    <a:pt x="10939" y="5764"/>
                  </a:lnTo>
                  <a:lnTo>
                    <a:pt x="11731" y="5244"/>
                  </a:lnTo>
                  <a:lnTo>
                    <a:pt x="12544" y="4792"/>
                  </a:lnTo>
                  <a:lnTo>
                    <a:pt x="13380" y="4363"/>
                  </a:lnTo>
                  <a:lnTo>
                    <a:pt x="14239" y="3979"/>
                  </a:lnTo>
                  <a:lnTo>
                    <a:pt x="15098" y="3640"/>
                  </a:lnTo>
                  <a:lnTo>
                    <a:pt x="16002" y="3323"/>
                  </a:lnTo>
                  <a:lnTo>
                    <a:pt x="16929" y="3075"/>
                  </a:lnTo>
                  <a:lnTo>
                    <a:pt x="17856" y="2849"/>
                  </a:lnTo>
                  <a:lnTo>
                    <a:pt x="18805" y="2690"/>
                  </a:lnTo>
                  <a:lnTo>
                    <a:pt x="19777" y="2555"/>
                  </a:lnTo>
                  <a:lnTo>
                    <a:pt x="20748" y="2487"/>
                  </a:lnTo>
                  <a:lnTo>
                    <a:pt x="21743" y="2464"/>
                  </a:lnTo>
                  <a:close/>
                  <a:moveTo>
                    <a:pt x="21743" y="1"/>
                  </a:moveTo>
                  <a:lnTo>
                    <a:pt x="21178" y="24"/>
                  </a:lnTo>
                  <a:lnTo>
                    <a:pt x="20635" y="46"/>
                  </a:lnTo>
                  <a:lnTo>
                    <a:pt x="20070" y="69"/>
                  </a:lnTo>
                  <a:lnTo>
                    <a:pt x="19528" y="114"/>
                  </a:lnTo>
                  <a:lnTo>
                    <a:pt x="18986" y="182"/>
                  </a:lnTo>
                  <a:lnTo>
                    <a:pt x="18443" y="272"/>
                  </a:lnTo>
                  <a:lnTo>
                    <a:pt x="17901" y="363"/>
                  </a:lnTo>
                  <a:lnTo>
                    <a:pt x="17358" y="453"/>
                  </a:lnTo>
                  <a:lnTo>
                    <a:pt x="16319" y="702"/>
                  </a:lnTo>
                  <a:lnTo>
                    <a:pt x="15279" y="995"/>
                  </a:lnTo>
                  <a:lnTo>
                    <a:pt x="14262" y="1334"/>
                  </a:lnTo>
                  <a:lnTo>
                    <a:pt x="13290" y="1719"/>
                  </a:lnTo>
                  <a:lnTo>
                    <a:pt x="12318" y="2148"/>
                  </a:lnTo>
                  <a:lnTo>
                    <a:pt x="11369" y="2645"/>
                  </a:lnTo>
                  <a:lnTo>
                    <a:pt x="10465" y="3165"/>
                  </a:lnTo>
                  <a:lnTo>
                    <a:pt x="9583" y="3730"/>
                  </a:lnTo>
                  <a:lnTo>
                    <a:pt x="8725" y="4340"/>
                  </a:lnTo>
                  <a:lnTo>
                    <a:pt x="7911" y="4973"/>
                  </a:lnTo>
                  <a:lnTo>
                    <a:pt x="7120" y="5674"/>
                  </a:lnTo>
                  <a:lnTo>
                    <a:pt x="6374" y="6375"/>
                  </a:lnTo>
                  <a:lnTo>
                    <a:pt x="5651" y="7143"/>
                  </a:lnTo>
                  <a:lnTo>
                    <a:pt x="4950" y="7934"/>
                  </a:lnTo>
                  <a:lnTo>
                    <a:pt x="4317" y="8748"/>
                  </a:lnTo>
                  <a:lnTo>
                    <a:pt x="3707" y="9607"/>
                  </a:lnTo>
                  <a:lnTo>
                    <a:pt x="3142" y="10488"/>
                  </a:lnTo>
                  <a:lnTo>
                    <a:pt x="2622" y="11392"/>
                  </a:lnTo>
                  <a:lnTo>
                    <a:pt x="2125" y="12341"/>
                  </a:lnTo>
                  <a:lnTo>
                    <a:pt x="1695" y="13291"/>
                  </a:lnTo>
                  <a:lnTo>
                    <a:pt x="1311" y="14285"/>
                  </a:lnTo>
                  <a:lnTo>
                    <a:pt x="972" y="15302"/>
                  </a:lnTo>
                  <a:lnTo>
                    <a:pt x="678" y="16342"/>
                  </a:lnTo>
                  <a:lnTo>
                    <a:pt x="430" y="17381"/>
                  </a:lnTo>
                  <a:lnTo>
                    <a:pt x="339" y="17924"/>
                  </a:lnTo>
                  <a:lnTo>
                    <a:pt x="249" y="18466"/>
                  </a:lnTo>
                  <a:lnTo>
                    <a:pt x="159" y="19009"/>
                  </a:lnTo>
                  <a:lnTo>
                    <a:pt x="113" y="19551"/>
                  </a:lnTo>
                  <a:lnTo>
                    <a:pt x="46" y="20094"/>
                  </a:lnTo>
                  <a:lnTo>
                    <a:pt x="23" y="20659"/>
                  </a:lnTo>
                  <a:lnTo>
                    <a:pt x="0" y="21201"/>
                  </a:lnTo>
                  <a:lnTo>
                    <a:pt x="0" y="21766"/>
                  </a:lnTo>
                  <a:lnTo>
                    <a:pt x="0" y="22331"/>
                  </a:lnTo>
                  <a:lnTo>
                    <a:pt x="23" y="22896"/>
                  </a:lnTo>
                  <a:lnTo>
                    <a:pt x="46" y="23439"/>
                  </a:lnTo>
                  <a:lnTo>
                    <a:pt x="113" y="24004"/>
                  </a:lnTo>
                  <a:lnTo>
                    <a:pt x="159" y="24546"/>
                  </a:lnTo>
                  <a:lnTo>
                    <a:pt x="249" y="25088"/>
                  </a:lnTo>
                  <a:lnTo>
                    <a:pt x="339" y="25631"/>
                  </a:lnTo>
                  <a:lnTo>
                    <a:pt x="430" y="26151"/>
                  </a:lnTo>
                  <a:lnTo>
                    <a:pt x="678" y="27213"/>
                  </a:lnTo>
                  <a:lnTo>
                    <a:pt x="972" y="28230"/>
                  </a:lnTo>
                  <a:lnTo>
                    <a:pt x="1311" y="29247"/>
                  </a:lnTo>
                  <a:lnTo>
                    <a:pt x="1695" y="30242"/>
                  </a:lnTo>
                  <a:lnTo>
                    <a:pt x="2125" y="31213"/>
                  </a:lnTo>
                  <a:lnTo>
                    <a:pt x="2622" y="32140"/>
                  </a:lnTo>
                  <a:lnTo>
                    <a:pt x="3142" y="33044"/>
                  </a:lnTo>
                  <a:lnTo>
                    <a:pt x="3707" y="33926"/>
                  </a:lnTo>
                  <a:lnTo>
                    <a:pt x="4317" y="34784"/>
                  </a:lnTo>
                  <a:lnTo>
                    <a:pt x="4950" y="35621"/>
                  </a:lnTo>
                  <a:lnTo>
                    <a:pt x="5651" y="36389"/>
                  </a:lnTo>
                  <a:lnTo>
                    <a:pt x="6374" y="37158"/>
                  </a:lnTo>
                  <a:lnTo>
                    <a:pt x="7120" y="37881"/>
                  </a:lnTo>
                  <a:lnTo>
                    <a:pt x="7911" y="38559"/>
                  </a:lnTo>
                  <a:lnTo>
                    <a:pt x="8725" y="39214"/>
                  </a:lnTo>
                  <a:lnTo>
                    <a:pt x="9583" y="39802"/>
                  </a:lnTo>
                  <a:lnTo>
                    <a:pt x="10465" y="40367"/>
                  </a:lnTo>
                  <a:lnTo>
                    <a:pt x="11369" y="40909"/>
                  </a:lnTo>
                  <a:lnTo>
                    <a:pt x="12318" y="41384"/>
                  </a:lnTo>
                  <a:lnTo>
                    <a:pt x="13290" y="41813"/>
                  </a:lnTo>
                  <a:lnTo>
                    <a:pt x="14262" y="42198"/>
                  </a:lnTo>
                  <a:lnTo>
                    <a:pt x="15279" y="42559"/>
                  </a:lnTo>
                  <a:lnTo>
                    <a:pt x="16319" y="42853"/>
                  </a:lnTo>
                  <a:lnTo>
                    <a:pt x="17358" y="43079"/>
                  </a:lnTo>
                  <a:lnTo>
                    <a:pt x="17901" y="43192"/>
                  </a:lnTo>
                  <a:lnTo>
                    <a:pt x="18443" y="43283"/>
                  </a:lnTo>
                  <a:lnTo>
                    <a:pt x="18986" y="43350"/>
                  </a:lnTo>
                  <a:lnTo>
                    <a:pt x="19528" y="43418"/>
                  </a:lnTo>
                  <a:lnTo>
                    <a:pt x="20070" y="43463"/>
                  </a:lnTo>
                  <a:lnTo>
                    <a:pt x="20635" y="43509"/>
                  </a:lnTo>
                  <a:lnTo>
                    <a:pt x="21178" y="43531"/>
                  </a:lnTo>
                  <a:lnTo>
                    <a:pt x="22308" y="43531"/>
                  </a:lnTo>
                  <a:lnTo>
                    <a:pt x="22873" y="43509"/>
                  </a:lnTo>
                  <a:lnTo>
                    <a:pt x="23415" y="43463"/>
                  </a:lnTo>
                  <a:lnTo>
                    <a:pt x="23981" y="43418"/>
                  </a:lnTo>
                  <a:lnTo>
                    <a:pt x="24523" y="43350"/>
                  </a:lnTo>
                  <a:lnTo>
                    <a:pt x="25065" y="43283"/>
                  </a:lnTo>
                  <a:lnTo>
                    <a:pt x="25608" y="43192"/>
                  </a:lnTo>
                  <a:lnTo>
                    <a:pt x="26128" y="43079"/>
                  </a:lnTo>
                  <a:lnTo>
                    <a:pt x="27190" y="42853"/>
                  </a:lnTo>
                  <a:lnTo>
                    <a:pt x="28207" y="42559"/>
                  </a:lnTo>
                  <a:lnTo>
                    <a:pt x="29224" y="42198"/>
                  </a:lnTo>
                  <a:lnTo>
                    <a:pt x="30219" y="41813"/>
                  </a:lnTo>
                  <a:lnTo>
                    <a:pt x="31190" y="41384"/>
                  </a:lnTo>
                  <a:lnTo>
                    <a:pt x="32117" y="40909"/>
                  </a:lnTo>
                  <a:lnTo>
                    <a:pt x="33021" y="40367"/>
                  </a:lnTo>
                  <a:lnTo>
                    <a:pt x="33903" y="39802"/>
                  </a:lnTo>
                  <a:lnTo>
                    <a:pt x="34761" y="39214"/>
                  </a:lnTo>
                  <a:lnTo>
                    <a:pt x="35598" y="38559"/>
                  </a:lnTo>
                  <a:lnTo>
                    <a:pt x="36389" y="37881"/>
                  </a:lnTo>
                  <a:lnTo>
                    <a:pt x="37135" y="37158"/>
                  </a:lnTo>
                  <a:lnTo>
                    <a:pt x="37858" y="36389"/>
                  </a:lnTo>
                  <a:lnTo>
                    <a:pt x="38536" y="35621"/>
                  </a:lnTo>
                  <a:lnTo>
                    <a:pt x="39191" y="34784"/>
                  </a:lnTo>
                  <a:lnTo>
                    <a:pt x="39779" y="33926"/>
                  </a:lnTo>
                  <a:lnTo>
                    <a:pt x="40367" y="33044"/>
                  </a:lnTo>
                  <a:lnTo>
                    <a:pt x="40886" y="32140"/>
                  </a:lnTo>
                  <a:lnTo>
                    <a:pt x="41361" y="31213"/>
                  </a:lnTo>
                  <a:lnTo>
                    <a:pt x="41790" y="30242"/>
                  </a:lnTo>
                  <a:lnTo>
                    <a:pt x="42175" y="29247"/>
                  </a:lnTo>
                  <a:lnTo>
                    <a:pt x="42536" y="28230"/>
                  </a:lnTo>
                  <a:lnTo>
                    <a:pt x="42830" y="27213"/>
                  </a:lnTo>
                  <a:lnTo>
                    <a:pt x="43056" y="26151"/>
                  </a:lnTo>
                  <a:lnTo>
                    <a:pt x="43169" y="25631"/>
                  </a:lnTo>
                  <a:lnTo>
                    <a:pt x="43260" y="25088"/>
                  </a:lnTo>
                  <a:lnTo>
                    <a:pt x="43327" y="24546"/>
                  </a:lnTo>
                  <a:lnTo>
                    <a:pt x="43395" y="24004"/>
                  </a:lnTo>
                  <a:lnTo>
                    <a:pt x="43440" y="23439"/>
                  </a:lnTo>
                  <a:lnTo>
                    <a:pt x="43486" y="22896"/>
                  </a:lnTo>
                  <a:lnTo>
                    <a:pt x="43508" y="22331"/>
                  </a:lnTo>
                  <a:lnTo>
                    <a:pt x="43508" y="21766"/>
                  </a:lnTo>
                  <a:lnTo>
                    <a:pt x="43508" y="21201"/>
                  </a:lnTo>
                  <a:lnTo>
                    <a:pt x="43486" y="20659"/>
                  </a:lnTo>
                  <a:lnTo>
                    <a:pt x="43440" y="20094"/>
                  </a:lnTo>
                  <a:lnTo>
                    <a:pt x="43395" y="19551"/>
                  </a:lnTo>
                  <a:lnTo>
                    <a:pt x="43327" y="19009"/>
                  </a:lnTo>
                  <a:lnTo>
                    <a:pt x="43260" y="18466"/>
                  </a:lnTo>
                  <a:lnTo>
                    <a:pt x="43169" y="17924"/>
                  </a:lnTo>
                  <a:lnTo>
                    <a:pt x="43056" y="17381"/>
                  </a:lnTo>
                  <a:lnTo>
                    <a:pt x="42830" y="16342"/>
                  </a:lnTo>
                  <a:lnTo>
                    <a:pt x="42536" y="15302"/>
                  </a:lnTo>
                  <a:lnTo>
                    <a:pt x="42175" y="14285"/>
                  </a:lnTo>
                  <a:lnTo>
                    <a:pt x="41790" y="13291"/>
                  </a:lnTo>
                  <a:lnTo>
                    <a:pt x="41361" y="12341"/>
                  </a:lnTo>
                  <a:lnTo>
                    <a:pt x="40886" y="11392"/>
                  </a:lnTo>
                  <a:lnTo>
                    <a:pt x="40367" y="10488"/>
                  </a:lnTo>
                  <a:lnTo>
                    <a:pt x="39779" y="9607"/>
                  </a:lnTo>
                  <a:lnTo>
                    <a:pt x="39191" y="8748"/>
                  </a:lnTo>
                  <a:lnTo>
                    <a:pt x="38536" y="7934"/>
                  </a:lnTo>
                  <a:lnTo>
                    <a:pt x="37858" y="7143"/>
                  </a:lnTo>
                  <a:lnTo>
                    <a:pt x="37135" y="6375"/>
                  </a:lnTo>
                  <a:lnTo>
                    <a:pt x="36389" y="5674"/>
                  </a:lnTo>
                  <a:lnTo>
                    <a:pt x="35598" y="4973"/>
                  </a:lnTo>
                  <a:lnTo>
                    <a:pt x="34761" y="4340"/>
                  </a:lnTo>
                  <a:lnTo>
                    <a:pt x="33903" y="3730"/>
                  </a:lnTo>
                  <a:lnTo>
                    <a:pt x="33021" y="3165"/>
                  </a:lnTo>
                  <a:lnTo>
                    <a:pt x="32117" y="2645"/>
                  </a:lnTo>
                  <a:lnTo>
                    <a:pt x="31190" y="2148"/>
                  </a:lnTo>
                  <a:lnTo>
                    <a:pt x="30219" y="1719"/>
                  </a:lnTo>
                  <a:lnTo>
                    <a:pt x="29224" y="1334"/>
                  </a:lnTo>
                  <a:lnTo>
                    <a:pt x="28207" y="995"/>
                  </a:lnTo>
                  <a:lnTo>
                    <a:pt x="27190" y="702"/>
                  </a:lnTo>
                  <a:lnTo>
                    <a:pt x="26128" y="453"/>
                  </a:lnTo>
                  <a:lnTo>
                    <a:pt x="25608" y="363"/>
                  </a:lnTo>
                  <a:lnTo>
                    <a:pt x="25065" y="272"/>
                  </a:lnTo>
                  <a:lnTo>
                    <a:pt x="24523" y="182"/>
                  </a:lnTo>
                  <a:lnTo>
                    <a:pt x="23981" y="114"/>
                  </a:lnTo>
                  <a:lnTo>
                    <a:pt x="23415" y="69"/>
                  </a:lnTo>
                  <a:lnTo>
                    <a:pt x="22873" y="46"/>
                  </a:lnTo>
                  <a:lnTo>
                    <a:pt x="22308" y="24"/>
                  </a:lnTo>
                  <a:lnTo>
                    <a:pt x="21743" y="1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" name="Google Shape;1730;p16">
              <a:extLst>
                <a:ext uri="{FF2B5EF4-FFF2-40B4-BE49-F238E27FC236}">
                  <a16:creationId xmlns:a16="http://schemas.microsoft.com/office/drawing/2014/main" id="{E6E981D3-A706-975B-0A88-952C3C600C29}"/>
                </a:ext>
              </a:extLst>
            </p:cNvPr>
            <p:cNvSpPr/>
            <p:nvPr/>
          </p:nvSpPr>
          <p:spPr>
            <a:xfrm>
              <a:off x="2133250" y="3456700"/>
              <a:ext cx="102850" cy="102875"/>
            </a:xfrm>
            <a:custGeom>
              <a:avLst/>
              <a:gdLst/>
              <a:ahLst/>
              <a:cxnLst/>
              <a:rect l="l" t="t" r="r" b="b"/>
              <a:pathLst>
                <a:path w="4114" h="4115" extrusionOk="0">
                  <a:moveTo>
                    <a:pt x="1854" y="1"/>
                  </a:moveTo>
                  <a:lnTo>
                    <a:pt x="1650" y="23"/>
                  </a:lnTo>
                  <a:lnTo>
                    <a:pt x="1447" y="91"/>
                  </a:lnTo>
                  <a:lnTo>
                    <a:pt x="1266" y="159"/>
                  </a:lnTo>
                  <a:lnTo>
                    <a:pt x="1085" y="249"/>
                  </a:lnTo>
                  <a:lnTo>
                    <a:pt x="904" y="340"/>
                  </a:lnTo>
                  <a:lnTo>
                    <a:pt x="746" y="453"/>
                  </a:lnTo>
                  <a:lnTo>
                    <a:pt x="610" y="588"/>
                  </a:lnTo>
                  <a:lnTo>
                    <a:pt x="475" y="747"/>
                  </a:lnTo>
                  <a:lnTo>
                    <a:pt x="362" y="905"/>
                  </a:lnTo>
                  <a:lnTo>
                    <a:pt x="249" y="1063"/>
                  </a:lnTo>
                  <a:lnTo>
                    <a:pt x="158" y="1244"/>
                  </a:lnTo>
                  <a:lnTo>
                    <a:pt x="91" y="1447"/>
                  </a:lnTo>
                  <a:lnTo>
                    <a:pt x="45" y="1628"/>
                  </a:lnTo>
                  <a:lnTo>
                    <a:pt x="23" y="1831"/>
                  </a:lnTo>
                  <a:lnTo>
                    <a:pt x="0" y="2057"/>
                  </a:lnTo>
                  <a:lnTo>
                    <a:pt x="23" y="2261"/>
                  </a:lnTo>
                  <a:lnTo>
                    <a:pt x="45" y="2464"/>
                  </a:lnTo>
                  <a:lnTo>
                    <a:pt x="91" y="2668"/>
                  </a:lnTo>
                  <a:lnTo>
                    <a:pt x="158" y="2849"/>
                  </a:lnTo>
                  <a:lnTo>
                    <a:pt x="249" y="3029"/>
                  </a:lnTo>
                  <a:lnTo>
                    <a:pt x="362" y="3210"/>
                  </a:lnTo>
                  <a:lnTo>
                    <a:pt x="475" y="3368"/>
                  </a:lnTo>
                  <a:lnTo>
                    <a:pt x="610" y="3504"/>
                  </a:lnTo>
                  <a:lnTo>
                    <a:pt x="746" y="3640"/>
                  </a:lnTo>
                  <a:lnTo>
                    <a:pt x="904" y="3753"/>
                  </a:lnTo>
                  <a:lnTo>
                    <a:pt x="1085" y="3866"/>
                  </a:lnTo>
                  <a:lnTo>
                    <a:pt x="1266" y="3956"/>
                  </a:lnTo>
                  <a:lnTo>
                    <a:pt x="1447" y="4024"/>
                  </a:lnTo>
                  <a:lnTo>
                    <a:pt x="1650" y="4069"/>
                  </a:lnTo>
                  <a:lnTo>
                    <a:pt x="1854" y="4092"/>
                  </a:lnTo>
                  <a:lnTo>
                    <a:pt x="2057" y="4114"/>
                  </a:lnTo>
                  <a:lnTo>
                    <a:pt x="2283" y="4092"/>
                  </a:lnTo>
                  <a:lnTo>
                    <a:pt x="2486" y="4069"/>
                  </a:lnTo>
                  <a:lnTo>
                    <a:pt x="2667" y="4024"/>
                  </a:lnTo>
                  <a:lnTo>
                    <a:pt x="2871" y="3956"/>
                  </a:lnTo>
                  <a:lnTo>
                    <a:pt x="3051" y="3866"/>
                  </a:lnTo>
                  <a:lnTo>
                    <a:pt x="3210" y="3753"/>
                  </a:lnTo>
                  <a:lnTo>
                    <a:pt x="3368" y="3640"/>
                  </a:lnTo>
                  <a:lnTo>
                    <a:pt x="3526" y="3504"/>
                  </a:lnTo>
                  <a:lnTo>
                    <a:pt x="3639" y="3368"/>
                  </a:lnTo>
                  <a:lnTo>
                    <a:pt x="3775" y="3210"/>
                  </a:lnTo>
                  <a:lnTo>
                    <a:pt x="3865" y="3029"/>
                  </a:lnTo>
                  <a:lnTo>
                    <a:pt x="3955" y="2849"/>
                  </a:lnTo>
                  <a:lnTo>
                    <a:pt x="4023" y="2668"/>
                  </a:lnTo>
                  <a:lnTo>
                    <a:pt x="4068" y="2464"/>
                  </a:lnTo>
                  <a:lnTo>
                    <a:pt x="4114" y="2261"/>
                  </a:lnTo>
                  <a:lnTo>
                    <a:pt x="4114" y="2057"/>
                  </a:lnTo>
                  <a:lnTo>
                    <a:pt x="4114" y="1831"/>
                  </a:lnTo>
                  <a:lnTo>
                    <a:pt x="4068" y="1628"/>
                  </a:lnTo>
                  <a:lnTo>
                    <a:pt x="4023" y="1447"/>
                  </a:lnTo>
                  <a:lnTo>
                    <a:pt x="3955" y="1244"/>
                  </a:lnTo>
                  <a:lnTo>
                    <a:pt x="3865" y="1063"/>
                  </a:lnTo>
                  <a:lnTo>
                    <a:pt x="3775" y="905"/>
                  </a:lnTo>
                  <a:lnTo>
                    <a:pt x="3639" y="747"/>
                  </a:lnTo>
                  <a:lnTo>
                    <a:pt x="3526" y="588"/>
                  </a:lnTo>
                  <a:lnTo>
                    <a:pt x="3368" y="453"/>
                  </a:lnTo>
                  <a:lnTo>
                    <a:pt x="3210" y="340"/>
                  </a:lnTo>
                  <a:lnTo>
                    <a:pt x="3051" y="249"/>
                  </a:lnTo>
                  <a:lnTo>
                    <a:pt x="2871" y="159"/>
                  </a:lnTo>
                  <a:lnTo>
                    <a:pt x="2667" y="91"/>
                  </a:lnTo>
                  <a:lnTo>
                    <a:pt x="2486" y="23"/>
                  </a:lnTo>
                  <a:lnTo>
                    <a:pt x="2283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4" name="Google Shape;1731;p16">
              <a:extLst>
                <a:ext uri="{FF2B5EF4-FFF2-40B4-BE49-F238E27FC236}">
                  <a16:creationId xmlns:a16="http://schemas.microsoft.com/office/drawing/2014/main" id="{02D62B9C-0A05-BDD0-79CC-1E7CFBFEDBFF}"/>
                </a:ext>
              </a:extLst>
            </p:cNvPr>
            <p:cNvSpPr/>
            <p:nvPr/>
          </p:nvSpPr>
          <p:spPr>
            <a:xfrm>
              <a:off x="2487525" y="2579775"/>
              <a:ext cx="520425" cy="1022175"/>
            </a:xfrm>
            <a:custGeom>
              <a:avLst/>
              <a:gdLst/>
              <a:ahLst/>
              <a:cxnLst/>
              <a:rect l="l" t="t" r="r" b="b"/>
              <a:pathLst>
                <a:path w="20817" h="40887" extrusionOk="0">
                  <a:moveTo>
                    <a:pt x="701" y="0"/>
                  </a:moveTo>
                  <a:lnTo>
                    <a:pt x="543" y="23"/>
                  </a:lnTo>
                  <a:lnTo>
                    <a:pt x="407" y="91"/>
                  </a:lnTo>
                  <a:lnTo>
                    <a:pt x="294" y="159"/>
                  </a:lnTo>
                  <a:lnTo>
                    <a:pt x="181" y="249"/>
                  </a:lnTo>
                  <a:lnTo>
                    <a:pt x="113" y="362"/>
                  </a:lnTo>
                  <a:lnTo>
                    <a:pt x="46" y="498"/>
                  </a:lnTo>
                  <a:lnTo>
                    <a:pt x="23" y="633"/>
                  </a:lnTo>
                  <a:lnTo>
                    <a:pt x="0" y="769"/>
                  </a:lnTo>
                  <a:lnTo>
                    <a:pt x="23" y="904"/>
                  </a:lnTo>
                  <a:lnTo>
                    <a:pt x="91" y="1040"/>
                  </a:lnTo>
                  <a:lnTo>
                    <a:pt x="19438" y="40479"/>
                  </a:lnTo>
                  <a:lnTo>
                    <a:pt x="19528" y="40615"/>
                  </a:lnTo>
                  <a:lnTo>
                    <a:pt x="19618" y="40705"/>
                  </a:lnTo>
                  <a:lnTo>
                    <a:pt x="19731" y="40796"/>
                  </a:lnTo>
                  <a:lnTo>
                    <a:pt x="19867" y="40841"/>
                  </a:lnTo>
                  <a:lnTo>
                    <a:pt x="20003" y="40886"/>
                  </a:lnTo>
                  <a:lnTo>
                    <a:pt x="20138" y="40886"/>
                  </a:lnTo>
                  <a:lnTo>
                    <a:pt x="20274" y="40864"/>
                  </a:lnTo>
                  <a:lnTo>
                    <a:pt x="20409" y="40818"/>
                  </a:lnTo>
                  <a:lnTo>
                    <a:pt x="20545" y="40728"/>
                  </a:lnTo>
                  <a:lnTo>
                    <a:pt x="20635" y="40638"/>
                  </a:lnTo>
                  <a:lnTo>
                    <a:pt x="20726" y="40525"/>
                  </a:lnTo>
                  <a:lnTo>
                    <a:pt x="20771" y="40389"/>
                  </a:lnTo>
                  <a:lnTo>
                    <a:pt x="20816" y="40253"/>
                  </a:lnTo>
                  <a:lnTo>
                    <a:pt x="20816" y="40118"/>
                  </a:lnTo>
                  <a:lnTo>
                    <a:pt x="20794" y="39982"/>
                  </a:lnTo>
                  <a:lnTo>
                    <a:pt x="20748" y="39847"/>
                  </a:lnTo>
                  <a:lnTo>
                    <a:pt x="1379" y="407"/>
                  </a:lnTo>
                  <a:lnTo>
                    <a:pt x="1311" y="294"/>
                  </a:lnTo>
                  <a:lnTo>
                    <a:pt x="1198" y="181"/>
                  </a:lnTo>
                  <a:lnTo>
                    <a:pt x="1085" y="113"/>
                  </a:lnTo>
                  <a:lnTo>
                    <a:pt x="972" y="46"/>
                  </a:lnTo>
                  <a:lnTo>
                    <a:pt x="837" y="23"/>
                  </a:lnTo>
                  <a:lnTo>
                    <a:pt x="701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5" name="Google Shape;1732;p16">
              <a:extLst>
                <a:ext uri="{FF2B5EF4-FFF2-40B4-BE49-F238E27FC236}">
                  <a16:creationId xmlns:a16="http://schemas.microsoft.com/office/drawing/2014/main" id="{9B6EAE02-4819-1E2E-D7D9-D51B5B4F0BD8}"/>
                </a:ext>
              </a:extLst>
            </p:cNvPr>
            <p:cNvSpPr/>
            <p:nvPr/>
          </p:nvSpPr>
          <p:spPr>
            <a:xfrm>
              <a:off x="2154725" y="2661150"/>
              <a:ext cx="453175" cy="873000"/>
            </a:xfrm>
            <a:custGeom>
              <a:avLst/>
              <a:gdLst/>
              <a:ahLst/>
              <a:cxnLst/>
              <a:rect l="l" t="t" r="r" b="b"/>
              <a:pathLst>
                <a:path w="18127" h="34920" extrusionOk="0">
                  <a:moveTo>
                    <a:pt x="16816" y="0"/>
                  </a:moveTo>
                  <a:lnTo>
                    <a:pt x="0" y="34264"/>
                  </a:lnTo>
                  <a:lnTo>
                    <a:pt x="1288" y="34919"/>
                  </a:lnTo>
                  <a:lnTo>
                    <a:pt x="18126" y="633"/>
                  </a:lnTo>
                  <a:lnTo>
                    <a:pt x="16816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6" name="Google Shape;1733;p16">
              <a:extLst>
                <a:ext uri="{FF2B5EF4-FFF2-40B4-BE49-F238E27FC236}">
                  <a16:creationId xmlns:a16="http://schemas.microsoft.com/office/drawing/2014/main" id="{2861FD5A-67F5-5AB8-5D36-F002FABB2D19}"/>
                </a:ext>
              </a:extLst>
            </p:cNvPr>
            <p:cNvSpPr/>
            <p:nvPr/>
          </p:nvSpPr>
          <p:spPr>
            <a:xfrm>
              <a:off x="2645175" y="3545425"/>
              <a:ext cx="130550" cy="95500"/>
            </a:xfrm>
            <a:custGeom>
              <a:avLst/>
              <a:gdLst/>
              <a:ahLst/>
              <a:cxnLst/>
              <a:rect l="l" t="t" r="r" b="b"/>
              <a:pathLst>
                <a:path w="5222" h="3820" extrusionOk="0">
                  <a:moveTo>
                    <a:pt x="701" y="0"/>
                  </a:moveTo>
                  <a:lnTo>
                    <a:pt x="565" y="23"/>
                  </a:lnTo>
                  <a:lnTo>
                    <a:pt x="430" y="68"/>
                  </a:lnTo>
                  <a:lnTo>
                    <a:pt x="317" y="136"/>
                  </a:lnTo>
                  <a:lnTo>
                    <a:pt x="204" y="226"/>
                  </a:lnTo>
                  <a:lnTo>
                    <a:pt x="113" y="339"/>
                  </a:lnTo>
                  <a:lnTo>
                    <a:pt x="45" y="475"/>
                  </a:lnTo>
                  <a:lnTo>
                    <a:pt x="23" y="610"/>
                  </a:lnTo>
                  <a:lnTo>
                    <a:pt x="0" y="746"/>
                  </a:lnTo>
                  <a:lnTo>
                    <a:pt x="23" y="882"/>
                  </a:lnTo>
                  <a:lnTo>
                    <a:pt x="68" y="1017"/>
                  </a:lnTo>
                  <a:lnTo>
                    <a:pt x="136" y="1153"/>
                  </a:lnTo>
                  <a:lnTo>
                    <a:pt x="226" y="1243"/>
                  </a:lnTo>
                  <a:lnTo>
                    <a:pt x="339" y="1334"/>
                  </a:lnTo>
                  <a:lnTo>
                    <a:pt x="4114" y="3707"/>
                  </a:lnTo>
                  <a:lnTo>
                    <a:pt x="4249" y="3775"/>
                  </a:lnTo>
                  <a:lnTo>
                    <a:pt x="4385" y="3820"/>
                  </a:lnTo>
                  <a:lnTo>
                    <a:pt x="4520" y="3820"/>
                  </a:lnTo>
                  <a:lnTo>
                    <a:pt x="4656" y="3797"/>
                  </a:lnTo>
                  <a:lnTo>
                    <a:pt x="4792" y="3752"/>
                  </a:lnTo>
                  <a:lnTo>
                    <a:pt x="4905" y="3684"/>
                  </a:lnTo>
                  <a:lnTo>
                    <a:pt x="5018" y="3594"/>
                  </a:lnTo>
                  <a:lnTo>
                    <a:pt x="5108" y="3481"/>
                  </a:lnTo>
                  <a:lnTo>
                    <a:pt x="5176" y="3345"/>
                  </a:lnTo>
                  <a:lnTo>
                    <a:pt x="5198" y="3210"/>
                  </a:lnTo>
                  <a:lnTo>
                    <a:pt x="5221" y="3074"/>
                  </a:lnTo>
                  <a:lnTo>
                    <a:pt x="5198" y="2938"/>
                  </a:lnTo>
                  <a:lnTo>
                    <a:pt x="5153" y="2803"/>
                  </a:lnTo>
                  <a:lnTo>
                    <a:pt x="5085" y="2690"/>
                  </a:lnTo>
                  <a:lnTo>
                    <a:pt x="4995" y="2577"/>
                  </a:lnTo>
                  <a:lnTo>
                    <a:pt x="4882" y="2486"/>
                  </a:lnTo>
                  <a:lnTo>
                    <a:pt x="1108" y="113"/>
                  </a:lnTo>
                  <a:lnTo>
                    <a:pt x="972" y="45"/>
                  </a:lnTo>
                  <a:lnTo>
                    <a:pt x="836" y="23"/>
                  </a:lnTo>
                  <a:lnTo>
                    <a:pt x="701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7" name="Google Shape;1734;p16">
              <a:extLst>
                <a:ext uri="{FF2B5EF4-FFF2-40B4-BE49-F238E27FC236}">
                  <a16:creationId xmlns:a16="http://schemas.microsoft.com/office/drawing/2014/main" id="{7B160685-20F0-D10D-44EA-5F67F00EF46D}"/>
                </a:ext>
              </a:extLst>
            </p:cNvPr>
            <p:cNvSpPr/>
            <p:nvPr/>
          </p:nvSpPr>
          <p:spPr>
            <a:xfrm>
              <a:off x="3126575" y="3565750"/>
              <a:ext cx="142975" cy="66150"/>
            </a:xfrm>
            <a:custGeom>
              <a:avLst/>
              <a:gdLst/>
              <a:ahLst/>
              <a:cxnLst/>
              <a:rect l="l" t="t" r="r" b="b"/>
              <a:pathLst>
                <a:path w="5719" h="2646" extrusionOk="0">
                  <a:moveTo>
                    <a:pt x="611" y="1"/>
                  </a:moveTo>
                  <a:lnTo>
                    <a:pt x="475" y="46"/>
                  </a:lnTo>
                  <a:lnTo>
                    <a:pt x="362" y="91"/>
                  </a:lnTo>
                  <a:lnTo>
                    <a:pt x="249" y="182"/>
                  </a:lnTo>
                  <a:lnTo>
                    <a:pt x="159" y="272"/>
                  </a:lnTo>
                  <a:lnTo>
                    <a:pt x="68" y="408"/>
                  </a:lnTo>
                  <a:lnTo>
                    <a:pt x="23" y="543"/>
                  </a:lnTo>
                  <a:lnTo>
                    <a:pt x="1" y="679"/>
                  </a:lnTo>
                  <a:lnTo>
                    <a:pt x="1" y="814"/>
                  </a:lnTo>
                  <a:lnTo>
                    <a:pt x="23" y="950"/>
                  </a:lnTo>
                  <a:lnTo>
                    <a:pt x="91" y="1086"/>
                  </a:lnTo>
                  <a:lnTo>
                    <a:pt x="159" y="1199"/>
                  </a:lnTo>
                  <a:lnTo>
                    <a:pt x="272" y="1289"/>
                  </a:lnTo>
                  <a:lnTo>
                    <a:pt x="385" y="1379"/>
                  </a:lnTo>
                  <a:lnTo>
                    <a:pt x="520" y="1425"/>
                  </a:lnTo>
                  <a:lnTo>
                    <a:pt x="4815" y="2600"/>
                  </a:lnTo>
                  <a:lnTo>
                    <a:pt x="4950" y="2645"/>
                  </a:lnTo>
                  <a:lnTo>
                    <a:pt x="5086" y="2623"/>
                  </a:lnTo>
                  <a:lnTo>
                    <a:pt x="5221" y="2600"/>
                  </a:lnTo>
                  <a:lnTo>
                    <a:pt x="5357" y="2532"/>
                  </a:lnTo>
                  <a:lnTo>
                    <a:pt x="5470" y="2464"/>
                  </a:lnTo>
                  <a:lnTo>
                    <a:pt x="5561" y="2374"/>
                  </a:lnTo>
                  <a:lnTo>
                    <a:pt x="5651" y="2238"/>
                  </a:lnTo>
                  <a:lnTo>
                    <a:pt x="5696" y="2103"/>
                  </a:lnTo>
                  <a:lnTo>
                    <a:pt x="5719" y="1967"/>
                  </a:lnTo>
                  <a:lnTo>
                    <a:pt x="5719" y="1832"/>
                  </a:lnTo>
                  <a:lnTo>
                    <a:pt x="5696" y="1673"/>
                  </a:lnTo>
                  <a:lnTo>
                    <a:pt x="5628" y="1560"/>
                  </a:lnTo>
                  <a:lnTo>
                    <a:pt x="5561" y="1447"/>
                  </a:lnTo>
                  <a:lnTo>
                    <a:pt x="5448" y="1357"/>
                  </a:lnTo>
                  <a:lnTo>
                    <a:pt x="5335" y="1266"/>
                  </a:lnTo>
                  <a:lnTo>
                    <a:pt x="5199" y="1221"/>
                  </a:lnTo>
                  <a:lnTo>
                    <a:pt x="905" y="23"/>
                  </a:lnTo>
                  <a:lnTo>
                    <a:pt x="769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8" name="Google Shape;1735;p16">
              <a:extLst>
                <a:ext uri="{FF2B5EF4-FFF2-40B4-BE49-F238E27FC236}">
                  <a16:creationId xmlns:a16="http://schemas.microsoft.com/office/drawing/2014/main" id="{CD649AFC-1107-9A86-9E8E-F29D51A5D7B6}"/>
                </a:ext>
              </a:extLst>
            </p:cNvPr>
            <p:cNvSpPr/>
            <p:nvPr/>
          </p:nvSpPr>
          <p:spPr>
            <a:xfrm>
              <a:off x="2871175" y="3429575"/>
              <a:ext cx="211350" cy="211350"/>
            </a:xfrm>
            <a:custGeom>
              <a:avLst/>
              <a:gdLst/>
              <a:ahLst/>
              <a:cxnLst/>
              <a:rect l="l" t="t" r="r" b="b"/>
              <a:pathLst>
                <a:path w="8454" h="8454" extrusionOk="0">
                  <a:moveTo>
                    <a:pt x="4227" y="1"/>
                  </a:moveTo>
                  <a:lnTo>
                    <a:pt x="3798" y="23"/>
                  </a:lnTo>
                  <a:lnTo>
                    <a:pt x="3368" y="91"/>
                  </a:lnTo>
                  <a:lnTo>
                    <a:pt x="2962" y="182"/>
                  </a:lnTo>
                  <a:lnTo>
                    <a:pt x="2577" y="340"/>
                  </a:lnTo>
                  <a:lnTo>
                    <a:pt x="2193" y="521"/>
                  </a:lnTo>
                  <a:lnTo>
                    <a:pt x="1854" y="724"/>
                  </a:lnTo>
                  <a:lnTo>
                    <a:pt x="1538" y="973"/>
                  </a:lnTo>
                  <a:lnTo>
                    <a:pt x="1221" y="1244"/>
                  </a:lnTo>
                  <a:lnTo>
                    <a:pt x="950" y="1538"/>
                  </a:lnTo>
                  <a:lnTo>
                    <a:pt x="724" y="1854"/>
                  </a:lnTo>
                  <a:lnTo>
                    <a:pt x="498" y="2216"/>
                  </a:lnTo>
                  <a:lnTo>
                    <a:pt x="317" y="2577"/>
                  </a:lnTo>
                  <a:lnTo>
                    <a:pt x="182" y="2962"/>
                  </a:lnTo>
                  <a:lnTo>
                    <a:pt x="69" y="3368"/>
                  </a:lnTo>
                  <a:lnTo>
                    <a:pt x="23" y="3798"/>
                  </a:lnTo>
                  <a:lnTo>
                    <a:pt x="1" y="4227"/>
                  </a:lnTo>
                  <a:lnTo>
                    <a:pt x="23" y="4657"/>
                  </a:lnTo>
                  <a:lnTo>
                    <a:pt x="69" y="5086"/>
                  </a:lnTo>
                  <a:lnTo>
                    <a:pt x="182" y="5493"/>
                  </a:lnTo>
                  <a:lnTo>
                    <a:pt x="317" y="5877"/>
                  </a:lnTo>
                  <a:lnTo>
                    <a:pt x="498" y="6239"/>
                  </a:lnTo>
                  <a:lnTo>
                    <a:pt x="724" y="6600"/>
                  </a:lnTo>
                  <a:lnTo>
                    <a:pt x="950" y="6917"/>
                  </a:lnTo>
                  <a:lnTo>
                    <a:pt x="1221" y="7211"/>
                  </a:lnTo>
                  <a:lnTo>
                    <a:pt x="1538" y="7482"/>
                  </a:lnTo>
                  <a:lnTo>
                    <a:pt x="1854" y="7731"/>
                  </a:lnTo>
                  <a:lnTo>
                    <a:pt x="2193" y="7957"/>
                  </a:lnTo>
                  <a:lnTo>
                    <a:pt x="2577" y="8115"/>
                  </a:lnTo>
                  <a:lnTo>
                    <a:pt x="2962" y="8273"/>
                  </a:lnTo>
                  <a:lnTo>
                    <a:pt x="3368" y="8363"/>
                  </a:lnTo>
                  <a:lnTo>
                    <a:pt x="3798" y="8431"/>
                  </a:lnTo>
                  <a:lnTo>
                    <a:pt x="4227" y="8454"/>
                  </a:lnTo>
                  <a:lnTo>
                    <a:pt x="4657" y="8431"/>
                  </a:lnTo>
                  <a:lnTo>
                    <a:pt x="5063" y="8363"/>
                  </a:lnTo>
                  <a:lnTo>
                    <a:pt x="5470" y="8273"/>
                  </a:lnTo>
                  <a:lnTo>
                    <a:pt x="5854" y="8115"/>
                  </a:lnTo>
                  <a:lnTo>
                    <a:pt x="6239" y="7957"/>
                  </a:lnTo>
                  <a:lnTo>
                    <a:pt x="6578" y="7731"/>
                  </a:lnTo>
                  <a:lnTo>
                    <a:pt x="6917" y="7482"/>
                  </a:lnTo>
                  <a:lnTo>
                    <a:pt x="7211" y="7211"/>
                  </a:lnTo>
                  <a:lnTo>
                    <a:pt x="7482" y="6917"/>
                  </a:lnTo>
                  <a:lnTo>
                    <a:pt x="7730" y="6600"/>
                  </a:lnTo>
                  <a:lnTo>
                    <a:pt x="7934" y="6239"/>
                  </a:lnTo>
                  <a:lnTo>
                    <a:pt x="8115" y="5877"/>
                  </a:lnTo>
                  <a:lnTo>
                    <a:pt x="8250" y="5493"/>
                  </a:lnTo>
                  <a:lnTo>
                    <a:pt x="8363" y="5086"/>
                  </a:lnTo>
                  <a:lnTo>
                    <a:pt x="8431" y="4657"/>
                  </a:lnTo>
                  <a:lnTo>
                    <a:pt x="8454" y="4227"/>
                  </a:lnTo>
                  <a:lnTo>
                    <a:pt x="8431" y="3798"/>
                  </a:lnTo>
                  <a:lnTo>
                    <a:pt x="8363" y="3368"/>
                  </a:lnTo>
                  <a:lnTo>
                    <a:pt x="8250" y="2962"/>
                  </a:lnTo>
                  <a:lnTo>
                    <a:pt x="8115" y="2577"/>
                  </a:lnTo>
                  <a:lnTo>
                    <a:pt x="7934" y="2216"/>
                  </a:lnTo>
                  <a:lnTo>
                    <a:pt x="7730" y="1854"/>
                  </a:lnTo>
                  <a:lnTo>
                    <a:pt x="7482" y="1538"/>
                  </a:lnTo>
                  <a:lnTo>
                    <a:pt x="7211" y="1244"/>
                  </a:lnTo>
                  <a:lnTo>
                    <a:pt x="6917" y="973"/>
                  </a:lnTo>
                  <a:lnTo>
                    <a:pt x="6578" y="724"/>
                  </a:lnTo>
                  <a:lnTo>
                    <a:pt x="6239" y="521"/>
                  </a:lnTo>
                  <a:lnTo>
                    <a:pt x="5854" y="340"/>
                  </a:lnTo>
                  <a:lnTo>
                    <a:pt x="5470" y="182"/>
                  </a:lnTo>
                  <a:lnTo>
                    <a:pt x="5063" y="91"/>
                  </a:lnTo>
                  <a:lnTo>
                    <a:pt x="4657" y="23"/>
                  </a:lnTo>
                  <a:lnTo>
                    <a:pt x="4227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9" name="Google Shape;1736;p16">
              <a:extLst>
                <a:ext uri="{FF2B5EF4-FFF2-40B4-BE49-F238E27FC236}">
                  <a16:creationId xmlns:a16="http://schemas.microsoft.com/office/drawing/2014/main" id="{439C37B5-64D7-9A7C-CD37-88FA3C3C5678}"/>
                </a:ext>
              </a:extLst>
            </p:cNvPr>
            <p:cNvSpPr/>
            <p:nvPr/>
          </p:nvSpPr>
          <p:spPr>
            <a:xfrm>
              <a:off x="6799875" y="3434675"/>
              <a:ext cx="102850" cy="102850"/>
            </a:xfrm>
            <a:custGeom>
              <a:avLst/>
              <a:gdLst/>
              <a:ahLst/>
              <a:cxnLst/>
              <a:rect l="l" t="t" r="r" b="b"/>
              <a:pathLst>
                <a:path w="4114" h="4114" extrusionOk="0">
                  <a:moveTo>
                    <a:pt x="1854" y="0"/>
                  </a:moveTo>
                  <a:lnTo>
                    <a:pt x="1628" y="45"/>
                  </a:lnTo>
                  <a:lnTo>
                    <a:pt x="1447" y="91"/>
                  </a:lnTo>
                  <a:lnTo>
                    <a:pt x="1244" y="159"/>
                  </a:lnTo>
                  <a:lnTo>
                    <a:pt x="1063" y="249"/>
                  </a:lnTo>
                  <a:lnTo>
                    <a:pt x="905" y="362"/>
                  </a:lnTo>
                  <a:lnTo>
                    <a:pt x="746" y="475"/>
                  </a:lnTo>
                  <a:lnTo>
                    <a:pt x="588" y="611"/>
                  </a:lnTo>
                  <a:lnTo>
                    <a:pt x="475" y="746"/>
                  </a:lnTo>
                  <a:lnTo>
                    <a:pt x="340" y="904"/>
                  </a:lnTo>
                  <a:lnTo>
                    <a:pt x="249" y="1085"/>
                  </a:lnTo>
                  <a:lnTo>
                    <a:pt x="159" y="1266"/>
                  </a:lnTo>
                  <a:lnTo>
                    <a:pt x="91" y="1447"/>
                  </a:lnTo>
                  <a:lnTo>
                    <a:pt x="46" y="1650"/>
                  </a:lnTo>
                  <a:lnTo>
                    <a:pt x="1" y="1854"/>
                  </a:lnTo>
                  <a:lnTo>
                    <a:pt x="1" y="2057"/>
                  </a:lnTo>
                  <a:lnTo>
                    <a:pt x="1" y="2260"/>
                  </a:lnTo>
                  <a:lnTo>
                    <a:pt x="46" y="2464"/>
                  </a:lnTo>
                  <a:lnTo>
                    <a:pt x="91" y="2667"/>
                  </a:lnTo>
                  <a:lnTo>
                    <a:pt x="159" y="2871"/>
                  </a:lnTo>
                  <a:lnTo>
                    <a:pt x="249" y="3029"/>
                  </a:lnTo>
                  <a:lnTo>
                    <a:pt x="340" y="3210"/>
                  </a:lnTo>
                  <a:lnTo>
                    <a:pt x="475" y="3368"/>
                  </a:lnTo>
                  <a:lnTo>
                    <a:pt x="588" y="3504"/>
                  </a:lnTo>
                  <a:lnTo>
                    <a:pt x="746" y="3639"/>
                  </a:lnTo>
                  <a:lnTo>
                    <a:pt x="905" y="3775"/>
                  </a:lnTo>
                  <a:lnTo>
                    <a:pt x="1063" y="3865"/>
                  </a:lnTo>
                  <a:lnTo>
                    <a:pt x="1244" y="3956"/>
                  </a:lnTo>
                  <a:lnTo>
                    <a:pt x="1447" y="4023"/>
                  </a:lnTo>
                  <a:lnTo>
                    <a:pt x="1628" y="4069"/>
                  </a:lnTo>
                  <a:lnTo>
                    <a:pt x="1854" y="4114"/>
                  </a:lnTo>
                  <a:lnTo>
                    <a:pt x="2261" y="4114"/>
                  </a:lnTo>
                  <a:lnTo>
                    <a:pt x="2464" y="4069"/>
                  </a:lnTo>
                  <a:lnTo>
                    <a:pt x="2668" y="4023"/>
                  </a:lnTo>
                  <a:lnTo>
                    <a:pt x="2848" y="3956"/>
                  </a:lnTo>
                  <a:lnTo>
                    <a:pt x="3029" y="3865"/>
                  </a:lnTo>
                  <a:lnTo>
                    <a:pt x="3210" y="3775"/>
                  </a:lnTo>
                  <a:lnTo>
                    <a:pt x="3368" y="3639"/>
                  </a:lnTo>
                  <a:lnTo>
                    <a:pt x="3504" y="3504"/>
                  </a:lnTo>
                  <a:lnTo>
                    <a:pt x="3639" y="3368"/>
                  </a:lnTo>
                  <a:lnTo>
                    <a:pt x="3752" y="3210"/>
                  </a:lnTo>
                  <a:lnTo>
                    <a:pt x="3865" y="3029"/>
                  </a:lnTo>
                  <a:lnTo>
                    <a:pt x="3956" y="2871"/>
                  </a:lnTo>
                  <a:lnTo>
                    <a:pt x="4024" y="2667"/>
                  </a:lnTo>
                  <a:lnTo>
                    <a:pt x="4069" y="2464"/>
                  </a:lnTo>
                  <a:lnTo>
                    <a:pt x="4091" y="2260"/>
                  </a:lnTo>
                  <a:lnTo>
                    <a:pt x="4114" y="2057"/>
                  </a:lnTo>
                  <a:lnTo>
                    <a:pt x="4091" y="1854"/>
                  </a:lnTo>
                  <a:lnTo>
                    <a:pt x="4069" y="1650"/>
                  </a:lnTo>
                  <a:lnTo>
                    <a:pt x="4024" y="1447"/>
                  </a:lnTo>
                  <a:lnTo>
                    <a:pt x="3956" y="1266"/>
                  </a:lnTo>
                  <a:lnTo>
                    <a:pt x="3865" y="1085"/>
                  </a:lnTo>
                  <a:lnTo>
                    <a:pt x="3752" y="904"/>
                  </a:lnTo>
                  <a:lnTo>
                    <a:pt x="3639" y="746"/>
                  </a:lnTo>
                  <a:lnTo>
                    <a:pt x="3504" y="611"/>
                  </a:lnTo>
                  <a:lnTo>
                    <a:pt x="3368" y="475"/>
                  </a:lnTo>
                  <a:lnTo>
                    <a:pt x="3210" y="362"/>
                  </a:lnTo>
                  <a:lnTo>
                    <a:pt x="3029" y="249"/>
                  </a:lnTo>
                  <a:lnTo>
                    <a:pt x="2848" y="159"/>
                  </a:lnTo>
                  <a:lnTo>
                    <a:pt x="2668" y="91"/>
                  </a:lnTo>
                  <a:lnTo>
                    <a:pt x="2464" y="45"/>
                  </a:lnTo>
                  <a:lnTo>
                    <a:pt x="2261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0" name="Google Shape;1737;p16">
              <a:extLst>
                <a:ext uri="{FF2B5EF4-FFF2-40B4-BE49-F238E27FC236}">
                  <a16:creationId xmlns:a16="http://schemas.microsoft.com/office/drawing/2014/main" id="{7930C080-636D-6014-1A35-CBA3447FA873}"/>
                </a:ext>
              </a:extLst>
            </p:cNvPr>
            <p:cNvSpPr/>
            <p:nvPr/>
          </p:nvSpPr>
          <p:spPr>
            <a:xfrm>
              <a:off x="4609225" y="3009775"/>
              <a:ext cx="205150" cy="555450"/>
            </a:xfrm>
            <a:custGeom>
              <a:avLst/>
              <a:gdLst/>
              <a:ahLst/>
              <a:cxnLst/>
              <a:rect l="l" t="t" r="r" b="b"/>
              <a:pathLst>
                <a:path w="8206" h="22218" extrusionOk="0">
                  <a:moveTo>
                    <a:pt x="5086" y="0"/>
                  </a:moveTo>
                  <a:lnTo>
                    <a:pt x="4770" y="1424"/>
                  </a:lnTo>
                  <a:lnTo>
                    <a:pt x="4318" y="3661"/>
                  </a:lnTo>
                  <a:lnTo>
                    <a:pt x="3120" y="9493"/>
                  </a:lnTo>
                  <a:lnTo>
                    <a:pt x="2510" y="12476"/>
                  </a:lnTo>
                  <a:lnTo>
                    <a:pt x="1899" y="15120"/>
                  </a:lnTo>
                  <a:lnTo>
                    <a:pt x="1628" y="16228"/>
                  </a:lnTo>
                  <a:lnTo>
                    <a:pt x="1402" y="17132"/>
                  </a:lnTo>
                  <a:lnTo>
                    <a:pt x="1199" y="17833"/>
                  </a:lnTo>
                  <a:lnTo>
                    <a:pt x="1108" y="18081"/>
                  </a:lnTo>
                  <a:lnTo>
                    <a:pt x="1040" y="18239"/>
                  </a:lnTo>
                  <a:lnTo>
                    <a:pt x="860" y="18556"/>
                  </a:lnTo>
                  <a:lnTo>
                    <a:pt x="679" y="18850"/>
                  </a:lnTo>
                  <a:lnTo>
                    <a:pt x="295" y="19460"/>
                  </a:lnTo>
                  <a:lnTo>
                    <a:pt x="136" y="19731"/>
                  </a:lnTo>
                  <a:lnTo>
                    <a:pt x="46" y="19980"/>
                  </a:lnTo>
                  <a:lnTo>
                    <a:pt x="1" y="20093"/>
                  </a:lnTo>
                  <a:lnTo>
                    <a:pt x="1" y="20206"/>
                  </a:lnTo>
                  <a:lnTo>
                    <a:pt x="1" y="20296"/>
                  </a:lnTo>
                  <a:lnTo>
                    <a:pt x="46" y="20364"/>
                  </a:lnTo>
                  <a:lnTo>
                    <a:pt x="159" y="20522"/>
                  </a:lnTo>
                  <a:lnTo>
                    <a:pt x="272" y="20658"/>
                  </a:lnTo>
                  <a:lnTo>
                    <a:pt x="385" y="20748"/>
                  </a:lnTo>
                  <a:lnTo>
                    <a:pt x="521" y="20839"/>
                  </a:lnTo>
                  <a:lnTo>
                    <a:pt x="634" y="20884"/>
                  </a:lnTo>
                  <a:lnTo>
                    <a:pt x="769" y="20929"/>
                  </a:lnTo>
                  <a:lnTo>
                    <a:pt x="1086" y="20952"/>
                  </a:lnTo>
                  <a:lnTo>
                    <a:pt x="1447" y="20974"/>
                  </a:lnTo>
                  <a:lnTo>
                    <a:pt x="1899" y="21019"/>
                  </a:lnTo>
                  <a:lnTo>
                    <a:pt x="2148" y="21065"/>
                  </a:lnTo>
                  <a:lnTo>
                    <a:pt x="2419" y="21132"/>
                  </a:lnTo>
                  <a:lnTo>
                    <a:pt x="2736" y="21223"/>
                  </a:lnTo>
                  <a:lnTo>
                    <a:pt x="3075" y="21336"/>
                  </a:lnTo>
                  <a:lnTo>
                    <a:pt x="3798" y="21584"/>
                  </a:lnTo>
                  <a:lnTo>
                    <a:pt x="4476" y="21788"/>
                  </a:lnTo>
                  <a:lnTo>
                    <a:pt x="5109" y="21969"/>
                  </a:lnTo>
                  <a:lnTo>
                    <a:pt x="5719" y="22104"/>
                  </a:lnTo>
                  <a:lnTo>
                    <a:pt x="6284" y="22172"/>
                  </a:lnTo>
                  <a:lnTo>
                    <a:pt x="6781" y="22217"/>
                  </a:lnTo>
                  <a:lnTo>
                    <a:pt x="7030" y="22217"/>
                  </a:lnTo>
                  <a:lnTo>
                    <a:pt x="7233" y="22195"/>
                  </a:lnTo>
                  <a:lnTo>
                    <a:pt x="7459" y="22149"/>
                  </a:lnTo>
                  <a:lnTo>
                    <a:pt x="7640" y="22104"/>
                  </a:lnTo>
                  <a:lnTo>
                    <a:pt x="7843" y="21991"/>
                  </a:lnTo>
                  <a:lnTo>
                    <a:pt x="7934" y="21923"/>
                  </a:lnTo>
                  <a:lnTo>
                    <a:pt x="8024" y="21856"/>
                  </a:lnTo>
                  <a:lnTo>
                    <a:pt x="8092" y="21765"/>
                  </a:lnTo>
                  <a:lnTo>
                    <a:pt x="8137" y="21675"/>
                  </a:lnTo>
                  <a:lnTo>
                    <a:pt x="8182" y="21562"/>
                  </a:lnTo>
                  <a:lnTo>
                    <a:pt x="8205" y="21471"/>
                  </a:lnTo>
                  <a:lnTo>
                    <a:pt x="8205" y="21358"/>
                  </a:lnTo>
                  <a:lnTo>
                    <a:pt x="8182" y="21245"/>
                  </a:lnTo>
                  <a:lnTo>
                    <a:pt x="8115" y="21132"/>
                  </a:lnTo>
                  <a:lnTo>
                    <a:pt x="8024" y="21019"/>
                  </a:lnTo>
                  <a:lnTo>
                    <a:pt x="7911" y="20906"/>
                  </a:lnTo>
                  <a:lnTo>
                    <a:pt x="7753" y="20793"/>
                  </a:lnTo>
                  <a:lnTo>
                    <a:pt x="7550" y="20703"/>
                  </a:lnTo>
                  <a:lnTo>
                    <a:pt x="7301" y="20613"/>
                  </a:lnTo>
                  <a:lnTo>
                    <a:pt x="6804" y="20409"/>
                  </a:lnTo>
                  <a:lnTo>
                    <a:pt x="6307" y="20183"/>
                  </a:lnTo>
                  <a:lnTo>
                    <a:pt x="5832" y="19912"/>
                  </a:lnTo>
                  <a:lnTo>
                    <a:pt x="5425" y="19641"/>
                  </a:lnTo>
                  <a:lnTo>
                    <a:pt x="5063" y="19347"/>
                  </a:lnTo>
                  <a:lnTo>
                    <a:pt x="4905" y="19189"/>
                  </a:lnTo>
                  <a:lnTo>
                    <a:pt x="4770" y="19030"/>
                  </a:lnTo>
                  <a:lnTo>
                    <a:pt x="4657" y="18872"/>
                  </a:lnTo>
                  <a:lnTo>
                    <a:pt x="4566" y="18714"/>
                  </a:lnTo>
                  <a:lnTo>
                    <a:pt x="4498" y="18556"/>
                  </a:lnTo>
                  <a:lnTo>
                    <a:pt x="4453" y="18375"/>
                  </a:lnTo>
                  <a:lnTo>
                    <a:pt x="4431" y="18262"/>
                  </a:lnTo>
                  <a:lnTo>
                    <a:pt x="4453" y="18036"/>
                  </a:lnTo>
                  <a:lnTo>
                    <a:pt x="4521" y="17381"/>
                  </a:lnTo>
                  <a:lnTo>
                    <a:pt x="4657" y="16431"/>
                  </a:lnTo>
                  <a:lnTo>
                    <a:pt x="4837" y="15256"/>
                  </a:lnTo>
                  <a:lnTo>
                    <a:pt x="5335" y="12431"/>
                  </a:lnTo>
                  <a:lnTo>
                    <a:pt x="5900" y="9267"/>
                  </a:lnTo>
                  <a:lnTo>
                    <a:pt x="6985" y="3413"/>
                  </a:lnTo>
                  <a:lnTo>
                    <a:pt x="7504" y="791"/>
                  </a:lnTo>
                  <a:lnTo>
                    <a:pt x="5086" y="0"/>
                  </a:lnTo>
                  <a:close/>
                </a:path>
              </a:pathLst>
            </a:custGeom>
            <a:solidFill>
              <a:srgbClr val="3331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1" name="Google Shape;1738;p16">
              <a:extLst>
                <a:ext uri="{FF2B5EF4-FFF2-40B4-BE49-F238E27FC236}">
                  <a16:creationId xmlns:a16="http://schemas.microsoft.com/office/drawing/2014/main" id="{84754F23-A3E5-5A37-AFED-C281F31597CC}"/>
                </a:ext>
              </a:extLst>
            </p:cNvPr>
            <p:cNvSpPr/>
            <p:nvPr/>
          </p:nvSpPr>
          <p:spPr>
            <a:xfrm>
              <a:off x="4609225" y="3009775"/>
              <a:ext cx="205150" cy="555450"/>
            </a:xfrm>
            <a:custGeom>
              <a:avLst/>
              <a:gdLst/>
              <a:ahLst/>
              <a:cxnLst/>
              <a:rect l="l" t="t" r="r" b="b"/>
              <a:pathLst>
                <a:path w="8206" h="22218" fill="none" extrusionOk="0">
                  <a:moveTo>
                    <a:pt x="5086" y="0"/>
                  </a:moveTo>
                  <a:lnTo>
                    <a:pt x="5086" y="0"/>
                  </a:lnTo>
                  <a:lnTo>
                    <a:pt x="4770" y="1424"/>
                  </a:lnTo>
                  <a:lnTo>
                    <a:pt x="4318" y="3661"/>
                  </a:lnTo>
                  <a:lnTo>
                    <a:pt x="3120" y="9493"/>
                  </a:lnTo>
                  <a:lnTo>
                    <a:pt x="2510" y="12476"/>
                  </a:lnTo>
                  <a:lnTo>
                    <a:pt x="1899" y="15120"/>
                  </a:lnTo>
                  <a:lnTo>
                    <a:pt x="1628" y="16228"/>
                  </a:lnTo>
                  <a:lnTo>
                    <a:pt x="1402" y="17132"/>
                  </a:lnTo>
                  <a:lnTo>
                    <a:pt x="1199" y="17833"/>
                  </a:lnTo>
                  <a:lnTo>
                    <a:pt x="1108" y="18081"/>
                  </a:lnTo>
                  <a:lnTo>
                    <a:pt x="1040" y="18239"/>
                  </a:lnTo>
                  <a:lnTo>
                    <a:pt x="1040" y="18239"/>
                  </a:lnTo>
                  <a:lnTo>
                    <a:pt x="860" y="18556"/>
                  </a:lnTo>
                  <a:lnTo>
                    <a:pt x="679" y="18850"/>
                  </a:lnTo>
                  <a:lnTo>
                    <a:pt x="295" y="19460"/>
                  </a:lnTo>
                  <a:lnTo>
                    <a:pt x="136" y="19731"/>
                  </a:lnTo>
                  <a:lnTo>
                    <a:pt x="46" y="19980"/>
                  </a:lnTo>
                  <a:lnTo>
                    <a:pt x="1" y="20093"/>
                  </a:lnTo>
                  <a:lnTo>
                    <a:pt x="1" y="20206"/>
                  </a:lnTo>
                  <a:lnTo>
                    <a:pt x="1" y="20296"/>
                  </a:lnTo>
                  <a:lnTo>
                    <a:pt x="46" y="20364"/>
                  </a:lnTo>
                  <a:lnTo>
                    <a:pt x="46" y="20364"/>
                  </a:lnTo>
                  <a:lnTo>
                    <a:pt x="159" y="20522"/>
                  </a:lnTo>
                  <a:lnTo>
                    <a:pt x="272" y="20658"/>
                  </a:lnTo>
                  <a:lnTo>
                    <a:pt x="385" y="20748"/>
                  </a:lnTo>
                  <a:lnTo>
                    <a:pt x="521" y="20839"/>
                  </a:lnTo>
                  <a:lnTo>
                    <a:pt x="634" y="20884"/>
                  </a:lnTo>
                  <a:lnTo>
                    <a:pt x="769" y="20929"/>
                  </a:lnTo>
                  <a:lnTo>
                    <a:pt x="1086" y="20952"/>
                  </a:lnTo>
                  <a:lnTo>
                    <a:pt x="1447" y="20974"/>
                  </a:lnTo>
                  <a:lnTo>
                    <a:pt x="1899" y="21019"/>
                  </a:lnTo>
                  <a:lnTo>
                    <a:pt x="2148" y="21065"/>
                  </a:lnTo>
                  <a:lnTo>
                    <a:pt x="2419" y="21132"/>
                  </a:lnTo>
                  <a:lnTo>
                    <a:pt x="2736" y="21223"/>
                  </a:lnTo>
                  <a:lnTo>
                    <a:pt x="3075" y="21336"/>
                  </a:lnTo>
                  <a:lnTo>
                    <a:pt x="3075" y="21336"/>
                  </a:lnTo>
                  <a:lnTo>
                    <a:pt x="3798" y="21584"/>
                  </a:lnTo>
                  <a:lnTo>
                    <a:pt x="4476" y="21788"/>
                  </a:lnTo>
                  <a:lnTo>
                    <a:pt x="5109" y="21969"/>
                  </a:lnTo>
                  <a:lnTo>
                    <a:pt x="5719" y="22104"/>
                  </a:lnTo>
                  <a:lnTo>
                    <a:pt x="6284" y="22172"/>
                  </a:lnTo>
                  <a:lnTo>
                    <a:pt x="6781" y="22217"/>
                  </a:lnTo>
                  <a:lnTo>
                    <a:pt x="7030" y="22217"/>
                  </a:lnTo>
                  <a:lnTo>
                    <a:pt x="7233" y="22195"/>
                  </a:lnTo>
                  <a:lnTo>
                    <a:pt x="7459" y="22149"/>
                  </a:lnTo>
                  <a:lnTo>
                    <a:pt x="7640" y="22104"/>
                  </a:lnTo>
                  <a:lnTo>
                    <a:pt x="7640" y="22104"/>
                  </a:lnTo>
                  <a:lnTo>
                    <a:pt x="7843" y="21991"/>
                  </a:lnTo>
                  <a:lnTo>
                    <a:pt x="7934" y="21923"/>
                  </a:lnTo>
                  <a:lnTo>
                    <a:pt x="8024" y="21856"/>
                  </a:lnTo>
                  <a:lnTo>
                    <a:pt x="8092" y="21765"/>
                  </a:lnTo>
                  <a:lnTo>
                    <a:pt x="8137" y="21675"/>
                  </a:lnTo>
                  <a:lnTo>
                    <a:pt x="8182" y="21562"/>
                  </a:lnTo>
                  <a:lnTo>
                    <a:pt x="8205" y="21471"/>
                  </a:lnTo>
                  <a:lnTo>
                    <a:pt x="8205" y="21358"/>
                  </a:lnTo>
                  <a:lnTo>
                    <a:pt x="8182" y="21245"/>
                  </a:lnTo>
                  <a:lnTo>
                    <a:pt x="8115" y="21132"/>
                  </a:lnTo>
                  <a:lnTo>
                    <a:pt x="8024" y="21019"/>
                  </a:lnTo>
                  <a:lnTo>
                    <a:pt x="7911" y="20906"/>
                  </a:lnTo>
                  <a:lnTo>
                    <a:pt x="7753" y="20793"/>
                  </a:lnTo>
                  <a:lnTo>
                    <a:pt x="7550" y="20703"/>
                  </a:lnTo>
                  <a:lnTo>
                    <a:pt x="7301" y="20613"/>
                  </a:lnTo>
                  <a:lnTo>
                    <a:pt x="7301" y="20613"/>
                  </a:lnTo>
                  <a:lnTo>
                    <a:pt x="6804" y="20409"/>
                  </a:lnTo>
                  <a:lnTo>
                    <a:pt x="6307" y="20183"/>
                  </a:lnTo>
                  <a:lnTo>
                    <a:pt x="5832" y="19912"/>
                  </a:lnTo>
                  <a:lnTo>
                    <a:pt x="5425" y="19641"/>
                  </a:lnTo>
                  <a:lnTo>
                    <a:pt x="5063" y="19347"/>
                  </a:lnTo>
                  <a:lnTo>
                    <a:pt x="4905" y="19189"/>
                  </a:lnTo>
                  <a:lnTo>
                    <a:pt x="4770" y="19030"/>
                  </a:lnTo>
                  <a:lnTo>
                    <a:pt x="4657" y="18872"/>
                  </a:lnTo>
                  <a:lnTo>
                    <a:pt x="4566" y="18714"/>
                  </a:lnTo>
                  <a:lnTo>
                    <a:pt x="4498" y="18556"/>
                  </a:lnTo>
                  <a:lnTo>
                    <a:pt x="4453" y="18375"/>
                  </a:lnTo>
                  <a:lnTo>
                    <a:pt x="4453" y="18375"/>
                  </a:lnTo>
                  <a:lnTo>
                    <a:pt x="4431" y="18262"/>
                  </a:lnTo>
                  <a:lnTo>
                    <a:pt x="4453" y="18036"/>
                  </a:lnTo>
                  <a:lnTo>
                    <a:pt x="4521" y="17381"/>
                  </a:lnTo>
                  <a:lnTo>
                    <a:pt x="4657" y="16431"/>
                  </a:lnTo>
                  <a:lnTo>
                    <a:pt x="4837" y="15256"/>
                  </a:lnTo>
                  <a:lnTo>
                    <a:pt x="5335" y="12431"/>
                  </a:lnTo>
                  <a:lnTo>
                    <a:pt x="5900" y="9267"/>
                  </a:lnTo>
                  <a:lnTo>
                    <a:pt x="6985" y="3413"/>
                  </a:lnTo>
                  <a:lnTo>
                    <a:pt x="7504" y="791"/>
                  </a:lnTo>
                  <a:lnTo>
                    <a:pt x="508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2" name="Google Shape;1739;p16">
              <a:extLst>
                <a:ext uri="{FF2B5EF4-FFF2-40B4-BE49-F238E27FC236}">
                  <a16:creationId xmlns:a16="http://schemas.microsoft.com/office/drawing/2014/main" id="{FC4981B9-FA2D-29FC-CC38-09255ED2A56D}"/>
                </a:ext>
              </a:extLst>
            </p:cNvPr>
            <p:cNvSpPr/>
            <p:nvPr/>
          </p:nvSpPr>
          <p:spPr>
            <a:xfrm>
              <a:off x="4027800" y="2458300"/>
              <a:ext cx="820475" cy="970175"/>
            </a:xfrm>
            <a:custGeom>
              <a:avLst/>
              <a:gdLst/>
              <a:ahLst/>
              <a:cxnLst/>
              <a:rect l="l" t="t" r="r" b="b"/>
              <a:pathLst>
                <a:path w="32819" h="38807" extrusionOk="0">
                  <a:moveTo>
                    <a:pt x="4996" y="0"/>
                  </a:moveTo>
                  <a:lnTo>
                    <a:pt x="4092" y="23"/>
                  </a:lnTo>
                  <a:lnTo>
                    <a:pt x="3233" y="91"/>
                  </a:lnTo>
                  <a:lnTo>
                    <a:pt x="2464" y="158"/>
                  </a:lnTo>
                  <a:lnTo>
                    <a:pt x="1651" y="226"/>
                  </a:lnTo>
                  <a:lnTo>
                    <a:pt x="950" y="294"/>
                  </a:lnTo>
                  <a:lnTo>
                    <a:pt x="408" y="317"/>
                  </a:lnTo>
                  <a:lnTo>
                    <a:pt x="182" y="294"/>
                  </a:lnTo>
                  <a:lnTo>
                    <a:pt x="1" y="271"/>
                  </a:lnTo>
                  <a:lnTo>
                    <a:pt x="204" y="1243"/>
                  </a:lnTo>
                  <a:lnTo>
                    <a:pt x="430" y="2305"/>
                  </a:lnTo>
                  <a:lnTo>
                    <a:pt x="747" y="3571"/>
                  </a:lnTo>
                  <a:lnTo>
                    <a:pt x="950" y="4272"/>
                  </a:lnTo>
                  <a:lnTo>
                    <a:pt x="1154" y="4950"/>
                  </a:lnTo>
                  <a:lnTo>
                    <a:pt x="1380" y="5650"/>
                  </a:lnTo>
                  <a:lnTo>
                    <a:pt x="1628" y="6329"/>
                  </a:lnTo>
                  <a:lnTo>
                    <a:pt x="1877" y="6984"/>
                  </a:lnTo>
                  <a:lnTo>
                    <a:pt x="2171" y="7572"/>
                  </a:lnTo>
                  <a:lnTo>
                    <a:pt x="2464" y="8114"/>
                  </a:lnTo>
                  <a:lnTo>
                    <a:pt x="2623" y="8363"/>
                  </a:lnTo>
                  <a:lnTo>
                    <a:pt x="2781" y="8589"/>
                  </a:lnTo>
                  <a:lnTo>
                    <a:pt x="2894" y="8702"/>
                  </a:lnTo>
                  <a:lnTo>
                    <a:pt x="3120" y="8860"/>
                  </a:lnTo>
                  <a:lnTo>
                    <a:pt x="3414" y="9041"/>
                  </a:lnTo>
                  <a:lnTo>
                    <a:pt x="3775" y="9267"/>
                  </a:lnTo>
                  <a:lnTo>
                    <a:pt x="4679" y="9719"/>
                  </a:lnTo>
                  <a:lnTo>
                    <a:pt x="5855" y="10261"/>
                  </a:lnTo>
                  <a:lnTo>
                    <a:pt x="7233" y="10849"/>
                  </a:lnTo>
                  <a:lnTo>
                    <a:pt x="8770" y="11482"/>
                  </a:lnTo>
                  <a:lnTo>
                    <a:pt x="10443" y="12114"/>
                  </a:lnTo>
                  <a:lnTo>
                    <a:pt x="12206" y="12747"/>
                  </a:lnTo>
                  <a:lnTo>
                    <a:pt x="14059" y="13380"/>
                  </a:lnTo>
                  <a:lnTo>
                    <a:pt x="15912" y="13968"/>
                  </a:lnTo>
                  <a:lnTo>
                    <a:pt x="17788" y="14533"/>
                  </a:lnTo>
                  <a:lnTo>
                    <a:pt x="19596" y="15007"/>
                  </a:lnTo>
                  <a:lnTo>
                    <a:pt x="20500" y="15233"/>
                  </a:lnTo>
                  <a:lnTo>
                    <a:pt x="21359" y="15437"/>
                  </a:lnTo>
                  <a:lnTo>
                    <a:pt x="22195" y="15595"/>
                  </a:lnTo>
                  <a:lnTo>
                    <a:pt x="22987" y="15753"/>
                  </a:lnTo>
                  <a:lnTo>
                    <a:pt x="23755" y="15866"/>
                  </a:lnTo>
                  <a:lnTo>
                    <a:pt x="24478" y="15957"/>
                  </a:lnTo>
                  <a:lnTo>
                    <a:pt x="25179" y="16002"/>
                  </a:lnTo>
                  <a:lnTo>
                    <a:pt x="25812" y="16025"/>
                  </a:lnTo>
                  <a:lnTo>
                    <a:pt x="26015" y="16205"/>
                  </a:lnTo>
                  <a:lnTo>
                    <a:pt x="26196" y="16431"/>
                  </a:lnTo>
                  <a:lnTo>
                    <a:pt x="26354" y="16657"/>
                  </a:lnTo>
                  <a:lnTo>
                    <a:pt x="26512" y="16883"/>
                  </a:lnTo>
                  <a:lnTo>
                    <a:pt x="26648" y="17155"/>
                  </a:lnTo>
                  <a:lnTo>
                    <a:pt x="26784" y="17426"/>
                  </a:lnTo>
                  <a:lnTo>
                    <a:pt x="26897" y="17720"/>
                  </a:lnTo>
                  <a:lnTo>
                    <a:pt x="26987" y="18036"/>
                  </a:lnTo>
                  <a:lnTo>
                    <a:pt x="27055" y="18352"/>
                  </a:lnTo>
                  <a:lnTo>
                    <a:pt x="27123" y="18691"/>
                  </a:lnTo>
                  <a:lnTo>
                    <a:pt x="27190" y="19030"/>
                  </a:lnTo>
                  <a:lnTo>
                    <a:pt x="27236" y="19392"/>
                  </a:lnTo>
                  <a:lnTo>
                    <a:pt x="27281" y="20161"/>
                  </a:lnTo>
                  <a:lnTo>
                    <a:pt x="27303" y="20974"/>
                  </a:lnTo>
                  <a:lnTo>
                    <a:pt x="27281" y="21810"/>
                  </a:lnTo>
                  <a:lnTo>
                    <a:pt x="27213" y="22669"/>
                  </a:lnTo>
                  <a:lnTo>
                    <a:pt x="27123" y="23573"/>
                  </a:lnTo>
                  <a:lnTo>
                    <a:pt x="26987" y="24477"/>
                  </a:lnTo>
                  <a:lnTo>
                    <a:pt x="26851" y="25404"/>
                  </a:lnTo>
                  <a:lnTo>
                    <a:pt x="26693" y="26353"/>
                  </a:lnTo>
                  <a:lnTo>
                    <a:pt x="26309" y="28229"/>
                  </a:lnTo>
                  <a:lnTo>
                    <a:pt x="25902" y="30083"/>
                  </a:lnTo>
                  <a:lnTo>
                    <a:pt x="25495" y="31845"/>
                  </a:lnTo>
                  <a:lnTo>
                    <a:pt x="25111" y="33495"/>
                  </a:lnTo>
                  <a:lnTo>
                    <a:pt x="24772" y="34987"/>
                  </a:lnTo>
                  <a:lnTo>
                    <a:pt x="24636" y="35665"/>
                  </a:lnTo>
                  <a:lnTo>
                    <a:pt x="24523" y="36275"/>
                  </a:lnTo>
                  <a:lnTo>
                    <a:pt x="24456" y="36840"/>
                  </a:lnTo>
                  <a:lnTo>
                    <a:pt x="24388" y="37315"/>
                  </a:lnTo>
                  <a:lnTo>
                    <a:pt x="24388" y="37744"/>
                  </a:lnTo>
                  <a:lnTo>
                    <a:pt x="24410" y="38061"/>
                  </a:lnTo>
                  <a:lnTo>
                    <a:pt x="24433" y="38196"/>
                  </a:lnTo>
                  <a:lnTo>
                    <a:pt x="24478" y="38309"/>
                  </a:lnTo>
                  <a:lnTo>
                    <a:pt x="24523" y="38400"/>
                  </a:lnTo>
                  <a:lnTo>
                    <a:pt x="24591" y="38468"/>
                  </a:lnTo>
                  <a:lnTo>
                    <a:pt x="24795" y="38513"/>
                  </a:lnTo>
                  <a:lnTo>
                    <a:pt x="25292" y="38603"/>
                  </a:lnTo>
                  <a:lnTo>
                    <a:pt x="26015" y="38716"/>
                  </a:lnTo>
                  <a:lnTo>
                    <a:pt x="26445" y="38761"/>
                  </a:lnTo>
                  <a:lnTo>
                    <a:pt x="26874" y="38807"/>
                  </a:lnTo>
                  <a:lnTo>
                    <a:pt x="27710" y="38807"/>
                  </a:lnTo>
                  <a:lnTo>
                    <a:pt x="28117" y="38761"/>
                  </a:lnTo>
                  <a:lnTo>
                    <a:pt x="28479" y="38671"/>
                  </a:lnTo>
                  <a:lnTo>
                    <a:pt x="28637" y="38626"/>
                  </a:lnTo>
                  <a:lnTo>
                    <a:pt x="28795" y="38558"/>
                  </a:lnTo>
                  <a:lnTo>
                    <a:pt x="28908" y="38490"/>
                  </a:lnTo>
                  <a:lnTo>
                    <a:pt x="29044" y="38400"/>
                  </a:lnTo>
                  <a:lnTo>
                    <a:pt x="29134" y="38309"/>
                  </a:lnTo>
                  <a:lnTo>
                    <a:pt x="29225" y="38196"/>
                  </a:lnTo>
                  <a:lnTo>
                    <a:pt x="29270" y="38061"/>
                  </a:lnTo>
                  <a:lnTo>
                    <a:pt x="29315" y="37925"/>
                  </a:lnTo>
                  <a:lnTo>
                    <a:pt x="29383" y="37609"/>
                  </a:lnTo>
                  <a:lnTo>
                    <a:pt x="29586" y="36818"/>
                  </a:lnTo>
                  <a:lnTo>
                    <a:pt x="30287" y="34083"/>
                  </a:lnTo>
                  <a:lnTo>
                    <a:pt x="30716" y="32252"/>
                  </a:lnTo>
                  <a:lnTo>
                    <a:pt x="31191" y="30218"/>
                  </a:lnTo>
                  <a:lnTo>
                    <a:pt x="31643" y="28003"/>
                  </a:lnTo>
                  <a:lnTo>
                    <a:pt x="31846" y="26851"/>
                  </a:lnTo>
                  <a:lnTo>
                    <a:pt x="32050" y="25698"/>
                  </a:lnTo>
                  <a:lnTo>
                    <a:pt x="32253" y="24523"/>
                  </a:lnTo>
                  <a:lnTo>
                    <a:pt x="32411" y="23347"/>
                  </a:lnTo>
                  <a:lnTo>
                    <a:pt x="32547" y="22195"/>
                  </a:lnTo>
                  <a:lnTo>
                    <a:pt x="32660" y="21042"/>
                  </a:lnTo>
                  <a:lnTo>
                    <a:pt x="32750" y="19889"/>
                  </a:lnTo>
                  <a:lnTo>
                    <a:pt x="32818" y="18804"/>
                  </a:lnTo>
                  <a:lnTo>
                    <a:pt x="32818" y="17720"/>
                  </a:lnTo>
                  <a:lnTo>
                    <a:pt x="32796" y="16703"/>
                  </a:lnTo>
                  <a:lnTo>
                    <a:pt x="32728" y="15731"/>
                  </a:lnTo>
                  <a:lnTo>
                    <a:pt x="32660" y="15279"/>
                  </a:lnTo>
                  <a:lnTo>
                    <a:pt x="32592" y="14827"/>
                  </a:lnTo>
                  <a:lnTo>
                    <a:pt x="32524" y="14397"/>
                  </a:lnTo>
                  <a:lnTo>
                    <a:pt x="32411" y="13968"/>
                  </a:lnTo>
                  <a:lnTo>
                    <a:pt x="32321" y="13584"/>
                  </a:lnTo>
                  <a:lnTo>
                    <a:pt x="32185" y="13199"/>
                  </a:lnTo>
                  <a:lnTo>
                    <a:pt x="32050" y="12860"/>
                  </a:lnTo>
                  <a:lnTo>
                    <a:pt x="31891" y="12521"/>
                  </a:lnTo>
                  <a:lnTo>
                    <a:pt x="31733" y="12205"/>
                  </a:lnTo>
                  <a:lnTo>
                    <a:pt x="31552" y="11911"/>
                  </a:lnTo>
                  <a:lnTo>
                    <a:pt x="31349" y="11662"/>
                  </a:lnTo>
                  <a:lnTo>
                    <a:pt x="31123" y="11414"/>
                  </a:lnTo>
                  <a:lnTo>
                    <a:pt x="30874" y="11210"/>
                  </a:lnTo>
                  <a:lnTo>
                    <a:pt x="30626" y="11030"/>
                  </a:lnTo>
                  <a:lnTo>
                    <a:pt x="30038" y="10668"/>
                  </a:lnTo>
                  <a:lnTo>
                    <a:pt x="29179" y="10171"/>
                  </a:lnTo>
                  <a:lnTo>
                    <a:pt x="26851" y="8905"/>
                  </a:lnTo>
                  <a:lnTo>
                    <a:pt x="23913" y="7368"/>
                  </a:lnTo>
                  <a:lnTo>
                    <a:pt x="20681" y="5696"/>
                  </a:lnTo>
                  <a:lnTo>
                    <a:pt x="17381" y="4068"/>
                  </a:lnTo>
                  <a:lnTo>
                    <a:pt x="14330" y="2577"/>
                  </a:lnTo>
                  <a:lnTo>
                    <a:pt x="12997" y="1944"/>
                  </a:lnTo>
                  <a:lnTo>
                    <a:pt x="11799" y="1424"/>
                  </a:lnTo>
                  <a:lnTo>
                    <a:pt x="10827" y="995"/>
                  </a:lnTo>
                  <a:lnTo>
                    <a:pt x="10081" y="723"/>
                  </a:lnTo>
                  <a:lnTo>
                    <a:pt x="9539" y="565"/>
                  </a:lnTo>
                  <a:lnTo>
                    <a:pt x="9019" y="407"/>
                  </a:lnTo>
                  <a:lnTo>
                    <a:pt x="8499" y="294"/>
                  </a:lnTo>
                  <a:lnTo>
                    <a:pt x="7979" y="204"/>
                  </a:lnTo>
                  <a:lnTo>
                    <a:pt x="7459" y="136"/>
                  </a:lnTo>
                  <a:lnTo>
                    <a:pt x="6940" y="68"/>
                  </a:lnTo>
                  <a:lnTo>
                    <a:pt x="6442" y="23"/>
                  </a:lnTo>
                  <a:lnTo>
                    <a:pt x="5945" y="0"/>
                  </a:lnTo>
                  <a:close/>
                </a:path>
              </a:pathLst>
            </a:custGeom>
            <a:solidFill>
              <a:srgbClr val="D9385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3" name="Google Shape;1740;p16">
              <a:extLst>
                <a:ext uri="{FF2B5EF4-FFF2-40B4-BE49-F238E27FC236}">
                  <a16:creationId xmlns:a16="http://schemas.microsoft.com/office/drawing/2014/main" id="{01093644-BD64-CA73-44E0-E03B9E30EE6D}"/>
                </a:ext>
              </a:extLst>
            </p:cNvPr>
            <p:cNvSpPr/>
            <p:nvPr/>
          </p:nvSpPr>
          <p:spPr>
            <a:xfrm>
              <a:off x="4027800" y="2458300"/>
              <a:ext cx="820475" cy="970175"/>
            </a:xfrm>
            <a:custGeom>
              <a:avLst/>
              <a:gdLst/>
              <a:ahLst/>
              <a:cxnLst/>
              <a:rect l="l" t="t" r="r" b="b"/>
              <a:pathLst>
                <a:path w="32819" h="38807" fill="none" extrusionOk="0">
                  <a:moveTo>
                    <a:pt x="1" y="271"/>
                  </a:moveTo>
                  <a:lnTo>
                    <a:pt x="1" y="271"/>
                  </a:lnTo>
                  <a:lnTo>
                    <a:pt x="182" y="294"/>
                  </a:lnTo>
                  <a:lnTo>
                    <a:pt x="408" y="317"/>
                  </a:lnTo>
                  <a:lnTo>
                    <a:pt x="950" y="294"/>
                  </a:lnTo>
                  <a:lnTo>
                    <a:pt x="1651" y="226"/>
                  </a:lnTo>
                  <a:lnTo>
                    <a:pt x="2464" y="158"/>
                  </a:lnTo>
                  <a:lnTo>
                    <a:pt x="2464" y="158"/>
                  </a:lnTo>
                  <a:lnTo>
                    <a:pt x="3233" y="91"/>
                  </a:lnTo>
                  <a:lnTo>
                    <a:pt x="4092" y="23"/>
                  </a:lnTo>
                  <a:lnTo>
                    <a:pt x="4996" y="0"/>
                  </a:lnTo>
                  <a:lnTo>
                    <a:pt x="5945" y="0"/>
                  </a:lnTo>
                  <a:lnTo>
                    <a:pt x="6442" y="23"/>
                  </a:lnTo>
                  <a:lnTo>
                    <a:pt x="6940" y="68"/>
                  </a:lnTo>
                  <a:lnTo>
                    <a:pt x="7459" y="136"/>
                  </a:lnTo>
                  <a:lnTo>
                    <a:pt x="7979" y="204"/>
                  </a:lnTo>
                  <a:lnTo>
                    <a:pt x="8499" y="294"/>
                  </a:lnTo>
                  <a:lnTo>
                    <a:pt x="9019" y="407"/>
                  </a:lnTo>
                  <a:lnTo>
                    <a:pt x="9539" y="565"/>
                  </a:lnTo>
                  <a:lnTo>
                    <a:pt x="10081" y="723"/>
                  </a:lnTo>
                  <a:lnTo>
                    <a:pt x="10081" y="723"/>
                  </a:lnTo>
                  <a:lnTo>
                    <a:pt x="10827" y="995"/>
                  </a:lnTo>
                  <a:lnTo>
                    <a:pt x="11799" y="1424"/>
                  </a:lnTo>
                  <a:lnTo>
                    <a:pt x="12997" y="1944"/>
                  </a:lnTo>
                  <a:lnTo>
                    <a:pt x="14330" y="2577"/>
                  </a:lnTo>
                  <a:lnTo>
                    <a:pt x="17381" y="4068"/>
                  </a:lnTo>
                  <a:lnTo>
                    <a:pt x="20681" y="5696"/>
                  </a:lnTo>
                  <a:lnTo>
                    <a:pt x="23913" y="7368"/>
                  </a:lnTo>
                  <a:lnTo>
                    <a:pt x="26851" y="8905"/>
                  </a:lnTo>
                  <a:lnTo>
                    <a:pt x="29179" y="10171"/>
                  </a:lnTo>
                  <a:lnTo>
                    <a:pt x="30038" y="10668"/>
                  </a:lnTo>
                  <a:lnTo>
                    <a:pt x="30626" y="11030"/>
                  </a:lnTo>
                  <a:lnTo>
                    <a:pt x="30626" y="11030"/>
                  </a:lnTo>
                  <a:lnTo>
                    <a:pt x="30874" y="11210"/>
                  </a:lnTo>
                  <a:lnTo>
                    <a:pt x="31123" y="11414"/>
                  </a:lnTo>
                  <a:lnTo>
                    <a:pt x="31349" y="11662"/>
                  </a:lnTo>
                  <a:lnTo>
                    <a:pt x="31552" y="11911"/>
                  </a:lnTo>
                  <a:lnTo>
                    <a:pt x="31733" y="12205"/>
                  </a:lnTo>
                  <a:lnTo>
                    <a:pt x="31891" y="12521"/>
                  </a:lnTo>
                  <a:lnTo>
                    <a:pt x="32050" y="12860"/>
                  </a:lnTo>
                  <a:lnTo>
                    <a:pt x="32185" y="13199"/>
                  </a:lnTo>
                  <a:lnTo>
                    <a:pt x="32321" y="13584"/>
                  </a:lnTo>
                  <a:lnTo>
                    <a:pt x="32411" y="13968"/>
                  </a:lnTo>
                  <a:lnTo>
                    <a:pt x="32524" y="14397"/>
                  </a:lnTo>
                  <a:lnTo>
                    <a:pt x="32592" y="14827"/>
                  </a:lnTo>
                  <a:lnTo>
                    <a:pt x="32660" y="15279"/>
                  </a:lnTo>
                  <a:lnTo>
                    <a:pt x="32728" y="15731"/>
                  </a:lnTo>
                  <a:lnTo>
                    <a:pt x="32796" y="16703"/>
                  </a:lnTo>
                  <a:lnTo>
                    <a:pt x="32818" y="17720"/>
                  </a:lnTo>
                  <a:lnTo>
                    <a:pt x="32818" y="18804"/>
                  </a:lnTo>
                  <a:lnTo>
                    <a:pt x="32750" y="19889"/>
                  </a:lnTo>
                  <a:lnTo>
                    <a:pt x="32660" y="21042"/>
                  </a:lnTo>
                  <a:lnTo>
                    <a:pt x="32547" y="22195"/>
                  </a:lnTo>
                  <a:lnTo>
                    <a:pt x="32411" y="23347"/>
                  </a:lnTo>
                  <a:lnTo>
                    <a:pt x="32253" y="24523"/>
                  </a:lnTo>
                  <a:lnTo>
                    <a:pt x="32050" y="25698"/>
                  </a:lnTo>
                  <a:lnTo>
                    <a:pt x="31846" y="26851"/>
                  </a:lnTo>
                  <a:lnTo>
                    <a:pt x="31643" y="28003"/>
                  </a:lnTo>
                  <a:lnTo>
                    <a:pt x="31191" y="30218"/>
                  </a:lnTo>
                  <a:lnTo>
                    <a:pt x="30716" y="32252"/>
                  </a:lnTo>
                  <a:lnTo>
                    <a:pt x="30287" y="34083"/>
                  </a:lnTo>
                  <a:lnTo>
                    <a:pt x="29586" y="36818"/>
                  </a:lnTo>
                  <a:lnTo>
                    <a:pt x="29383" y="37609"/>
                  </a:lnTo>
                  <a:lnTo>
                    <a:pt x="29315" y="37925"/>
                  </a:lnTo>
                  <a:lnTo>
                    <a:pt x="29315" y="37925"/>
                  </a:lnTo>
                  <a:lnTo>
                    <a:pt x="29270" y="38061"/>
                  </a:lnTo>
                  <a:lnTo>
                    <a:pt x="29225" y="38196"/>
                  </a:lnTo>
                  <a:lnTo>
                    <a:pt x="29134" y="38309"/>
                  </a:lnTo>
                  <a:lnTo>
                    <a:pt x="29044" y="38400"/>
                  </a:lnTo>
                  <a:lnTo>
                    <a:pt x="28908" y="38490"/>
                  </a:lnTo>
                  <a:lnTo>
                    <a:pt x="28795" y="38558"/>
                  </a:lnTo>
                  <a:lnTo>
                    <a:pt x="28637" y="38626"/>
                  </a:lnTo>
                  <a:lnTo>
                    <a:pt x="28479" y="38671"/>
                  </a:lnTo>
                  <a:lnTo>
                    <a:pt x="28117" y="38761"/>
                  </a:lnTo>
                  <a:lnTo>
                    <a:pt x="27710" y="38807"/>
                  </a:lnTo>
                  <a:lnTo>
                    <a:pt x="27281" y="38807"/>
                  </a:lnTo>
                  <a:lnTo>
                    <a:pt x="26874" y="38807"/>
                  </a:lnTo>
                  <a:lnTo>
                    <a:pt x="26445" y="38761"/>
                  </a:lnTo>
                  <a:lnTo>
                    <a:pt x="26015" y="38716"/>
                  </a:lnTo>
                  <a:lnTo>
                    <a:pt x="25292" y="38603"/>
                  </a:lnTo>
                  <a:lnTo>
                    <a:pt x="24795" y="38513"/>
                  </a:lnTo>
                  <a:lnTo>
                    <a:pt x="24591" y="38468"/>
                  </a:lnTo>
                  <a:lnTo>
                    <a:pt x="24591" y="38468"/>
                  </a:lnTo>
                  <a:lnTo>
                    <a:pt x="24523" y="38400"/>
                  </a:lnTo>
                  <a:lnTo>
                    <a:pt x="24478" y="38309"/>
                  </a:lnTo>
                  <a:lnTo>
                    <a:pt x="24433" y="38196"/>
                  </a:lnTo>
                  <a:lnTo>
                    <a:pt x="24410" y="38061"/>
                  </a:lnTo>
                  <a:lnTo>
                    <a:pt x="24388" y="37744"/>
                  </a:lnTo>
                  <a:lnTo>
                    <a:pt x="24388" y="37315"/>
                  </a:lnTo>
                  <a:lnTo>
                    <a:pt x="24456" y="36840"/>
                  </a:lnTo>
                  <a:lnTo>
                    <a:pt x="24523" y="36275"/>
                  </a:lnTo>
                  <a:lnTo>
                    <a:pt x="24636" y="35665"/>
                  </a:lnTo>
                  <a:lnTo>
                    <a:pt x="24772" y="34987"/>
                  </a:lnTo>
                  <a:lnTo>
                    <a:pt x="25111" y="33495"/>
                  </a:lnTo>
                  <a:lnTo>
                    <a:pt x="25495" y="31845"/>
                  </a:lnTo>
                  <a:lnTo>
                    <a:pt x="25902" y="30083"/>
                  </a:lnTo>
                  <a:lnTo>
                    <a:pt x="26309" y="28229"/>
                  </a:lnTo>
                  <a:lnTo>
                    <a:pt x="26693" y="26353"/>
                  </a:lnTo>
                  <a:lnTo>
                    <a:pt x="26851" y="25404"/>
                  </a:lnTo>
                  <a:lnTo>
                    <a:pt x="26987" y="24477"/>
                  </a:lnTo>
                  <a:lnTo>
                    <a:pt x="27123" y="23573"/>
                  </a:lnTo>
                  <a:lnTo>
                    <a:pt x="27213" y="22669"/>
                  </a:lnTo>
                  <a:lnTo>
                    <a:pt x="27281" y="21810"/>
                  </a:lnTo>
                  <a:lnTo>
                    <a:pt x="27303" y="20974"/>
                  </a:lnTo>
                  <a:lnTo>
                    <a:pt x="27281" y="20161"/>
                  </a:lnTo>
                  <a:lnTo>
                    <a:pt x="27236" y="19392"/>
                  </a:lnTo>
                  <a:lnTo>
                    <a:pt x="27190" y="19030"/>
                  </a:lnTo>
                  <a:lnTo>
                    <a:pt x="27123" y="18691"/>
                  </a:lnTo>
                  <a:lnTo>
                    <a:pt x="27055" y="18352"/>
                  </a:lnTo>
                  <a:lnTo>
                    <a:pt x="26987" y="18036"/>
                  </a:lnTo>
                  <a:lnTo>
                    <a:pt x="26897" y="17720"/>
                  </a:lnTo>
                  <a:lnTo>
                    <a:pt x="26784" y="17426"/>
                  </a:lnTo>
                  <a:lnTo>
                    <a:pt x="26648" y="17155"/>
                  </a:lnTo>
                  <a:lnTo>
                    <a:pt x="26512" y="16883"/>
                  </a:lnTo>
                  <a:lnTo>
                    <a:pt x="26354" y="16657"/>
                  </a:lnTo>
                  <a:lnTo>
                    <a:pt x="26196" y="16431"/>
                  </a:lnTo>
                  <a:lnTo>
                    <a:pt x="26015" y="16205"/>
                  </a:lnTo>
                  <a:lnTo>
                    <a:pt x="25812" y="16025"/>
                  </a:lnTo>
                  <a:lnTo>
                    <a:pt x="25812" y="16025"/>
                  </a:lnTo>
                  <a:lnTo>
                    <a:pt x="25179" y="16002"/>
                  </a:lnTo>
                  <a:lnTo>
                    <a:pt x="24478" y="15957"/>
                  </a:lnTo>
                  <a:lnTo>
                    <a:pt x="23755" y="15866"/>
                  </a:lnTo>
                  <a:lnTo>
                    <a:pt x="22987" y="15753"/>
                  </a:lnTo>
                  <a:lnTo>
                    <a:pt x="22195" y="15595"/>
                  </a:lnTo>
                  <a:lnTo>
                    <a:pt x="21359" y="15437"/>
                  </a:lnTo>
                  <a:lnTo>
                    <a:pt x="20500" y="15233"/>
                  </a:lnTo>
                  <a:lnTo>
                    <a:pt x="19596" y="15007"/>
                  </a:lnTo>
                  <a:lnTo>
                    <a:pt x="17788" y="14533"/>
                  </a:lnTo>
                  <a:lnTo>
                    <a:pt x="15912" y="13968"/>
                  </a:lnTo>
                  <a:lnTo>
                    <a:pt x="14059" y="13380"/>
                  </a:lnTo>
                  <a:lnTo>
                    <a:pt x="12206" y="12747"/>
                  </a:lnTo>
                  <a:lnTo>
                    <a:pt x="10443" y="12114"/>
                  </a:lnTo>
                  <a:lnTo>
                    <a:pt x="8770" y="11482"/>
                  </a:lnTo>
                  <a:lnTo>
                    <a:pt x="7233" y="10849"/>
                  </a:lnTo>
                  <a:lnTo>
                    <a:pt x="5855" y="10261"/>
                  </a:lnTo>
                  <a:lnTo>
                    <a:pt x="4679" y="9719"/>
                  </a:lnTo>
                  <a:lnTo>
                    <a:pt x="3775" y="9267"/>
                  </a:lnTo>
                  <a:lnTo>
                    <a:pt x="3414" y="9041"/>
                  </a:lnTo>
                  <a:lnTo>
                    <a:pt x="3120" y="8860"/>
                  </a:lnTo>
                  <a:lnTo>
                    <a:pt x="2894" y="8702"/>
                  </a:lnTo>
                  <a:lnTo>
                    <a:pt x="2781" y="8589"/>
                  </a:lnTo>
                  <a:lnTo>
                    <a:pt x="2781" y="8589"/>
                  </a:lnTo>
                  <a:lnTo>
                    <a:pt x="2623" y="8363"/>
                  </a:lnTo>
                  <a:lnTo>
                    <a:pt x="2464" y="8114"/>
                  </a:lnTo>
                  <a:lnTo>
                    <a:pt x="2171" y="7572"/>
                  </a:lnTo>
                  <a:lnTo>
                    <a:pt x="1877" y="6984"/>
                  </a:lnTo>
                  <a:lnTo>
                    <a:pt x="1628" y="6329"/>
                  </a:lnTo>
                  <a:lnTo>
                    <a:pt x="1380" y="5650"/>
                  </a:lnTo>
                  <a:lnTo>
                    <a:pt x="1154" y="4950"/>
                  </a:lnTo>
                  <a:lnTo>
                    <a:pt x="950" y="4272"/>
                  </a:lnTo>
                  <a:lnTo>
                    <a:pt x="747" y="3571"/>
                  </a:lnTo>
                  <a:lnTo>
                    <a:pt x="430" y="2305"/>
                  </a:lnTo>
                  <a:lnTo>
                    <a:pt x="204" y="1243"/>
                  </a:lnTo>
                  <a:lnTo>
                    <a:pt x="1" y="27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4" name="Google Shape;1741;p16">
              <a:extLst>
                <a:ext uri="{FF2B5EF4-FFF2-40B4-BE49-F238E27FC236}">
                  <a16:creationId xmlns:a16="http://schemas.microsoft.com/office/drawing/2014/main" id="{D8B00100-CA74-2D79-16E5-963BEBD073A4}"/>
                </a:ext>
              </a:extLst>
            </p:cNvPr>
            <p:cNvSpPr/>
            <p:nvPr/>
          </p:nvSpPr>
          <p:spPr>
            <a:xfrm>
              <a:off x="4029500" y="2461675"/>
              <a:ext cx="818775" cy="966800"/>
            </a:xfrm>
            <a:custGeom>
              <a:avLst/>
              <a:gdLst/>
              <a:ahLst/>
              <a:cxnLst/>
              <a:rect l="l" t="t" r="r" b="b"/>
              <a:pathLst>
                <a:path w="32751" h="38672" extrusionOk="0">
                  <a:moveTo>
                    <a:pt x="2532" y="1"/>
                  </a:moveTo>
                  <a:lnTo>
                    <a:pt x="2396" y="23"/>
                  </a:lnTo>
                  <a:lnTo>
                    <a:pt x="1628" y="91"/>
                  </a:lnTo>
                  <a:lnTo>
                    <a:pt x="1221" y="159"/>
                  </a:lnTo>
                  <a:lnTo>
                    <a:pt x="792" y="249"/>
                  </a:lnTo>
                  <a:lnTo>
                    <a:pt x="1" y="430"/>
                  </a:lnTo>
                  <a:lnTo>
                    <a:pt x="114" y="1040"/>
                  </a:lnTo>
                  <a:lnTo>
                    <a:pt x="317" y="1922"/>
                  </a:lnTo>
                  <a:lnTo>
                    <a:pt x="566" y="3007"/>
                  </a:lnTo>
                  <a:lnTo>
                    <a:pt x="882" y="4182"/>
                  </a:lnTo>
                  <a:lnTo>
                    <a:pt x="1063" y="4770"/>
                  </a:lnTo>
                  <a:lnTo>
                    <a:pt x="1266" y="5380"/>
                  </a:lnTo>
                  <a:lnTo>
                    <a:pt x="1470" y="5968"/>
                  </a:lnTo>
                  <a:lnTo>
                    <a:pt x="1696" y="6533"/>
                  </a:lnTo>
                  <a:lnTo>
                    <a:pt x="1922" y="7098"/>
                  </a:lnTo>
                  <a:lnTo>
                    <a:pt x="2170" y="7595"/>
                  </a:lnTo>
                  <a:lnTo>
                    <a:pt x="2442" y="8047"/>
                  </a:lnTo>
                  <a:lnTo>
                    <a:pt x="2713" y="8454"/>
                  </a:lnTo>
                  <a:lnTo>
                    <a:pt x="2826" y="8567"/>
                  </a:lnTo>
                  <a:lnTo>
                    <a:pt x="3052" y="8725"/>
                  </a:lnTo>
                  <a:lnTo>
                    <a:pt x="3346" y="8906"/>
                  </a:lnTo>
                  <a:lnTo>
                    <a:pt x="3707" y="9132"/>
                  </a:lnTo>
                  <a:lnTo>
                    <a:pt x="4611" y="9584"/>
                  </a:lnTo>
                  <a:lnTo>
                    <a:pt x="5787" y="10126"/>
                  </a:lnTo>
                  <a:lnTo>
                    <a:pt x="7165" y="10714"/>
                  </a:lnTo>
                  <a:lnTo>
                    <a:pt x="8702" y="11347"/>
                  </a:lnTo>
                  <a:lnTo>
                    <a:pt x="10375" y="11979"/>
                  </a:lnTo>
                  <a:lnTo>
                    <a:pt x="12138" y="12612"/>
                  </a:lnTo>
                  <a:lnTo>
                    <a:pt x="13991" y="13245"/>
                  </a:lnTo>
                  <a:lnTo>
                    <a:pt x="15844" y="13833"/>
                  </a:lnTo>
                  <a:lnTo>
                    <a:pt x="17720" y="14398"/>
                  </a:lnTo>
                  <a:lnTo>
                    <a:pt x="19528" y="14872"/>
                  </a:lnTo>
                  <a:lnTo>
                    <a:pt x="20432" y="15098"/>
                  </a:lnTo>
                  <a:lnTo>
                    <a:pt x="21291" y="15302"/>
                  </a:lnTo>
                  <a:lnTo>
                    <a:pt x="22127" y="15460"/>
                  </a:lnTo>
                  <a:lnTo>
                    <a:pt x="22919" y="15618"/>
                  </a:lnTo>
                  <a:lnTo>
                    <a:pt x="23687" y="15731"/>
                  </a:lnTo>
                  <a:lnTo>
                    <a:pt x="24410" y="15822"/>
                  </a:lnTo>
                  <a:lnTo>
                    <a:pt x="25111" y="15867"/>
                  </a:lnTo>
                  <a:lnTo>
                    <a:pt x="25744" y="15890"/>
                  </a:lnTo>
                  <a:lnTo>
                    <a:pt x="25925" y="16070"/>
                  </a:lnTo>
                  <a:lnTo>
                    <a:pt x="26105" y="16274"/>
                  </a:lnTo>
                  <a:lnTo>
                    <a:pt x="26286" y="16500"/>
                  </a:lnTo>
                  <a:lnTo>
                    <a:pt x="26422" y="16726"/>
                  </a:lnTo>
                  <a:lnTo>
                    <a:pt x="26580" y="16974"/>
                  </a:lnTo>
                  <a:lnTo>
                    <a:pt x="26693" y="17246"/>
                  </a:lnTo>
                  <a:lnTo>
                    <a:pt x="26806" y="17539"/>
                  </a:lnTo>
                  <a:lnTo>
                    <a:pt x="26896" y="17833"/>
                  </a:lnTo>
                  <a:lnTo>
                    <a:pt x="26987" y="18150"/>
                  </a:lnTo>
                  <a:lnTo>
                    <a:pt x="27055" y="18466"/>
                  </a:lnTo>
                  <a:lnTo>
                    <a:pt x="27145" y="19144"/>
                  </a:lnTo>
                  <a:lnTo>
                    <a:pt x="27213" y="19890"/>
                  </a:lnTo>
                  <a:lnTo>
                    <a:pt x="27235" y="20658"/>
                  </a:lnTo>
                  <a:lnTo>
                    <a:pt x="27213" y="21201"/>
                  </a:lnTo>
                  <a:lnTo>
                    <a:pt x="27190" y="21766"/>
                  </a:lnTo>
                  <a:lnTo>
                    <a:pt x="27100" y="22919"/>
                  </a:lnTo>
                  <a:lnTo>
                    <a:pt x="26964" y="24094"/>
                  </a:lnTo>
                  <a:lnTo>
                    <a:pt x="26783" y="25314"/>
                  </a:lnTo>
                  <a:lnTo>
                    <a:pt x="26557" y="26557"/>
                  </a:lnTo>
                  <a:lnTo>
                    <a:pt x="26309" y="27800"/>
                  </a:lnTo>
                  <a:lnTo>
                    <a:pt x="26038" y="29021"/>
                  </a:lnTo>
                  <a:lnTo>
                    <a:pt x="25766" y="30219"/>
                  </a:lnTo>
                  <a:lnTo>
                    <a:pt x="25246" y="32502"/>
                  </a:lnTo>
                  <a:lnTo>
                    <a:pt x="24772" y="34558"/>
                  </a:lnTo>
                  <a:lnTo>
                    <a:pt x="24591" y="35462"/>
                  </a:lnTo>
                  <a:lnTo>
                    <a:pt x="24433" y="36276"/>
                  </a:lnTo>
                  <a:lnTo>
                    <a:pt x="24342" y="36954"/>
                  </a:lnTo>
                  <a:lnTo>
                    <a:pt x="24320" y="37270"/>
                  </a:lnTo>
                  <a:lnTo>
                    <a:pt x="24320" y="37542"/>
                  </a:lnTo>
                  <a:lnTo>
                    <a:pt x="24320" y="37813"/>
                  </a:lnTo>
                  <a:lnTo>
                    <a:pt x="24365" y="38039"/>
                  </a:lnTo>
                  <a:lnTo>
                    <a:pt x="24433" y="38220"/>
                  </a:lnTo>
                  <a:lnTo>
                    <a:pt x="24478" y="38287"/>
                  </a:lnTo>
                  <a:lnTo>
                    <a:pt x="24523" y="38333"/>
                  </a:lnTo>
                  <a:lnTo>
                    <a:pt x="24772" y="38400"/>
                  </a:lnTo>
                  <a:lnTo>
                    <a:pt x="25405" y="38513"/>
                  </a:lnTo>
                  <a:lnTo>
                    <a:pt x="25834" y="38559"/>
                  </a:lnTo>
                  <a:lnTo>
                    <a:pt x="26286" y="38626"/>
                  </a:lnTo>
                  <a:lnTo>
                    <a:pt x="26761" y="38649"/>
                  </a:lnTo>
                  <a:lnTo>
                    <a:pt x="27258" y="38672"/>
                  </a:lnTo>
                  <a:lnTo>
                    <a:pt x="27620" y="38672"/>
                  </a:lnTo>
                  <a:lnTo>
                    <a:pt x="27959" y="38626"/>
                  </a:lnTo>
                  <a:lnTo>
                    <a:pt x="28275" y="38581"/>
                  </a:lnTo>
                  <a:lnTo>
                    <a:pt x="28569" y="38491"/>
                  </a:lnTo>
                  <a:lnTo>
                    <a:pt x="28818" y="38378"/>
                  </a:lnTo>
                  <a:lnTo>
                    <a:pt x="28931" y="38287"/>
                  </a:lnTo>
                  <a:lnTo>
                    <a:pt x="29021" y="38220"/>
                  </a:lnTo>
                  <a:lnTo>
                    <a:pt x="29111" y="38129"/>
                  </a:lnTo>
                  <a:lnTo>
                    <a:pt x="29157" y="38016"/>
                  </a:lnTo>
                  <a:lnTo>
                    <a:pt x="29224" y="37903"/>
                  </a:lnTo>
                  <a:lnTo>
                    <a:pt x="29247" y="37790"/>
                  </a:lnTo>
                  <a:lnTo>
                    <a:pt x="29247" y="37768"/>
                  </a:lnTo>
                  <a:lnTo>
                    <a:pt x="29292" y="37564"/>
                  </a:lnTo>
                  <a:lnTo>
                    <a:pt x="29383" y="37112"/>
                  </a:lnTo>
                  <a:lnTo>
                    <a:pt x="29789" y="35598"/>
                  </a:lnTo>
                  <a:lnTo>
                    <a:pt x="30354" y="33360"/>
                  </a:lnTo>
                  <a:lnTo>
                    <a:pt x="30671" y="32049"/>
                  </a:lnTo>
                  <a:lnTo>
                    <a:pt x="30987" y="30603"/>
                  </a:lnTo>
                  <a:lnTo>
                    <a:pt x="31326" y="29089"/>
                  </a:lnTo>
                  <a:lnTo>
                    <a:pt x="31643" y="27484"/>
                  </a:lnTo>
                  <a:lnTo>
                    <a:pt x="31937" y="25857"/>
                  </a:lnTo>
                  <a:lnTo>
                    <a:pt x="32208" y="24207"/>
                  </a:lnTo>
                  <a:lnTo>
                    <a:pt x="32434" y="22534"/>
                  </a:lnTo>
                  <a:lnTo>
                    <a:pt x="32592" y="20907"/>
                  </a:lnTo>
                  <a:lnTo>
                    <a:pt x="32660" y="20093"/>
                  </a:lnTo>
                  <a:lnTo>
                    <a:pt x="32705" y="19302"/>
                  </a:lnTo>
                  <a:lnTo>
                    <a:pt x="32750" y="18534"/>
                  </a:lnTo>
                  <a:lnTo>
                    <a:pt x="32750" y="17765"/>
                  </a:lnTo>
                  <a:lnTo>
                    <a:pt x="32728" y="16771"/>
                  </a:lnTo>
                  <a:lnTo>
                    <a:pt x="32660" y="15799"/>
                  </a:lnTo>
                  <a:lnTo>
                    <a:pt x="32615" y="15347"/>
                  </a:lnTo>
                  <a:lnTo>
                    <a:pt x="32569" y="14895"/>
                  </a:lnTo>
                  <a:lnTo>
                    <a:pt x="32502" y="14466"/>
                  </a:lnTo>
                  <a:lnTo>
                    <a:pt x="32411" y="14059"/>
                  </a:lnTo>
                  <a:lnTo>
                    <a:pt x="32298" y="13675"/>
                  </a:lnTo>
                  <a:lnTo>
                    <a:pt x="32208" y="13313"/>
                  </a:lnTo>
                  <a:lnTo>
                    <a:pt x="32072" y="12951"/>
                  </a:lnTo>
                  <a:lnTo>
                    <a:pt x="31937" y="12612"/>
                  </a:lnTo>
                  <a:lnTo>
                    <a:pt x="31801" y="12341"/>
                  </a:lnTo>
                  <a:lnTo>
                    <a:pt x="31665" y="12092"/>
                  </a:lnTo>
                  <a:lnTo>
                    <a:pt x="31507" y="11844"/>
                  </a:lnTo>
                  <a:lnTo>
                    <a:pt x="31349" y="11618"/>
                  </a:lnTo>
                  <a:lnTo>
                    <a:pt x="31168" y="11414"/>
                  </a:lnTo>
                  <a:lnTo>
                    <a:pt x="30987" y="11211"/>
                  </a:lnTo>
                  <a:lnTo>
                    <a:pt x="30784" y="11053"/>
                  </a:lnTo>
                  <a:lnTo>
                    <a:pt x="30558" y="10895"/>
                  </a:lnTo>
                  <a:lnTo>
                    <a:pt x="29970" y="10533"/>
                  </a:lnTo>
                  <a:lnTo>
                    <a:pt x="29111" y="10036"/>
                  </a:lnTo>
                  <a:lnTo>
                    <a:pt x="26783" y="8770"/>
                  </a:lnTo>
                  <a:lnTo>
                    <a:pt x="23845" y="7233"/>
                  </a:lnTo>
                  <a:lnTo>
                    <a:pt x="20613" y="5561"/>
                  </a:lnTo>
                  <a:lnTo>
                    <a:pt x="17313" y="3933"/>
                  </a:lnTo>
                  <a:lnTo>
                    <a:pt x="14262" y="2442"/>
                  </a:lnTo>
                  <a:lnTo>
                    <a:pt x="12929" y="1809"/>
                  </a:lnTo>
                  <a:lnTo>
                    <a:pt x="11731" y="1289"/>
                  </a:lnTo>
                  <a:lnTo>
                    <a:pt x="10759" y="860"/>
                  </a:lnTo>
                  <a:lnTo>
                    <a:pt x="10013" y="588"/>
                  </a:lnTo>
                  <a:lnTo>
                    <a:pt x="9651" y="475"/>
                  </a:lnTo>
                  <a:lnTo>
                    <a:pt x="8521" y="340"/>
                  </a:lnTo>
                  <a:lnTo>
                    <a:pt x="7482" y="227"/>
                  </a:lnTo>
                  <a:lnTo>
                    <a:pt x="6555" y="159"/>
                  </a:lnTo>
                  <a:lnTo>
                    <a:pt x="5719" y="91"/>
                  </a:lnTo>
                  <a:lnTo>
                    <a:pt x="4295" y="23"/>
                  </a:lnTo>
                  <a:lnTo>
                    <a:pt x="3165" y="1"/>
                  </a:lnTo>
                  <a:close/>
                </a:path>
              </a:pathLst>
            </a:custGeom>
            <a:solidFill>
              <a:srgbClr val="C8375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5" name="Google Shape;1742;p16">
              <a:extLst>
                <a:ext uri="{FF2B5EF4-FFF2-40B4-BE49-F238E27FC236}">
                  <a16:creationId xmlns:a16="http://schemas.microsoft.com/office/drawing/2014/main" id="{3F7F996A-422F-557C-F48E-F3A78A366E51}"/>
                </a:ext>
              </a:extLst>
            </p:cNvPr>
            <p:cNvSpPr/>
            <p:nvPr/>
          </p:nvSpPr>
          <p:spPr>
            <a:xfrm>
              <a:off x="4029500" y="2461675"/>
              <a:ext cx="818775" cy="966800"/>
            </a:xfrm>
            <a:custGeom>
              <a:avLst/>
              <a:gdLst/>
              <a:ahLst/>
              <a:cxnLst/>
              <a:rect l="l" t="t" r="r" b="b"/>
              <a:pathLst>
                <a:path w="32751" h="38672" fill="none" extrusionOk="0">
                  <a:moveTo>
                    <a:pt x="3165" y="1"/>
                  </a:moveTo>
                  <a:lnTo>
                    <a:pt x="3165" y="1"/>
                  </a:lnTo>
                  <a:lnTo>
                    <a:pt x="2645" y="1"/>
                  </a:lnTo>
                  <a:lnTo>
                    <a:pt x="2645" y="1"/>
                  </a:lnTo>
                  <a:lnTo>
                    <a:pt x="2532" y="1"/>
                  </a:lnTo>
                  <a:lnTo>
                    <a:pt x="2532" y="1"/>
                  </a:lnTo>
                  <a:lnTo>
                    <a:pt x="2396" y="23"/>
                  </a:lnTo>
                  <a:lnTo>
                    <a:pt x="2396" y="23"/>
                  </a:lnTo>
                  <a:lnTo>
                    <a:pt x="1628" y="91"/>
                  </a:lnTo>
                  <a:lnTo>
                    <a:pt x="1628" y="91"/>
                  </a:lnTo>
                  <a:lnTo>
                    <a:pt x="1221" y="159"/>
                  </a:lnTo>
                  <a:lnTo>
                    <a:pt x="792" y="249"/>
                  </a:lnTo>
                  <a:lnTo>
                    <a:pt x="1" y="430"/>
                  </a:lnTo>
                  <a:lnTo>
                    <a:pt x="1" y="430"/>
                  </a:lnTo>
                  <a:lnTo>
                    <a:pt x="114" y="1040"/>
                  </a:lnTo>
                  <a:lnTo>
                    <a:pt x="317" y="1922"/>
                  </a:lnTo>
                  <a:lnTo>
                    <a:pt x="566" y="3007"/>
                  </a:lnTo>
                  <a:lnTo>
                    <a:pt x="882" y="4182"/>
                  </a:lnTo>
                  <a:lnTo>
                    <a:pt x="1063" y="4770"/>
                  </a:lnTo>
                  <a:lnTo>
                    <a:pt x="1266" y="5380"/>
                  </a:lnTo>
                  <a:lnTo>
                    <a:pt x="1470" y="5968"/>
                  </a:lnTo>
                  <a:lnTo>
                    <a:pt x="1696" y="6533"/>
                  </a:lnTo>
                  <a:lnTo>
                    <a:pt x="1922" y="7098"/>
                  </a:lnTo>
                  <a:lnTo>
                    <a:pt x="2170" y="7595"/>
                  </a:lnTo>
                  <a:lnTo>
                    <a:pt x="2442" y="8047"/>
                  </a:lnTo>
                  <a:lnTo>
                    <a:pt x="2713" y="8454"/>
                  </a:lnTo>
                  <a:lnTo>
                    <a:pt x="2713" y="8454"/>
                  </a:lnTo>
                  <a:lnTo>
                    <a:pt x="2826" y="8567"/>
                  </a:lnTo>
                  <a:lnTo>
                    <a:pt x="3052" y="8725"/>
                  </a:lnTo>
                  <a:lnTo>
                    <a:pt x="3346" y="8906"/>
                  </a:lnTo>
                  <a:lnTo>
                    <a:pt x="3707" y="9132"/>
                  </a:lnTo>
                  <a:lnTo>
                    <a:pt x="4611" y="9584"/>
                  </a:lnTo>
                  <a:lnTo>
                    <a:pt x="5787" y="10126"/>
                  </a:lnTo>
                  <a:lnTo>
                    <a:pt x="7165" y="10714"/>
                  </a:lnTo>
                  <a:lnTo>
                    <a:pt x="8702" y="11347"/>
                  </a:lnTo>
                  <a:lnTo>
                    <a:pt x="10375" y="11979"/>
                  </a:lnTo>
                  <a:lnTo>
                    <a:pt x="12138" y="12612"/>
                  </a:lnTo>
                  <a:lnTo>
                    <a:pt x="13991" y="13245"/>
                  </a:lnTo>
                  <a:lnTo>
                    <a:pt x="15844" y="13833"/>
                  </a:lnTo>
                  <a:lnTo>
                    <a:pt x="17720" y="14398"/>
                  </a:lnTo>
                  <a:lnTo>
                    <a:pt x="19528" y="14872"/>
                  </a:lnTo>
                  <a:lnTo>
                    <a:pt x="20432" y="15098"/>
                  </a:lnTo>
                  <a:lnTo>
                    <a:pt x="21291" y="15302"/>
                  </a:lnTo>
                  <a:lnTo>
                    <a:pt x="22127" y="15460"/>
                  </a:lnTo>
                  <a:lnTo>
                    <a:pt x="22919" y="15618"/>
                  </a:lnTo>
                  <a:lnTo>
                    <a:pt x="23687" y="15731"/>
                  </a:lnTo>
                  <a:lnTo>
                    <a:pt x="24410" y="15822"/>
                  </a:lnTo>
                  <a:lnTo>
                    <a:pt x="25111" y="15867"/>
                  </a:lnTo>
                  <a:lnTo>
                    <a:pt x="25744" y="15890"/>
                  </a:lnTo>
                  <a:lnTo>
                    <a:pt x="25744" y="15890"/>
                  </a:lnTo>
                  <a:lnTo>
                    <a:pt x="25925" y="16070"/>
                  </a:lnTo>
                  <a:lnTo>
                    <a:pt x="26105" y="16274"/>
                  </a:lnTo>
                  <a:lnTo>
                    <a:pt x="26286" y="16500"/>
                  </a:lnTo>
                  <a:lnTo>
                    <a:pt x="26422" y="16726"/>
                  </a:lnTo>
                  <a:lnTo>
                    <a:pt x="26580" y="16974"/>
                  </a:lnTo>
                  <a:lnTo>
                    <a:pt x="26693" y="17246"/>
                  </a:lnTo>
                  <a:lnTo>
                    <a:pt x="26806" y="17539"/>
                  </a:lnTo>
                  <a:lnTo>
                    <a:pt x="26896" y="17833"/>
                  </a:lnTo>
                  <a:lnTo>
                    <a:pt x="26987" y="18150"/>
                  </a:lnTo>
                  <a:lnTo>
                    <a:pt x="27055" y="18466"/>
                  </a:lnTo>
                  <a:lnTo>
                    <a:pt x="27145" y="19144"/>
                  </a:lnTo>
                  <a:lnTo>
                    <a:pt x="27213" y="19890"/>
                  </a:lnTo>
                  <a:lnTo>
                    <a:pt x="27235" y="20658"/>
                  </a:lnTo>
                  <a:lnTo>
                    <a:pt x="27235" y="20658"/>
                  </a:lnTo>
                  <a:lnTo>
                    <a:pt x="27213" y="21201"/>
                  </a:lnTo>
                  <a:lnTo>
                    <a:pt x="27190" y="21766"/>
                  </a:lnTo>
                  <a:lnTo>
                    <a:pt x="27100" y="22919"/>
                  </a:lnTo>
                  <a:lnTo>
                    <a:pt x="26964" y="24094"/>
                  </a:lnTo>
                  <a:lnTo>
                    <a:pt x="26783" y="25314"/>
                  </a:lnTo>
                  <a:lnTo>
                    <a:pt x="26557" y="26557"/>
                  </a:lnTo>
                  <a:lnTo>
                    <a:pt x="26309" y="27800"/>
                  </a:lnTo>
                  <a:lnTo>
                    <a:pt x="26038" y="29021"/>
                  </a:lnTo>
                  <a:lnTo>
                    <a:pt x="25766" y="30219"/>
                  </a:lnTo>
                  <a:lnTo>
                    <a:pt x="25246" y="32502"/>
                  </a:lnTo>
                  <a:lnTo>
                    <a:pt x="24772" y="34558"/>
                  </a:lnTo>
                  <a:lnTo>
                    <a:pt x="24591" y="35462"/>
                  </a:lnTo>
                  <a:lnTo>
                    <a:pt x="24433" y="36276"/>
                  </a:lnTo>
                  <a:lnTo>
                    <a:pt x="24342" y="36954"/>
                  </a:lnTo>
                  <a:lnTo>
                    <a:pt x="24320" y="37270"/>
                  </a:lnTo>
                  <a:lnTo>
                    <a:pt x="24320" y="37542"/>
                  </a:lnTo>
                  <a:lnTo>
                    <a:pt x="24320" y="37542"/>
                  </a:lnTo>
                  <a:lnTo>
                    <a:pt x="24320" y="37813"/>
                  </a:lnTo>
                  <a:lnTo>
                    <a:pt x="24365" y="38039"/>
                  </a:lnTo>
                  <a:lnTo>
                    <a:pt x="24433" y="38220"/>
                  </a:lnTo>
                  <a:lnTo>
                    <a:pt x="24478" y="38287"/>
                  </a:lnTo>
                  <a:lnTo>
                    <a:pt x="24523" y="38333"/>
                  </a:lnTo>
                  <a:lnTo>
                    <a:pt x="24523" y="38333"/>
                  </a:lnTo>
                  <a:lnTo>
                    <a:pt x="24772" y="38400"/>
                  </a:lnTo>
                  <a:lnTo>
                    <a:pt x="25405" y="38513"/>
                  </a:lnTo>
                  <a:lnTo>
                    <a:pt x="25834" y="38559"/>
                  </a:lnTo>
                  <a:lnTo>
                    <a:pt x="26286" y="38626"/>
                  </a:lnTo>
                  <a:lnTo>
                    <a:pt x="26761" y="38649"/>
                  </a:lnTo>
                  <a:lnTo>
                    <a:pt x="27258" y="38672"/>
                  </a:lnTo>
                  <a:lnTo>
                    <a:pt x="27258" y="38672"/>
                  </a:lnTo>
                  <a:lnTo>
                    <a:pt x="27620" y="38672"/>
                  </a:lnTo>
                  <a:lnTo>
                    <a:pt x="27959" y="38626"/>
                  </a:lnTo>
                  <a:lnTo>
                    <a:pt x="28275" y="38581"/>
                  </a:lnTo>
                  <a:lnTo>
                    <a:pt x="28569" y="38491"/>
                  </a:lnTo>
                  <a:lnTo>
                    <a:pt x="28818" y="38378"/>
                  </a:lnTo>
                  <a:lnTo>
                    <a:pt x="28931" y="38287"/>
                  </a:lnTo>
                  <a:lnTo>
                    <a:pt x="29021" y="38220"/>
                  </a:lnTo>
                  <a:lnTo>
                    <a:pt x="29111" y="38129"/>
                  </a:lnTo>
                  <a:lnTo>
                    <a:pt x="29157" y="38016"/>
                  </a:lnTo>
                  <a:lnTo>
                    <a:pt x="29224" y="37903"/>
                  </a:lnTo>
                  <a:lnTo>
                    <a:pt x="29247" y="37790"/>
                  </a:lnTo>
                  <a:lnTo>
                    <a:pt x="29247" y="37790"/>
                  </a:lnTo>
                  <a:lnTo>
                    <a:pt x="29247" y="37768"/>
                  </a:lnTo>
                  <a:lnTo>
                    <a:pt x="29247" y="37768"/>
                  </a:lnTo>
                  <a:lnTo>
                    <a:pt x="29292" y="37564"/>
                  </a:lnTo>
                  <a:lnTo>
                    <a:pt x="29383" y="37112"/>
                  </a:lnTo>
                  <a:lnTo>
                    <a:pt x="29789" y="35598"/>
                  </a:lnTo>
                  <a:lnTo>
                    <a:pt x="30354" y="33360"/>
                  </a:lnTo>
                  <a:lnTo>
                    <a:pt x="30671" y="32049"/>
                  </a:lnTo>
                  <a:lnTo>
                    <a:pt x="30987" y="30603"/>
                  </a:lnTo>
                  <a:lnTo>
                    <a:pt x="31326" y="29089"/>
                  </a:lnTo>
                  <a:lnTo>
                    <a:pt x="31643" y="27484"/>
                  </a:lnTo>
                  <a:lnTo>
                    <a:pt x="31937" y="25857"/>
                  </a:lnTo>
                  <a:lnTo>
                    <a:pt x="32208" y="24207"/>
                  </a:lnTo>
                  <a:lnTo>
                    <a:pt x="32434" y="22534"/>
                  </a:lnTo>
                  <a:lnTo>
                    <a:pt x="32592" y="20907"/>
                  </a:lnTo>
                  <a:lnTo>
                    <a:pt x="32660" y="20093"/>
                  </a:lnTo>
                  <a:lnTo>
                    <a:pt x="32705" y="19302"/>
                  </a:lnTo>
                  <a:lnTo>
                    <a:pt x="32750" y="18534"/>
                  </a:lnTo>
                  <a:lnTo>
                    <a:pt x="32750" y="17765"/>
                  </a:lnTo>
                  <a:lnTo>
                    <a:pt x="32750" y="17765"/>
                  </a:lnTo>
                  <a:lnTo>
                    <a:pt x="32728" y="16771"/>
                  </a:lnTo>
                  <a:lnTo>
                    <a:pt x="32660" y="15799"/>
                  </a:lnTo>
                  <a:lnTo>
                    <a:pt x="32615" y="15347"/>
                  </a:lnTo>
                  <a:lnTo>
                    <a:pt x="32569" y="14895"/>
                  </a:lnTo>
                  <a:lnTo>
                    <a:pt x="32502" y="14466"/>
                  </a:lnTo>
                  <a:lnTo>
                    <a:pt x="32411" y="14059"/>
                  </a:lnTo>
                  <a:lnTo>
                    <a:pt x="32411" y="14059"/>
                  </a:lnTo>
                  <a:lnTo>
                    <a:pt x="32298" y="13675"/>
                  </a:lnTo>
                  <a:lnTo>
                    <a:pt x="32208" y="13313"/>
                  </a:lnTo>
                  <a:lnTo>
                    <a:pt x="32072" y="12951"/>
                  </a:lnTo>
                  <a:lnTo>
                    <a:pt x="31937" y="12612"/>
                  </a:lnTo>
                  <a:lnTo>
                    <a:pt x="31937" y="12612"/>
                  </a:lnTo>
                  <a:lnTo>
                    <a:pt x="31801" y="12341"/>
                  </a:lnTo>
                  <a:lnTo>
                    <a:pt x="31665" y="12092"/>
                  </a:lnTo>
                  <a:lnTo>
                    <a:pt x="31507" y="11844"/>
                  </a:lnTo>
                  <a:lnTo>
                    <a:pt x="31349" y="11618"/>
                  </a:lnTo>
                  <a:lnTo>
                    <a:pt x="31168" y="11414"/>
                  </a:lnTo>
                  <a:lnTo>
                    <a:pt x="30987" y="11211"/>
                  </a:lnTo>
                  <a:lnTo>
                    <a:pt x="30784" y="11053"/>
                  </a:lnTo>
                  <a:lnTo>
                    <a:pt x="30558" y="10895"/>
                  </a:lnTo>
                  <a:lnTo>
                    <a:pt x="30558" y="10895"/>
                  </a:lnTo>
                  <a:lnTo>
                    <a:pt x="29970" y="10533"/>
                  </a:lnTo>
                  <a:lnTo>
                    <a:pt x="29111" y="10036"/>
                  </a:lnTo>
                  <a:lnTo>
                    <a:pt x="26783" y="8770"/>
                  </a:lnTo>
                  <a:lnTo>
                    <a:pt x="23845" y="7233"/>
                  </a:lnTo>
                  <a:lnTo>
                    <a:pt x="20613" y="5561"/>
                  </a:lnTo>
                  <a:lnTo>
                    <a:pt x="17313" y="3933"/>
                  </a:lnTo>
                  <a:lnTo>
                    <a:pt x="14262" y="2442"/>
                  </a:lnTo>
                  <a:lnTo>
                    <a:pt x="12929" y="1809"/>
                  </a:lnTo>
                  <a:lnTo>
                    <a:pt x="11731" y="1289"/>
                  </a:lnTo>
                  <a:lnTo>
                    <a:pt x="10759" y="860"/>
                  </a:lnTo>
                  <a:lnTo>
                    <a:pt x="10013" y="588"/>
                  </a:lnTo>
                  <a:lnTo>
                    <a:pt x="10013" y="588"/>
                  </a:lnTo>
                  <a:lnTo>
                    <a:pt x="9651" y="475"/>
                  </a:lnTo>
                  <a:lnTo>
                    <a:pt x="9651" y="475"/>
                  </a:lnTo>
                  <a:lnTo>
                    <a:pt x="8521" y="340"/>
                  </a:lnTo>
                  <a:lnTo>
                    <a:pt x="7482" y="227"/>
                  </a:lnTo>
                  <a:lnTo>
                    <a:pt x="6555" y="159"/>
                  </a:lnTo>
                  <a:lnTo>
                    <a:pt x="5719" y="91"/>
                  </a:lnTo>
                  <a:lnTo>
                    <a:pt x="4295" y="23"/>
                  </a:lnTo>
                  <a:lnTo>
                    <a:pt x="316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6" name="Google Shape;1743;p16">
              <a:extLst>
                <a:ext uri="{FF2B5EF4-FFF2-40B4-BE49-F238E27FC236}">
                  <a16:creationId xmlns:a16="http://schemas.microsoft.com/office/drawing/2014/main" id="{77A4FC0D-323D-EDE0-E011-BF2F1F5D3297}"/>
                </a:ext>
              </a:extLst>
            </p:cNvPr>
            <p:cNvSpPr/>
            <p:nvPr/>
          </p:nvSpPr>
          <p:spPr>
            <a:xfrm>
              <a:off x="4217650" y="1934500"/>
              <a:ext cx="649825" cy="139600"/>
            </a:xfrm>
            <a:custGeom>
              <a:avLst/>
              <a:gdLst/>
              <a:ahLst/>
              <a:cxnLst/>
              <a:rect l="l" t="t" r="r" b="b"/>
              <a:pathLst>
                <a:path w="25993" h="5584" extrusionOk="0">
                  <a:moveTo>
                    <a:pt x="23529" y="1"/>
                  </a:moveTo>
                  <a:lnTo>
                    <a:pt x="23439" y="46"/>
                  </a:lnTo>
                  <a:lnTo>
                    <a:pt x="23371" y="136"/>
                  </a:lnTo>
                  <a:lnTo>
                    <a:pt x="23280" y="249"/>
                  </a:lnTo>
                  <a:lnTo>
                    <a:pt x="23190" y="408"/>
                  </a:lnTo>
                  <a:lnTo>
                    <a:pt x="23032" y="792"/>
                  </a:lnTo>
                  <a:lnTo>
                    <a:pt x="22851" y="1244"/>
                  </a:lnTo>
                  <a:lnTo>
                    <a:pt x="22648" y="1673"/>
                  </a:lnTo>
                  <a:lnTo>
                    <a:pt x="22557" y="1877"/>
                  </a:lnTo>
                  <a:lnTo>
                    <a:pt x="22444" y="2035"/>
                  </a:lnTo>
                  <a:lnTo>
                    <a:pt x="22354" y="2193"/>
                  </a:lnTo>
                  <a:lnTo>
                    <a:pt x="22241" y="2306"/>
                  </a:lnTo>
                  <a:lnTo>
                    <a:pt x="22128" y="2396"/>
                  </a:lnTo>
                  <a:lnTo>
                    <a:pt x="21992" y="2419"/>
                  </a:lnTo>
                  <a:lnTo>
                    <a:pt x="17201" y="2419"/>
                  </a:lnTo>
                  <a:lnTo>
                    <a:pt x="15641" y="2442"/>
                  </a:lnTo>
                  <a:lnTo>
                    <a:pt x="14127" y="2509"/>
                  </a:lnTo>
                  <a:lnTo>
                    <a:pt x="12793" y="2577"/>
                  </a:lnTo>
                  <a:lnTo>
                    <a:pt x="12206" y="2622"/>
                  </a:lnTo>
                  <a:lnTo>
                    <a:pt x="11708" y="2690"/>
                  </a:lnTo>
                  <a:lnTo>
                    <a:pt x="11143" y="2622"/>
                  </a:lnTo>
                  <a:lnTo>
                    <a:pt x="9946" y="2464"/>
                  </a:lnTo>
                  <a:lnTo>
                    <a:pt x="6397" y="1899"/>
                  </a:lnTo>
                  <a:lnTo>
                    <a:pt x="4431" y="1583"/>
                  </a:lnTo>
                  <a:lnTo>
                    <a:pt x="2578" y="1244"/>
                  </a:lnTo>
                  <a:lnTo>
                    <a:pt x="1041" y="950"/>
                  </a:lnTo>
                  <a:lnTo>
                    <a:pt x="430" y="837"/>
                  </a:lnTo>
                  <a:lnTo>
                    <a:pt x="1" y="724"/>
                  </a:lnTo>
                  <a:lnTo>
                    <a:pt x="1" y="1289"/>
                  </a:lnTo>
                  <a:lnTo>
                    <a:pt x="24" y="1877"/>
                  </a:lnTo>
                  <a:lnTo>
                    <a:pt x="69" y="2532"/>
                  </a:lnTo>
                  <a:lnTo>
                    <a:pt x="159" y="3233"/>
                  </a:lnTo>
                  <a:lnTo>
                    <a:pt x="204" y="3549"/>
                  </a:lnTo>
                  <a:lnTo>
                    <a:pt x="250" y="3843"/>
                  </a:lnTo>
                  <a:lnTo>
                    <a:pt x="317" y="4114"/>
                  </a:lnTo>
                  <a:lnTo>
                    <a:pt x="385" y="4340"/>
                  </a:lnTo>
                  <a:lnTo>
                    <a:pt x="476" y="4498"/>
                  </a:lnTo>
                  <a:lnTo>
                    <a:pt x="521" y="4544"/>
                  </a:lnTo>
                  <a:lnTo>
                    <a:pt x="589" y="4589"/>
                  </a:lnTo>
                  <a:lnTo>
                    <a:pt x="792" y="4657"/>
                  </a:lnTo>
                  <a:lnTo>
                    <a:pt x="1221" y="4724"/>
                  </a:lnTo>
                  <a:lnTo>
                    <a:pt x="2532" y="4883"/>
                  </a:lnTo>
                  <a:lnTo>
                    <a:pt x="4318" y="5063"/>
                  </a:lnTo>
                  <a:lnTo>
                    <a:pt x="6329" y="5222"/>
                  </a:lnTo>
                  <a:lnTo>
                    <a:pt x="8341" y="5380"/>
                  </a:lnTo>
                  <a:lnTo>
                    <a:pt x="10104" y="5493"/>
                  </a:lnTo>
                  <a:lnTo>
                    <a:pt x="11392" y="5561"/>
                  </a:lnTo>
                  <a:lnTo>
                    <a:pt x="11980" y="5583"/>
                  </a:lnTo>
                  <a:lnTo>
                    <a:pt x="13449" y="5357"/>
                  </a:lnTo>
                  <a:lnTo>
                    <a:pt x="15054" y="5131"/>
                  </a:lnTo>
                  <a:lnTo>
                    <a:pt x="16726" y="4928"/>
                  </a:lnTo>
                  <a:lnTo>
                    <a:pt x="18353" y="4747"/>
                  </a:lnTo>
                  <a:lnTo>
                    <a:pt x="19868" y="4611"/>
                  </a:lnTo>
                  <a:lnTo>
                    <a:pt x="21178" y="4498"/>
                  </a:lnTo>
                  <a:lnTo>
                    <a:pt x="22241" y="4453"/>
                  </a:lnTo>
                  <a:lnTo>
                    <a:pt x="22625" y="4453"/>
                  </a:lnTo>
                  <a:lnTo>
                    <a:pt x="22919" y="4476"/>
                  </a:lnTo>
                  <a:lnTo>
                    <a:pt x="23439" y="4544"/>
                  </a:lnTo>
                  <a:lnTo>
                    <a:pt x="23891" y="4589"/>
                  </a:lnTo>
                  <a:lnTo>
                    <a:pt x="24297" y="4611"/>
                  </a:lnTo>
                  <a:lnTo>
                    <a:pt x="24659" y="4589"/>
                  </a:lnTo>
                  <a:lnTo>
                    <a:pt x="24953" y="4566"/>
                  </a:lnTo>
                  <a:lnTo>
                    <a:pt x="25202" y="4521"/>
                  </a:lnTo>
                  <a:lnTo>
                    <a:pt x="25405" y="4453"/>
                  </a:lnTo>
                  <a:lnTo>
                    <a:pt x="25563" y="4363"/>
                  </a:lnTo>
                  <a:lnTo>
                    <a:pt x="25699" y="4250"/>
                  </a:lnTo>
                  <a:lnTo>
                    <a:pt x="25789" y="4114"/>
                  </a:lnTo>
                  <a:lnTo>
                    <a:pt x="25880" y="3979"/>
                  </a:lnTo>
                  <a:lnTo>
                    <a:pt x="25925" y="3820"/>
                  </a:lnTo>
                  <a:lnTo>
                    <a:pt x="25947" y="3640"/>
                  </a:lnTo>
                  <a:lnTo>
                    <a:pt x="25970" y="3459"/>
                  </a:lnTo>
                  <a:lnTo>
                    <a:pt x="25993" y="3052"/>
                  </a:lnTo>
                  <a:lnTo>
                    <a:pt x="25970" y="2826"/>
                  </a:lnTo>
                  <a:lnTo>
                    <a:pt x="25925" y="2622"/>
                  </a:lnTo>
                  <a:lnTo>
                    <a:pt x="25880" y="2464"/>
                  </a:lnTo>
                  <a:lnTo>
                    <a:pt x="25789" y="2306"/>
                  </a:lnTo>
                  <a:lnTo>
                    <a:pt x="25699" y="2170"/>
                  </a:lnTo>
                  <a:lnTo>
                    <a:pt x="25586" y="2035"/>
                  </a:lnTo>
                  <a:lnTo>
                    <a:pt x="25473" y="1944"/>
                  </a:lnTo>
                  <a:lnTo>
                    <a:pt x="25337" y="1854"/>
                  </a:lnTo>
                  <a:lnTo>
                    <a:pt x="25224" y="1786"/>
                  </a:lnTo>
                  <a:lnTo>
                    <a:pt x="25089" y="1718"/>
                  </a:lnTo>
                  <a:lnTo>
                    <a:pt x="24817" y="1651"/>
                  </a:lnTo>
                  <a:lnTo>
                    <a:pt x="24569" y="1628"/>
                  </a:lnTo>
                  <a:lnTo>
                    <a:pt x="24365" y="1651"/>
                  </a:lnTo>
                  <a:lnTo>
                    <a:pt x="24297" y="1628"/>
                  </a:lnTo>
                  <a:lnTo>
                    <a:pt x="24252" y="1583"/>
                  </a:lnTo>
                  <a:lnTo>
                    <a:pt x="24207" y="1515"/>
                  </a:lnTo>
                  <a:lnTo>
                    <a:pt x="24162" y="1402"/>
                  </a:lnTo>
                  <a:lnTo>
                    <a:pt x="24094" y="1131"/>
                  </a:lnTo>
                  <a:lnTo>
                    <a:pt x="24026" y="792"/>
                  </a:lnTo>
                  <a:lnTo>
                    <a:pt x="23936" y="475"/>
                  </a:lnTo>
                  <a:lnTo>
                    <a:pt x="23845" y="227"/>
                  </a:lnTo>
                  <a:lnTo>
                    <a:pt x="23778" y="114"/>
                  </a:lnTo>
                  <a:lnTo>
                    <a:pt x="23710" y="46"/>
                  </a:lnTo>
                  <a:lnTo>
                    <a:pt x="23619" y="1"/>
                  </a:lnTo>
                  <a:close/>
                </a:path>
              </a:pathLst>
            </a:custGeom>
            <a:solidFill>
              <a:srgbClr val="F4B0B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7" name="Google Shape;1744;p16">
              <a:extLst>
                <a:ext uri="{FF2B5EF4-FFF2-40B4-BE49-F238E27FC236}">
                  <a16:creationId xmlns:a16="http://schemas.microsoft.com/office/drawing/2014/main" id="{EDC15CED-6CE5-4991-1B87-D3F121261CD7}"/>
                </a:ext>
              </a:extLst>
            </p:cNvPr>
            <p:cNvSpPr/>
            <p:nvPr/>
          </p:nvSpPr>
          <p:spPr>
            <a:xfrm>
              <a:off x="3979775" y="1910775"/>
              <a:ext cx="359400" cy="566750"/>
            </a:xfrm>
            <a:custGeom>
              <a:avLst/>
              <a:gdLst/>
              <a:ahLst/>
              <a:cxnLst/>
              <a:rect l="l" t="t" r="r" b="b"/>
              <a:pathLst>
                <a:path w="14376" h="22670" extrusionOk="0">
                  <a:moveTo>
                    <a:pt x="4272" y="0"/>
                  </a:moveTo>
                  <a:lnTo>
                    <a:pt x="4137" y="136"/>
                  </a:lnTo>
                  <a:lnTo>
                    <a:pt x="3753" y="520"/>
                  </a:lnTo>
                  <a:lnTo>
                    <a:pt x="3233" y="1108"/>
                  </a:lnTo>
                  <a:lnTo>
                    <a:pt x="2939" y="1470"/>
                  </a:lnTo>
                  <a:lnTo>
                    <a:pt x="2623" y="1854"/>
                  </a:lnTo>
                  <a:lnTo>
                    <a:pt x="2329" y="2283"/>
                  </a:lnTo>
                  <a:lnTo>
                    <a:pt x="2035" y="2735"/>
                  </a:lnTo>
                  <a:lnTo>
                    <a:pt x="1764" y="3187"/>
                  </a:lnTo>
                  <a:lnTo>
                    <a:pt x="1515" y="3684"/>
                  </a:lnTo>
                  <a:lnTo>
                    <a:pt x="1312" y="4159"/>
                  </a:lnTo>
                  <a:lnTo>
                    <a:pt x="1244" y="4408"/>
                  </a:lnTo>
                  <a:lnTo>
                    <a:pt x="1176" y="4656"/>
                  </a:lnTo>
                  <a:lnTo>
                    <a:pt x="1131" y="4905"/>
                  </a:lnTo>
                  <a:lnTo>
                    <a:pt x="1086" y="5154"/>
                  </a:lnTo>
                  <a:lnTo>
                    <a:pt x="1063" y="5380"/>
                  </a:lnTo>
                  <a:lnTo>
                    <a:pt x="1086" y="5628"/>
                  </a:lnTo>
                  <a:lnTo>
                    <a:pt x="1108" y="5877"/>
                  </a:lnTo>
                  <a:lnTo>
                    <a:pt x="1131" y="6125"/>
                  </a:lnTo>
                  <a:lnTo>
                    <a:pt x="1266" y="6713"/>
                  </a:lnTo>
                  <a:lnTo>
                    <a:pt x="1470" y="7323"/>
                  </a:lnTo>
                  <a:lnTo>
                    <a:pt x="1696" y="8001"/>
                  </a:lnTo>
                  <a:lnTo>
                    <a:pt x="1944" y="8725"/>
                  </a:lnTo>
                  <a:lnTo>
                    <a:pt x="2193" y="9516"/>
                  </a:lnTo>
                  <a:lnTo>
                    <a:pt x="2419" y="10329"/>
                  </a:lnTo>
                  <a:lnTo>
                    <a:pt x="2623" y="11188"/>
                  </a:lnTo>
                  <a:lnTo>
                    <a:pt x="2713" y="11640"/>
                  </a:lnTo>
                  <a:lnTo>
                    <a:pt x="2781" y="12092"/>
                  </a:lnTo>
                  <a:lnTo>
                    <a:pt x="2849" y="12567"/>
                  </a:lnTo>
                  <a:lnTo>
                    <a:pt x="2894" y="13041"/>
                  </a:lnTo>
                  <a:lnTo>
                    <a:pt x="2916" y="13539"/>
                  </a:lnTo>
                  <a:lnTo>
                    <a:pt x="2916" y="14013"/>
                  </a:lnTo>
                  <a:lnTo>
                    <a:pt x="2894" y="14533"/>
                  </a:lnTo>
                  <a:lnTo>
                    <a:pt x="2826" y="15030"/>
                  </a:lnTo>
                  <a:lnTo>
                    <a:pt x="2758" y="15550"/>
                  </a:lnTo>
                  <a:lnTo>
                    <a:pt x="2645" y="16070"/>
                  </a:lnTo>
                  <a:lnTo>
                    <a:pt x="2510" y="16612"/>
                  </a:lnTo>
                  <a:lnTo>
                    <a:pt x="2351" y="17155"/>
                  </a:lnTo>
                  <a:lnTo>
                    <a:pt x="2148" y="17697"/>
                  </a:lnTo>
                  <a:lnTo>
                    <a:pt x="1899" y="18240"/>
                  </a:lnTo>
                  <a:lnTo>
                    <a:pt x="1605" y="18782"/>
                  </a:lnTo>
                  <a:lnTo>
                    <a:pt x="1289" y="19347"/>
                  </a:lnTo>
                  <a:lnTo>
                    <a:pt x="747" y="20251"/>
                  </a:lnTo>
                  <a:lnTo>
                    <a:pt x="362" y="20974"/>
                  </a:lnTo>
                  <a:lnTo>
                    <a:pt x="227" y="21268"/>
                  </a:lnTo>
                  <a:lnTo>
                    <a:pt x="136" y="21540"/>
                  </a:lnTo>
                  <a:lnTo>
                    <a:pt x="46" y="21788"/>
                  </a:lnTo>
                  <a:lnTo>
                    <a:pt x="23" y="21992"/>
                  </a:lnTo>
                  <a:lnTo>
                    <a:pt x="1" y="22150"/>
                  </a:lnTo>
                  <a:lnTo>
                    <a:pt x="23" y="22308"/>
                  </a:lnTo>
                  <a:lnTo>
                    <a:pt x="46" y="22421"/>
                  </a:lnTo>
                  <a:lnTo>
                    <a:pt x="114" y="22511"/>
                  </a:lnTo>
                  <a:lnTo>
                    <a:pt x="204" y="22579"/>
                  </a:lnTo>
                  <a:lnTo>
                    <a:pt x="317" y="22624"/>
                  </a:lnTo>
                  <a:lnTo>
                    <a:pt x="453" y="22670"/>
                  </a:lnTo>
                  <a:lnTo>
                    <a:pt x="611" y="22670"/>
                  </a:lnTo>
                  <a:lnTo>
                    <a:pt x="973" y="22647"/>
                  </a:lnTo>
                  <a:lnTo>
                    <a:pt x="1402" y="22579"/>
                  </a:lnTo>
                  <a:lnTo>
                    <a:pt x="2374" y="22376"/>
                  </a:lnTo>
                  <a:lnTo>
                    <a:pt x="2939" y="22263"/>
                  </a:lnTo>
                  <a:lnTo>
                    <a:pt x="3504" y="22150"/>
                  </a:lnTo>
                  <a:lnTo>
                    <a:pt x="4069" y="22082"/>
                  </a:lnTo>
                  <a:lnTo>
                    <a:pt x="4634" y="22037"/>
                  </a:lnTo>
                  <a:lnTo>
                    <a:pt x="5787" y="22037"/>
                  </a:lnTo>
                  <a:lnTo>
                    <a:pt x="6487" y="22059"/>
                  </a:lnTo>
                  <a:lnTo>
                    <a:pt x="7278" y="22105"/>
                  </a:lnTo>
                  <a:lnTo>
                    <a:pt x="8182" y="22150"/>
                  </a:lnTo>
                  <a:lnTo>
                    <a:pt x="9222" y="22240"/>
                  </a:lnTo>
                  <a:lnTo>
                    <a:pt x="10375" y="22353"/>
                  </a:lnTo>
                  <a:lnTo>
                    <a:pt x="11663" y="22511"/>
                  </a:lnTo>
                  <a:lnTo>
                    <a:pt x="11369" y="22263"/>
                  </a:lnTo>
                  <a:lnTo>
                    <a:pt x="11098" y="21992"/>
                  </a:lnTo>
                  <a:lnTo>
                    <a:pt x="10872" y="21698"/>
                  </a:lnTo>
                  <a:lnTo>
                    <a:pt x="10669" y="21404"/>
                  </a:lnTo>
                  <a:lnTo>
                    <a:pt x="10510" y="21087"/>
                  </a:lnTo>
                  <a:lnTo>
                    <a:pt x="10375" y="20748"/>
                  </a:lnTo>
                  <a:lnTo>
                    <a:pt x="10284" y="20409"/>
                  </a:lnTo>
                  <a:lnTo>
                    <a:pt x="10217" y="20048"/>
                  </a:lnTo>
                  <a:lnTo>
                    <a:pt x="10171" y="19686"/>
                  </a:lnTo>
                  <a:lnTo>
                    <a:pt x="10149" y="19302"/>
                  </a:lnTo>
                  <a:lnTo>
                    <a:pt x="10149" y="18940"/>
                  </a:lnTo>
                  <a:lnTo>
                    <a:pt x="10171" y="18556"/>
                  </a:lnTo>
                  <a:lnTo>
                    <a:pt x="10217" y="18172"/>
                  </a:lnTo>
                  <a:lnTo>
                    <a:pt x="10262" y="17765"/>
                  </a:lnTo>
                  <a:lnTo>
                    <a:pt x="10420" y="16997"/>
                  </a:lnTo>
                  <a:lnTo>
                    <a:pt x="10601" y="16228"/>
                  </a:lnTo>
                  <a:lnTo>
                    <a:pt x="10827" y="15505"/>
                  </a:lnTo>
                  <a:lnTo>
                    <a:pt x="11279" y="14126"/>
                  </a:lnTo>
                  <a:lnTo>
                    <a:pt x="11482" y="13516"/>
                  </a:lnTo>
                  <a:lnTo>
                    <a:pt x="11640" y="12974"/>
                  </a:lnTo>
                  <a:lnTo>
                    <a:pt x="11776" y="12522"/>
                  </a:lnTo>
                  <a:lnTo>
                    <a:pt x="11799" y="12341"/>
                  </a:lnTo>
                  <a:lnTo>
                    <a:pt x="11821" y="12160"/>
                  </a:lnTo>
                  <a:lnTo>
                    <a:pt x="11844" y="11866"/>
                  </a:lnTo>
                  <a:lnTo>
                    <a:pt x="11934" y="11550"/>
                  </a:lnTo>
                  <a:lnTo>
                    <a:pt x="12047" y="11279"/>
                  </a:lnTo>
                  <a:lnTo>
                    <a:pt x="12183" y="11007"/>
                  </a:lnTo>
                  <a:lnTo>
                    <a:pt x="12341" y="10736"/>
                  </a:lnTo>
                  <a:lnTo>
                    <a:pt x="12522" y="10487"/>
                  </a:lnTo>
                  <a:lnTo>
                    <a:pt x="12951" y="9968"/>
                  </a:lnTo>
                  <a:lnTo>
                    <a:pt x="13381" y="9470"/>
                  </a:lnTo>
                  <a:lnTo>
                    <a:pt x="13765" y="8973"/>
                  </a:lnTo>
                  <a:lnTo>
                    <a:pt x="13946" y="8725"/>
                  </a:lnTo>
                  <a:lnTo>
                    <a:pt x="14104" y="8453"/>
                  </a:lnTo>
                  <a:lnTo>
                    <a:pt x="14240" y="8182"/>
                  </a:lnTo>
                  <a:lnTo>
                    <a:pt x="14330" y="7888"/>
                  </a:lnTo>
                  <a:lnTo>
                    <a:pt x="14375" y="7753"/>
                  </a:lnTo>
                  <a:lnTo>
                    <a:pt x="14375" y="7617"/>
                  </a:lnTo>
                  <a:lnTo>
                    <a:pt x="14375" y="7459"/>
                  </a:lnTo>
                  <a:lnTo>
                    <a:pt x="14375" y="7323"/>
                  </a:lnTo>
                  <a:lnTo>
                    <a:pt x="14307" y="7052"/>
                  </a:lnTo>
                  <a:lnTo>
                    <a:pt x="14194" y="6758"/>
                  </a:lnTo>
                  <a:lnTo>
                    <a:pt x="14059" y="6487"/>
                  </a:lnTo>
                  <a:lnTo>
                    <a:pt x="13878" y="6216"/>
                  </a:lnTo>
                  <a:lnTo>
                    <a:pt x="13675" y="5945"/>
                  </a:lnTo>
                  <a:lnTo>
                    <a:pt x="13471" y="5673"/>
                  </a:lnTo>
                  <a:lnTo>
                    <a:pt x="12997" y="5131"/>
                  </a:lnTo>
                  <a:lnTo>
                    <a:pt x="12567" y="4566"/>
                  </a:lnTo>
                  <a:lnTo>
                    <a:pt x="12386" y="4295"/>
                  </a:lnTo>
                  <a:lnTo>
                    <a:pt x="12228" y="4001"/>
                  </a:lnTo>
                  <a:lnTo>
                    <a:pt x="12093" y="3707"/>
                  </a:lnTo>
                  <a:lnTo>
                    <a:pt x="12002" y="3413"/>
                  </a:lnTo>
                  <a:lnTo>
                    <a:pt x="11912" y="3142"/>
                  </a:lnTo>
                  <a:lnTo>
                    <a:pt x="11821" y="2871"/>
                  </a:lnTo>
                  <a:lnTo>
                    <a:pt x="11686" y="2645"/>
                  </a:lnTo>
                  <a:lnTo>
                    <a:pt x="11550" y="2419"/>
                  </a:lnTo>
                  <a:lnTo>
                    <a:pt x="11392" y="2215"/>
                  </a:lnTo>
                  <a:lnTo>
                    <a:pt x="11211" y="2035"/>
                  </a:lnTo>
                  <a:lnTo>
                    <a:pt x="11008" y="1854"/>
                  </a:lnTo>
                  <a:lnTo>
                    <a:pt x="10782" y="1696"/>
                  </a:lnTo>
                  <a:lnTo>
                    <a:pt x="10556" y="1537"/>
                  </a:lnTo>
                  <a:lnTo>
                    <a:pt x="10284" y="1379"/>
                  </a:lnTo>
                  <a:lnTo>
                    <a:pt x="9719" y="1108"/>
                  </a:lnTo>
                  <a:lnTo>
                    <a:pt x="9087" y="837"/>
                  </a:lnTo>
                  <a:lnTo>
                    <a:pt x="8363" y="565"/>
                  </a:lnTo>
                  <a:lnTo>
                    <a:pt x="4272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8" name="Google Shape;1745;p16">
              <a:extLst>
                <a:ext uri="{FF2B5EF4-FFF2-40B4-BE49-F238E27FC236}">
                  <a16:creationId xmlns:a16="http://schemas.microsoft.com/office/drawing/2014/main" id="{CFC195F3-0173-3640-90E6-DEA0CF96CB40}"/>
                </a:ext>
              </a:extLst>
            </p:cNvPr>
            <p:cNvSpPr/>
            <p:nvPr/>
          </p:nvSpPr>
          <p:spPr>
            <a:xfrm>
              <a:off x="3979775" y="1910775"/>
              <a:ext cx="359400" cy="566750"/>
            </a:xfrm>
            <a:custGeom>
              <a:avLst/>
              <a:gdLst/>
              <a:ahLst/>
              <a:cxnLst/>
              <a:rect l="l" t="t" r="r" b="b"/>
              <a:pathLst>
                <a:path w="14376" h="22670" fill="none" extrusionOk="0">
                  <a:moveTo>
                    <a:pt x="8363" y="565"/>
                  </a:moveTo>
                  <a:lnTo>
                    <a:pt x="8363" y="565"/>
                  </a:lnTo>
                  <a:lnTo>
                    <a:pt x="9087" y="837"/>
                  </a:lnTo>
                  <a:lnTo>
                    <a:pt x="9719" y="1108"/>
                  </a:lnTo>
                  <a:lnTo>
                    <a:pt x="10284" y="1379"/>
                  </a:lnTo>
                  <a:lnTo>
                    <a:pt x="10556" y="1537"/>
                  </a:lnTo>
                  <a:lnTo>
                    <a:pt x="10782" y="1696"/>
                  </a:lnTo>
                  <a:lnTo>
                    <a:pt x="11008" y="1854"/>
                  </a:lnTo>
                  <a:lnTo>
                    <a:pt x="11211" y="2035"/>
                  </a:lnTo>
                  <a:lnTo>
                    <a:pt x="11392" y="2215"/>
                  </a:lnTo>
                  <a:lnTo>
                    <a:pt x="11550" y="2419"/>
                  </a:lnTo>
                  <a:lnTo>
                    <a:pt x="11686" y="2645"/>
                  </a:lnTo>
                  <a:lnTo>
                    <a:pt x="11821" y="2871"/>
                  </a:lnTo>
                  <a:lnTo>
                    <a:pt x="11912" y="3142"/>
                  </a:lnTo>
                  <a:lnTo>
                    <a:pt x="12002" y="3413"/>
                  </a:lnTo>
                  <a:lnTo>
                    <a:pt x="12002" y="3413"/>
                  </a:lnTo>
                  <a:lnTo>
                    <a:pt x="12093" y="3707"/>
                  </a:lnTo>
                  <a:lnTo>
                    <a:pt x="12228" y="4001"/>
                  </a:lnTo>
                  <a:lnTo>
                    <a:pt x="12386" y="4295"/>
                  </a:lnTo>
                  <a:lnTo>
                    <a:pt x="12567" y="4566"/>
                  </a:lnTo>
                  <a:lnTo>
                    <a:pt x="12997" y="5131"/>
                  </a:lnTo>
                  <a:lnTo>
                    <a:pt x="13471" y="5673"/>
                  </a:lnTo>
                  <a:lnTo>
                    <a:pt x="13675" y="5945"/>
                  </a:lnTo>
                  <a:lnTo>
                    <a:pt x="13878" y="6216"/>
                  </a:lnTo>
                  <a:lnTo>
                    <a:pt x="14059" y="6487"/>
                  </a:lnTo>
                  <a:lnTo>
                    <a:pt x="14194" y="6758"/>
                  </a:lnTo>
                  <a:lnTo>
                    <a:pt x="14307" y="7052"/>
                  </a:lnTo>
                  <a:lnTo>
                    <a:pt x="14375" y="7323"/>
                  </a:lnTo>
                  <a:lnTo>
                    <a:pt x="14375" y="7459"/>
                  </a:lnTo>
                  <a:lnTo>
                    <a:pt x="14375" y="7617"/>
                  </a:lnTo>
                  <a:lnTo>
                    <a:pt x="14375" y="7753"/>
                  </a:lnTo>
                  <a:lnTo>
                    <a:pt x="14330" y="7888"/>
                  </a:lnTo>
                  <a:lnTo>
                    <a:pt x="14330" y="7888"/>
                  </a:lnTo>
                  <a:lnTo>
                    <a:pt x="14240" y="8182"/>
                  </a:lnTo>
                  <a:lnTo>
                    <a:pt x="14104" y="8453"/>
                  </a:lnTo>
                  <a:lnTo>
                    <a:pt x="13946" y="8725"/>
                  </a:lnTo>
                  <a:lnTo>
                    <a:pt x="13765" y="8973"/>
                  </a:lnTo>
                  <a:lnTo>
                    <a:pt x="13381" y="9470"/>
                  </a:lnTo>
                  <a:lnTo>
                    <a:pt x="12951" y="9968"/>
                  </a:lnTo>
                  <a:lnTo>
                    <a:pt x="12522" y="10487"/>
                  </a:lnTo>
                  <a:lnTo>
                    <a:pt x="12341" y="10736"/>
                  </a:lnTo>
                  <a:lnTo>
                    <a:pt x="12183" y="11007"/>
                  </a:lnTo>
                  <a:lnTo>
                    <a:pt x="12047" y="11279"/>
                  </a:lnTo>
                  <a:lnTo>
                    <a:pt x="11934" y="11550"/>
                  </a:lnTo>
                  <a:lnTo>
                    <a:pt x="11844" y="11866"/>
                  </a:lnTo>
                  <a:lnTo>
                    <a:pt x="11821" y="12160"/>
                  </a:lnTo>
                  <a:lnTo>
                    <a:pt x="11821" y="12160"/>
                  </a:lnTo>
                  <a:lnTo>
                    <a:pt x="11799" y="12341"/>
                  </a:lnTo>
                  <a:lnTo>
                    <a:pt x="11776" y="12522"/>
                  </a:lnTo>
                  <a:lnTo>
                    <a:pt x="11640" y="12974"/>
                  </a:lnTo>
                  <a:lnTo>
                    <a:pt x="11482" y="13516"/>
                  </a:lnTo>
                  <a:lnTo>
                    <a:pt x="11279" y="14126"/>
                  </a:lnTo>
                  <a:lnTo>
                    <a:pt x="10827" y="15505"/>
                  </a:lnTo>
                  <a:lnTo>
                    <a:pt x="10601" y="16228"/>
                  </a:lnTo>
                  <a:lnTo>
                    <a:pt x="10420" y="16997"/>
                  </a:lnTo>
                  <a:lnTo>
                    <a:pt x="10262" y="17765"/>
                  </a:lnTo>
                  <a:lnTo>
                    <a:pt x="10217" y="18172"/>
                  </a:lnTo>
                  <a:lnTo>
                    <a:pt x="10171" y="18556"/>
                  </a:lnTo>
                  <a:lnTo>
                    <a:pt x="10149" y="18940"/>
                  </a:lnTo>
                  <a:lnTo>
                    <a:pt x="10149" y="19302"/>
                  </a:lnTo>
                  <a:lnTo>
                    <a:pt x="10171" y="19686"/>
                  </a:lnTo>
                  <a:lnTo>
                    <a:pt x="10217" y="20048"/>
                  </a:lnTo>
                  <a:lnTo>
                    <a:pt x="10284" y="20409"/>
                  </a:lnTo>
                  <a:lnTo>
                    <a:pt x="10375" y="20748"/>
                  </a:lnTo>
                  <a:lnTo>
                    <a:pt x="10510" y="21087"/>
                  </a:lnTo>
                  <a:lnTo>
                    <a:pt x="10669" y="21404"/>
                  </a:lnTo>
                  <a:lnTo>
                    <a:pt x="10872" y="21698"/>
                  </a:lnTo>
                  <a:lnTo>
                    <a:pt x="11098" y="21992"/>
                  </a:lnTo>
                  <a:lnTo>
                    <a:pt x="11369" y="22263"/>
                  </a:lnTo>
                  <a:lnTo>
                    <a:pt x="11663" y="22511"/>
                  </a:lnTo>
                  <a:lnTo>
                    <a:pt x="11663" y="22511"/>
                  </a:lnTo>
                  <a:lnTo>
                    <a:pt x="10375" y="22353"/>
                  </a:lnTo>
                  <a:lnTo>
                    <a:pt x="9222" y="22240"/>
                  </a:lnTo>
                  <a:lnTo>
                    <a:pt x="8182" y="22150"/>
                  </a:lnTo>
                  <a:lnTo>
                    <a:pt x="7278" y="22105"/>
                  </a:lnTo>
                  <a:lnTo>
                    <a:pt x="6487" y="22059"/>
                  </a:lnTo>
                  <a:lnTo>
                    <a:pt x="5787" y="22037"/>
                  </a:lnTo>
                  <a:lnTo>
                    <a:pt x="4634" y="22037"/>
                  </a:lnTo>
                  <a:lnTo>
                    <a:pt x="4634" y="22037"/>
                  </a:lnTo>
                  <a:lnTo>
                    <a:pt x="4069" y="22082"/>
                  </a:lnTo>
                  <a:lnTo>
                    <a:pt x="3504" y="22150"/>
                  </a:lnTo>
                  <a:lnTo>
                    <a:pt x="2939" y="22263"/>
                  </a:lnTo>
                  <a:lnTo>
                    <a:pt x="2374" y="22376"/>
                  </a:lnTo>
                  <a:lnTo>
                    <a:pt x="1402" y="22579"/>
                  </a:lnTo>
                  <a:lnTo>
                    <a:pt x="973" y="22647"/>
                  </a:lnTo>
                  <a:lnTo>
                    <a:pt x="611" y="22670"/>
                  </a:lnTo>
                  <a:lnTo>
                    <a:pt x="453" y="22670"/>
                  </a:lnTo>
                  <a:lnTo>
                    <a:pt x="317" y="22624"/>
                  </a:lnTo>
                  <a:lnTo>
                    <a:pt x="204" y="22579"/>
                  </a:lnTo>
                  <a:lnTo>
                    <a:pt x="114" y="22511"/>
                  </a:lnTo>
                  <a:lnTo>
                    <a:pt x="46" y="22421"/>
                  </a:lnTo>
                  <a:lnTo>
                    <a:pt x="23" y="22308"/>
                  </a:lnTo>
                  <a:lnTo>
                    <a:pt x="1" y="22150"/>
                  </a:lnTo>
                  <a:lnTo>
                    <a:pt x="23" y="21992"/>
                  </a:lnTo>
                  <a:lnTo>
                    <a:pt x="46" y="21788"/>
                  </a:lnTo>
                  <a:lnTo>
                    <a:pt x="136" y="21540"/>
                  </a:lnTo>
                  <a:lnTo>
                    <a:pt x="227" y="21268"/>
                  </a:lnTo>
                  <a:lnTo>
                    <a:pt x="362" y="20974"/>
                  </a:lnTo>
                  <a:lnTo>
                    <a:pt x="747" y="20251"/>
                  </a:lnTo>
                  <a:lnTo>
                    <a:pt x="1289" y="19347"/>
                  </a:lnTo>
                  <a:lnTo>
                    <a:pt x="1289" y="19347"/>
                  </a:lnTo>
                  <a:lnTo>
                    <a:pt x="1605" y="18782"/>
                  </a:lnTo>
                  <a:lnTo>
                    <a:pt x="1899" y="18240"/>
                  </a:lnTo>
                  <a:lnTo>
                    <a:pt x="2148" y="17697"/>
                  </a:lnTo>
                  <a:lnTo>
                    <a:pt x="2351" y="17155"/>
                  </a:lnTo>
                  <a:lnTo>
                    <a:pt x="2510" y="16612"/>
                  </a:lnTo>
                  <a:lnTo>
                    <a:pt x="2645" y="16070"/>
                  </a:lnTo>
                  <a:lnTo>
                    <a:pt x="2758" y="15550"/>
                  </a:lnTo>
                  <a:lnTo>
                    <a:pt x="2826" y="15030"/>
                  </a:lnTo>
                  <a:lnTo>
                    <a:pt x="2894" y="14533"/>
                  </a:lnTo>
                  <a:lnTo>
                    <a:pt x="2916" y="14013"/>
                  </a:lnTo>
                  <a:lnTo>
                    <a:pt x="2916" y="13539"/>
                  </a:lnTo>
                  <a:lnTo>
                    <a:pt x="2894" y="13041"/>
                  </a:lnTo>
                  <a:lnTo>
                    <a:pt x="2849" y="12567"/>
                  </a:lnTo>
                  <a:lnTo>
                    <a:pt x="2781" y="12092"/>
                  </a:lnTo>
                  <a:lnTo>
                    <a:pt x="2713" y="11640"/>
                  </a:lnTo>
                  <a:lnTo>
                    <a:pt x="2623" y="11188"/>
                  </a:lnTo>
                  <a:lnTo>
                    <a:pt x="2419" y="10329"/>
                  </a:lnTo>
                  <a:lnTo>
                    <a:pt x="2193" y="9516"/>
                  </a:lnTo>
                  <a:lnTo>
                    <a:pt x="1944" y="8725"/>
                  </a:lnTo>
                  <a:lnTo>
                    <a:pt x="1696" y="8001"/>
                  </a:lnTo>
                  <a:lnTo>
                    <a:pt x="1470" y="7323"/>
                  </a:lnTo>
                  <a:lnTo>
                    <a:pt x="1266" y="6713"/>
                  </a:lnTo>
                  <a:lnTo>
                    <a:pt x="1131" y="6125"/>
                  </a:lnTo>
                  <a:lnTo>
                    <a:pt x="1108" y="5877"/>
                  </a:lnTo>
                  <a:lnTo>
                    <a:pt x="1086" y="5628"/>
                  </a:lnTo>
                  <a:lnTo>
                    <a:pt x="1086" y="5628"/>
                  </a:lnTo>
                  <a:lnTo>
                    <a:pt x="1063" y="5380"/>
                  </a:lnTo>
                  <a:lnTo>
                    <a:pt x="1086" y="5154"/>
                  </a:lnTo>
                  <a:lnTo>
                    <a:pt x="1131" y="4905"/>
                  </a:lnTo>
                  <a:lnTo>
                    <a:pt x="1176" y="4656"/>
                  </a:lnTo>
                  <a:lnTo>
                    <a:pt x="1244" y="4408"/>
                  </a:lnTo>
                  <a:lnTo>
                    <a:pt x="1312" y="4159"/>
                  </a:lnTo>
                  <a:lnTo>
                    <a:pt x="1515" y="3684"/>
                  </a:lnTo>
                  <a:lnTo>
                    <a:pt x="1764" y="3187"/>
                  </a:lnTo>
                  <a:lnTo>
                    <a:pt x="2035" y="2735"/>
                  </a:lnTo>
                  <a:lnTo>
                    <a:pt x="2329" y="2283"/>
                  </a:lnTo>
                  <a:lnTo>
                    <a:pt x="2623" y="1854"/>
                  </a:lnTo>
                  <a:lnTo>
                    <a:pt x="2939" y="1470"/>
                  </a:lnTo>
                  <a:lnTo>
                    <a:pt x="3233" y="1108"/>
                  </a:lnTo>
                  <a:lnTo>
                    <a:pt x="3753" y="520"/>
                  </a:lnTo>
                  <a:lnTo>
                    <a:pt x="4137" y="136"/>
                  </a:lnTo>
                  <a:lnTo>
                    <a:pt x="4272" y="0"/>
                  </a:lnTo>
                  <a:lnTo>
                    <a:pt x="8363" y="56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9" name="Google Shape;1746;p16">
              <a:extLst>
                <a:ext uri="{FF2B5EF4-FFF2-40B4-BE49-F238E27FC236}">
                  <a16:creationId xmlns:a16="http://schemas.microsoft.com/office/drawing/2014/main" id="{6BA65152-D77C-2778-3CE0-1428C88E01CC}"/>
                </a:ext>
              </a:extLst>
            </p:cNvPr>
            <p:cNvSpPr/>
            <p:nvPr/>
          </p:nvSpPr>
          <p:spPr>
            <a:xfrm>
              <a:off x="4081475" y="1785900"/>
              <a:ext cx="111350" cy="171800"/>
            </a:xfrm>
            <a:custGeom>
              <a:avLst/>
              <a:gdLst/>
              <a:ahLst/>
              <a:cxnLst/>
              <a:rect l="l" t="t" r="r" b="b"/>
              <a:pathLst>
                <a:path w="4454" h="6872" extrusionOk="0">
                  <a:moveTo>
                    <a:pt x="882" y="1"/>
                  </a:moveTo>
                  <a:lnTo>
                    <a:pt x="815" y="23"/>
                  </a:lnTo>
                  <a:lnTo>
                    <a:pt x="747" y="68"/>
                  </a:lnTo>
                  <a:lnTo>
                    <a:pt x="679" y="159"/>
                  </a:lnTo>
                  <a:lnTo>
                    <a:pt x="634" y="249"/>
                  </a:lnTo>
                  <a:lnTo>
                    <a:pt x="589" y="385"/>
                  </a:lnTo>
                  <a:lnTo>
                    <a:pt x="543" y="543"/>
                  </a:lnTo>
                  <a:lnTo>
                    <a:pt x="521" y="724"/>
                  </a:lnTo>
                  <a:lnTo>
                    <a:pt x="476" y="1537"/>
                  </a:lnTo>
                  <a:lnTo>
                    <a:pt x="453" y="2328"/>
                  </a:lnTo>
                  <a:lnTo>
                    <a:pt x="476" y="3752"/>
                  </a:lnTo>
                  <a:lnTo>
                    <a:pt x="453" y="4408"/>
                  </a:lnTo>
                  <a:lnTo>
                    <a:pt x="430" y="4724"/>
                  </a:lnTo>
                  <a:lnTo>
                    <a:pt x="385" y="5018"/>
                  </a:lnTo>
                  <a:lnTo>
                    <a:pt x="317" y="5289"/>
                  </a:lnTo>
                  <a:lnTo>
                    <a:pt x="250" y="5538"/>
                  </a:lnTo>
                  <a:lnTo>
                    <a:pt x="159" y="5786"/>
                  </a:lnTo>
                  <a:lnTo>
                    <a:pt x="46" y="6012"/>
                  </a:lnTo>
                  <a:lnTo>
                    <a:pt x="1" y="6103"/>
                  </a:lnTo>
                  <a:lnTo>
                    <a:pt x="1" y="6148"/>
                  </a:lnTo>
                  <a:lnTo>
                    <a:pt x="1" y="6216"/>
                  </a:lnTo>
                  <a:lnTo>
                    <a:pt x="24" y="6261"/>
                  </a:lnTo>
                  <a:lnTo>
                    <a:pt x="69" y="6306"/>
                  </a:lnTo>
                  <a:lnTo>
                    <a:pt x="114" y="6329"/>
                  </a:lnTo>
                  <a:lnTo>
                    <a:pt x="272" y="6374"/>
                  </a:lnTo>
                  <a:lnTo>
                    <a:pt x="724" y="6465"/>
                  </a:lnTo>
                  <a:lnTo>
                    <a:pt x="973" y="6510"/>
                  </a:lnTo>
                  <a:lnTo>
                    <a:pt x="1267" y="6578"/>
                  </a:lnTo>
                  <a:lnTo>
                    <a:pt x="1606" y="6668"/>
                  </a:lnTo>
                  <a:lnTo>
                    <a:pt x="2013" y="6736"/>
                  </a:lnTo>
                  <a:lnTo>
                    <a:pt x="2465" y="6781"/>
                  </a:lnTo>
                  <a:lnTo>
                    <a:pt x="2939" y="6826"/>
                  </a:lnTo>
                  <a:lnTo>
                    <a:pt x="3753" y="6871"/>
                  </a:lnTo>
                  <a:lnTo>
                    <a:pt x="4069" y="6871"/>
                  </a:lnTo>
                  <a:lnTo>
                    <a:pt x="4250" y="6849"/>
                  </a:lnTo>
                  <a:lnTo>
                    <a:pt x="4340" y="6804"/>
                  </a:lnTo>
                  <a:lnTo>
                    <a:pt x="4408" y="6736"/>
                  </a:lnTo>
                  <a:lnTo>
                    <a:pt x="4431" y="6668"/>
                  </a:lnTo>
                  <a:lnTo>
                    <a:pt x="4453" y="6555"/>
                  </a:lnTo>
                  <a:lnTo>
                    <a:pt x="4431" y="6465"/>
                  </a:lnTo>
                  <a:lnTo>
                    <a:pt x="4408" y="6352"/>
                  </a:lnTo>
                  <a:lnTo>
                    <a:pt x="4318" y="6103"/>
                  </a:lnTo>
                  <a:lnTo>
                    <a:pt x="4160" y="5832"/>
                  </a:lnTo>
                  <a:lnTo>
                    <a:pt x="3979" y="5583"/>
                  </a:lnTo>
                  <a:lnTo>
                    <a:pt x="3775" y="5357"/>
                  </a:lnTo>
                  <a:lnTo>
                    <a:pt x="3595" y="5176"/>
                  </a:lnTo>
                  <a:lnTo>
                    <a:pt x="3459" y="5063"/>
                  </a:lnTo>
                  <a:lnTo>
                    <a:pt x="3346" y="4882"/>
                  </a:lnTo>
                  <a:lnTo>
                    <a:pt x="3278" y="4679"/>
                  </a:lnTo>
                  <a:lnTo>
                    <a:pt x="3188" y="4453"/>
                  </a:lnTo>
                  <a:lnTo>
                    <a:pt x="3120" y="4114"/>
                  </a:lnTo>
                  <a:lnTo>
                    <a:pt x="3075" y="3707"/>
                  </a:lnTo>
                  <a:lnTo>
                    <a:pt x="2939" y="2690"/>
                  </a:lnTo>
                  <a:lnTo>
                    <a:pt x="2849" y="2035"/>
                  </a:lnTo>
                  <a:lnTo>
                    <a:pt x="2510" y="1537"/>
                  </a:lnTo>
                  <a:lnTo>
                    <a:pt x="2171" y="1040"/>
                  </a:lnTo>
                  <a:lnTo>
                    <a:pt x="1967" y="792"/>
                  </a:lnTo>
                  <a:lnTo>
                    <a:pt x="1764" y="566"/>
                  </a:lnTo>
                  <a:lnTo>
                    <a:pt x="1560" y="340"/>
                  </a:lnTo>
                  <a:lnTo>
                    <a:pt x="1357" y="181"/>
                  </a:lnTo>
                  <a:lnTo>
                    <a:pt x="1154" y="46"/>
                  </a:lnTo>
                  <a:lnTo>
                    <a:pt x="1063" y="23"/>
                  </a:lnTo>
                  <a:lnTo>
                    <a:pt x="973" y="1"/>
                  </a:lnTo>
                  <a:close/>
                </a:path>
              </a:pathLst>
            </a:custGeom>
            <a:solidFill>
              <a:srgbClr val="F4B0B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0" name="Google Shape;1747;p16">
              <a:extLst>
                <a:ext uri="{FF2B5EF4-FFF2-40B4-BE49-F238E27FC236}">
                  <a16:creationId xmlns:a16="http://schemas.microsoft.com/office/drawing/2014/main" id="{973C1F4A-8DCD-A4B1-7D6C-95DC0FE2D351}"/>
                </a:ext>
              </a:extLst>
            </p:cNvPr>
            <p:cNvSpPr/>
            <p:nvPr/>
          </p:nvSpPr>
          <p:spPr>
            <a:xfrm>
              <a:off x="4081475" y="1785900"/>
              <a:ext cx="111350" cy="171800"/>
            </a:xfrm>
            <a:custGeom>
              <a:avLst/>
              <a:gdLst/>
              <a:ahLst/>
              <a:cxnLst/>
              <a:rect l="l" t="t" r="r" b="b"/>
              <a:pathLst>
                <a:path w="4454" h="6872" fill="none" extrusionOk="0">
                  <a:moveTo>
                    <a:pt x="46" y="6012"/>
                  </a:moveTo>
                  <a:lnTo>
                    <a:pt x="46" y="6012"/>
                  </a:lnTo>
                  <a:lnTo>
                    <a:pt x="1" y="6103"/>
                  </a:lnTo>
                  <a:lnTo>
                    <a:pt x="1" y="6148"/>
                  </a:lnTo>
                  <a:lnTo>
                    <a:pt x="1" y="6216"/>
                  </a:lnTo>
                  <a:lnTo>
                    <a:pt x="24" y="6261"/>
                  </a:lnTo>
                  <a:lnTo>
                    <a:pt x="69" y="6306"/>
                  </a:lnTo>
                  <a:lnTo>
                    <a:pt x="114" y="6329"/>
                  </a:lnTo>
                  <a:lnTo>
                    <a:pt x="272" y="6374"/>
                  </a:lnTo>
                  <a:lnTo>
                    <a:pt x="724" y="6465"/>
                  </a:lnTo>
                  <a:lnTo>
                    <a:pt x="973" y="6510"/>
                  </a:lnTo>
                  <a:lnTo>
                    <a:pt x="1267" y="6578"/>
                  </a:lnTo>
                  <a:lnTo>
                    <a:pt x="1267" y="6578"/>
                  </a:lnTo>
                  <a:lnTo>
                    <a:pt x="1606" y="6668"/>
                  </a:lnTo>
                  <a:lnTo>
                    <a:pt x="2013" y="6736"/>
                  </a:lnTo>
                  <a:lnTo>
                    <a:pt x="2465" y="6781"/>
                  </a:lnTo>
                  <a:lnTo>
                    <a:pt x="2939" y="6826"/>
                  </a:lnTo>
                  <a:lnTo>
                    <a:pt x="3753" y="6871"/>
                  </a:lnTo>
                  <a:lnTo>
                    <a:pt x="4069" y="6871"/>
                  </a:lnTo>
                  <a:lnTo>
                    <a:pt x="4250" y="6849"/>
                  </a:lnTo>
                  <a:lnTo>
                    <a:pt x="4250" y="6849"/>
                  </a:lnTo>
                  <a:lnTo>
                    <a:pt x="4340" y="6804"/>
                  </a:lnTo>
                  <a:lnTo>
                    <a:pt x="4408" y="6736"/>
                  </a:lnTo>
                  <a:lnTo>
                    <a:pt x="4431" y="6668"/>
                  </a:lnTo>
                  <a:lnTo>
                    <a:pt x="4453" y="6555"/>
                  </a:lnTo>
                  <a:lnTo>
                    <a:pt x="4431" y="6465"/>
                  </a:lnTo>
                  <a:lnTo>
                    <a:pt x="4408" y="6352"/>
                  </a:lnTo>
                  <a:lnTo>
                    <a:pt x="4318" y="6103"/>
                  </a:lnTo>
                  <a:lnTo>
                    <a:pt x="4160" y="5832"/>
                  </a:lnTo>
                  <a:lnTo>
                    <a:pt x="3979" y="5583"/>
                  </a:lnTo>
                  <a:lnTo>
                    <a:pt x="3775" y="5357"/>
                  </a:lnTo>
                  <a:lnTo>
                    <a:pt x="3595" y="5176"/>
                  </a:lnTo>
                  <a:lnTo>
                    <a:pt x="3595" y="5176"/>
                  </a:lnTo>
                  <a:lnTo>
                    <a:pt x="3459" y="5063"/>
                  </a:lnTo>
                  <a:lnTo>
                    <a:pt x="3346" y="4882"/>
                  </a:lnTo>
                  <a:lnTo>
                    <a:pt x="3278" y="4679"/>
                  </a:lnTo>
                  <a:lnTo>
                    <a:pt x="3188" y="4453"/>
                  </a:lnTo>
                  <a:lnTo>
                    <a:pt x="3188" y="4453"/>
                  </a:lnTo>
                  <a:lnTo>
                    <a:pt x="3120" y="4114"/>
                  </a:lnTo>
                  <a:lnTo>
                    <a:pt x="3075" y="3707"/>
                  </a:lnTo>
                  <a:lnTo>
                    <a:pt x="2939" y="2690"/>
                  </a:lnTo>
                  <a:lnTo>
                    <a:pt x="2939" y="2690"/>
                  </a:lnTo>
                  <a:lnTo>
                    <a:pt x="2849" y="2035"/>
                  </a:lnTo>
                  <a:lnTo>
                    <a:pt x="2849" y="2035"/>
                  </a:lnTo>
                  <a:lnTo>
                    <a:pt x="2510" y="1537"/>
                  </a:lnTo>
                  <a:lnTo>
                    <a:pt x="2171" y="1040"/>
                  </a:lnTo>
                  <a:lnTo>
                    <a:pt x="1967" y="792"/>
                  </a:lnTo>
                  <a:lnTo>
                    <a:pt x="1764" y="566"/>
                  </a:lnTo>
                  <a:lnTo>
                    <a:pt x="1560" y="340"/>
                  </a:lnTo>
                  <a:lnTo>
                    <a:pt x="1357" y="181"/>
                  </a:lnTo>
                  <a:lnTo>
                    <a:pt x="1154" y="46"/>
                  </a:lnTo>
                  <a:lnTo>
                    <a:pt x="1063" y="23"/>
                  </a:lnTo>
                  <a:lnTo>
                    <a:pt x="973" y="1"/>
                  </a:lnTo>
                  <a:lnTo>
                    <a:pt x="882" y="1"/>
                  </a:lnTo>
                  <a:lnTo>
                    <a:pt x="815" y="23"/>
                  </a:lnTo>
                  <a:lnTo>
                    <a:pt x="747" y="68"/>
                  </a:lnTo>
                  <a:lnTo>
                    <a:pt x="679" y="159"/>
                  </a:lnTo>
                  <a:lnTo>
                    <a:pt x="634" y="249"/>
                  </a:lnTo>
                  <a:lnTo>
                    <a:pt x="589" y="385"/>
                  </a:lnTo>
                  <a:lnTo>
                    <a:pt x="543" y="543"/>
                  </a:lnTo>
                  <a:lnTo>
                    <a:pt x="521" y="724"/>
                  </a:lnTo>
                  <a:lnTo>
                    <a:pt x="521" y="724"/>
                  </a:lnTo>
                  <a:lnTo>
                    <a:pt x="476" y="1537"/>
                  </a:lnTo>
                  <a:lnTo>
                    <a:pt x="453" y="2328"/>
                  </a:lnTo>
                  <a:lnTo>
                    <a:pt x="476" y="3752"/>
                  </a:lnTo>
                  <a:lnTo>
                    <a:pt x="453" y="4408"/>
                  </a:lnTo>
                  <a:lnTo>
                    <a:pt x="430" y="4724"/>
                  </a:lnTo>
                  <a:lnTo>
                    <a:pt x="385" y="5018"/>
                  </a:lnTo>
                  <a:lnTo>
                    <a:pt x="317" y="5289"/>
                  </a:lnTo>
                  <a:lnTo>
                    <a:pt x="250" y="5538"/>
                  </a:lnTo>
                  <a:lnTo>
                    <a:pt x="159" y="5786"/>
                  </a:lnTo>
                  <a:lnTo>
                    <a:pt x="46" y="6012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1" name="Google Shape;1748;p16">
              <a:extLst>
                <a:ext uri="{FF2B5EF4-FFF2-40B4-BE49-F238E27FC236}">
                  <a16:creationId xmlns:a16="http://schemas.microsoft.com/office/drawing/2014/main" id="{BFE3FC48-2A57-A830-8DA5-E392F80F1B27}"/>
                </a:ext>
              </a:extLst>
            </p:cNvPr>
            <p:cNvSpPr/>
            <p:nvPr/>
          </p:nvSpPr>
          <p:spPr>
            <a:xfrm>
              <a:off x="4121050" y="1870100"/>
              <a:ext cx="45225" cy="48600"/>
            </a:xfrm>
            <a:custGeom>
              <a:avLst/>
              <a:gdLst/>
              <a:ahLst/>
              <a:cxnLst/>
              <a:rect l="l" t="t" r="r" b="b"/>
              <a:pathLst>
                <a:path w="1809" h="1944" extrusionOk="0">
                  <a:moveTo>
                    <a:pt x="543" y="0"/>
                  </a:moveTo>
                  <a:lnTo>
                    <a:pt x="384" y="45"/>
                  </a:lnTo>
                  <a:lnTo>
                    <a:pt x="249" y="68"/>
                  </a:lnTo>
                  <a:lnTo>
                    <a:pt x="136" y="136"/>
                  </a:lnTo>
                  <a:lnTo>
                    <a:pt x="68" y="204"/>
                  </a:lnTo>
                  <a:lnTo>
                    <a:pt x="0" y="271"/>
                  </a:lnTo>
                  <a:lnTo>
                    <a:pt x="0" y="384"/>
                  </a:lnTo>
                  <a:lnTo>
                    <a:pt x="23" y="475"/>
                  </a:lnTo>
                  <a:lnTo>
                    <a:pt x="158" y="746"/>
                  </a:lnTo>
                  <a:lnTo>
                    <a:pt x="294" y="972"/>
                  </a:lnTo>
                  <a:lnTo>
                    <a:pt x="452" y="1198"/>
                  </a:lnTo>
                  <a:lnTo>
                    <a:pt x="656" y="1401"/>
                  </a:lnTo>
                  <a:lnTo>
                    <a:pt x="882" y="1582"/>
                  </a:lnTo>
                  <a:lnTo>
                    <a:pt x="1130" y="1718"/>
                  </a:lnTo>
                  <a:lnTo>
                    <a:pt x="1447" y="1831"/>
                  </a:lnTo>
                  <a:lnTo>
                    <a:pt x="1808" y="1944"/>
                  </a:lnTo>
                  <a:lnTo>
                    <a:pt x="1695" y="1650"/>
                  </a:lnTo>
                  <a:lnTo>
                    <a:pt x="1605" y="1288"/>
                  </a:lnTo>
                  <a:lnTo>
                    <a:pt x="1537" y="814"/>
                  </a:lnTo>
                  <a:lnTo>
                    <a:pt x="1469" y="204"/>
                  </a:lnTo>
                  <a:lnTo>
                    <a:pt x="1288" y="113"/>
                  </a:lnTo>
                  <a:lnTo>
                    <a:pt x="1108" y="45"/>
                  </a:lnTo>
                  <a:lnTo>
                    <a:pt x="904" y="23"/>
                  </a:lnTo>
                  <a:lnTo>
                    <a:pt x="701" y="0"/>
                  </a:lnTo>
                  <a:close/>
                </a:path>
              </a:pathLst>
            </a:custGeom>
            <a:solidFill>
              <a:srgbClr val="C4909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2" name="Google Shape;1749;p16">
              <a:extLst>
                <a:ext uri="{FF2B5EF4-FFF2-40B4-BE49-F238E27FC236}">
                  <a16:creationId xmlns:a16="http://schemas.microsoft.com/office/drawing/2014/main" id="{4B6D8570-77F9-2B02-B44B-F28A95531C1B}"/>
                </a:ext>
              </a:extLst>
            </p:cNvPr>
            <p:cNvSpPr/>
            <p:nvPr/>
          </p:nvSpPr>
          <p:spPr>
            <a:xfrm>
              <a:off x="4121050" y="1870100"/>
              <a:ext cx="45225" cy="48600"/>
            </a:xfrm>
            <a:custGeom>
              <a:avLst/>
              <a:gdLst/>
              <a:ahLst/>
              <a:cxnLst/>
              <a:rect l="l" t="t" r="r" b="b"/>
              <a:pathLst>
                <a:path w="1809" h="1944" fill="none" extrusionOk="0">
                  <a:moveTo>
                    <a:pt x="701" y="0"/>
                  </a:moveTo>
                  <a:lnTo>
                    <a:pt x="701" y="0"/>
                  </a:lnTo>
                  <a:lnTo>
                    <a:pt x="543" y="0"/>
                  </a:lnTo>
                  <a:lnTo>
                    <a:pt x="384" y="45"/>
                  </a:lnTo>
                  <a:lnTo>
                    <a:pt x="249" y="68"/>
                  </a:lnTo>
                  <a:lnTo>
                    <a:pt x="136" y="136"/>
                  </a:lnTo>
                  <a:lnTo>
                    <a:pt x="68" y="204"/>
                  </a:lnTo>
                  <a:lnTo>
                    <a:pt x="0" y="271"/>
                  </a:lnTo>
                  <a:lnTo>
                    <a:pt x="0" y="384"/>
                  </a:lnTo>
                  <a:lnTo>
                    <a:pt x="23" y="475"/>
                  </a:lnTo>
                  <a:lnTo>
                    <a:pt x="23" y="475"/>
                  </a:lnTo>
                  <a:lnTo>
                    <a:pt x="158" y="746"/>
                  </a:lnTo>
                  <a:lnTo>
                    <a:pt x="294" y="972"/>
                  </a:lnTo>
                  <a:lnTo>
                    <a:pt x="452" y="1198"/>
                  </a:lnTo>
                  <a:lnTo>
                    <a:pt x="656" y="1401"/>
                  </a:lnTo>
                  <a:lnTo>
                    <a:pt x="882" y="1582"/>
                  </a:lnTo>
                  <a:lnTo>
                    <a:pt x="1130" y="1718"/>
                  </a:lnTo>
                  <a:lnTo>
                    <a:pt x="1447" y="1831"/>
                  </a:lnTo>
                  <a:lnTo>
                    <a:pt x="1808" y="1944"/>
                  </a:lnTo>
                  <a:lnTo>
                    <a:pt x="1808" y="1944"/>
                  </a:lnTo>
                  <a:lnTo>
                    <a:pt x="1695" y="1650"/>
                  </a:lnTo>
                  <a:lnTo>
                    <a:pt x="1605" y="1288"/>
                  </a:lnTo>
                  <a:lnTo>
                    <a:pt x="1537" y="814"/>
                  </a:lnTo>
                  <a:lnTo>
                    <a:pt x="1469" y="204"/>
                  </a:lnTo>
                  <a:lnTo>
                    <a:pt x="1469" y="204"/>
                  </a:lnTo>
                  <a:lnTo>
                    <a:pt x="1288" y="113"/>
                  </a:lnTo>
                  <a:lnTo>
                    <a:pt x="1108" y="45"/>
                  </a:lnTo>
                  <a:lnTo>
                    <a:pt x="904" y="23"/>
                  </a:lnTo>
                  <a:lnTo>
                    <a:pt x="70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3" name="Google Shape;1750;p16">
              <a:extLst>
                <a:ext uri="{FF2B5EF4-FFF2-40B4-BE49-F238E27FC236}">
                  <a16:creationId xmlns:a16="http://schemas.microsoft.com/office/drawing/2014/main" id="{4CAE14F8-7B5C-FAE7-7F0D-A0A1D6B75F6A}"/>
                </a:ext>
              </a:extLst>
            </p:cNvPr>
            <p:cNvSpPr/>
            <p:nvPr/>
          </p:nvSpPr>
          <p:spPr>
            <a:xfrm>
              <a:off x="4109750" y="1732800"/>
              <a:ext cx="100600" cy="142975"/>
            </a:xfrm>
            <a:custGeom>
              <a:avLst/>
              <a:gdLst/>
              <a:ahLst/>
              <a:cxnLst/>
              <a:rect l="l" t="t" r="r" b="b"/>
              <a:pathLst>
                <a:path w="4024" h="5719" extrusionOk="0">
                  <a:moveTo>
                    <a:pt x="0" y="0"/>
                  </a:moveTo>
                  <a:lnTo>
                    <a:pt x="23" y="701"/>
                  </a:lnTo>
                  <a:lnTo>
                    <a:pt x="23" y="2622"/>
                  </a:lnTo>
                  <a:lnTo>
                    <a:pt x="23" y="2916"/>
                  </a:lnTo>
                  <a:lnTo>
                    <a:pt x="68" y="3209"/>
                  </a:lnTo>
                  <a:lnTo>
                    <a:pt x="136" y="3458"/>
                  </a:lnTo>
                  <a:lnTo>
                    <a:pt x="226" y="3729"/>
                  </a:lnTo>
                  <a:lnTo>
                    <a:pt x="316" y="3955"/>
                  </a:lnTo>
                  <a:lnTo>
                    <a:pt x="452" y="4181"/>
                  </a:lnTo>
                  <a:lnTo>
                    <a:pt x="610" y="4385"/>
                  </a:lnTo>
                  <a:lnTo>
                    <a:pt x="769" y="4565"/>
                  </a:lnTo>
                  <a:lnTo>
                    <a:pt x="972" y="4746"/>
                  </a:lnTo>
                  <a:lnTo>
                    <a:pt x="1153" y="4904"/>
                  </a:lnTo>
                  <a:lnTo>
                    <a:pt x="1379" y="5063"/>
                  </a:lnTo>
                  <a:lnTo>
                    <a:pt x="1605" y="5198"/>
                  </a:lnTo>
                  <a:lnTo>
                    <a:pt x="1853" y="5334"/>
                  </a:lnTo>
                  <a:lnTo>
                    <a:pt x="2102" y="5447"/>
                  </a:lnTo>
                  <a:lnTo>
                    <a:pt x="2622" y="5673"/>
                  </a:lnTo>
                  <a:lnTo>
                    <a:pt x="2757" y="5696"/>
                  </a:lnTo>
                  <a:lnTo>
                    <a:pt x="2870" y="5718"/>
                  </a:lnTo>
                  <a:lnTo>
                    <a:pt x="2983" y="5718"/>
                  </a:lnTo>
                  <a:lnTo>
                    <a:pt x="3074" y="5696"/>
                  </a:lnTo>
                  <a:lnTo>
                    <a:pt x="3164" y="5673"/>
                  </a:lnTo>
                  <a:lnTo>
                    <a:pt x="3255" y="5605"/>
                  </a:lnTo>
                  <a:lnTo>
                    <a:pt x="3322" y="5560"/>
                  </a:lnTo>
                  <a:lnTo>
                    <a:pt x="3368" y="5470"/>
                  </a:lnTo>
                  <a:lnTo>
                    <a:pt x="3481" y="5289"/>
                  </a:lnTo>
                  <a:lnTo>
                    <a:pt x="3548" y="5063"/>
                  </a:lnTo>
                  <a:lnTo>
                    <a:pt x="3594" y="4814"/>
                  </a:lnTo>
                  <a:lnTo>
                    <a:pt x="3616" y="4543"/>
                  </a:lnTo>
                  <a:lnTo>
                    <a:pt x="3662" y="3978"/>
                  </a:lnTo>
                  <a:lnTo>
                    <a:pt x="3684" y="3481"/>
                  </a:lnTo>
                  <a:lnTo>
                    <a:pt x="3707" y="3277"/>
                  </a:lnTo>
                  <a:lnTo>
                    <a:pt x="3729" y="3119"/>
                  </a:lnTo>
                  <a:lnTo>
                    <a:pt x="3775" y="3006"/>
                  </a:lnTo>
                  <a:lnTo>
                    <a:pt x="3797" y="2983"/>
                  </a:lnTo>
                  <a:lnTo>
                    <a:pt x="3842" y="2961"/>
                  </a:lnTo>
                  <a:lnTo>
                    <a:pt x="3910" y="2938"/>
                  </a:lnTo>
                  <a:lnTo>
                    <a:pt x="3978" y="2893"/>
                  </a:lnTo>
                  <a:lnTo>
                    <a:pt x="4023" y="2848"/>
                  </a:lnTo>
                  <a:lnTo>
                    <a:pt x="4023" y="2757"/>
                  </a:lnTo>
                  <a:lnTo>
                    <a:pt x="4023" y="2690"/>
                  </a:lnTo>
                  <a:lnTo>
                    <a:pt x="4001" y="2577"/>
                  </a:lnTo>
                  <a:lnTo>
                    <a:pt x="3888" y="2328"/>
                  </a:lnTo>
                  <a:lnTo>
                    <a:pt x="3616" y="1605"/>
                  </a:lnTo>
                  <a:lnTo>
                    <a:pt x="3435" y="1153"/>
                  </a:lnTo>
                  <a:lnTo>
                    <a:pt x="3300" y="6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B0B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4" name="Google Shape;1751;p16">
              <a:extLst>
                <a:ext uri="{FF2B5EF4-FFF2-40B4-BE49-F238E27FC236}">
                  <a16:creationId xmlns:a16="http://schemas.microsoft.com/office/drawing/2014/main" id="{FC87259D-6AEB-FC92-CAA6-34C2D461AE43}"/>
                </a:ext>
              </a:extLst>
            </p:cNvPr>
            <p:cNvSpPr/>
            <p:nvPr/>
          </p:nvSpPr>
          <p:spPr>
            <a:xfrm>
              <a:off x="3586525" y="1680800"/>
              <a:ext cx="613650" cy="279150"/>
            </a:xfrm>
            <a:custGeom>
              <a:avLst/>
              <a:gdLst/>
              <a:ahLst/>
              <a:cxnLst/>
              <a:rect l="l" t="t" r="r" b="b"/>
              <a:pathLst>
                <a:path w="24546" h="11166" extrusionOk="0">
                  <a:moveTo>
                    <a:pt x="20929" y="1"/>
                  </a:moveTo>
                  <a:lnTo>
                    <a:pt x="20500" y="68"/>
                  </a:lnTo>
                  <a:lnTo>
                    <a:pt x="20115" y="136"/>
                  </a:lnTo>
                  <a:lnTo>
                    <a:pt x="19731" y="204"/>
                  </a:lnTo>
                  <a:lnTo>
                    <a:pt x="19370" y="294"/>
                  </a:lnTo>
                  <a:lnTo>
                    <a:pt x="19031" y="408"/>
                  </a:lnTo>
                  <a:lnTo>
                    <a:pt x="18714" y="521"/>
                  </a:lnTo>
                  <a:lnTo>
                    <a:pt x="18398" y="656"/>
                  </a:lnTo>
                  <a:lnTo>
                    <a:pt x="18126" y="792"/>
                  </a:lnTo>
                  <a:lnTo>
                    <a:pt x="17855" y="950"/>
                  </a:lnTo>
                  <a:lnTo>
                    <a:pt x="17584" y="1108"/>
                  </a:lnTo>
                  <a:lnTo>
                    <a:pt x="17132" y="1425"/>
                  </a:lnTo>
                  <a:lnTo>
                    <a:pt x="16725" y="1764"/>
                  </a:lnTo>
                  <a:lnTo>
                    <a:pt x="16341" y="2125"/>
                  </a:lnTo>
                  <a:lnTo>
                    <a:pt x="16025" y="2464"/>
                  </a:lnTo>
                  <a:lnTo>
                    <a:pt x="15708" y="2803"/>
                  </a:lnTo>
                  <a:lnTo>
                    <a:pt x="15188" y="3436"/>
                  </a:lnTo>
                  <a:lnTo>
                    <a:pt x="14940" y="3707"/>
                  </a:lnTo>
                  <a:lnTo>
                    <a:pt x="14691" y="3911"/>
                  </a:lnTo>
                  <a:lnTo>
                    <a:pt x="14442" y="4092"/>
                  </a:lnTo>
                  <a:lnTo>
                    <a:pt x="14329" y="4159"/>
                  </a:lnTo>
                  <a:lnTo>
                    <a:pt x="14194" y="4205"/>
                  </a:lnTo>
                  <a:lnTo>
                    <a:pt x="13742" y="4318"/>
                  </a:lnTo>
                  <a:lnTo>
                    <a:pt x="13358" y="4385"/>
                  </a:lnTo>
                  <a:lnTo>
                    <a:pt x="12996" y="4431"/>
                  </a:lnTo>
                  <a:lnTo>
                    <a:pt x="12657" y="4431"/>
                  </a:lnTo>
                  <a:lnTo>
                    <a:pt x="12341" y="4408"/>
                  </a:lnTo>
                  <a:lnTo>
                    <a:pt x="12047" y="4363"/>
                  </a:lnTo>
                  <a:lnTo>
                    <a:pt x="11504" y="4227"/>
                  </a:lnTo>
                  <a:lnTo>
                    <a:pt x="10962" y="4114"/>
                  </a:lnTo>
                  <a:lnTo>
                    <a:pt x="10668" y="4069"/>
                  </a:lnTo>
                  <a:lnTo>
                    <a:pt x="10374" y="4024"/>
                  </a:lnTo>
                  <a:lnTo>
                    <a:pt x="10035" y="4024"/>
                  </a:lnTo>
                  <a:lnTo>
                    <a:pt x="9696" y="4046"/>
                  </a:lnTo>
                  <a:lnTo>
                    <a:pt x="9312" y="4114"/>
                  </a:lnTo>
                  <a:lnTo>
                    <a:pt x="8883" y="4205"/>
                  </a:lnTo>
                  <a:lnTo>
                    <a:pt x="8724" y="4250"/>
                  </a:lnTo>
                  <a:lnTo>
                    <a:pt x="8589" y="4318"/>
                  </a:lnTo>
                  <a:lnTo>
                    <a:pt x="8340" y="4453"/>
                  </a:lnTo>
                  <a:lnTo>
                    <a:pt x="8114" y="4657"/>
                  </a:lnTo>
                  <a:lnTo>
                    <a:pt x="7911" y="4860"/>
                  </a:lnTo>
                  <a:lnTo>
                    <a:pt x="7730" y="5109"/>
                  </a:lnTo>
                  <a:lnTo>
                    <a:pt x="7572" y="5357"/>
                  </a:lnTo>
                  <a:lnTo>
                    <a:pt x="7255" y="5877"/>
                  </a:lnTo>
                  <a:lnTo>
                    <a:pt x="6961" y="6397"/>
                  </a:lnTo>
                  <a:lnTo>
                    <a:pt x="6803" y="6623"/>
                  </a:lnTo>
                  <a:lnTo>
                    <a:pt x="6645" y="6826"/>
                  </a:lnTo>
                  <a:lnTo>
                    <a:pt x="6442" y="7007"/>
                  </a:lnTo>
                  <a:lnTo>
                    <a:pt x="6238" y="7165"/>
                  </a:lnTo>
                  <a:lnTo>
                    <a:pt x="6125" y="7211"/>
                  </a:lnTo>
                  <a:lnTo>
                    <a:pt x="6012" y="7256"/>
                  </a:lnTo>
                  <a:lnTo>
                    <a:pt x="5877" y="7278"/>
                  </a:lnTo>
                  <a:lnTo>
                    <a:pt x="5741" y="7301"/>
                  </a:lnTo>
                  <a:lnTo>
                    <a:pt x="4950" y="7301"/>
                  </a:lnTo>
                  <a:lnTo>
                    <a:pt x="4520" y="7256"/>
                  </a:lnTo>
                  <a:lnTo>
                    <a:pt x="4091" y="7188"/>
                  </a:lnTo>
                  <a:lnTo>
                    <a:pt x="3210" y="7075"/>
                  </a:lnTo>
                  <a:lnTo>
                    <a:pt x="2351" y="6984"/>
                  </a:lnTo>
                  <a:lnTo>
                    <a:pt x="1944" y="6962"/>
                  </a:lnTo>
                  <a:lnTo>
                    <a:pt x="1582" y="6962"/>
                  </a:lnTo>
                  <a:lnTo>
                    <a:pt x="1221" y="6984"/>
                  </a:lnTo>
                  <a:lnTo>
                    <a:pt x="904" y="7075"/>
                  </a:lnTo>
                  <a:lnTo>
                    <a:pt x="746" y="7120"/>
                  </a:lnTo>
                  <a:lnTo>
                    <a:pt x="610" y="7188"/>
                  </a:lnTo>
                  <a:lnTo>
                    <a:pt x="497" y="7278"/>
                  </a:lnTo>
                  <a:lnTo>
                    <a:pt x="384" y="7369"/>
                  </a:lnTo>
                  <a:lnTo>
                    <a:pt x="294" y="7482"/>
                  </a:lnTo>
                  <a:lnTo>
                    <a:pt x="204" y="7595"/>
                  </a:lnTo>
                  <a:lnTo>
                    <a:pt x="136" y="7753"/>
                  </a:lnTo>
                  <a:lnTo>
                    <a:pt x="68" y="7911"/>
                  </a:lnTo>
                  <a:lnTo>
                    <a:pt x="23" y="8137"/>
                  </a:lnTo>
                  <a:lnTo>
                    <a:pt x="0" y="8386"/>
                  </a:lnTo>
                  <a:lnTo>
                    <a:pt x="0" y="8589"/>
                  </a:lnTo>
                  <a:lnTo>
                    <a:pt x="45" y="8793"/>
                  </a:lnTo>
                  <a:lnTo>
                    <a:pt x="113" y="8996"/>
                  </a:lnTo>
                  <a:lnTo>
                    <a:pt x="204" y="9177"/>
                  </a:lnTo>
                  <a:lnTo>
                    <a:pt x="317" y="9335"/>
                  </a:lnTo>
                  <a:lnTo>
                    <a:pt x="452" y="9493"/>
                  </a:lnTo>
                  <a:lnTo>
                    <a:pt x="610" y="9651"/>
                  </a:lnTo>
                  <a:lnTo>
                    <a:pt x="791" y="9787"/>
                  </a:lnTo>
                  <a:lnTo>
                    <a:pt x="972" y="9900"/>
                  </a:lnTo>
                  <a:lnTo>
                    <a:pt x="1198" y="10013"/>
                  </a:lnTo>
                  <a:lnTo>
                    <a:pt x="1650" y="10216"/>
                  </a:lnTo>
                  <a:lnTo>
                    <a:pt x="2147" y="10397"/>
                  </a:lnTo>
                  <a:lnTo>
                    <a:pt x="2645" y="10533"/>
                  </a:lnTo>
                  <a:lnTo>
                    <a:pt x="3187" y="10669"/>
                  </a:lnTo>
                  <a:lnTo>
                    <a:pt x="3707" y="10759"/>
                  </a:lnTo>
                  <a:lnTo>
                    <a:pt x="4204" y="10849"/>
                  </a:lnTo>
                  <a:lnTo>
                    <a:pt x="5063" y="10962"/>
                  </a:lnTo>
                  <a:lnTo>
                    <a:pt x="5696" y="11053"/>
                  </a:lnTo>
                  <a:lnTo>
                    <a:pt x="5877" y="11098"/>
                  </a:lnTo>
                  <a:lnTo>
                    <a:pt x="6080" y="11121"/>
                  </a:lnTo>
                  <a:lnTo>
                    <a:pt x="6261" y="11121"/>
                  </a:lnTo>
                  <a:lnTo>
                    <a:pt x="6442" y="11098"/>
                  </a:lnTo>
                  <a:lnTo>
                    <a:pt x="6803" y="11053"/>
                  </a:lnTo>
                  <a:lnTo>
                    <a:pt x="7142" y="10962"/>
                  </a:lnTo>
                  <a:lnTo>
                    <a:pt x="7459" y="10827"/>
                  </a:lnTo>
                  <a:lnTo>
                    <a:pt x="7775" y="10669"/>
                  </a:lnTo>
                  <a:lnTo>
                    <a:pt x="8069" y="10488"/>
                  </a:lnTo>
                  <a:lnTo>
                    <a:pt x="8363" y="10284"/>
                  </a:lnTo>
                  <a:lnTo>
                    <a:pt x="8905" y="9900"/>
                  </a:lnTo>
                  <a:lnTo>
                    <a:pt x="9425" y="9538"/>
                  </a:lnTo>
                  <a:lnTo>
                    <a:pt x="9674" y="9403"/>
                  </a:lnTo>
                  <a:lnTo>
                    <a:pt x="9922" y="9290"/>
                  </a:lnTo>
                  <a:lnTo>
                    <a:pt x="10171" y="9222"/>
                  </a:lnTo>
                  <a:lnTo>
                    <a:pt x="10419" y="9199"/>
                  </a:lnTo>
                  <a:lnTo>
                    <a:pt x="10871" y="9222"/>
                  </a:lnTo>
                  <a:lnTo>
                    <a:pt x="11301" y="9290"/>
                  </a:lnTo>
                  <a:lnTo>
                    <a:pt x="11685" y="9403"/>
                  </a:lnTo>
                  <a:lnTo>
                    <a:pt x="12047" y="9538"/>
                  </a:lnTo>
                  <a:lnTo>
                    <a:pt x="12408" y="9697"/>
                  </a:lnTo>
                  <a:lnTo>
                    <a:pt x="12770" y="9877"/>
                  </a:lnTo>
                  <a:lnTo>
                    <a:pt x="13448" y="10262"/>
                  </a:lnTo>
                  <a:lnTo>
                    <a:pt x="13810" y="10465"/>
                  </a:lnTo>
                  <a:lnTo>
                    <a:pt x="14171" y="10646"/>
                  </a:lnTo>
                  <a:lnTo>
                    <a:pt x="14555" y="10804"/>
                  </a:lnTo>
                  <a:lnTo>
                    <a:pt x="14962" y="10940"/>
                  </a:lnTo>
                  <a:lnTo>
                    <a:pt x="15392" y="11053"/>
                  </a:lnTo>
                  <a:lnTo>
                    <a:pt x="15866" y="11143"/>
                  </a:lnTo>
                  <a:lnTo>
                    <a:pt x="16386" y="11166"/>
                  </a:lnTo>
                  <a:lnTo>
                    <a:pt x="16951" y="11143"/>
                  </a:lnTo>
                  <a:lnTo>
                    <a:pt x="17494" y="10985"/>
                  </a:lnTo>
                  <a:lnTo>
                    <a:pt x="17968" y="10804"/>
                  </a:lnTo>
                  <a:lnTo>
                    <a:pt x="18420" y="10578"/>
                  </a:lnTo>
                  <a:lnTo>
                    <a:pt x="18805" y="10352"/>
                  </a:lnTo>
                  <a:lnTo>
                    <a:pt x="19144" y="10081"/>
                  </a:lnTo>
                  <a:lnTo>
                    <a:pt x="19437" y="9787"/>
                  </a:lnTo>
                  <a:lnTo>
                    <a:pt x="19709" y="9493"/>
                  </a:lnTo>
                  <a:lnTo>
                    <a:pt x="19935" y="9177"/>
                  </a:lnTo>
                  <a:lnTo>
                    <a:pt x="20138" y="8838"/>
                  </a:lnTo>
                  <a:lnTo>
                    <a:pt x="20296" y="8499"/>
                  </a:lnTo>
                  <a:lnTo>
                    <a:pt x="20432" y="8160"/>
                  </a:lnTo>
                  <a:lnTo>
                    <a:pt x="20545" y="7821"/>
                  </a:lnTo>
                  <a:lnTo>
                    <a:pt x="20635" y="7482"/>
                  </a:lnTo>
                  <a:lnTo>
                    <a:pt x="20703" y="7143"/>
                  </a:lnTo>
                  <a:lnTo>
                    <a:pt x="20816" y="6487"/>
                  </a:lnTo>
                  <a:lnTo>
                    <a:pt x="20861" y="6193"/>
                  </a:lnTo>
                  <a:lnTo>
                    <a:pt x="20906" y="5900"/>
                  </a:lnTo>
                  <a:lnTo>
                    <a:pt x="20974" y="5651"/>
                  </a:lnTo>
                  <a:lnTo>
                    <a:pt x="21042" y="5402"/>
                  </a:lnTo>
                  <a:lnTo>
                    <a:pt x="21223" y="4973"/>
                  </a:lnTo>
                  <a:lnTo>
                    <a:pt x="21426" y="4611"/>
                  </a:lnTo>
                  <a:lnTo>
                    <a:pt x="21630" y="4295"/>
                  </a:lnTo>
                  <a:lnTo>
                    <a:pt x="21878" y="4024"/>
                  </a:lnTo>
                  <a:lnTo>
                    <a:pt x="22127" y="3820"/>
                  </a:lnTo>
                  <a:lnTo>
                    <a:pt x="22398" y="3639"/>
                  </a:lnTo>
                  <a:lnTo>
                    <a:pt x="22647" y="3481"/>
                  </a:lnTo>
                  <a:lnTo>
                    <a:pt x="22918" y="3346"/>
                  </a:lnTo>
                  <a:lnTo>
                    <a:pt x="23415" y="3142"/>
                  </a:lnTo>
                  <a:lnTo>
                    <a:pt x="23822" y="2984"/>
                  </a:lnTo>
                  <a:lnTo>
                    <a:pt x="23980" y="2871"/>
                  </a:lnTo>
                  <a:lnTo>
                    <a:pt x="24116" y="2781"/>
                  </a:lnTo>
                  <a:lnTo>
                    <a:pt x="24274" y="2600"/>
                  </a:lnTo>
                  <a:lnTo>
                    <a:pt x="24342" y="2509"/>
                  </a:lnTo>
                  <a:lnTo>
                    <a:pt x="24432" y="2374"/>
                  </a:lnTo>
                  <a:lnTo>
                    <a:pt x="24477" y="2261"/>
                  </a:lnTo>
                  <a:lnTo>
                    <a:pt x="24523" y="2103"/>
                  </a:lnTo>
                  <a:lnTo>
                    <a:pt x="24545" y="1944"/>
                  </a:lnTo>
                  <a:lnTo>
                    <a:pt x="24545" y="1764"/>
                  </a:lnTo>
                  <a:lnTo>
                    <a:pt x="24523" y="1628"/>
                  </a:lnTo>
                  <a:lnTo>
                    <a:pt x="24477" y="1492"/>
                  </a:lnTo>
                  <a:lnTo>
                    <a:pt x="24410" y="1379"/>
                  </a:lnTo>
                  <a:lnTo>
                    <a:pt x="24297" y="1266"/>
                  </a:lnTo>
                  <a:lnTo>
                    <a:pt x="24184" y="1153"/>
                  </a:lnTo>
                  <a:lnTo>
                    <a:pt x="24071" y="1086"/>
                  </a:lnTo>
                  <a:lnTo>
                    <a:pt x="23935" y="1040"/>
                  </a:lnTo>
                  <a:lnTo>
                    <a:pt x="23777" y="1018"/>
                  </a:lnTo>
                  <a:lnTo>
                    <a:pt x="23664" y="995"/>
                  </a:lnTo>
                  <a:lnTo>
                    <a:pt x="23528" y="973"/>
                  </a:lnTo>
                  <a:lnTo>
                    <a:pt x="23234" y="837"/>
                  </a:lnTo>
                  <a:lnTo>
                    <a:pt x="22579" y="475"/>
                  </a:lnTo>
                  <a:lnTo>
                    <a:pt x="22195" y="272"/>
                  </a:lnTo>
                  <a:lnTo>
                    <a:pt x="22014" y="181"/>
                  </a:lnTo>
                  <a:lnTo>
                    <a:pt x="21811" y="114"/>
                  </a:lnTo>
                  <a:lnTo>
                    <a:pt x="21585" y="68"/>
                  </a:lnTo>
                  <a:lnTo>
                    <a:pt x="21381" y="23"/>
                  </a:lnTo>
                  <a:lnTo>
                    <a:pt x="21155" y="1"/>
                  </a:lnTo>
                  <a:close/>
                </a:path>
              </a:pathLst>
            </a:custGeom>
            <a:solidFill>
              <a:srgbClr val="3331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5" name="Google Shape;1752;p16">
              <a:extLst>
                <a:ext uri="{FF2B5EF4-FFF2-40B4-BE49-F238E27FC236}">
                  <a16:creationId xmlns:a16="http://schemas.microsoft.com/office/drawing/2014/main" id="{5AD97E8E-9C53-6459-0943-478E6403D60F}"/>
                </a:ext>
              </a:extLst>
            </p:cNvPr>
            <p:cNvSpPr/>
            <p:nvPr/>
          </p:nvSpPr>
          <p:spPr>
            <a:xfrm>
              <a:off x="4244225" y="2315350"/>
              <a:ext cx="1150" cy="3400"/>
            </a:xfrm>
            <a:custGeom>
              <a:avLst/>
              <a:gdLst/>
              <a:ahLst/>
              <a:cxnLst/>
              <a:rect l="l" t="t" r="r" b="b"/>
              <a:pathLst>
                <a:path w="46" h="136" extrusionOk="0">
                  <a:moveTo>
                    <a:pt x="45" y="0"/>
                  </a:moveTo>
                  <a:lnTo>
                    <a:pt x="45" y="0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6" name="Google Shape;1753;p16">
              <a:extLst>
                <a:ext uri="{FF2B5EF4-FFF2-40B4-BE49-F238E27FC236}">
                  <a16:creationId xmlns:a16="http://schemas.microsoft.com/office/drawing/2014/main" id="{1346970F-5A81-511B-65B2-F1DC5DF35ACA}"/>
                </a:ext>
              </a:extLst>
            </p:cNvPr>
            <p:cNvSpPr/>
            <p:nvPr/>
          </p:nvSpPr>
          <p:spPr>
            <a:xfrm>
              <a:off x="4244225" y="2315350"/>
              <a:ext cx="1150" cy="3400"/>
            </a:xfrm>
            <a:custGeom>
              <a:avLst/>
              <a:gdLst/>
              <a:ahLst/>
              <a:cxnLst/>
              <a:rect l="l" t="t" r="r" b="b"/>
              <a:pathLst>
                <a:path w="46" h="136" fill="none" extrusionOk="0">
                  <a:moveTo>
                    <a:pt x="45" y="0"/>
                  </a:moveTo>
                  <a:lnTo>
                    <a:pt x="45" y="0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4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7" name="Google Shape;1754;p16">
              <a:extLst>
                <a:ext uri="{FF2B5EF4-FFF2-40B4-BE49-F238E27FC236}">
                  <a16:creationId xmlns:a16="http://schemas.microsoft.com/office/drawing/2014/main" id="{86B34DC3-7480-57BE-D21A-E9F26795F76C}"/>
                </a:ext>
              </a:extLst>
            </p:cNvPr>
            <p:cNvSpPr/>
            <p:nvPr/>
          </p:nvSpPr>
          <p:spPr>
            <a:xfrm>
              <a:off x="4066800" y="2080275"/>
              <a:ext cx="208525" cy="238475"/>
            </a:xfrm>
            <a:custGeom>
              <a:avLst/>
              <a:gdLst/>
              <a:ahLst/>
              <a:cxnLst/>
              <a:rect l="l" t="t" r="r" b="b"/>
              <a:pathLst>
                <a:path w="8341" h="9539" extrusionOk="0">
                  <a:moveTo>
                    <a:pt x="7459" y="4951"/>
                  </a:moveTo>
                  <a:lnTo>
                    <a:pt x="7436" y="5018"/>
                  </a:lnTo>
                  <a:lnTo>
                    <a:pt x="7414" y="5064"/>
                  </a:lnTo>
                  <a:lnTo>
                    <a:pt x="7459" y="5041"/>
                  </a:lnTo>
                  <a:lnTo>
                    <a:pt x="7481" y="5018"/>
                  </a:lnTo>
                  <a:lnTo>
                    <a:pt x="7481" y="4996"/>
                  </a:lnTo>
                  <a:lnTo>
                    <a:pt x="7459" y="4951"/>
                  </a:lnTo>
                  <a:close/>
                  <a:moveTo>
                    <a:pt x="0" y="1"/>
                  </a:moveTo>
                  <a:lnTo>
                    <a:pt x="1311" y="1628"/>
                  </a:lnTo>
                  <a:lnTo>
                    <a:pt x="2509" y="3142"/>
                  </a:lnTo>
                  <a:lnTo>
                    <a:pt x="3617" y="4544"/>
                  </a:lnTo>
                  <a:lnTo>
                    <a:pt x="4588" y="5832"/>
                  </a:lnTo>
                  <a:lnTo>
                    <a:pt x="5447" y="6985"/>
                  </a:lnTo>
                  <a:lnTo>
                    <a:pt x="6148" y="8002"/>
                  </a:lnTo>
                  <a:lnTo>
                    <a:pt x="6713" y="8861"/>
                  </a:lnTo>
                  <a:lnTo>
                    <a:pt x="6916" y="9222"/>
                  </a:lnTo>
                  <a:lnTo>
                    <a:pt x="7097" y="9539"/>
                  </a:lnTo>
                  <a:lnTo>
                    <a:pt x="7142" y="9403"/>
                  </a:lnTo>
                  <a:lnTo>
                    <a:pt x="7323" y="8725"/>
                  </a:lnTo>
                  <a:lnTo>
                    <a:pt x="7527" y="8092"/>
                  </a:lnTo>
                  <a:lnTo>
                    <a:pt x="7911" y="6917"/>
                  </a:lnTo>
                  <a:lnTo>
                    <a:pt x="8205" y="6013"/>
                  </a:lnTo>
                  <a:lnTo>
                    <a:pt x="8295" y="5651"/>
                  </a:lnTo>
                  <a:lnTo>
                    <a:pt x="8340" y="5380"/>
                  </a:lnTo>
                  <a:lnTo>
                    <a:pt x="8340" y="5312"/>
                  </a:lnTo>
                  <a:lnTo>
                    <a:pt x="8295" y="5244"/>
                  </a:lnTo>
                  <a:lnTo>
                    <a:pt x="8272" y="5199"/>
                  </a:lnTo>
                  <a:lnTo>
                    <a:pt x="8205" y="5177"/>
                  </a:lnTo>
                  <a:lnTo>
                    <a:pt x="8069" y="5131"/>
                  </a:lnTo>
                  <a:lnTo>
                    <a:pt x="7481" y="5131"/>
                  </a:lnTo>
                  <a:lnTo>
                    <a:pt x="7436" y="5109"/>
                  </a:lnTo>
                  <a:lnTo>
                    <a:pt x="7414" y="5064"/>
                  </a:lnTo>
                  <a:lnTo>
                    <a:pt x="7278" y="5041"/>
                  </a:lnTo>
                  <a:lnTo>
                    <a:pt x="7120" y="4996"/>
                  </a:lnTo>
                  <a:lnTo>
                    <a:pt x="6645" y="4792"/>
                  </a:lnTo>
                  <a:lnTo>
                    <a:pt x="6058" y="4544"/>
                  </a:lnTo>
                  <a:lnTo>
                    <a:pt x="5425" y="4227"/>
                  </a:lnTo>
                  <a:lnTo>
                    <a:pt x="4317" y="3685"/>
                  </a:lnTo>
                  <a:lnTo>
                    <a:pt x="3843" y="3414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3D3C3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" name="Google Shape;1755;p16">
              <a:extLst>
                <a:ext uri="{FF2B5EF4-FFF2-40B4-BE49-F238E27FC236}">
                  <a16:creationId xmlns:a16="http://schemas.microsoft.com/office/drawing/2014/main" id="{DF1507A3-FE26-05A0-AA85-C901ED479945}"/>
                </a:ext>
              </a:extLst>
            </p:cNvPr>
            <p:cNvSpPr/>
            <p:nvPr/>
          </p:nvSpPr>
          <p:spPr>
            <a:xfrm>
              <a:off x="4252125" y="2204025"/>
              <a:ext cx="1725" cy="2850"/>
            </a:xfrm>
            <a:custGeom>
              <a:avLst/>
              <a:gdLst/>
              <a:ahLst/>
              <a:cxnLst/>
              <a:rect l="l" t="t" r="r" b="b"/>
              <a:pathLst>
                <a:path w="69" h="114" fill="none" extrusionOk="0">
                  <a:moveTo>
                    <a:pt x="46" y="1"/>
                  </a:moveTo>
                  <a:lnTo>
                    <a:pt x="46" y="1"/>
                  </a:lnTo>
                  <a:lnTo>
                    <a:pt x="23" y="68"/>
                  </a:lnTo>
                  <a:lnTo>
                    <a:pt x="1" y="114"/>
                  </a:lnTo>
                  <a:lnTo>
                    <a:pt x="1" y="114"/>
                  </a:lnTo>
                  <a:lnTo>
                    <a:pt x="46" y="91"/>
                  </a:lnTo>
                  <a:lnTo>
                    <a:pt x="68" y="68"/>
                  </a:lnTo>
                  <a:lnTo>
                    <a:pt x="68" y="46"/>
                  </a:lnTo>
                  <a:lnTo>
                    <a:pt x="4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" name="Google Shape;1756;p16">
              <a:extLst>
                <a:ext uri="{FF2B5EF4-FFF2-40B4-BE49-F238E27FC236}">
                  <a16:creationId xmlns:a16="http://schemas.microsoft.com/office/drawing/2014/main" id="{89455CBB-7FB1-5192-0EF6-DE5D7DEE75DA}"/>
                </a:ext>
              </a:extLst>
            </p:cNvPr>
            <p:cNvSpPr/>
            <p:nvPr/>
          </p:nvSpPr>
          <p:spPr>
            <a:xfrm>
              <a:off x="4066800" y="2080275"/>
              <a:ext cx="208525" cy="238475"/>
            </a:xfrm>
            <a:custGeom>
              <a:avLst/>
              <a:gdLst/>
              <a:ahLst/>
              <a:cxnLst/>
              <a:rect l="l" t="t" r="r" b="b"/>
              <a:pathLst>
                <a:path w="8341" h="9539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1311" y="1628"/>
                  </a:lnTo>
                  <a:lnTo>
                    <a:pt x="2509" y="3142"/>
                  </a:lnTo>
                  <a:lnTo>
                    <a:pt x="3617" y="4544"/>
                  </a:lnTo>
                  <a:lnTo>
                    <a:pt x="4588" y="5832"/>
                  </a:lnTo>
                  <a:lnTo>
                    <a:pt x="5447" y="6985"/>
                  </a:lnTo>
                  <a:lnTo>
                    <a:pt x="6148" y="8002"/>
                  </a:lnTo>
                  <a:lnTo>
                    <a:pt x="6713" y="8861"/>
                  </a:lnTo>
                  <a:lnTo>
                    <a:pt x="6916" y="9222"/>
                  </a:lnTo>
                  <a:lnTo>
                    <a:pt x="7097" y="9539"/>
                  </a:lnTo>
                  <a:lnTo>
                    <a:pt x="7097" y="9539"/>
                  </a:lnTo>
                  <a:lnTo>
                    <a:pt x="7142" y="9403"/>
                  </a:lnTo>
                  <a:lnTo>
                    <a:pt x="7142" y="9403"/>
                  </a:lnTo>
                  <a:lnTo>
                    <a:pt x="7323" y="8725"/>
                  </a:lnTo>
                  <a:lnTo>
                    <a:pt x="7527" y="8092"/>
                  </a:lnTo>
                  <a:lnTo>
                    <a:pt x="7911" y="6917"/>
                  </a:lnTo>
                  <a:lnTo>
                    <a:pt x="8205" y="6013"/>
                  </a:lnTo>
                  <a:lnTo>
                    <a:pt x="8295" y="5651"/>
                  </a:lnTo>
                  <a:lnTo>
                    <a:pt x="8340" y="5380"/>
                  </a:lnTo>
                  <a:lnTo>
                    <a:pt x="8340" y="5380"/>
                  </a:lnTo>
                  <a:lnTo>
                    <a:pt x="8340" y="5312"/>
                  </a:lnTo>
                  <a:lnTo>
                    <a:pt x="8295" y="5244"/>
                  </a:lnTo>
                  <a:lnTo>
                    <a:pt x="8272" y="5199"/>
                  </a:lnTo>
                  <a:lnTo>
                    <a:pt x="8205" y="5177"/>
                  </a:lnTo>
                  <a:lnTo>
                    <a:pt x="8069" y="5131"/>
                  </a:lnTo>
                  <a:lnTo>
                    <a:pt x="7911" y="5131"/>
                  </a:lnTo>
                  <a:lnTo>
                    <a:pt x="7911" y="5131"/>
                  </a:lnTo>
                  <a:lnTo>
                    <a:pt x="7775" y="5131"/>
                  </a:lnTo>
                  <a:lnTo>
                    <a:pt x="7775" y="5131"/>
                  </a:lnTo>
                  <a:lnTo>
                    <a:pt x="7640" y="5131"/>
                  </a:lnTo>
                  <a:lnTo>
                    <a:pt x="7640" y="5131"/>
                  </a:lnTo>
                  <a:lnTo>
                    <a:pt x="7481" y="5131"/>
                  </a:lnTo>
                  <a:lnTo>
                    <a:pt x="7436" y="5109"/>
                  </a:lnTo>
                  <a:lnTo>
                    <a:pt x="7414" y="5064"/>
                  </a:lnTo>
                  <a:lnTo>
                    <a:pt x="7414" y="5064"/>
                  </a:lnTo>
                  <a:lnTo>
                    <a:pt x="7414" y="5064"/>
                  </a:lnTo>
                  <a:lnTo>
                    <a:pt x="7414" y="5064"/>
                  </a:lnTo>
                  <a:lnTo>
                    <a:pt x="7278" y="5041"/>
                  </a:lnTo>
                  <a:lnTo>
                    <a:pt x="7120" y="4996"/>
                  </a:lnTo>
                  <a:lnTo>
                    <a:pt x="6645" y="4792"/>
                  </a:lnTo>
                  <a:lnTo>
                    <a:pt x="6058" y="4544"/>
                  </a:lnTo>
                  <a:lnTo>
                    <a:pt x="5425" y="4227"/>
                  </a:lnTo>
                  <a:lnTo>
                    <a:pt x="4317" y="3685"/>
                  </a:lnTo>
                  <a:lnTo>
                    <a:pt x="3843" y="3414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0" name="Google Shape;1757;p16">
              <a:extLst>
                <a:ext uri="{FF2B5EF4-FFF2-40B4-BE49-F238E27FC236}">
                  <a16:creationId xmlns:a16="http://schemas.microsoft.com/office/drawing/2014/main" id="{B73D6731-4468-A6E5-8E20-F4099A25BE97}"/>
                </a:ext>
              </a:extLst>
            </p:cNvPr>
            <p:cNvSpPr/>
            <p:nvPr/>
          </p:nvSpPr>
          <p:spPr>
            <a:xfrm>
              <a:off x="4148150" y="3222775"/>
              <a:ext cx="281425" cy="395000"/>
            </a:xfrm>
            <a:custGeom>
              <a:avLst/>
              <a:gdLst/>
              <a:ahLst/>
              <a:cxnLst/>
              <a:rect l="l" t="t" r="r" b="b"/>
              <a:pathLst>
                <a:path w="11257" h="15800" extrusionOk="0">
                  <a:moveTo>
                    <a:pt x="9652" y="1"/>
                  </a:moveTo>
                  <a:lnTo>
                    <a:pt x="9268" y="362"/>
                  </a:lnTo>
                  <a:lnTo>
                    <a:pt x="8838" y="837"/>
                  </a:lnTo>
                  <a:lnTo>
                    <a:pt x="8364" y="1357"/>
                  </a:lnTo>
                  <a:lnTo>
                    <a:pt x="7866" y="1944"/>
                  </a:lnTo>
                  <a:lnTo>
                    <a:pt x="6827" y="3210"/>
                  </a:lnTo>
                  <a:lnTo>
                    <a:pt x="5742" y="4566"/>
                  </a:lnTo>
                  <a:lnTo>
                    <a:pt x="4679" y="5855"/>
                  </a:lnTo>
                  <a:lnTo>
                    <a:pt x="4182" y="6442"/>
                  </a:lnTo>
                  <a:lnTo>
                    <a:pt x="3685" y="7007"/>
                  </a:lnTo>
                  <a:lnTo>
                    <a:pt x="3256" y="7482"/>
                  </a:lnTo>
                  <a:lnTo>
                    <a:pt x="2826" y="7889"/>
                  </a:lnTo>
                  <a:lnTo>
                    <a:pt x="2465" y="8205"/>
                  </a:lnTo>
                  <a:lnTo>
                    <a:pt x="2284" y="8318"/>
                  </a:lnTo>
                  <a:lnTo>
                    <a:pt x="2148" y="8408"/>
                  </a:lnTo>
                  <a:lnTo>
                    <a:pt x="1809" y="8567"/>
                  </a:lnTo>
                  <a:lnTo>
                    <a:pt x="1470" y="8702"/>
                  </a:lnTo>
                  <a:lnTo>
                    <a:pt x="769" y="8996"/>
                  </a:lnTo>
                  <a:lnTo>
                    <a:pt x="476" y="9154"/>
                  </a:lnTo>
                  <a:lnTo>
                    <a:pt x="227" y="9313"/>
                  </a:lnTo>
                  <a:lnTo>
                    <a:pt x="137" y="9380"/>
                  </a:lnTo>
                  <a:lnTo>
                    <a:pt x="69" y="9471"/>
                  </a:lnTo>
                  <a:lnTo>
                    <a:pt x="24" y="9561"/>
                  </a:lnTo>
                  <a:lnTo>
                    <a:pt x="1" y="9629"/>
                  </a:lnTo>
                  <a:lnTo>
                    <a:pt x="1" y="9855"/>
                  </a:lnTo>
                  <a:lnTo>
                    <a:pt x="24" y="10036"/>
                  </a:lnTo>
                  <a:lnTo>
                    <a:pt x="69" y="10194"/>
                  </a:lnTo>
                  <a:lnTo>
                    <a:pt x="137" y="10330"/>
                  </a:lnTo>
                  <a:lnTo>
                    <a:pt x="227" y="10443"/>
                  </a:lnTo>
                  <a:lnTo>
                    <a:pt x="340" y="10556"/>
                  </a:lnTo>
                  <a:lnTo>
                    <a:pt x="611" y="10759"/>
                  </a:lnTo>
                  <a:lnTo>
                    <a:pt x="928" y="11008"/>
                  </a:lnTo>
                  <a:lnTo>
                    <a:pt x="1312" y="11301"/>
                  </a:lnTo>
                  <a:lnTo>
                    <a:pt x="1515" y="11505"/>
                  </a:lnTo>
                  <a:lnTo>
                    <a:pt x="1719" y="11731"/>
                  </a:lnTo>
                  <a:lnTo>
                    <a:pt x="1945" y="11980"/>
                  </a:lnTo>
                  <a:lnTo>
                    <a:pt x="2171" y="12296"/>
                  </a:lnTo>
                  <a:lnTo>
                    <a:pt x="2623" y="12929"/>
                  </a:lnTo>
                  <a:lnTo>
                    <a:pt x="3075" y="13539"/>
                  </a:lnTo>
                  <a:lnTo>
                    <a:pt x="3482" y="14081"/>
                  </a:lnTo>
                  <a:lnTo>
                    <a:pt x="3911" y="14579"/>
                  </a:lnTo>
                  <a:lnTo>
                    <a:pt x="4318" y="14985"/>
                  </a:lnTo>
                  <a:lnTo>
                    <a:pt x="4499" y="15166"/>
                  </a:lnTo>
                  <a:lnTo>
                    <a:pt x="4702" y="15325"/>
                  </a:lnTo>
                  <a:lnTo>
                    <a:pt x="4905" y="15483"/>
                  </a:lnTo>
                  <a:lnTo>
                    <a:pt x="5109" y="15596"/>
                  </a:lnTo>
                  <a:lnTo>
                    <a:pt x="5290" y="15686"/>
                  </a:lnTo>
                  <a:lnTo>
                    <a:pt x="5493" y="15754"/>
                  </a:lnTo>
                  <a:lnTo>
                    <a:pt x="5606" y="15777"/>
                  </a:lnTo>
                  <a:lnTo>
                    <a:pt x="5719" y="15799"/>
                  </a:lnTo>
                  <a:lnTo>
                    <a:pt x="5855" y="15799"/>
                  </a:lnTo>
                  <a:lnTo>
                    <a:pt x="5968" y="15777"/>
                  </a:lnTo>
                  <a:lnTo>
                    <a:pt x="6081" y="15731"/>
                  </a:lnTo>
                  <a:lnTo>
                    <a:pt x="6194" y="15686"/>
                  </a:lnTo>
                  <a:lnTo>
                    <a:pt x="6284" y="15641"/>
                  </a:lnTo>
                  <a:lnTo>
                    <a:pt x="6375" y="15551"/>
                  </a:lnTo>
                  <a:lnTo>
                    <a:pt x="6442" y="15460"/>
                  </a:lnTo>
                  <a:lnTo>
                    <a:pt x="6465" y="15347"/>
                  </a:lnTo>
                  <a:lnTo>
                    <a:pt x="6488" y="15211"/>
                  </a:lnTo>
                  <a:lnTo>
                    <a:pt x="6488" y="15053"/>
                  </a:lnTo>
                  <a:lnTo>
                    <a:pt x="6442" y="14895"/>
                  </a:lnTo>
                  <a:lnTo>
                    <a:pt x="6375" y="14714"/>
                  </a:lnTo>
                  <a:lnTo>
                    <a:pt x="6262" y="14488"/>
                  </a:lnTo>
                  <a:lnTo>
                    <a:pt x="6126" y="14262"/>
                  </a:lnTo>
                  <a:lnTo>
                    <a:pt x="5787" y="13788"/>
                  </a:lnTo>
                  <a:lnTo>
                    <a:pt x="5516" y="13290"/>
                  </a:lnTo>
                  <a:lnTo>
                    <a:pt x="5267" y="12771"/>
                  </a:lnTo>
                  <a:lnTo>
                    <a:pt x="5086" y="12296"/>
                  </a:lnTo>
                  <a:lnTo>
                    <a:pt x="5018" y="12047"/>
                  </a:lnTo>
                  <a:lnTo>
                    <a:pt x="4951" y="11821"/>
                  </a:lnTo>
                  <a:lnTo>
                    <a:pt x="4905" y="11595"/>
                  </a:lnTo>
                  <a:lnTo>
                    <a:pt x="4905" y="11369"/>
                  </a:lnTo>
                  <a:lnTo>
                    <a:pt x="4883" y="11166"/>
                  </a:lnTo>
                  <a:lnTo>
                    <a:pt x="4905" y="10962"/>
                  </a:lnTo>
                  <a:lnTo>
                    <a:pt x="4951" y="10782"/>
                  </a:lnTo>
                  <a:lnTo>
                    <a:pt x="4996" y="10601"/>
                  </a:lnTo>
                  <a:lnTo>
                    <a:pt x="5131" y="10375"/>
                  </a:lnTo>
                  <a:lnTo>
                    <a:pt x="5380" y="9991"/>
                  </a:lnTo>
                  <a:lnTo>
                    <a:pt x="6126" y="8906"/>
                  </a:lnTo>
                  <a:lnTo>
                    <a:pt x="7143" y="7550"/>
                  </a:lnTo>
                  <a:lnTo>
                    <a:pt x="8273" y="6058"/>
                  </a:lnTo>
                  <a:lnTo>
                    <a:pt x="10330" y="3346"/>
                  </a:lnTo>
                  <a:lnTo>
                    <a:pt x="11256" y="2148"/>
                  </a:lnTo>
                  <a:lnTo>
                    <a:pt x="9652" y="1"/>
                  </a:lnTo>
                  <a:close/>
                </a:path>
              </a:pathLst>
            </a:custGeom>
            <a:solidFill>
              <a:srgbClr val="3331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" name="Google Shape;1758;p16">
              <a:extLst>
                <a:ext uri="{FF2B5EF4-FFF2-40B4-BE49-F238E27FC236}">
                  <a16:creationId xmlns:a16="http://schemas.microsoft.com/office/drawing/2014/main" id="{252C259B-D185-E05F-AD32-AC6F6DDB8C12}"/>
                </a:ext>
              </a:extLst>
            </p:cNvPr>
            <p:cNvSpPr/>
            <p:nvPr/>
          </p:nvSpPr>
          <p:spPr>
            <a:xfrm>
              <a:off x="3965100" y="2458300"/>
              <a:ext cx="782025" cy="990525"/>
            </a:xfrm>
            <a:custGeom>
              <a:avLst/>
              <a:gdLst/>
              <a:ahLst/>
              <a:cxnLst/>
              <a:rect l="l" t="t" r="r" b="b"/>
              <a:pathLst>
                <a:path w="31281" h="39621" extrusionOk="0">
                  <a:moveTo>
                    <a:pt x="610" y="0"/>
                  </a:moveTo>
                  <a:lnTo>
                    <a:pt x="407" y="746"/>
                  </a:lnTo>
                  <a:lnTo>
                    <a:pt x="204" y="1469"/>
                  </a:lnTo>
                  <a:lnTo>
                    <a:pt x="113" y="1808"/>
                  </a:lnTo>
                  <a:lnTo>
                    <a:pt x="45" y="2170"/>
                  </a:lnTo>
                  <a:lnTo>
                    <a:pt x="23" y="2509"/>
                  </a:lnTo>
                  <a:lnTo>
                    <a:pt x="0" y="2871"/>
                  </a:lnTo>
                  <a:lnTo>
                    <a:pt x="0" y="3255"/>
                  </a:lnTo>
                  <a:lnTo>
                    <a:pt x="45" y="3662"/>
                  </a:lnTo>
                  <a:lnTo>
                    <a:pt x="136" y="4068"/>
                  </a:lnTo>
                  <a:lnTo>
                    <a:pt x="249" y="4520"/>
                  </a:lnTo>
                  <a:lnTo>
                    <a:pt x="430" y="4995"/>
                  </a:lnTo>
                  <a:lnTo>
                    <a:pt x="633" y="5515"/>
                  </a:lnTo>
                  <a:lnTo>
                    <a:pt x="904" y="6080"/>
                  </a:lnTo>
                  <a:lnTo>
                    <a:pt x="1243" y="6690"/>
                  </a:lnTo>
                  <a:lnTo>
                    <a:pt x="1447" y="6984"/>
                  </a:lnTo>
                  <a:lnTo>
                    <a:pt x="1740" y="7323"/>
                  </a:lnTo>
                  <a:lnTo>
                    <a:pt x="2079" y="7662"/>
                  </a:lnTo>
                  <a:lnTo>
                    <a:pt x="2486" y="8024"/>
                  </a:lnTo>
                  <a:lnTo>
                    <a:pt x="2961" y="8385"/>
                  </a:lnTo>
                  <a:lnTo>
                    <a:pt x="3503" y="8747"/>
                  </a:lnTo>
                  <a:lnTo>
                    <a:pt x="4068" y="9131"/>
                  </a:lnTo>
                  <a:lnTo>
                    <a:pt x="4701" y="9538"/>
                  </a:lnTo>
                  <a:lnTo>
                    <a:pt x="5379" y="9922"/>
                  </a:lnTo>
                  <a:lnTo>
                    <a:pt x="6102" y="10329"/>
                  </a:lnTo>
                  <a:lnTo>
                    <a:pt x="6848" y="10736"/>
                  </a:lnTo>
                  <a:lnTo>
                    <a:pt x="7639" y="11143"/>
                  </a:lnTo>
                  <a:lnTo>
                    <a:pt x="9312" y="11979"/>
                  </a:lnTo>
                  <a:lnTo>
                    <a:pt x="11075" y="12793"/>
                  </a:lnTo>
                  <a:lnTo>
                    <a:pt x="12906" y="13606"/>
                  </a:lnTo>
                  <a:lnTo>
                    <a:pt x="14781" y="14375"/>
                  </a:lnTo>
                  <a:lnTo>
                    <a:pt x="16657" y="15143"/>
                  </a:lnTo>
                  <a:lnTo>
                    <a:pt x="18511" y="15844"/>
                  </a:lnTo>
                  <a:lnTo>
                    <a:pt x="20319" y="16499"/>
                  </a:lnTo>
                  <a:lnTo>
                    <a:pt x="22059" y="17087"/>
                  </a:lnTo>
                  <a:lnTo>
                    <a:pt x="23664" y="17607"/>
                  </a:lnTo>
                  <a:lnTo>
                    <a:pt x="25156" y="18059"/>
                  </a:lnTo>
                  <a:lnTo>
                    <a:pt x="23641" y="20341"/>
                  </a:lnTo>
                  <a:lnTo>
                    <a:pt x="21991" y="22805"/>
                  </a:lnTo>
                  <a:lnTo>
                    <a:pt x="20251" y="25359"/>
                  </a:lnTo>
                  <a:lnTo>
                    <a:pt x="19347" y="26625"/>
                  </a:lnTo>
                  <a:lnTo>
                    <a:pt x="18420" y="27913"/>
                  </a:lnTo>
                  <a:lnTo>
                    <a:pt x="17516" y="29156"/>
                  </a:lnTo>
                  <a:lnTo>
                    <a:pt x="16590" y="30354"/>
                  </a:lnTo>
                  <a:lnTo>
                    <a:pt x="15663" y="31529"/>
                  </a:lnTo>
                  <a:lnTo>
                    <a:pt x="14736" y="32637"/>
                  </a:lnTo>
                  <a:lnTo>
                    <a:pt x="13832" y="33676"/>
                  </a:lnTo>
                  <a:lnTo>
                    <a:pt x="12951" y="34648"/>
                  </a:lnTo>
                  <a:lnTo>
                    <a:pt x="12069" y="35529"/>
                  </a:lnTo>
                  <a:lnTo>
                    <a:pt x="11640" y="35936"/>
                  </a:lnTo>
                  <a:lnTo>
                    <a:pt x="11210" y="36298"/>
                  </a:lnTo>
                  <a:lnTo>
                    <a:pt x="11346" y="36795"/>
                  </a:lnTo>
                  <a:lnTo>
                    <a:pt x="11459" y="37202"/>
                  </a:lnTo>
                  <a:lnTo>
                    <a:pt x="11595" y="37541"/>
                  </a:lnTo>
                  <a:lnTo>
                    <a:pt x="11708" y="37835"/>
                  </a:lnTo>
                  <a:lnTo>
                    <a:pt x="11843" y="38061"/>
                  </a:lnTo>
                  <a:lnTo>
                    <a:pt x="11956" y="38242"/>
                  </a:lnTo>
                  <a:lnTo>
                    <a:pt x="12092" y="38400"/>
                  </a:lnTo>
                  <a:lnTo>
                    <a:pt x="12250" y="38513"/>
                  </a:lnTo>
                  <a:lnTo>
                    <a:pt x="12386" y="38626"/>
                  </a:lnTo>
                  <a:lnTo>
                    <a:pt x="12567" y="38716"/>
                  </a:lnTo>
                  <a:lnTo>
                    <a:pt x="12951" y="38920"/>
                  </a:lnTo>
                  <a:lnTo>
                    <a:pt x="13154" y="39055"/>
                  </a:lnTo>
                  <a:lnTo>
                    <a:pt x="13403" y="39214"/>
                  </a:lnTo>
                  <a:lnTo>
                    <a:pt x="13651" y="39394"/>
                  </a:lnTo>
                  <a:lnTo>
                    <a:pt x="13923" y="39620"/>
                  </a:lnTo>
                  <a:lnTo>
                    <a:pt x="14194" y="39304"/>
                  </a:lnTo>
                  <a:lnTo>
                    <a:pt x="14533" y="38920"/>
                  </a:lnTo>
                  <a:lnTo>
                    <a:pt x="15346" y="38016"/>
                  </a:lnTo>
                  <a:lnTo>
                    <a:pt x="16364" y="36953"/>
                  </a:lnTo>
                  <a:lnTo>
                    <a:pt x="17516" y="35733"/>
                  </a:lnTo>
                  <a:lnTo>
                    <a:pt x="20206" y="32976"/>
                  </a:lnTo>
                  <a:lnTo>
                    <a:pt x="21630" y="31461"/>
                  </a:lnTo>
                  <a:lnTo>
                    <a:pt x="23099" y="29879"/>
                  </a:lnTo>
                  <a:lnTo>
                    <a:pt x="24523" y="28252"/>
                  </a:lnTo>
                  <a:lnTo>
                    <a:pt x="25223" y="27438"/>
                  </a:lnTo>
                  <a:lnTo>
                    <a:pt x="25924" y="26625"/>
                  </a:lnTo>
                  <a:lnTo>
                    <a:pt x="26579" y="25788"/>
                  </a:lnTo>
                  <a:lnTo>
                    <a:pt x="27212" y="24975"/>
                  </a:lnTo>
                  <a:lnTo>
                    <a:pt x="27822" y="24161"/>
                  </a:lnTo>
                  <a:lnTo>
                    <a:pt x="28410" y="23347"/>
                  </a:lnTo>
                  <a:lnTo>
                    <a:pt x="28930" y="22556"/>
                  </a:lnTo>
                  <a:lnTo>
                    <a:pt x="29427" y="21765"/>
                  </a:lnTo>
                  <a:lnTo>
                    <a:pt x="29879" y="20997"/>
                  </a:lnTo>
                  <a:lnTo>
                    <a:pt x="30286" y="20251"/>
                  </a:lnTo>
                  <a:lnTo>
                    <a:pt x="30625" y="19505"/>
                  </a:lnTo>
                  <a:lnTo>
                    <a:pt x="30896" y="18782"/>
                  </a:lnTo>
                  <a:lnTo>
                    <a:pt x="31009" y="18443"/>
                  </a:lnTo>
                  <a:lnTo>
                    <a:pt x="31100" y="18104"/>
                  </a:lnTo>
                  <a:lnTo>
                    <a:pt x="31190" y="17765"/>
                  </a:lnTo>
                  <a:lnTo>
                    <a:pt x="31258" y="17448"/>
                  </a:lnTo>
                  <a:lnTo>
                    <a:pt x="31280" y="17200"/>
                  </a:lnTo>
                  <a:lnTo>
                    <a:pt x="31280" y="16951"/>
                  </a:lnTo>
                  <a:lnTo>
                    <a:pt x="31258" y="16703"/>
                  </a:lnTo>
                  <a:lnTo>
                    <a:pt x="31190" y="16431"/>
                  </a:lnTo>
                  <a:lnTo>
                    <a:pt x="31122" y="16183"/>
                  </a:lnTo>
                  <a:lnTo>
                    <a:pt x="31032" y="15912"/>
                  </a:lnTo>
                  <a:lnTo>
                    <a:pt x="30896" y="15640"/>
                  </a:lnTo>
                  <a:lnTo>
                    <a:pt x="30761" y="15369"/>
                  </a:lnTo>
                  <a:lnTo>
                    <a:pt x="30580" y="15098"/>
                  </a:lnTo>
                  <a:lnTo>
                    <a:pt x="30399" y="14827"/>
                  </a:lnTo>
                  <a:lnTo>
                    <a:pt x="30196" y="14555"/>
                  </a:lnTo>
                  <a:lnTo>
                    <a:pt x="29970" y="14284"/>
                  </a:lnTo>
                  <a:lnTo>
                    <a:pt x="29450" y="13719"/>
                  </a:lnTo>
                  <a:lnTo>
                    <a:pt x="28862" y="13132"/>
                  </a:lnTo>
                  <a:lnTo>
                    <a:pt x="28229" y="12566"/>
                  </a:lnTo>
                  <a:lnTo>
                    <a:pt x="27551" y="11979"/>
                  </a:lnTo>
                  <a:lnTo>
                    <a:pt x="26805" y="11414"/>
                  </a:lnTo>
                  <a:lnTo>
                    <a:pt x="26014" y="10826"/>
                  </a:lnTo>
                  <a:lnTo>
                    <a:pt x="25201" y="10261"/>
                  </a:lnTo>
                  <a:lnTo>
                    <a:pt x="24364" y="9674"/>
                  </a:lnTo>
                  <a:lnTo>
                    <a:pt x="23506" y="9108"/>
                  </a:lnTo>
                  <a:lnTo>
                    <a:pt x="22624" y="8543"/>
                  </a:lnTo>
                  <a:lnTo>
                    <a:pt x="20861" y="7459"/>
                  </a:lnTo>
                  <a:lnTo>
                    <a:pt x="19098" y="6419"/>
                  </a:lnTo>
                  <a:lnTo>
                    <a:pt x="15844" y="4566"/>
                  </a:lnTo>
                  <a:lnTo>
                    <a:pt x="14465" y="3752"/>
                  </a:lnTo>
                  <a:lnTo>
                    <a:pt x="13290" y="3051"/>
                  </a:lnTo>
                  <a:lnTo>
                    <a:pt x="12815" y="2735"/>
                  </a:lnTo>
                  <a:lnTo>
                    <a:pt x="12408" y="2464"/>
                  </a:lnTo>
                  <a:lnTo>
                    <a:pt x="12069" y="2215"/>
                  </a:lnTo>
                  <a:lnTo>
                    <a:pt x="11843" y="2012"/>
                  </a:lnTo>
                  <a:lnTo>
                    <a:pt x="11549" y="1740"/>
                  </a:lnTo>
                  <a:lnTo>
                    <a:pt x="11233" y="1492"/>
                  </a:lnTo>
                  <a:lnTo>
                    <a:pt x="10894" y="1266"/>
                  </a:lnTo>
                  <a:lnTo>
                    <a:pt x="10532" y="1062"/>
                  </a:lnTo>
                  <a:lnTo>
                    <a:pt x="10171" y="882"/>
                  </a:lnTo>
                  <a:lnTo>
                    <a:pt x="9764" y="723"/>
                  </a:lnTo>
                  <a:lnTo>
                    <a:pt x="9357" y="588"/>
                  </a:lnTo>
                  <a:lnTo>
                    <a:pt x="8950" y="475"/>
                  </a:lnTo>
                  <a:lnTo>
                    <a:pt x="8521" y="362"/>
                  </a:lnTo>
                  <a:lnTo>
                    <a:pt x="8091" y="271"/>
                  </a:lnTo>
                  <a:lnTo>
                    <a:pt x="7639" y="204"/>
                  </a:lnTo>
                  <a:lnTo>
                    <a:pt x="7210" y="136"/>
                  </a:lnTo>
                  <a:lnTo>
                    <a:pt x="6306" y="68"/>
                  </a:lnTo>
                  <a:lnTo>
                    <a:pt x="5424" y="23"/>
                  </a:lnTo>
                  <a:lnTo>
                    <a:pt x="4588" y="0"/>
                  </a:lnTo>
                  <a:lnTo>
                    <a:pt x="3775" y="23"/>
                  </a:lnTo>
                  <a:lnTo>
                    <a:pt x="2328" y="68"/>
                  </a:lnTo>
                  <a:lnTo>
                    <a:pt x="1718" y="91"/>
                  </a:lnTo>
                  <a:lnTo>
                    <a:pt x="1221" y="91"/>
                  </a:lnTo>
                  <a:lnTo>
                    <a:pt x="859" y="45"/>
                  </a:lnTo>
                  <a:lnTo>
                    <a:pt x="723" y="23"/>
                  </a:lnTo>
                  <a:lnTo>
                    <a:pt x="610" y="0"/>
                  </a:lnTo>
                  <a:close/>
                </a:path>
              </a:pathLst>
            </a:custGeom>
            <a:solidFill>
              <a:srgbClr val="D9385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2" name="Google Shape;1759;p16">
              <a:extLst>
                <a:ext uri="{FF2B5EF4-FFF2-40B4-BE49-F238E27FC236}">
                  <a16:creationId xmlns:a16="http://schemas.microsoft.com/office/drawing/2014/main" id="{6F924053-8216-8CB5-4329-33559E2EACA9}"/>
                </a:ext>
              </a:extLst>
            </p:cNvPr>
            <p:cNvSpPr/>
            <p:nvPr/>
          </p:nvSpPr>
          <p:spPr>
            <a:xfrm>
              <a:off x="4110875" y="2030000"/>
              <a:ext cx="696700" cy="294975"/>
            </a:xfrm>
            <a:custGeom>
              <a:avLst/>
              <a:gdLst/>
              <a:ahLst/>
              <a:cxnLst/>
              <a:rect l="l" t="t" r="r" b="b"/>
              <a:pathLst>
                <a:path w="27868" h="11799" extrusionOk="0">
                  <a:moveTo>
                    <a:pt x="1537" y="0"/>
                  </a:moveTo>
                  <a:lnTo>
                    <a:pt x="1243" y="475"/>
                  </a:lnTo>
                  <a:lnTo>
                    <a:pt x="972" y="995"/>
                  </a:lnTo>
                  <a:lnTo>
                    <a:pt x="656" y="1582"/>
                  </a:lnTo>
                  <a:lnTo>
                    <a:pt x="362" y="2215"/>
                  </a:lnTo>
                  <a:lnTo>
                    <a:pt x="249" y="2509"/>
                  </a:lnTo>
                  <a:lnTo>
                    <a:pt x="136" y="2803"/>
                  </a:lnTo>
                  <a:lnTo>
                    <a:pt x="45" y="3052"/>
                  </a:lnTo>
                  <a:lnTo>
                    <a:pt x="0" y="3278"/>
                  </a:lnTo>
                  <a:lnTo>
                    <a:pt x="0" y="3458"/>
                  </a:lnTo>
                  <a:lnTo>
                    <a:pt x="0" y="3549"/>
                  </a:lnTo>
                  <a:lnTo>
                    <a:pt x="23" y="3594"/>
                  </a:lnTo>
                  <a:lnTo>
                    <a:pt x="181" y="3775"/>
                  </a:lnTo>
                  <a:lnTo>
                    <a:pt x="520" y="4091"/>
                  </a:lnTo>
                  <a:lnTo>
                    <a:pt x="1605" y="5040"/>
                  </a:lnTo>
                  <a:lnTo>
                    <a:pt x="3097" y="6283"/>
                  </a:lnTo>
                  <a:lnTo>
                    <a:pt x="4792" y="7662"/>
                  </a:lnTo>
                  <a:lnTo>
                    <a:pt x="6509" y="9041"/>
                  </a:lnTo>
                  <a:lnTo>
                    <a:pt x="8001" y="10216"/>
                  </a:lnTo>
                  <a:lnTo>
                    <a:pt x="9109" y="11075"/>
                  </a:lnTo>
                  <a:lnTo>
                    <a:pt x="9448" y="11324"/>
                  </a:lnTo>
                  <a:lnTo>
                    <a:pt x="9606" y="11437"/>
                  </a:lnTo>
                  <a:lnTo>
                    <a:pt x="9945" y="11550"/>
                  </a:lnTo>
                  <a:lnTo>
                    <a:pt x="10329" y="11640"/>
                  </a:lnTo>
                  <a:lnTo>
                    <a:pt x="10736" y="11730"/>
                  </a:lnTo>
                  <a:lnTo>
                    <a:pt x="11165" y="11776"/>
                  </a:lnTo>
                  <a:lnTo>
                    <a:pt x="11617" y="11798"/>
                  </a:lnTo>
                  <a:lnTo>
                    <a:pt x="12589" y="11798"/>
                  </a:lnTo>
                  <a:lnTo>
                    <a:pt x="13109" y="11776"/>
                  </a:lnTo>
                  <a:lnTo>
                    <a:pt x="14171" y="11685"/>
                  </a:lnTo>
                  <a:lnTo>
                    <a:pt x="15279" y="11550"/>
                  </a:lnTo>
                  <a:lnTo>
                    <a:pt x="16409" y="11369"/>
                  </a:lnTo>
                  <a:lnTo>
                    <a:pt x="17516" y="11188"/>
                  </a:lnTo>
                  <a:lnTo>
                    <a:pt x="19641" y="10804"/>
                  </a:lnTo>
                  <a:lnTo>
                    <a:pt x="20590" y="10623"/>
                  </a:lnTo>
                  <a:lnTo>
                    <a:pt x="21472" y="10487"/>
                  </a:lnTo>
                  <a:lnTo>
                    <a:pt x="22217" y="10397"/>
                  </a:lnTo>
                  <a:lnTo>
                    <a:pt x="22850" y="10352"/>
                  </a:lnTo>
                  <a:lnTo>
                    <a:pt x="23099" y="10352"/>
                  </a:lnTo>
                  <a:lnTo>
                    <a:pt x="23302" y="10374"/>
                  </a:lnTo>
                  <a:lnTo>
                    <a:pt x="23461" y="10420"/>
                  </a:lnTo>
                  <a:lnTo>
                    <a:pt x="23574" y="10465"/>
                  </a:lnTo>
                  <a:lnTo>
                    <a:pt x="24026" y="10804"/>
                  </a:lnTo>
                  <a:lnTo>
                    <a:pt x="24432" y="11052"/>
                  </a:lnTo>
                  <a:lnTo>
                    <a:pt x="24862" y="11233"/>
                  </a:lnTo>
                  <a:lnTo>
                    <a:pt x="25269" y="11369"/>
                  </a:lnTo>
                  <a:lnTo>
                    <a:pt x="25653" y="11459"/>
                  </a:lnTo>
                  <a:lnTo>
                    <a:pt x="26015" y="11482"/>
                  </a:lnTo>
                  <a:lnTo>
                    <a:pt x="26354" y="11482"/>
                  </a:lnTo>
                  <a:lnTo>
                    <a:pt x="26670" y="11437"/>
                  </a:lnTo>
                  <a:lnTo>
                    <a:pt x="26941" y="11369"/>
                  </a:lnTo>
                  <a:lnTo>
                    <a:pt x="27190" y="11278"/>
                  </a:lnTo>
                  <a:lnTo>
                    <a:pt x="27416" y="11165"/>
                  </a:lnTo>
                  <a:lnTo>
                    <a:pt x="27597" y="11030"/>
                  </a:lnTo>
                  <a:lnTo>
                    <a:pt x="27732" y="10894"/>
                  </a:lnTo>
                  <a:lnTo>
                    <a:pt x="27823" y="10736"/>
                  </a:lnTo>
                  <a:lnTo>
                    <a:pt x="27868" y="10600"/>
                  </a:lnTo>
                  <a:lnTo>
                    <a:pt x="27868" y="10465"/>
                  </a:lnTo>
                  <a:lnTo>
                    <a:pt x="27823" y="10261"/>
                  </a:lnTo>
                  <a:lnTo>
                    <a:pt x="27732" y="10081"/>
                  </a:lnTo>
                  <a:lnTo>
                    <a:pt x="27619" y="9945"/>
                  </a:lnTo>
                  <a:lnTo>
                    <a:pt x="27484" y="9809"/>
                  </a:lnTo>
                  <a:lnTo>
                    <a:pt x="27325" y="9696"/>
                  </a:lnTo>
                  <a:lnTo>
                    <a:pt x="27122" y="9606"/>
                  </a:lnTo>
                  <a:lnTo>
                    <a:pt x="26693" y="9448"/>
                  </a:lnTo>
                  <a:lnTo>
                    <a:pt x="26150" y="9267"/>
                  </a:lnTo>
                  <a:lnTo>
                    <a:pt x="25540" y="9063"/>
                  </a:lnTo>
                  <a:lnTo>
                    <a:pt x="25201" y="8928"/>
                  </a:lnTo>
                  <a:lnTo>
                    <a:pt x="24839" y="8770"/>
                  </a:lnTo>
                  <a:lnTo>
                    <a:pt x="24432" y="8566"/>
                  </a:lnTo>
                  <a:lnTo>
                    <a:pt x="24026" y="8340"/>
                  </a:lnTo>
                  <a:lnTo>
                    <a:pt x="23890" y="8272"/>
                  </a:lnTo>
                  <a:lnTo>
                    <a:pt x="23687" y="8227"/>
                  </a:lnTo>
                  <a:lnTo>
                    <a:pt x="23461" y="8205"/>
                  </a:lnTo>
                  <a:lnTo>
                    <a:pt x="23189" y="8182"/>
                  </a:lnTo>
                  <a:lnTo>
                    <a:pt x="22534" y="8182"/>
                  </a:lnTo>
                  <a:lnTo>
                    <a:pt x="21765" y="8205"/>
                  </a:lnTo>
                  <a:lnTo>
                    <a:pt x="20884" y="8272"/>
                  </a:lnTo>
                  <a:lnTo>
                    <a:pt x="19935" y="8363"/>
                  </a:lnTo>
                  <a:lnTo>
                    <a:pt x="17878" y="8589"/>
                  </a:lnTo>
                  <a:lnTo>
                    <a:pt x="15776" y="8815"/>
                  </a:lnTo>
                  <a:lnTo>
                    <a:pt x="14759" y="8883"/>
                  </a:lnTo>
                  <a:lnTo>
                    <a:pt x="13810" y="8928"/>
                  </a:lnTo>
                  <a:lnTo>
                    <a:pt x="12928" y="8950"/>
                  </a:lnTo>
                  <a:lnTo>
                    <a:pt x="12544" y="8950"/>
                  </a:lnTo>
                  <a:lnTo>
                    <a:pt x="12160" y="8928"/>
                  </a:lnTo>
                  <a:lnTo>
                    <a:pt x="11821" y="8883"/>
                  </a:lnTo>
                  <a:lnTo>
                    <a:pt x="11504" y="8837"/>
                  </a:lnTo>
                  <a:lnTo>
                    <a:pt x="11233" y="8770"/>
                  </a:lnTo>
                  <a:lnTo>
                    <a:pt x="11007" y="8702"/>
                  </a:lnTo>
                  <a:lnTo>
                    <a:pt x="10849" y="8566"/>
                  </a:lnTo>
                  <a:lnTo>
                    <a:pt x="10533" y="8318"/>
                  </a:lnTo>
                  <a:lnTo>
                    <a:pt x="9538" y="7436"/>
                  </a:lnTo>
                  <a:lnTo>
                    <a:pt x="6622" y="4792"/>
                  </a:lnTo>
                  <a:lnTo>
                    <a:pt x="3526" y="1921"/>
                  </a:lnTo>
                  <a:lnTo>
                    <a:pt x="2328" y="769"/>
                  </a:lnTo>
                  <a:lnTo>
                    <a:pt x="1537" y="0"/>
                  </a:lnTo>
                  <a:close/>
                </a:path>
              </a:pathLst>
            </a:custGeom>
            <a:solidFill>
              <a:srgbClr val="F4B0B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3" name="Google Shape;1760;p16">
              <a:extLst>
                <a:ext uri="{FF2B5EF4-FFF2-40B4-BE49-F238E27FC236}">
                  <a16:creationId xmlns:a16="http://schemas.microsoft.com/office/drawing/2014/main" id="{DBF57A69-B23F-5F20-A9AB-9C7C84567BE2}"/>
                </a:ext>
              </a:extLst>
            </p:cNvPr>
            <p:cNvSpPr/>
            <p:nvPr/>
          </p:nvSpPr>
          <p:spPr>
            <a:xfrm>
              <a:off x="1297550" y="3669150"/>
              <a:ext cx="659425" cy="10775"/>
            </a:xfrm>
            <a:custGeom>
              <a:avLst/>
              <a:gdLst/>
              <a:ahLst/>
              <a:cxnLst/>
              <a:rect l="l" t="t" r="r" b="b"/>
              <a:pathLst>
                <a:path w="26377" h="431" extrusionOk="0">
                  <a:moveTo>
                    <a:pt x="1" y="430"/>
                  </a:moveTo>
                  <a:lnTo>
                    <a:pt x="26377" y="1"/>
                  </a:lnTo>
                  <a:close/>
                </a:path>
              </a:pathLst>
            </a:custGeom>
            <a:solidFill>
              <a:srgbClr val="EED6C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4" name="Google Shape;1761;p16">
              <a:extLst>
                <a:ext uri="{FF2B5EF4-FFF2-40B4-BE49-F238E27FC236}">
                  <a16:creationId xmlns:a16="http://schemas.microsoft.com/office/drawing/2014/main" id="{3EA0DBFB-E092-1119-C724-484FEBB3056F}"/>
                </a:ext>
              </a:extLst>
            </p:cNvPr>
            <p:cNvSpPr/>
            <p:nvPr/>
          </p:nvSpPr>
          <p:spPr>
            <a:xfrm>
              <a:off x="1297550" y="3669150"/>
              <a:ext cx="659425" cy="10775"/>
            </a:xfrm>
            <a:custGeom>
              <a:avLst/>
              <a:gdLst/>
              <a:ahLst/>
              <a:cxnLst/>
              <a:rect l="l" t="t" r="r" b="b"/>
              <a:pathLst>
                <a:path w="26377" h="431" fill="none" extrusionOk="0">
                  <a:moveTo>
                    <a:pt x="1" y="430"/>
                  </a:moveTo>
                  <a:lnTo>
                    <a:pt x="2637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" name="Google Shape;1762;p16">
              <a:extLst>
                <a:ext uri="{FF2B5EF4-FFF2-40B4-BE49-F238E27FC236}">
                  <a16:creationId xmlns:a16="http://schemas.microsoft.com/office/drawing/2014/main" id="{90062ABD-5BA4-A7B2-F9D7-F8FFDA6A0CB3}"/>
                </a:ext>
              </a:extLst>
            </p:cNvPr>
            <p:cNvSpPr/>
            <p:nvPr/>
          </p:nvSpPr>
          <p:spPr>
            <a:xfrm>
              <a:off x="1291350" y="3664075"/>
              <a:ext cx="671850" cy="20925"/>
            </a:xfrm>
            <a:custGeom>
              <a:avLst/>
              <a:gdLst/>
              <a:ahLst/>
              <a:cxnLst/>
              <a:rect l="l" t="t" r="r" b="b"/>
              <a:pathLst>
                <a:path w="26874" h="837" extrusionOk="0">
                  <a:moveTo>
                    <a:pt x="26647" y="0"/>
                  </a:moveTo>
                  <a:lnTo>
                    <a:pt x="271" y="430"/>
                  </a:lnTo>
                  <a:lnTo>
                    <a:pt x="158" y="452"/>
                  </a:lnTo>
                  <a:lnTo>
                    <a:pt x="90" y="498"/>
                  </a:lnTo>
                  <a:lnTo>
                    <a:pt x="23" y="565"/>
                  </a:lnTo>
                  <a:lnTo>
                    <a:pt x="0" y="633"/>
                  </a:lnTo>
                  <a:lnTo>
                    <a:pt x="0" y="701"/>
                  </a:lnTo>
                  <a:lnTo>
                    <a:pt x="45" y="769"/>
                  </a:lnTo>
                  <a:lnTo>
                    <a:pt x="113" y="814"/>
                  </a:lnTo>
                  <a:lnTo>
                    <a:pt x="203" y="837"/>
                  </a:lnTo>
                  <a:lnTo>
                    <a:pt x="26602" y="385"/>
                  </a:lnTo>
                  <a:lnTo>
                    <a:pt x="26715" y="362"/>
                  </a:lnTo>
                  <a:lnTo>
                    <a:pt x="26783" y="339"/>
                  </a:lnTo>
                  <a:lnTo>
                    <a:pt x="26851" y="272"/>
                  </a:lnTo>
                  <a:lnTo>
                    <a:pt x="26873" y="181"/>
                  </a:lnTo>
                  <a:lnTo>
                    <a:pt x="26873" y="136"/>
                  </a:lnTo>
                  <a:lnTo>
                    <a:pt x="26851" y="91"/>
                  </a:lnTo>
                  <a:lnTo>
                    <a:pt x="26805" y="46"/>
                  </a:lnTo>
                  <a:lnTo>
                    <a:pt x="26738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6" name="Google Shape;1763;p16">
              <a:extLst>
                <a:ext uri="{FF2B5EF4-FFF2-40B4-BE49-F238E27FC236}">
                  <a16:creationId xmlns:a16="http://schemas.microsoft.com/office/drawing/2014/main" id="{EE47DB9E-DEB1-B702-64CF-ABD2529DB1F5}"/>
                </a:ext>
              </a:extLst>
            </p:cNvPr>
            <p:cNvSpPr/>
            <p:nvPr/>
          </p:nvSpPr>
          <p:spPr>
            <a:xfrm>
              <a:off x="1397000" y="3761250"/>
              <a:ext cx="618750" cy="1725"/>
            </a:xfrm>
            <a:custGeom>
              <a:avLst/>
              <a:gdLst/>
              <a:ahLst/>
              <a:cxnLst/>
              <a:rect l="l" t="t" r="r" b="b"/>
              <a:pathLst>
                <a:path w="24750" h="69" extrusionOk="0">
                  <a:moveTo>
                    <a:pt x="1" y="69"/>
                  </a:moveTo>
                  <a:lnTo>
                    <a:pt x="24749" y="1"/>
                  </a:lnTo>
                  <a:close/>
                </a:path>
              </a:pathLst>
            </a:custGeom>
            <a:solidFill>
              <a:srgbClr val="EED6C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7" name="Google Shape;1764;p16">
              <a:extLst>
                <a:ext uri="{FF2B5EF4-FFF2-40B4-BE49-F238E27FC236}">
                  <a16:creationId xmlns:a16="http://schemas.microsoft.com/office/drawing/2014/main" id="{200263CA-5106-43B1-DA4D-FB4D15FC3171}"/>
                </a:ext>
              </a:extLst>
            </p:cNvPr>
            <p:cNvSpPr/>
            <p:nvPr/>
          </p:nvSpPr>
          <p:spPr>
            <a:xfrm>
              <a:off x="1397000" y="3761250"/>
              <a:ext cx="618750" cy="1725"/>
            </a:xfrm>
            <a:custGeom>
              <a:avLst/>
              <a:gdLst/>
              <a:ahLst/>
              <a:cxnLst/>
              <a:rect l="l" t="t" r="r" b="b"/>
              <a:pathLst>
                <a:path w="24750" h="69" fill="none" extrusionOk="0">
                  <a:moveTo>
                    <a:pt x="1" y="69"/>
                  </a:moveTo>
                  <a:lnTo>
                    <a:pt x="24749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8" name="Google Shape;1765;p16">
              <a:extLst>
                <a:ext uri="{FF2B5EF4-FFF2-40B4-BE49-F238E27FC236}">
                  <a16:creationId xmlns:a16="http://schemas.microsoft.com/office/drawing/2014/main" id="{7A301AD4-2DD6-2F82-BDFC-364ADD46B258}"/>
                </a:ext>
              </a:extLst>
            </p:cNvPr>
            <p:cNvSpPr/>
            <p:nvPr/>
          </p:nvSpPr>
          <p:spPr>
            <a:xfrm>
              <a:off x="1390775" y="3756175"/>
              <a:ext cx="630625" cy="11325"/>
            </a:xfrm>
            <a:custGeom>
              <a:avLst/>
              <a:gdLst/>
              <a:ahLst/>
              <a:cxnLst/>
              <a:rect l="l" t="t" r="r" b="b"/>
              <a:pathLst>
                <a:path w="25225" h="453" extrusionOk="0">
                  <a:moveTo>
                    <a:pt x="25021" y="0"/>
                  </a:moveTo>
                  <a:lnTo>
                    <a:pt x="272" y="68"/>
                  </a:lnTo>
                  <a:lnTo>
                    <a:pt x="182" y="91"/>
                  </a:lnTo>
                  <a:lnTo>
                    <a:pt x="91" y="136"/>
                  </a:lnTo>
                  <a:lnTo>
                    <a:pt x="24" y="181"/>
                  </a:lnTo>
                  <a:lnTo>
                    <a:pt x="1" y="272"/>
                  </a:lnTo>
                  <a:lnTo>
                    <a:pt x="24" y="339"/>
                  </a:lnTo>
                  <a:lnTo>
                    <a:pt x="69" y="407"/>
                  </a:lnTo>
                  <a:lnTo>
                    <a:pt x="137" y="452"/>
                  </a:lnTo>
                  <a:lnTo>
                    <a:pt x="227" y="452"/>
                  </a:lnTo>
                  <a:lnTo>
                    <a:pt x="24976" y="407"/>
                  </a:lnTo>
                  <a:lnTo>
                    <a:pt x="25066" y="385"/>
                  </a:lnTo>
                  <a:lnTo>
                    <a:pt x="25156" y="339"/>
                  </a:lnTo>
                  <a:lnTo>
                    <a:pt x="25202" y="272"/>
                  </a:lnTo>
                  <a:lnTo>
                    <a:pt x="25224" y="204"/>
                  </a:lnTo>
                  <a:lnTo>
                    <a:pt x="25224" y="159"/>
                  </a:lnTo>
                  <a:lnTo>
                    <a:pt x="25202" y="91"/>
                  </a:lnTo>
                  <a:lnTo>
                    <a:pt x="25156" y="46"/>
                  </a:lnTo>
                  <a:lnTo>
                    <a:pt x="25089" y="23"/>
                  </a:lnTo>
                  <a:lnTo>
                    <a:pt x="25021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9" name="Google Shape;1766;p16">
              <a:extLst>
                <a:ext uri="{FF2B5EF4-FFF2-40B4-BE49-F238E27FC236}">
                  <a16:creationId xmlns:a16="http://schemas.microsoft.com/office/drawing/2014/main" id="{CD877490-0F99-7EA5-E06B-8236671C0313}"/>
                </a:ext>
              </a:extLst>
            </p:cNvPr>
            <p:cNvSpPr/>
            <p:nvPr/>
          </p:nvSpPr>
          <p:spPr>
            <a:xfrm>
              <a:off x="1607750" y="3707025"/>
              <a:ext cx="246950" cy="4525"/>
            </a:xfrm>
            <a:custGeom>
              <a:avLst/>
              <a:gdLst/>
              <a:ahLst/>
              <a:cxnLst/>
              <a:rect l="l" t="t" r="r" b="b"/>
              <a:pathLst>
                <a:path w="9878" h="181" extrusionOk="0">
                  <a:moveTo>
                    <a:pt x="1" y="181"/>
                  </a:moveTo>
                  <a:lnTo>
                    <a:pt x="9878" y="0"/>
                  </a:lnTo>
                  <a:close/>
                </a:path>
              </a:pathLst>
            </a:custGeom>
            <a:solidFill>
              <a:srgbClr val="EED6C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0" name="Google Shape;1767;p16">
              <a:extLst>
                <a:ext uri="{FF2B5EF4-FFF2-40B4-BE49-F238E27FC236}">
                  <a16:creationId xmlns:a16="http://schemas.microsoft.com/office/drawing/2014/main" id="{1BDF700E-CDED-A93A-DD69-4AB5EED90B19}"/>
                </a:ext>
              </a:extLst>
            </p:cNvPr>
            <p:cNvSpPr/>
            <p:nvPr/>
          </p:nvSpPr>
          <p:spPr>
            <a:xfrm>
              <a:off x="1607750" y="3707025"/>
              <a:ext cx="246950" cy="4525"/>
            </a:xfrm>
            <a:custGeom>
              <a:avLst/>
              <a:gdLst/>
              <a:ahLst/>
              <a:cxnLst/>
              <a:rect l="l" t="t" r="r" b="b"/>
              <a:pathLst>
                <a:path w="9878" h="181" fill="none" extrusionOk="0">
                  <a:moveTo>
                    <a:pt x="1" y="181"/>
                  </a:moveTo>
                  <a:lnTo>
                    <a:pt x="987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1" name="Google Shape;1768;p16">
              <a:extLst>
                <a:ext uri="{FF2B5EF4-FFF2-40B4-BE49-F238E27FC236}">
                  <a16:creationId xmlns:a16="http://schemas.microsoft.com/office/drawing/2014/main" id="{BA660533-E9DE-23C7-B9AE-6CCC4CCD64F5}"/>
                </a:ext>
              </a:extLst>
            </p:cNvPr>
            <p:cNvSpPr/>
            <p:nvPr/>
          </p:nvSpPr>
          <p:spPr>
            <a:xfrm>
              <a:off x="1601550" y="3702500"/>
              <a:ext cx="259375" cy="13575"/>
            </a:xfrm>
            <a:custGeom>
              <a:avLst/>
              <a:gdLst/>
              <a:ahLst/>
              <a:cxnLst/>
              <a:rect l="l" t="t" r="r" b="b"/>
              <a:pathLst>
                <a:path w="10375" h="543" extrusionOk="0">
                  <a:moveTo>
                    <a:pt x="10148" y="0"/>
                  </a:moveTo>
                  <a:lnTo>
                    <a:pt x="271" y="159"/>
                  </a:lnTo>
                  <a:lnTo>
                    <a:pt x="181" y="181"/>
                  </a:lnTo>
                  <a:lnTo>
                    <a:pt x="91" y="226"/>
                  </a:lnTo>
                  <a:lnTo>
                    <a:pt x="23" y="272"/>
                  </a:lnTo>
                  <a:lnTo>
                    <a:pt x="0" y="362"/>
                  </a:lnTo>
                  <a:lnTo>
                    <a:pt x="0" y="430"/>
                  </a:lnTo>
                  <a:lnTo>
                    <a:pt x="45" y="498"/>
                  </a:lnTo>
                  <a:lnTo>
                    <a:pt x="136" y="543"/>
                  </a:lnTo>
                  <a:lnTo>
                    <a:pt x="226" y="543"/>
                  </a:lnTo>
                  <a:lnTo>
                    <a:pt x="10103" y="385"/>
                  </a:lnTo>
                  <a:lnTo>
                    <a:pt x="10194" y="362"/>
                  </a:lnTo>
                  <a:lnTo>
                    <a:pt x="10284" y="317"/>
                  </a:lnTo>
                  <a:lnTo>
                    <a:pt x="10352" y="272"/>
                  </a:lnTo>
                  <a:lnTo>
                    <a:pt x="10374" y="181"/>
                  </a:lnTo>
                  <a:lnTo>
                    <a:pt x="10374" y="136"/>
                  </a:lnTo>
                  <a:lnTo>
                    <a:pt x="10352" y="68"/>
                  </a:lnTo>
                  <a:lnTo>
                    <a:pt x="10307" y="23"/>
                  </a:lnTo>
                  <a:lnTo>
                    <a:pt x="10239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2" name="Google Shape;1769;p16">
              <a:extLst>
                <a:ext uri="{FF2B5EF4-FFF2-40B4-BE49-F238E27FC236}">
                  <a16:creationId xmlns:a16="http://schemas.microsoft.com/office/drawing/2014/main" id="{F4AC8D71-4F03-AE71-0B3C-8791FC06110C}"/>
                </a:ext>
              </a:extLst>
            </p:cNvPr>
            <p:cNvSpPr/>
            <p:nvPr/>
          </p:nvSpPr>
          <p:spPr>
            <a:xfrm>
              <a:off x="1790275" y="3603625"/>
              <a:ext cx="246925" cy="3975"/>
            </a:xfrm>
            <a:custGeom>
              <a:avLst/>
              <a:gdLst/>
              <a:ahLst/>
              <a:cxnLst/>
              <a:rect l="l" t="t" r="r" b="b"/>
              <a:pathLst>
                <a:path w="9877" h="159" extrusionOk="0">
                  <a:moveTo>
                    <a:pt x="0" y="158"/>
                  </a:moveTo>
                  <a:lnTo>
                    <a:pt x="9877" y="0"/>
                  </a:lnTo>
                  <a:close/>
                </a:path>
              </a:pathLst>
            </a:custGeom>
            <a:solidFill>
              <a:srgbClr val="EED6C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3" name="Google Shape;1770;p16">
              <a:extLst>
                <a:ext uri="{FF2B5EF4-FFF2-40B4-BE49-F238E27FC236}">
                  <a16:creationId xmlns:a16="http://schemas.microsoft.com/office/drawing/2014/main" id="{B84D0630-B27D-CD5E-3C62-336B0D34308D}"/>
                </a:ext>
              </a:extLst>
            </p:cNvPr>
            <p:cNvSpPr/>
            <p:nvPr/>
          </p:nvSpPr>
          <p:spPr>
            <a:xfrm>
              <a:off x="1790275" y="3603625"/>
              <a:ext cx="246925" cy="3975"/>
            </a:xfrm>
            <a:custGeom>
              <a:avLst/>
              <a:gdLst/>
              <a:ahLst/>
              <a:cxnLst/>
              <a:rect l="l" t="t" r="r" b="b"/>
              <a:pathLst>
                <a:path w="9877" h="159" fill="none" extrusionOk="0">
                  <a:moveTo>
                    <a:pt x="0" y="158"/>
                  </a:moveTo>
                  <a:lnTo>
                    <a:pt x="987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4" name="Google Shape;1771;p16">
              <a:extLst>
                <a:ext uri="{FF2B5EF4-FFF2-40B4-BE49-F238E27FC236}">
                  <a16:creationId xmlns:a16="http://schemas.microsoft.com/office/drawing/2014/main" id="{84B97B1E-1D98-9B5F-F971-ECE4F61B209D}"/>
                </a:ext>
              </a:extLst>
            </p:cNvPr>
            <p:cNvSpPr/>
            <p:nvPr/>
          </p:nvSpPr>
          <p:spPr>
            <a:xfrm>
              <a:off x="1784050" y="3598525"/>
              <a:ext cx="259375" cy="14150"/>
            </a:xfrm>
            <a:custGeom>
              <a:avLst/>
              <a:gdLst/>
              <a:ahLst/>
              <a:cxnLst/>
              <a:rect l="l" t="t" r="r" b="b"/>
              <a:pathLst>
                <a:path w="10375" h="566" extrusionOk="0">
                  <a:moveTo>
                    <a:pt x="10149" y="1"/>
                  </a:moveTo>
                  <a:lnTo>
                    <a:pt x="272" y="181"/>
                  </a:lnTo>
                  <a:lnTo>
                    <a:pt x="181" y="181"/>
                  </a:lnTo>
                  <a:lnTo>
                    <a:pt x="91" y="227"/>
                  </a:lnTo>
                  <a:lnTo>
                    <a:pt x="23" y="295"/>
                  </a:lnTo>
                  <a:lnTo>
                    <a:pt x="1" y="362"/>
                  </a:lnTo>
                  <a:lnTo>
                    <a:pt x="23" y="453"/>
                  </a:lnTo>
                  <a:lnTo>
                    <a:pt x="68" y="521"/>
                  </a:lnTo>
                  <a:lnTo>
                    <a:pt x="136" y="543"/>
                  </a:lnTo>
                  <a:lnTo>
                    <a:pt x="227" y="566"/>
                  </a:lnTo>
                  <a:lnTo>
                    <a:pt x="10103" y="408"/>
                  </a:lnTo>
                  <a:lnTo>
                    <a:pt x="10216" y="385"/>
                  </a:lnTo>
                  <a:lnTo>
                    <a:pt x="10284" y="340"/>
                  </a:lnTo>
                  <a:lnTo>
                    <a:pt x="10352" y="272"/>
                  </a:lnTo>
                  <a:lnTo>
                    <a:pt x="10375" y="204"/>
                  </a:lnTo>
                  <a:lnTo>
                    <a:pt x="10375" y="159"/>
                  </a:lnTo>
                  <a:lnTo>
                    <a:pt x="10352" y="91"/>
                  </a:lnTo>
                  <a:lnTo>
                    <a:pt x="10307" y="46"/>
                  </a:lnTo>
                  <a:lnTo>
                    <a:pt x="10239" y="23"/>
                  </a:lnTo>
                  <a:lnTo>
                    <a:pt x="10149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5" name="Google Shape;1772;p16">
              <a:extLst>
                <a:ext uri="{FF2B5EF4-FFF2-40B4-BE49-F238E27FC236}">
                  <a16:creationId xmlns:a16="http://schemas.microsoft.com/office/drawing/2014/main" id="{CAA2F968-94E7-6F23-9DDA-7E42E0CD2E53}"/>
                </a:ext>
              </a:extLst>
            </p:cNvPr>
            <p:cNvSpPr/>
            <p:nvPr/>
          </p:nvSpPr>
          <p:spPr>
            <a:xfrm>
              <a:off x="4942025" y="3742050"/>
              <a:ext cx="659425" cy="10750"/>
            </a:xfrm>
            <a:custGeom>
              <a:avLst/>
              <a:gdLst/>
              <a:ahLst/>
              <a:cxnLst/>
              <a:rect l="l" t="t" r="r" b="b"/>
              <a:pathLst>
                <a:path w="26377" h="430" extrusionOk="0">
                  <a:moveTo>
                    <a:pt x="1" y="430"/>
                  </a:moveTo>
                  <a:lnTo>
                    <a:pt x="26377" y="0"/>
                  </a:lnTo>
                  <a:close/>
                </a:path>
              </a:pathLst>
            </a:custGeom>
            <a:solidFill>
              <a:srgbClr val="EED6C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6" name="Google Shape;1773;p16">
              <a:extLst>
                <a:ext uri="{FF2B5EF4-FFF2-40B4-BE49-F238E27FC236}">
                  <a16:creationId xmlns:a16="http://schemas.microsoft.com/office/drawing/2014/main" id="{674855EC-60F1-161A-CE0D-FBA91BC60817}"/>
                </a:ext>
              </a:extLst>
            </p:cNvPr>
            <p:cNvSpPr/>
            <p:nvPr/>
          </p:nvSpPr>
          <p:spPr>
            <a:xfrm>
              <a:off x="4942025" y="3742050"/>
              <a:ext cx="659425" cy="10750"/>
            </a:xfrm>
            <a:custGeom>
              <a:avLst/>
              <a:gdLst/>
              <a:ahLst/>
              <a:cxnLst/>
              <a:rect l="l" t="t" r="r" b="b"/>
              <a:pathLst>
                <a:path w="26377" h="430" fill="none" extrusionOk="0">
                  <a:moveTo>
                    <a:pt x="1" y="430"/>
                  </a:moveTo>
                  <a:lnTo>
                    <a:pt x="2637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7" name="Google Shape;1774;p16">
              <a:extLst>
                <a:ext uri="{FF2B5EF4-FFF2-40B4-BE49-F238E27FC236}">
                  <a16:creationId xmlns:a16="http://schemas.microsoft.com/office/drawing/2014/main" id="{FFEDE6A7-89FE-B1A0-E891-77FFAE5912A7}"/>
                </a:ext>
              </a:extLst>
            </p:cNvPr>
            <p:cNvSpPr/>
            <p:nvPr/>
          </p:nvSpPr>
          <p:spPr>
            <a:xfrm>
              <a:off x="4935825" y="3736975"/>
              <a:ext cx="671850" cy="20925"/>
            </a:xfrm>
            <a:custGeom>
              <a:avLst/>
              <a:gdLst/>
              <a:ahLst/>
              <a:cxnLst/>
              <a:rect l="l" t="t" r="r" b="b"/>
              <a:pathLst>
                <a:path w="26874" h="837" extrusionOk="0">
                  <a:moveTo>
                    <a:pt x="26670" y="0"/>
                  </a:moveTo>
                  <a:lnTo>
                    <a:pt x="272" y="452"/>
                  </a:lnTo>
                  <a:lnTo>
                    <a:pt x="159" y="452"/>
                  </a:lnTo>
                  <a:lnTo>
                    <a:pt x="91" y="497"/>
                  </a:lnTo>
                  <a:lnTo>
                    <a:pt x="23" y="565"/>
                  </a:lnTo>
                  <a:lnTo>
                    <a:pt x="0" y="655"/>
                  </a:lnTo>
                  <a:lnTo>
                    <a:pt x="0" y="723"/>
                  </a:lnTo>
                  <a:lnTo>
                    <a:pt x="46" y="791"/>
                  </a:lnTo>
                  <a:lnTo>
                    <a:pt x="113" y="814"/>
                  </a:lnTo>
                  <a:lnTo>
                    <a:pt x="226" y="836"/>
                  </a:lnTo>
                  <a:lnTo>
                    <a:pt x="26602" y="407"/>
                  </a:lnTo>
                  <a:lnTo>
                    <a:pt x="26715" y="384"/>
                  </a:lnTo>
                  <a:lnTo>
                    <a:pt x="26783" y="339"/>
                  </a:lnTo>
                  <a:lnTo>
                    <a:pt x="26851" y="271"/>
                  </a:lnTo>
                  <a:lnTo>
                    <a:pt x="26873" y="203"/>
                  </a:lnTo>
                  <a:lnTo>
                    <a:pt x="26873" y="158"/>
                  </a:lnTo>
                  <a:lnTo>
                    <a:pt x="26851" y="90"/>
                  </a:lnTo>
                  <a:lnTo>
                    <a:pt x="26806" y="45"/>
                  </a:lnTo>
                  <a:lnTo>
                    <a:pt x="26738" y="23"/>
                  </a:lnTo>
                  <a:lnTo>
                    <a:pt x="26670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8" name="Google Shape;1775;p16">
              <a:extLst>
                <a:ext uri="{FF2B5EF4-FFF2-40B4-BE49-F238E27FC236}">
                  <a16:creationId xmlns:a16="http://schemas.microsoft.com/office/drawing/2014/main" id="{7B4FDD2E-5082-F514-E011-978A3039E319}"/>
                </a:ext>
              </a:extLst>
            </p:cNvPr>
            <p:cNvSpPr/>
            <p:nvPr/>
          </p:nvSpPr>
          <p:spPr>
            <a:xfrm>
              <a:off x="5041475" y="3834150"/>
              <a:ext cx="618750" cy="1725"/>
            </a:xfrm>
            <a:custGeom>
              <a:avLst/>
              <a:gdLst/>
              <a:ahLst/>
              <a:cxnLst/>
              <a:rect l="l" t="t" r="r" b="b"/>
              <a:pathLst>
                <a:path w="24750" h="69" extrusionOk="0">
                  <a:moveTo>
                    <a:pt x="1" y="68"/>
                  </a:moveTo>
                  <a:lnTo>
                    <a:pt x="24749" y="0"/>
                  </a:lnTo>
                  <a:close/>
                </a:path>
              </a:pathLst>
            </a:custGeom>
            <a:solidFill>
              <a:srgbClr val="EED6C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9" name="Google Shape;1776;p16">
              <a:extLst>
                <a:ext uri="{FF2B5EF4-FFF2-40B4-BE49-F238E27FC236}">
                  <a16:creationId xmlns:a16="http://schemas.microsoft.com/office/drawing/2014/main" id="{B982AB34-299E-8150-C3C1-054512FFD478}"/>
                </a:ext>
              </a:extLst>
            </p:cNvPr>
            <p:cNvSpPr/>
            <p:nvPr/>
          </p:nvSpPr>
          <p:spPr>
            <a:xfrm>
              <a:off x="5041475" y="3834150"/>
              <a:ext cx="618750" cy="1725"/>
            </a:xfrm>
            <a:custGeom>
              <a:avLst/>
              <a:gdLst/>
              <a:ahLst/>
              <a:cxnLst/>
              <a:rect l="l" t="t" r="r" b="b"/>
              <a:pathLst>
                <a:path w="24750" h="69" fill="none" extrusionOk="0">
                  <a:moveTo>
                    <a:pt x="1" y="68"/>
                  </a:moveTo>
                  <a:lnTo>
                    <a:pt x="24749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0" name="Google Shape;1777;p16">
              <a:extLst>
                <a:ext uri="{FF2B5EF4-FFF2-40B4-BE49-F238E27FC236}">
                  <a16:creationId xmlns:a16="http://schemas.microsoft.com/office/drawing/2014/main" id="{304FAEC3-2E62-E759-5EAD-72B635C9CB8C}"/>
                </a:ext>
              </a:extLst>
            </p:cNvPr>
            <p:cNvSpPr/>
            <p:nvPr/>
          </p:nvSpPr>
          <p:spPr>
            <a:xfrm>
              <a:off x="5035275" y="3829625"/>
              <a:ext cx="630600" cy="11325"/>
            </a:xfrm>
            <a:custGeom>
              <a:avLst/>
              <a:gdLst/>
              <a:ahLst/>
              <a:cxnLst/>
              <a:rect l="l" t="t" r="r" b="b"/>
              <a:pathLst>
                <a:path w="25224" h="453" extrusionOk="0">
                  <a:moveTo>
                    <a:pt x="25020" y="1"/>
                  </a:moveTo>
                  <a:lnTo>
                    <a:pt x="271" y="68"/>
                  </a:lnTo>
                  <a:lnTo>
                    <a:pt x="181" y="68"/>
                  </a:lnTo>
                  <a:lnTo>
                    <a:pt x="91" y="114"/>
                  </a:lnTo>
                  <a:lnTo>
                    <a:pt x="45" y="181"/>
                  </a:lnTo>
                  <a:lnTo>
                    <a:pt x="0" y="249"/>
                  </a:lnTo>
                  <a:lnTo>
                    <a:pt x="23" y="340"/>
                  </a:lnTo>
                  <a:lnTo>
                    <a:pt x="68" y="385"/>
                  </a:lnTo>
                  <a:lnTo>
                    <a:pt x="136" y="430"/>
                  </a:lnTo>
                  <a:lnTo>
                    <a:pt x="226" y="453"/>
                  </a:lnTo>
                  <a:lnTo>
                    <a:pt x="24975" y="385"/>
                  </a:lnTo>
                  <a:lnTo>
                    <a:pt x="25065" y="362"/>
                  </a:lnTo>
                  <a:lnTo>
                    <a:pt x="25156" y="317"/>
                  </a:lnTo>
                  <a:lnTo>
                    <a:pt x="25201" y="272"/>
                  </a:lnTo>
                  <a:lnTo>
                    <a:pt x="25223" y="181"/>
                  </a:lnTo>
                  <a:lnTo>
                    <a:pt x="25223" y="136"/>
                  </a:lnTo>
                  <a:lnTo>
                    <a:pt x="25201" y="68"/>
                  </a:lnTo>
                  <a:lnTo>
                    <a:pt x="25156" y="46"/>
                  </a:lnTo>
                  <a:lnTo>
                    <a:pt x="25088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1" name="Google Shape;1778;p16">
              <a:extLst>
                <a:ext uri="{FF2B5EF4-FFF2-40B4-BE49-F238E27FC236}">
                  <a16:creationId xmlns:a16="http://schemas.microsoft.com/office/drawing/2014/main" id="{BDF5AAC7-2DBA-1115-3380-AA5012F8D357}"/>
                </a:ext>
              </a:extLst>
            </p:cNvPr>
            <p:cNvSpPr/>
            <p:nvPr/>
          </p:nvSpPr>
          <p:spPr>
            <a:xfrm>
              <a:off x="5252250" y="3780475"/>
              <a:ext cx="246925" cy="3975"/>
            </a:xfrm>
            <a:custGeom>
              <a:avLst/>
              <a:gdLst/>
              <a:ahLst/>
              <a:cxnLst/>
              <a:rect l="l" t="t" r="r" b="b"/>
              <a:pathLst>
                <a:path w="9877" h="159" extrusionOk="0">
                  <a:moveTo>
                    <a:pt x="0" y="159"/>
                  </a:moveTo>
                  <a:lnTo>
                    <a:pt x="9877" y="0"/>
                  </a:lnTo>
                  <a:close/>
                </a:path>
              </a:pathLst>
            </a:custGeom>
            <a:solidFill>
              <a:srgbClr val="EED6C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2" name="Google Shape;1779;p16">
              <a:extLst>
                <a:ext uri="{FF2B5EF4-FFF2-40B4-BE49-F238E27FC236}">
                  <a16:creationId xmlns:a16="http://schemas.microsoft.com/office/drawing/2014/main" id="{42B35817-32B7-7A2F-9F41-5178AE12D124}"/>
                </a:ext>
              </a:extLst>
            </p:cNvPr>
            <p:cNvSpPr/>
            <p:nvPr/>
          </p:nvSpPr>
          <p:spPr>
            <a:xfrm>
              <a:off x="5252250" y="3780475"/>
              <a:ext cx="246925" cy="3975"/>
            </a:xfrm>
            <a:custGeom>
              <a:avLst/>
              <a:gdLst/>
              <a:ahLst/>
              <a:cxnLst/>
              <a:rect l="l" t="t" r="r" b="b"/>
              <a:pathLst>
                <a:path w="9877" h="159" fill="none" extrusionOk="0">
                  <a:moveTo>
                    <a:pt x="0" y="159"/>
                  </a:moveTo>
                  <a:lnTo>
                    <a:pt x="987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3" name="Google Shape;1780;p16">
              <a:extLst>
                <a:ext uri="{FF2B5EF4-FFF2-40B4-BE49-F238E27FC236}">
                  <a16:creationId xmlns:a16="http://schemas.microsoft.com/office/drawing/2014/main" id="{97C1738A-2697-28AB-0C1A-EFD8E9497AC4}"/>
                </a:ext>
              </a:extLst>
            </p:cNvPr>
            <p:cNvSpPr/>
            <p:nvPr/>
          </p:nvSpPr>
          <p:spPr>
            <a:xfrm>
              <a:off x="5246025" y="3775375"/>
              <a:ext cx="259375" cy="14150"/>
            </a:xfrm>
            <a:custGeom>
              <a:avLst/>
              <a:gdLst/>
              <a:ahLst/>
              <a:cxnLst/>
              <a:rect l="l" t="t" r="r" b="b"/>
              <a:pathLst>
                <a:path w="10375" h="566" extrusionOk="0">
                  <a:moveTo>
                    <a:pt x="10149" y="1"/>
                  </a:moveTo>
                  <a:lnTo>
                    <a:pt x="272" y="159"/>
                  </a:lnTo>
                  <a:lnTo>
                    <a:pt x="181" y="182"/>
                  </a:lnTo>
                  <a:lnTo>
                    <a:pt x="91" y="227"/>
                  </a:lnTo>
                  <a:lnTo>
                    <a:pt x="23" y="295"/>
                  </a:lnTo>
                  <a:lnTo>
                    <a:pt x="1" y="363"/>
                  </a:lnTo>
                  <a:lnTo>
                    <a:pt x="23" y="453"/>
                  </a:lnTo>
                  <a:lnTo>
                    <a:pt x="68" y="498"/>
                  </a:lnTo>
                  <a:lnTo>
                    <a:pt x="136" y="543"/>
                  </a:lnTo>
                  <a:lnTo>
                    <a:pt x="227" y="566"/>
                  </a:lnTo>
                  <a:lnTo>
                    <a:pt x="10103" y="408"/>
                  </a:lnTo>
                  <a:lnTo>
                    <a:pt x="10216" y="385"/>
                  </a:lnTo>
                  <a:lnTo>
                    <a:pt x="10284" y="340"/>
                  </a:lnTo>
                  <a:lnTo>
                    <a:pt x="10352" y="272"/>
                  </a:lnTo>
                  <a:lnTo>
                    <a:pt x="10375" y="204"/>
                  </a:lnTo>
                  <a:lnTo>
                    <a:pt x="10375" y="137"/>
                  </a:lnTo>
                  <a:lnTo>
                    <a:pt x="10352" y="91"/>
                  </a:lnTo>
                  <a:lnTo>
                    <a:pt x="10307" y="46"/>
                  </a:lnTo>
                  <a:lnTo>
                    <a:pt x="10239" y="24"/>
                  </a:lnTo>
                  <a:lnTo>
                    <a:pt x="10149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4" name="Google Shape;1781;p16">
              <a:extLst>
                <a:ext uri="{FF2B5EF4-FFF2-40B4-BE49-F238E27FC236}">
                  <a16:creationId xmlns:a16="http://schemas.microsoft.com/office/drawing/2014/main" id="{5F32F980-9C9D-16F8-490B-B3B52E96BDAA}"/>
                </a:ext>
              </a:extLst>
            </p:cNvPr>
            <p:cNvSpPr/>
            <p:nvPr/>
          </p:nvSpPr>
          <p:spPr>
            <a:xfrm>
              <a:off x="5434750" y="3676500"/>
              <a:ext cx="246950" cy="4550"/>
            </a:xfrm>
            <a:custGeom>
              <a:avLst/>
              <a:gdLst/>
              <a:ahLst/>
              <a:cxnLst/>
              <a:rect l="l" t="t" r="r" b="b"/>
              <a:pathLst>
                <a:path w="9878" h="182" extrusionOk="0">
                  <a:moveTo>
                    <a:pt x="0" y="181"/>
                  </a:moveTo>
                  <a:lnTo>
                    <a:pt x="9877" y="1"/>
                  </a:lnTo>
                  <a:close/>
                </a:path>
              </a:pathLst>
            </a:custGeom>
            <a:solidFill>
              <a:srgbClr val="EED6C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5" name="Google Shape;1782;p16">
              <a:extLst>
                <a:ext uri="{FF2B5EF4-FFF2-40B4-BE49-F238E27FC236}">
                  <a16:creationId xmlns:a16="http://schemas.microsoft.com/office/drawing/2014/main" id="{F1845EF6-1A8E-D6A6-6EC6-DA303B269922}"/>
                </a:ext>
              </a:extLst>
            </p:cNvPr>
            <p:cNvSpPr/>
            <p:nvPr/>
          </p:nvSpPr>
          <p:spPr>
            <a:xfrm>
              <a:off x="5434750" y="3676500"/>
              <a:ext cx="246950" cy="4550"/>
            </a:xfrm>
            <a:custGeom>
              <a:avLst/>
              <a:gdLst/>
              <a:ahLst/>
              <a:cxnLst/>
              <a:rect l="l" t="t" r="r" b="b"/>
              <a:pathLst>
                <a:path w="9878" h="182" fill="none" extrusionOk="0">
                  <a:moveTo>
                    <a:pt x="0" y="181"/>
                  </a:moveTo>
                  <a:lnTo>
                    <a:pt x="987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6" name="Google Shape;1783;p16">
              <a:extLst>
                <a:ext uri="{FF2B5EF4-FFF2-40B4-BE49-F238E27FC236}">
                  <a16:creationId xmlns:a16="http://schemas.microsoft.com/office/drawing/2014/main" id="{9D1960D3-B36B-EF4C-81A7-45B5ABA360FD}"/>
                </a:ext>
              </a:extLst>
            </p:cNvPr>
            <p:cNvSpPr/>
            <p:nvPr/>
          </p:nvSpPr>
          <p:spPr>
            <a:xfrm>
              <a:off x="5428525" y="3671975"/>
              <a:ext cx="259950" cy="13600"/>
            </a:xfrm>
            <a:custGeom>
              <a:avLst/>
              <a:gdLst/>
              <a:ahLst/>
              <a:cxnLst/>
              <a:rect l="l" t="t" r="r" b="b"/>
              <a:pathLst>
                <a:path w="10398" h="544" extrusionOk="0">
                  <a:moveTo>
                    <a:pt x="10171" y="1"/>
                  </a:moveTo>
                  <a:lnTo>
                    <a:pt x="295" y="159"/>
                  </a:lnTo>
                  <a:lnTo>
                    <a:pt x="182" y="182"/>
                  </a:lnTo>
                  <a:lnTo>
                    <a:pt x="91" y="227"/>
                  </a:lnTo>
                  <a:lnTo>
                    <a:pt x="46" y="295"/>
                  </a:lnTo>
                  <a:lnTo>
                    <a:pt x="1" y="362"/>
                  </a:lnTo>
                  <a:lnTo>
                    <a:pt x="23" y="430"/>
                  </a:lnTo>
                  <a:lnTo>
                    <a:pt x="69" y="498"/>
                  </a:lnTo>
                  <a:lnTo>
                    <a:pt x="136" y="543"/>
                  </a:lnTo>
                  <a:lnTo>
                    <a:pt x="227" y="543"/>
                  </a:lnTo>
                  <a:lnTo>
                    <a:pt x="10104" y="385"/>
                  </a:lnTo>
                  <a:lnTo>
                    <a:pt x="10217" y="362"/>
                  </a:lnTo>
                  <a:lnTo>
                    <a:pt x="10284" y="317"/>
                  </a:lnTo>
                  <a:lnTo>
                    <a:pt x="10352" y="272"/>
                  </a:lnTo>
                  <a:lnTo>
                    <a:pt x="10397" y="182"/>
                  </a:lnTo>
                  <a:lnTo>
                    <a:pt x="10375" y="136"/>
                  </a:lnTo>
                  <a:lnTo>
                    <a:pt x="10352" y="69"/>
                  </a:lnTo>
                  <a:lnTo>
                    <a:pt x="10307" y="46"/>
                  </a:lnTo>
                  <a:lnTo>
                    <a:pt x="10239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7" name="Google Shape;1784;p16">
              <a:extLst>
                <a:ext uri="{FF2B5EF4-FFF2-40B4-BE49-F238E27FC236}">
                  <a16:creationId xmlns:a16="http://schemas.microsoft.com/office/drawing/2014/main" id="{CDF72C7E-633E-F5B4-F93A-D79359FECD5B}"/>
                </a:ext>
              </a:extLst>
            </p:cNvPr>
            <p:cNvSpPr/>
            <p:nvPr/>
          </p:nvSpPr>
          <p:spPr>
            <a:xfrm>
              <a:off x="238675" y="3646550"/>
              <a:ext cx="174625" cy="148625"/>
            </a:xfrm>
            <a:custGeom>
              <a:avLst/>
              <a:gdLst/>
              <a:ahLst/>
              <a:cxnLst/>
              <a:rect l="l" t="t" r="r" b="b"/>
              <a:pathLst>
                <a:path w="6985" h="5945" extrusionOk="0">
                  <a:moveTo>
                    <a:pt x="46" y="1"/>
                  </a:moveTo>
                  <a:lnTo>
                    <a:pt x="1" y="46"/>
                  </a:lnTo>
                  <a:lnTo>
                    <a:pt x="1" y="114"/>
                  </a:lnTo>
                  <a:lnTo>
                    <a:pt x="1" y="340"/>
                  </a:lnTo>
                  <a:lnTo>
                    <a:pt x="46" y="634"/>
                  </a:lnTo>
                  <a:lnTo>
                    <a:pt x="114" y="995"/>
                  </a:lnTo>
                  <a:lnTo>
                    <a:pt x="249" y="1425"/>
                  </a:lnTo>
                  <a:lnTo>
                    <a:pt x="407" y="1877"/>
                  </a:lnTo>
                  <a:lnTo>
                    <a:pt x="588" y="2374"/>
                  </a:lnTo>
                  <a:lnTo>
                    <a:pt x="814" y="2894"/>
                  </a:lnTo>
                  <a:lnTo>
                    <a:pt x="1063" y="3391"/>
                  </a:lnTo>
                  <a:lnTo>
                    <a:pt x="1334" y="3888"/>
                  </a:lnTo>
                  <a:lnTo>
                    <a:pt x="1628" y="4340"/>
                  </a:lnTo>
                  <a:lnTo>
                    <a:pt x="1944" y="4747"/>
                  </a:lnTo>
                  <a:lnTo>
                    <a:pt x="2103" y="4928"/>
                  </a:lnTo>
                  <a:lnTo>
                    <a:pt x="2261" y="5109"/>
                  </a:lnTo>
                  <a:lnTo>
                    <a:pt x="2442" y="5244"/>
                  </a:lnTo>
                  <a:lnTo>
                    <a:pt x="2600" y="5380"/>
                  </a:lnTo>
                  <a:lnTo>
                    <a:pt x="2781" y="5493"/>
                  </a:lnTo>
                  <a:lnTo>
                    <a:pt x="2961" y="5561"/>
                  </a:lnTo>
                  <a:lnTo>
                    <a:pt x="3300" y="5696"/>
                  </a:lnTo>
                  <a:lnTo>
                    <a:pt x="3662" y="5787"/>
                  </a:lnTo>
                  <a:lnTo>
                    <a:pt x="4024" y="5855"/>
                  </a:lnTo>
                  <a:lnTo>
                    <a:pt x="4385" y="5922"/>
                  </a:lnTo>
                  <a:lnTo>
                    <a:pt x="4724" y="5945"/>
                  </a:lnTo>
                  <a:lnTo>
                    <a:pt x="5674" y="5945"/>
                  </a:lnTo>
                  <a:lnTo>
                    <a:pt x="6216" y="5900"/>
                  </a:lnTo>
                  <a:lnTo>
                    <a:pt x="6623" y="5832"/>
                  </a:lnTo>
                  <a:lnTo>
                    <a:pt x="6984" y="5742"/>
                  </a:lnTo>
                  <a:lnTo>
                    <a:pt x="6894" y="5448"/>
                  </a:lnTo>
                  <a:lnTo>
                    <a:pt x="6758" y="5154"/>
                  </a:lnTo>
                  <a:lnTo>
                    <a:pt x="6600" y="4860"/>
                  </a:lnTo>
                  <a:lnTo>
                    <a:pt x="6419" y="4566"/>
                  </a:lnTo>
                  <a:lnTo>
                    <a:pt x="6239" y="4295"/>
                  </a:lnTo>
                  <a:lnTo>
                    <a:pt x="6035" y="4024"/>
                  </a:lnTo>
                  <a:lnTo>
                    <a:pt x="5809" y="3753"/>
                  </a:lnTo>
                  <a:lnTo>
                    <a:pt x="5583" y="3504"/>
                  </a:lnTo>
                  <a:lnTo>
                    <a:pt x="5086" y="3029"/>
                  </a:lnTo>
                  <a:lnTo>
                    <a:pt x="4543" y="2577"/>
                  </a:lnTo>
                  <a:lnTo>
                    <a:pt x="3978" y="2148"/>
                  </a:lnTo>
                  <a:lnTo>
                    <a:pt x="3413" y="1764"/>
                  </a:lnTo>
                  <a:lnTo>
                    <a:pt x="2871" y="1425"/>
                  </a:lnTo>
                  <a:lnTo>
                    <a:pt x="2329" y="1108"/>
                  </a:lnTo>
                  <a:lnTo>
                    <a:pt x="1809" y="837"/>
                  </a:lnTo>
                  <a:lnTo>
                    <a:pt x="1334" y="588"/>
                  </a:lnTo>
                  <a:lnTo>
                    <a:pt x="588" y="227"/>
                  </a:lnTo>
                  <a:lnTo>
                    <a:pt x="136" y="23"/>
                  </a:lnTo>
                  <a:lnTo>
                    <a:pt x="91" y="1"/>
                  </a:lnTo>
                  <a:close/>
                </a:path>
              </a:pathLst>
            </a:custGeom>
            <a:solidFill>
              <a:srgbClr val="41998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8" name="Google Shape;1785;p16">
              <a:extLst>
                <a:ext uri="{FF2B5EF4-FFF2-40B4-BE49-F238E27FC236}">
                  <a16:creationId xmlns:a16="http://schemas.microsoft.com/office/drawing/2014/main" id="{CB359A31-8306-F05A-EDC4-59DD14550381}"/>
                </a:ext>
              </a:extLst>
            </p:cNvPr>
            <p:cNvSpPr/>
            <p:nvPr/>
          </p:nvSpPr>
          <p:spPr>
            <a:xfrm>
              <a:off x="238675" y="3646550"/>
              <a:ext cx="174625" cy="148625"/>
            </a:xfrm>
            <a:custGeom>
              <a:avLst/>
              <a:gdLst/>
              <a:ahLst/>
              <a:cxnLst/>
              <a:rect l="l" t="t" r="r" b="b"/>
              <a:pathLst>
                <a:path w="6985" h="5945" fill="none" extrusionOk="0">
                  <a:moveTo>
                    <a:pt x="6984" y="5742"/>
                  </a:moveTo>
                  <a:lnTo>
                    <a:pt x="6984" y="5742"/>
                  </a:lnTo>
                  <a:lnTo>
                    <a:pt x="6894" y="5448"/>
                  </a:lnTo>
                  <a:lnTo>
                    <a:pt x="6758" y="5154"/>
                  </a:lnTo>
                  <a:lnTo>
                    <a:pt x="6600" y="4860"/>
                  </a:lnTo>
                  <a:lnTo>
                    <a:pt x="6419" y="4566"/>
                  </a:lnTo>
                  <a:lnTo>
                    <a:pt x="6239" y="4295"/>
                  </a:lnTo>
                  <a:lnTo>
                    <a:pt x="6035" y="4024"/>
                  </a:lnTo>
                  <a:lnTo>
                    <a:pt x="5809" y="3753"/>
                  </a:lnTo>
                  <a:lnTo>
                    <a:pt x="5583" y="3504"/>
                  </a:lnTo>
                  <a:lnTo>
                    <a:pt x="5086" y="3029"/>
                  </a:lnTo>
                  <a:lnTo>
                    <a:pt x="4543" y="2577"/>
                  </a:lnTo>
                  <a:lnTo>
                    <a:pt x="3978" y="2148"/>
                  </a:lnTo>
                  <a:lnTo>
                    <a:pt x="3413" y="1764"/>
                  </a:lnTo>
                  <a:lnTo>
                    <a:pt x="2871" y="1425"/>
                  </a:lnTo>
                  <a:lnTo>
                    <a:pt x="2329" y="1108"/>
                  </a:lnTo>
                  <a:lnTo>
                    <a:pt x="1809" y="837"/>
                  </a:lnTo>
                  <a:lnTo>
                    <a:pt x="1334" y="588"/>
                  </a:lnTo>
                  <a:lnTo>
                    <a:pt x="588" y="227"/>
                  </a:lnTo>
                  <a:lnTo>
                    <a:pt x="136" y="23"/>
                  </a:lnTo>
                  <a:lnTo>
                    <a:pt x="136" y="23"/>
                  </a:lnTo>
                  <a:lnTo>
                    <a:pt x="91" y="1"/>
                  </a:lnTo>
                  <a:lnTo>
                    <a:pt x="46" y="1"/>
                  </a:lnTo>
                  <a:lnTo>
                    <a:pt x="1" y="46"/>
                  </a:lnTo>
                  <a:lnTo>
                    <a:pt x="1" y="114"/>
                  </a:lnTo>
                  <a:lnTo>
                    <a:pt x="1" y="340"/>
                  </a:lnTo>
                  <a:lnTo>
                    <a:pt x="46" y="634"/>
                  </a:lnTo>
                  <a:lnTo>
                    <a:pt x="114" y="995"/>
                  </a:lnTo>
                  <a:lnTo>
                    <a:pt x="249" y="1425"/>
                  </a:lnTo>
                  <a:lnTo>
                    <a:pt x="407" y="1877"/>
                  </a:lnTo>
                  <a:lnTo>
                    <a:pt x="588" y="2374"/>
                  </a:lnTo>
                  <a:lnTo>
                    <a:pt x="814" y="2894"/>
                  </a:lnTo>
                  <a:lnTo>
                    <a:pt x="1063" y="3391"/>
                  </a:lnTo>
                  <a:lnTo>
                    <a:pt x="1334" y="3888"/>
                  </a:lnTo>
                  <a:lnTo>
                    <a:pt x="1628" y="4340"/>
                  </a:lnTo>
                  <a:lnTo>
                    <a:pt x="1944" y="4747"/>
                  </a:lnTo>
                  <a:lnTo>
                    <a:pt x="2103" y="4928"/>
                  </a:lnTo>
                  <a:lnTo>
                    <a:pt x="2261" y="5109"/>
                  </a:lnTo>
                  <a:lnTo>
                    <a:pt x="2442" y="5244"/>
                  </a:lnTo>
                  <a:lnTo>
                    <a:pt x="2600" y="5380"/>
                  </a:lnTo>
                  <a:lnTo>
                    <a:pt x="2781" y="5493"/>
                  </a:lnTo>
                  <a:lnTo>
                    <a:pt x="2961" y="5561"/>
                  </a:lnTo>
                  <a:lnTo>
                    <a:pt x="2961" y="5561"/>
                  </a:lnTo>
                  <a:lnTo>
                    <a:pt x="3300" y="5696"/>
                  </a:lnTo>
                  <a:lnTo>
                    <a:pt x="3662" y="5787"/>
                  </a:lnTo>
                  <a:lnTo>
                    <a:pt x="4024" y="5855"/>
                  </a:lnTo>
                  <a:lnTo>
                    <a:pt x="4385" y="5922"/>
                  </a:lnTo>
                  <a:lnTo>
                    <a:pt x="4724" y="5945"/>
                  </a:lnTo>
                  <a:lnTo>
                    <a:pt x="5063" y="5945"/>
                  </a:lnTo>
                  <a:lnTo>
                    <a:pt x="5674" y="5945"/>
                  </a:lnTo>
                  <a:lnTo>
                    <a:pt x="6216" y="5900"/>
                  </a:lnTo>
                  <a:lnTo>
                    <a:pt x="6623" y="5832"/>
                  </a:lnTo>
                  <a:lnTo>
                    <a:pt x="6984" y="5742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9" name="Google Shape;1786;p16">
              <a:extLst>
                <a:ext uri="{FF2B5EF4-FFF2-40B4-BE49-F238E27FC236}">
                  <a16:creationId xmlns:a16="http://schemas.microsoft.com/office/drawing/2014/main" id="{7A38ABB9-CE8C-7F67-E09F-F8371427CE4F}"/>
                </a:ext>
              </a:extLst>
            </p:cNvPr>
            <p:cNvSpPr/>
            <p:nvPr/>
          </p:nvSpPr>
          <p:spPr>
            <a:xfrm>
              <a:off x="434175" y="3733575"/>
              <a:ext cx="418150" cy="176875"/>
            </a:xfrm>
            <a:custGeom>
              <a:avLst/>
              <a:gdLst/>
              <a:ahLst/>
              <a:cxnLst/>
              <a:rect l="l" t="t" r="r" b="b"/>
              <a:pathLst>
                <a:path w="16726" h="7075" extrusionOk="0">
                  <a:moveTo>
                    <a:pt x="7617" y="452"/>
                  </a:moveTo>
                  <a:lnTo>
                    <a:pt x="7956" y="475"/>
                  </a:lnTo>
                  <a:lnTo>
                    <a:pt x="8137" y="520"/>
                  </a:lnTo>
                  <a:lnTo>
                    <a:pt x="8295" y="588"/>
                  </a:lnTo>
                  <a:lnTo>
                    <a:pt x="8454" y="678"/>
                  </a:lnTo>
                  <a:lnTo>
                    <a:pt x="8612" y="769"/>
                  </a:lnTo>
                  <a:lnTo>
                    <a:pt x="8838" y="972"/>
                  </a:lnTo>
                  <a:lnTo>
                    <a:pt x="9064" y="1198"/>
                  </a:lnTo>
                  <a:lnTo>
                    <a:pt x="9245" y="1469"/>
                  </a:lnTo>
                  <a:lnTo>
                    <a:pt x="9380" y="1741"/>
                  </a:lnTo>
                  <a:lnTo>
                    <a:pt x="9516" y="2057"/>
                  </a:lnTo>
                  <a:lnTo>
                    <a:pt x="9606" y="2351"/>
                  </a:lnTo>
                  <a:lnTo>
                    <a:pt x="9652" y="2645"/>
                  </a:lnTo>
                  <a:lnTo>
                    <a:pt x="9674" y="2916"/>
                  </a:lnTo>
                  <a:lnTo>
                    <a:pt x="9652" y="3142"/>
                  </a:lnTo>
                  <a:lnTo>
                    <a:pt x="9629" y="3300"/>
                  </a:lnTo>
                  <a:lnTo>
                    <a:pt x="9584" y="3458"/>
                  </a:lnTo>
                  <a:lnTo>
                    <a:pt x="9539" y="3594"/>
                  </a:lnTo>
                  <a:lnTo>
                    <a:pt x="9471" y="3730"/>
                  </a:lnTo>
                  <a:lnTo>
                    <a:pt x="9312" y="3933"/>
                  </a:lnTo>
                  <a:lnTo>
                    <a:pt x="9132" y="4136"/>
                  </a:lnTo>
                  <a:lnTo>
                    <a:pt x="8928" y="4317"/>
                  </a:lnTo>
                  <a:lnTo>
                    <a:pt x="8680" y="4498"/>
                  </a:lnTo>
                  <a:lnTo>
                    <a:pt x="8499" y="4611"/>
                  </a:lnTo>
                  <a:lnTo>
                    <a:pt x="8273" y="4701"/>
                  </a:lnTo>
                  <a:lnTo>
                    <a:pt x="7821" y="4882"/>
                  </a:lnTo>
                  <a:lnTo>
                    <a:pt x="7324" y="5041"/>
                  </a:lnTo>
                  <a:lnTo>
                    <a:pt x="7259" y="5055"/>
                  </a:lnTo>
                  <a:lnTo>
                    <a:pt x="7259" y="5055"/>
                  </a:lnTo>
                  <a:lnTo>
                    <a:pt x="7233" y="5041"/>
                  </a:lnTo>
                  <a:lnTo>
                    <a:pt x="6985" y="4882"/>
                  </a:lnTo>
                  <a:lnTo>
                    <a:pt x="6759" y="4724"/>
                  </a:lnTo>
                  <a:lnTo>
                    <a:pt x="6555" y="4566"/>
                  </a:lnTo>
                  <a:lnTo>
                    <a:pt x="6352" y="4385"/>
                  </a:lnTo>
                  <a:lnTo>
                    <a:pt x="6193" y="4204"/>
                  </a:lnTo>
                  <a:lnTo>
                    <a:pt x="6035" y="4023"/>
                  </a:lnTo>
                  <a:lnTo>
                    <a:pt x="5900" y="3843"/>
                  </a:lnTo>
                  <a:lnTo>
                    <a:pt x="5809" y="3662"/>
                  </a:lnTo>
                  <a:lnTo>
                    <a:pt x="5719" y="3458"/>
                  </a:lnTo>
                  <a:lnTo>
                    <a:pt x="5651" y="3255"/>
                  </a:lnTo>
                  <a:lnTo>
                    <a:pt x="5628" y="3052"/>
                  </a:lnTo>
                  <a:lnTo>
                    <a:pt x="5606" y="2848"/>
                  </a:lnTo>
                  <a:lnTo>
                    <a:pt x="5606" y="2803"/>
                  </a:lnTo>
                  <a:lnTo>
                    <a:pt x="5606" y="2532"/>
                  </a:lnTo>
                  <a:lnTo>
                    <a:pt x="5651" y="2261"/>
                  </a:lnTo>
                  <a:lnTo>
                    <a:pt x="5696" y="2012"/>
                  </a:lnTo>
                  <a:lnTo>
                    <a:pt x="5764" y="1786"/>
                  </a:lnTo>
                  <a:lnTo>
                    <a:pt x="5854" y="1583"/>
                  </a:lnTo>
                  <a:lnTo>
                    <a:pt x="5945" y="1402"/>
                  </a:lnTo>
                  <a:lnTo>
                    <a:pt x="6058" y="1221"/>
                  </a:lnTo>
                  <a:lnTo>
                    <a:pt x="6193" y="1063"/>
                  </a:lnTo>
                  <a:lnTo>
                    <a:pt x="6329" y="927"/>
                  </a:lnTo>
                  <a:lnTo>
                    <a:pt x="6487" y="814"/>
                  </a:lnTo>
                  <a:lnTo>
                    <a:pt x="6668" y="701"/>
                  </a:lnTo>
                  <a:lnTo>
                    <a:pt x="6826" y="611"/>
                  </a:lnTo>
                  <a:lnTo>
                    <a:pt x="7007" y="543"/>
                  </a:lnTo>
                  <a:lnTo>
                    <a:pt x="7211" y="498"/>
                  </a:lnTo>
                  <a:lnTo>
                    <a:pt x="7414" y="475"/>
                  </a:lnTo>
                  <a:lnTo>
                    <a:pt x="7617" y="452"/>
                  </a:lnTo>
                  <a:close/>
                  <a:moveTo>
                    <a:pt x="7617" y="0"/>
                  </a:moveTo>
                  <a:lnTo>
                    <a:pt x="7369" y="23"/>
                  </a:lnTo>
                  <a:lnTo>
                    <a:pt x="7120" y="46"/>
                  </a:lnTo>
                  <a:lnTo>
                    <a:pt x="6894" y="113"/>
                  </a:lnTo>
                  <a:lnTo>
                    <a:pt x="6646" y="204"/>
                  </a:lnTo>
                  <a:lnTo>
                    <a:pt x="6442" y="317"/>
                  </a:lnTo>
                  <a:lnTo>
                    <a:pt x="6239" y="430"/>
                  </a:lnTo>
                  <a:lnTo>
                    <a:pt x="6035" y="588"/>
                  </a:lnTo>
                  <a:lnTo>
                    <a:pt x="5854" y="746"/>
                  </a:lnTo>
                  <a:lnTo>
                    <a:pt x="5696" y="950"/>
                  </a:lnTo>
                  <a:lnTo>
                    <a:pt x="5561" y="1153"/>
                  </a:lnTo>
                  <a:lnTo>
                    <a:pt x="5448" y="1402"/>
                  </a:lnTo>
                  <a:lnTo>
                    <a:pt x="5335" y="1650"/>
                  </a:lnTo>
                  <a:lnTo>
                    <a:pt x="5267" y="1899"/>
                  </a:lnTo>
                  <a:lnTo>
                    <a:pt x="5199" y="2193"/>
                  </a:lnTo>
                  <a:lnTo>
                    <a:pt x="5176" y="2487"/>
                  </a:lnTo>
                  <a:lnTo>
                    <a:pt x="5154" y="2803"/>
                  </a:lnTo>
                  <a:lnTo>
                    <a:pt x="5154" y="2848"/>
                  </a:lnTo>
                  <a:lnTo>
                    <a:pt x="5176" y="3119"/>
                  </a:lnTo>
                  <a:lnTo>
                    <a:pt x="5222" y="3368"/>
                  </a:lnTo>
                  <a:lnTo>
                    <a:pt x="5289" y="3617"/>
                  </a:lnTo>
                  <a:lnTo>
                    <a:pt x="5402" y="3843"/>
                  </a:lnTo>
                  <a:lnTo>
                    <a:pt x="5515" y="4046"/>
                  </a:lnTo>
                  <a:lnTo>
                    <a:pt x="5628" y="4249"/>
                  </a:lnTo>
                  <a:lnTo>
                    <a:pt x="5787" y="4430"/>
                  </a:lnTo>
                  <a:lnTo>
                    <a:pt x="5945" y="4611"/>
                  </a:lnTo>
                  <a:lnTo>
                    <a:pt x="6126" y="4792"/>
                  </a:lnTo>
                  <a:lnTo>
                    <a:pt x="6307" y="4950"/>
                  </a:lnTo>
                  <a:lnTo>
                    <a:pt x="6616" y="5178"/>
                  </a:lnTo>
                  <a:lnTo>
                    <a:pt x="6616" y="5178"/>
                  </a:lnTo>
                  <a:lnTo>
                    <a:pt x="6284" y="5221"/>
                  </a:lnTo>
                  <a:lnTo>
                    <a:pt x="5764" y="5289"/>
                  </a:lnTo>
                  <a:lnTo>
                    <a:pt x="5244" y="5312"/>
                  </a:lnTo>
                  <a:lnTo>
                    <a:pt x="4747" y="5312"/>
                  </a:lnTo>
                  <a:lnTo>
                    <a:pt x="4092" y="5289"/>
                  </a:lnTo>
                  <a:lnTo>
                    <a:pt x="3549" y="5267"/>
                  </a:lnTo>
                  <a:lnTo>
                    <a:pt x="3188" y="5199"/>
                  </a:lnTo>
                  <a:lnTo>
                    <a:pt x="2826" y="5131"/>
                  </a:lnTo>
                  <a:lnTo>
                    <a:pt x="2509" y="5018"/>
                  </a:lnTo>
                  <a:lnTo>
                    <a:pt x="2193" y="4905"/>
                  </a:lnTo>
                  <a:lnTo>
                    <a:pt x="1922" y="4769"/>
                  </a:lnTo>
                  <a:lnTo>
                    <a:pt x="1651" y="4656"/>
                  </a:lnTo>
                  <a:lnTo>
                    <a:pt x="1425" y="4498"/>
                  </a:lnTo>
                  <a:lnTo>
                    <a:pt x="1199" y="4362"/>
                  </a:lnTo>
                  <a:lnTo>
                    <a:pt x="860" y="4091"/>
                  </a:lnTo>
                  <a:lnTo>
                    <a:pt x="611" y="3865"/>
                  </a:lnTo>
                  <a:lnTo>
                    <a:pt x="453" y="3707"/>
                  </a:lnTo>
                  <a:lnTo>
                    <a:pt x="408" y="3662"/>
                  </a:lnTo>
                  <a:lnTo>
                    <a:pt x="340" y="3594"/>
                  </a:lnTo>
                  <a:lnTo>
                    <a:pt x="249" y="3571"/>
                  </a:lnTo>
                  <a:lnTo>
                    <a:pt x="159" y="3594"/>
                  </a:lnTo>
                  <a:lnTo>
                    <a:pt x="91" y="3617"/>
                  </a:lnTo>
                  <a:lnTo>
                    <a:pt x="23" y="3684"/>
                  </a:lnTo>
                  <a:lnTo>
                    <a:pt x="1" y="3775"/>
                  </a:lnTo>
                  <a:lnTo>
                    <a:pt x="1" y="3865"/>
                  </a:lnTo>
                  <a:lnTo>
                    <a:pt x="46" y="3933"/>
                  </a:lnTo>
                  <a:lnTo>
                    <a:pt x="114" y="4023"/>
                  </a:lnTo>
                  <a:lnTo>
                    <a:pt x="295" y="4182"/>
                  </a:lnTo>
                  <a:lnTo>
                    <a:pt x="566" y="4430"/>
                  </a:lnTo>
                  <a:lnTo>
                    <a:pt x="950" y="4724"/>
                  </a:lnTo>
                  <a:lnTo>
                    <a:pt x="1176" y="4882"/>
                  </a:lnTo>
                  <a:lnTo>
                    <a:pt x="1425" y="5041"/>
                  </a:lnTo>
                  <a:lnTo>
                    <a:pt x="1718" y="5176"/>
                  </a:lnTo>
                  <a:lnTo>
                    <a:pt x="2012" y="5334"/>
                  </a:lnTo>
                  <a:lnTo>
                    <a:pt x="2351" y="5447"/>
                  </a:lnTo>
                  <a:lnTo>
                    <a:pt x="2713" y="5560"/>
                  </a:lnTo>
                  <a:lnTo>
                    <a:pt x="3097" y="5651"/>
                  </a:lnTo>
                  <a:lnTo>
                    <a:pt x="3504" y="5696"/>
                  </a:lnTo>
                  <a:lnTo>
                    <a:pt x="4069" y="5741"/>
                  </a:lnTo>
                  <a:lnTo>
                    <a:pt x="4747" y="5764"/>
                  </a:lnTo>
                  <a:lnTo>
                    <a:pt x="5538" y="5741"/>
                  </a:lnTo>
                  <a:lnTo>
                    <a:pt x="5945" y="5719"/>
                  </a:lnTo>
                  <a:lnTo>
                    <a:pt x="6374" y="5673"/>
                  </a:lnTo>
                  <a:lnTo>
                    <a:pt x="6781" y="5606"/>
                  </a:lnTo>
                  <a:lnTo>
                    <a:pt x="7175" y="5523"/>
                  </a:lnTo>
                  <a:lnTo>
                    <a:pt x="7175" y="5523"/>
                  </a:lnTo>
                  <a:lnTo>
                    <a:pt x="7459" y="5673"/>
                  </a:lnTo>
                  <a:lnTo>
                    <a:pt x="7866" y="5877"/>
                  </a:lnTo>
                  <a:lnTo>
                    <a:pt x="8273" y="6035"/>
                  </a:lnTo>
                  <a:lnTo>
                    <a:pt x="8702" y="6216"/>
                  </a:lnTo>
                  <a:lnTo>
                    <a:pt x="9154" y="6351"/>
                  </a:lnTo>
                  <a:lnTo>
                    <a:pt x="9629" y="6487"/>
                  </a:lnTo>
                  <a:lnTo>
                    <a:pt x="10104" y="6600"/>
                  </a:lnTo>
                  <a:lnTo>
                    <a:pt x="10601" y="6713"/>
                  </a:lnTo>
                  <a:lnTo>
                    <a:pt x="11098" y="6803"/>
                  </a:lnTo>
                  <a:lnTo>
                    <a:pt x="11595" y="6894"/>
                  </a:lnTo>
                  <a:lnTo>
                    <a:pt x="12092" y="6962"/>
                  </a:lnTo>
                  <a:lnTo>
                    <a:pt x="12612" y="7007"/>
                  </a:lnTo>
                  <a:lnTo>
                    <a:pt x="13110" y="7029"/>
                  </a:lnTo>
                  <a:lnTo>
                    <a:pt x="13607" y="7052"/>
                  </a:lnTo>
                  <a:lnTo>
                    <a:pt x="14104" y="7075"/>
                  </a:lnTo>
                  <a:lnTo>
                    <a:pt x="14759" y="7052"/>
                  </a:lnTo>
                  <a:lnTo>
                    <a:pt x="15370" y="7007"/>
                  </a:lnTo>
                  <a:lnTo>
                    <a:pt x="15980" y="6939"/>
                  </a:lnTo>
                  <a:lnTo>
                    <a:pt x="16545" y="6849"/>
                  </a:lnTo>
                  <a:lnTo>
                    <a:pt x="16635" y="6826"/>
                  </a:lnTo>
                  <a:lnTo>
                    <a:pt x="16703" y="6758"/>
                  </a:lnTo>
                  <a:lnTo>
                    <a:pt x="16726" y="6668"/>
                  </a:lnTo>
                  <a:lnTo>
                    <a:pt x="16726" y="6577"/>
                  </a:lnTo>
                  <a:lnTo>
                    <a:pt x="16703" y="6510"/>
                  </a:lnTo>
                  <a:lnTo>
                    <a:pt x="16635" y="6442"/>
                  </a:lnTo>
                  <a:lnTo>
                    <a:pt x="16568" y="6419"/>
                  </a:lnTo>
                  <a:lnTo>
                    <a:pt x="16477" y="6397"/>
                  </a:lnTo>
                  <a:lnTo>
                    <a:pt x="15912" y="6510"/>
                  </a:lnTo>
                  <a:lnTo>
                    <a:pt x="15347" y="6555"/>
                  </a:lnTo>
                  <a:lnTo>
                    <a:pt x="14737" y="6600"/>
                  </a:lnTo>
                  <a:lnTo>
                    <a:pt x="14104" y="6623"/>
                  </a:lnTo>
                  <a:lnTo>
                    <a:pt x="13358" y="6600"/>
                  </a:lnTo>
                  <a:lnTo>
                    <a:pt x="12612" y="6555"/>
                  </a:lnTo>
                  <a:lnTo>
                    <a:pt x="11866" y="6464"/>
                  </a:lnTo>
                  <a:lnTo>
                    <a:pt x="11121" y="6351"/>
                  </a:lnTo>
                  <a:lnTo>
                    <a:pt x="10397" y="6216"/>
                  </a:lnTo>
                  <a:lnTo>
                    <a:pt x="9674" y="6035"/>
                  </a:lnTo>
                  <a:lnTo>
                    <a:pt x="8996" y="5832"/>
                  </a:lnTo>
                  <a:lnTo>
                    <a:pt x="8363" y="5583"/>
                  </a:lnTo>
                  <a:lnTo>
                    <a:pt x="7825" y="5355"/>
                  </a:lnTo>
                  <a:lnTo>
                    <a:pt x="7825" y="5355"/>
                  </a:lnTo>
                  <a:lnTo>
                    <a:pt x="8024" y="5289"/>
                  </a:lnTo>
                  <a:lnTo>
                    <a:pt x="8408" y="5154"/>
                  </a:lnTo>
                  <a:lnTo>
                    <a:pt x="8747" y="4973"/>
                  </a:lnTo>
                  <a:lnTo>
                    <a:pt x="9086" y="4769"/>
                  </a:lnTo>
                  <a:lnTo>
                    <a:pt x="9380" y="4521"/>
                  </a:lnTo>
                  <a:lnTo>
                    <a:pt x="9516" y="4408"/>
                  </a:lnTo>
                  <a:lnTo>
                    <a:pt x="9652" y="4249"/>
                  </a:lnTo>
                  <a:lnTo>
                    <a:pt x="9765" y="4114"/>
                  </a:lnTo>
                  <a:lnTo>
                    <a:pt x="9855" y="3956"/>
                  </a:lnTo>
                  <a:lnTo>
                    <a:pt x="9945" y="3775"/>
                  </a:lnTo>
                  <a:lnTo>
                    <a:pt x="10013" y="3594"/>
                  </a:lnTo>
                  <a:lnTo>
                    <a:pt x="10058" y="3413"/>
                  </a:lnTo>
                  <a:lnTo>
                    <a:pt x="10104" y="3210"/>
                  </a:lnTo>
                  <a:lnTo>
                    <a:pt x="10126" y="2916"/>
                  </a:lnTo>
                  <a:lnTo>
                    <a:pt x="10126" y="2690"/>
                  </a:lnTo>
                  <a:lnTo>
                    <a:pt x="10081" y="2464"/>
                  </a:lnTo>
                  <a:lnTo>
                    <a:pt x="10036" y="2238"/>
                  </a:lnTo>
                  <a:lnTo>
                    <a:pt x="9968" y="2012"/>
                  </a:lnTo>
                  <a:lnTo>
                    <a:pt x="9855" y="1673"/>
                  </a:lnTo>
                  <a:lnTo>
                    <a:pt x="9674" y="1334"/>
                  </a:lnTo>
                  <a:lnTo>
                    <a:pt x="9493" y="1017"/>
                  </a:lnTo>
                  <a:lnTo>
                    <a:pt x="9245" y="746"/>
                  </a:lnTo>
                  <a:lnTo>
                    <a:pt x="8996" y="498"/>
                  </a:lnTo>
                  <a:lnTo>
                    <a:pt x="8838" y="385"/>
                  </a:lnTo>
                  <a:lnTo>
                    <a:pt x="8702" y="272"/>
                  </a:lnTo>
                  <a:lnTo>
                    <a:pt x="8544" y="204"/>
                  </a:lnTo>
                  <a:lnTo>
                    <a:pt x="8363" y="113"/>
                  </a:lnTo>
                  <a:lnTo>
                    <a:pt x="8205" y="68"/>
                  </a:lnTo>
                  <a:lnTo>
                    <a:pt x="8024" y="46"/>
                  </a:lnTo>
                  <a:lnTo>
                    <a:pt x="7821" y="23"/>
                  </a:lnTo>
                  <a:lnTo>
                    <a:pt x="7617" y="0"/>
                  </a:ln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0" name="Google Shape;1787;p16">
              <a:extLst>
                <a:ext uri="{FF2B5EF4-FFF2-40B4-BE49-F238E27FC236}">
                  <a16:creationId xmlns:a16="http://schemas.microsoft.com/office/drawing/2014/main" id="{64C8F217-CAF9-9A61-1FD5-B9CA4BF839FA}"/>
                </a:ext>
              </a:extLst>
            </p:cNvPr>
            <p:cNvSpPr/>
            <p:nvPr/>
          </p:nvSpPr>
          <p:spPr>
            <a:xfrm>
              <a:off x="2632725" y="2736300"/>
              <a:ext cx="600" cy="1150"/>
            </a:xfrm>
            <a:custGeom>
              <a:avLst/>
              <a:gdLst/>
              <a:ahLst/>
              <a:cxnLst/>
              <a:rect l="l" t="t" r="r" b="b"/>
              <a:pathLst>
                <a:path w="24" h="46" extrusionOk="0">
                  <a:moveTo>
                    <a:pt x="24" y="0"/>
                  </a:moveTo>
                  <a:lnTo>
                    <a:pt x="1" y="23"/>
                  </a:lnTo>
                  <a:lnTo>
                    <a:pt x="1" y="45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A1A0A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1" name="Google Shape;1788;p16">
              <a:extLst>
                <a:ext uri="{FF2B5EF4-FFF2-40B4-BE49-F238E27FC236}">
                  <a16:creationId xmlns:a16="http://schemas.microsoft.com/office/drawing/2014/main" id="{F536C9BB-045A-EFB5-446E-8294F00EE114}"/>
                </a:ext>
              </a:extLst>
            </p:cNvPr>
            <p:cNvSpPr/>
            <p:nvPr/>
          </p:nvSpPr>
          <p:spPr>
            <a:xfrm>
              <a:off x="2632725" y="2736300"/>
              <a:ext cx="600" cy="1150"/>
            </a:xfrm>
            <a:custGeom>
              <a:avLst/>
              <a:gdLst/>
              <a:ahLst/>
              <a:cxnLst/>
              <a:rect l="l" t="t" r="r" b="b"/>
              <a:pathLst>
                <a:path w="24" h="46" fill="none" extrusionOk="0">
                  <a:moveTo>
                    <a:pt x="24" y="0"/>
                  </a:moveTo>
                  <a:lnTo>
                    <a:pt x="1" y="23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2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2" name="Google Shape;1789;p16">
              <a:extLst>
                <a:ext uri="{FF2B5EF4-FFF2-40B4-BE49-F238E27FC236}">
                  <a16:creationId xmlns:a16="http://schemas.microsoft.com/office/drawing/2014/main" id="{D0AB8683-1FDF-F5DB-4C3D-AE3E356FBBAC}"/>
                </a:ext>
              </a:extLst>
            </p:cNvPr>
            <p:cNvSpPr/>
            <p:nvPr/>
          </p:nvSpPr>
          <p:spPr>
            <a:xfrm>
              <a:off x="3120350" y="3324500"/>
              <a:ext cx="118700" cy="196650"/>
            </a:xfrm>
            <a:custGeom>
              <a:avLst/>
              <a:gdLst/>
              <a:ahLst/>
              <a:cxnLst/>
              <a:rect l="l" t="t" r="r" b="b"/>
              <a:pathLst>
                <a:path w="4748" h="7866" extrusionOk="0">
                  <a:moveTo>
                    <a:pt x="905" y="0"/>
                  </a:moveTo>
                  <a:lnTo>
                    <a:pt x="1" y="5583"/>
                  </a:lnTo>
                  <a:lnTo>
                    <a:pt x="2193" y="7865"/>
                  </a:lnTo>
                  <a:lnTo>
                    <a:pt x="3662" y="6057"/>
                  </a:lnTo>
                  <a:lnTo>
                    <a:pt x="3843" y="5424"/>
                  </a:lnTo>
                  <a:lnTo>
                    <a:pt x="4024" y="4656"/>
                  </a:lnTo>
                  <a:lnTo>
                    <a:pt x="4363" y="2961"/>
                  </a:lnTo>
                  <a:lnTo>
                    <a:pt x="4634" y="1514"/>
                  </a:lnTo>
                  <a:lnTo>
                    <a:pt x="4747" y="927"/>
                  </a:lnTo>
                  <a:lnTo>
                    <a:pt x="905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3" name="Google Shape;1790;p16">
              <a:extLst>
                <a:ext uri="{FF2B5EF4-FFF2-40B4-BE49-F238E27FC236}">
                  <a16:creationId xmlns:a16="http://schemas.microsoft.com/office/drawing/2014/main" id="{FB0DCFDD-2795-10BF-92DB-A09593552699}"/>
                </a:ext>
              </a:extLst>
            </p:cNvPr>
            <p:cNvSpPr/>
            <p:nvPr/>
          </p:nvSpPr>
          <p:spPr>
            <a:xfrm>
              <a:off x="3120350" y="3324500"/>
              <a:ext cx="118700" cy="196650"/>
            </a:xfrm>
            <a:custGeom>
              <a:avLst/>
              <a:gdLst/>
              <a:ahLst/>
              <a:cxnLst/>
              <a:rect l="l" t="t" r="r" b="b"/>
              <a:pathLst>
                <a:path w="4748" h="7866" fill="none" extrusionOk="0">
                  <a:moveTo>
                    <a:pt x="3662" y="6057"/>
                  </a:moveTo>
                  <a:lnTo>
                    <a:pt x="3662" y="6057"/>
                  </a:lnTo>
                  <a:lnTo>
                    <a:pt x="3843" y="5424"/>
                  </a:lnTo>
                  <a:lnTo>
                    <a:pt x="4024" y="4656"/>
                  </a:lnTo>
                  <a:lnTo>
                    <a:pt x="4363" y="2961"/>
                  </a:lnTo>
                  <a:lnTo>
                    <a:pt x="4634" y="1514"/>
                  </a:lnTo>
                  <a:lnTo>
                    <a:pt x="4747" y="927"/>
                  </a:lnTo>
                  <a:lnTo>
                    <a:pt x="905" y="0"/>
                  </a:lnTo>
                  <a:lnTo>
                    <a:pt x="1" y="5583"/>
                  </a:lnTo>
                  <a:lnTo>
                    <a:pt x="2193" y="7865"/>
                  </a:lnTo>
                  <a:lnTo>
                    <a:pt x="3662" y="605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4" name="Google Shape;1791;p16">
              <a:extLst>
                <a:ext uri="{FF2B5EF4-FFF2-40B4-BE49-F238E27FC236}">
                  <a16:creationId xmlns:a16="http://schemas.microsoft.com/office/drawing/2014/main" id="{6B13DD92-D0CF-0987-978E-1D0F041FB4BA}"/>
                </a:ext>
              </a:extLst>
            </p:cNvPr>
            <p:cNvSpPr/>
            <p:nvPr/>
          </p:nvSpPr>
          <p:spPr>
            <a:xfrm>
              <a:off x="3094375" y="3448225"/>
              <a:ext cx="281975" cy="163325"/>
            </a:xfrm>
            <a:custGeom>
              <a:avLst/>
              <a:gdLst/>
              <a:ahLst/>
              <a:cxnLst/>
              <a:rect l="l" t="t" r="r" b="b"/>
              <a:pathLst>
                <a:path w="11279" h="6533" extrusionOk="0">
                  <a:moveTo>
                    <a:pt x="1040" y="1"/>
                  </a:moveTo>
                  <a:lnTo>
                    <a:pt x="927" y="69"/>
                  </a:lnTo>
                  <a:lnTo>
                    <a:pt x="837" y="159"/>
                  </a:lnTo>
                  <a:lnTo>
                    <a:pt x="724" y="295"/>
                  </a:lnTo>
                  <a:lnTo>
                    <a:pt x="633" y="475"/>
                  </a:lnTo>
                  <a:lnTo>
                    <a:pt x="543" y="656"/>
                  </a:lnTo>
                  <a:lnTo>
                    <a:pt x="362" y="1131"/>
                  </a:lnTo>
                  <a:lnTo>
                    <a:pt x="226" y="1673"/>
                  </a:lnTo>
                  <a:lnTo>
                    <a:pt x="113" y="2261"/>
                  </a:lnTo>
                  <a:lnTo>
                    <a:pt x="23" y="2848"/>
                  </a:lnTo>
                  <a:lnTo>
                    <a:pt x="0" y="3391"/>
                  </a:lnTo>
                  <a:lnTo>
                    <a:pt x="23" y="3549"/>
                  </a:lnTo>
                  <a:lnTo>
                    <a:pt x="45" y="3685"/>
                  </a:lnTo>
                  <a:lnTo>
                    <a:pt x="113" y="3820"/>
                  </a:lnTo>
                  <a:lnTo>
                    <a:pt x="204" y="3933"/>
                  </a:lnTo>
                  <a:lnTo>
                    <a:pt x="294" y="4024"/>
                  </a:lnTo>
                  <a:lnTo>
                    <a:pt x="407" y="4114"/>
                  </a:lnTo>
                  <a:lnTo>
                    <a:pt x="520" y="4182"/>
                  </a:lnTo>
                  <a:lnTo>
                    <a:pt x="678" y="4250"/>
                  </a:lnTo>
                  <a:lnTo>
                    <a:pt x="5199" y="5380"/>
                  </a:lnTo>
                  <a:lnTo>
                    <a:pt x="9606" y="6465"/>
                  </a:lnTo>
                  <a:lnTo>
                    <a:pt x="9968" y="6533"/>
                  </a:lnTo>
                  <a:lnTo>
                    <a:pt x="10261" y="6533"/>
                  </a:lnTo>
                  <a:lnTo>
                    <a:pt x="10510" y="6487"/>
                  </a:lnTo>
                  <a:lnTo>
                    <a:pt x="10713" y="6397"/>
                  </a:lnTo>
                  <a:lnTo>
                    <a:pt x="10894" y="6284"/>
                  </a:lnTo>
                  <a:lnTo>
                    <a:pt x="11030" y="6126"/>
                  </a:lnTo>
                  <a:lnTo>
                    <a:pt x="11143" y="5967"/>
                  </a:lnTo>
                  <a:lnTo>
                    <a:pt x="11211" y="5787"/>
                  </a:lnTo>
                  <a:lnTo>
                    <a:pt x="11256" y="5583"/>
                  </a:lnTo>
                  <a:lnTo>
                    <a:pt x="11278" y="5402"/>
                  </a:lnTo>
                  <a:lnTo>
                    <a:pt x="11278" y="5199"/>
                  </a:lnTo>
                  <a:lnTo>
                    <a:pt x="11256" y="5041"/>
                  </a:lnTo>
                  <a:lnTo>
                    <a:pt x="11233" y="4883"/>
                  </a:lnTo>
                  <a:lnTo>
                    <a:pt x="11188" y="4747"/>
                  </a:lnTo>
                  <a:lnTo>
                    <a:pt x="11120" y="4657"/>
                  </a:lnTo>
                  <a:lnTo>
                    <a:pt x="11052" y="4611"/>
                  </a:lnTo>
                  <a:lnTo>
                    <a:pt x="10600" y="4431"/>
                  </a:lnTo>
                  <a:lnTo>
                    <a:pt x="9855" y="4205"/>
                  </a:lnTo>
                  <a:lnTo>
                    <a:pt x="8905" y="3888"/>
                  </a:lnTo>
                  <a:lnTo>
                    <a:pt x="7911" y="3504"/>
                  </a:lnTo>
                  <a:lnTo>
                    <a:pt x="7391" y="3301"/>
                  </a:lnTo>
                  <a:lnTo>
                    <a:pt x="6916" y="3075"/>
                  </a:lnTo>
                  <a:lnTo>
                    <a:pt x="6487" y="2848"/>
                  </a:lnTo>
                  <a:lnTo>
                    <a:pt x="6080" y="2600"/>
                  </a:lnTo>
                  <a:lnTo>
                    <a:pt x="5764" y="2351"/>
                  </a:lnTo>
                  <a:lnTo>
                    <a:pt x="5628" y="2216"/>
                  </a:lnTo>
                  <a:lnTo>
                    <a:pt x="5515" y="2080"/>
                  </a:lnTo>
                  <a:lnTo>
                    <a:pt x="5425" y="1944"/>
                  </a:lnTo>
                  <a:lnTo>
                    <a:pt x="5357" y="1809"/>
                  </a:lnTo>
                  <a:lnTo>
                    <a:pt x="5312" y="1673"/>
                  </a:lnTo>
                  <a:lnTo>
                    <a:pt x="5289" y="1538"/>
                  </a:lnTo>
                  <a:lnTo>
                    <a:pt x="5312" y="1312"/>
                  </a:lnTo>
                  <a:lnTo>
                    <a:pt x="5334" y="1108"/>
                  </a:lnTo>
                  <a:lnTo>
                    <a:pt x="5379" y="814"/>
                  </a:lnTo>
                  <a:lnTo>
                    <a:pt x="5357" y="701"/>
                  </a:lnTo>
                  <a:lnTo>
                    <a:pt x="5334" y="611"/>
                  </a:lnTo>
                  <a:lnTo>
                    <a:pt x="5266" y="566"/>
                  </a:lnTo>
                  <a:lnTo>
                    <a:pt x="5131" y="566"/>
                  </a:lnTo>
                  <a:lnTo>
                    <a:pt x="4475" y="521"/>
                  </a:lnTo>
                  <a:lnTo>
                    <a:pt x="3865" y="453"/>
                  </a:lnTo>
                  <a:lnTo>
                    <a:pt x="3300" y="362"/>
                  </a:lnTo>
                  <a:lnTo>
                    <a:pt x="2780" y="249"/>
                  </a:lnTo>
                  <a:lnTo>
                    <a:pt x="1854" y="69"/>
                  </a:lnTo>
                  <a:lnTo>
                    <a:pt x="1469" y="1"/>
                  </a:lnTo>
                  <a:close/>
                </a:path>
              </a:pathLst>
            </a:custGeom>
            <a:solidFill>
              <a:srgbClr val="3331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5" name="Google Shape;1792;p16">
              <a:extLst>
                <a:ext uri="{FF2B5EF4-FFF2-40B4-BE49-F238E27FC236}">
                  <a16:creationId xmlns:a16="http://schemas.microsoft.com/office/drawing/2014/main" id="{5D1B64BA-B3D9-D44E-53FD-7770AD401C24}"/>
                </a:ext>
              </a:extLst>
            </p:cNvPr>
            <p:cNvSpPr/>
            <p:nvPr/>
          </p:nvSpPr>
          <p:spPr>
            <a:xfrm>
              <a:off x="2646850" y="2417050"/>
              <a:ext cx="723275" cy="1003525"/>
            </a:xfrm>
            <a:custGeom>
              <a:avLst/>
              <a:gdLst/>
              <a:ahLst/>
              <a:cxnLst/>
              <a:rect l="l" t="t" r="r" b="b"/>
              <a:pathLst>
                <a:path w="28931" h="40141" extrusionOk="0">
                  <a:moveTo>
                    <a:pt x="476" y="0"/>
                  </a:moveTo>
                  <a:lnTo>
                    <a:pt x="227" y="23"/>
                  </a:lnTo>
                  <a:lnTo>
                    <a:pt x="1" y="45"/>
                  </a:lnTo>
                  <a:lnTo>
                    <a:pt x="272" y="565"/>
                  </a:lnTo>
                  <a:lnTo>
                    <a:pt x="1018" y="1944"/>
                  </a:lnTo>
                  <a:lnTo>
                    <a:pt x="1560" y="2893"/>
                  </a:lnTo>
                  <a:lnTo>
                    <a:pt x="2193" y="3955"/>
                  </a:lnTo>
                  <a:lnTo>
                    <a:pt x="2917" y="5108"/>
                  </a:lnTo>
                  <a:lnTo>
                    <a:pt x="3708" y="6351"/>
                  </a:lnTo>
                  <a:lnTo>
                    <a:pt x="3956" y="6668"/>
                  </a:lnTo>
                  <a:lnTo>
                    <a:pt x="4273" y="7007"/>
                  </a:lnTo>
                  <a:lnTo>
                    <a:pt x="4679" y="7368"/>
                  </a:lnTo>
                  <a:lnTo>
                    <a:pt x="5131" y="7730"/>
                  </a:lnTo>
                  <a:lnTo>
                    <a:pt x="5629" y="8092"/>
                  </a:lnTo>
                  <a:lnTo>
                    <a:pt x="6194" y="8476"/>
                  </a:lnTo>
                  <a:lnTo>
                    <a:pt x="6804" y="8883"/>
                  </a:lnTo>
                  <a:lnTo>
                    <a:pt x="7459" y="9289"/>
                  </a:lnTo>
                  <a:lnTo>
                    <a:pt x="8861" y="10103"/>
                  </a:lnTo>
                  <a:lnTo>
                    <a:pt x="10375" y="10939"/>
                  </a:lnTo>
                  <a:lnTo>
                    <a:pt x="11935" y="11753"/>
                  </a:lnTo>
                  <a:lnTo>
                    <a:pt x="13539" y="12589"/>
                  </a:lnTo>
                  <a:lnTo>
                    <a:pt x="16636" y="14126"/>
                  </a:lnTo>
                  <a:lnTo>
                    <a:pt x="19303" y="15460"/>
                  </a:lnTo>
                  <a:lnTo>
                    <a:pt x="20387" y="16025"/>
                  </a:lnTo>
                  <a:lnTo>
                    <a:pt x="21224" y="16499"/>
                  </a:lnTo>
                  <a:lnTo>
                    <a:pt x="21563" y="16703"/>
                  </a:lnTo>
                  <a:lnTo>
                    <a:pt x="21811" y="16883"/>
                  </a:lnTo>
                  <a:lnTo>
                    <a:pt x="21992" y="17042"/>
                  </a:lnTo>
                  <a:lnTo>
                    <a:pt x="22083" y="17155"/>
                  </a:lnTo>
                  <a:lnTo>
                    <a:pt x="22105" y="17313"/>
                  </a:lnTo>
                  <a:lnTo>
                    <a:pt x="22128" y="17584"/>
                  </a:lnTo>
                  <a:lnTo>
                    <a:pt x="22105" y="17946"/>
                  </a:lnTo>
                  <a:lnTo>
                    <a:pt x="22060" y="18420"/>
                  </a:lnTo>
                  <a:lnTo>
                    <a:pt x="21902" y="19573"/>
                  </a:lnTo>
                  <a:lnTo>
                    <a:pt x="21676" y="21020"/>
                  </a:lnTo>
                  <a:lnTo>
                    <a:pt x="21382" y="22692"/>
                  </a:lnTo>
                  <a:lnTo>
                    <a:pt x="21043" y="24545"/>
                  </a:lnTo>
                  <a:lnTo>
                    <a:pt x="20252" y="28501"/>
                  </a:lnTo>
                  <a:lnTo>
                    <a:pt x="19461" y="32433"/>
                  </a:lnTo>
                  <a:lnTo>
                    <a:pt x="18738" y="35914"/>
                  </a:lnTo>
                  <a:lnTo>
                    <a:pt x="18218" y="38445"/>
                  </a:lnTo>
                  <a:lnTo>
                    <a:pt x="18059" y="39214"/>
                  </a:lnTo>
                  <a:lnTo>
                    <a:pt x="17992" y="39598"/>
                  </a:lnTo>
                  <a:lnTo>
                    <a:pt x="17992" y="39666"/>
                  </a:lnTo>
                  <a:lnTo>
                    <a:pt x="18037" y="39733"/>
                  </a:lnTo>
                  <a:lnTo>
                    <a:pt x="18127" y="39801"/>
                  </a:lnTo>
                  <a:lnTo>
                    <a:pt x="18218" y="39846"/>
                  </a:lnTo>
                  <a:lnTo>
                    <a:pt x="18534" y="39937"/>
                  </a:lnTo>
                  <a:lnTo>
                    <a:pt x="18918" y="40005"/>
                  </a:lnTo>
                  <a:lnTo>
                    <a:pt x="19370" y="40072"/>
                  </a:lnTo>
                  <a:lnTo>
                    <a:pt x="19890" y="40095"/>
                  </a:lnTo>
                  <a:lnTo>
                    <a:pt x="21020" y="40140"/>
                  </a:lnTo>
                  <a:lnTo>
                    <a:pt x="22150" y="40140"/>
                  </a:lnTo>
                  <a:lnTo>
                    <a:pt x="23145" y="40118"/>
                  </a:lnTo>
                  <a:lnTo>
                    <a:pt x="24117" y="40072"/>
                  </a:lnTo>
                  <a:lnTo>
                    <a:pt x="24410" y="39033"/>
                  </a:lnTo>
                  <a:lnTo>
                    <a:pt x="25134" y="36275"/>
                  </a:lnTo>
                  <a:lnTo>
                    <a:pt x="25586" y="34422"/>
                  </a:lnTo>
                  <a:lnTo>
                    <a:pt x="26106" y="32320"/>
                  </a:lnTo>
                  <a:lnTo>
                    <a:pt x="26625" y="30060"/>
                  </a:lnTo>
                  <a:lnTo>
                    <a:pt x="27145" y="27687"/>
                  </a:lnTo>
                  <a:lnTo>
                    <a:pt x="27643" y="25291"/>
                  </a:lnTo>
                  <a:lnTo>
                    <a:pt x="28095" y="22895"/>
                  </a:lnTo>
                  <a:lnTo>
                    <a:pt x="28298" y="21743"/>
                  </a:lnTo>
                  <a:lnTo>
                    <a:pt x="28479" y="20613"/>
                  </a:lnTo>
                  <a:lnTo>
                    <a:pt x="28614" y="19528"/>
                  </a:lnTo>
                  <a:lnTo>
                    <a:pt x="28750" y="18488"/>
                  </a:lnTo>
                  <a:lnTo>
                    <a:pt x="28840" y="17494"/>
                  </a:lnTo>
                  <a:lnTo>
                    <a:pt x="28908" y="16567"/>
                  </a:lnTo>
                  <a:lnTo>
                    <a:pt x="28931" y="15708"/>
                  </a:lnTo>
                  <a:lnTo>
                    <a:pt x="28931" y="14940"/>
                  </a:lnTo>
                  <a:lnTo>
                    <a:pt x="28886" y="14262"/>
                  </a:lnTo>
                  <a:lnTo>
                    <a:pt x="28840" y="13945"/>
                  </a:lnTo>
                  <a:lnTo>
                    <a:pt x="28795" y="13674"/>
                  </a:lnTo>
                  <a:lnTo>
                    <a:pt x="28727" y="13403"/>
                  </a:lnTo>
                  <a:lnTo>
                    <a:pt x="28660" y="13177"/>
                  </a:lnTo>
                  <a:lnTo>
                    <a:pt x="28569" y="12973"/>
                  </a:lnTo>
                  <a:lnTo>
                    <a:pt x="28456" y="12815"/>
                  </a:lnTo>
                  <a:lnTo>
                    <a:pt x="28388" y="12702"/>
                  </a:lnTo>
                  <a:lnTo>
                    <a:pt x="28253" y="12567"/>
                  </a:lnTo>
                  <a:lnTo>
                    <a:pt x="27959" y="12295"/>
                  </a:lnTo>
                  <a:lnTo>
                    <a:pt x="27529" y="11979"/>
                  </a:lnTo>
                  <a:lnTo>
                    <a:pt x="27010" y="11595"/>
                  </a:lnTo>
                  <a:lnTo>
                    <a:pt x="26377" y="11188"/>
                  </a:lnTo>
                  <a:lnTo>
                    <a:pt x="25676" y="10758"/>
                  </a:lnTo>
                  <a:lnTo>
                    <a:pt x="24885" y="10284"/>
                  </a:lnTo>
                  <a:lnTo>
                    <a:pt x="24026" y="9787"/>
                  </a:lnTo>
                  <a:lnTo>
                    <a:pt x="22128" y="8724"/>
                  </a:lnTo>
                  <a:lnTo>
                    <a:pt x="20003" y="7617"/>
                  </a:lnTo>
                  <a:lnTo>
                    <a:pt x="17743" y="6464"/>
                  </a:lnTo>
                  <a:lnTo>
                    <a:pt x="15393" y="5312"/>
                  </a:lnTo>
                  <a:lnTo>
                    <a:pt x="12997" y="4204"/>
                  </a:lnTo>
                  <a:lnTo>
                    <a:pt x="11799" y="3662"/>
                  </a:lnTo>
                  <a:lnTo>
                    <a:pt x="10624" y="3164"/>
                  </a:lnTo>
                  <a:lnTo>
                    <a:pt x="9471" y="2667"/>
                  </a:lnTo>
                  <a:lnTo>
                    <a:pt x="8318" y="2215"/>
                  </a:lnTo>
                  <a:lnTo>
                    <a:pt x="7233" y="1786"/>
                  </a:lnTo>
                  <a:lnTo>
                    <a:pt x="6171" y="1402"/>
                  </a:lnTo>
                  <a:lnTo>
                    <a:pt x="5154" y="1040"/>
                  </a:lnTo>
                  <a:lnTo>
                    <a:pt x="4205" y="746"/>
                  </a:lnTo>
                  <a:lnTo>
                    <a:pt x="3301" y="475"/>
                  </a:lnTo>
                  <a:lnTo>
                    <a:pt x="2464" y="271"/>
                  </a:lnTo>
                  <a:lnTo>
                    <a:pt x="1719" y="113"/>
                  </a:lnTo>
                  <a:lnTo>
                    <a:pt x="1063" y="23"/>
                  </a:lnTo>
                  <a:lnTo>
                    <a:pt x="747" y="0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6" name="Google Shape;1793;p16">
              <a:extLst>
                <a:ext uri="{FF2B5EF4-FFF2-40B4-BE49-F238E27FC236}">
                  <a16:creationId xmlns:a16="http://schemas.microsoft.com/office/drawing/2014/main" id="{0615F417-22C3-C588-3808-C7315B139D97}"/>
                </a:ext>
              </a:extLst>
            </p:cNvPr>
            <p:cNvSpPr/>
            <p:nvPr/>
          </p:nvSpPr>
          <p:spPr>
            <a:xfrm>
              <a:off x="2646850" y="2417050"/>
              <a:ext cx="723275" cy="1003525"/>
            </a:xfrm>
            <a:custGeom>
              <a:avLst/>
              <a:gdLst/>
              <a:ahLst/>
              <a:cxnLst/>
              <a:rect l="l" t="t" r="r" b="b"/>
              <a:pathLst>
                <a:path w="28931" h="40141" fill="none" extrusionOk="0">
                  <a:moveTo>
                    <a:pt x="1" y="45"/>
                  </a:moveTo>
                  <a:lnTo>
                    <a:pt x="1" y="45"/>
                  </a:lnTo>
                  <a:lnTo>
                    <a:pt x="227" y="23"/>
                  </a:lnTo>
                  <a:lnTo>
                    <a:pt x="476" y="0"/>
                  </a:lnTo>
                  <a:lnTo>
                    <a:pt x="747" y="0"/>
                  </a:lnTo>
                  <a:lnTo>
                    <a:pt x="1063" y="23"/>
                  </a:lnTo>
                  <a:lnTo>
                    <a:pt x="1719" y="113"/>
                  </a:lnTo>
                  <a:lnTo>
                    <a:pt x="2464" y="271"/>
                  </a:lnTo>
                  <a:lnTo>
                    <a:pt x="3301" y="475"/>
                  </a:lnTo>
                  <a:lnTo>
                    <a:pt x="4205" y="746"/>
                  </a:lnTo>
                  <a:lnTo>
                    <a:pt x="5154" y="1040"/>
                  </a:lnTo>
                  <a:lnTo>
                    <a:pt x="6171" y="1402"/>
                  </a:lnTo>
                  <a:lnTo>
                    <a:pt x="7233" y="1786"/>
                  </a:lnTo>
                  <a:lnTo>
                    <a:pt x="8318" y="2215"/>
                  </a:lnTo>
                  <a:lnTo>
                    <a:pt x="9471" y="2667"/>
                  </a:lnTo>
                  <a:lnTo>
                    <a:pt x="10624" y="3164"/>
                  </a:lnTo>
                  <a:lnTo>
                    <a:pt x="11799" y="3662"/>
                  </a:lnTo>
                  <a:lnTo>
                    <a:pt x="12997" y="4204"/>
                  </a:lnTo>
                  <a:lnTo>
                    <a:pt x="15393" y="5312"/>
                  </a:lnTo>
                  <a:lnTo>
                    <a:pt x="17743" y="6464"/>
                  </a:lnTo>
                  <a:lnTo>
                    <a:pt x="20003" y="7617"/>
                  </a:lnTo>
                  <a:lnTo>
                    <a:pt x="22128" y="8724"/>
                  </a:lnTo>
                  <a:lnTo>
                    <a:pt x="24026" y="9787"/>
                  </a:lnTo>
                  <a:lnTo>
                    <a:pt x="24885" y="10284"/>
                  </a:lnTo>
                  <a:lnTo>
                    <a:pt x="25676" y="10758"/>
                  </a:lnTo>
                  <a:lnTo>
                    <a:pt x="26377" y="11188"/>
                  </a:lnTo>
                  <a:lnTo>
                    <a:pt x="27010" y="11595"/>
                  </a:lnTo>
                  <a:lnTo>
                    <a:pt x="27529" y="11979"/>
                  </a:lnTo>
                  <a:lnTo>
                    <a:pt x="27959" y="12295"/>
                  </a:lnTo>
                  <a:lnTo>
                    <a:pt x="28253" y="12567"/>
                  </a:lnTo>
                  <a:lnTo>
                    <a:pt x="28388" y="12702"/>
                  </a:lnTo>
                  <a:lnTo>
                    <a:pt x="28456" y="12815"/>
                  </a:lnTo>
                  <a:lnTo>
                    <a:pt x="28456" y="12815"/>
                  </a:lnTo>
                  <a:lnTo>
                    <a:pt x="28569" y="12973"/>
                  </a:lnTo>
                  <a:lnTo>
                    <a:pt x="28660" y="13177"/>
                  </a:lnTo>
                  <a:lnTo>
                    <a:pt x="28727" y="13403"/>
                  </a:lnTo>
                  <a:lnTo>
                    <a:pt x="28795" y="13674"/>
                  </a:lnTo>
                  <a:lnTo>
                    <a:pt x="28840" y="13945"/>
                  </a:lnTo>
                  <a:lnTo>
                    <a:pt x="28886" y="14262"/>
                  </a:lnTo>
                  <a:lnTo>
                    <a:pt x="28931" y="14940"/>
                  </a:lnTo>
                  <a:lnTo>
                    <a:pt x="28931" y="15708"/>
                  </a:lnTo>
                  <a:lnTo>
                    <a:pt x="28908" y="16567"/>
                  </a:lnTo>
                  <a:lnTo>
                    <a:pt x="28840" y="17494"/>
                  </a:lnTo>
                  <a:lnTo>
                    <a:pt x="28750" y="18488"/>
                  </a:lnTo>
                  <a:lnTo>
                    <a:pt x="28614" y="19528"/>
                  </a:lnTo>
                  <a:lnTo>
                    <a:pt x="28479" y="20613"/>
                  </a:lnTo>
                  <a:lnTo>
                    <a:pt x="28298" y="21743"/>
                  </a:lnTo>
                  <a:lnTo>
                    <a:pt x="28095" y="22895"/>
                  </a:lnTo>
                  <a:lnTo>
                    <a:pt x="27643" y="25291"/>
                  </a:lnTo>
                  <a:lnTo>
                    <a:pt x="27145" y="27687"/>
                  </a:lnTo>
                  <a:lnTo>
                    <a:pt x="26625" y="30060"/>
                  </a:lnTo>
                  <a:lnTo>
                    <a:pt x="26106" y="32320"/>
                  </a:lnTo>
                  <a:lnTo>
                    <a:pt x="25586" y="34422"/>
                  </a:lnTo>
                  <a:lnTo>
                    <a:pt x="25134" y="36275"/>
                  </a:lnTo>
                  <a:lnTo>
                    <a:pt x="24410" y="39033"/>
                  </a:lnTo>
                  <a:lnTo>
                    <a:pt x="24117" y="40072"/>
                  </a:lnTo>
                  <a:lnTo>
                    <a:pt x="24117" y="40072"/>
                  </a:lnTo>
                  <a:lnTo>
                    <a:pt x="23145" y="40118"/>
                  </a:lnTo>
                  <a:lnTo>
                    <a:pt x="22150" y="40140"/>
                  </a:lnTo>
                  <a:lnTo>
                    <a:pt x="21020" y="40140"/>
                  </a:lnTo>
                  <a:lnTo>
                    <a:pt x="19890" y="40095"/>
                  </a:lnTo>
                  <a:lnTo>
                    <a:pt x="19370" y="40072"/>
                  </a:lnTo>
                  <a:lnTo>
                    <a:pt x="18918" y="40005"/>
                  </a:lnTo>
                  <a:lnTo>
                    <a:pt x="18534" y="39937"/>
                  </a:lnTo>
                  <a:lnTo>
                    <a:pt x="18218" y="39846"/>
                  </a:lnTo>
                  <a:lnTo>
                    <a:pt x="18127" y="39801"/>
                  </a:lnTo>
                  <a:lnTo>
                    <a:pt x="18037" y="39733"/>
                  </a:lnTo>
                  <a:lnTo>
                    <a:pt x="17992" y="39666"/>
                  </a:lnTo>
                  <a:lnTo>
                    <a:pt x="17992" y="39598"/>
                  </a:lnTo>
                  <a:lnTo>
                    <a:pt x="17992" y="39598"/>
                  </a:lnTo>
                  <a:lnTo>
                    <a:pt x="18059" y="39214"/>
                  </a:lnTo>
                  <a:lnTo>
                    <a:pt x="18218" y="38445"/>
                  </a:lnTo>
                  <a:lnTo>
                    <a:pt x="18738" y="35914"/>
                  </a:lnTo>
                  <a:lnTo>
                    <a:pt x="19461" y="32433"/>
                  </a:lnTo>
                  <a:lnTo>
                    <a:pt x="20252" y="28501"/>
                  </a:lnTo>
                  <a:lnTo>
                    <a:pt x="21043" y="24545"/>
                  </a:lnTo>
                  <a:lnTo>
                    <a:pt x="21382" y="22692"/>
                  </a:lnTo>
                  <a:lnTo>
                    <a:pt x="21676" y="21020"/>
                  </a:lnTo>
                  <a:lnTo>
                    <a:pt x="21902" y="19573"/>
                  </a:lnTo>
                  <a:lnTo>
                    <a:pt x="22060" y="18420"/>
                  </a:lnTo>
                  <a:lnTo>
                    <a:pt x="22105" y="17946"/>
                  </a:lnTo>
                  <a:lnTo>
                    <a:pt x="22128" y="17584"/>
                  </a:lnTo>
                  <a:lnTo>
                    <a:pt x="22105" y="17313"/>
                  </a:lnTo>
                  <a:lnTo>
                    <a:pt x="22083" y="17155"/>
                  </a:lnTo>
                  <a:lnTo>
                    <a:pt x="22083" y="17155"/>
                  </a:lnTo>
                  <a:lnTo>
                    <a:pt x="21992" y="17042"/>
                  </a:lnTo>
                  <a:lnTo>
                    <a:pt x="21811" y="16883"/>
                  </a:lnTo>
                  <a:lnTo>
                    <a:pt x="21563" y="16703"/>
                  </a:lnTo>
                  <a:lnTo>
                    <a:pt x="21224" y="16499"/>
                  </a:lnTo>
                  <a:lnTo>
                    <a:pt x="20387" y="16025"/>
                  </a:lnTo>
                  <a:lnTo>
                    <a:pt x="19303" y="15460"/>
                  </a:lnTo>
                  <a:lnTo>
                    <a:pt x="16636" y="14126"/>
                  </a:lnTo>
                  <a:lnTo>
                    <a:pt x="13539" y="12589"/>
                  </a:lnTo>
                  <a:lnTo>
                    <a:pt x="11935" y="11753"/>
                  </a:lnTo>
                  <a:lnTo>
                    <a:pt x="10375" y="10939"/>
                  </a:lnTo>
                  <a:lnTo>
                    <a:pt x="8861" y="10103"/>
                  </a:lnTo>
                  <a:lnTo>
                    <a:pt x="7459" y="9289"/>
                  </a:lnTo>
                  <a:lnTo>
                    <a:pt x="6804" y="8883"/>
                  </a:lnTo>
                  <a:lnTo>
                    <a:pt x="6194" y="8476"/>
                  </a:lnTo>
                  <a:lnTo>
                    <a:pt x="5629" y="8092"/>
                  </a:lnTo>
                  <a:lnTo>
                    <a:pt x="5131" y="7730"/>
                  </a:lnTo>
                  <a:lnTo>
                    <a:pt x="4679" y="7368"/>
                  </a:lnTo>
                  <a:lnTo>
                    <a:pt x="4273" y="7007"/>
                  </a:lnTo>
                  <a:lnTo>
                    <a:pt x="3956" y="6668"/>
                  </a:lnTo>
                  <a:lnTo>
                    <a:pt x="3708" y="6351"/>
                  </a:lnTo>
                  <a:lnTo>
                    <a:pt x="3708" y="6351"/>
                  </a:lnTo>
                  <a:lnTo>
                    <a:pt x="2917" y="5108"/>
                  </a:lnTo>
                  <a:lnTo>
                    <a:pt x="2193" y="3955"/>
                  </a:lnTo>
                  <a:lnTo>
                    <a:pt x="1560" y="2893"/>
                  </a:lnTo>
                  <a:lnTo>
                    <a:pt x="1018" y="1944"/>
                  </a:lnTo>
                  <a:lnTo>
                    <a:pt x="272" y="565"/>
                  </a:lnTo>
                  <a:lnTo>
                    <a:pt x="1" y="4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7" name="Google Shape;1794;p16">
              <a:extLst>
                <a:ext uri="{FF2B5EF4-FFF2-40B4-BE49-F238E27FC236}">
                  <a16:creationId xmlns:a16="http://schemas.microsoft.com/office/drawing/2014/main" id="{1F8D5023-C252-53E0-92DF-4B02D2A23FEC}"/>
                </a:ext>
              </a:extLst>
            </p:cNvPr>
            <p:cNvSpPr/>
            <p:nvPr/>
          </p:nvSpPr>
          <p:spPr>
            <a:xfrm>
              <a:off x="2779075" y="2468450"/>
              <a:ext cx="591625" cy="952125"/>
            </a:xfrm>
            <a:custGeom>
              <a:avLst/>
              <a:gdLst/>
              <a:ahLst/>
              <a:cxnLst/>
              <a:rect l="l" t="t" r="r" b="b"/>
              <a:pathLst>
                <a:path w="23665" h="38085" extrusionOk="0">
                  <a:moveTo>
                    <a:pt x="2600" y="1"/>
                  </a:moveTo>
                  <a:lnTo>
                    <a:pt x="2509" y="46"/>
                  </a:lnTo>
                  <a:lnTo>
                    <a:pt x="2419" y="46"/>
                  </a:lnTo>
                  <a:lnTo>
                    <a:pt x="2193" y="91"/>
                  </a:lnTo>
                  <a:lnTo>
                    <a:pt x="1922" y="137"/>
                  </a:lnTo>
                  <a:lnTo>
                    <a:pt x="1334" y="295"/>
                  </a:lnTo>
                  <a:lnTo>
                    <a:pt x="1" y="702"/>
                  </a:lnTo>
                  <a:lnTo>
                    <a:pt x="294" y="1108"/>
                  </a:lnTo>
                  <a:lnTo>
                    <a:pt x="634" y="1538"/>
                  </a:lnTo>
                  <a:lnTo>
                    <a:pt x="995" y="1967"/>
                  </a:lnTo>
                  <a:lnTo>
                    <a:pt x="1447" y="2397"/>
                  </a:lnTo>
                  <a:lnTo>
                    <a:pt x="1718" y="2668"/>
                  </a:lnTo>
                  <a:lnTo>
                    <a:pt x="2035" y="2917"/>
                  </a:lnTo>
                  <a:lnTo>
                    <a:pt x="2781" y="3482"/>
                  </a:lnTo>
                  <a:lnTo>
                    <a:pt x="3662" y="4092"/>
                  </a:lnTo>
                  <a:lnTo>
                    <a:pt x="4611" y="4747"/>
                  </a:lnTo>
                  <a:lnTo>
                    <a:pt x="6781" y="6149"/>
                  </a:lnTo>
                  <a:lnTo>
                    <a:pt x="7911" y="6917"/>
                  </a:lnTo>
                  <a:lnTo>
                    <a:pt x="9086" y="7708"/>
                  </a:lnTo>
                  <a:lnTo>
                    <a:pt x="10239" y="8522"/>
                  </a:lnTo>
                  <a:lnTo>
                    <a:pt x="11369" y="9358"/>
                  </a:lnTo>
                  <a:lnTo>
                    <a:pt x="12477" y="10217"/>
                  </a:lnTo>
                  <a:lnTo>
                    <a:pt x="12997" y="10669"/>
                  </a:lnTo>
                  <a:lnTo>
                    <a:pt x="13494" y="11121"/>
                  </a:lnTo>
                  <a:lnTo>
                    <a:pt x="13968" y="11573"/>
                  </a:lnTo>
                  <a:lnTo>
                    <a:pt x="14420" y="12025"/>
                  </a:lnTo>
                  <a:lnTo>
                    <a:pt x="14850" y="12477"/>
                  </a:lnTo>
                  <a:lnTo>
                    <a:pt x="15257" y="12952"/>
                  </a:lnTo>
                  <a:lnTo>
                    <a:pt x="15618" y="13404"/>
                  </a:lnTo>
                  <a:lnTo>
                    <a:pt x="15957" y="13878"/>
                  </a:lnTo>
                  <a:lnTo>
                    <a:pt x="16251" y="14353"/>
                  </a:lnTo>
                  <a:lnTo>
                    <a:pt x="16522" y="14827"/>
                  </a:lnTo>
                  <a:lnTo>
                    <a:pt x="16703" y="14986"/>
                  </a:lnTo>
                  <a:lnTo>
                    <a:pt x="16794" y="15099"/>
                  </a:lnTo>
                  <a:lnTo>
                    <a:pt x="16816" y="15234"/>
                  </a:lnTo>
                  <a:lnTo>
                    <a:pt x="16839" y="15460"/>
                  </a:lnTo>
                  <a:lnTo>
                    <a:pt x="16839" y="15573"/>
                  </a:lnTo>
                  <a:lnTo>
                    <a:pt x="16952" y="16003"/>
                  </a:lnTo>
                  <a:lnTo>
                    <a:pt x="17042" y="16432"/>
                  </a:lnTo>
                  <a:lnTo>
                    <a:pt x="17087" y="16862"/>
                  </a:lnTo>
                  <a:lnTo>
                    <a:pt x="17110" y="17291"/>
                  </a:lnTo>
                  <a:lnTo>
                    <a:pt x="17087" y="17607"/>
                  </a:lnTo>
                  <a:lnTo>
                    <a:pt x="17020" y="17969"/>
                  </a:lnTo>
                  <a:lnTo>
                    <a:pt x="16929" y="18331"/>
                  </a:lnTo>
                  <a:lnTo>
                    <a:pt x="16816" y="18737"/>
                  </a:lnTo>
                  <a:lnTo>
                    <a:pt x="16681" y="19122"/>
                  </a:lnTo>
                  <a:lnTo>
                    <a:pt x="16522" y="19551"/>
                  </a:lnTo>
                  <a:lnTo>
                    <a:pt x="16342" y="19981"/>
                  </a:lnTo>
                  <a:lnTo>
                    <a:pt x="16138" y="20433"/>
                  </a:lnTo>
                  <a:lnTo>
                    <a:pt x="15709" y="22670"/>
                  </a:lnTo>
                  <a:lnTo>
                    <a:pt x="15257" y="25066"/>
                  </a:lnTo>
                  <a:lnTo>
                    <a:pt x="14262" y="29925"/>
                  </a:lnTo>
                  <a:lnTo>
                    <a:pt x="13381" y="34152"/>
                  </a:lnTo>
                  <a:lnTo>
                    <a:pt x="12816" y="36932"/>
                  </a:lnTo>
                  <a:lnTo>
                    <a:pt x="12703" y="37542"/>
                  </a:lnTo>
                  <a:lnTo>
                    <a:pt x="12725" y="37632"/>
                  </a:lnTo>
                  <a:lnTo>
                    <a:pt x="12770" y="37700"/>
                  </a:lnTo>
                  <a:lnTo>
                    <a:pt x="12883" y="37768"/>
                  </a:lnTo>
                  <a:lnTo>
                    <a:pt x="13019" y="37813"/>
                  </a:lnTo>
                  <a:lnTo>
                    <a:pt x="13381" y="37903"/>
                  </a:lnTo>
                  <a:lnTo>
                    <a:pt x="13833" y="37971"/>
                  </a:lnTo>
                  <a:lnTo>
                    <a:pt x="14375" y="38039"/>
                  </a:lnTo>
                  <a:lnTo>
                    <a:pt x="14963" y="38062"/>
                  </a:lnTo>
                  <a:lnTo>
                    <a:pt x="16229" y="38084"/>
                  </a:lnTo>
                  <a:lnTo>
                    <a:pt x="17223" y="38084"/>
                  </a:lnTo>
                  <a:lnTo>
                    <a:pt x="18037" y="38062"/>
                  </a:lnTo>
                  <a:lnTo>
                    <a:pt x="18828" y="38016"/>
                  </a:lnTo>
                  <a:lnTo>
                    <a:pt x="19031" y="37248"/>
                  </a:lnTo>
                  <a:lnTo>
                    <a:pt x="19596" y="35191"/>
                  </a:lnTo>
                  <a:lnTo>
                    <a:pt x="20365" y="32140"/>
                  </a:lnTo>
                  <a:lnTo>
                    <a:pt x="20794" y="30355"/>
                  </a:lnTo>
                  <a:lnTo>
                    <a:pt x="21246" y="28433"/>
                  </a:lnTo>
                  <a:lnTo>
                    <a:pt x="21698" y="26422"/>
                  </a:lnTo>
                  <a:lnTo>
                    <a:pt x="22127" y="24365"/>
                  </a:lnTo>
                  <a:lnTo>
                    <a:pt x="22534" y="22331"/>
                  </a:lnTo>
                  <a:lnTo>
                    <a:pt x="22896" y="20320"/>
                  </a:lnTo>
                  <a:lnTo>
                    <a:pt x="23212" y="18376"/>
                  </a:lnTo>
                  <a:lnTo>
                    <a:pt x="23348" y="17449"/>
                  </a:lnTo>
                  <a:lnTo>
                    <a:pt x="23438" y="16545"/>
                  </a:lnTo>
                  <a:lnTo>
                    <a:pt x="23529" y="15709"/>
                  </a:lnTo>
                  <a:lnTo>
                    <a:pt x="23597" y="14895"/>
                  </a:lnTo>
                  <a:lnTo>
                    <a:pt x="23642" y="14127"/>
                  </a:lnTo>
                  <a:lnTo>
                    <a:pt x="23664" y="13426"/>
                  </a:lnTo>
                  <a:lnTo>
                    <a:pt x="23642" y="12861"/>
                  </a:lnTo>
                  <a:lnTo>
                    <a:pt x="23619" y="12341"/>
                  </a:lnTo>
                  <a:lnTo>
                    <a:pt x="23551" y="11844"/>
                  </a:lnTo>
                  <a:lnTo>
                    <a:pt x="23461" y="11415"/>
                  </a:lnTo>
                  <a:lnTo>
                    <a:pt x="23325" y="11030"/>
                  </a:lnTo>
                  <a:lnTo>
                    <a:pt x="23258" y="10895"/>
                  </a:lnTo>
                  <a:lnTo>
                    <a:pt x="23167" y="10759"/>
                  </a:lnTo>
                  <a:lnTo>
                    <a:pt x="23054" y="10601"/>
                  </a:lnTo>
                  <a:lnTo>
                    <a:pt x="22873" y="10420"/>
                  </a:lnTo>
                  <a:lnTo>
                    <a:pt x="22625" y="10217"/>
                  </a:lnTo>
                  <a:lnTo>
                    <a:pt x="22331" y="9991"/>
                  </a:lnTo>
                  <a:lnTo>
                    <a:pt x="21608" y="9471"/>
                  </a:lnTo>
                  <a:lnTo>
                    <a:pt x="20681" y="8883"/>
                  </a:lnTo>
                  <a:lnTo>
                    <a:pt x="19619" y="8228"/>
                  </a:lnTo>
                  <a:lnTo>
                    <a:pt x="18398" y="7527"/>
                  </a:lnTo>
                  <a:lnTo>
                    <a:pt x="17042" y="6781"/>
                  </a:lnTo>
                  <a:lnTo>
                    <a:pt x="15596" y="6013"/>
                  </a:lnTo>
                  <a:lnTo>
                    <a:pt x="14059" y="5222"/>
                  </a:lnTo>
                  <a:lnTo>
                    <a:pt x="12477" y="4408"/>
                  </a:lnTo>
                  <a:lnTo>
                    <a:pt x="10827" y="3617"/>
                  </a:lnTo>
                  <a:lnTo>
                    <a:pt x="9154" y="2826"/>
                  </a:lnTo>
                  <a:lnTo>
                    <a:pt x="7482" y="2058"/>
                  </a:lnTo>
                  <a:lnTo>
                    <a:pt x="5809" y="1312"/>
                  </a:lnTo>
                  <a:lnTo>
                    <a:pt x="4182" y="634"/>
                  </a:lnTo>
                  <a:lnTo>
                    <a:pt x="2600" y="1"/>
                  </a:lnTo>
                  <a:close/>
                </a:path>
              </a:pathLst>
            </a:custGeom>
            <a:solidFill>
              <a:srgbClr val="3B3A3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8" name="Google Shape;1795;p16">
              <a:extLst>
                <a:ext uri="{FF2B5EF4-FFF2-40B4-BE49-F238E27FC236}">
                  <a16:creationId xmlns:a16="http://schemas.microsoft.com/office/drawing/2014/main" id="{29335F52-6BDA-18D9-B551-9EF3C0821616}"/>
                </a:ext>
              </a:extLst>
            </p:cNvPr>
            <p:cNvSpPr/>
            <p:nvPr/>
          </p:nvSpPr>
          <p:spPr>
            <a:xfrm>
              <a:off x="2779075" y="2468450"/>
              <a:ext cx="591625" cy="952125"/>
            </a:xfrm>
            <a:custGeom>
              <a:avLst/>
              <a:gdLst/>
              <a:ahLst/>
              <a:cxnLst/>
              <a:rect l="l" t="t" r="r" b="b"/>
              <a:pathLst>
                <a:path w="23665" h="38085" fill="none" extrusionOk="0">
                  <a:moveTo>
                    <a:pt x="2600" y="1"/>
                  </a:moveTo>
                  <a:lnTo>
                    <a:pt x="2600" y="1"/>
                  </a:lnTo>
                  <a:lnTo>
                    <a:pt x="2509" y="46"/>
                  </a:lnTo>
                  <a:lnTo>
                    <a:pt x="2419" y="46"/>
                  </a:lnTo>
                  <a:lnTo>
                    <a:pt x="2419" y="46"/>
                  </a:lnTo>
                  <a:lnTo>
                    <a:pt x="2193" y="91"/>
                  </a:lnTo>
                  <a:lnTo>
                    <a:pt x="1922" y="137"/>
                  </a:lnTo>
                  <a:lnTo>
                    <a:pt x="1334" y="295"/>
                  </a:lnTo>
                  <a:lnTo>
                    <a:pt x="1" y="702"/>
                  </a:lnTo>
                  <a:lnTo>
                    <a:pt x="1" y="702"/>
                  </a:lnTo>
                  <a:lnTo>
                    <a:pt x="294" y="1108"/>
                  </a:lnTo>
                  <a:lnTo>
                    <a:pt x="634" y="1538"/>
                  </a:lnTo>
                  <a:lnTo>
                    <a:pt x="995" y="1967"/>
                  </a:lnTo>
                  <a:lnTo>
                    <a:pt x="1447" y="2397"/>
                  </a:lnTo>
                  <a:lnTo>
                    <a:pt x="1447" y="2397"/>
                  </a:lnTo>
                  <a:lnTo>
                    <a:pt x="1718" y="2668"/>
                  </a:lnTo>
                  <a:lnTo>
                    <a:pt x="2035" y="2917"/>
                  </a:lnTo>
                  <a:lnTo>
                    <a:pt x="2781" y="3482"/>
                  </a:lnTo>
                  <a:lnTo>
                    <a:pt x="3662" y="4092"/>
                  </a:lnTo>
                  <a:lnTo>
                    <a:pt x="4611" y="4747"/>
                  </a:lnTo>
                  <a:lnTo>
                    <a:pt x="6781" y="6149"/>
                  </a:lnTo>
                  <a:lnTo>
                    <a:pt x="7911" y="6917"/>
                  </a:lnTo>
                  <a:lnTo>
                    <a:pt x="9086" y="7708"/>
                  </a:lnTo>
                  <a:lnTo>
                    <a:pt x="10239" y="8522"/>
                  </a:lnTo>
                  <a:lnTo>
                    <a:pt x="11369" y="9358"/>
                  </a:lnTo>
                  <a:lnTo>
                    <a:pt x="12477" y="10217"/>
                  </a:lnTo>
                  <a:lnTo>
                    <a:pt x="12997" y="10669"/>
                  </a:lnTo>
                  <a:lnTo>
                    <a:pt x="13494" y="11121"/>
                  </a:lnTo>
                  <a:lnTo>
                    <a:pt x="13968" y="11573"/>
                  </a:lnTo>
                  <a:lnTo>
                    <a:pt x="14420" y="12025"/>
                  </a:lnTo>
                  <a:lnTo>
                    <a:pt x="14850" y="12477"/>
                  </a:lnTo>
                  <a:lnTo>
                    <a:pt x="15257" y="12952"/>
                  </a:lnTo>
                  <a:lnTo>
                    <a:pt x="15618" y="13404"/>
                  </a:lnTo>
                  <a:lnTo>
                    <a:pt x="15957" y="13878"/>
                  </a:lnTo>
                  <a:lnTo>
                    <a:pt x="16251" y="14353"/>
                  </a:lnTo>
                  <a:lnTo>
                    <a:pt x="16522" y="14827"/>
                  </a:lnTo>
                  <a:lnTo>
                    <a:pt x="16522" y="14827"/>
                  </a:lnTo>
                  <a:lnTo>
                    <a:pt x="16703" y="14986"/>
                  </a:lnTo>
                  <a:lnTo>
                    <a:pt x="16794" y="15099"/>
                  </a:lnTo>
                  <a:lnTo>
                    <a:pt x="16794" y="15099"/>
                  </a:lnTo>
                  <a:lnTo>
                    <a:pt x="16794" y="15099"/>
                  </a:lnTo>
                  <a:lnTo>
                    <a:pt x="16816" y="15234"/>
                  </a:lnTo>
                  <a:lnTo>
                    <a:pt x="16839" y="15460"/>
                  </a:lnTo>
                  <a:lnTo>
                    <a:pt x="16839" y="15460"/>
                  </a:lnTo>
                  <a:lnTo>
                    <a:pt x="16839" y="15460"/>
                  </a:lnTo>
                  <a:lnTo>
                    <a:pt x="16839" y="15573"/>
                  </a:lnTo>
                  <a:lnTo>
                    <a:pt x="16839" y="15573"/>
                  </a:lnTo>
                  <a:lnTo>
                    <a:pt x="16952" y="16003"/>
                  </a:lnTo>
                  <a:lnTo>
                    <a:pt x="17042" y="16432"/>
                  </a:lnTo>
                  <a:lnTo>
                    <a:pt x="17087" y="16862"/>
                  </a:lnTo>
                  <a:lnTo>
                    <a:pt x="17110" y="17291"/>
                  </a:lnTo>
                  <a:lnTo>
                    <a:pt x="17110" y="17291"/>
                  </a:lnTo>
                  <a:lnTo>
                    <a:pt x="17087" y="17607"/>
                  </a:lnTo>
                  <a:lnTo>
                    <a:pt x="17020" y="17969"/>
                  </a:lnTo>
                  <a:lnTo>
                    <a:pt x="16929" y="18331"/>
                  </a:lnTo>
                  <a:lnTo>
                    <a:pt x="16816" y="18737"/>
                  </a:lnTo>
                  <a:lnTo>
                    <a:pt x="16681" y="19122"/>
                  </a:lnTo>
                  <a:lnTo>
                    <a:pt x="16522" y="19551"/>
                  </a:lnTo>
                  <a:lnTo>
                    <a:pt x="16342" y="19981"/>
                  </a:lnTo>
                  <a:lnTo>
                    <a:pt x="16138" y="20433"/>
                  </a:lnTo>
                  <a:lnTo>
                    <a:pt x="16138" y="20433"/>
                  </a:lnTo>
                  <a:lnTo>
                    <a:pt x="15709" y="22670"/>
                  </a:lnTo>
                  <a:lnTo>
                    <a:pt x="15257" y="25066"/>
                  </a:lnTo>
                  <a:lnTo>
                    <a:pt x="14262" y="29925"/>
                  </a:lnTo>
                  <a:lnTo>
                    <a:pt x="13381" y="34152"/>
                  </a:lnTo>
                  <a:lnTo>
                    <a:pt x="12816" y="36932"/>
                  </a:lnTo>
                  <a:lnTo>
                    <a:pt x="12703" y="37542"/>
                  </a:lnTo>
                  <a:lnTo>
                    <a:pt x="12703" y="37542"/>
                  </a:lnTo>
                  <a:lnTo>
                    <a:pt x="12703" y="37542"/>
                  </a:lnTo>
                  <a:lnTo>
                    <a:pt x="12703" y="37542"/>
                  </a:lnTo>
                  <a:lnTo>
                    <a:pt x="12703" y="37542"/>
                  </a:lnTo>
                  <a:lnTo>
                    <a:pt x="12725" y="37632"/>
                  </a:lnTo>
                  <a:lnTo>
                    <a:pt x="12770" y="37700"/>
                  </a:lnTo>
                  <a:lnTo>
                    <a:pt x="12883" y="37768"/>
                  </a:lnTo>
                  <a:lnTo>
                    <a:pt x="13019" y="37813"/>
                  </a:lnTo>
                  <a:lnTo>
                    <a:pt x="13381" y="37903"/>
                  </a:lnTo>
                  <a:lnTo>
                    <a:pt x="13833" y="37971"/>
                  </a:lnTo>
                  <a:lnTo>
                    <a:pt x="14375" y="38039"/>
                  </a:lnTo>
                  <a:lnTo>
                    <a:pt x="14963" y="38062"/>
                  </a:lnTo>
                  <a:lnTo>
                    <a:pt x="16229" y="38084"/>
                  </a:lnTo>
                  <a:lnTo>
                    <a:pt x="16229" y="38084"/>
                  </a:lnTo>
                  <a:lnTo>
                    <a:pt x="17223" y="38084"/>
                  </a:lnTo>
                  <a:lnTo>
                    <a:pt x="18037" y="38062"/>
                  </a:lnTo>
                  <a:lnTo>
                    <a:pt x="18828" y="38016"/>
                  </a:lnTo>
                  <a:lnTo>
                    <a:pt x="18828" y="38016"/>
                  </a:lnTo>
                  <a:lnTo>
                    <a:pt x="19031" y="37248"/>
                  </a:lnTo>
                  <a:lnTo>
                    <a:pt x="19596" y="35191"/>
                  </a:lnTo>
                  <a:lnTo>
                    <a:pt x="20365" y="32140"/>
                  </a:lnTo>
                  <a:lnTo>
                    <a:pt x="20794" y="30355"/>
                  </a:lnTo>
                  <a:lnTo>
                    <a:pt x="21246" y="28433"/>
                  </a:lnTo>
                  <a:lnTo>
                    <a:pt x="21698" y="26422"/>
                  </a:lnTo>
                  <a:lnTo>
                    <a:pt x="22127" y="24365"/>
                  </a:lnTo>
                  <a:lnTo>
                    <a:pt x="22534" y="22331"/>
                  </a:lnTo>
                  <a:lnTo>
                    <a:pt x="22896" y="20320"/>
                  </a:lnTo>
                  <a:lnTo>
                    <a:pt x="23212" y="18376"/>
                  </a:lnTo>
                  <a:lnTo>
                    <a:pt x="23348" y="17449"/>
                  </a:lnTo>
                  <a:lnTo>
                    <a:pt x="23438" y="16545"/>
                  </a:lnTo>
                  <a:lnTo>
                    <a:pt x="23529" y="15709"/>
                  </a:lnTo>
                  <a:lnTo>
                    <a:pt x="23597" y="14895"/>
                  </a:lnTo>
                  <a:lnTo>
                    <a:pt x="23642" y="14127"/>
                  </a:lnTo>
                  <a:lnTo>
                    <a:pt x="23664" y="13426"/>
                  </a:lnTo>
                  <a:lnTo>
                    <a:pt x="23664" y="13426"/>
                  </a:lnTo>
                  <a:lnTo>
                    <a:pt x="23642" y="12861"/>
                  </a:lnTo>
                  <a:lnTo>
                    <a:pt x="23619" y="12341"/>
                  </a:lnTo>
                  <a:lnTo>
                    <a:pt x="23619" y="12341"/>
                  </a:lnTo>
                  <a:lnTo>
                    <a:pt x="23551" y="11844"/>
                  </a:lnTo>
                  <a:lnTo>
                    <a:pt x="23461" y="11415"/>
                  </a:lnTo>
                  <a:lnTo>
                    <a:pt x="23325" y="11030"/>
                  </a:lnTo>
                  <a:lnTo>
                    <a:pt x="23258" y="10895"/>
                  </a:lnTo>
                  <a:lnTo>
                    <a:pt x="23167" y="10759"/>
                  </a:lnTo>
                  <a:lnTo>
                    <a:pt x="23167" y="10759"/>
                  </a:lnTo>
                  <a:lnTo>
                    <a:pt x="23054" y="10601"/>
                  </a:lnTo>
                  <a:lnTo>
                    <a:pt x="22873" y="10420"/>
                  </a:lnTo>
                  <a:lnTo>
                    <a:pt x="22625" y="10217"/>
                  </a:lnTo>
                  <a:lnTo>
                    <a:pt x="22331" y="9991"/>
                  </a:lnTo>
                  <a:lnTo>
                    <a:pt x="21608" y="9471"/>
                  </a:lnTo>
                  <a:lnTo>
                    <a:pt x="20681" y="8883"/>
                  </a:lnTo>
                  <a:lnTo>
                    <a:pt x="19619" y="8228"/>
                  </a:lnTo>
                  <a:lnTo>
                    <a:pt x="18398" y="7527"/>
                  </a:lnTo>
                  <a:lnTo>
                    <a:pt x="17042" y="6781"/>
                  </a:lnTo>
                  <a:lnTo>
                    <a:pt x="15596" y="6013"/>
                  </a:lnTo>
                  <a:lnTo>
                    <a:pt x="14059" y="5222"/>
                  </a:lnTo>
                  <a:lnTo>
                    <a:pt x="12477" y="4408"/>
                  </a:lnTo>
                  <a:lnTo>
                    <a:pt x="10827" y="3617"/>
                  </a:lnTo>
                  <a:lnTo>
                    <a:pt x="9154" y="2826"/>
                  </a:lnTo>
                  <a:lnTo>
                    <a:pt x="7482" y="2058"/>
                  </a:lnTo>
                  <a:lnTo>
                    <a:pt x="5809" y="1312"/>
                  </a:lnTo>
                  <a:lnTo>
                    <a:pt x="4182" y="634"/>
                  </a:lnTo>
                  <a:lnTo>
                    <a:pt x="260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9" name="Google Shape;1796;p16">
              <a:extLst>
                <a:ext uri="{FF2B5EF4-FFF2-40B4-BE49-F238E27FC236}">
                  <a16:creationId xmlns:a16="http://schemas.microsoft.com/office/drawing/2014/main" id="{E1009B72-0C2B-90C0-BB58-47B5DBCDCB8F}"/>
                </a:ext>
              </a:extLst>
            </p:cNvPr>
            <p:cNvSpPr/>
            <p:nvPr/>
          </p:nvSpPr>
          <p:spPr>
            <a:xfrm>
              <a:off x="3099450" y="2845900"/>
              <a:ext cx="100600" cy="545850"/>
            </a:xfrm>
            <a:custGeom>
              <a:avLst/>
              <a:gdLst/>
              <a:ahLst/>
              <a:cxnLst/>
              <a:rect l="l" t="t" r="r" b="b"/>
              <a:pathLst>
                <a:path w="4024" h="21834" extrusionOk="0">
                  <a:moveTo>
                    <a:pt x="3979" y="1"/>
                  </a:moveTo>
                  <a:lnTo>
                    <a:pt x="3933" y="249"/>
                  </a:lnTo>
                  <a:lnTo>
                    <a:pt x="4024" y="475"/>
                  </a:lnTo>
                  <a:lnTo>
                    <a:pt x="4024" y="362"/>
                  </a:lnTo>
                  <a:lnTo>
                    <a:pt x="4001" y="136"/>
                  </a:lnTo>
                  <a:lnTo>
                    <a:pt x="3979" y="1"/>
                  </a:lnTo>
                  <a:close/>
                  <a:moveTo>
                    <a:pt x="3323" y="5335"/>
                  </a:moveTo>
                  <a:lnTo>
                    <a:pt x="2826" y="6239"/>
                  </a:lnTo>
                  <a:lnTo>
                    <a:pt x="1" y="21834"/>
                  </a:lnTo>
                  <a:lnTo>
                    <a:pt x="566" y="19054"/>
                  </a:lnTo>
                  <a:lnTo>
                    <a:pt x="1447" y="14827"/>
                  </a:lnTo>
                  <a:lnTo>
                    <a:pt x="2442" y="9968"/>
                  </a:lnTo>
                  <a:lnTo>
                    <a:pt x="2894" y="7572"/>
                  </a:lnTo>
                  <a:lnTo>
                    <a:pt x="3323" y="5335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0" name="Google Shape;1797;p16">
              <a:extLst>
                <a:ext uri="{FF2B5EF4-FFF2-40B4-BE49-F238E27FC236}">
                  <a16:creationId xmlns:a16="http://schemas.microsoft.com/office/drawing/2014/main" id="{77A3741A-8B1E-531B-7C93-0AAB3022E444}"/>
                </a:ext>
              </a:extLst>
            </p:cNvPr>
            <p:cNvSpPr/>
            <p:nvPr/>
          </p:nvSpPr>
          <p:spPr>
            <a:xfrm>
              <a:off x="3099450" y="2979250"/>
              <a:ext cx="83100" cy="412500"/>
            </a:xfrm>
            <a:custGeom>
              <a:avLst/>
              <a:gdLst/>
              <a:ahLst/>
              <a:cxnLst/>
              <a:rect l="l" t="t" r="r" b="b"/>
              <a:pathLst>
                <a:path w="3324" h="16500" fill="none" extrusionOk="0">
                  <a:moveTo>
                    <a:pt x="3323" y="1"/>
                  </a:moveTo>
                  <a:lnTo>
                    <a:pt x="3323" y="1"/>
                  </a:lnTo>
                  <a:lnTo>
                    <a:pt x="2826" y="905"/>
                  </a:lnTo>
                  <a:lnTo>
                    <a:pt x="1" y="16500"/>
                  </a:lnTo>
                  <a:lnTo>
                    <a:pt x="1" y="16500"/>
                  </a:lnTo>
                  <a:lnTo>
                    <a:pt x="566" y="13720"/>
                  </a:lnTo>
                  <a:lnTo>
                    <a:pt x="1447" y="9493"/>
                  </a:lnTo>
                  <a:lnTo>
                    <a:pt x="2442" y="4634"/>
                  </a:lnTo>
                  <a:lnTo>
                    <a:pt x="2894" y="2238"/>
                  </a:lnTo>
                  <a:lnTo>
                    <a:pt x="3323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1" name="Google Shape;1798;p16">
              <a:extLst>
                <a:ext uri="{FF2B5EF4-FFF2-40B4-BE49-F238E27FC236}">
                  <a16:creationId xmlns:a16="http://schemas.microsoft.com/office/drawing/2014/main" id="{88830ACC-1600-6365-8376-3D15323AB0FB}"/>
                </a:ext>
              </a:extLst>
            </p:cNvPr>
            <p:cNvSpPr/>
            <p:nvPr/>
          </p:nvSpPr>
          <p:spPr>
            <a:xfrm>
              <a:off x="3197775" y="2845900"/>
              <a:ext cx="2275" cy="11900"/>
            </a:xfrm>
            <a:custGeom>
              <a:avLst/>
              <a:gdLst/>
              <a:ahLst/>
              <a:cxnLst/>
              <a:rect l="l" t="t" r="r" b="b"/>
              <a:pathLst>
                <a:path w="91" h="476" fill="none" extrusionOk="0">
                  <a:moveTo>
                    <a:pt x="46" y="1"/>
                  </a:moveTo>
                  <a:lnTo>
                    <a:pt x="0" y="249"/>
                  </a:lnTo>
                  <a:lnTo>
                    <a:pt x="0" y="249"/>
                  </a:lnTo>
                  <a:lnTo>
                    <a:pt x="91" y="475"/>
                  </a:lnTo>
                  <a:lnTo>
                    <a:pt x="91" y="475"/>
                  </a:lnTo>
                  <a:lnTo>
                    <a:pt x="91" y="362"/>
                  </a:lnTo>
                  <a:lnTo>
                    <a:pt x="91" y="362"/>
                  </a:lnTo>
                  <a:lnTo>
                    <a:pt x="68" y="136"/>
                  </a:lnTo>
                  <a:lnTo>
                    <a:pt x="46" y="1"/>
                  </a:lnTo>
                  <a:lnTo>
                    <a:pt x="4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2" name="Google Shape;1799;p16">
              <a:extLst>
                <a:ext uri="{FF2B5EF4-FFF2-40B4-BE49-F238E27FC236}">
                  <a16:creationId xmlns:a16="http://schemas.microsoft.com/office/drawing/2014/main" id="{A235EFC7-E5D3-7A20-88FD-7CA5CD992A31}"/>
                </a:ext>
              </a:extLst>
            </p:cNvPr>
            <p:cNvSpPr/>
            <p:nvPr/>
          </p:nvSpPr>
          <p:spPr>
            <a:xfrm>
              <a:off x="3096625" y="3391725"/>
              <a:ext cx="2850" cy="15275"/>
            </a:xfrm>
            <a:custGeom>
              <a:avLst/>
              <a:gdLst/>
              <a:ahLst/>
              <a:cxnLst/>
              <a:rect l="l" t="t" r="r" b="b"/>
              <a:pathLst>
                <a:path w="114" h="611" extrusionOk="0">
                  <a:moveTo>
                    <a:pt x="114" y="1"/>
                  </a:moveTo>
                  <a:lnTo>
                    <a:pt x="114" y="1"/>
                  </a:lnTo>
                  <a:lnTo>
                    <a:pt x="1" y="611"/>
                  </a:lnTo>
                  <a:lnTo>
                    <a:pt x="114" y="1"/>
                  </a:lnTo>
                  <a:close/>
                </a:path>
              </a:pathLst>
            </a:custGeom>
            <a:solidFill>
              <a:srgbClr val="3A393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3" name="Google Shape;1800;p16">
              <a:extLst>
                <a:ext uri="{FF2B5EF4-FFF2-40B4-BE49-F238E27FC236}">
                  <a16:creationId xmlns:a16="http://schemas.microsoft.com/office/drawing/2014/main" id="{4DE3FA85-2B59-85FE-AD3B-B38346B61A65}"/>
                </a:ext>
              </a:extLst>
            </p:cNvPr>
            <p:cNvSpPr/>
            <p:nvPr/>
          </p:nvSpPr>
          <p:spPr>
            <a:xfrm>
              <a:off x="3096625" y="3391725"/>
              <a:ext cx="2850" cy="15275"/>
            </a:xfrm>
            <a:custGeom>
              <a:avLst/>
              <a:gdLst/>
              <a:ahLst/>
              <a:cxnLst/>
              <a:rect l="l" t="t" r="r" b="b"/>
              <a:pathLst>
                <a:path w="114" h="611" fill="none" extrusionOk="0">
                  <a:moveTo>
                    <a:pt x="114" y="1"/>
                  </a:moveTo>
                  <a:lnTo>
                    <a:pt x="114" y="1"/>
                  </a:lnTo>
                  <a:lnTo>
                    <a:pt x="1" y="611"/>
                  </a:lnTo>
                  <a:lnTo>
                    <a:pt x="114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4" name="Google Shape;1801;p16">
              <a:extLst>
                <a:ext uri="{FF2B5EF4-FFF2-40B4-BE49-F238E27FC236}">
                  <a16:creationId xmlns:a16="http://schemas.microsoft.com/office/drawing/2014/main" id="{52AB4E9C-700F-055D-1B64-A051254ACE2E}"/>
                </a:ext>
              </a:extLst>
            </p:cNvPr>
            <p:cNvSpPr/>
            <p:nvPr/>
          </p:nvSpPr>
          <p:spPr>
            <a:xfrm>
              <a:off x="2839550" y="2114175"/>
              <a:ext cx="453725" cy="255425"/>
            </a:xfrm>
            <a:custGeom>
              <a:avLst/>
              <a:gdLst/>
              <a:ahLst/>
              <a:cxnLst/>
              <a:rect l="l" t="t" r="r" b="b"/>
              <a:pathLst>
                <a:path w="18149" h="10217" extrusionOk="0">
                  <a:moveTo>
                    <a:pt x="3707" y="1"/>
                  </a:moveTo>
                  <a:lnTo>
                    <a:pt x="0" y="2532"/>
                  </a:lnTo>
                  <a:lnTo>
                    <a:pt x="407" y="3662"/>
                  </a:lnTo>
                  <a:lnTo>
                    <a:pt x="836" y="4838"/>
                  </a:lnTo>
                  <a:lnTo>
                    <a:pt x="1401" y="6194"/>
                  </a:lnTo>
                  <a:lnTo>
                    <a:pt x="1695" y="6872"/>
                  </a:lnTo>
                  <a:lnTo>
                    <a:pt x="2012" y="7550"/>
                  </a:lnTo>
                  <a:lnTo>
                    <a:pt x="2328" y="8205"/>
                  </a:lnTo>
                  <a:lnTo>
                    <a:pt x="2667" y="8793"/>
                  </a:lnTo>
                  <a:lnTo>
                    <a:pt x="2983" y="9290"/>
                  </a:lnTo>
                  <a:lnTo>
                    <a:pt x="3142" y="9516"/>
                  </a:lnTo>
                  <a:lnTo>
                    <a:pt x="3300" y="9720"/>
                  </a:lnTo>
                  <a:lnTo>
                    <a:pt x="3458" y="9878"/>
                  </a:lnTo>
                  <a:lnTo>
                    <a:pt x="3594" y="10013"/>
                  </a:lnTo>
                  <a:lnTo>
                    <a:pt x="3752" y="10104"/>
                  </a:lnTo>
                  <a:lnTo>
                    <a:pt x="3887" y="10172"/>
                  </a:lnTo>
                  <a:lnTo>
                    <a:pt x="4046" y="10194"/>
                  </a:lnTo>
                  <a:lnTo>
                    <a:pt x="4272" y="10217"/>
                  </a:lnTo>
                  <a:lnTo>
                    <a:pt x="4837" y="10217"/>
                  </a:lnTo>
                  <a:lnTo>
                    <a:pt x="5560" y="10149"/>
                  </a:lnTo>
                  <a:lnTo>
                    <a:pt x="6419" y="10059"/>
                  </a:lnTo>
                  <a:lnTo>
                    <a:pt x="7368" y="9900"/>
                  </a:lnTo>
                  <a:lnTo>
                    <a:pt x="8385" y="9742"/>
                  </a:lnTo>
                  <a:lnTo>
                    <a:pt x="10555" y="9358"/>
                  </a:lnTo>
                  <a:lnTo>
                    <a:pt x="12679" y="8928"/>
                  </a:lnTo>
                  <a:lnTo>
                    <a:pt x="14510" y="8544"/>
                  </a:lnTo>
                  <a:lnTo>
                    <a:pt x="15866" y="8273"/>
                  </a:lnTo>
                  <a:lnTo>
                    <a:pt x="16476" y="8160"/>
                  </a:lnTo>
                  <a:lnTo>
                    <a:pt x="16589" y="8137"/>
                  </a:lnTo>
                  <a:lnTo>
                    <a:pt x="16702" y="8047"/>
                  </a:lnTo>
                  <a:lnTo>
                    <a:pt x="16838" y="7934"/>
                  </a:lnTo>
                  <a:lnTo>
                    <a:pt x="16974" y="7798"/>
                  </a:lnTo>
                  <a:lnTo>
                    <a:pt x="17290" y="7437"/>
                  </a:lnTo>
                  <a:lnTo>
                    <a:pt x="17584" y="7007"/>
                  </a:lnTo>
                  <a:lnTo>
                    <a:pt x="17855" y="6578"/>
                  </a:lnTo>
                  <a:lnTo>
                    <a:pt x="17968" y="6352"/>
                  </a:lnTo>
                  <a:lnTo>
                    <a:pt x="18059" y="6148"/>
                  </a:lnTo>
                  <a:lnTo>
                    <a:pt x="18104" y="5968"/>
                  </a:lnTo>
                  <a:lnTo>
                    <a:pt x="18149" y="5809"/>
                  </a:lnTo>
                  <a:lnTo>
                    <a:pt x="18149" y="5674"/>
                  </a:lnTo>
                  <a:lnTo>
                    <a:pt x="18104" y="5583"/>
                  </a:lnTo>
                  <a:lnTo>
                    <a:pt x="18036" y="5561"/>
                  </a:lnTo>
                  <a:lnTo>
                    <a:pt x="17878" y="5538"/>
                  </a:lnTo>
                  <a:lnTo>
                    <a:pt x="17335" y="5516"/>
                  </a:lnTo>
                  <a:lnTo>
                    <a:pt x="16544" y="5538"/>
                  </a:lnTo>
                  <a:lnTo>
                    <a:pt x="15550" y="5606"/>
                  </a:lnTo>
                  <a:lnTo>
                    <a:pt x="13131" y="5787"/>
                  </a:lnTo>
                  <a:lnTo>
                    <a:pt x="10487" y="6013"/>
                  </a:lnTo>
                  <a:lnTo>
                    <a:pt x="6735" y="6375"/>
                  </a:lnTo>
                  <a:lnTo>
                    <a:pt x="5447" y="6488"/>
                  </a:lnTo>
                  <a:lnTo>
                    <a:pt x="4814" y="6533"/>
                  </a:lnTo>
                  <a:lnTo>
                    <a:pt x="4746" y="6510"/>
                  </a:lnTo>
                  <a:lnTo>
                    <a:pt x="4679" y="6465"/>
                  </a:lnTo>
                  <a:lnTo>
                    <a:pt x="4633" y="6397"/>
                  </a:lnTo>
                  <a:lnTo>
                    <a:pt x="4566" y="6307"/>
                  </a:lnTo>
                  <a:lnTo>
                    <a:pt x="4475" y="6058"/>
                  </a:lnTo>
                  <a:lnTo>
                    <a:pt x="4407" y="5719"/>
                  </a:lnTo>
                  <a:lnTo>
                    <a:pt x="4340" y="5335"/>
                  </a:lnTo>
                  <a:lnTo>
                    <a:pt x="4272" y="4883"/>
                  </a:lnTo>
                  <a:lnTo>
                    <a:pt x="4181" y="3866"/>
                  </a:lnTo>
                  <a:lnTo>
                    <a:pt x="4091" y="2781"/>
                  </a:lnTo>
                  <a:lnTo>
                    <a:pt x="4000" y="1696"/>
                  </a:lnTo>
                  <a:lnTo>
                    <a:pt x="3955" y="1199"/>
                  </a:lnTo>
                  <a:lnTo>
                    <a:pt x="3865" y="747"/>
                  </a:lnTo>
                  <a:lnTo>
                    <a:pt x="3797" y="340"/>
                  </a:lnTo>
                  <a:lnTo>
                    <a:pt x="3707" y="1"/>
                  </a:lnTo>
                  <a:close/>
                </a:path>
              </a:pathLst>
            </a:custGeom>
            <a:solidFill>
              <a:srgbClr val="DE36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5" name="Google Shape;1802;p16">
              <a:extLst>
                <a:ext uri="{FF2B5EF4-FFF2-40B4-BE49-F238E27FC236}">
                  <a16:creationId xmlns:a16="http://schemas.microsoft.com/office/drawing/2014/main" id="{92142CD3-4997-E6BA-7087-BC7B370B4BE5}"/>
                </a:ext>
              </a:extLst>
            </p:cNvPr>
            <p:cNvSpPr/>
            <p:nvPr/>
          </p:nvSpPr>
          <p:spPr>
            <a:xfrm>
              <a:off x="2839550" y="2114175"/>
              <a:ext cx="453725" cy="255425"/>
            </a:xfrm>
            <a:custGeom>
              <a:avLst/>
              <a:gdLst/>
              <a:ahLst/>
              <a:cxnLst/>
              <a:rect l="l" t="t" r="r" b="b"/>
              <a:pathLst>
                <a:path w="18149" h="10217" fill="none" extrusionOk="0">
                  <a:moveTo>
                    <a:pt x="3707" y="1"/>
                  </a:moveTo>
                  <a:lnTo>
                    <a:pt x="3707" y="1"/>
                  </a:lnTo>
                  <a:lnTo>
                    <a:pt x="3797" y="340"/>
                  </a:lnTo>
                  <a:lnTo>
                    <a:pt x="3865" y="747"/>
                  </a:lnTo>
                  <a:lnTo>
                    <a:pt x="3955" y="1199"/>
                  </a:lnTo>
                  <a:lnTo>
                    <a:pt x="4000" y="1696"/>
                  </a:lnTo>
                  <a:lnTo>
                    <a:pt x="4091" y="2781"/>
                  </a:lnTo>
                  <a:lnTo>
                    <a:pt x="4181" y="3866"/>
                  </a:lnTo>
                  <a:lnTo>
                    <a:pt x="4272" y="4883"/>
                  </a:lnTo>
                  <a:lnTo>
                    <a:pt x="4340" y="5335"/>
                  </a:lnTo>
                  <a:lnTo>
                    <a:pt x="4407" y="5719"/>
                  </a:lnTo>
                  <a:lnTo>
                    <a:pt x="4475" y="6058"/>
                  </a:lnTo>
                  <a:lnTo>
                    <a:pt x="4566" y="6307"/>
                  </a:lnTo>
                  <a:lnTo>
                    <a:pt x="4633" y="6397"/>
                  </a:lnTo>
                  <a:lnTo>
                    <a:pt x="4679" y="6465"/>
                  </a:lnTo>
                  <a:lnTo>
                    <a:pt x="4746" y="6510"/>
                  </a:lnTo>
                  <a:lnTo>
                    <a:pt x="4814" y="6533"/>
                  </a:lnTo>
                  <a:lnTo>
                    <a:pt x="4814" y="6533"/>
                  </a:lnTo>
                  <a:lnTo>
                    <a:pt x="5447" y="6488"/>
                  </a:lnTo>
                  <a:lnTo>
                    <a:pt x="6735" y="6375"/>
                  </a:lnTo>
                  <a:lnTo>
                    <a:pt x="10487" y="6013"/>
                  </a:lnTo>
                  <a:lnTo>
                    <a:pt x="10487" y="6013"/>
                  </a:lnTo>
                  <a:lnTo>
                    <a:pt x="13131" y="5787"/>
                  </a:lnTo>
                  <a:lnTo>
                    <a:pt x="15550" y="5606"/>
                  </a:lnTo>
                  <a:lnTo>
                    <a:pt x="16544" y="5538"/>
                  </a:lnTo>
                  <a:lnTo>
                    <a:pt x="17335" y="5516"/>
                  </a:lnTo>
                  <a:lnTo>
                    <a:pt x="17878" y="5538"/>
                  </a:lnTo>
                  <a:lnTo>
                    <a:pt x="18036" y="5561"/>
                  </a:lnTo>
                  <a:lnTo>
                    <a:pt x="18104" y="5583"/>
                  </a:lnTo>
                  <a:lnTo>
                    <a:pt x="18104" y="5583"/>
                  </a:lnTo>
                  <a:lnTo>
                    <a:pt x="18149" y="5674"/>
                  </a:lnTo>
                  <a:lnTo>
                    <a:pt x="18149" y="5809"/>
                  </a:lnTo>
                  <a:lnTo>
                    <a:pt x="18104" y="5968"/>
                  </a:lnTo>
                  <a:lnTo>
                    <a:pt x="18059" y="6148"/>
                  </a:lnTo>
                  <a:lnTo>
                    <a:pt x="17968" y="6352"/>
                  </a:lnTo>
                  <a:lnTo>
                    <a:pt x="17855" y="6578"/>
                  </a:lnTo>
                  <a:lnTo>
                    <a:pt x="17584" y="7007"/>
                  </a:lnTo>
                  <a:lnTo>
                    <a:pt x="17290" y="7437"/>
                  </a:lnTo>
                  <a:lnTo>
                    <a:pt x="16974" y="7798"/>
                  </a:lnTo>
                  <a:lnTo>
                    <a:pt x="16838" y="7934"/>
                  </a:lnTo>
                  <a:lnTo>
                    <a:pt x="16702" y="8047"/>
                  </a:lnTo>
                  <a:lnTo>
                    <a:pt x="16589" y="8137"/>
                  </a:lnTo>
                  <a:lnTo>
                    <a:pt x="16476" y="8160"/>
                  </a:lnTo>
                  <a:lnTo>
                    <a:pt x="16476" y="8160"/>
                  </a:lnTo>
                  <a:lnTo>
                    <a:pt x="15866" y="8273"/>
                  </a:lnTo>
                  <a:lnTo>
                    <a:pt x="14510" y="8544"/>
                  </a:lnTo>
                  <a:lnTo>
                    <a:pt x="12679" y="8928"/>
                  </a:lnTo>
                  <a:lnTo>
                    <a:pt x="10555" y="9358"/>
                  </a:lnTo>
                  <a:lnTo>
                    <a:pt x="8385" y="9742"/>
                  </a:lnTo>
                  <a:lnTo>
                    <a:pt x="7368" y="9900"/>
                  </a:lnTo>
                  <a:lnTo>
                    <a:pt x="6419" y="10059"/>
                  </a:lnTo>
                  <a:lnTo>
                    <a:pt x="5560" y="10149"/>
                  </a:lnTo>
                  <a:lnTo>
                    <a:pt x="4837" y="10217"/>
                  </a:lnTo>
                  <a:lnTo>
                    <a:pt x="4272" y="10217"/>
                  </a:lnTo>
                  <a:lnTo>
                    <a:pt x="4046" y="10194"/>
                  </a:lnTo>
                  <a:lnTo>
                    <a:pt x="3887" y="10172"/>
                  </a:lnTo>
                  <a:lnTo>
                    <a:pt x="3887" y="10172"/>
                  </a:lnTo>
                  <a:lnTo>
                    <a:pt x="3752" y="10104"/>
                  </a:lnTo>
                  <a:lnTo>
                    <a:pt x="3594" y="10013"/>
                  </a:lnTo>
                  <a:lnTo>
                    <a:pt x="3458" y="9878"/>
                  </a:lnTo>
                  <a:lnTo>
                    <a:pt x="3300" y="9720"/>
                  </a:lnTo>
                  <a:lnTo>
                    <a:pt x="3142" y="9516"/>
                  </a:lnTo>
                  <a:lnTo>
                    <a:pt x="2983" y="9290"/>
                  </a:lnTo>
                  <a:lnTo>
                    <a:pt x="2667" y="8793"/>
                  </a:lnTo>
                  <a:lnTo>
                    <a:pt x="2328" y="8205"/>
                  </a:lnTo>
                  <a:lnTo>
                    <a:pt x="2012" y="7550"/>
                  </a:lnTo>
                  <a:lnTo>
                    <a:pt x="1695" y="6872"/>
                  </a:lnTo>
                  <a:lnTo>
                    <a:pt x="1401" y="6194"/>
                  </a:lnTo>
                  <a:lnTo>
                    <a:pt x="836" y="4838"/>
                  </a:lnTo>
                  <a:lnTo>
                    <a:pt x="407" y="3662"/>
                  </a:lnTo>
                  <a:lnTo>
                    <a:pt x="0" y="2532"/>
                  </a:lnTo>
                  <a:lnTo>
                    <a:pt x="370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6" name="Google Shape;1803;p16">
              <a:extLst>
                <a:ext uri="{FF2B5EF4-FFF2-40B4-BE49-F238E27FC236}">
                  <a16:creationId xmlns:a16="http://schemas.microsoft.com/office/drawing/2014/main" id="{BA1A0A3B-BD0C-2DD8-6651-FD174B74B82C}"/>
                </a:ext>
              </a:extLst>
            </p:cNvPr>
            <p:cNvSpPr/>
            <p:nvPr/>
          </p:nvSpPr>
          <p:spPr>
            <a:xfrm>
              <a:off x="2839550" y="2114175"/>
              <a:ext cx="453725" cy="255425"/>
            </a:xfrm>
            <a:custGeom>
              <a:avLst/>
              <a:gdLst/>
              <a:ahLst/>
              <a:cxnLst/>
              <a:rect l="l" t="t" r="r" b="b"/>
              <a:pathLst>
                <a:path w="18149" h="10217" extrusionOk="0">
                  <a:moveTo>
                    <a:pt x="3707" y="1"/>
                  </a:moveTo>
                  <a:lnTo>
                    <a:pt x="0" y="2532"/>
                  </a:lnTo>
                  <a:lnTo>
                    <a:pt x="407" y="3662"/>
                  </a:lnTo>
                  <a:lnTo>
                    <a:pt x="836" y="4838"/>
                  </a:lnTo>
                  <a:lnTo>
                    <a:pt x="1401" y="6194"/>
                  </a:lnTo>
                  <a:lnTo>
                    <a:pt x="1695" y="6872"/>
                  </a:lnTo>
                  <a:lnTo>
                    <a:pt x="2012" y="7550"/>
                  </a:lnTo>
                  <a:lnTo>
                    <a:pt x="2328" y="8205"/>
                  </a:lnTo>
                  <a:lnTo>
                    <a:pt x="2667" y="8793"/>
                  </a:lnTo>
                  <a:lnTo>
                    <a:pt x="2983" y="9290"/>
                  </a:lnTo>
                  <a:lnTo>
                    <a:pt x="3142" y="9516"/>
                  </a:lnTo>
                  <a:lnTo>
                    <a:pt x="3300" y="9720"/>
                  </a:lnTo>
                  <a:lnTo>
                    <a:pt x="3458" y="9878"/>
                  </a:lnTo>
                  <a:lnTo>
                    <a:pt x="3594" y="10013"/>
                  </a:lnTo>
                  <a:lnTo>
                    <a:pt x="3752" y="10104"/>
                  </a:lnTo>
                  <a:lnTo>
                    <a:pt x="3887" y="10172"/>
                  </a:lnTo>
                  <a:lnTo>
                    <a:pt x="4046" y="10194"/>
                  </a:lnTo>
                  <a:lnTo>
                    <a:pt x="4272" y="10217"/>
                  </a:lnTo>
                  <a:lnTo>
                    <a:pt x="4837" y="10217"/>
                  </a:lnTo>
                  <a:lnTo>
                    <a:pt x="5560" y="10149"/>
                  </a:lnTo>
                  <a:lnTo>
                    <a:pt x="6419" y="10059"/>
                  </a:lnTo>
                  <a:lnTo>
                    <a:pt x="7368" y="9900"/>
                  </a:lnTo>
                  <a:lnTo>
                    <a:pt x="8385" y="9742"/>
                  </a:lnTo>
                  <a:lnTo>
                    <a:pt x="10555" y="9358"/>
                  </a:lnTo>
                  <a:lnTo>
                    <a:pt x="12679" y="8928"/>
                  </a:lnTo>
                  <a:lnTo>
                    <a:pt x="14510" y="8544"/>
                  </a:lnTo>
                  <a:lnTo>
                    <a:pt x="15866" y="8273"/>
                  </a:lnTo>
                  <a:lnTo>
                    <a:pt x="16476" y="8160"/>
                  </a:lnTo>
                  <a:lnTo>
                    <a:pt x="16589" y="8137"/>
                  </a:lnTo>
                  <a:lnTo>
                    <a:pt x="16702" y="8047"/>
                  </a:lnTo>
                  <a:lnTo>
                    <a:pt x="16838" y="7934"/>
                  </a:lnTo>
                  <a:lnTo>
                    <a:pt x="16974" y="7798"/>
                  </a:lnTo>
                  <a:lnTo>
                    <a:pt x="17290" y="7437"/>
                  </a:lnTo>
                  <a:lnTo>
                    <a:pt x="17584" y="7007"/>
                  </a:lnTo>
                  <a:lnTo>
                    <a:pt x="17855" y="6578"/>
                  </a:lnTo>
                  <a:lnTo>
                    <a:pt x="17968" y="6352"/>
                  </a:lnTo>
                  <a:lnTo>
                    <a:pt x="18059" y="6148"/>
                  </a:lnTo>
                  <a:lnTo>
                    <a:pt x="18104" y="5968"/>
                  </a:lnTo>
                  <a:lnTo>
                    <a:pt x="18149" y="5809"/>
                  </a:lnTo>
                  <a:lnTo>
                    <a:pt x="18149" y="5674"/>
                  </a:lnTo>
                  <a:lnTo>
                    <a:pt x="18104" y="5583"/>
                  </a:lnTo>
                  <a:lnTo>
                    <a:pt x="18036" y="5561"/>
                  </a:lnTo>
                  <a:lnTo>
                    <a:pt x="17878" y="5538"/>
                  </a:lnTo>
                  <a:lnTo>
                    <a:pt x="17335" y="5516"/>
                  </a:lnTo>
                  <a:lnTo>
                    <a:pt x="16544" y="5538"/>
                  </a:lnTo>
                  <a:lnTo>
                    <a:pt x="15550" y="5606"/>
                  </a:lnTo>
                  <a:lnTo>
                    <a:pt x="13131" y="5787"/>
                  </a:lnTo>
                  <a:lnTo>
                    <a:pt x="10487" y="6013"/>
                  </a:lnTo>
                  <a:lnTo>
                    <a:pt x="6735" y="6375"/>
                  </a:lnTo>
                  <a:lnTo>
                    <a:pt x="5447" y="6488"/>
                  </a:lnTo>
                  <a:lnTo>
                    <a:pt x="4814" y="6533"/>
                  </a:lnTo>
                  <a:lnTo>
                    <a:pt x="4746" y="6510"/>
                  </a:lnTo>
                  <a:lnTo>
                    <a:pt x="4679" y="6465"/>
                  </a:lnTo>
                  <a:lnTo>
                    <a:pt x="4633" y="6397"/>
                  </a:lnTo>
                  <a:lnTo>
                    <a:pt x="4566" y="6307"/>
                  </a:lnTo>
                  <a:lnTo>
                    <a:pt x="4475" y="6058"/>
                  </a:lnTo>
                  <a:lnTo>
                    <a:pt x="4407" y="5719"/>
                  </a:lnTo>
                  <a:lnTo>
                    <a:pt x="4340" y="5335"/>
                  </a:lnTo>
                  <a:lnTo>
                    <a:pt x="4272" y="4883"/>
                  </a:lnTo>
                  <a:lnTo>
                    <a:pt x="4181" y="3866"/>
                  </a:lnTo>
                  <a:lnTo>
                    <a:pt x="4091" y="2781"/>
                  </a:lnTo>
                  <a:lnTo>
                    <a:pt x="4000" y="1696"/>
                  </a:lnTo>
                  <a:lnTo>
                    <a:pt x="3955" y="1199"/>
                  </a:lnTo>
                  <a:lnTo>
                    <a:pt x="3865" y="747"/>
                  </a:lnTo>
                  <a:lnTo>
                    <a:pt x="3797" y="340"/>
                  </a:lnTo>
                  <a:lnTo>
                    <a:pt x="3707" y="1"/>
                  </a:lnTo>
                  <a:close/>
                </a:path>
              </a:pathLst>
            </a:custGeom>
            <a:solidFill>
              <a:srgbClr val="E98B2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7" name="Google Shape;1804;p16">
              <a:extLst>
                <a:ext uri="{FF2B5EF4-FFF2-40B4-BE49-F238E27FC236}">
                  <a16:creationId xmlns:a16="http://schemas.microsoft.com/office/drawing/2014/main" id="{07F054B5-1BBA-3CE2-D027-9AEAEE0189A6}"/>
                </a:ext>
              </a:extLst>
            </p:cNvPr>
            <p:cNvSpPr/>
            <p:nvPr/>
          </p:nvSpPr>
          <p:spPr>
            <a:xfrm>
              <a:off x="2839550" y="2114175"/>
              <a:ext cx="453725" cy="255425"/>
            </a:xfrm>
            <a:custGeom>
              <a:avLst/>
              <a:gdLst/>
              <a:ahLst/>
              <a:cxnLst/>
              <a:rect l="l" t="t" r="r" b="b"/>
              <a:pathLst>
                <a:path w="18149" h="10217" fill="none" extrusionOk="0">
                  <a:moveTo>
                    <a:pt x="3707" y="1"/>
                  </a:moveTo>
                  <a:lnTo>
                    <a:pt x="3707" y="1"/>
                  </a:lnTo>
                  <a:lnTo>
                    <a:pt x="3797" y="340"/>
                  </a:lnTo>
                  <a:lnTo>
                    <a:pt x="3865" y="747"/>
                  </a:lnTo>
                  <a:lnTo>
                    <a:pt x="3955" y="1199"/>
                  </a:lnTo>
                  <a:lnTo>
                    <a:pt x="4000" y="1696"/>
                  </a:lnTo>
                  <a:lnTo>
                    <a:pt x="4091" y="2781"/>
                  </a:lnTo>
                  <a:lnTo>
                    <a:pt x="4181" y="3866"/>
                  </a:lnTo>
                  <a:lnTo>
                    <a:pt x="4272" y="4883"/>
                  </a:lnTo>
                  <a:lnTo>
                    <a:pt x="4340" y="5335"/>
                  </a:lnTo>
                  <a:lnTo>
                    <a:pt x="4407" y="5719"/>
                  </a:lnTo>
                  <a:lnTo>
                    <a:pt x="4475" y="6058"/>
                  </a:lnTo>
                  <a:lnTo>
                    <a:pt x="4566" y="6307"/>
                  </a:lnTo>
                  <a:lnTo>
                    <a:pt x="4633" y="6397"/>
                  </a:lnTo>
                  <a:lnTo>
                    <a:pt x="4679" y="6465"/>
                  </a:lnTo>
                  <a:lnTo>
                    <a:pt x="4746" y="6510"/>
                  </a:lnTo>
                  <a:lnTo>
                    <a:pt x="4814" y="6533"/>
                  </a:lnTo>
                  <a:lnTo>
                    <a:pt x="4814" y="6533"/>
                  </a:lnTo>
                  <a:lnTo>
                    <a:pt x="5447" y="6488"/>
                  </a:lnTo>
                  <a:lnTo>
                    <a:pt x="6735" y="6375"/>
                  </a:lnTo>
                  <a:lnTo>
                    <a:pt x="10487" y="6013"/>
                  </a:lnTo>
                  <a:lnTo>
                    <a:pt x="10487" y="6013"/>
                  </a:lnTo>
                  <a:lnTo>
                    <a:pt x="13131" y="5787"/>
                  </a:lnTo>
                  <a:lnTo>
                    <a:pt x="15550" y="5606"/>
                  </a:lnTo>
                  <a:lnTo>
                    <a:pt x="16544" y="5538"/>
                  </a:lnTo>
                  <a:lnTo>
                    <a:pt x="17335" y="5516"/>
                  </a:lnTo>
                  <a:lnTo>
                    <a:pt x="17878" y="5538"/>
                  </a:lnTo>
                  <a:lnTo>
                    <a:pt x="18036" y="5561"/>
                  </a:lnTo>
                  <a:lnTo>
                    <a:pt x="18104" y="5583"/>
                  </a:lnTo>
                  <a:lnTo>
                    <a:pt x="18104" y="5583"/>
                  </a:lnTo>
                  <a:lnTo>
                    <a:pt x="18149" y="5674"/>
                  </a:lnTo>
                  <a:lnTo>
                    <a:pt x="18149" y="5809"/>
                  </a:lnTo>
                  <a:lnTo>
                    <a:pt x="18104" y="5968"/>
                  </a:lnTo>
                  <a:lnTo>
                    <a:pt x="18059" y="6148"/>
                  </a:lnTo>
                  <a:lnTo>
                    <a:pt x="17968" y="6352"/>
                  </a:lnTo>
                  <a:lnTo>
                    <a:pt x="17855" y="6578"/>
                  </a:lnTo>
                  <a:lnTo>
                    <a:pt x="17584" y="7007"/>
                  </a:lnTo>
                  <a:lnTo>
                    <a:pt x="17290" y="7437"/>
                  </a:lnTo>
                  <a:lnTo>
                    <a:pt x="16974" y="7798"/>
                  </a:lnTo>
                  <a:lnTo>
                    <a:pt x="16838" y="7934"/>
                  </a:lnTo>
                  <a:lnTo>
                    <a:pt x="16702" y="8047"/>
                  </a:lnTo>
                  <a:lnTo>
                    <a:pt x="16589" y="8137"/>
                  </a:lnTo>
                  <a:lnTo>
                    <a:pt x="16476" y="8160"/>
                  </a:lnTo>
                  <a:lnTo>
                    <a:pt x="16476" y="8160"/>
                  </a:lnTo>
                  <a:lnTo>
                    <a:pt x="15866" y="8273"/>
                  </a:lnTo>
                  <a:lnTo>
                    <a:pt x="14510" y="8544"/>
                  </a:lnTo>
                  <a:lnTo>
                    <a:pt x="12679" y="8928"/>
                  </a:lnTo>
                  <a:lnTo>
                    <a:pt x="10555" y="9358"/>
                  </a:lnTo>
                  <a:lnTo>
                    <a:pt x="8385" y="9742"/>
                  </a:lnTo>
                  <a:lnTo>
                    <a:pt x="7368" y="9900"/>
                  </a:lnTo>
                  <a:lnTo>
                    <a:pt x="6419" y="10059"/>
                  </a:lnTo>
                  <a:lnTo>
                    <a:pt x="5560" y="10149"/>
                  </a:lnTo>
                  <a:lnTo>
                    <a:pt x="4837" y="10217"/>
                  </a:lnTo>
                  <a:lnTo>
                    <a:pt x="4272" y="10217"/>
                  </a:lnTo>
                  <a:lnTo>
                    <a:pt x="4046" y="10194"/>
                  </a:lnTo>
                  <a:lnTo>
                    <a:pt x="3887" y="10172"/>
                  </a:lnTo>
                  <a:lnTo>
                    <a:pt x="3887" y="10172"/>
                  </a:lnTo>
                  <a:lnTo>
                    <a:pt x="3752" y="10104"/>
                  </a:lnTo>
                  <a:lnTo>
                    <a:pt x="3594" y="10013"/>
                  </a:lnTo>
                  <a:lnTo>
                    <a:pt x="3458" y="9878"/>
                  </a:lnTo>
                  <a:lnTo>
                    <a:pt x="3300" y="9720"/>
                  </a:lnTo>
                  <a:lnTo>
                    <a:pt x="3142" y="9516"/>
                  </a:lnTo>
                  <a:lnTo>
                    <a:pt x="2983" y="9290"/>
                  </a:lnTo>
                  <a:lnTo>
                    <a:pt x="2667" y="8793"/>
                  </a:lnTo>
                  <a:lnTo>
                    <a:pt x="2328" y="8205"/>
                  </a:lnTo>
                  <a:lnTo>
                    <a:pt x="2012" y="7550"/>
                  </a:lnTo>
                  <a:lnTo>
                    <a:pt x="1695" y="6872"/>
                  </a:lnTo>
                  <a:lnTo>
                    <a:pt x="1401" y="6194"/>
                  </a:lnTo>
                  <a:lnTo>
                    <a:pt x="836" y="4838"/>
                  </a:lnTo>
                  <a:lnTo>
                    <a:pt x="407" y="3662"/>
                  </a:lnTo>
                  <a:lnTo>
                    <a:pt x="0" y="2532"/>
                  </a:lnTo>
                  <a:lnTo>
                    <a:pt x="370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8" name="Google Shape;1805;p16">
              <a:extLst>
                <a:ext uri="{FF2B5EF4-FFF2-40B4-BE49-F238E27FC236}">
                  <a16:creationId xmlns:a16="http://schemas.microsoft.com/office/drawing/2014/main" id="{D467D145-064C-E462-0A3D-6E5840CE1A5A}"/>
                </a:ext>
              </a:extLst>
            </p:cNvPr>
            <p:cNvSpPr/>
            <p:nvPr/>
          </p:nvSpPr>
          <p:spPr>
            <a:xfrm>
              <a:off x="2942950" y="2252050"/>
              <a:ext cx="349775" cy="50325"/>
            </a:xfrm>
            <a:custGeom>
              <a:avLst/>
              <a:gdLst/>
              <a:ahLst/>
              <a:cxnLst/>
              <a:rect l="l" t="t" r="r" b="b"/>
              <a:pathLst>
                <a:path w="13991" h="2013" extrusionOk="0">
                  <a:moveTo>
                    <a:pt x="12747" y="1"/>
                  </a:moveTo>
                  <a:lnTo>
                    <a:pt x="12047" y="46"/>
                  </a:lnTo>
                  <a:lnTo>
                    <a:pt x="10352" y="159"/>
                  </a:lnTo>
                  <a:lnTo>
                    <a:pt x="8408" y="317"/>
                  </a:lnTo>
                  <a:lnTo>
                    <a:pt x="6351" y="498"/>
                  </a:lnTo>
                  <a:lnTo>
                    <a:pt x="2644" y="860"/>
                  </a:lnTo>
                  <a:lnTo>
                    <a:pt x="1379" y="973"/>
                  </a:lnTo>
                  <a:lnTo>
                    <a:pt x="701" y="1018"/>
                  </a:lnTo>
                  <a:lnTo>
                    <a:pt x="678" y="1018"/>
                  </a:lnTo>
                  <a:lnTo>
                    <a:pt x="610" y="995"/>
                  </a:lnTo>
                  <a:lnTo>
                    <a:pt x="543" y="950"/>
                  </a:lnTo>
                  <a:lnTo>
                    <a:pt x="497" y="882"/>
                  </a:lnTo>
                  <a:lnTo>
                    <a:pt x="430" y="792"/>
                  </a:lnTo>
                  <a:lnTo>
                    <a:pt x="339" y="520"/>
                  </a:lnTo>
                  <a:lnTo>
                    <a:pt x="271" y="181"/>
                  </a:lnTo>
                  <a:lnTo>
                    <a:pt x="0" y="769"/>
                  </a:lnTo>
                  <a:lnTo>
                    <a:pt x="543" y="1944"/>
                  </a:lnTo>
                  <a:lnTo>
                    <a:pt x="701" y="1967"/>
                  </a:lnTo>
                  <a:lnTo>
                    <a:pt x="882" y="1990"/>
                  </a:lnTo>
                  <a:lnTo>
                    <a:pt x="1311" y="2012"/>
                  </a:lnTo>
                  <a:lnTo>
                    <a:pt x="1944" y="1990"/>
                  </a:lnTo>
                  <a:lnTo>
                    <a:pt x="2690" y="1922"/>
                  </a:lnTo>
                  <a:lnTo>
                    <a:pt x="3503" y="1831"/>
                  </a:lnTo>
                  <a:lnTo>
                    <a:pt x="4430" y="1718"/>
                  </a:lnTo>
                  <a:lnTo>
                    <a:pt x="6396" y="1402"/>
                  </a:lnTo>
                  <a:lnTo>
                    <a:pt x="8430" y="1040"/>
                  </a:lnTo>
                  <a:lnTo>
                    <a:pt x="11640" y="475"/>
                  </a:lnTo>
                  <a:lnTo>
                    <a:pt x="12973" y="249"/>
                  </a:lnTo>
                  <a:lnTo>
                    <a:pt x="13990" y="114"/>
                  </a:lnTo>
                  <a:lnTo>
                    <a:pt x="13968" y="68"/>
                  </a:lnTo>
                  <a:lnTo>
                    <a:pt x="13900" y="46"/>
                  </a:lnTo>
                  <a:lnTo>
                    <a:pt x="13764" y="23"/>
                  </a:lnTo>
                  <a:lnTo>
                    <a:pt x="13312" y="1"/>
                  </a:lnTo>
                  <a:close/>
                </a:path>
              </a:pathLst>
            </a:custGeom>
            <a:solidFill>
              <a:srgbClr val="CA7C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9" name="Google Shape;1806;p16">
              <a:extLst>
                <a:ext uri="{FF2B5EF4-FFF2-40B4-BE49-F238E27FC236}">
                  <a16:creationId xmlns:a16="http://schemas.microsoft.com/office/drawing/2014/main" id="{340EDD5D-006C-8679-C8AE-9F4003C37458}"/>
                </a:ext>
              </a:extLst>
            </p:cNvPr>
            <p:cNvSpPr/>
            <p:nvPr/>
          </p:nvSpPr>
          <p:spPr>
            <a:xfrm>
              <a:off x="2942950" y="2252050"/>
              <a:ext cx="349775" cy="50325"/>
            </a:xfrm>
            <a:custGeom>
              <a:avLst/>
              <a:gdLst/>
              <a:ahLst/>
              <a:cxnLst/>
              <a:rect l="l" t="t" r="r" b="b"/>
              <a:pathLst>
                <a:path w="13991" h="2013" fill="none" extrusionOk="0">
                  <a:moveTo>
                    <a:pt x="13312" y="1"/>
                  </a:moveTo>
                  <a:lnTo>
                    <a:pt x="13312" y="1"/>
                  </a:lnTo>
                  <a:lnTo>
                    <a:pt x="12747" y="1"/>
                  </a:lnTo>
                  <a:lnTo>
                    <a:pt x="12047" y="46"/>
                  </a:lnTo>
                  <a:lnTo>
                    <a:pt x="10352" y="159"/>
                  </a:lnTo>
                  <a:lnTo>
                    <a:pt x="8408" y="317"/>
                  </a:lnTo>
                  <a:lnTo>
                    <a:pt x="6351" y="498"/>
                  </a:lnTo>
                  <a:lnTo>
                    <a:pt x="6351" y="498"/>
                  </a:lnTo>
                  <a:lnTo>
                    <a:pt x="2644" y="860"/>
                  </a:lnTo>
                  <a:lnTo>
                    <a:pt x="1379" y="973"/>
                  </a:lnTo>
                  <a:lnTo>
                    <a:pt x="701" y="1018"/>
                  </a:lnTo>
                  <a:lnTo>
                    <a:pt x="701" y="1018"/>
                  </a:lnTo>
                  <a:lnTo>
                    <a:pt x="678" y="1018"/>
                  </a:lnTo>
                  <a:lnTo>
                    <a:pt x="678" y="1018"/>
                  </a:lnTo>
                  <a:lnTo>
                    <a:pt x="610" y="995"/>
                  </a:lnTo>
                  <a:lnTo>
                    <a:pt x="543" y="950"/>
                  </a:lnTo>
                  <a:lnTo>
                    <a:pt x="497" y="882"/>
                  </a:lnTo>
                  <a:lnTo>
                    <a:pt x="430" y="792"/>
                  </a:lnTo>
                  <a:lnTo>
                    <a:pt x="339" y="520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0" y="769"/>
                  </a:lnTo>
                  <a:lnTo>
                    <a:pt x="0" y="769"/>
                  </a:lnTo>
                  <a:lnTo>
                    <a:pt x="543" y="1944"/>
                  </a:lnTo>
                  <a:lnTo>
                    <a:pt x="543" y="1944"/>
                  </a:lnTo>
                  <a:lnTo>
                    <a:pt x="701" y="1967"/>
                  </a:lnTo>
                  <a:lnTo>
                    <a:pt x="882" y="1990"/>
                  </a:lnTo>
                  <a:lnTo>
                    <a:pt x="1311" y="2012"/>
                  </a:lnTo>
                  <a:lnTo>
                    <a:pt x="1311" y="2012"/>
                  </a:lnTo>
                  <a:lnTo>
                    <a:pt x="1944" y="1990"/>
                  </a:lnTo>
                  <a:lnTo>
                    <a:pt x="2690" y="1922"/>
                  </a:lnTo>
                  <a:lnTo>
                    <a:pt x="3503" y="1831"/>
                  </a:lnTo>
                  <a:lnTo>
                    <a:pt x="4430" y="1718"/>
                  </a:lnTo>
                  <a:lnTo>
                    <a:pt x="6396" y="1402"/>
                  </a:lnTo>
                  <a:lnTo>
                    <a:pt x="8430" y="1040"/>
                  </a:lnTo>
                  <a:lnTo>
                    <a:pt x="8430" y="1040"/>
                  </a:lnTo>
                  <a:lnTo>
                    <a:pt x="11640" y="475"/>
                  </a:lnTo>
                  <a:lnTo>
                    <a:pt x="12973" y="249"/>
                  </a:lnTo>
                  <a:lnTo>
                    <a:pt x="13990" y="114"/>
                  </a:lnTo>
                  <a:lnTo>
                    <a:pt x="13990" y="114"/>
                  </a:lnTo>
                  <a:lnTo>
                    <a:pt x="13968" y="68"/>
                  </a:lnTo>
                  <a:lnTo>
                    <a:pt x="13968" y="68"/>
                  </a:lnTo>
                  <a:lnTo>
                    <a:pt x="13900" y="46"/>
                  </a:lnTo>
                  <a:lnTo>
                    <a:pt x="13764" y="23"/>
                  </a:lnTo>
                  <a:lnTo>
                    <a:pt x="13312" y="1"/>
                  </a:lnTo>
                </a:path>
              </a:pathLst>
            </a:custGeom>
            <a:solidFill>
              <a:srgbClr val="98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0" name="Google Shape;1807;p16">
              <a:extLst>
                <a:ext uri="{FF2B5EF4-FFF2-40B4-BE49-F238E27FC236}">
                  <a16:creationId xmlns:a16="http://schemas.microsoft.com/office/drawing/2014/main" id="{2201DC3C-3DE6-9590-CD3A-A313F3938727}"/>
                </a:ext>
              </a:extLst>
            </p:cNvPr>
            <p:cNvSpPr/>
            <p:nvPr/>
          </p:nvSpPr>
          <p:spPr>
            <a:xfrm>
              <a:off x="2340600" y="2520450"/>
              <a:ext cx="502925" cy="217550"/>
            </a:xfrm>
            <a:custGeom>
              <a:avLst/>
              <a:gdLst/>
              <a:ahLst/>
              <a:cxnLst/>
              <a:rect l="l" t="t" r="r" b="b"/>
              <a:pathLst>
                <a:path w="20117" h="8702" extrusionOk="0">
                  <a:moveTo>
                    <a:pt x="1425" y="0"/>
                  </a:moveTo>
                  <a:lnTo>
                    <a:pt x="1289" y="23"/>
                  </a:lnTo>
                  <a:lnTo>
                    <a:pt x="1131" y="68"/>
                  </a:lnTo>
                  <a:lnTo>
                    <a:pt x="995" y="113"/>
                  </a:lnTo>
                  <a:lnTo>
                    <a:pt x="860" y="204"/>
                  </a:lnTo>
                  <a:lnTo>
                    <a:pt x="724" y="317"/>
                  </a:lnTo>
                  <a:lnTo>
                    <a:pt x="589" y="452"/>
                  </a:lnTo>
                  <a:lnTo>
                    <a:pt x="453" y="611"/>
                  </a:lnTo>
                  <a:lnTo>
                    <a:pt x="363" y="769"/>
                  </a:lnTo>
                  <a:lnTo>
                    <a:pt x="272" y="927"/>
                  </a:lnTo>
                  <a:lnTo>
                    <a:pt x="182" y="1130"/>
                  </a:lnTo>
                  <a:lnTo>
                    <a:pt x="137" y="1334"/>
                  </a:lnTo>
                  <a:lnTo>
                    <a:pt x="69" y="1537"/>
                  </a:lnTo>
                  <a:lnTo>
                    <a:pt x="46" y="1763"/>
                  </a:lnTo>
                  <a:lnTo>
                    <a:pt x="1" y="2260"/>
                  </a:lnTo>
                  <a:lnTo>
                    <a:pt x="24" y="2780"/>
                  </a:lnTo>
                  <a:lnTo>
                    <a:pt x="91" y="3300"/>
                  </a:lnTo>
                  <a:lnTo>
                    <a:pt x="204" y="3843"/>
                  </a:lnTo>
                  <a:lnTo>
                    <a:pt x="340" y="4408"/>
                  </a:lnTo>
                  <a:lnTo>
                    <a:pt x="543" y="4927"/>
                  </a:lnTo>
                  <a:lnTo>
                    <a:pt x="769" y="5447"/>
                  </a:lnTo>
                  <a:lnTo>
                    <a:pt x="1018" y="5944"/>
                  </a:lnTo>
                  <a:lnTo>
                    <a:pt x="1312" y="6396"/>
                  </a:lnTo>
                  <a:lnTo>
                    <a:pt x="1470" y="6600"/>
                  </a:lnTo>
                  <a:lnTo>
                    <a:pt x="1651" y="6781"/>
                  </a:lnTo>
                  <a:lnTo>
                    <a:pt x="1832" y="6962"/>
                  </a:lnTo>
                  <a:lnTo>
                    <a:pt x="2012" y="7120"/>
                  </a:lnTo>
                  <a:lnTo>
                    <a:pt x="2193" y="7278"/>
                  </a:lnTo>
                  <a:lnTo>
                    <a:pt x="2374" y="7391"/>
                  </a:lnTo>
                  <a:lnTo>
                    <a:pt x="2578" y="7504"/>
                  </a:lnTo>
                  <a:lnTo>
                    <a:pt x="2781" y="7594"/>
                  </a:lnTo>
                  <a:lnTo>
                    <a:pt x="3030" y="7662"/>
                  </a:lnTo>
                  <a:lnTo>
                    <a:pt x="3323" y="7730"/>
                  </a:lnTo>
                  <a:lnTo>
                    <a:pt x="4069" y="7888"/>
                  </a:lnTo>
                  <a:lnTo>
                    <a:pt x="4996" y="8024"/>
                  </a:lnTo>
                  <a:lnTo>
                    <a:pt x="6058" y="8182"/>
                  </a:lnTo>
                  <a:lnTo>
                    <a:pt x="7256" y="8295"/>
                  </a:lnTo>
                  <a:lnTo>
                    <a:pt x="8544" y="8431"/>
                  </a:lnTo>
                  <a:lnTo>
                    <a:pt x="9855" y="8521"/>
                  </a:lnTo>
                  <a:lnTo>
                    <a:pt x="11211" y="8611"/>
                  </a:lnTo>
                  <a:lnTo>
                    <a:pt x="12567" y="8657"/>
                  </a:lnTo>
                  <a:lnTo>
                    <a:pt x="13878" y="8702"/>
                  </a:lnTo>
                  <a:lnTo>
                    <a:pt x="15099" y="8702"/>
                  </a:lnTo>
                  <a:lnTo>
                    <a:pt x="16229" y="8657"/>
                  </a:lnTo>
                  <a:lnTo>
                    <a:pt x="17246" y="8589"/>
                  </a:lnTo>
                  <a:lnTo>
                    <a:pt x="17675" y="8544"/>
                  </a:lnTo>
                  <a:lnTo>
                    <a:pt x="18060" y="8498"/>
                  </a:lnTo>
                  <a:lnTo>
                    <a:pt x="18421" y="8431"/>
                  </a:lnTo>
                  <a:lnTo>
                    <a:pt x="18692" y="8340"/>
                  </a:lnTo>
                  <a:lnTo>
                    <a:pt x="18941" y="8250"/>
                  </a:lnTo>
                  <a:lnTo>
                    <a:pt x="19099" y="8137"/>
                  </a:lnTo>
                  <a:lnTo>
                    <a:pt x="19235" y="8046"/>
                  </a:lnTo>
                  <a:lnTo>
                    <a:pt x="19348" y="7911"/>
                  </a:lnTo>
                  <a:lnTo>
                    <a:pt x="19461" y="7775"/>
                  </a:lnTo>
                  <a:lnTo>
                    <a:pt x="19551" y="7617"/>
                  </a:lnTo>
                  <a:lnTo>
                    <a:pt x="19732" y="7301"/>
                  </a:lnTo>
                  <a:lnTo>
                    <a:pt x="19890" y="6916"/>
                  </a:lnTo>
                  <a:lnTo>
                    <a:pt x="20003" y="6509"/>
                  </a:lnTo>
                  <a:lnTo>
                    <a:pt x="20071" y="6080"/>
                  </a:lnTo>
                  <a:lnTo>
                    <a:pt x="20116" y="5651"/>
                  </a:lnTo>
                  <a:lnTo>
                    <a:pt x="20116" y="5199"/>
                  </a:lnTo>
                  <a:lnTo>
                    <a:pt x="20094" y="4769"/>
                  </a:lnTo>
                  <a:lnTo>
                    <a:pt x="20026" y="4340"/>
                  </a:lnTo>
                  <a:lnTo>
                    <a:pt x="19935" y="3933"/>
                  </a:lnTo>
                  <a:lnTo>
                    <a:pt x="19777" y="3549"/>
                  </a:lnTo>
                  <a:lnTo>
                    <a:pt x="19709" y="3368"/>
                  </a:lnTo>
                  <a:lnTo>
                    <a:pt x="19596" y="3210"/>
                  </a:lnTo>
                  <a:lnTo>
                    <a:pt x="19506" y="3051"/>
                  </a:lnTo>
                  <a:lnTo>
                    <a:pt x="19393" y="2916"/>
                  </a:lnTo>
                  <a:lnTo>
                    <a:pt x="19257" y="2803"/>
                  </a:lnTo>
                  <a:lnTo>
                    <a:pt x="19122" y="2690"/>
                  </a:lnTo>
                  <a:lnTo>
                    <a:pt x="18986" y="2577"/>
                  </a:lnTo>
                  <a:lnTo>
                    <a:pt x="18828" y="2509"/>
                  </a:lnTo>
                  <a:lnTo>
                    <a:pt x="18557" y="2396"/>
                  </a:lnTo>
                  <a:lnTo>
                    <a:pt x="18263" y="2306"/>
                  </a:lnTo>
                  <a:lnTo>
                    <a:pt x="17924" y="2215"/>
                  </a:lnTo>
                  <a:lnTo>
                    <a:pt x="17585" y="2147"/>
                  </a:lnTo>
                  <a:lnTo>
                    <a:pt x="16794" y="2034"/>
                  </a:lnTo>
                  <a:lnTo>
                    <a:pt x="15935" y="1967"/>
                  </a:lnTo>
                  <a:lnTo>
                    <a:pt x="14986" y="1921"/>
                  </a:lnTo>
                  <a:lnTo>
                    <a:pt x="14014" y="1899"/>
                  </a:lnTo>
                  <a:lnTo>
                    <a:pt x="12002" y="1899"/>
                  </a:lnTo>
                  <a:lnTo>
                    <a:pt x="9991" y="1967"/>
                  </a:lnTo>
                  <a:lnTo>
                    <a:pt x="8183" y="2034"/>
                  </a:lnTo>
                  <a:lnTo>
                    <a:pt x="7392" y="2057"/>
                  </a:lnTo>
                  <a:lnTo>
                    <a:pt x="6691" y="2057"/>
                  </a:lnTo>
                  <a:lnTo>
                    <a:pt x="6103" y="2034"/>
                  </a:lnTo>
                  <a:lnTo>
                    <a:pt x="5651" y="2012"/>
                  </a:lnTo>
                  <a:lnTo>
                    <a:pt x="5471" y="1967"/>
                  </a:lnTo>
                  <a:lnTo>
                    <a:pt x="5290" y="1921"/>
                  </a:lnTo>
                  <a:lnTo>
                    <a:pt x="4905" y="1786"/>
                  </a:lnTo>
                  <a:lnTo>
                    <a:pt x="4544" y="1628"/>
                  </a:lnTo>
                  <a:lnTo>
                    <a:pt x="4205" y="1424"/>
                  </a:lnTo>
                  <a:lnTo>
                    <a:pt x="3504" y="950"/>
                  </a:lnTo>
                  <a:lnTo>
                    <a:pt x="2826" y="520"/>
                  </a:lnTo>
                  <a:lnTo>
                    <a:pt x="2510" y="317"/>
                  </a:lnTo>
                  <a:lnTo>
                    <a:pt x="2193" y="159"/>
                  </a:lnTo>
                  <a:lnTo>
                    <a:pt x="1877" y="45"/>
                  </a:lnTo>
                  <a:lnTo>
                    <a:pt x="1719" y="23"/>
                  </a:lnTo>
                  <a:lnTo>
                    <a:pt x="1583" y="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1" name="Google Shape;1808;p16">
              <a:extLst>
                <a:ext uri="{FF2B5EF4-FFF2-40B4-BE49-F238E27FC236}">
                  <a16:creationId xmlns:a16="http://schemas.microsoft.com/office/drawing/2014/main" id="{6B265900-45DF-1F9B-9AD5-462DD84BB595}"/>
                </a:ext>
              </a:extLst>
            </p:cNvPr>
            <p:cNvSpPr/>
            <p:nvPr/>
          </p:nvSpPr>
          <p:spPr>
            <a:xfrm>
              <a:off x="2687550" y="3305850"/>
              <a:ext cx="152025" cy="195525"/>
            </a:xfrm>
            <a:custGeom>
              <a:avLst/>
              <a:gdLst/>
              <a:ahLst/>
              <a:cxnLst/>
              <a:rect l="l" t="t" r="r" b="b"/>
              <a:pathLst>
                <a:path w="6081" h="7821" extrusionOk="0">
                  <a:moveTo>
                    <a:pt x="2825" y="0"/>
                  </a:moveTo>
                  <a:lnTo>
                    <a:pt x="0" y="4927"/>
                  </a:lnTo>
                  <a:lnTo>
                    <a:pt x="1266" y="7820"/>
                  </a:lnTo>
                  <a:lnTo>
                    <a:pt x="3277" y="6645"/>
                  </a:lnTo>
                  <a:lnTo>
                    <a:pt x="3639" y="6125"/>
                  </a:lnTo>
                  <a:lnTo>
                    <a:pt x="4091" y="5470"/>
                  </a:lnTo>
                  <a:lnTo>
                    <a:pt x="5018" y="4001"/>
                  </a:lnTo>
                  <a:lnTo>
                    <a:pt x="5764" y="2758"/>
                  </a:lnTo>
                  <a:lnTo>
                    <a:pt x="6080" y="2215"/>
                  </a:lnTo>
                  <a:lnTo>
                    <a:pt x="2825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2" name="Google Shape;1809;p16">
              <a:extLst>
                <a:ext uri="{FF2B5EF4-FFF2-40B4-BE49-F238E27FC236}">
                  <a16:creationId xmlns:a16="http://schemas.microsoft.com/office/drawing/2014/main" id="{24922A6D-104B-FF71-BC60-C30BB7108961}"/>
                </a:ext>
              </a:extLst>
            </p:cNvPr>
            <p:cNvSpPr/>
            <p:nvPr/>
          </p:nvSpPr>
          <p:spPr>
            <a:xfrm>
              <a:off x="2637825" y="3414325"/>
              <a:ext cx="250900" cy="235075"/>
            </a:xfrm>
            <a:custGeom>
              <a:avLst/>
              <a:gdLst/>
              <a:ahLst/>
              <a:cxnLst/>
              <a:rect l="l" t="t" r="r" b="b"/>
              <a:pathLst>
                <a:path w="10036" h="9403" extrusionOk="0">
                  <a:moveTo>
                    <a:pt x="2215" y="1"/>
                  </a:moveTo>
                  <a:lnTo>
                    <a:pt x="2102" y="23"/>
                  </a:lnTo>
                  <a:lnTo>
                    <a:pt x="1967" y="68"/>
                  </a:lnTo>
                  <a:lnTo>
                    <a:pt x="1831" y="159"/>
                  </a:lnTo>
                  <a:lnTo>
                    <a:pt x="1673" y="294"/>
                  </a:lnTo>
                  <a:lnTo>
                    <a:pt x="1515" y="430"/>
                  </a:lnTo>
                  <a:lnTo>
                    <a:pt x="1198" y="814"/>
                  </a:lnTo>
                  <a:lnTo>
                    <a:pt x="859" y="1266"/>
                  </a:lnTo>
                  <a:lnTo>
                    <a:pt x="543" y="1786"/>
                  </a:lnTo>
                  <a:lnTo>
                    <a:pt x="272" y="2306"/>
                  </a:lnTo>
                  <a:lnTo>
                    <a:pt x="46" y="2803"/>
                  </a:lnTo>
                  <a:lnTo>
                    <a:pt x="23" y="2961"/>
                  </a:lnTo>
                  <a:lnTo>
                    <a:pt x="0" y="3097"/>
                  </a:lnTo>
                  <a:lnTo>
                    <a:pt x="0" y="3233"/>
                  </a:lnTo>
                  <a:lnTo>
                    <a:pt x="46" y="3368"/>
                  </a:lnTo>
                  <a:lnTo>
                    <a:pt x="91" y="3504"/>
                  </a:lnTo>
                  <a:lnTo>
                    <a:pt x="181" y="3617"/>
                  </a:lnTo>
                  <a:lnTo>
                    <a:pt x="272" y="3730"/>
                  </a:lnTo>
                  <a:lnTo>
                    <a:pt x="385" y="3820"/>
                  </a:lnTo>
                  <a:lnTo>
                    <a:pt x="4227" y="6487"/>
                  </a:lnTo>
                  <a:lnTo>
                    <a:pt x="7956" y="9064"/>
                  </a:lnTo>
                  <a:lnTo>
                    <a:pt x="8272" y="9245"/>
                  </a:lnTo>
                  <a:lnTo>
                    <a:pt x="8544" y="9358"/>
                  </a:lnTo>
                  <a:lnTo>
                    <a:pt x="8792" y="9403"/>
                  </a:lnTo>
                  <a:lnTo>
                    <a:pt x="9018" y="9403"/>
                  </a:lnTo>
                  <a:lnTo>
                    <a:pt x="9222" y="9335"/>
                  </a:lnTo>
                  <a:lnTo>
                    <a:pt x="9403" y="9245"/>
                  </a:lnTo>
                  <a:lnTo>
                    <a:pt x="9561" y="9132"/>
                  </a:lnTo>
                  <a:lnTo>
                    <a:pt x="9696" y="8973"/>
                  </a:lnTo>
                  <a:lnTo>
                    <a:pt x="9809" y="8815"/>
                  </a:lnTo>
                  <a:lnTo>
                    <a:pt x="9900" y="8634"/>
                  </a:lnTo>
                  <a:lnTo>
                    <a:pt x="9968" y="8476"/>
                  </a:lnTo>
                  <a:lnTo>
                    <a:pt x="10013" y="8295"/>
                  </a:lnTo>
                  <a:lnTo>
                    <a:pt x="10035" y="8137"/>
                  </a:lnTo>
                  <a:lnTo>
                    <a:pt x="10035" y="8002"/>
                  </a:lnTo>
                  <a:lnTo>
                    <a:pt x="10013" y="7911"/>
                  </a:lnTo>
                  <a:lnTo>
                    <a:pt x="9968" y="7821"/>
                  </a:lnTo>
                  <a:lnTo>
                    <a:pt x="9606" y="7504"/>
                  </a:lnTo>
                  <a:lnTo>
                    <a:pt x="8996" y="7030"/>
                  </a:lnTo>
                  <a:lnTo>
                    <a:pt x="8227" y="6397"/>
                  </a:lnTo>
                  <a:lnTo>
                    <a:pt x="7414" y="5696"/>
                  </a:lnTo>
                  <a:lnTo>
                    <a:pt x="7007" y="5312"/>
                  </a:lnTo>
                  <a:lnTo>
                    <a:pt x="6645" y="4950"/>
                  </a:lnTo>
                  <a:lnTo>
                    <a:pt x="6306" y="4566"/>
                  </a:lnTo>
                  <a:lnTo>
                    <a:pt x="6035" y="4204"/>
                  </a:lnTo>
                  <a:lnTo>
                    <a:pt x="5809" y="3843"/>
                  </a:lnTo>
                  <a:lnTo>
                    <a:pt x="5741" y="3685"/>
                  </a:lnTo>
                  <a:lnTo>
                    <a:pt x="5673" y="3504"/>
                  </a:lnTo>
                  <a:lnTo>
                    <a:pt x="5628" y="3368"/>
                  </a:lnTo>
                  <a:lnTo>
                    <a:pt x="5605" y="3210"/>
                  </a:lnTo>
                  <a:lnTo>
                    <a:pt x="5628" y="3074"/>
                  </a:lnTo>
                  <a:lnTo>
                    <a:pt x="5651" y="2939"/>
                  </a:lnTo>
                  <a:lnTo>
                    <a:pt x="5741" y="2713"/>
                  </a:lnTo>
                  <a:lnTo>
                    <a:pt x="5831" y="2555"/>
                  </a:lnTo>
                  <a:lnTo>
                    <a:pt x="5990" y="2283"/>
                  </a:lnTo>
                  <a:lnTo>
                    <a:pt x="6012" y="2170"/>
                  </a:lnTo>
                  <a:lnTo>
                    <a:pt x="6012" y="2080"/>
                  </a:lnTo>
                  <a:lnTo>
                    <a:pt x="5967" y="2012"/>
                  </a:lnTo>
                  <a:lnTo>
                    <a:pt x="5854" y="1944"/>
                  </a:lnTo>
                  <a:lnTo>
                    <a:pt x="5266" y="1696"/>
                  </a:lnTo>
                  <a:lnTo>
                    <a:pt x="4701" y="1425"/>
                  </a:lnTo>
                  <a:lnTo>
                    <a:pt x="4204" y="1131"/>
                  </a:lnTo>
                  <a:lnTo>
                    <a:pt x="3752" y="837"/>
                  </a:lnTo>
                  <a:lnTo>
                    <a:pt x="2961" y="340"/>
                  </a:lnTo>
                  <a:lnTo>
                    <a:pt x="2622" y="159"/>
                  </a:lnTo>
                  <a:lnTo>
                    <a:pt x="2464" y="91"/>
                  </a:lnTo>
                  <a:lnTo>
                    <a:pt x="2306" y="23"/>
                  </a:lnTo>
                  <a:lnTo>
                    <a:pt x="2215" y="1"/>
                  </a:lnTo>
                  <a:close/>
                </a:path>
              </a:pathLst>
            </a:custGeom>
            <a:solidFill>
              <a:srgbClr val="3331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3" name="Google Shape;1810;p16">
              <a:extLst>
                <a:ext uri="{FF2B5EF4-FFF2-40B4-BE49-F238E27FC236}">
                  <a16:creationId xmlns:a16="http://schemas.microsoft.com/office/drawing/2014/main" id="{15B99AEB-CBE5-1365-28CB-FD4CC280C7E0}"/>
                </a:ext>
              </a:extLst>
            </p:cNvPr>
            <p:cNvSpPr/>
            <p:nvPr/>
          </p:nvSpPr>
          <p:spPr>
            <a:xfrm>
              <a:off x="2507300" y="2319850"/>
              <a:ext cx="699525" cy="1122750"/>
            </a:xfrm>
            <a:custGeom>
              <a:avLst/>
              <a:gdLst/>
              <a:ahLst/>
              <a:cxnLst/>
              <a:rect l="l" t="t" r="r" b="b"/>
              <a:pathLst>
                <a:path w="27981" h="44910" extrusionOk="0">
                  <a:moveTo>
                    <a:pt x="3752" y="1"/>
                  </a:moveTo>
                  <a:lnTo>
                    <a:pt x="3549" y="23"/>
                  </a:lnTo>
                  <a:lnTo>
                    <a:pt x="3368" y="46"/>
                  </a:lnTo>
                  <a:lnTo>
                    <a:pt x="3187" y="91"/>
                  </a:lnTo>
                  <a:lnTo>
                    <a:pt x="3029" y="136"/>
                  </a:lnTo>
                  <a:lnTo>
                    <a:pt x="2848" y="227"/>
                  </a:lnTo>
                  <a:lnTo>
                    <a:pt x="2690" y="295"/>
                  </a:lnTo>
                  <a:lnTo>
                    <a:pt x="2396" y="498"/>
                  </a:lnTo>
                  <a:lnTo>
                    <a:pt x="2125" y="724"/>
                  </a:lnTo>
                  <a:lnTo>
                    <a:pt x="1899" y="973"/>
                  </a:lnTo>
                  <a:lnTo>
                    <a:pt x="1673" y="1244"/>
                  </a:lnTo>
                  <a:lnTo>
                    <a:pt x="1469" y="1515"/>
                  </a:lnTo>
                  <a:lnTo>
                    <a:pt x="1311" y="1786"/>
                  </a:lnTo>
                  <a:lnTo>
                    <a:pt x="1040" y="2306"/>
                  </a:lnTo>
                  <a:lnTo>
                    <a:pt x="837" y="2690"/>
                  </a:lnTo>
                  <a:lnTo>
                    <a:pt x="588" y="3255"/>
                  </a:lnTo>
                  <a:lnTo>
                    <a:pt x="407" y="3820"/>
                  </a:lnTo>
                  <a:lnTo>
                    <a:pt x="249" y="4363"/>
                  </a:lnTo>
                  <a:lnTo>
                    <a:pt x="113" y="4883"/>
                  </a:lnTo>
                  <a:lnTo>
                    <a:pt x="46" y="5403"/>
                  </a:lnTo>
                  <a:lnTo>
                    <a:pt x="0" y="5922"/>
                  </a:lnTo>
                  <a:lnTo>
                    <a:pt x="0" y="6420"/>
                  </a:lnTo>
                  <a:lnTo>
                    <a:pt x="23" y="6917"/>
                  </a:lnTo>
                  <a:lnTo>
                    <a:pt x="91" y="7414"/>
                  </a:lnTo>
                  <a:lnTo>
                    <a:pt x="204" y="7889"/>
                  </a:lnTo>
                  <a:lnTo>
                    <a:pt x="339" y="8341"/>
                  </a:lnTo>
                  <a:lnTo>
                    <a:pt x="498" y="8815"/>
                  </a:lnTo>
                  <a:lnTo>
                    <a:pt x="678" y="9245"/>
                  </a:lnTo>
                  <a:lnTo>
                    <a:pt x="904" y="9697"/>
                  </a:lnTo>
                  <a:lnTo>
                    <a:pt x="1153" y="10126"/>
                  </a:lnTo>
                  <a:lnTo>
                    <a:pt x="1424" y="10533"/>
                  </a:lnTo>
                  <a:lnTo>
                    <a:pt x="1741" y="10962"/>
                  </a:lnTo>
                  <a:lnTo>
                    <a:pt x="2057" y="11369"/>
                  </a:lnTo>
                  <a:lnTo>
                    <a:pt x="2396" y="11754"/>
                  </a:lnTo>
                  <a:lnTo>
                    <a:pt x="2758" y="12160"/>
                  </a:lnTo>
                  <a:lnTo>
                    <a:pt x="3142" y="12522"/>
                  </a:lnTo>
                  <a:lnTo>
                    <a:pt x="3549" y="12906"/>
                  </a:lnTo>
                  <a:lnTo>
                    <a:pt x="3978" y="13268"/>
                  </a:lnTo>
                  <a:lnTo>
                    <a:pt x="4408" y="13629"/>
                  </a:lnTo>
                  <a:lnTo>
                    <a:pt x="4860" y="13991"/>
                  </a:lnTo>
                  <a:lnTo>
                    <a:pt x="5334" y="14330"/>
                  </a:lnTo>
                  <a:lnTo>
                    <a:pt x="6306" y="14986"/>
                  </a:lnTo>
                  <a:lnTo>
                    <a:pt x="7301" y="15641"/>
                  </a:lnTo>
                  <a:lnTo>
                    <a:pt x="8340" y="16251"/>
                  </a:lnTo>
                  <a:lnTo>
                    <a:pt x="9403" y="16839"/>
                  </a:lnTo>
                  <a:lnTo>
                    <a:pt x="10465" y="17426"/>
                  </a:lnTo>
                  <a:lnTo>
                    <a:pt x="11527" y="17969"/>
                  </a:lnTo>
                  <a:lnTo>
                    <a:pt x="12567" y="18489"/>
                  </a:lnTo>
                  <a:lnTo>
                    <a:pt x="14601" y="19483"/>
                  </a:lnTo>
                  <a:lnTo>
                    <a:pt x="16477" y="20410"/>
                  </a:lnTo>
                  <a:lnTo>
                    <a:pt x="17336" y="20862"/>
                  </a:lnTo>
                  <a:lnTo>
                    <a:pt x="18127" y="21291"/>
                  </a:lnTo>
                  <a:lnTo>
                    <a:pt x="18827" y="21698"/>
                  </a:lnTo>
                  <a:lnTo>
                    <a:pt x="19438" y="22105"/>
                  </a:lnTo>
                  <a:lnTo>
                    <a:pt x="19709" y="22286"/>
                  </a:lnTo>
                  <a:lnTo>
                    <a:pt x="19935" y="22489"/>
                  </a:lnTo>
                  <a:lnTo>
                    <a:pt x="20161" y="22670"/>
                  </a:lnTo>
                  <a:lnTo>
                    <a:pt x="20342" y="22873"/>
                  </a:lnTo>
                  <a:lnTo>
                    <a:pt x="20500" y="23054"/>
                  </a:lnTo>
                  <a:lnTo>
                    <a:pt x="20635" y="23235"/>
                  </a:lnTo>
                  <a:lnTo>
                    <a:pt x="20726" y="23438"/>
                  </a:lnTo>
                  <a:lnTo>
                    <a:pt x="20794" y="23619"/>
                  </a:lnTo>
                  <a:lnTo>
                    <a:pt x="20816" y="23777"/>
                  </a:lnTo>
                  <a:lnTo>
                    <a:pt x="20839" y="23981"/>
                  </a:lnTo>
                  <a:lnTo>
                    <a:pt x="20816" y="24162"/>
                  </a:lnTo>
                  <a:lnTo>
                    <a:pt x="20794" y="24365"/>
                  </a:lnTo>
                  <a:lnTo>
                    <a:pt x="20749" y="24591"/>
                  </a:lnTo>
                  <a:lnTo>
                    <a:pt x="20681" y="24817"/>
                  </a:lnTo>
                  <a:lnTo>
                    <a:pt x="20522" y="25269"/>
                  </a:lnTo>
                  <a:lnTo>
                    <a:pt x="20274" y="25789"/>
                  </a:lnTo>
                  <a:lnTo>
                    <a:pt x="20003" y="26331"/>
                  </a:lnTo>
                  <a:lnTo>
                    <a:pt x="19641" y="26896"/>
                  </a:lnTo>
                  <a:lnTo>
                    <a:pt x="19257" y="27484"/>
                  </a:lnTo>
                  <a:lnTo>
                    <a:pt x="18827" y="28094"/>
                  </a:lnTo>
                  <a:lnTo>
                    <a:pt x="18353" y="28727"/>
                  </a:lnTo>
                  <a:lnTo>
                    <a:pt x="17856" y="29383"/>
                  </a:lnTo>
                  <a:lnTo>
                    <a:pt x="17313" y="30038"/>
                  </a:lnTo>
                  <a:lnTo>
                    <a:pt x="16183" y="31394"/>
                  </a:lnTo>
                  <a:lnTo>
                    <a:pt x="14963" y="32773"/>
                  </a:lnTo>
                  <a:lnTo>
                    <a:pt x="12522" y="35508"/>
                  </a:lnTo>
                  <a:lnTo>
                    <a:pt x="11346" y="36796"/>
                  </a:lnTo>
                  <a:lnTo>
                    <a:pt x="10261" y="38016"/>
                  </a:lnTo>
                  <a:lnTo>
                    <a:pt x="9290" y="39169"/>
                  </a:lnTo>
                  <a:lnTo>
                    <a:pt x="8860" y="39689"/>
                  </a:lnTo>
                  <a:lnTo>
                    <a:pt x="8476" y="40186"/>
                  </a:lnTo>
                  <a:lnTo>
                    <a:pt x="8137" y="40638"/>
                  </a:lnTo>
                  <a:lnTo>
                    <a:pt x="7843" y="41045"/>
                  </a:lnTo>
                  <a:lnTo>
                    <a:pt x="7617" y="41429"/>
                  </a:lnTo>
                  <a:lnTo>
                    <a:pt x="7459" y="41768"/>
                  </a:lnTo>
                  <a:lnTo>
                    <a:pt x="7617" y="42085"/>
                  </a:lnTo>
                  <a:lnTo>
                    <a:pt x="7866" y="42559"/>
                  </a:lnTo>
                  <a:lnTo>
                    <a:pt x="8024" y="42830"/>
                  </a:lnTo>
                  <a:lnTo>
                    <a:pt x="8227" y="43124"/>
                  </a:lnTo>
                  <a:lnTo>
                    <a:pt x="8453" y="43418"/>
                  </a:lnTo>
                  <a:lnTo>
                    <a:pt x="8702" y="43712"/>
                  </a:lnTo>
                  <a:lnTo>
                    <a:pt x="8996" y="43983"/>
                  </a:lnTo>
                  <a:lnTo>
                    <a:pt x="9312" y="44232"/>
                  </a:lnTo>
                  <a:lnTo>
                    <a:pt x="9696" y="44458"/>
                  </a:lnTo>
                  <a:lnTo>
                    <a:pt x="9877" y="44571"/>
                  </a:lnTo>
                  <a:lnTo>
                    <a:pt x="10103" y="44661"/>
                  </a:lnTo>
                  <a:lnTo>
                    <a:pt x="10307" y="44729"/>
                  </a:lnTo>
                  <a:lnTo>
                    <a:pt x="10533" y="44797"/>
                  </a:lnTo>
                  <a:lnTo>
                    <a:pt x="10781" y="44842"/>
                  </a:lnTo>
                  <a:lnTo>
                    <a:pt x="11030" y="44887"/>
                  </a:lnTo>
                  <a:lnTo>
                    <a:pt x="11279" y="44910"/>
                  </a:lnTo>
                  <a:lnTo>
                    <a:pt x="11844" y="44910"/>
                  </a:lnTo>
                  <a:lnTo>
                    <a:pt x="12137" y="44865"/>
                  </a:lnTo>
                  <a:lnTo>
                    <a:pt x="12815" y="44186"/>
                  </a:lnTo>
                  <a:lnTo>
                    <a:pt x="14578" y="42333"/>
                  </a:lnTo>
                  <a:lnTo>
                    <a:pt x="15776" y="41045"/>
                  </a:lnTo>
                  <a:lnTo>
                    <a:pt x="17087" y="39598"/>
                  </a:lnTo>
                  <a:lnTo>
                    <a:pt x="18511" y="37994"/>
                  </a:lnTo>
                  <a:lnTo>
                    <a:pt x="19980" y="36299"/>
                  </a:lnTo>
                  <a:lnTo>
                    <a:pt x="21449" y="34513"/>
                  </a:lnTo>
                  <a:lnTo>
                    <a:pt x="22172" y="33609"/>
                  </a:lnTo>
                  <a:lnTo>
                    <a:pt x="22873" y="32705"/>
                  </a:lnTo>
                  <a:lnTo>
                    <a:pt x="23551" y="31801"/>
                  </a:lnTo>
                  <a:lnTo>
                    <a:pt x="24207" y="30897"/>
                  </a:lnTo>
                  <a:lnTo>
                    <a:pt x="24839" y="29993"/>
                  </a:lnTo>
                  <a:lnTo>
                    <a:pt x="25404" y="29134"/>
                  </a:lnTo>
                  <a:lnTo>
                    <a:pt x="25947" y="28275"/>
                  </a:lnTo>
                  <a:lnTo>
                    <a:pt x="26444" y="27439"/>
                  </a:lnTo>
                  <a:lnTo>
                    <a:pt x="26873" y="26648"/>
                  </a:lnTo>
                  <a:lnTo>
                    <a:pt x="27235" y="25879"/>
                  </a:lnTo>
                  <a:lnTo>
                    <a:pt x="27529" y="25134"/>
                  </a:lnTo>
                  <a:lnTo>
                    <a:pt x="27665" y="24795"/>
                  </a:lnTo>
                  <a:lnTo>
                    <a:pt x="27755" y="24455"/>
                  </a:lnTo>
                  <a:lnTo>
                    <a:pt x="27845" y="24116"/>
                  </a:lnTo>
                  <a:lnTo>
                    <a:pt x="27913" y="23823"/>
                  </a:lnTo>
                  <a:lnTo>
                    <a:pt x="27958" y="23506"/>
                  </a:lnTo>
                  <a:lnTo>
                    <a:pt x="27981" y="23235"/>
                  </a:lnTo>
                  <a:lnTo>
                    <a:pt x="27981" y="22941"/>
                  </a:lnTo>
                  <a:lnTo>
                    <a:pt x="27958" y="22670"/>
                  </a:lnTo>
                  <a:lnTo>
                    <a:pt x="27913" y="22376"/>
                  </a:lnTo>
                  <a:lnTo>
                    <a:pt x="27868" y="22105"/>
                  </a:lnTo>
                  <a:lnTo>
                    <a:pt x="27800" y="21834"/>
                  </a:lnTo>
                  <a:lnTo>
                    <a:pt x="27710" y="21540"/>
                  </a:lnTo>
                  <a:lnTo>
                    <a:pt x="27619" y="21269"/>
                  </a:lnTo>
                  <a:lnTo>
                    <a:pt x="27484" y="20997"/>
                  </a:lnTo>
                  <a:lnTo>
                    <a:pt x="27213" y="20455"/>
                  </a:lnTo>
                  <a:lnTo>
                    <a:pt x="26873" y="19890"/>
                  </a:lnTo>
                  <a:lnTo>
                    <a:pt x="26489" y="19348"/>
                  </a:lnTo>
                  <a:lnTo>
                    <a:pt x="26060" y="18805"/>
                  </a:lnTo>
                  <a:lnTo>
                    <a:pt x="25585" y="18285"/>
                  </a:lnTo>
                  <a:lnTo>
                    <a:pt x="25088" y="17743"/>
                  </a:lnTo>
                  <a:lnTo>
                    <a:pt x="24546" y="17223"/>
                  </a:lnTo>
                  <a:lnTo>
                    <a:pt x="23958" y="16703"/>
                  </a:lnTo>
                  <a:lnTo>
                    <a:pt x="23348" y="16183"/>
                  </a:lnTo>
                  <a:lnTo>
                    <a:pt x="22737" y="15686"/>
                  </a:lnTo>
                  <a:lnTo>
                    <a:pt x="22082" y="15189"/>
                  </a:lnTo>
                  <a:lnTo>
                    <a:pt x="21427" y="14692"/>
                  </a:lnTo>
                  <a:lnTo>
                    <a:pt x="20093" y="13742"/>
                  </a:lnTo>
                  <a:lnTo>
                    <a:pt x="18737" y="12816"/>
                  </a:lnTo>
                  <a:lnTo>
                    <a:pt x="16160" y="11121"/>
                  </a:lnTo>
                  <a:lnTo>
                    <a:pt x="14985" y="10352"/>
                  </a:lnTo>
                  <a:lnTo>
                    <a:pt x="13923" y="9629"/>
                  </a:lnTo>
                  <a:lnTo>
                    <a:pt x="13448" y="9290"/>
                  </a:lnTo>
                  <a:lnTo>
                    <a:pt x="13019" y="8951"/>
                  </a:lnTo>
                  <a:lnTo>
                    <a:pt x="12635" y="8635"/>
                  </a:lnTo>
                  <a:lnTo>
                    <a:pt x="12318" y="8341"/>
                  </a:lnTo>
                  <a:lnTo>
                    <a:pt x="12024" y="8069"/>
                  </a:lnTo>
                  <a:lnTo>
                    <a:pt x="11753" y="7776"/>
                  </a:lnTo>
                  <a:lnTo>
                    <a:pt x="11505" y="7504"/>
                  </a:lnTo>
                  <a:lnTo>
                    <a:pt x="11301" y="7233"/>
                  </a:lnTo>
                  <a:lnTo>
                    <a:pt x="10894" y="6691"/>
                  </a:lnTo>
                  <a:lnTo>
                    <a:pt x="10578" y="6171"/>
                  </a:lnTo>
                  <a:lnTo>
                    <a:pt x="10284" y="5651"/>
                  </a:lnTo>
                  <a:lnTo>
                    <a:pt x="10013" y="5131"/>
                  </a:lnTo>
                  <a:lnTo>
                    <a:pt x="9764" y="4634"/>
                  </a:lnTo>
                  <a:lnTo>
                    <a:pt x="9493" y="4137"/>
                  </a:lnTo>
                  <a:lnTo>
                    <a:pt x="9199" y="3662"/>
                  </a:lnTo>
                  <a:lnTo>
                    <a:pt x="8860" y="3165"/>
                  </a:lnTo>
                  <a:lnTo>
                    <a:pt x="8679" y="2939"/>
                  </a:lnTo>
                  <a:lnTo>
                    <a:pt x="8476" y="2690"/>
                  </a:lnTo>
                  <a:lnTo>
                    <a:pt x="8250" y="2464"/>
                  </a:lnTo>
                  <a:lnTo>
                    <a:pt x="8001" y="2216"/>
                  </a:lnTo>
                  <a:lnTo>
                    <a:pt x="7730" y="1990"/>
                  </a:lnTo>
                  <a:lnTo>
                    <a:pt x="7459" y="1741"/>
                  </a:lnTo>
                  <a:lnTo>
                    <a:pt x="7120" y="1515"/>
                  </a:lnTo>
                  <a:lnTo>
                    <a:pt x="6781" y="1266"/>
                  </a:lnTo>
                  <a:lnTo>
                    <a:pt x="6397" y="1018"/>
                  </a:lnTo>
                  <a:lnTo>
                    <a:pt x="5990" y="792"/>
                  </a:lnTo>
                  <a:lnTo>
                    <a:pt x="5538" y="543"/>
                  </a:lnTo>
                  <a:lnTo>
                    <a:pt x="5063" y="317"/>
                  </a:lnTo>
                  <a:lnTo>
                    <a:pt x="4814" y="204"/>
                  </a:lnTo>
                  <a:lnTo>
                    <a:pt x="4588" y="114"/>
                  </a:lnTo>
                  <a:lnTo>
                    <a:pt x="4362" y="69"/>
                  </a:lnTo>
                  <a:lnTo>
                    <a:pt x="4159" y="23"/>
                  </a:lnTo>
                  <a:lnTo>
                    <a:pt x="3956" y="1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4" name="Google Shape;1811;p16">
              <a:extLst>
                <a:ext uri="{FF2B5EF4-FFF2-40B4-BE49-F238E27FC236}">
                  <a16:creationId xmlns:a16="http://schemas.microsoft.com/office/drawing/2014/main" id="{18B5D3A2-39AA-6C9F-7044-8C89520EBE9A}"/>
                </a:ext>
              </a:extLst>
            </p:cNvPr>
            <p:cNvSpPr/>
            <p:nvPr/>
          </p:nvSpPr>
          <p:spPr>
            <a:xfrm>
              <a:off x="2507300" y="2319850"/>
              <a:ext cx="699525" cy="1122750"/>
            </a:xfrm>
            <a:custGeom>
              <a:avLst/>
              <a:gdLst/>
              <a:ahLst/>
              <a:cxnLst/>
              <a:rect l="l" t="t" r="r" b="b"/>
              <a:pathLst>
                <a:path w="27981" h="44910" fill="none" extrusionOk="0">
                  <a:moveTo>
                    <a:pt x="12318" y="8341"/>
                  </a:moveTo>
                  <a:lnTo>
                    <a:pt x="12318" y="8341"/>
                  </a:lnTo>
                  <a:lnTo>
                    <a:pt x="12635" y="8635"/>
                  </a:lnTo>
                  <a:lnTo>
                    <a:pt x="13019" y="8951"/>
                  </a:lnTo>
                  <a:lnTo>
                    <a:pt x="13448" y="9290"/>
                  </a:lnTo>
                  <a:lnTo>
                    <a:pt x="13923" y="9629"/>
                  </a:lnTo>
                  <a:lnTo>
                    <a:pt x="14985" y="10352"/>
                  </a:lnTo>
                  <a:lnTo>
                    <a:pt x="16160" y="11121"/>
                  </a:lnTo>
                  <a:lnTo>
                    <a:pt x="18737" y="12816"/>
                  </a:lnTo>
                  <a:lnTo>
                    <a:pt x="20093" y="13742"/>
                  </a:lnTo>
                  <a:lnTo>
                    <a:pt x="21427" y="14692"/>
                  </a:lnTo>
                  <a:lnTo>
                    <a:pt x="22082" y="15189"/>
                  </a:lnTo>
                  <a:lnTo>
                    <a:pt x="22737" y="15686"/>
                  </a:lnTo>
                  <a:lnTo>
                    <a:pt x="23348" y="16183"/>
                  </a:lnTo>
                  <a:lnTo>
                    <a:pt x="23958" y="16703"/>
                  </a:lnTo>
                  <a:lnTo>
                    <a:pt x="24546" y="17223"/>
                  </a:lnTo>
                  <a:lnTo>
                    <a:pt x="25088" y="17743"/>
                  </a:lnTo>
                  <a:lnTo>
                    <a:pt x="25585" y="18285"/>
                  </a:lnTo>
                  <a:lnTo>
                    <a:pt x="26060" y="18805"/>
                  </a:lnTo>
                  <a:lnTo>
                    <a:pt x="26489" y="19348"/>
                  </a:lnTo>
                  <a:lnTo>
                    <a:pt x="26873" y="19890"/>
                  </a:lnTo>
                  <a:lnTo>
                    <a:pt x="27213" y="20455"/>
                  </a:lnTo>
                  <a:lnTo>
                    <a:pt x="27484" y="20997"/>
                  </a:lnTo>
                  <a:lnTo>
                    <a:pt x="27619" y="21269"/>
                  </a:lnTo>
                  <a:lnTo>
                    <a:pt x="27710" y="21540"/>
                  </a:lnTo>
                  <a:lnTo>
                    <a:pt x="27800" y="21834"/>
                  </a:lnTo>
                  <a:lnTo>
                    <a:pt x="27868" y="22105"/>
                  </a:lnTo>
                  <a:lnTo>
                    <a:pt x="27913" y="22376"/>
                  </a:lnTo>
                  <a:lnTo>
                    <a:pt x="27958" y="22670"/>
                  </a:lnTo>
                  <a:lnTo>
                    <a:pt x="27981" y="22941"/>
                  </a:lnTo>
                  <a:lnTo>
                    <a:pt x="27981" y="23235"/>
                  </a:lnTo>
                  <a:lnTo>
                    <a:pt x="27981" y="23235"/>
                  </a:lnTo>
                  <a:lnTo>
                    <a:pt x="27958" y="23506"/>
                  </a:lnTo>
                  <a:lnTo>
                    <a:pt x="27913" y="23823"/>
                  </a:lnTo>
                  <a:lnTo>
                    <a:pt x="27845" y="24116"/>
                  </a:lnTo>
                  <a:lnTo>
                    <a:pt x="27755" y="24455"/>
                  </a:lnTo>
                  <a:lnTo>
                    <a:pt x="27665" y="24795"/>
                  </a:lnTo>
                  <a:lnTo>
                    <a:pt x="27529" y="25134"/>
                  </a:lnTo>
                  <a:lnTo>
                    <a:pt x="27235" y="25879"/>
                  </a:lnTo>
                  <a:lnTo>
                    <a:pt x="26873" y="26648"/>
                  </a:lnTo>
                  <a:lnTo>
                    <a:pt x="26444" y="27439"/>
                  </a:lnTo>
                  <a:lnTo>
                    <a:pt x="25947" y="28275"/>
                  </a:lnTo>
                  <a:lnTo>
                    <a:pt x="25404" y="29134"/>
                  </a:lnTo>
                  <a:lnTo>
                    <a:pt x="24839" y="29993"/>
                  </a:lnTo>
                  <a:lnTo>
                    <a:pt x="24207" y="30897"/>
                  </a:lnTo>
                  <a:lnTo>
                    <a:pt x="23551" y="31801"/>
                  </a:lnTo>
                  <a:lnTo>
                    <a:pt x="22873" y="32705"/>
                  </a:lnTo>
                  <a:lnTo>
                    <a:pt x="22172" y="33609"/>
                  </a:lnTo>
                  <a:lnTo>
                    <a:pt x="21449" y="34513"/>
                  </a:lnTo>
                  <a:lnTo>
                    <a:pt x="19980" y="36299"/>
                  </a:lnTo>
                  <a:lnTo>
                    <a:pt x="18511" y="37994"/>
                  </a:lnTo>
                  <a:lnTo>
                    <a:pt x="17087" y="39598"/>
                  </a:lnTo>
                  <a:lnTo>
                    <a:pt x="15776" y="41045"/>
                  </a:lnTo>
                  <a:lnTo>
                    <a:pt x="14578" y="42333"/>
                  </a:lnTo>
                  <a:lnTo>
                    <a:pt x="12815" y="44186"/>
                  </a:lnTo>
                  <a:lnTo>
                    <a:pt x="12137" y="44865"/>
                  </a:lnTo>
                  <a:lnTo>
                    <a:pt x="12137" y="44865"/>
                  </a:lnTo>
                  <a:lnTo>
                    <a:pt x="11844" y="44910"/>
                  </a:lnTo>
                  <a:lnTo>
                    <a:pt x="11572" y="44910"/>
                  </a:lnTo>
                  <a:lnTo>
                    <a:pt x="11279" y="44910"/>
                  </a:lnTo>
                  <a:lnTo>
                    <a:pt x="11030" y="44887"/>
                  </a:lnTo>
                  <a:lnTo>
                    <a:pt x="10781" y="44842"/>
                  </a:lnTo>
                  <a:lnTo>
                    <a:pt x="10533" y="44797"/>
                  </a:lnTo>
                  <a:lnTo>
                    <a:pt x="10307" y="44729"/>
                  </a:lnTo>
                  <a:lnTo>
                    <a:pt x="10103" y="44661"/>
                  </a:lnTo>
                  <a:lnTo>
                    <a:pt x="9877" y="44571"/>
                  </a:lnTo>
                  <a:lnTo>
                    <a:pt x="9696" y="44458"/>
                  </a:lnTo>
                  <a:lnTo>
                    <a:pt x="9312" y="44232"/>
                  </a:lnTo>
                  <a:lnTo>
                    <a:pt x="8996" y="43983"/>
                  </a:lnTo>
                  <a:lnTo>
                    <a:pt x="8702" y="43712"/>
                  </a:lnTo>
                  <a:lnTo>
                    <a:pt x="8453" y="43418"/>
                  </a:lnTo>
                  <a:lnTo>
                    <a:pt x="8227" y="43124"/>
                  </a:lnTo>
                  <a:lnTo>
                    <a:pt x="8024" y="42830"/>
                  </a:lnTo>
                  <a:lnTo>
                    <a:pt x="7866" y="42559"/>
                  </a:lnTo>
                  <a:lnTo>
                    <a:pt x="7617" y="42085"/>
                  </a:lnTo>
                  <a:lnTo>
                    <a:pt x="7459" y="41768"/>
                  </a:lnTo>
                  <a:lnTo>
                    <a:pt x="7459" y="41768"/>
                  </a:lnTo>
                  <a:lnTo>
                    <a:pt x="7617" y="41429"/>
                  </a:lnTo>
                  <a:lnTo>
                    <a:pt x="7843" y="41045"/>
                  </a:lnTo>
                  <a:lnTo>
                    <a:pt x="8137" y="40638"/>
                  </a:lnTo>
                  <a:lnTo>
                    <a:pt x="8476" y="40186"/>
                  </a:lnTo>
                  <a:lnTo>
                    <a:pt x="8860" y="39689"/>
                  </a:lnTo>
                  <a:lnTo>
                    <a:pt x="9290" y="39169"/>
                  </a:lnTo>
                  <a:lnTo>
                    <a:pt x="10261" y="38016"/>
                  </a:lnTo>
                  <a:lnTo>
                    <a:pt x="11346" y="36796"/>
                  </a:lnTo>
                  <a:lnTo>
                    <a:pt x="12522" y="35508"/>
                  </a:lnTo>
                  <a:lnTo>
                    <a:pt x="14963" y="32773"/>
                  </a:lnTo>
                  <a:lnTo>
                    <a:pt x="16183" y="31394"/>
                  </a:lnTo>
                  <a:lnTo>
                    <a:pt x="17313" y="30038"/>
                  </a:lnTo>
                  <a:lnTo>
                    <a:pt x="17856" y="29383"/>
                  </a:lnTo>
                  <a:lnTo>
                    <a:pt x="18353" y="28727"/>
                  </a:lnTo>
                  <a:lnTo>
                    <a:pt x="18827" y="28094"/>
                  </a:lnTo>
                  <a:lnTo>
                    <a:pt x="19257" y="27484"/>
                  </a:lnTo>
                  <a:lnTo>
                    <a:pt x="19641" y="26896"/>
                  </a:lnTo>
                  <a:lnTo>
                    <a:pt x="20003" y="26331"/>
                  </a:lnTo>
                  <a:lnTo>
                    <a:pt x="20274" y="25789"/>
                  </a:lnTo>
                  <a:lnTo>
                    <a:pt x="20522" y="25269"/>
                  </a:lnTo>
                  <a:lnTo>
                    <a:pt x="20681" y="24817"/>
                  </a:lnTo>
                  <a:lnTo>
                    <a:pt x="20749" y="24591"/>
                  </a:lnTo>
                  <a:lnTo>
                    <a:pt x="20794" y="24365"/>
                  </a:lnTo>
                  <a:lnTo>
                    <a:pt x="20816" y="24162"/>
                  </a:lnTo>
                  <a:lnTo>
                    <a:pt x="20839" y="23981"/>
                  </a:lnTo>
                  <a:lnTo>
                    <a:pt x="20816" y="23777"/>
                  </a:lnTo>
                  <a:lnTo>
                    <a:pt x="20794" y="23619"/>
                  </a:lnTo>
                  <a:lnTo>
                    <a:pt x="20794" y="23619"/>
                  </a:lnTo>
                  <a:lnTo>
                    <a:pt x="20726" y="23438"/>
                  </a:lnTo>
                  <a:lnTo>
                    <a:pt x="20635" y="23235"/>
                  </a:lnTo>
                  <a:lnTo>
                    <a:pt x="20500" y="23054"/>
                  </a:lnTo>
                  <a:lnTo>
                    <a:pt x="20342" y="22873"/>
                  </a:lnTo>
                  <a:lnTo>
                    <a:pt x="20161" y="22670"/>
                  </a:lnTo>
                  <a:lnTo>
                    <a:pt x="19935" y="22489"/>
                  </a:lnTo>
                  <a:lnTo>
                    <a:pt x="19709" y="22286"/>
                  </a:lnTo>
                  <a:lnTo>
                    <a:pt x="19438" y="22105"/>
                  </a:lnTo>
                  <a:lnTo>
                    <a:pt x="18827" y="21698"/>
                  </a:lnTo>
                  <a:lnTo>
                    <a:pt x="18127" y="21291"/>
                  </a:lnTo>
                  <a:lnTo>
                    <a:pt x="17336" y="20862"/>
                  </a:lnTo>
                  <a:lnTo>
                    <a:pt x="16477" y="20410"/>
                  </a:lnTo>
                  <a:lnTo>
                    <a:pt x="14601" y="19483"/>
                  </a:lnTo>
                  <a:lnTo>
                    <a:pt x="12567" y="18489"/>
                  </a:lnTo>
                  <a:lnTo>
                    <a:pt x="11527" y="17969"/>
                  </a:lnTo>
                  <a:lnTo>
                    <a:pt x="10465" y="17426"/>
                  </a:lnTo>
                  <a:lnTo>
                    <a:pt x="9403" y="16839"/>
                  </a:lnTo>
                  <a:lnTo>
                    <a:pt x="8340" y="16251"/>
                  </a:lnTo>
                  <a:lnTo>
                    <a:pt x="7301" y="15641"/>
                  </a:lnTo>
                  <a:lnTo>
                    <a:pt x="6306" y="14986"/>
                  </a:lnTo>
                  <a:lnTo>
                    <a:pt x="5334" y="14330"/>
                  </a:lnTo>
                  <a:lnTo>
                    <a:pt x="4860" y="13991"/>
                  </a:lnTo>
                  <a:lnTo>
                    <a:pt x="4408" y="13629"/>
                  </a:lnTo>
                  <a:lnTo>
                    <a:pt x="3978" y="13268"/>
                  </a:lnTo>
                  <a:lnTo>
                    <a:pt x="3549" y="12906"/>
                  </a:lnTo>
                  <a:lnTo>
                    <a:pt x="3142" y="12522"/>
                  </a:lnTo>
                  <a:lnTo>
                    <a:pt x="2758" y="12160"/>
                  </a:lnTo>
                  <a:lnTo>
                    <a:pt x="2396" y="11754"/>
                  </a:lnTo>
                  <a:lnTo>
                    <a:pt x="2057" y="11369"/>
                  </a:lnTo>
                  <a:lnTo>
                    <a:pt x="1741" y="10962"/>
                  </a:lnTo>
                  <a:lnTo>
                    <a:pt x="1424" y="10533"/>
                  </a:lnTo>
                  <a:lnTo>
                    <a:pt x="1153" y="10126"/>
                  </a:lnTo>
                  <a:lnTo>
                    <a:pt x="904" y="9697"/>
                  </a:lnTo>
                  <a:lnTo>
                    <a:pt x="678" y="9245"/>
                  </a:lnTo>
                  <a:lnTo>
                    <a:pt x="498" y="8815"/>
                  </a:lnTo>
                  <a:lnTo>
                    <a:pt x="339" y="8341"/>
                  </a:lnTo>
                  <a:lnTo>
                    <a:pt x="204" y="7889"/>
                  </a:lnTo>
                  <a:lnTo>
                    <a:pt x="91" y="7414"/>
                  </a:lnTo>
                  <a:lnTo>
                    <a:pt x="23" y="6917"/>
                  </a:lnTo>
                  <a:lnTo>
                    <a:pt x="0" y="6420"/>
                  </a:lnTo>
                  <a:lnTo>
                    <a:pt x="0" y="5922"/>
                  </a:lnTo>
                  <a:lnTo>
                    <a:pt x="46" y="5403"/>
                  </a:lnTo>
                  <a:lnTo>
                    <a:pt x="113" y="4883"/>
                  </a:lnTo>
                  <a:lnTo>
                    <a:pt x="249" y="4363"/>
                  </a:lnTo>
                  <a:lnTo>
                    <a:pt x="407" y="3820"/>
                  </a:lnTo>
                  <a:lnTo>
                    <a:pt x="588" y="3255"/>
                  </a:lnTo>
                  <a:lnTo>
                    <a:pt x="837" y="2690"/>
                  </a:lnTo>
                  <a:lnTo>
                    <a:pt x="837" y="2690"/>
                  </a:lnTo>
                  <a:lnTo>
                    <a:pt x="1040" y="2306"/>
                  </a:lnTo>
                  <a:lnTo>
                    <a:pt x="1311" y="1786"/>
                  </a:lnTo>
                  <a:lnTo>
                    <a:pt x="1469" y="1515"/>
                  </a:lnTo>
                  <a:lnTo>
                    <a:pt x="1673" y="1244"/>
                  </a:lnTo>
                  <a:lnTo>
                    <a:pt x="1899" y="973"/>
                  </a:lnTo>
                  <a:lnTo>
                    <a:pt x="2125" y="724"/>
                  </a:lnTo>
                  <a:lnTo>
                    <a:pt x="2396" y="498"/>
                  </a:lnTo>
                  <a:lnTo>
                    <a:pt x="2690" y="295"/>
                  </a:lnTo>
                  <a:lnTo>
                    <a:pt x="2848" y="227"/>
                  </a:lnTo>
                  <a:lnTo>
                    <a:pt x="3029" y="136"/>
                  </a:lnTo>
                  <a:lnTo>
                    <a:pt x="3187" y="91"/>
                  </a:lnTo>
                  <a:lnTo>
                    <a:pt x="3368" y="46"/>
                  </a:lnTo>
                  <a:lnTo>
                    <a:pt x="3549" y="23"/>
                  </a:lnTo>
                  <a:lnTo>
                    <a:pt x="3752" y="1"/>
                  </a:lnTo>
                  <a:lnTo>
                    <a:pt x="3956" y="1"/>
                  </a:lnTo>
                  <a:lnTo>
                    <a:pt x="4159" y="23"/>
                  </a:lnTo>
                  <a:lnTo>
                    <a:pt x="4362" y="69"/>
                  </a:lnTo>
                  <a:lnTo>
                    <a:pt x="4588" y="114"/>
                  </a:lnTo>
                  <a:lnTo>
                    <a:pt x="4814" y="204"/>
                  </a:lnTo>
                  <a:lnTo>
                    <a:pt x="5063" y="317"/>
                  </a:lnTo>
                  <a:lnTo>
                    <a:pt x="5063" y="317"/>
                  </a:lnTo>
                  <a:lnTo>
                    <a:pt x="5538" y="543"/>
                  </a:lnTo>
                  <a:lnTo>
                    <a:pt x="5990" y="792"/>
                  </a:lnTo>
                  <a:lnTo>
                    <a:pt x="6397" y="1018"/>
                  </a:lnTo>
                  <a:lnTo>
                    <a:pt x="6781" y="1266"/>
                  </a:lnTo>
                  <a:lnTo>
                    <a:pt x="7120" y="1515"/>
                  </a:lnTo>
                  <a:lnTo>
                    <a:pt x="7459" y="1741"/>
                  </a:lnTo>
                  <a:lnTo>
                    <a:pt x="7730" y="1990"/>
                  </a:lnTo>
                  <a:lnTo>
                    <a:pt x="8001" y="2216"/>
                  </a:lnTo>
                  <a:lnTo>
                    <a:pt x="8250" y="2464"/>
                  </a:lnTo>
                  <a:lnTo>
                    <a:pt x="8476" y="2690"/>
                  </a:lnTo>
                  <a:lnTo>
                    <a:pt x="8679" y="2939"/>
                  </a:lnTo>
                  <a:lnTo>
                    <a:pt x="8860" y="3165"/>
                  </a:lnTo>
                  <a:lnTo>
                    <a:pt x="9199" y="3662"/>
                  </a:lnTo>
                  <a:lnTo>
                    <a:pt x="9493" y="4137"/>
                  </a:lnTo>
                  <a:lnTo>
                    <a:pt x="9764" y="4634"/>
                  </a:lnTo>
                  <a:lnTo>
                    <a:pt x="10013" y="5131"/>
                  </a:lnTo>
                  <a:lnTo>
                    <a:pt x="10284" y="5651"/>
                  </a:lnTo>
                  <a:lnTo>
                    <a:pt x="10578" y="6171"/>
                  </a:lnTo>
                  <a:lnTo>
                    <a:pt x="10894" y="6691"/>
                  </a:lnTo>
                  <a:lnTo>
                    <a:pt x="11301" y="7233"/>
                  </a:lnTo>
                  <a:lnTo>
                    <a:pt x="11505" y="7504"/>
                  </a:lnTo>
                  <a:lnTo>
                    <a:pt x="11753" y="7776"/>
                  </a:lnTo>
                  <a:lnTo>
                    <a:pt x="12024" y="8069"/>
                  </a:lnTo>
                  <a:lnTo>
                    <a:pt x="12318" y="834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5" name="Google Shape;1812;p16">
              <a:extLst>
                <a:ext uri="{FF2B5EF4-FFF2-40B4-BE49-F238E27FC236}">
                  <a16:creationId xmlns:a16="http://schemas.microsoft.com/office/drawing/2014/main" id="{17EB0EB2-6A37-915A-CCD1-6F14E7E7D586}"/>
                </a:ext>
              </a:extLst>
            </p:cNvPr>
            <p:cNvSpPr/>
            <p:nvPr/>
          </p:nvSpPr>
          <p:spPr>
            <a:xfrm>
              <a:off x="2726525" y="1952025"/>
              <a:ext cx="305150" cy="541325"/>
            </a:xfrm>
            <a:custGeom>
              <a:avLst/>
              <a:gdLst/>
              <a:ahLst/>
              <a:cxnLst/>
              <a:rect l="l" t="t" r="r" b="b"/>
              <a:pathLst>
                <a:path w="12206" h="21653" extrusionOk="0">
                  <a:moveTo>
                    <a:pt x="11686" y="0"/>
                  </a:moveTo>
                  <a:lnTo>
                    <a:pt x="11618" y="23"/>
                  </a:lnTo>
                  <a:lnTo>
                    <a:pt x="11550" y="46"/>
                  </a:lnTo>
                  <a:lnTo>
                    <a:pt x="11505" y="113"/>
                  </a:lnTo>
                  <a:lnTo>
                    <a:pt x="11437" y="204"/>
                  </a:lnTo>
                  <a:lnTo>
                    <a:pt x="11414" y="317"/>
                  </a:lnTo>
                  <a:lnTo>
                    <a:pt x="11369" y="475"/>
                  </a:lnTo>
                  <a:lnTo>
                    <a:pt x="11369" y="678"/>
                  </a:lnTo>
                  <a:lnTo>
                    <a:pt x="11324" y="837"/>
                  </a:lnTo>
                  <a:lnTo>
                    <a:pt x="11234" y="1085"/>
                  </a:lnTo>
                  <a:lnTo>
                    <a:pt x="10849" y="1854"/>
                  </a:lnTo>
                  <a:lnTo>
                    <a:pt x="10284" y="2916"/>
                  </a:lnTo>
                  <a:lnTo>
                    <a:pt x="9561" y="4227"/>
                  </a:lnTo>
                  <a:lnTo>
                    <a:pt x="7753" y="7436"/>
                  </a:lnTo>
                  <a:lnTo>
                    <a:pt x="5674" y="11030"/>
                  </a:lnTo>
                  <a:lnTo>
                    <a:pt x="3594" y="14623"/>
                  </a:lnTo>
                  <a:lnTo>
                    <a:pt x="1786" y="17788"/>
                  </a:lnTo>
                  <a:lnTo>
                    <a:pt x="1063" y="19098"/>
                  </a:lnTo>
                  <a:lnTo>
                    <a:pt x="498" y="20161"/>
                  </a:lnTo>
                  <a:lnTo>
                    <a:pt x="136" y="20907"/>
                  </a:lnTo>
                  <a:lnTo>
                    <a:pt x="46" y="21155"/>
                  </a:lnTo>
                  <a:lnTo>
                    <a:pt x="1" y="21291"/>
                  </a:lnTo>
                  <a:lnTo>
                    <a:pt x="23" y="21381"/>
                  </a:lnTo>
                  <a:lnTo>
                    <a:pt x="46" y="21449"/>
                  </a:lnTo>
                  <a:lnTo>
                    <a:pt x="91" y="21517"/>
                  </a:lnTo>
                  <a:lnTo>
                    <a:pt x="159" y="21562"/>
                  </a:lnTo>
                  <a:lnTo>
                    <a:pt x="227" y="21607"/>
                  </a:lnTo>
                  <a:lnTo>
                    <a:pt x="317" y="21630"/>
                  </a:lnTo>
                  <a:lnTo>
                    <a:pt x="543" y="21652"/>
                  </a:lnTo>
                  <a:lnTo>
                    <a:pt x="792" y="21652"/>
                  </a:lnTo>
                  <a:lnTo>
                    <a:pt x="1108" y="21607"/>
                  </a:lnTo>
                  <a:lnTo>
                    <a:pt x="1447" y="21539"/>
                  </a:lnTo>
                  <a:lnTo>
                    <a:pt x="1786" y="21449"/>
                  </a:lnTo>
                  <a:lnTo>
                    <a:pt x="2532" y="21223"/>
                  </a:lnTo>
                  <a:lnTo>
                    <a:pt x="3278" y="20997"/>
                  </a:lnTo>
                  <a:lnTo>
                    <a:pt x="3956" y="20816"/>
                  </a:lnTo>
                  <a:lnTo>
                    <a:pt x="4272" y="20748"/>
                  </a:lnTo>
                  <a:lnTo>
                    <a:pt x="4521" y="20703"/>
                  </a:lnTo>
                  <a:lnTo>
                    <a:pt x="4657" y="20681"/>
                  </a:lnTo>
                  <a:lnTo>
                    <a:pt x="4770" y="20613"/>
                  </a:lnTo>
                  <a:lnTo>
                    <a:pt x="4905" y="20500"/>
                  </a:lnTo>
                  <a:lnTo>
                    <a:pt x="5063" y="20342"/>
                  </a:lnTo>
                  <a:lnTo>
                    <a:pt x="5199" y="20161"/>
                  </a:lnTo>
                  <a:lnTo>
                    <a:pt x="5357" y="19935"/>
                  </a:lnTo>
                  <a:lnTo>
                    <a:pt x="5674" y="19392"/>
                  </a:lnTo>
                  <a:lnTo>
                    <a:pt x="6013" y="18759"/>
                  </a:lnTo>
                  <a:lnTo>
                    <a:pt x="6352" y="18036"/>
                  </a:lnTo>
                  <a:lnTo>
                    <a:pt x="6736" y="17245"/>
                  </a:lnTo>
                  <a:lnTo>
                    <a:pt x="7098" y="16386"/>
                  </a:lnTo>
                  <a:lnTo>
                    <a:pt x="7866" y="14578"/>
                  </a:lnTo>
                  <a:lnTo>
                    <a:pt x="8657" y="12747"/>
                  </a:lnTo>
                  <a:lnTo>
                    <a:pt x="9064" y="11889"/>
                  </a:lnTo>
                  <a:lnTo>
                    <a:pt x="9448" y="11052"/>
                  </a:lnTo>
                  <a:lnTo>
                    <a:pt x="9832" y="10284"/>
                  </a:lnTo>
                  <a:lnTo>
                    <a:pt x="10217" y="9606"/>
                  </a:lnTo>
                  <a:lnTo>
                    <a:pt x="10397" y="9244"/>
                  </a:lnTo>
                  <a:lnTo>
                    <a:pt x="10601" y="8815"/>
                  </a:lnTo>
                  <a:lnTo>
                    <a:pt x="10804" y="8272"/>
                  </a:lnTo>
                  <a:lnTo>
                    <a:pt x="11008" y="7685"/>
                  </a:lnTo>
                  <a:lnTo>
                    <a:pt x="11188" y="7052"/>
                  </a:lnTo>
                  <a:lnTo>
                    <a:pt x="11369" y="6374"/>
                  </a:lnTo>
                  <a:lnTo>
                    <a:pt x="11550" y="5673"/>
                  </a:lnTo>
                  <a:lnTo>
                    <a:pt x="11708" y="4973"/>
                  </a:lnTo>
                  <a:lnTo>
                    <a:pt x="11866" y="4249"/>
                  </a:lnTo>
                  <a:lnTo>
                    <a:pt x="11980" y="3549"/>
                  </a:lnTo>
                  <a:lnTo>
                    <a:pt x="12093" y="2871"/>
                  </a:lnTo>
                  <a:lnTo>
                    <a:pt x="12160" y="2215"/>
                  </a:lnTo>
                  <a:lnTo>
                    <a:pt x="12206" y="1605"/>
                  </a:lnTo>
                  <a:lnTo>
                    <a:pt x="12206" y="1063"/>
                  </a:lnTo>
                  <a:lnTo>
                    <a:pt x="12160" y="588"/>
                  </a:lnTo>
                  <a:lnTo>
                    <a:pt x="12138" y="385"/>
                  </a:lnTo>
                  <a:lnTo>
                    <a:pt x="12093" y="204"/>
                  </a:lnTo>
                  <a:lnTo>
                    <a:pt x="11980" y="113"/>
                  </a:lnTo>
                  <a:lnTo>
                    <a:pt x="11866" y="46"/>
                  </a:lnTo>
                  <a:lnTo>
                    <a:pt x="11731" y="0"/>
                  </a:lnTo>
                  <a:close/>
                </a:path>
              </a:pathLst>
            </a:custGeom>
            <a:solidFill>
              <a:srgbClr val="E98B2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6" name="Google Shape;1813;p16">
              <a:extLst>
                <a:ext uri="{FF2B5EF4-FFF2-40B4-BE49-F238E27FC236}">
                  <a16:creationId xmlns:a16="http://schemas.microsoft.com/office/drawing/2014/main" id="{4DDFA757-E90E-F827-F6FA-E82A1495A683}"/>
                </a:ext>
              </a:extLst>
            </p:cNvPr>
            <p:cNvSpPr/>
            <p:nvPr/>
          </p:nvSpPr>
          <p:spPr>
            <a:xfrm>
              <a:off x="2726525" y="1952025"/>
              <a:ext cx="305150" cy="541325"/>
            </a:xfrm>
            <a:custGeom>
              <a:avLst/>
              <a:gdLst/>
              <a:ahLst/>
              <a:cxnLst/>
              <a:rect l="l" t="t" r="r" b="b"/>
              <a:pathLst>
                <a:path w="12206" h="21653" fill="none" extrusionOk="0">
                  <a:moveTo>
                    <a:pt x="12093" y="204"/>
                  </a:moveTo>
                  <a:lnTo>
                    <a:pt x="12093" y="204"/>
                  </a:lnTo>
                  <a:lnTo>
                    <a:pt x="12138" y="385"/>
                  </a:lnTo>
                  <a:lnTo>
                    <a:pt x="12160" y="588"/>
                  </a:lnTo>
                  <a:lnTo>
                    <a:pt x="12206" y="1063"/>
                  </a:lnTo>
                  <a:lnTo>
                    <a:pt x="12206" y="1605"/>
                  </a:lnTo>
                  <a:lnTo>
                    <a:pt x="12160" y="2215"/>
                  </a:lnTo>
                  <a:lnTo>
                    <a:pt x="12093" y="2871"/>
                  </a:lnTo>
                  <a:lnTo>
                    <a:pt x="11980" y="3549"/>
                  </a:lnTo>
                  <a:lnTo>
                    <a:pt x="11866" y="4249"/>
                  </a:lnTo>
                  <a:lnTo>
                    <a:pt x="11708" y="4973"/>
                  </a:lnTo>
                  <a:lnTo>
                    <a:pt x="11550" y="5673"/>
                  </a:lnTo>
                  <a:lnTo>
                    <a:pt x="11369" y="6374"/>
                  </a:lnTo>
                  <a:lnTo>
                    <a:pt x="11188" y="7052"/>
                  </a:lnTo>
                  <a:lnTo>
                    <a:pt x="11008" y="7685"/>
                  </a:lnTo>
                  <a:lnTo>
                    <a:pt x="10804" y="8272"/>
                  </a:lnTo>
                  <a:lnTo>
                    <a:pt x="10601" y="8815"/>
                  </a:lnTo>
                  <a:lnTo>
                    <a:pt x="10397" y="9244"/>
                  </a:lnTo>
                  <a:lnTo>
                    <a:pt x="10217" y="9606"/>
                  </a:lnTo>
                  <a:lnTo>
                    <a:pt x="10217" y="9606"/>
                  </a:lnTo>
                  <a:lnTo>
                    <a:pt x="9832" y="10284"/>
                  </a:lnTo>
                  <a:lnTo>
                    <a:pt x="9448" y="11052"/>
                  </a:lnTo>
                  <a:lnTo>
                    <a:pt x="9064" y="11889"/>
                  </a:lnTo>
                  <a:lnTo>
                    <a:pt x="8657" y="12747"/>
                  </a:lnTo>
                  <a:lnTo>
                    <a:pt x="7866" y="14578"/>
                  </a:lnTo>
                  <a:lnTo>
                    <a:pt x="7098" y="16386"/>
                  </a:lnTo>
                  <a:lnTo>
                    <a:pt x="6736" y="17245"/>
                  </a:lnTo>
                  <a:lnTo>
                    <a:pt x="6352" y="18036"/>
                  </a:lnTo>
                  <a:lnTo>
                    <a:pt x="6013" y="18759"/>
                  </a:lnTo>
                  <a:lnTo>
                    <a:pt x="5674" y="19392"/>
                  </a:lnTo>
                  <a:lnTo>
                    <a:pt x="5357" y="19935"/>
                  </a:lnTo>
                  <a:lnTo>
                    <a:pt x="5199" y="20161"/>
                  </a:lnTo>
                  <a:lnTo>
                    <a:pt x="5063" y="20342"/>
                  </a:lnTo>
                  <a:lnTo>
                    <a:pt x="4905" y="20500"/>
                  </a:lnTo>
                  <a:lnTo>
                    <a:pt x="4770" y="20613"/>
                  </a:lnTo>
                  <a:lnTo>
                    <a:pt x="4657" y="20681"/>
                  </a:lnTo>
                  <a:lnTo>
                    <a:pt x="4521" y="20703"/>
                  </a:lnTo>
                  <a:lnTo>
                    <a:pt x="4521" y="20703"/>
                  </a:lnTo>
                  <a:lnTo>
                    <a:pt x="4272" y="20748"/>
                  </a:lnTo>
                  <a:lnTo>
                    <a:pt x="3956" y="20816"/>
                  </a:lnTo>
                  <a:lnTo>
                    <a:pt x="3278" y="20997"/>
                  </a:lnTo>
                  <a:lnTo>
                    <a:pt x="2532" y="21223"/>
                  </a:lnTo>
                  <a:lnTo>
                    <a:pt x="1786" y="21449"/>
                  </a:lnTo>
                  <a:lnTo>
                    <a:pt x="1447" y="21539"/>
                  </a:lnTo>
                  <a:lnTo>
                    <a:pt x="1108" y="21607"/>
                  </a:lnTo>
                  <a:lnTo>
                    <a:pt x="792" y="21652"/>
                  </a:lnTo>
                  <a:lnTo>
                    <a:pt x="543" y="21652"/>
                  </a:lnTo>
                  <a:lnTo>
                    <a:pt x="317" y="21630"/>
                  </a:lnTo>
                  <a:lnTo>
                    <a:pt x="227" y="21607"/>
                  </a:lnTo>
                  <a:lnTo>
                    <a:pt x="159" y="21562"/>
                  </a:lnTo>
                  <a:lnTo>
                    <a:pt x="91" y="21517"/>
                  </a:lnTo>
                  <a:lnTo>
                    <a:pt x="46" y="21449"/>
                  </a:lnTo>
                  <a:lnTo>
                    <a:pt x="23" y="21381"/>
                  </a:lnTo>
                  <a:lnTo>
                    <a:pt x="1" y="21291"/>
                  </a:lnTo>
                  <a:lnTo>
                    <a:pt x="1" y="21291"/>
                  </a:lnTo>
                  <a:lnTo>
                    <a:pt x="46" y="21155"/>
                  </a:lnTo>
                  <a:lnTo>
                    <a:pt x="136" y="20907"/>
                  </a:lnTo>
                  <a:lnTo>
                    <a:pt x="498" y="20161"/>
                  </a:lnTo>
                  <a:lnTo>
                    <a:pt x="1063" y="19098"/>
                  </a:lnTo>
                  <a:lnTo>
                    <a:pt x="1786" y="17788"/>
                  </a:lnTo>
                  <a:lnTo>
                    <a:pt x="3594" y="14623"/>
                  </a:lnTo>
                  <a:lnTo>
                    <a:pt x="5674" y="11030"/>
                  </a:lnTo>
                  <a:lnTo>
                    <a:pt x="7753" y="7436"/>
                  </a:lnTo>
                  <a:lnTo>
                    <a:pt x="9561" y="4227"/>
                  </a:lnTo>
                  <a:lnTo>
                    <a:pt x="10284" y="2916"/>
                  </a:lnTo>
                  <a:lnTo>
                    <a:pt x="10849" y="1854"/>
                  </a:lnTo>
                  <a:lnTo>
                    <a:pt x="11234" y="1085"/>
                  </a:lnTo>
                  <a:lnTo>
                    <a:pt x="11324" y="837"/>
                  </a:lnTo>
                  <a:lnTo>
                    <a:pt x="11369" y="678"/>
                  </a:lnTo>
                  <a:lnTo>
                    <a:pt x="11369" y="678"/>
                  </a:lnTo>
                  <a:lnTo>
                    <a:pt x="11369" y="475"/>
                  </a:lnTo>
                  <a:lnTo>
                    <a:pt x="11414" y="317"/>
                  </a:lnTo>
                  <a:lnTo>
                    <a:pt x="11437" y="204"/>
                  </a:lnTo>
                  <a:lnTo>
                    <a:pt x="11505" y="113"/>
                  </a:lnTo>
                  <a:lnTo>
                    <a:pt x="11550" y="46"/>
                  </a:lnTo>
                  <a:lnTo>
                    <a:pt x="11618" y="23"/>
                  </a:lnTo>
                  <a:lnTo>
                    <a:pt x="11686" y="0"/>
                  </a:lnTo>
                  <a:lnTo>
                    <a:pt x="11731" y="0"/>
                  </a:lnTo>
                  <a:lnTo>
                    <a:pt x="11866" y="46"/>
                  </a:lnTo>
                  <a:lnTo>
                    <a:pt x="11980" y="113"/>
                  </a:lnTo>
                  <a:lnTo>
                    <a:pt x="12093" y="20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7" name="Google Shape;1814;p16">
              <a:extLst>
                <a:ext uri="{FF2B5EF4-FFF2-40B4-BE49-F238E27FC236}">
                  <a16:creationId xmlns:a16="http://schemas.microsoft.com/office/drawing/2014/main" id="{18B0FB55-2C31-B6FE-E2FF-43FB8E803B55}"/>
                </a:ext>
              </a:extLst>
            </p:cNvPr>
            <p:cNvSpPr/>
            <p:nvPr/>
          </p:nvSpPr>
          <p:spPr>
            <a:xfrm>
              <a:off x="2726525" y="1953150"/>
              <a:ext cx="305150" cy="540200"/>
            </a:xfrm>
            <a:custGeom>
              <a:avLst/>
              <a:gdLst/>
              <a:ahLst/>
              <a:cxnLst/>
              <a:rect l="l" t="t" r="r" b="b"/>
              <a:pathLst>
                <a:path w="12206" h="21608" extrusionOk="0">
                  <a:moveTo>
                    <a:pt x="11866" y="1"/>
                  </a:moveTo>
                  <a:lnTo>
                    <a:pt x="11866" y="68"/>
                  </a:lnTo>
                  <a:lnTo>
                    <a:pt x="11866" y="159"/>
                  </a:lnTo>
                  <a:lnTo>
                    <a:pt x="11753" y="792"/>
                  </a:lnTo>
                  <a:lnTo>
                    <a:pt x="11640" y="1424"/>
                  </a:lnTo>
                  <a:lnTo>
                    <a:pt x="11482" y="2057"/>
                  </a:lnTo>
                  <a:lnTo>
                    <a:pt x="11301" y="2713"/>
                  </a:lnTo>
                  <a:lnTo>
                    <a:pt x="11121" y="3346"/>
                  </a:lnTo>
                  <a:lnTo>
                    <a:pt x="10895" y="4001"/>
                  </a:lnTo>
                  <a:lnTo>
                    <a:pt x="10669" y="4634"/>
                  </a:lnTo>
                  <a:lnTo>
                    <a:pt x="10420" y="5289"/>
                  </a:lnTo>
                  <a:lnTo>
                    <a:pt x="10149" y="5922"/>
                  </a:lnTo>
                  <a:lnTo>
                    <a:pt x="9855" y="6555"/>
                  </a:lnTo>
                  <a:lnTo>
                    <a:pt x="9561" y="7188"/>
                  </a:lnTo>
                  <a:lnTo>
                    <a:pt x="9245" y="7798"/>
                  </a:lnTo>
                  <a:lnTo>
                    <a:pt x="8589" y="9041"/>
                  </a:lnTo>
                  <a:lnTo>
                    <a:pt x="7911" y="10239"/>
                  </a:lnTo>
                  <a:lnTo>
                    <a:pt x="8002" y="10804"/>
                  </a:lnTo>
                  <a:lnTo>
                    <a:pt x="8137" y="11369"/>
                  </a:lnTo>
                  <a:lnTo>
                    <a:pt x="8341" y="12002"/>
                  </a:lnTo>
                  <a:lnTo>
                    <a:pt x="8657" y="12725"/>
                  </a:lnTo>
                  <a:lnTo>
                    <a:pt x="9041" y="11844"/>
                  </a:lnTo>
                  <a:lnTo>
                    <a:pt x="9448" y="11030"/>
                  </a:lnTo>
                  <a:lnTo>
                    <a:pt x="9832" y="10262"/>
                  </a:lnTo>
                  <a:lnTo>
                    <a:pt x="10217" y="9561"/>
                  </a:lnTo>
                  <a:lnTo>
                    <a:pt x="10375" y="9267"/>
                  </a:lnTo>
                  <a:lnTo>
                    <a:pt x="10533" y="8905"/>
                  </a:lnTo>
                  <a:lnTo>
                    <a:pt x="10714" y="8476"/>
                  </a:lnTo>
                  <a:lnTo>
                    <a:pt x="10872" y="8001"/>
                  </a:lnTo>
                  <a:lnTo>
                    <a:pt x="11211" y="6962"/>
                  </a:lnTo>
                  <a:lnTo>
                    <a:pt x="11527" y="5786"/>
                  </a:lnTo>
                  <a:lnTo>
                    <a:pt x="11799" y="4566"/>
                  </a:lnTo>
                  <a:lnTo>
                    <a:pt x="11912" y="3978"/>
                  </a:lnTo>
                  <a:lnTo>
                    <a:pt x="12002" y="3368"/>
                  </a:lnTo>
                  <a:lnTo>
                    <a:pt x="12093" y="2803"/>
                  </a:lnTo>
                  <a:lnTo>
                    <a:pt x="12160" y="2238"/>
                  </a:lnTo>
                  <a:lnTo>
                    <a:pt x="12183" y="1718"/>
                  </a:lnTo>
                  <a:lnTo>
                    <a:pt x="12206" y="1244"/>
                  </a:lnTo>
                  <a:lnTo>
                    <a:pt x="12183" y="927"/>
                  </a:lnTo>
                  <a:lnTo>
                    <a:pt x="12183" y="633"/>
                  </a:lnTo>
                  <a:lnTo>
                    <a:pt x="12138" y="385"/>
                  </a:lnTo>
                  <a:lnTo>
                    <a:pt x="12093" y="159"/>
                  </a:lnTo>
                  <a:lnTo>
                    <a:pt x="12025" y="114"/>
                  </a:lnTo>
                  <a:lnTo>
                    <a:pt x="11866" y="1"/>
                  </a:lnTo>
                  <a:close/>
                  <a:moveTo>
                    <a:pt x="4837" y="14850"/>
                  </a:moveTo>
                  <a:lnTo>
                    <a:pt x="4114" y="15821"/>
                  </a:lnTo>
                  <a:lnTo>
                    <a:pt x="3414" y="16703"/>
                  </a:lnTo>
                  <a:lnTo>
                    <a:pt x="2781" y="17494"/>
                  </a:lnTo>
                  <a:lnTo>
                    <a:pt x="2193" y="18195"/>
                  </a:lnTo>
                  <a:lnTo>
                    <a:pt x="1673" y="18782"/>
                  </a:lnTo>
                  <a:lnTo>
                    <a:pt x="1244" y="19234"/>
                  </a:lnTo>
                  <a:lnTo>
                    <a:pt x="882" y="19596"/>
                  </a:lnTo>
                  <a:lnTo>
                    <a:pt x="656" y="19799"/>
                  </a:lnTo>
                  <a:lnTo>
                    <a:pt x="385" y="20342"/>
                  </a:lnTo>
                  <a:lnTo>
                    <a:pt x="182" y="20771"/>
                  </a:lnTo>
                  <a:lnTo>
                    <a:pt x="46" y="21065"/>
                  </a:lnTo>
                  <a:lnTo>
                    <a:pt x="1" y="21246"/>
                  </a:lnTo>
                  <a:lnTo>
                    <a:pt x="23" y="21336"/>
                  </a:lnTo>
                  <a:lnTo>
                    <a:pt x="46" y="21427"/>
                  </a:lnTo>
                  <a:lnTo>
                    <a:pt x="91" y="21472"/>
                  </a:lnTo>
                  <a:lnTo>
                    <a:pt x="159" y="21540"/>
                  </a:lnTo>
                  <a:lnTo>
                    <a:pt x="249" y="21562"/>
                  </a:lnTo>
                  <a:lnTo>
                    <a:pt x="340" y="21585"/>
                  </a:lnTo>
                  <a:lnTo>
                    <a:pt x="566" y="21607"/>
                  </a:lnTo>
                  <a:lnTo>
                    <a:pt x="747" y="21607"/>
                  </a:lnTo>
                  <a:lnTo>
                    <a:pt x="973" y="21585"/>
                  </a:lnTo>
                  <a:lnTo>
                    <a:pt x="1470" y="21472"/>
                  </a:lnTo>
                  <a:lnTo>
                    <a:pt x="1990" y="21336"/>
                  </a:lnTo>
                  <a:lnTo>
                    <a:pt x="2555" y="21178"/>
                  </a:lnTo>
                  <a:lnTo>
                    <a:pt x="3640" y="20862"/>
                  </a:lnTo>
                  <a:lnTo>
                    <a:pt x="4114" y="20749"/>
                  </a:lnTo>
                  <a:lnTo>
                    <a:pt x="4521" y="20658"/>
                  </a:lnTo>
                  <a:lnTo>
                    <a:pt x="4634" y="20636"/>
                  </a:lnTo>
                  <a:lnTo>
                    <a:pt x="4724" y="20590"/>
                  </a:lnTo>
                  <a:lnTo>
                    <a:pt x="4837" y="20500"/>
                  </a:lnTo>
                  <a:lnTo>
                    <a:pt x="4950" y="20387"/>
                  </a:lnTo>
                  <a:lnTo>
                    <a:pt x="5199" y="20093"/>
                  </a:lnTo>
                  <a:lnTo>
                    <a:pt x="5470" y="19709"/>
                  </a:lnTo>
                  <a:lnTo>
                    <a:pt x="5742" y="19234"/>
                  </a:lnTo>
                  <a:lnTo>
                    <a:pt x="6013" y="18692"/>
                  </a:lnTo>
                  <a:lnTo>
                    <a:pt x="6307" y="18082"/>
                  </a:lnTo>
                  <a:lnTo>
                    <a:pt x="6623" y="17426"/>
                  </a:lnTo>
                  <a:lnTo>
                    <a:pt x="6397" y="17155"/>
                  </a:lnTo>
                  <a:lnTo>
                    <a:pt x="6171" y="16884"/>
                  </a:lnTo>
                  <a:lnTo>
                    <a:pt x="5922" y="16590"/>
                  </a:lnTo>
                  <a:lnTo>
                    <a:pt x="5719" y="16274"/>
                  </a:lnTo>
                  <a:lnTo>
                    <a:pt x="5267" y="15595"/>
                  </a:lnTo>
                  <a:lnTo>
                    <a:pt x="4837" y="14850"/>
                  </a:lnTo>
                  <a:close/>
                </a:path>
              </a:pathLst>
            </a:custGeom>
            <a:solidFill>
              <a:srgbClr val="98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8" name="Google Shape;1815;p16">
              <a:extLst>
                <a:ext uri="{FF2B5EF4-FFF2-40B4-BE49-F238E27FC236}">
                  <a16:creationId xmlns:a16="http://schemas.microsoft.com/office/drawing/2014/main" id="{23E6CF3B-49B0-24FF-4548-763C8D570B7F}"/>
                </a:ext>
              </a:extLst>
            </p:cNvPr>
            <p:cNvSpPr/>
            <p:nvPr/>
          </p:nvSpPr>
          <p:spPr>
            <a:xfrm>
              <a:off x="2726525" y="2324375"/>
              <a:ext cx="165575" cy="168975"/>
            </a:xfrm>
            <a:custGeom>
              <a:avLst/>
              <a:gdLst/>
              <a:ahLst/>
              <a:cxnLst/>
              <a:rect l="l" t="t" r="r" b="b"/>
              <a:pathLst>
                <a:path w="6623" h="6759" fill="none" extrusionOk="0">
                  <a:moveTo>
                    <a:pt x="4837" y="1"/>
                  </a:moveTo>
                  <a:lnTo>
                    <a:pt x="4837" y="1"/>
                  </a:lnTo>
                  <a:lnTo>
                    <a:pt x="4114" y="972"/>
                  </a:lnTo>
                  <a:lnTo>
                    <a:pt x="3414" y="1854"/>
                  </a:lnTo>
                  <a:lnTo>
                    <a:pt x="2781" y="2645"/>
                  </a:lnTo>
                  <a:lnTo>
                    <a:pt x="2193" y="3346"/>
                  </a:lnTo>
                  <a:lnTo>
                    <a:pt x="1673" y="3933"/>
                  </a:lnTo>
                  <a:lnTo>
                    <a:pt x="1244" y="4385"/>
                  </a:lnTo>
                  <a:lnTo>
                    <a:pt x="882" y="4747"/>
                  </a:lnTo>
                  <a:lnTo>
                    <a:pt x="656" y="4950"/>
                  </a:lnTo>
                  <a:lnTo>
                    <a:pt x="656" y="4950"/>
                  </a:lnTo>
                  <a:lnTo>
                    <a:pt x="385" y="5493"/>
                  </a:lnTo>
                  <a:lnTo>
                    <a:pt x="182" y="5922"/>
                  </a:lnTo>
                  <a:lnTo>
                    <a:pt x="46" y="6216"/>
                  </a:lnTo>
                  <a:lnTo>
                    <a:pt x="1" y="6397"/>
                  </a:lnTo>
                  <a:lnTo>
                    <a:pt x="1" y="6397"/>
                  </a:lnTo>
                  <a:lnTo>
                    <a:pt x="23" y="6487"/>
                  </a:lnTo>
                  <a:lnTo>
                    <a:pt x="46" y="6578"/>
                  </a:lnTo>
                  <a:lnTo>
                    <a:pt x="91" y="6623"/>
                  </a:lnTo>
                  <a:lnTo>
                    <a:pt x="159" y="6691"/>
                  </a:lnTo>
                  <a:lnTo>
                    <a:pt x="249" y="6713"/>
                  </a:lnTo>
                  <a:lnTo>
                    <a:pt x="340" y="6736"/>
                  </a:lnTo>
                  <a:lnTo>
                    <a:pt x="566" y="6758"/>
                  </a:lnTo>
                  <a:lnTo>
                    <a:pt x="566" y="6758"/>
                  </a:lnTo>
                  <a:lnTo>
                    <a:pt x="747" y="6758"/>
                  </a:lnTo>
                  <a:lnTo>
                    <a:pt x="973" y="6736"/>
                  </a:lnTo>
                  <a:lnTo>
                    <a:pt x="1470" y="6623"/>
                  </a:lnTo>
                  <a:lnTo>
                    <a:pt x="1990" y="6487"/>
                  </a:lnTo>
                  <a:lnTo>
                    <a:pt x="2555" y="6329"/>
                  </a:lnTo>
                  <a:lnTo>
                    <a:pt x="3640" y="6013"/>
                  </a:lnTo>
                  <a:lnTo>
                    <a:pt x="4114" y="5900"/>
                  </a:lnTo>
                  <a:lnTo>
                    <a:pt x="4521" y="5809"/>
                  </a:lnTo>
                  <a:lnTo>
                    <a:pt x="4521" y="5809"/>
                  </a:lnTo>
                  <a:lnTo>
                    <a:pt x="4634" y="5787"/>
                  </a:lnTo>
                  <a:lnTo>
                    <a:pt x="4724" y="5741"/>
                  </a:lnTo>
                  <a:lnTo>
                    <a:pt x="4837" y="5651"/>
                  </a:lnTo>
                  <a:lnTo>
                    <a:pt x="4950" y="5538"/>
                  </a:lnTo>
                  <a:lnTo>
                    <a:pt x="5199" y="5244"/>
                  </a:lnTo>
                  <a:lnTo>
                    <a:pt x="5470" y="4860"/>
                  </a:lnTo>
                  <a:lnTo>
                    <a:pt x="5742" y="4385"/>
                  </a:lnTo>
                  <a:lnTo>
                    <a:pt x="6013" y="3843"/>
                  </a:lnTo>
                  <a:lnTo>
                    <a:pt x="6307" y="3233"/>
                  </a:lnTo>
                  <a:lnTo>
                    <a:pt x="6623" y="2577"/>
                  </a:lnTo>
                  <a:lnTo>
                    <a:pt x="6623" y="2577"/>
                  </a:lnTo>
                  <a:lnTo>
                    <a:pt x="6397" y="2306"/>
                  </a:lnTo>
                  <a:lnTo>
                    <a:pt x="6171" y="2035"/>
                  </a:lnTo>
                  <a:lnTo>
                    <a:pt x="5922" y="1741"/>
                  </a:lnTo>
                  <a:lnTo>
                    <a:pt x="5719" y="1425"/>
                  </a:lnTo>
                  <a:lnTo>
                    <a:pt x="5267" y="746"/>
                  </a:lnTo>
                  <a:lnTo>
                    <a:pt x="483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9" name="Google Shape;1816;p16">
              <a:extLst>
                <a:ext uri="{FF2B5EF4-FFF2-40B4-BE49-F238E27FC236}">
                  <a16:creationId xmlns:a16="http://schemas.microsoft.com/office/drawing/2014/main" id="{161243A3-B57B-B4DA-9163-456A2CECDF89}"/>
                </a:ext>
              </a:extLst>
            </p:cNvPr>
            <p:cNvSpPr/>
            <p:nvPr/>
          </p:nvSpPr>
          <p:spPr>
            <a:xfrm>
              <a:off x="2924300" y="1953150"/>
              <a:ext cx="107375" cy="318150"/>
            </a:xfrm>
            <a:custGeom>
              <a:avLst/>
              <a:gdLst/>
              <a:ahLst/>
              <a:cxnLst/>
              <a:rect l="l" t="t" r="r" b="b"/>
              <a:pathLst>
                <a:path w="4295" h="12726" fill="none" extrusionOk="0">
                  <a:moveTo>
                    <a:pt x="3955" y="1"/>
                  </a:moveTo>
                  <a:lnTo>
                    <a:pt x="3955" y="1"/>
                  </a:lnTo>
                  <a:lnTo>
                    <a:pt x="3955" y="68"/>
                  </a:lnTo>
                  <a:lnTo>
                    <a:pt x="3955" y="159"/>
                  </a:lnTo>
                  <a:lnTo>
                    <a:pt x="3955" y="159"/>
                  </a:lnTo>
                  <a:lnTo>
                    <a:pt x="3842" y="792"/>
                  </a:lnTo>
                  <a:lnTo>
                    <a:pt x="3729" y="1424"/>
                  </a:lnTo>
                  <a:lnTo>
                    <a:pt x="3571" y="2057"/>
                  </a:lnTo>
                  <a:lnTo>
                    <a:pt x="3390" y="2713"/>
                  </a:lnTo>
                  <a:lnTo>
                    <a:pt x="3210" y="3346"/>
                  </a:lnTo>
                  <a:lnTo>
                    <a:pt x="2984" y="4001"/>
                  </a:lnTo>
                  <a:lnTo>
                    <a:pt x="2758" y="4634"/>
                  </a:lnTo>
                  <a:lnTo>
                    <a:pt x="2509" y="5289"/>
                  </a:lnTo>
                  <a:lnTo>
                    <a:pt x="2238" y="5922"/>
                  </a:lnTo>
                  <a:lnTo>
                    <a:pt x="1944" y="6555"/>
                  </a:lnTo>
                  <a:lnTo>
                    <a:pt x="1650" y="7188"/>
                  </a:lnTo>
                  <a:lnTo>
                    <a:pt x="1334" y="7798"/>
                  </a:lnTo>
                  <a:lnTo>
                    <a:pt x="678" y="9041"/>
                  </a:lnTo>
                  <a:lnTo>
                    <a:pt x="0" y="10239"/>
                  </a:lnTo>
                  <a:lnTo>
                    <a:pt x="0" y="10239"/>
                  </a:lnTo>
                  <a:lnTo>
                    <a:pt x="91" y="10804"/>
                  </a:lnTo>
                  <a:lnTo>
                    <a:pt x="226" y="11369"/>
                  </a:lnTo>
                  <a:lnTo>
                    <a:pt x="430" y="12002"/>
                  </a:lnTo>
                  <a:lnTo>
                    <a:pt x="746" y="12725"/>
                  </a:lnTo>
                  <a:lnTo>
                    <a:pt x="746" y="12725"/>
                  </a:lnTo>
                  <a:lnTo>
                    <a:pt x="1130" y="11844"/>
                  </a:lnTo>
                  <a:lnTo>
                    <a:pt x="1537" y="11030"/>
                  </a:lnTo>
                  <a:lnTo>
                    <a:pt x="1921" y="10262"/>
                  </a:lnTo>
                  <a:lnTo>
                    <a:pt x="2306" y="9561"/>
                  </a:lnTo>
                  <a:lnTo>
                    <a:pt x="2306" y="9561"/>
                  </a:lnTo>
                  <a:lnTo>
                    <a:pt x="2464" y="9267"/>
                  </a:lnTo>
                  <a:lnTo>
                    <a:pt x="2622" y="8905"/>
                  </a:lnTo>
                  <a:lnTo>
                    <a:pt x="2803" y="8476"/>
                  </a:lnTo>
                  <a:lnTo>
                    <a:pt x="2961" y="8001"/>
                  </a:lnTo>
                  <a:lnTo>
                    <a:pt x="3300" y="6962"/>
                  </a:lnTo>
                  <a:lnTo>
                    <a:pt x="3616" y="5786"/>
                  </a:lnTo>
                  <a:lnTo>
                    <a:pt x="3888" y="4566"/>
                  </a:lnTo>
                  <a:lnTo>
                    <a:pt x="4001" y="3978"/>
                  </a:lnTo>
                  <a:lnTo>
                    <a:pt x="4091" y="3368"/>
                  </a:lnTo>
                  <a:lnTo>
                    <a:pt x="4182" y="2803"/>
                  </a:lnTo>
                  <a:lnTo>
                    <a:pt x="4249" y="2238"/>
                  </a:lnTo>
                  <a:lnTo>
                    <a:pt x="4272" y="1718"/>
                  </a:lnTo>
                  <a:lnTo>
                    <a:pt x="4295" y="1244"/>
                  </a:lnTo>
                  <a:lnTo>
                    <a:pt x="4295" y="1244"/>
                  </a:lnTo>
                  <a:lnTo>
                    <a:pt x="4272" y="927"/>
                  </a:lnTo>
                  <a:lnTo>
                    <a:pt x="4272" y="633"/>
                  </a:lnTo>
                  <a:lnTo>
                    <a:pt x="4227" y="385"/>
                  </a:lnTo>
                  <a:lnTo>
                    <a:pt x="4182" y="159"/>
                  </a:lnTo>
                  <a:lnTo>
                    <a:pt x="4182" y="159"/>
                  </a:lnTo>
                  <a:lnTo>
                    <a:pt x="4114" y="114"/>
                  </a:lnTo>
                  <a:lnTo>
                    <a:pt x="395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0" name="Google Shape;1817;p16">
              <a:extLst>
                <a:ext uri="{FF2B5EF4-FFF2-40B4-BE49-F238E27FC236}">
                  <a16:creationId xmlns:a16="http://schemas.microsoft.com/office/drawing/2014/main" id="{4163C5C3-5555-9972-6CD6-09AF8DB2D0FC}"/>
                </a:ext>
              </a:extLst>
            </p:cNvPr>
            <p:cNvSpPr/>
            <p:nvPr/>
          </p:nvSpPr>
          <p:spPr>
            <a:xfrm>
              <a:off x="2936150" y="1829975"/>
              <a:ext cx="115300" cy="164450"/>
            </a:xfrm>
            <a:custGeom>
              <a:avLst/>
              <a:gdLst/>
              <a:ahLst/>
              <a:cxnLst/>
              <a:rect l="l" t="t" r="r" b="b"/>
              <a:pathLst>
                <a:path w="4612" h="6578" extrusionOk="0">
                  <a:moveTo>
                    <a:pt x="3504" y="0"/>
                  </a:moveTo>
                  <a:lnTo>
                    <a:pt x="3436" y="46"/>
                  </a:lnTo>
                  <a:lnTo>
                    <a:pt x="3120" y="249"/>
                  </a:lnTo>
                  <a:lnTo>
                    <a:pt x="2555" y="678"/>
                  </a:lnTo>
                  <a:lnTo>
                    <a:pt x="2397" y="837"/>
                  </a:lnTo>
                  <a:lnTo>
                    <a:pt x="2216" y="1017"/>
                  </a:lnTo>
                  <a:lnTo>
                    <a:pt x="1854" y="1447"/>
                  </a:lnTo>
                  <a:lnTo>
                    <a:pt x="1470" y="1922"/>
                  </a:lnTo>
                  <a:lnTo>
                    <a:pt x="1108" y="2464"/>
                  </a:lnTo>
                  <a:lnTo>
                    <a:pt x="769" y="3029"/>
                  </a:lnTo>
                  <a:lnTo>
                    <a:pt x="476" y="3571"/>
                  </a:lnTo>
                  <a:lnTo>
                    <a:pt x="249" y="4091"/>
                  </a:lnTo>
                  <a:lnTo>
                    <a:pt x="182" y="4340"/>
                  </a:lnTo>
                  <a:lnTo>
                    <a:pt x="114" y="4543"/>
                  </a:lnTo>
                  <a:lnTo>
                    <a:pt x="46" y="4724"/>
                  </a:lnTo>
                  <a:lnTo>
                    <a:pt x="1" y="4905"/>
                  </a:lnTo>
                  <a:lnTo>
                    <a:pt x="1" y="5154"/>
                  </a:lnTo>
                  <a:lnTo>
                    <a:pt x="1" y="5289"/>
                  </a:lnTo>
                  <a:lnTo>
                    <a:pt x="46" y="5447"/>
                  </a:lnTo>
                  <a:lnTo>
                    <a:pt x="91" y="5606"/>
                  </a:lnTo>
                  <a:lnTo>
                    <a:pt x="159" y="5786"/>
                  </a:lnTo>
                  <a:lnTo>
                    <a:pt x="249" y="5967"/>
                  </a:lnTo>
                  <a:lnTo>
                    <a:pt x="363" y="6171"/>
                  </a:lnTo>
                  <a:lnTo>
                    <a:pt x="521" y="6374"/>
                  </a:lnTo>
                  <a:lnTo>
                    <a:pt x="702" y="6577"/>
                  </a:lnTo>
                  <a:lnTo>
                    <a:pt x="1154" y="6464"/>
                  </a:lnTo>
                  <a:lnTo>
                    <a:pt x="1583" y="6374"/>
                  </a:lnTo>
                  <a:lnTo>
                    <a:pt x="2012" y="6306"/>
                  </a:lnTo>
                  <a:lnTo>
                    <a:pt x="2397" y="6216"/>
                  </a:lnTo>
                  <a:lnTo>
                    <a:pt x="2758" y="6103"/>
                  </a:lnTo>
                  <a:lnTo>
                    <a:pt x="2894" y="6035"/>
                  </a:lnTo>
                  <a:lnTo>
                    <a:pt x="3029" y="5967"/>
                  </a:lnTo>
                  <a:lnTo>
                    <a:pt x="3120" y="5877"/>
                  </a:lnTo>
                  <a:lnTo>
                    <a:pt x="3210" y="5786"/>
                  </a:lnTo>
                  <a:lnTo>
                    <a:pt x="3255" y="5651"/>
                  </a:lnTo>
                  <a:lnTo>
                    <a:pt x="3301" y="5515"/>
                  </a:lnTo>
                  <a:lnTo>
                    <a:pt x="3346" y="5176"/>
                  </a:lnTo>
                  <a:lnTo>
                    <a:pt x="3391" y="4950"/>
                  </a:lnTo>
                  <a:lnTo>
                    <a:pt x="3436" y="4792"/>
                  </a:lnTo>
                  <a:lnTo>
                    <a:pt x="3504" y="4679"/>
                  </a:lnTo>
                  <a:lnTo>
                    <a:pt x="3640" y="4498"/>
                  </a:lnTo>
                  <a:lnTo>
                    <a:pt x="3730" y="4362"/>
                  </a:lnTo>
                  <a:lnTo>
                    <a:pt x="3821" y="4204"/>
                  </a:lnTo>
                  <a:lnTo>
                    <a:pt x="3979" y="3933"/>
                  </a:lnTo>
                  <a:lnTo>
                    <a:pt x="4114" y="3707"/>
                  </a:lnTo>
                  <a:lnTo>
                    <a:pt x="4250" y="3504"/>
                  </a:lnTo>
                  <a:lnTo>
                    <a:pt x="4363" y="3368"/>
                  </a:lnTo>
                  <a:lnTo>
                    <a:pt x="4544" y="3165"/>
                  </a:lnTo>
                  <a:lnTo>
                    <a:pt x="4612" y="3097"/>
                  </a:lnTo>
                  <a:lnTo>
                    <a:pt x="4295" y="2102"/>
                  </a:lnTo>
                  <a:lnTo>
                    <a:pt x="3572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1" name="Google Shape;1818;p16">
              <a:extLst>
                <a:ext uri="{FF2B5EF4-FFF2-40B4-BE49-F238E27FC236}">
                  <a16:creationId xmlns:a16="http://schemas.microsoft.com/office/drawing/2014/main" id="{8D0B59EE-7133-1EAA-B2F1-BD19E6BFDC14}"/>
                </a:ext>
              </a:extLst>
            </p:cNvPr>
            <p:cNvSpPr/>
            <p:nvPr/>
          </p:nvSpPr>
          <p:spPr>
            <a:xfrm>
              <a:off x="2936150" y="1829975"/>
              <a:ext cx="115300" cy="164450"/>
            </a:xfrm>
            <a:custGeom>
              <a:avLst/>
              <a:gdLst/>
              <a:ahLst/>
              <a:cxnLst/>
              <a:rect l="l" t="t" r="r" b="b"/>
              <a:pathLst>
                <a:path w="4612" h="6578" fill="none" extrusionOk="0">
                  <a:moveTo>
                    <a:pt x="702" y="6577"/>
                  </a:moveTo>
                  <a:lnTo>
                    <a:pt x="702" y="6577"/>
                  </a:lnTo>
                  <a:lnTo>
                    <a:pt x="521" y="6374"/>
                  </a:lnTo>
                  <a:lnTo>
                    <a:pt x="363" y="6171"/>
                  </a:lnTo>
                  <a:lnTo>
                    <a:pt x="249" y="5967"/>
                  </a:lnTo>
                  <a:lnTo>
                    <a:pt x="159" y="5786"/>
                  </a:lnTo>
                  <a:lnTo>
                    <a:pt x="91" y="5606"/>
                  </a:lnTo>
                  <a:lnTo>
                    <a:pt x="46" y="5447"/>
                  </a:lnTo>
                  <a:lnTo>
                    <a:pt x="1" y="5289"/>
                  </a:lnTo>
                  <a:lnTo>
                    <a:pt x="1" y="5154"/>
                  </a:lnTo>
                  <a:lnTo>
                    <a:pt x="1" y="4905"/>
                  </a:lnTo>
                  <a:lnTo>
                    <a:pt x="46" y="4724"/>
                  </a:lnTo>
                  <a:lnTo>
                    <a:pt x="114" y="4543"/>
                  </a:lnTo>
                  <a:lnTo>
                    <a:pt x="114" y="4543"/>
                  </a:lnTo>
                  <a:lnTo>
                    <a:pt x="182" y="4340"/>
                  </a:lnTo>
                  <a:lnTo>
                    <a:pt x="249" y="4091"/>
                  </a:lnTo>
                  <a:lnTo>
                    <a:pt x="476" y="3571"/>
                  </a:lnTo>
                  <a:lnTo>
                    <a:pt x="769" y="3029"/>
                  </a:lnTo>
                  <a:lnTo>
                    <a:pt x="1108" y="2464"/>
                  </a:lnTo>
                  <a:lnTo>
                    <a:pt x="1470" y="1922"/>
                  </a:lnTo>
                  <a:lnTo>
                    <a:pt x="1854" y="1447"/>
                  </a:lnTo>
                  <a:lnTo>
                    <a:pt x="2216" y="1017"/>
                  </a:lnTo>
                  <a:lnTo>
                    <a:pt x="2397" y="837"/>
                  </a:lnTo>
                  <a:lnTo>
                    <a:pt x="2555" y="678"/>
                  </a:lnTo>
                  <a:lnTo>
                    <a:pt x="2555" y="678"/>
                  </a:lnTo>
                  <a:lnTo>
                    <a:pt x="3120" y="249"/>
                  </a:lnTo>
                  <a:lnTo>
                    <a:pt x="3436" y="46"/>
                  </a:lnTo>
                  <a:lnTo>
                    <a:pt x="3504" y="0"/>
                  </a:lnTo>
                  <a:lnTo>
                    <a:pt x="3549" y="0"/>
                  </a:lnTo>
                  <a:lnTo>
                    <a:pt x="3572" y="0"/>
                  </a:lnTo>
                  <a:lnTo>
                    <a:pt x="4295" y="2102"/>
                  </a:lnTo>
                  <a:lnTo>
                    <a:pt x="4612" y="3097"/>
                  </a:lnTo>
                  <a:lnTo>
                    <a:pt x="4612" y="3097"/>
                  </a:lnTo>
                  <a:lnTo>
                    <a:pt x="4544" y="3165"/>
                  </a:lnTo>
                  <a:lnTo>
                    <a:pt x="4363" y="3368"/>
                  </a:lnTo>
                  <a:lnTo>
                    <a:pt x="4250" y="3504"/>
                  </a:lnTo>
                  <a:lnTo>
                    <a:pt x="4114" y="3707"/>
                  </a:lnTo>
                  <a:lnTo>
                    <a:pt x="3979" y="3933"/>
                  </a:lnTo>
                  <a:lnTo>
                    <a:pt x="3821" y="4204"/>
                  </a:lnTo>
                  <a:lnTo>
                    <a:pt x="3821" y="4204"/>
                  </a:lnTo>
                  <a:lnTo>
                    <a:pt x="3730" y="4362"/>
                  </a:lnTo>
                  <a:lnTo>
                    <a:pt x="3640" y="4498"/>
                  </a:lnTo>
                  <a:lnTo>
                    <a:pt x="3504" y="4679"/>
                  </a:lnTo>
                  <a:lnTo>
                    <a:pt x="3436" y="4792"/>
                  </a:lnTo>
                  <a:lnTo>
                    <a:pt x="3391" y="4950"/>
                  </a:lnTo>
                  <a:lnTo>
                    <a:pt x="3346" y="5176"/>
                  </a:lnTo>
                  <a:lnTo>
                    <a:pt x="3301" y="5515"/>
                  </a:lnTo>
                  <a:lnTo>
                    <a:pt x="3301" y="5515"/>
                  </a:lnTo>
                  <a:lnTo>
                    <a:pt x="3255" y="5651"/>
                  </a:lnTo>
                  <a:lnTo>
                    <a:pt x="3210" y="5786"/>
                  </a:lnTo>
                  <a:lnTo>
                    <a:pt x="3120" y="5877"/>
                  </a:lnTo>
                  <a:lnTo>
                    <a:pt x="3029" y="5967"/>
                  </a:lnTo>
                  <a:lnTo>
                    <a:pt x="2894" y="6035"/>
                  </a:lnTo>
                  <a:lnTo>
                    <a:pt x="2758" y="6103"/>
                  </a:lnTo>
                  <a:lnTo>
                    <a:pt x="2397" y="6216"/>
                  </a:lnTo>
                  <a:lnTo>
                    <a:pt x="2012" y="6306"/>
                  </a:lnTo>
                  <a:lnTo>
                    <a:pt x="1583" y="6374"/>
                  </a:lnTo>
                  <a:lnTo>
                    <a:pt x="1154" y="6464"/>
                  </a:lnTo>
                  <a:lnTo>
                    <a:pt x="702" y="657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2" name="Google Shape;1819;p16">
              <a:extLst>
                <a:ext uri="{FF2B5EF4-FFF2-40B4-BE49-F238E27FC236}">
                  <a16:creationId xmlns:a16="http://schemas.microsoft.com/office/drawing/2014/main" id="{38897637-DF74-D45B-2245-9307A03AA894}"/>
                </a:ext>
              </a:extLst>
            </p:cNvPr>
            <p:cNvSpPr/>
            <p:nvPr/>
          </p:nvSpPr>
          <p:spPr>
            <a:xfrm>
              <a:off x="3029950" y="1907375"/>
              <a:ext cx="21500" cy="30550"/>
            </a:xfrm>
            <a:custGeom>
              <a:avLst/>
              <a:gdLst/>
              <a:ahLst/>
              <a:cxnLst/>
              <a:rect l="l" t="t" r="r" b="b"/>
              <a:pathLst>
                <a:path w="860" h="1222" extrusionOk="0">
                  <a:moveTo>
                    <a:pt x="860" y="1"/>
                  </a:moveTo>
                  <a:lnTo>
                    <a:pt x="792" y="69"/>
                  </a:lnTo>
                  <a:lnTo>
                    <a:pt x="611" y="272"/>
                  </a:lnTo>
                  <a:lnTo>
                    <a:pt x="498" y="408"/>
                  </a:lnTo>
                  <a:lnTo>
                    <a:pt x="362" y="611"/>
                  </a:lnTo>
                  <a:lnTo>
                    <a:pt x="227" y="837"/>
                  </a:lnTo>
                  <a:lnTo>
                    <a:pt x="182" y="915"/>
                  </a:lnTo>
                  <a:lnTo>
                    <a:pt x="317" y="701"/>
                  </a:lnTo>
                  <a:lnTo>
                    <a:pt x="588" y="317"/>
                  </a:lnTo>
                  <a:lnTo>
                    <a:pt x="792" y="91"/>
                  </a:lnTo>
                  <a:lnTo>
                    <a:pt x="860" y="1"/>
                  </a:lnTo>
                  <a:close/>
                  <a:moveTo>
                    <a:pt x="182" y="915"/>
                  </a:moveTo>
                  <a:lnTo>
                    <a:pt x="159" y="950"/>
                  </a:lnTo>
                  <a:lnTo>
                    <a:pt x="148" y="973"/>
                  </a:lnTo>
                  <a:lnTo>
                    <a:pt x="148" y="973"/>
                  </a:lnTo>
                  <a:lnTo>
                    <a:pt x="182" y="915"/>
                  </a:lnTo>
                  <a:close/>
                  <a:moveTo>
                    <a:pt x="148" y="973"/>
                  </a:moveTo>
                  <a:lnTo>
                    <a:pt x="69" y="1108"/>
                  </a:lnTo>
                  <a:lnTo>
                    <a:pt x="1" y="1221"/>
                  </a:lnTo>
                  <a:lnTo>
                    <a:pt x="23" y="1221"/>
                  </a:lnTo>
                  <a:lnTo>
                    <a:pt x="148" y="973"/>
                  </a:lnTo>
                  <a:close/>
                </a:path>
              </a:pathLst>
            </a:custGeom>
            <a:solidFill>
              <a:srgbClr val="E2E2E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3" name="Google Shape;1820;p16">
              <a:extLst>
                <a:ext uri="{FF2B5EF4-FFF2-40B4-BE49-F238E27FC236}">
                  <a16:creationId xmlns:a16="http://schemas.microsoft.com/office/drawing/2014/main" id="{7EDBEBE1-4FD3-0C60-1376-D0F6643610DF}"/>
                </a:ext>
              </a:extLst>
            </p:cNvPr>
            <p:cNvSpPr/>
            <p:nvPr/>
          </p:nvSpPr>
          <p:spPr>
            <a:xfrm>
              <a:off x="3029950" y="1907375"/>
              <a:ext cx="21500" cy="30550"/>
            </a:xfrm>
            <a:custGeom>
              <a:avLst/>
              <a:gdLst/>
              <a:ahLst/>
              <a:cxnLst/>
              <a:rect l="l" t="t" r="r" b="b"/>
              <a:pathLst>
                <a:path w="860" h="1222" fill="none" extrusionOk="0">
                  <a:moveTo>
                    <a:pt x="860" y="1"/>
                  </a:moveTo>
                  <a:lnTo>
                    <a:pt x="860" y="1"/>
                  </a:lnTo>
                  <a:lnTo>
                    <a:pt x="792" y="69"/>
                  </a:lnTo>
                  <a:lnTo>
                    <a:pt x="611" y="272"/>
                  </a:lnTo>
                  <a:lnTo>
                    <a:pt x="498" y="408"/>
                  </a:lnTo>
                  <a:lnTo>
                    <a:pt x="362" y="611"/>
                  </a:lnTo>
                  <a:lnTo>
                    <a:pt x="227" y="837"/>
                  </a:lnTo>
                  <a:lnTo>
                    <a:pt x="69" y="1108"/>
                  </a:lnTo>
                  <a:lnTo>
                    <a:pt x="69" y="1108"/>
                  </a:lnTo>
                  <a:lnTo>
                    <a:pt x="1" y="1221"/>
                  </a:lnTo>
                  <a:lnTo>
                    <a:pt x="1" y="1221"/>
                  </a:lnTo>
                  <a:lnTo>
                    <a:pt x="23" y="1221"/>
                  </a:lnTo>
                  <a:lnTo>
                    <a:pt x="23" y="1221"/>
                  </a:lnTo>
                  <a:lnTo>
                    <a:pt x="159" y="950"/>
                  </a:lnTo>
                  <a:lnTo>
                    <a:pt x="317" y="701"/>
                  </a:lnTo>
                  <a:lnTo>
                    <a:pt x="588" y="317"/>
                  </a:lnTo>
                  <a:lnTo>
                    <a:pt x="792" y="91"/>
                  </a:lnTo>
                  <a:lnTo>
                    <a:pt x="86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4" name="Google Shape;1821;p16">
              <a:extLst>
                <a:ext uri="{FF2B5EF4-FFF2-40B4-BE49-F238E27FC236}">
                  <a16:creationId xmlns:a16="http://schemas.microsoft.com/office/drawing/2014/main" id="{99BA2ADD-02CA-23C9-1634-0B351C5DDAF5}"/>
                </a:ext>
              </a:extLst>
            </p:cNvPr>
            <p:cNvSpPr/>
            <p:nvPr/>
          </p:nvSpPr>
          <p:spPr>
            <a:xfrm>
              <a:off x="2992675" y="1881400"/>
              <a:ext cx="58775" cy="56525"/>
            </a:xfrm>
            <a:custGeom>
              <a:avLst/>
              <a:gdLst/>
              <a:ahLst/>
              <a:cxnLst/>
              <a:rect l="l" t="t" r="r" b="b"/>
              <a:pathLst>
                <a:path w="2351" h="2261" extrusionOk="0">
                  <a:moveTo>
                    <a:pt x="791" y="0"/>
                  </a:moveTo>
                  <a:lnTo>
                    <a:pt x="407" y="23"/>
                  </a:lnTo>
                  <a:lnTo>
                    <a:pt x="294" y="45"/>
                  </a:lnTo>
                  <a:lnTo>
                    <a:pt x="203" y="113"/>
                  </a:lnTo>
                  <a:lnTo>
                    <a:pt x="136" y="204"/>
                  </a:lnTo>
                  <a:lnTo>
                    <a:pt x="68" y="339"/>
                  </a:lnTo>
                  <a:lnTo>
                    <a:pt x="23" y="475"/>
                  </a:lnTo>
                  <a:lnTo>
                    <a:pt x="0" y="633"/>
                  </a:lnTo>
                  <a:lnTo>
                    <a:pt x="0" y="791"/>
                  </a:lnTo>
                  <a:lnTo>
                    <a:pt x="45" y="972"/>
                  </a:lnTo>
                  <a:lnTo>
                    <a:pt x="113" y="1153"/>
                  </a:lnTo>
                  <a:lnTo>
                    <a:pt x="203" y="1356"/>
                  </a:lnTo>
                  <a:lnTo>
                    <a:pt x="316" y="1537"/>
                  </a:lnTo>
                  <a:lnTo>
                    <a:pt x="475" y="1695"/>
                  </a:lnTo>
                  <a:lnTo>
                    <a:pt x="678" y="1876"/>
                  </a:lnTo>
                  <a:lnTo>
                    <a:pt x="904" y="2012"/>
                  </a:lnTo>
                  <a:lnTo>
                    <a:pt x="1175" y="2147"/>
                  </a:lnTo>
                  <a:lnTo>
                    <a:pt x="1492" y="2260"/>
                  </a:lnTo>
                  <a:lnTo>
                    <a:pt x="1560" y="2147"/>
                  </a:lnTo>
                  <a:lnTo>
                    <a:pt x="1718" y="1876"/>
                  </a:lnTo>
                  <a:lnTo>
                    <a:pt x="1853" y="1650"/>
                  </a:lnTo>
                  <a:lnTo>
                    <a:pt x="1989" y="1447"/>
                  </a:lnTo>
                  <a:lnTo>
                    <a:pt x="2102" y="1311"/>
                  </a:lnTo>
                  <a:lnTo>
                    <a:pt x="2283" y="1108"/>
                  </a:lnTo>
                  <a:lnTo>
                    <a:pt x="2351" y="1040"/>
                  </a:lnTo>
                  <a:lnTo>
                    <a:pt x="2034" y="45"/>
                  </a:lnTo>
                  <a:lnTo>
                    <a:pt x="1605" y="23"/>
                  </a:lnTo>
                  <a:lnTo>
                    <a:pt x="1198" y="0"/>
                  </a:lnTo>
                  <a:close/>
                </a:path>
              </a:pathLst>
            </a:custGeom>
            <a:solidFill>
              <a:srgbClr val="D49C9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5" name="Google Shape;1822;p16">
              <a:extLst>
                <a:ext uri="{FF2B5EF4-FFF2-40B4-BE49-F238E27FC236}">
                  <a16:creationId xmlns:a16="http://schemas.microsoft.com/office/drawing/2014/main" id="{34ABBB38-79DD-37A9-64D5-C1D1A35EA03E}"/>
                </a:ext>
              </a:extLst>
            </p:cNvPr>
            <p:cNvSpPr/>
            <p:nvPr/>
          </p:nvSpPr>
          <p:spPr>
            <a:xfrm>
              <a:off x="2992675" y="1881400"/>
              <a:ext cx="58775" cy="56525"/>
            </a:xfrm>
            <a:custGeom>
              <a:avLst/>
              <a:gdLst/>
              <a:ahLst/>
              <a:cxnLst/>
              <a:rect l="l" t="t" r="r" b="b"/>
              <a:pathLst>
                <a:path w="2351" h="2261" fill="none" extrusionOk="0">
                  <a:moveTo>
                    <a:pt x="791" y="0"/>
                  </a:moveTo>
                  <a:lnTo>
                    <a:pt x="791" y="0"/>
                  </a:lnTo>
                  <a:lnTo>
                    <a:pt x="407" y="23"/>
                  </a:lnTo>
                  <a:lnTo>
                    <a:pt x="407" y="23"/>
                  </a:lnTo>
                  <a:lnTo>
                    <a:pt x="294" y="45"/>
                  </a:lnTo>
                  <a:lnTo>
                    <a:pt x="203" y="113"/>
                  </a:lnTo>
                  <a:lnTo>
                    <a:pt x="136" y="204"/>
                  </a:lnTo>
                  <a:lnTo>
                    <a:pt x="68" y="339"/>
                  </a:lnTo>
                  <a:lnTo>
                    <a:pt x="23" y="475"/>
                  </a:lnTo>
                  <a:lnTo>
                    <a:pt x="0" y="633"/>
                  </a:lnTo>
                  <a:lnTo>
                    <a:pt x="0" y="791"/>
                  </a:lnTo>
                  <a:lnTo>
                    <a:pt x="45" y="972"/>
                  </a:lnTo>
                  <a:lnTo>
                    <a:pt x="113" y="1153"/>
                  </a:lnTo>
                  <a:lnTo>
                    <a:pt x="203" y="1356"/>
                  </a:lnTo>
                  <a:lnTo>
                    <a:pt x="316" y="1537"/>
                  </a:lnTo>
                  <a:lnTo>
                    <a:pt x="475" y="1695"/>
                  </a:lnTo>
                  <a:lnTo>
                    <a:pt x="678" y="1876"/>
                  </a:lnTo>
                  <a:lnTo>
                    <a:pt x="904" y="2012"/>
                  </a:lnTo>
                  <a:lnTo>
                    <a:pt x="1175" y="2147"/>
                  </a:lnTo>
                  <a:lnTo>
                    <a:pt x="1492" y="2260"/>
                  </a:lnTo>
                  <a:lnTo>
                    <a:pt x="1492" y="2260"/>
                  </a:lnTo>
                  <a:lnTo>
                    <a:pt x="1560" y="2147"/>
                  </a:lnTo>
                  <a:lnTo>
                    <a:pt x="1560" y="2147"/>
                  </a:lnTo>
                  <a:lnTo>
                    <a:pt x="1718" y="1876"/>
                  </a:lnTo>
                  <a:lnTo>
                    <a:pt x="1853" y="1650"/>
                  </a:lnTo>
                  <a:lnTo>
                    <a:pt x="1989" y="1447"/>
                  </a:lnTo>
                  <a:lnTo>
                    <a:pt x="2102" y="1311"/>
                  </a:lnTo>
                  <a:lnTo>
                    <a:pt x="2283" y="1108"/>
                  </a:lnTo>
                  <a:lnTo>
                    <a:pt x="2351" y="1040"/>
                  </a:lnTo>
                  <a:lnTo>
                    <a:pt x="2351" y="1040"/>
                  </a:lnTo>
                  <a:lnTo>
                    <a:pt x="2034" y="45"/>
                  </a:lnTo>
                  <a:lnTo>
                    <a:pt x="2034" y="45"/>
                  </a:lnTo>
                  <a:lnTo>
                    <a:pt x="1605" y="23"/>
                  </a:lnTo>
                  <a:lnTo>
                    <a:pt x="1198" y="0"/>
                  </a:lnTo>
                  <a:lnTo>
                    <a:pt x="79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6" name="Google Shape;1823;p16">
              <a:extLst>
                <a:ext uri="{FF2B5EF4-FFF2-40B4-BE49-F238E27FC236}">
                  <a16:creationId xmlns:a16="http://schemas.microsoft.com/office/drawing/2014/main" id="{74968F0E-B977-1421-2D14-4C41C39E4370}"/>
                </a:ext>
              </a:extLst>
            </p:cNvPr>
            <p:cNvSpPr/>
            <p:nvPr/>
          </p:nvSpPr>
          <p:spPr>
            <a:xfrm>
              <a:off x="2990400" y="1778000"/>
              <a:ext cx="130550" cy="166125"/>
            </a:xfrm>
            <a:custGeom>
              <a:avLst/>
              <a:gdLst/>
              <a:ahLst/>
              <a:cxnLst/>
              <a:rect l="l" t="t" r="r" b="b"/>
              <a:pathLst>
                <a:path w="5222" h="6645" extrusionOk="0">
                  <a:moveTo>
                    <a:pt x="1244" y="0"/>
                  </a:moveTo>
                  <a:lnTo>
                    <a:pt x="1063" y="362"/>
                  </a:lnTo>
                  <a:lnTo>
                    <a:pt x="656" y="1221"/>
                  </a:lnTo>
                  <a:lnTo>
                    <a:pt x="453" y="1740"/>
                  </a:lnTo>
                  <a:lnTo>
                    <a:pt x="249" y="2260"/>
                  </a:lnTo>
                  <a:lnTo>
                    <a:pt x="91" y="2735"/>
                  </a:lnTo>
                  <a:lnTo>
                    <a:pt x="23" y="2938"/>
                  </a:lnTo>
                  <a:lnTo>
                    <a:pt x="1" y="3142"/>
                  </a:lnTo>
                  <a:lnTo>
                    <a:pt x="1" y="3323"/>
                  </a:lnTo>
                  <a:lnTo>
                    <a:pt x="23" y="3526"/>
                  </a:lnTo>
                  <a:lnTo>
                    <a:pt x="91" y="3729"/>
                  </a:lnTo>
                  <a:lnTo>
                    <a:pt x="181" y="3978"/>
                  </a:lnTo>
                  <a:lnTo>
                    <a:pt x="294" y="4204"/>
                  </a:lnTo>
                  <a:lnTo>
                    <a:pt x="453" y="4453"/>
                  </a:lnTo>
                  <a:lnTo>
                    <a:pt x="633" y="4724"/>
                  </a:lnTo>
                  <a:lnTo>
                    <a:pt x="837" y="4972"/>
                  </a:lnTo>
                  <a:lnTo>
                    <a:pt x="1063" y="5221"/>
                  </a:lnTo>
                  <a:lnTo>
                    <a:pt x="1289" y="5470"/>
                  </a:lnTo>
                  <a:lnTo>
                    <a:pt x="1560" y="5696"/>
                  </a:lnTo>
                  <a:lnTo>
                    <a:pt x="1831" y="5922"/>
                  </a:lnTo>
                  <a:lnTo>
                    <a:pt x="2125" y="6125"/>
                  </a:lnTo>
                  <a:lnTo>
                    <a:pt x="2419" y="6328"/>
                  </a:lnTo>
                  <a:lnTo>
                    <a:pt x="2735" y="6487"/>
                  </a:lnTo>
                  <a:lnTo>
                    <a:pt x="3052" y="6622"/>
                  </a:lnTo>
                  <a:lnTo>
                    <a:pt x="3120" y="6645"/>
                  </a:lnTo>
                  <a:lnTo>
                    <a:pt x="3187" y="6645"/>
                  </a:lnTo>
                  <a:lnTo>
                    <a:pt x="3300" y="6622"/>
                  </a:lnTo>
                  <a:lnTo>
                    <a:pt x="3391" y="6532"/>
                  </a:lnTo>
                  <a:lnTo>
                    <a:pt x="3481" y="6419"/>
                  </a:lnTo>
                  <a:lnTo>
                    <a:pt x="3572" y="6261"/>
                  </a:lnTo>
                  <a:lnTo>
                    <a:pt x="3639" y="6102"/>
                  </a:lnTo>
                  <a:lnTo>
                    <a:pt x="3775" y="5696"/>
                  </a:lnTo>
                  <a:lnTo>
                    <a:pt x="3933" y="5311"/>
                  </a:lnTo>
                  <a:lnTo>
                    <a:pt x="4001" y="5153"/>
                  </a:lnTo>
                  <a:lnTo>
                    <a:pt x="4069" y="4995"/>
                  </a:lnTo>
                  <a:lnTo>
                    <a:pt x="4159" y="4882"/>
                  </a:lnTo>
                  <a:lnTo>
                    <a:pt x="4250" y="4792"/>
                  </a:lnTo>
                  <a:lnTo>
                    <a:pt x="4363" y="4769"/>
                  </a:lnTo>
                  <a:lnTo>
                    <a:pt x="4408" y="4769"/>
                  </a:lnTo>
                  <a:lnTo>
                    <a:pt x="4476" y="4792"/>
                  </a:lnTo>
                  <a:lnTo>
                    <a:pt x="4589" y="4814"/>
                  </a:lnTo>
                  <a:lnTo>
                    <a:pt x="4634" y="4792"/>
                  </a:lnTo>
                  <a:lnTo>
                    <a:pt x="4679" y="4769"/>
                  </a:lnTo>
                  <a:lnTo>
                    <a:pt x="4747" y="4701"/>
                  </a:lnTo>
                  <a:lnTo>
                    <a:pt x="4815" y="4566"/>
                  </a:lnTo>
                  <a:lnTo>
                    <a:pt x="4860" y="4407"/>
                  </a:lnTo>
                  <a:lnTo>
                    <a:pt x="4905" y="4227"/>
                  </a:lnTo>
                  <a:lnTo>
                    <a:pt x="4973" y="3752"/>
                  </a:lnTo>
                  <a:lnTo>
                    <a:pt x="5063" y="2690"/>
                  </a:lnTo>
                  <a:lnTo>
                    <a:pt x="5109" y="2192"/>
                  </a:lnTo>
                  <a:lnTo>
                    <a:pt x="5154" y="1966"/>
                  </a:lnTo>
                  <a:lnTo>
                    <a:pt x="5222" y="1763"/>
                  </a:lnTo>
                  <a:lnTo>
                    <a:pt x="1244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7" name="Google Shape;1824;p16">
              <a:extLst>
                <a:ext uri="{FF2B5EF4-FFF2-40B4-BE49-F238E27FC236}">
                  <a16:creationId xmlns:a16="http://schemas.microsoft.com/office/drawing/2014/main" id="{29D152B8-B3AA-AC16-37E5-FBDE3574C8D2}"/>
                </a:ext>
              </a:extLst>
            </p:cNvPr>
            <p:cNvSpPr/>
            <p:nvPr/>
          </p:nvSpPr>
          <p:spPr>
            <a:xfrm>
              <a:off x="2961025" y="1723750"/>
              <a:ext cx="190450" cy="135625"/>
            </a:xfrm>
            <a:custGeom>
              <a:avLst/>
              <a:gdLst/>
              <a:ahLst/>
              <a:cxnLst/>
              <a:rect l="l" t="t" r="r" b="b"/>
              <a:pathLst>
                <a:path w="7618" h="5425" extrusionOk="0">
                  <a:moveTo>
                    <a:pt x="2464" y="0"/>
                  </a:moveTo>
                  <a:lnTo>
                    <a:pt x="2328" y="23"/>
                  </a:lnTo>
                  <a:lnTo>
                    <a:pt x="2102" y="91"/>
                  </a:lnTo>
                  <a:lnTo>
                    <a:pt x="1921" y="181"/>
                  </a:lnTo>
                  <a:lnTo>
                    <a:pt x="1763" y="272"/>
                  </a:lnTo>
                  <a:lnTo>
                    <a:pt x="1628" y="362"/>
                  </a:lnTo>
                  <a:lnTo>
                    <a:pt x="1515" y="475"/>
                  </a:lnTo>
                  <a:lnTo>
                    <a:pt x="1424" y="611"/>
                  </a:lnTo>
                  <a:lnTo>
                    <a:pt x="1266" y="859"/>
                  </a:lnTo>
                  <a:lnTo>
                    <a:pt x="1153" y="1153"/>
                  </a:lnTo>
                  <a:lnTo>
                    <a:pt x="995" y="1447"/>
                  </a:lnTo>
                  <a:lnTo>
                    <a:pt x="882" y="1582"/>
                  </a:lnTo>
                  <a:lnTo>
                    <a:pt x="769" y="1741"/>
                  </a:lnTo>
                  <a:lnTo>
                    <a:pt x="633" y="1876"/>
                  </a:lnTo>
                  <a:lnTo>
                    <a:pt x="452" y="2035"/>
                  </a:lnTo>
                  <a:lnTo>
                    <a:pt x="339" y="2125"/>
                  </a:lnTo>
                  <a:lnTo>
                    <a:pt x="249" y="2215"/>
                  </a:lnTo>
                  <a:lnTo>
                    <a:pt x="181" y="2328"/>
                  </a:lnTo>
                  <a:lnTo>
                    <a:pt x="136" y="2441"/>
                  </a:lnTo>
                  <a:lnTo>
                    <a:pt x="68" y="2554"/>
                  </a:lnTo>
                  <a:lnTo>
                    <a:pt x="46" y="2690"/>
                  </a:lnTo>
                  <a:lnTo>
                    <a:pt x="0" y="2961"/>
                  </a:lnTo>
                  <a:lnTo>
                    <a:pt x="23" y="3255"/>
                  </a:lnTo>
                  <a:lnTo>
                    <a:pt x="46" y="3526"/>
                  </a:lnTo>
                  <a:lnTo>
                    <a:pt x="136" y="3820"/>
                  </a:lnTo>
                  <a:lnTo>
                    <a:pt x="226" y="4114"/>
                  </a:lnTo>
                  <a:lnTo>
                    <a:pt x="339" y="4385"/>
                  </a:lnTo>
                  <a:lnTo>
                    <a:pt x="452" y="4656"/>
                  </a:lnTo>
                  <a:lnTo>
                    <a:pt x="588" y="4882"/>
                  </a:lnTo>
                  <a:lnTo>
                    <a:pt x="724" y="5086"/>
                  </a:lnTo>
                  <a:lnTo>
                    <a:pt x="859" y="5244"/>
                  </a:lnTo>
                  <a:lnTo>
                    <a:pt x="972" y="5357"/>
                  </a:lnTo>
                  <a:lnTo>
                    <a:pt x="1085" y="5425"/>
                  </a:lnTo>
                  <a:lnTo>
                    <a:pt x="1153" y="5425"/>
                  </a:lnTo>
                  <a:lnTo>
                    <a:pt x="1243" y="5380"/>
                  </a:lnTo>
                  <a:lnTo>
                    <a:pt x="1311" y="5312"/>
                  </a:lnTo>
                  <a:lnTo>
                    <a:pt x="1356" y="5244"/>
                  </a:lnTo>
                  <a:lnTo>
                    <a:pt x="1402" y="5153"/>
                  </a:lnTo>
                  <a:lnTo>
                    <a:pt x="1492" y="4927"/>
                  </a:lnTo>
                  <a:lnTo>
                    <a:pt x="1582" y="4679"/>
                  </a:lnTo>
                  <a:lnTo>
                    <a:pt x="1650" y="4453"/>
                  </a:lnTo>
                  <a:lnTo>
                    <a:pt x="1741" y="4227"/>
                  </a:lnTo>
                  <a:lnTo>
                    <a:pt x="1786" y="4136"/>
                  </a:lnTo>
                  <a:lnTo>
                    <a:pt x="1831" y="4069"/>
                  </a:lnTo>
                  <a:lnTo>
                    <a:pt x="1899" y="4023"/>
                  </a:lnTo>
                  <a:lnTo>
                    <a:pt x="1967" y="3978"/>
                  </a:lnTo>
                  <a:lnTo>
                    <a:pt x="2170" y="3956"/>
                  </a:lnTo>
                  <a:lnTo>
                    <a:pt x="2306" y="3978"/>
                  </a:lnTo>
                  <a:lnTo>
                    <a:pt x="2373" y="4001"/>
                  </a:lnTo>
                  <a:lnTo>
                    <a:pt x="2419" y="4023"/>
                  </a:lnTo>
                  <a:lnTo>
                    <a:pt x="2486" y="4136"/>
                  </a:lnTo>
                  <a:lnTo>
                    <a:pt x="2532" y="4249"/>
                  </a:lnTo>
                  <a:lnTo>
                    <a:pt x="2577" y="4408"/>
                  </a:lnTo>
                  <a:lnTo>
                    <a:pt x="2622" y="4588"/>
                  </a:lnTo>
                  <a:lnTo>
                    <a:pt x="2713" y="4792"/>
                  </a:lnTo>
                  <a:lnTo>
                    <a:pt x="2826" y="4995"/>
                  </a:lnTo>
                  <a:lnTo>
                    <a:pt x="2961" y="5153"/>
                  </a:lnTo>
                  <a:lnTo>
                    <a:pt x="3119" y="5266"/>
                  </a:lnTo>
                  <a:lnTo>
                    <a:pt x="3187" y="5312"/>
                  </a:lnTo>
                  <a:lnTo>
                    <a:pt x="3278" y="5334"/>
                  </a:lnTo>
                  <a:lnTo>
                    <a:pt x="3413" y="5334"/>
                  </a:lnTo>
                  <a:lnTo>
                    <a:pt x="3458" y="5289"/>
                  </a:lnTo>
                  <a:lnTo>
                    <a:pt x="3504" y="5244"/>
                  </a:lnTo>
                  <a:lnTo>
                    <a:pt x="3526" y="5153"/>
                  </a:lnTo>
                  <a:lnTo>
                    <a:pt x="3549" y="5040"/>
                  </a:lnTo>
                  <a:lnTo>
                    <a:pt x="3549" y="4905"/>
                  </a:lnTo>
                  <a:lnTo>
                    <a:pt x="3526" y="4747"/>
                  </a:lnTo>
                  <a:lnTo>
                    <a:pt x="3504" y="4430"/>
                  </a:lnTo>
                  <a:lnTo>
                    <a:pt x="3504" y="4204"/>
                  </a:lnTo>
                  <a:lnTo>
                    <a:pt x="3526" y="4114"/>
                  </a:lnTo>
                  <a:lnTo>
                    <a:pt x="3571" y="4046"/>
                  </a:lnTo>
                  <a:lnTo>
                    <a:pt x="3617" y="4001"/>
                  </a:lnTo>
                  <a:lnTo>
                    <a:pt x="3662" y="3956"/>
                  </a:lnTo>
                  <a:lnTo>
                    <a:pt x="3707" y="3933"/>
                  </a:lnTo>
                  <a:lnTo>
                    <a:pt x="3775" y="3933"/>
                  </a:lnTo>
                  <a:lnTo>
                    <a:pt x="3933" y="3956"/>
                  </a:lnTo>
                  <a:lnTo>
                    <a:pt x="4091" y="4023"/>
                  </a:lnTo>
                  <a:lnTo>
                    <a:pt x="4249" y="4114"/>
                  </a:lnTo>
                  <a:lnTo>
                    <a:pt x="4543" y="4295"/>
                  </a:lnTo>
                  <a:lnTo>
                    <a:pt x="4724" y="4430"/>
                  </a:lnTo>
                  <a:lnTo>
                    <a:pt x="4814" y="4475"/>
                  </a:lnTo>
                  <a:lnTo>
                    <a:pt x="4905" y="4498"/>
                  </a:lnTo>
                  <a:lnTo>
                    <a:pt x="5018" y="4521"/>
                  </a:lnTo>
                  <a:lnTo>
                    <a:pt x="5176" y="4521"/>
                  </a:lnTo>
                  <a:lnTo>
                    <a:pt x="5244" y="4498"/>
                  </a:lnTo>
                  <a:lnTo>
                    <a:pt x="5312" y="4475"/>
                  </a:lnTo>
                  <a:lnTo>
                    <a:pt x="5357" y="4430"/>
                  </a:lnTo>
                  <a:lnTo>
                    <a:pt x="5379" y="4362"/>
                  </a:lnTo>
                  <a:lnTo>
                    <a:pt x="5425" y="4249"/>
                  </a:lnTo>
                  <a:lnTo>
                    <a:pt x="5447" y="4091"/>
                  </a:lnTo>
                  <a:lnTo>
                    <a:pt x="5492" y="3978"/>
                  </a:lnTo>
                  <a:lnTo>
                    <a:pt x="5538" y="3910"/>
                  </a:lnTo>
                  <a:lnTo>
                    <a:pt x="5583" y="3888"/>
                  </a:lnTo>
                  <a:lnTo>
                    <a:pt x="5651" y="3843"/>
                  </a:lnTo>
                  <a:lnTo>
                    <a:pt x="5832" y="3843"/>
                  </a:lnTo>
                  <a:lnTo>
                    <a:pt x="5945" y="3888"/>
                  </a:lnTo>
                  <a:lnTo>
                    <a:pt x="6216" y="3956"/>
                  </a:lnTo>
                  <a:lnTo>
                    <a:pt x="6374" y="3978"/>
                  </a:lnTo>
                  <a:lnTo>
                    <a:pt x="6510" y="3978"/>
                  </a:lnTo>
                  <a:lnTo>
                    <a:pt x="6668" y="3956"/>
                  </a:lnTo>
                  <a:lnTo>
                    <a:pt x="6803" y="3933"/>
                  </a:lnTo>
                  <a:lnTo>
                    <a:pt x="6939" y="3888"/>
                  </a:lnTo>
                  <a:lnTo>
                    <a:pt x="7075" y="3820"/>
                  </a:lnTo>
                  <a:lnTo>
                    <a:pt x="7188" y="3752"/>
                  </a:lnTo>
                  <a:lnTo>
                    <a:pt x="7301" y="3639"/>
                  </a:lnTo>
                  <a:lnTo>
                    <a:pt x="7391" y="3526"/>
                  </a:lnTo>
                  <a:lnTo>
                    <a:pt x="7481" y="3368"/>
                  </a:lnTo>
                  <a:lnTo>
                    <a:pt x="7549" y="3210"/>
                  </a:lnTo>
                  <a:lnTo>
                    <a:pt x="7594" y="3006"/>
                  </a:lnTo>
                  <a:lnTo>
                    <a:pt x="7617" y="2780"/>
                  </a:lnTo>
                  <a:lnTo>
                    <a:pt x="7617" y="2532"/>
                  </a:lnTo>
                  <a:lnTo>
                    <a:pt x="7594" y="2328"/>
                  </a:lnTo>
                  <a:lnTo>
                    <a:pt x="7549" y="2148"/>
                  </a:lnTo>
                  <a:lnTo>
                    <a:pt x="7504" y="2012"/>
                  </a:lnTo>
                  <a:lnTo>
                    <a:pt x="7459" y="1921"/>
                  </a:lnTo>
                  <a:lnTo>
                    <a:pt x="7391" y="1854"/>
                  </a:lnTo>
                  <a:lnTo>
                    <a:pt x="7301" y="1831"/>
                  </a:lnTo>
                  <a:lnTo>
                    <a:pt x="7210" y="1808"/>
                  </a:lnTo>
                  <a:lnTo>
                    <a:pt x="7120" y="1808"/>
                  </a:lnTo>
                  <a:lnTo>
                    <a:pt x="6894" y="1854"/>
                  </a:lnTo>
                  <a:lnTo>
                    <a:pt x="6645" y="1921"/>
                  </a:lnTo>
                  <a:lnTo>
                    <a:pt x="6397" y="1967"/>
                  </a:lnTo>
                  <a:lnTo>
                    <a:pt x="6284" y="1967"/>
                  </a:lnTo>
                  <a:lnTo>
                    <a:pt x="6148" y="1944"/>
                  </a:lnTo>
                  <a:lnTo>
                    <a:pt x="6080" y="1921"/>
                  </a:lnTo>
                  <a:lnTo>
                    <a:pt x="6035" y="1899"/>
                  </a:lnTo>
                  <a:lnTo>
                    <a:pt x="6012" y="1831"/>
                  </a:lnTo>
                  <a:lnTo>
                    <a:pt x="6012" y="1763"/>
                  </a:lnTo>
                  <a:lnTo>
                    <a:pt x="6035" y="1628"/>
                  </a:lnTo>
                  <a:lnTo>
                    <a:pt x="6080" y="1447"/>
                  </a:lnTo>
                  <a:lnTo>
                    <a:pt x="6103" y="1243"/>
                  </a:lnTo>
                  <a:lnTo>
                    <a:pt x="6103" y="1153"/>
                  </a:lnTo>
                  <a:lnTo>
                    <a:pt x="6080" y="1063"/>
                  </a:lnTo>
                  <a:lnTo>
                    <a:pt x="6035" y="972"/>
                  </a:lnTo>
                  <a:lnTo>
                    <a:pt x="5967" y="904"/>
                  </a:lnTo>
                  <a:lnTo>
                    <a:pt x="5854" y="814"/>
                  </a:lnTo>
                  <a:lnTo>
                    <a:pt x="5719" y="769"/>
                  </a:lnTo>
                  <a:lnTo>
                    <a:pt x="5492" y="701"/>
                  </a:lnTo>
                  <a:lnTo>
                    <a:pt x="5312" y="678"/>
                  </a:lnTo>
                  <a:lnTo>
                    <a:pt x="5176" y="678"/>
                  </a:lnTo>
                  <a:lnTo>
                    <a:pt x="5040" y="724"/>
                  </a:lnTo>
                  <a:lnTo>
                    <a:pt x="4905" y="746"/>
                  </a:lnTo>
                  <a:lnTo>
                    <a:pt x="4769" y="769"/>
                  </a:lnTo>
                  <a:lnTo>
                    <a:pt x="4588" y="769"/>
                  </a:lnTo>
                  <a:lnTo>
                    <a:pt x="4385" y="724"/>
                  </a:lnTo>
                  <a:lnTo>
                    <a:pt x="4227" y="656"/>
                  </a:lnTo>
                  <a:lnTo>
                    <a:pt x="4023" y="543"/>
                  </a:lnTo>
                  <a:lnTo>
                    <a:pt x="3504" y="249"/>
                  </a:lnTo>
                  <a:lnTo>
                    <a:pt x="3210" y="136"/>
                  </a:lnTo>
                  <a:lnTo>
                    <a:pt x="2916" y="46"/>
                  </a:lnTo>
                  <a:lnTo>
                    <a:pt x="2758" y="0"/>
                  </a:lnTo>
                  <a:close/>
                </a:path>
              </a:pathLst>
            </a:custGeom>
            <a:solidFill>
              <a:srgbClr val="3331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8" name="Google Shape;1825;p16">
              <a:extLst>
                <a:ext uri="{FF2B5EF4-FFF2-40B4-BE49-F238E27FC236}">
                  <a16:creationId xmlns:a16="http://schemas.microsoft.com/office/drawing/2014/main" id="{09D2C8E8-1D0F-2896-A5D4-A5A8FE02F6E3}"/>
                </a:ext>
              </a:extLst>
            </p:cNvPr>
            <p:cNvSpPr/>
            <p:nvPr/>
          </p:nvSpPr>
          <p:spPr>
            <a:xfrm>
              <a:off x="2521425" y="1892125"/>
              <a:ext cx="501775" cy="558275"/>
            </a:xfrm>
            <a:custGeom>
              <a:avLst/>
              <a:gdLst/>
              <a:ahLst/>
              <a:cxnLst/>
              <a:rect l="l" t="t" r="r" b="b"/>
              <a:pathLst>
                <a:path w="20071" h="22331" extrusionOk="0">
                  <a:moveTo>
                    <a:pt x="17065" y="1"/>
                  </a:moveTo>
                  <a:lnTo>
                    <a:pt x="16590" y="114"/>
                  </a:lnTo>
                  <a:lnTo>
                    <a:pt x="16138" y="227"/>
                  </a:lnTo>
                  <a:lnTo>
                    <a:pt x="15324" y="475"/>
                  </a:lnTo>
                  <a:lnTo>
                    <a:pt x="14624" y="746"/>
                  </a:lnTo>
                  <a:lnTo>
                    <a:pt x="14059" y="995"/>
                  </a:lnTo>
                  <a:lnTo>
                    <a:pt x="13606" y="1221"/>
                  </a:lnTo>
                  <a:lnTo>
                    <a:pt x="13267" y="1379"/>
                  </a:lnTo>
                  <a:lnTo>
                    <a:pt x="12996" y="1537"/>
                  </a:lnTo>
                  <a:lnTo>
                    <a:pt x="7459" y="8567"/>
                  </a:lnTo>
                  <a:lnTo>
                    <a:pt x="3165" y="13968"/>
                  </a:lnTo>
                  <a:lnTo>
                    <a:pt x="1379" y="16183"/>
                  </a:lnTo>
                  <a:lnTo>
                    <a:pt x="159" y="17675"/>
                  </a:lnTo>
                  <a:lnTo>
                    <a:pt x="68" y="17810"/>
                  </a:lnTo>
                  <a:lnTo>
                    <a:pt x="0" y="17946"/>
                  </a:lnTo>
                  <a:lnTo>
                    <a:pt x="0" y="18059"/>
                  </a:lnTo>
                  <a:lnTo>
                    <a:pt x="23" y="18172"/>
                  </a:lnTo>
                  <a:lnTo>
                    <a:pt x="91" y="18285"/>
                  </a:lnTo>
                  <a:lnTo>
                    <a:pt x="204" y="18398"/>
                  </a:lnTo>
                  <a:lnTo>
                    <a:pt x="339" y="18511"/>
                  </a:lnTo>
                  <a:lnTo>
                    <a:pt x="475" y="18624"/>
                  </a:lnTo>
                  <a:lnTo>
                    <a:pt x="859" y="18873"/>
                  </a:lnTo>
                  <a:lnTo>
                    <a:pt x="1289" y="19167"/>
                  </a:lnTo>
                  <a:lnTo>
                    <a:pt x="1786" y="19528"/>
                  </a:lnTo>
                  <a:lnTo>
                    <a:pt x="2035" y="19709"/>
                  </a:lnTo>
                  <a:lnTo>
                    <a:pt x="2283" y="19935"/>
                  </a:lnTo>
                  <a:lnTo>
                    <a:pt x="2826" y="20387"/>
                  </a:lnTo>
                  <a:lnTo>
                    <a:pt x="3368" y="20771"/>
                  </a:lnTo>
                  <a:lnTo>
                    <a:pt x="3910" y="21110"/>
                  </a:lnTo>
                  <a:lnTo>
                    <a:pt x="4453" y="21404"/>
                  </a:lnTo>
                  <a:lnTo>
                    <a:pt x="4973" y="21630"/>
                  </a:lnTo>
                  <a:lnTo>
                    <a:pt x="5493" y="21833"/>
                  </a:lnTo>
                  <a:lnTo>
                    <a:pt x="5990" y="21992"/>
                  </a:lnTo>
                  <a:lnTo>
                    <a:pt x="6442" y="22105"/>
                  </a:lnTo>
                  <a:lnTo>
                    <a:pt x="6871" y="22195"/>
                  </a:lnTo>
                  <a:lnTo>
                    <a:pt x="7278" y="22263"/>
                  </a:lnTo>
                  <a:lnTo>
                    <a:pt x="7640" y="22308"/>
                  </a:lnTo>
                  <a:lnTo>
                    <a:pt x="7979" y="22331"/>
                  </a:lnTo>
                  <a:lnTo>
                    <a:pt x="8725" y="22331"/>
                  </a:lnTo>
                  <a:lnTo>
                    <a:pt x="8792" y="22286"/>
                  </a:lnTo>
                  <a:lnTo>
                    <a:pt x="8905" y="22195"/>
                  </a:lnTo>
                  <a:lnTo>
                    <a:pt x="9267" y="21856"/>
                  </a:lnTo>
                  <a:lnTo>
                    <a:pt x="9809" y="21291"/>
                  </a:lnTo>
                  <a:lnTo>
                    <a:pt x="10487" y="20523"/>
                  </a:lnTo>
                  <a:lnTo>
                    <a:pt x="11279" y="19573"/>
                  </a:lnTo>
                  <a:lnTo>
                    <a:pt x="12137" y="18488"/>
                  </a:lnTo>
                  <a:lnTo>
                    <a:pt x="13087" y="17245"/>
                  </a:lnTo>
                  <a:lnTo>
                    <a:pt x="14059" y="15867"/>
                  </a:lnTo>
                  <a:lnTo>
                    <a:pt x="14556" y="15143"/>
                  </a:lnTo>
                  <a:lnTo>
                    <a:pt x="15053" y="14398"/>
                  </a:lnTo>
                  <a:lnTo>
                    <a:pt x="15528" y="13629"/>
                  </a:lnTo>
                  <a:lnTo>
                    <a:pt x="16025" y="12838"/>
                  </a:lnTo>
                  <a:lnTo>
                    <a:pt x="16477" y="12047"/>
                  </a:lnTo>
                  <a:lnTo>
                    <a:pt x="16952" y="11211"/>
                  </a:lnTo>
                  <a:lnTo>
                    <a:pt x="17381" y="10375"/>
                  </a:lnTo>
                  <a:lnTo>
                    <a:pt x="17810" y="9538"/>
                  </a:lnTo>
                  <a:lnTo>
                    <a:pt x="18217" y="8680"/>
                  </a:lnTo>
                  <a:lnTo>
                    <a:pt x="18579" y="7798"/>
                  </a:lnTo>
                  <a:lnTo>
                    <a:pt x="18918" y="6939"/>
                  </a:lnTo>
                  <a:lnTo>
                    <a:pt x="19234" y="6058"/>
                  </a:lnTo>
                  <a:lnTo>
                    <a:pt x="19505" y="5199"/>
                  </a:lnTo>
                  <a:lnTo>
                    <a:pt x="19731" y="4317"/>
                  </a:lnTo>
                  <a:lnTo>
                    <a:pt x="19935" y="3459"/>
                  </a:lnTo>
                  <a:lnTo>
                    <a:pt x="20070" y="2600"/>
                  </a:lnTo>
                  <a:lnTo>
                    <a:pt x="20070" y="2464"/>
                  </a:lnTo>
                  <a:lnTo>
                    <a:pt x="20048" y="2419"/>
                  </a:lnTo>
                  <a:lnTo>
                    <a:pt x="20025" y="2396"/>
                  </a:lnTo>
                  <a:lnTo>
                    <a:pt x="19957" y="2396"/>
                  </a:lnTo>
                  <a:lnTo>
                    <a:pt x="19867" y="2487"/>
                  </a:lnTo>
                  <a:lnTo>
                    <a:pt x="19754" y="2600"/>
                  </a:lnTo>
                  <a:lnTo>
                    <a:pt x="19664" y="2735"/>
                  </a:lnTo>
                  <a:lnTo>
                    <a:pt x="19596" y="2894"/>
                  </a:lnTo>
                  <a:lnTo>
                    <a:pt x="19573" y="3074"/>
                  </a:lnTo>
                  <a:lnTo>
                    <a:pt x="19528" y="3233"/>
                  </a:lnTo>
                  <a:lnTo>
                    <a:pt x="19483" y="3368"/>
                  </a:lnTo>
                  <a:lnTo>
                    <a:pt x="19438" y="3504"/>
                  </a:lnTo>
                  <a:lnTo>
                    <a:pt x="19347" y="3617"/>
                  </a:lnTo>
                  <a:lnTo>
                    <a:pt x="19234" y="3685"/>
                  </a:lnTo>
                  <a:lnTo>
                    <a:pt x="19166" y="3707"/>
                  </a:lnTo>
                  <a:lnTo>
                    <a:pt x="19031" y="3707"/>
                  </a:lnTo>
                  <a:lnTo>
                    <a:pt x="18940" y="3685"/>
                  </a:lnTo>
                  <a:lnTo>
                    <a:pt x="18760" y="3572"/>
                  </a:lnTo>
                  <a:lnTo>
                    <a:pt x="18601" y="3436"/>
                  </a:lnTo>
                  <a:lnTo>
                    <a:pt x="18488" y="3255"/>
                  </a:lnTo>
                  <a:lnTo>
                    <a:pt x="18398" y="3052"/>
                  </a:lnTo>
                  <a:lnTo>
                    <a:pt x="18308" y="2803"/>
                  </a:lnTo>
                  <a:lnTo>
                    <a:pt x="18240" y="2555"/>
                  </a:lnTo>
                  <a:lnTo>
                    <a:pt x="18195" y="2261"/>
                  </a:lnTo>
                  <a:lnTo>
                    <a:pt x="18082" y="1696"/>
                  </a:lnTo>
                  <a:lnTo>
                    <a:pt x="18014" y="1402"/>
                  </a:lnTo>
                  <a:lnTo>
                    <a:pt x="17946" y="1108"/>
                  </a:lnTo>
                  <a:lnTo>
                    <a:pt x="17856" y="859"/>
                  </a:lnTo>
                  <a:lnTo>
                    <a:pt x="17765" y="611"/>
                  </a:lnTo>
                  <a:lnTo>
                    <a:pt x="17630" y="407"/>
                  </a:lnTo>
                  <a:lnTo>
                    <a:pt x="17471" y="227"/>
                  </a:lnTo>
                  <a:lnTo>
                    <a:pt x="17381" y="159"/>
                  </a:lnTo>
                  <a:lnTo>
                    <a:pt x="17291" y="91"/>
                  </a:lnTo>
                  <a:lnTo>
                    <a:pt x="17178" y="23"/>
                  </a:lnTo>
                  <a:lnTo>
                    <a:pt x="1706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9" name="Google Shape;1826;p16">
              <a:extLst>
                <a:ext uri="{FF2B5EF4-FFF2-40B4-BE49-F238E27FC236}">
                  <a16:creationId xmlns:a16="http://schemas.microsoft.com/office/drawing/2014/main" id="{57923952-0482-614D-525F-91A05B2E5E6F}"/>
                </a:ext>
              </a:extLst>
            </p:cNvPr>
            <p:cNvSpPr/>
            <p:nvPr/>
          </p:nvSpPr>
          <p:spPr>
            <a:xfrm>
              <a:off x="2521425" y="1892125"/>
              <a:ext cx="501775" cy="558275"/>
            </a:xfrm>
            <a:custGeom>
              <a:avLst/>
              <a:gdLst/>
              <a:ahLst/>
              <a:cxnLst/>
              <a:rect l="l" t="t" r="r" b="b"/>
              <a:pathLst>
                <a:path w="20071" h="22331" fill="none" extrusionOk="0">
                  <a:moveTo>
                    <a:pt x="17065" y="1"/>
                  </a:moveTo>
                  <a:lnTo>
                    <a:pt x="17065" y="1"/>
                  </a:lnTo>
                  <a:lnTo>
                    <a:pt x="17178" y="23"/>
                  </a:lnTo>
                  <a:lnTo>
                    <a:pt x="17291" y="91"/>
                  </a:lnTo>
                  <a:lnTo>
                    <a:pt x="17381" y="159"/>
                  </a:lnTo>
                  <a:lnTo>
                    <a:pt x="17471" y="227"/>
                  </a:lnTo>
                  <a:lnTo>
                    <a:pt x="17630" y="407"/>
                  </a:lnTo>
                  <a:lnTo>
                    <a:pt x="17765" y="611"/>
                  </a:lnTo>
                  <a:lnTo>
                    <a:pt x="17856" y="859"/>
                  </a:lnTo>
                  <a:lnTo>
                    <a:pt x="17946" y="1108"/>
                  </a:lnTo>
                  <a:lnTo>
                    <a:pt x="18014" y="1402"/>
                  </a:lnTo>
                  <a:lnTo>
                    <a:pt x="18082" y="1696"/>
                  </a:lnTo>
                  <a:lnTo>
                    <a:pt x="18195" y="2261"/>
                  </a:lnTo>
                  <a:lnTo>
                    <a:pt x="18240" y="2555"/>
                  </a:lnTo>
                  <a:lnTo>
                    <a:pt x="18308" y="2803"/>
                  </a:lnTo>
                  <a:lnTo>
                    <a:pt x="18398" y="3052"/>
                  </a:lnTo>
                  <a:lnTo>
                    <a:pt x="18488" y="3255"/>
                  </a:lnTo>
                  <a:lnTo>
                    <a:pt x="18601" y="3436"/>
                  </a:lnTo>
                  <a:lnTo>
                    <a:pt x="18760" y="3572"/>
                  </a:lnTo>
                  <a:lnTo>
                    <a:pt x="18760" y="3572"/>
                  </a:lnTo>
                  <a:lnTo>
                    <a:pt x="18940" y="3685"/>
                  </a:lnTo>
                  <a:lnTo>
                    <a:pt x="19031" y="3707"/>
                  </a:lnTo>
                  <a:lnTo>
                    <a:pt x="19099" y="3707"/>
                  </a:lnTo>
                  <a:lnTo>
                    <a:pt x="19166" y="3707"/>
                  </a:lnTo>
                  <a:lnTo>
                    <a:pt x="19234" y="3685"/>
                  </a:lnTo>
                  <a:lnTo>
                    <a:pt x="19347" y="3617"/>
                  </a:lnTo>
                  <a:lnTo>
                    <a:pt x="19438" y="3504"/>
                  </a:lnTo>
                  <a:lnTo>
                    <a:pt x="19483" y="3368"/>
                  </a:lnTo>
                  <a:lnTo>
                    <a:pt x="19528" y="3233"/>
                  </a:lnTo>
                  <a:lnTo>
                    <a:pt x="19573" y="3074"/>
                  </a:lnTo>
                  <a:lnTo>
                    <a:pt x="19573" y="3074"/>
                  </a:lnTo>
                  <a:lnTo>
                    <a:pt x="19596" y="2894"/>
                  </a:lnTo>
                  <a:lnTo>
                    <a:pt x="19664" y="2735"/>
                  </a:lnTo>
                  <a:lnTo>
                    <a:pt x="19754" y="2600"/>
                  </a:lnTo>
                  <a:lnTo>
                    <a:pt x="19867" y="2487"/>
                  </a:lnTo>
                  <a:lnTo>
                    <a:pt x="19957" y="2396"/>
                  </a:lnTo>
                  <a:lnTo>
                    <a:pt x="20003" y="2396"/>
                  </a:lnTo>
                  <a:lnTo>
                    <a:pt x="20025" y="2396"/>
                  </a:lnTo>
                  <a:lnTo>
                    <a:pt x="20048" y="2419"/>
                  </a:lnTo>
                  <a:lnTo>
                    <a:pt x="20070" y="2464"/>
                  </a:lnTo>
                  <a:lnTo>
                    <a:pt x="20070" y="2600"/>
                  </a:lnTo>
                  <a:lnTo>
                    <a:pt x="20070" y="2600"/>
                  </a:lnTo>
                  <a:lnTo>
                    <a:pt x="19935" y="3459"/>
                  </a:lnTo>
                  <a:lnTo>
                    <a:pt x="19731" y="4317"/>
                  </a:lnTo>
                  <a:lnTo>
                    <a:pt x="19505" y="5199"/>
                  </a:lnTo>
                  <a:lnTo>
                    <a:pt x="19234" y="6058"/>
                  </a:lnTo>
                  <a:lnTo>
                    <a:pt x="18918" y="6939"/>
                  </a:lnTo>
                  <a:lnTo>
                    <a:pt x="18579" y="7798"/>
                  </a:lnTo>
                  <a:lnTo>
                    <a:pt x="18217" y="8680"/>
                  </a:lnTo>
                  <a:lnTo>
                    <a:pt x="17810" y="9538"/>
                  </a:lnTo>
                  <a:lnTo>
                    <a:pt x="17381" y="10375"/>
                  </a:lnTo>
                  <a:lnTo>
                    <a:pt x="16952" y="11211"/>
                  </a:lnTo>
                  <a:lnTo>
                    <a:pt x="16477" y="12047"/>
                  </a:lnTo>
                  <a:lnTo>
                    <a:pt x="16025" y="12838"/>
                  </a:lnTo>
                  <a:lnTo>
                    <a:pt x="15528" y="13629"/>
                  </a:lnTo>
                  <a:lnTo>
                    <a:pt x="15053" y="14398"/>
                  </a:lnTo>
                  <a:lnTo>
                    <a:pt x="14556" y="15143"/>
                  </a:lnTo>
                  <a:lnTo>
                    <a:pt x="14059" y="15867"/>
                  </a:lnTo>
                  <a:lnTo>
                    <a:pt x="13087" y="17245"/>
                  </a:lnTo>
                  <a:lnTo>
                    <a:pt x="12137" y="18488"/>
                  </a:lnTo>
                  <a:lnTo>
                    <a:pt x="11279" y="19573"/>
                  </a:lnTo>
                  <a:lnTo>
                    <a:pt x="10487" y="20523"/>
                  </a:lnTo>
                  <a:lnTo>
                    <a:pt x="9809" y="21291"/>
                  </a:lnTo>
                  <a:lnTo>
                    <a:pt x="9267" y="21856"/>
                  </a:lnTo>
                  <a:lnTo>
                    <a:pt x="8905" y="22195"/>
                  </a:lnTo>
                  <a:lnTo>
                    <a:pt x="8792" y="22286"/>
                  </a:lnTo>
                  <a:lnTo>
                    <a:pt x="8725" y="22331"/>
                  </a:lnTo>
                  <a:lnTo>
                    <a:pt x="8725" y="22331"/>
                  </a:lnTo>
                  <a:lnTo>
                    <a:pt x="8476" y="22331"/>
                  </a:lnTo>
                  <a:lnTo>
                    <a:pt x="7979" y="22331"/>
                  </a:lnTo>
                  <a:lnTo>
                    <a:pt x="7640" y="22308"/>
                  </a:lnTo>
                  <a:lnTo>
                    <a:pt x="7278" y="22263"/>
                  </a:lnTo>
                  <a:lnTo>
                    <a:pt x="6871" y="22195"/>
                  </a:lnTo>
                  <a:lnTo>
                    <a:pt x="6442" y="22105"/>
                  </a:lnTo>
                  <a:lnTo>
                    <a:pt x="5990" y="21992"/>
                  </a:lnTo>
                  <a:lnTo>
                    <a:pt x="5493" y="21833"/>
                  </a:lnTo>
                  <a:lnTo>
                    <a:pt x="4973" y="21630"/>
                  </a:lnTo>
                  <a:lnTo>
                    <a:pt x="4453" y="21404"/>
                  </a:lnTo>
                  <a:lnTo>
                    <a:pt x="3910" y="21110"/>
                  </a:lnTo>
                  <a:lnTo>
                    <a:pt x="3368" y="20771"/>
                  </a:lnTo>
                  <a:lnTo>
                    <a:pt x="2826" y="20387"/>
                  </a:lnTo>
                  <a:lnTo>
                    <a:pt x="2283" y="19935"/>
                  </a:lnTo>
                  <a:lnTo>
                    <a:pt x="2283" y="19935"/>
                  </a:lnTo>
                  <a:lnTo>
                    <a:pt x="2035" y="19709"/>
                  </a:lnTo>
                  <a:lnTo>
                    <a:pt x="1786" y="19528"/>
                  </a:lnTo>
                  <a:lnTo>
                    <a:pt x="1289" y="19167"/>
                  </a:lnTo>
                  <a:lnTo>
                    <a:pt x="859" y="18873"/>
                  </a:lnTo>
                  <a:lnTo>
                    <a:pt x="475" y="18624"/>
                  </a:lnTo>
                  <a:lnTo>
                    <a:pt x="339" y="18511"/>
                  </a:lnTo>
                  <a:lnTo>
                    <a:pt x="204" y="18398"/>
                  </a:lnTo>
                  <a:lnTo>
                    <a:pt x="91" y="18285"/>
                  </a:lnTo>
                  <a:lnTo>
                    <a:pt x="23" y="18172"/>
                  </a:lnTo>
                  <a:lnTo>
                    <a:pt x="0" y="18059"/>
                  </a:lnTo>
                  <a:lnTo>
                    <a:pt x="0" y="17946"/>
                  </a:lnTo>
                  <a:lnTo>
                    <a:pt x="68" y="17810"/>
                  </a:lnTo>
                  <a:lnTo>
                    <a:pt x="159" y="17675"/>
                  </a:lnTo>
                  <a:lnTo>
                    <a:pt x="159" y="17675"/>
                  </a:lnTo>
                  <a:lnTo>
                    <a:pt x="1379" y="16183"/>
                  </a:lnTo>
                  <a:lnTo>
                    <a:pt x="3165" y="13968"/>
                  </a:lnTo>
                  <a:lnTo>
                    <a:pt x="7459" y="8567"/>
                  </a:lnTo>
                  <a:lnTo>
                    <a:pt x="12996" y="1537"/>
                  </a:lnTo>
                  <a:lnTo>
                    <a:pt x="12996" y="1537"/>
                  </a:lnTo>
                  <a:lnTo>
                    <a:pt x="13267" y="1379"/>
                  </a:lnTo>
                  <a:lnTo>
                    <a:pt x="13606" y="1221"/>
                  </a:lnTo>
                  <a:lnTo>
                    <a:pt x="14059" y="995"/>
                  </a:lnTo>
                  <a:lnTo>
                    <a:pt x="14624" y="746"/>
                  </a:lnTo>
                  <a:lnTo>
                    <a:pt x="15324" y="475"/>
                  </a:lnTo>
                  <a:lnTo>
                    <a:pt x="16138" y="227"/>
                  </a:lnTo>
                  <a:lnTo>
                    <a:pt x="16590" y="114"/>
                  </a:lnTo>
                  <a:lnTo>
                    <a:pt x="1706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0" name="Google Shape;1827;p16">
              <a:extLst>
                <a:ext uri="{FF2B5EF4-FFF2-40B4-BE49-F238E27FC236}">
                  <a16:creationId xmlns:a16="http://schemas.microsoft.com/office/drawing/2014/main" id="{046D7520-673A-77F0-FDC6-904312EE8CE9}"/>
                </a:ext>
              </a:extLst>
            </p:cNvPr>
            <p:cNvSpPr/>
            <p:nvPr/>
          </p:nvSpPr>
          <p:spPr>
            <a:xfrm>
              <a:off x="2374525" y="1891550"/>
              <a:ext cx="572400" cy="683725"/>
            </a:xfrm>
            <a:custGeom>
              <a:avLst/>
              <a:gdLst/>
              <a:ahLst/>
              <a:cxnLst/>
              <a:rect l="l" t="t" r="r" b="b"/>
              <a:pathLst>
                <a:path w="22896" h="27349" extrusionOk="0">
                  <a:moveTo>
                    <a:pt x="22647" y="1"/>
                  </a:moveTo>
                  <a:lnTo>
                    <a:pt x="22353" y="24"/>
                  </a:lnTo>
                  <a:lnTo>
                    <a:pt x="21878" y="69"/>
                  </a:lnTo>
                  <a:lnTo>
                    <a:pt x="21268" y="159"/>
                  </a:lnTo>
                  <a:lnTo>
                    <a:pt x="20454" y="317"/>
                  </a:lnTo>
                  <a:lnTo>
                    <a:pt x="19437" y="566"/>
                  </a:lnTo>
                  <a:lnTo>
                    <a:pt x="18217" y="928"/>
                  </a:lnTo>
                  <a:lnTo>
                    <a:pt x="17629" y="1108"/>
                  </a:lnTo>
                  <a:lnTo>
                    <a:pt x="16996" y="1357"/>
                  </a:lnTo>
                  <a:lnTo>
                    <a:pt x="16318" y="1651"/>
                  </a:lnTo>
                  <a:lnTo>
                    <a:pt x="15979" y="1832"/>
                  </a:lnTo>
                  <a:lnTo>
                    <a:pt x="15640" y="2013"/>
                  </a:lnTo>
                  <a:lnTo>
                    <a:pt x="15279" y="2216"/>
                  </a:lnTo>
                  <a:lnTo>
                    <a:pt x="14962" y="2442"/>
                  </a:lnTo>
                  <a:lnTo>
                    <a:pt x="14623" y="2691"/>
                  </a:lnTo>
                  <a:lnTo>
                    <a:pt x="14307" y="2962"/>
                  </a:lnTo>
                  <a:lnTo>
                    <a:pt x="13990" y="3256"/>
                  </a:lnTo>
                  <a:lnTo>
                    <a:pt x="13697" y="3572"/>
                  </a:lnTo>
                  <a:lnTo>
                    <a:pt x="13425" y="3911"/>
                  </a:lnTo>
                  <a:lnTo>
                    <a:pt x="13177" y="4273"/>
                  </a:lnTo>
                  <a:lnTo>
                    <a:pt x="12792" y="4883"/>
                  </a:lnTo>
                  <a:lnTo>
                    <a:pt x="12453" y="5471"/>
                  </a:lnTo>
                  <a:lnTo>
                    <a:pt x="12137" y="6036"/>
                  </a:lnTo>
                  <a:lnTo>
                    <a:pt x="11821" y="6623"/>
                  </a:lnTo>
                  <a:lnTo>
                    <a:pt x="11278" y="7731"/>
                  </a:lnTo>
                  <a:lnTo>
                    <a:pt x="10781" y="8793"/>
                  </a:lnTo>
                  <a:lnTo>
                    <a:pt x="10329" y="9787"/>
                  </a:lnTo>
                  <a:lnTo>
                    <a:pt x="9899" y="10759"/>
                  </a:lnTo>
                  <a:lnTo>
                    <a:pt x="9447" y="11641"/>
                  </a:lnTo>
                  <a:lnTo>
                    <a:pt x="9199" y="12070"/>
                  </a:lnTo>
                  <a:lnTo>
                    <a:pt x="8950" y="12477"/>
                  </a:lnTo>
                  <a:lnTo>
                    <a:pt x="8702" y="12884"/>
                  </a:lnTo>
                  <a:lnTo>
                    <a:pt x="8453" y="13313"/>
                  </a:lnTo>
                  <a:lnTo>
                    <a:pt x="7956" y="14262"/>
                  </a:lnTo>
                  <a:lnTo>
                    <a:pt x="7413" y="15234"/>
                  </a:lnTo>
                  <a:lnTo>
                    <a:pt x="7120" y="15732"/>
                  </a:lnTo>
                  <a:lnTo>
                    <a:pt x="6803" y="16229"/>
                  </a:lnTo>
                  <a:lnTo>
                    <a:pt x="6487" y="16703"/>
                  </a:lnTo>
                  <a:lnTo>
                    <a:pt x="6125" y="17178"/>
                  </a:lnTo>
                  <a:lnTo>
                    <a:pt x="5763" y="17653"/>
                  </a:lnTo>
                  <a:lnTo>
                    <a:pt x="5357" y="18082"/>
                  </a:lnTo>
                  <a:lnTo>
                    <a:pt x="4950" y="18511"/>
                  </a:lnTo>
                  <a:lnTo>
                    <a:pt x="4475" y="18896"/>
                  </a:lnTo>
                  <a:lnTo>
                    <a:pt x="3978" y="19257"/>
                  </a:lnTo>
                  <a:lnTo>
                    <a:pt x="3729" y="19416"/>
                  </a:lnTo>
                  <a:lnTo>
                    <a:pt x="3458" y="19551"/>
                  </a:lnTo>
                  <a:lnTo>
                    <a:pt x="2870" y="19890"/>
                  </a:lnTo>
                  <a:lnTo>
                    <a:pt x="2351" y="20229"/>
                  </a:lnTo>
                  <a:lnTo>
                    <a:pt x="1853" y="20568"/>
                  </a:lnTo>
                  <a:lnTo>
                    <a:pt x="1424" y="20930"/>
                  </a:lnTo>
                  <a:lnTo>
                    <a:pt x="1062" y="21291"/>
                  </a:lnTo>
                  <a:lnTo>
                    <a:pt x="723" y="21653"/>
                  </a:lnTo>
                  <a:lnTo>
                    <a:pt x="452" y="22037"/>
                  </a:lnTo>
                  <a:lnTo>
                    <a:pt x="362" y="22218"/>
                  </a:lnTo>
                  <a:lnTo>
                    <a:pt x="249" y="22422"/>
                  </a:lnTo>
                  <a:lnTo>
                    <a:pt x="181" y="22625"/>
                  </a:lnTo>
                  <a:lnTo>
                    <a:pt x="113" y="22806"/>
                  </a:lnTo>
                  <a:lnTo>
                    <a:pt x="68" y="23009"/>
                  </a:lnTo>
                  <a:lnTo>
                    <a:pt x="23" y="23190"/>
                  </a:lnTo>
                  <a:lnTo>
                    <a:pt x="0" y="23393"/>
                  </a:lnTo>
                  <a:lnTo>
                    <a:pt x="0" y="23597"/>
                  </a:lnTo>
                  <a:lnTo>
                    <a:pt x="23" y="23800"/>
                  </a:lnTo>
                  <a:lnTo>
                    <a:pt x="45" y="23981"/>
                  </a:lnTo>
                  <a:lnTo>
                    <a:pt x="90" y="24184"/>
                  </a:lnTo>
                  <a:lnTo>
                    <a:pt x="158" y="24388"/>
                  </a:lnTo>
                  <a:lnTo>
                    <a:pt x="249" y="24591"/>
                  </a:lnTo>
                  <a:lnTo>
                    <a:pt x="362" y="24795"/>
                  </a:lnTo>
                  <a:lnTo>
                    <a:pt x="475" y="24998"/>
                  </a:lnTo>
                  <a:lnTo>
                    <a:pt x="610" y="25201"/>
                  </a:lnTo>
                  <a:lnTo>
                    <a:pt x="768" y="25382"/>
                  </a:lnTo>
                  <a:lnTo>
                    <a:pt x="949" y="25586"/>
                  </a:lnTo>
                  <a:lnTo>
                    <a:pt x="1198" y="25857"/>
                  </a:lnTo>
                  <a:lnTo>
                    <a:pt x="1469" y="26106"/>
                  </a:lnTo>
                  <a:lnTo>
                    <a:pt x="1763" y="26332"/>
                  </a:lnTo>
                  <a:lnTo>
                    <a:pt x="2034" y="26512"/>
                  </a:lnTo>
                  <a:lnTo>
                    <a:pt x="2328" y="26693"/>
                  </a:lnTo>
                  <a:lnTo>
                    <a:pt x="2622" y="26851"/>
                  </a:lnTo>
                  <a:lnTo>
                    <a:pt x="2916" y="26964"/>
                  </a:lnTo>
                  <a:lnTo>
                    <a:pt x="3209" y="27077"/>
                  </a:lnTo>
                  <a:lnTo>
                    <a:pt x="3503" y="27168"/>
                  </a:lnTo>
                  <a:lnTo>
                    <a:pt x="3797" y="27236"/>
                  </a:lnTo>
                  <a:lnTo>
                    <a:pt x="4091" y="27281"/>
                  </a:lnTo>
                  <a:lnTo>
                    <a:pt x="4407" y="27326"/>
                  </a:lnTo>
                  <a:lnTo>
                    <a:pt x="4701" y="27349"/>
                  </a:lnTo>
                  <a:lnTo>
                    <a:pt x="4995" y="27349"/>
                  </a:lnTo>
                  <a:lnTo>
                    <a:pt x="5583" y="27326"/>
                  </a:lnTo>
                  <a:lnTo>
                    <a:pt x="6170" y="27258"/>
                  </a:lnTo>
                  <a:lnTo>
                    <a:pt x="6758" y="27145"/>
                  </a:lnTo>
                  <a:lnTo>
                    <a:pt x="7300" y="27032"/>
                  </a:lnTo>
                  <a:lnTo>
                    <a:pt x="7843" y="26874"/>
                  </a:lnTo>
                  <a:lnTo>
                    <a:pt x="8837" y="26558"/>
                  </a:lnTo>
                  <a:lnTo>
                    <a:pt x="9696" y="26286"/>
                  </a:lnTo>
                  <a:lnTo>
                    <a:pt x="9922" y="26219"/>
                  </a:lnTo>
                  <a:lnTo>
                    <a:pt x="10125" y="26128"/>
                  </a:lnTo>
                  <a:lnTo>
                    <a:pt x="10306" y="26015"/>
                  </a:lnTo>
                  <a:lnTo>
                    <a:pt x="10465" y="25925"/>
                  </a:lnTo>
                  <a:lnTo>
                    <a:pt x="10623" y="25789"/>
                  </a:lnTo>
                  <a:lnTo>
                    <a:pt x="10758" y="25676"/>
                  </a:lnTo>
                  <a:lnTo>
                    <a:pt x="10871" y="25541"/>
                  </a:lnTo>
                  <a:lnTo>
                    <a:pt x="10984" y="25382"/>
                  </a:lnTo>
                  <a:lnTo>
                    <a:pt x="11188" y="25066"/>
                  </a:lnTo>
                  <a:lnTo>
                    <a:pt x="11346" y="24704"/>
                  </a:lnTo>
                  <a:lnTo>
                    <a:pt x="11504" y="24297"/>
                  </a:lnTo>
                  <a:lnTo>
                    <a:pt x="11662" y="23891"/>
                  </a:lnTo>
                  <a:lnTo>
                    <a:pt x="11821" y="23439"/>
                  </a:lnTo>
                  <a:lnTo>
                    <a:pt x="12024" y="22941"/>
                  </a:lnTo>
                  <a:lnTo>
                    <a:pt x="12250" y="22444"/>
                  </a:lnTo>
                  <a:lnTo>
                    <a:pt x="12521" y="21902"/>
                  </a:lnTo>
                  <a:lnTo>
                    <a:pt x="12860" y="21359"/>
                  </a:lnTo>
                  <a:lnTo>
                    <a:pt x="13064" y="21065"/>
                  </a:lnTo>
                  <a:lnTo>
                    <a:pt x="13290" y="20794"/>
                  </a:lnTo>
                  <a:lnTo>
                    <a:pt x="13538" y="20500"/>
                  </a:lnTo>
                  <a:lnTo>
                    <a:pt x="13787" y="20207"/>
                  </a:lnTo>
                  <a:lnTo>
                    <a:pt x="14081" y="19890"/>
                  </a:lnTo>
                  <a:lnTo>
                    <a:pt x="14397" y="19596"/>
                  </a:lnTo>
                  <a:lnTo>
                    <a:pt x="14691" y="19303"/>
                  </a:lnTo>
                  <a:lnTo>
                    <a:pt x="14962" y="18986"/>
                  </a:lnTo>
                  <a:lnTo>
                    <a:pt x="15211" y="18625"/>
                  </a:lnTo>
                  <a:lnTo>
                    <a:pt x="15482" y="18263"/>
                  </a:lnTo>
                  <a:lnTo>
                    <a:pt x="15731" y="17856"/>
                  </a:lnTo>
                  <a:lnTo>
                    <a:pt x="15979" y="17427"/>
                  </a:lnTo>
                  <a:lnTo>
                    <a:pt x="16454" y="16545"/>
                  </a:lnTo>
                  <a:lnTo>
                    <a:pt x="17403" y="14714"/>
                  </a:lnTo>
                  <a:lnTo>
                    <a:pt x="17900" y="13810"/>
                  </a:lnTo>
                  <a:lnTo>
                    <a:pt x="18149" y="13404"/>
                  </a:lnTo>
                  <a:lnTo>
                    <a:pt x="18420" y="12997"/>
                  </a:lnTo>
                  <a:lnTo>
                    <a:pt x="18691" y="12590"/>
                  </a:lnTo>
                  <a:lnTo>
                    <a:pt x="18963" y="12161"/>
                  </a:lnTo>
                  <a:lnTo>
                    <a:pt x="19211" y="11708"/>
                  </a:lnTo>
                  <a:lnTo>
                    <a:pt x="19460" y="11256"/>
                  </a:lnTo>
                  <a:lnTo>
                    <a:pt x="19686" y="10782"/>
                  </a:lnTo>
                  <a:lnTo>
                    <a:pt x="19889" y="10307"/>
                  </a:lnTo>
                  <a:lnTo>
                    <a:pt x="20296" y="9335"/>
                  </a:lnTo>
                  <a:lnTo>
                    <a:pt x="20658" y="8341"/>
                  </a:lnTo>
                  <a:lnTo>
                    <a:pt x="20974" y="7324"/>
                  </a:lnTo>
                  <a:lnTo>
                    <a:pt x="21268" y="6352"/>
                  </a:lnTo>
                  <a:lnTo>
                    <a:pt x="21539" y="5380"/>
                  </a:lnTo>
                  <a:lnTo>
                    <a:pt x="21765" y="4453"/>
                  </a:lnTo>
                  <a:lnTo>
                    <a:pt x="21991" y="3572"/>
                  </a:lnTo>
                  <a:lnTo>
                    <a:pt x="22330" y="2013"/>
                  </a:lnTo>
                  <a:lnTo>
                    <a:pt x="22624" y="792"/>
                  </a:lnTo>
                  <a:lnTo>
                    <a:pt x="22760" y="340"/>
                  </a:lnTo>
                  <a:lnTo>
                    <a:pt x="22895" y="24"/>
                  </a:lnTo>
                  <a:lnTo>
                    <a:pt x="22647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1" name="Google Shape;1828;p16">
              <a:extLst>
                <a:ext uri="{FF2B5EF4-FFF2-40B4-BE49-F238E27FC236}">
                  <a16:creationId xmlns:a16="http://schemas.microsoft.com/office/drawing/2014/main" id="{6F214D8D-2A60-8C10-0354-E861D63E1AD8}"/>
                </a:ext>
              </a:extLst>
            </p:cNvPr>
            <p:cNvSpPr/>
            <p:nvPr/>
          </p:nvSpPr>
          <p:spPr>
            <a:xfrm>
              <a:off x="2374525" y="1891550"/>
              <a:ext cx="572400" cy="683725"/>
            </a:xfrm>
            <a:custGeom>
              <a:avLst/>
              <a:gdLst/>
              <a:ahLst/>
              <a:cxnLst/>
              <a:rect l="l" t="t" r="r" b="b"/>
              <a:pathLst>
                <a:path w="22896" h="27349" fill="none" extrusionOk="0">
                  <a:moveTo>
                    <a:pt x="18420" y="12997"/>
                  </a:moveTo>
                  <a:lnTo>
                    <a:pt x="18420" y="12997"/>
                  </a:lnTo>
                  <a:lnTo>
                    <a:pt x="18149" y="13404"/>
                  </a:lnTo>
                  <a:lnTo>
                    <a:pt x="17900" y="13810"/>
                  </a:lnTo>
                  <a:lnTo>
                    <a:pt x="17403" y="14714"/>
                  </a:lnTo>
                  <a:lnTo>
                    <a:pt x="16454" y="16545"/>
                  </a:lnTo>
                  <a:lnTo>
                    <a:pt x="15979" y="17427"/>
                  </a:lnTo>
                  <a:lnTo>
                    <a:pt x="15731" y="17856"/>
                  </a:lnTo>
                  <a:lnTo>
                    <a:pt x="15482" y="18263"/>
                  </a:lnTo>
                  <a:lnTo>
                    <a:pt x="15211" y="18625"/>
                  </a:lnTo>
                  <a:lnTo>
                    <a:pt x="14962" y="18986"/>
                  </a:lnTo>
                  <a:lnTo>
                    <a:pt x="14691" y="19303"/>
                  </a:lnTo>
                  <a:lnTo>
                    <a:pt x="14397" y="19596"/>
                  </a:lnTo>
                  <a:lnTo>
                    <a:pt x="14397" y="19596"/>
                  </a:lnTo>
                  <a:lnTo>
                    <a:pt x="14081" y="19890"/>
                  </a:lnTo>
                  <a:lnTo>
                    <a:pt x="13787" y="20207"/>
                  </a:lnTo>
                  <a:lnTo>
                    <a:pt x="13538" y="20500"/>
                  </a:lnTo>
                  <a:lnTo>
                    <a:pt x="13290" y="20794"/>
                  </a:lnTo>
                  <a:lnTo>
                    <a:pt x="13064" y="21065"/>
                  </a:lnTo>
                  <a:lnTo>
                    <a:pt x="12860" y="21359"/>
                  </a:lnTo>
                  <a:lnTo>
                    <a:pt x="12521" y="21902"/>
                  </a:lnTo>
                  <a:lnTo>
                    <a:pt x="12250" y="22444"/>
                  </a:lnTo>
                  <a:lnTo>
                    <a:pt x="12024" y="22941"/>
                  </a:lnTo>
                  <a:lnTo>
                    <a:pt x="11821" y="23439"/>
                  </a:lnTo>
                  <a:lnTo>
                    <a:pt x="11662" y="23891"/>
                  </a:lnTo>
                  <a:lnTo>
                    <a:pt x="11504" y="24297"/>
                  </a:lnTo>
                  <a:lnTo>
                    <a:pt x="11346" y="24704"/>
                  </a:lnTo>
                  <a:lnTo>
                    <a:pt x="11188" y="25066"/>
                  </a:lnTo>
                  <a:lnTo>
                    <a:pt x="10984" y="25382"/>
                  </a:lnTo>
                  <a:lnTo>
                    <a:pt x="10871" y="25541"/>
                  </a:lnTo>
                  <a:lnTo>
                    <a:pt x="10758" y="25676"/>
                  </a:lnTo>
                  <a:lnTo>
                    <a:pt x="10623" y="25789"/>
                  </a:lnTo>
                  <a:lnTo>
                    <a:pt x="10465" y="25925"/>
                  </a:lnTo>
                  <a:lnTo>
                    <a:pt x="10306" y="26015"/>
                  </a:lnTo>
                  <a:lnTo>
                    <a:pt x="10125" y="26128"/>
                  </a:lnTo>
                  <a:lnTo>
                    <a:pt x="9922" y="26219"/>
                  </a:lnTo>
                  <a:lnTo>
                    <a:pt x="9696" y="26286"/>
                  </a:lnTo>
                  <a:lnTo>
                    <a:pt x="9696" y="26286"/>
                  </a:lnTo>
                  <a:lnTo>
                    <a:pt x="8837" y="26558"/>
                  </a:lnTo>
                  <a:lnTo>
                    <a:pt x="7843" y="26874"/>
                  </a:lnTo>
                  <a:lnTo>
                    <a:pt x="7300" y="27032"/>
                  </a:lnTo>
                  <a:lnTo>
                    <a:pt x="6758" y="27145"/>
                  </a:lnTo>
                  <a:lnTo>
                    <a:pt x="6170" y="27258"/>
                  </a:lnTo>
                  <a:lnTo>
                    <a:pt x="5583" y="27326"/>
                  </a:lnTo>
                  <a:lnTo>
                    <a:pt x="4995" y="27349"/>
                  </a:lnTo>
                  <a:lnTo>
                    <a:pt x="4701" y="27349"/>
                  </a:lnTo>
                  <a:lnTo>
                    <a:pt x="4407" y="27326"/>
                  </a:lnTo>
                  <a:lnTo>
                    <a:pt x="4091" y="27281"/>
                  </a:lnTo>
                  <a:lnTo>
                    <a:pt x="3797" y="27236"/>
                  </a:lnTo>
                  <a:lnTo>
                    <a:pt x="3503" y="27168"/>
                  </a:lnTo>
                  <a:lnTo>
                    <a:pt x="3209" y="27077"/>
                  </a:lnTo>
                  <a:lnTo>
                    <a:pt x="2916" y="26964"/>
                  </a:lnTo>
                  <a:lnTo>
                    <a:pt x="2622" y="26851"/>
                  </a:lnTo>
                  <a:lnTo>
                    <a:pt x="2328" y="26693"/>
                  </a:lnTo>
                  <a:lnTo>
                    <a:pt x="2034" y="26512"/>
                  </a:lnTo>
                  <a:lnTo>
                    <a:pt x="1763" y="26332"/>
                  </a:lnTo>
                  <a:lnTo>
                    <a:pt x="1469" y="26106"/>
                  </a:lnTo>
                  <a:lnTo>
                    <a:pt x="1198" y="25857"/>
                  </a:lnTo>
                  <a:lnTo>
                    <a:pt x="949" y="25586"/>
                  </a:lnTo>
                  <a:lnTo>
                    <a:pt x="949" y="25586"/>
                  </a:lnTo>
                  <a:lnTo>
                    <a:pt x="768" y="25382"/>
                  </a:lnTo>
                  <a:lnTo>
                    <a:pt x="610" y="25201"/>
                  </a:lnTo>
                  <a:lnTo>
                    <a:pt x="475" y="24998"/>
                  </a:lnTo>
                  <a:lnTo>
                    <a:pt x="362" y="24795"/>
                  </a:lnTo>
                  <a:lnTo>
                    <a:pt x="249" y="24591"/>
                  </a:lnTo>
                  <a:lnTo>
                    <a:pt x="158" y="24388"/>
                  </a:lnTo>
                  <a:lnTo>
                    <a:pt x="90" y="24184"/>
                  </a:lnTo>
                  <a:lnTo>
                    <a:pt x="45" y="23981"/>
                  </a:lnTo>
                  <a:lnTo>
                    <a:pt x="23" y="23800"/>
                  </a:lnTo>
                  <a:lnTo>
                    <a:pt x="0" y="23597"/>
                  </a:lnTo>
                  <a:lnTo>
                    <a:pt x="0" y="23393"/>
                  </a:lnTo>
                  <a:lnTo>
                    <a:pt x="23" y="23190"/>
                  </a:lnTo>
                  <a:lnTo>
                    <a:pt x="68" y="23009"/>
                  </a:lnTo>
                  <a:lnTo>
                    <a:pt x="113" y="22806"/>
                  </a:lnTo>
                  <a:lnTo>
                    <a:pt x="181" y="22625"/>
                  </a:lnTo>
                  <a:lnTo>
                    <a:pt x="249" y="22422"/>
                  </a:lnTo>
                  <a:lnTo>
                    <a:pt x="362" y="22218"/>
                  </a:lnTo>
                  <a:lnTo>
                    <a:pt x="452" y="22037"/>
                  </a:lnTo>
                  <a:lnTo>
                    <a:pt x="723" y="21653"/>
                  </a:lnTo>
                  <a:lnTo>
                    <a:pt x="1062" y="21291"/>
                  </a:lnTo>
                  <a:lnTo>
                    <a:pt x="1424" y="20930"/>
                  </a:lnTo>
                  <a:lnTo>
                    <a:pt x="1853" y="20568"/>
                  </a:lnTo>
                  <a:lnTo>
                    <a:pt x="2351" y="20229"/>
                  </a:lnTo>
                  <a:lnTo>
                    <a:pt x="2870" y="19890"/>
                  </a:lnTo>
                  <a:lnTo>
                    <a:pt x="3458" y="19551"/>
                  </a:lnTo>
                  <a:lnTo>
                    <a:pt x="3458" y="19551"/>
                  </a:lnTo>
                  <a:lnTo>
                    <a:pt x="3729" y="19416"/>
                  </a:lnTo>
                  <a:lnTo>
                    <a:pt x="3978" y="19257"/>
                  </a:lnTo>
                  <a:lnTo>
                    <a:pt x="4475" y="18896"/>
                  </a:lnTo>
                  <a:lnTo>
                    <a:pt x="4950" y="18511"/>
                  </a:lnTo>
                  <a:lnTo>
                    <a:pt x="5357" y="18082"/>
                  </a:lnTo>
                  <a:lnTo>
                    <a:pt x="5763" y="17653"/>
                  </a:lnTo>
                  <a:lnTo>
                    <a:pt x="6125" y="17178"/>
                  </a:lnTo>
                  <a:lnTo>
                    <a:pt x="6487" y="16703"/>
                  </a:lnTo>
                  <a:lnTo>
                    <a:pt x="6803" y="16229"/>
                  </a:lnTo>
                  <a:lnTo>
                    <a:pt x="7120" y="15732"/>
                  </a:lnTo>
                  <a:lnTo>
                    <a:pt x="7413" y="15234"/>
                  </a:lnTo>
                  <a:lnTo>
                    <a:pt x="7956" y="14262"/>
                  </a:lnTo>
                  <a:lnTo>
                    <a:pt x="8453" y="13313"/>
                  </a:lnTo>
                  <a:lnTo>
                    <a:pt x="8702" y="12884"/>
                  </a:lnTo>
                  <a:lnTo>
                    <a:pt x="8950" y="12477"/>
                  </a:lnTo>
                  <a:lnTo>
                    <a:pt x="8950" y="12477"/>
                  </a:lnTo>
                  <a:lnTo>
                    <a:pt x="9199" y="12070"/>
                  </a:lnTo>
                  <a:lnTo>
                    <a:pt x="9447" y="11641"/>
                  </a:lnTo>
                  <a:lnTo>
                    <a:pt x="9899" y="10759"/>
                  </a:lnTo>
                  <a:lnTo>
                    <a:pt x="10329" y="9787"/>
                  </a:lnTo>
                  <a:lnTo>
                    <a:pt x="10781" y="8793"/>
                  </a:lnTo>
                  <a:lnTo>
                    <a:pt x="11278" y="7731"/>
                  </a:lnTo>
                  <a:lnTo>
                    <a:pt x="11821" y="6623"/>
                  </a:lnTo>
                  <a:lnTo>
                    <a:pt x="12137" y="6036"/>
                  </a:lnTo>
                  <a:lnTo>
                    <a:pt x="12453" y="5471"/>
                  </a:lnTo>
                  <a:lnTo>
                    <a:pt x="12792" y="4883"/>
                  </a:lnTo>
                  <a:lnTo>
                    <a:pt x="13177" y="4273"/>
                  </a:lnTo>
                  <a:lnTo>
                    <a:pt x="13177" y="4273"/>
                  </a:lnTo>
                  <a:lnTo>
                    <a:pt x="13425" y="3911"/>
                  </a:lnTo>
                  <a:lnTo>
                    <a:pt x="13697" y="3572"/>
                  </a:lnTo>
                  <a:lnTo>
                    <a:pt x="13990" y="3256"/>
                  </a:lnTo>
                  <a:lnTo>
                    <a:pt x="14307" y="2962"/>
                  </a:lnTo>
                  <a:lnTo>
                    <a:pt x="14623" y="2691"/>
                  </a:lnTo>
                  <a:lnTo>
                    <a:pt x="14962" y="2442"/>
                  </a:lnTo>
                  <a:lnTo>
                    <a:pt x="15279" y="2216"/>
                  </a:lnTo>
                  <a:lnTo>
                    <a:pt x="15640" y="2013"/>
                  </a:lnTo>
                  <a:lnTo>
                    <a:pt x="15979" y="1832"/>
                  </a:lnTo>
                  <a:lnTo>
                    <a:pt x="16318" y="1651"/>
                  </a:lnTo>
                  <a:lnTo>
                    <a:pt x="16996" y="1357"/>
                  </a:lnTo>
                  <a:lnTo>
                    <a:pt x="17629" y="1108"/>
                  </a:lnTo>
                  <a:lnTo>
                    <a:pt x="18217" y="928"/>
                  </a:lnTo>
                  <a:lnTo>
                    <a:pt x="18217" y="928"/>
                  </a:lnTo>
                  <a:lnTo>
                    <a:pt x="19437" y="566"/>
                  </a:lnTo>
                  <a:lnTo>
                    <a:pt x="20454" y="317"/>
                  </a:lnTo>
                  <a:lnTo>
                    <a:pt x="21268" y="159"/>
                  </a:lnTo>
                  <a:lnTo>
                    <a:pt x="21878" y="69"/>
                  </a:lnTo>
                  <a:lnTo>
                    <a:pt x="22353" y="24"/>
                  </a:lnTo>
                  <a:lnTo>
                    <a:pt x="22647" y="1"/>
                  </a:lnTo>
                  <a:lnTo>
                    <a:pt x="22895" y="24"/>
                  </a:lnTo>
                  <a:lnTo>
                    <a:pt x="22895" y="24"/>
                  </a:lnTo>
                  <a:lnTo>
                    <a:pt x="22760" y="340"/>
                  </a:lnTo>
                  <a:lnTo>
                    <a:pt x="22624" y="792"/>
                  </a:lnTo>
                  <a:lnTo>
                    <a:pt x="22330" y="2013"/>
                  </a:lnTo>
                  <a:lnTo>
                    <a:pt x="21991" y="3572"/>
                  </a:lnTo>
                  <a:lnTo>
                    <a:pt x="21765" y="4453"/>
                  </a:lnTo>
                  <a:lnTo>
                    <a:pt x="21539" y="5380"/>
                  </a:lnTo>
                  <a:lnTo>
                    <a:pt x="21268" y="6352"/>
                  </a:lnTo>
                  <a:lnTo>
                    <a:pt x="20974" y="7324"/>
                  </a:lnTo>
                  <a:lnTo>
                    <a:pt x="20658" y="8341"/>
                  </a:lnTo>
                  <a:lnTo>
                    <a:pt x="20296" y="9335"/>
                  </a:lnTo>
                  <a:lnTo>
                    <a:pt x="19889" y="10307"/>
                  </a:lnTo>
                  <a:lnTo>
                    <a:pt x="19686" y="10782"/>
                  </a:lnTo>
                  <a:lnTo>
                    <a:pt x="19460" y="11256"/>
                  </a:lnTo>
                  <a:lnTo>
                    <a:pt x="19211" y="11708"/>
                  </a:lnTo>
                  <a:lnTo>
                    <a:pt x="18963" y="12161"/>
                  </a:lnTo>
                  <a:lnTo>
                    <a:pt x="18691" y="12590"/>
                  </a:lnTo>
                  <a:lnTo>
                    <a:pt x="18420" y="1299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2" name="Google Shape;1829;p16">
              <a:extLst>
                <a:ext uri="{FF2B5EF4-FFF2-40B4-BE49-F238E27FC236}">
                  <a16:creationId xmlns:a16="http://schemas.microsoft.com/office/drawing/2014/main" id="{D302AA21-09F2-688C-9CBE-481377366D79}"/>
                </a:ext>
              </a:extLst>
            </p:cNvPr>
            <p:cNvSpPr/>
            <p:nvPr/>
          </p:nvSpPr>
          <p:spPr>
            <a:xfrm>
              <a:off x="2709025" y="2252625"/>
              <a:ext cx="104550" cy="155975"/>
            </a:xfrm>
            <a:custGeom>
              <a:avLst/>
              <a:gdLst/>
              <a:ahLst/>
              <a:cxnLst/>
              <a:rect l="l" t="t" r="r" b="b"/>
              <a:pathLst>
                <a:path w="4182" h="6239" extrusionOk="0">
                  <a:moveTo>
                    <a:pt x="4181" y="0"/>
                  </a:moveTo>
                  <a:lnTo>
                    <a:pt x="3797" y="701"/>
                  </a:lnTo>
                  <a:lnTo>
                    <a:pt x="3413" y="1424"/>
                  </a:lnTo>
                  <a:lnTo>
                    <a:pt x="3029" y="2147"/>
                  </a:lnTo>
                  <a:lnTo>
                    <a:pt x="2667" y="2848"/>
                  </a:lnTo>
                  <a:lnTo>
                    <a:pt x="2283" y="3526"/>
                  </a:lnTo>
                  <a:lnTo>
                    <a:pt x="1876" y="4136"/>
                  </a:lnTo>
                  <a:lnTo>
                    <a:pt x="1673" y="4430"/>
                  </a:lnTo>
                  <a:lnTo>
                    <a:pt x="1469" y="4679"/>
                  </a:lnTo>
                  <a:lnTo>
                    <a:pt x="1243" y="4927"/>
                  </a:lnTo>
                  <a:lnTo>
                    <a:pt x="1017" y="5153"/>
                  </a:lnTo>
                  <a:lnTo>
                    <a:pt x="723" y="5425"/>
                  </a:lnTo>
                  <a:lnTo>
                    <a:pt x="475" y="5696"/>
                  </a:lnTo>
                  <a:lnTo>
                    <a:pt x="0" y="6238"/>
                  </a:lnTo>
                  <a:lnTo>
                    <a:pt x="407" y="5877"/>
                  </a:lnTo>
                  <a:lnTo>
                    <a:pt x="769" y="5492"/>
                  </a:lnTo>
                  <a:lnTo>
                    <a:pt x="1130" y="5108"/>
                  </a:lnTo>
                  <a:lnTo>
                    <a:pt x="1447" y="4724"/>
                  </a:lnTo>
                  <a:lnTo>
                    <a:pt x="1763" y="4340"/>
                  </a:lnTo>
                  <a:lnTo>
                    <a:pt x="2034" y="3933"/>
                  </a:lnTo>
                  <a:lnTo>
                    <a:pt x="2305" y="3526"/>
                  </a:lnTo>
                  <a:lnTo>
                    <a:pt x="2554" y="3142"/>
                  </a:lnTo>
                  <a:lnTo>
                    <a:pt x="3006" y="2328"/>
                  </a:lnTo>
                  <a:lnTo>
                    <a:pt x="3436" y="1537"/>
                  </a:lnTo>
                  <a:lnTo>
                    <a:pt x="4181" y="23"/>
                  </a:lnTo>
                  <a:lnTo>
                    <a:pt x="4181" y="0"/>
                  </a:lnTo>
                  <a:close/>
                </a:path>
              </a:pathLst>
            </a:custGeom>
            <a:solidFill>
              <a:srgbClr val="DDDCD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3" name="Google Shape;1830;p16">
              <a:extLst>
                <a:ext uri="{FF2B5EF4-FFF2-40B4-BE49-F238E27FC236}">
                  <a16:creationId xmlns:a16="http://schemas.microsoft.com/office/drawing/2014/main" id="{19871A6A-5FF4-56A6-9D71-33299ABE586E}"/>
                </a:ext>
              </a:extLst>
            </p:cNvPr>
            <p:cNvSpPr/>
            <p:nvPr/>
          </p:nvSpPr>
          <p:spPr>
            <a:xfrm>
              <a:off x="2709025" y="2252625"/>
              <a:ext cx="104550" cy="155975"/>
            </a:xfrm>
            <a:custGeom>
              <a:avLst/>
              <a:gdLst/>
              <a:ahLst/>
              <a:cxnLst/>
              <a:rect l="l" t="t" r="r" b="b"/>
              <a:pathLst>
                <a:path w="4182" h="6239" fill="none" extrusionOk="0">
                  <a:moveTo>
                    <a:pt x="4181" y="0"/>
                  </a:moveTo>
                  <a:lnTo>
                    <a:pt x="4181" y="0"/>
                  </a:lnTo>
                  <a:lnTo>
                    <a:pt x="3797" y="701"/>
                  </a:lnTo>
                  <a:lnTo>
                    <a:pt x="3413" y="1424"/>
                  </a:lnTo>
                  <a:lnTo>
                    <a:pt x="3029" y="2147"/>
                  </a:lnTo>
                  <a:lnTo>
                    <a:pt x="2667" y="2848"/>
                  </a:lnTo>
                  <a:lnTo>
                    <a:pt x="2283" y="3526"/>
                  </a:lnTo>
                  <a:lnTo>
                    <a:pt x="1876" y="4136"/>
                  </a:lnTo>
                  <a:lnTo>
                    <a:pt x="1673" y="4430"/>
                  </a:lnTo>
                  <a:lnTo>
                    <a:pt x="1469" y="4679"/>
                  </a:lnTo>
                  <a:lnTo>
                    <a:pt x="1243" y="4927"/>
                  </a:lnTo>
                  <a:lnTo>
                    <a:pt x="1017" y="5153"/>
                  </a:lnTo>
                  <a:lnTo>
                    <a:pt x="1017" y="5153"/>
                  </a:lnTo>
                  <a:lnTo>
                    <a:pt x="723" y="5425"/>
                  </a:lnTo>
                  <a:lnTo>
                    <a:pt x="475" y="5696"/>
                  </a:lnTo>
                  <a:lnTo>
                    <a:pt x="0" y="6238"/>
                  </a:lnTo>
                  <a:lnTo>
                    <a:pt x="0" y="6238"/>
                  </a:lnTo>
                  <a:lnTo>
                    <a:pt x="0" y="6238"/>
                  </a:lnTo>
                  <a:lnTo>
                    <a:pt x="0" y="6238"/>
                  </a:lnTo>
                  <a:lnTo>
                    <a:pt x="407" y="5877"/>
                  </a:lnTo>
                  <a:lnTo>
                    <a:pt x="769" y="5492"/>
                  </a:lnTo>
                  <a:lnTo>
                    <a:pt x="1130" y="5108"/>
                  </a:lnTo>
                  <a:lnTo>
                    <a:pt x="1447" y="4724"/>
                  </a:lnTo>
                  <a:lnTo>
                    <a:pt x="1763" y="4340"/>
                  </a:lnTo>
                  <a:lnTo>
                    <a:pt x="2034" y="3933"/>
                  </a:lnTo>
                  <a:lnTo>
                    <a:pt x="2305" y="3526"/>
                  </a:lnTo>
                  <a:lnTo>
                    <a:pt x="2554" y="3142"/>
                  </a:lnTo>
                  <a:lnTo>
                    <a:pt x="3006" y="2328"/>
                  </a:lnTo>
                  <a:lnTo>
                    <a:pt x="3436" y="1537"/>
                  </a:lnTo>
                  <a:lnTo>
                    <a:pt x="4181" y="23"/>
                  </a:lnTo>
                  <a:lnTo>
                    <a:pt x="4181" y="23"/>
                  </a:lnTo>
                  <a:lnTo>
                    <a:pt x="418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4" name="Google Shape;1831;p16">
              <a:extLst>
                <a:ext uri="{FF2B5EF4-FFF2-40B4-BE49-F238E27FC236}">
                  <a16:creationId xmlns:a16="http://schemas.microsoft.com/office/drawing/2014/main" id="{60E0D04C-6994-3A03-9D95-9608CF4CF529}"/>
                </a:ext>
              </a:extLst>
            </p:cNvPr>
            <p:cNvSpPr/>
            <p:nvPr/>
          </p:nvSpPr>
          <p:spPr>
            <a:xfrm>
              <a:off x="2709025" y="2152050"/>
              <a:ext cx="104550" cy="256550"/>
            </a:xfrm>
            <a:custGeom>
              <a:avLst/>
              <a:gdLst/>
              <a:ahLst/>
              <a:cxnLst/>
              <a:rect l="l" t="t" r="r" b="b"/>
              <a:pathLst>
                <a:path w="4182" h="10262" extrusionOk="0">
                  <a:moveTo>
                    <a:pt x="2667" y="0"/>
                  </a:moveTo>
                  <a:lnTo>
                    <a:pt x="2531" y="769"/>
                  </a:lnTo>
                  <a:lnTo>
                    <a:pt x="2373" y="1560"/>
                  </a:lnTo>
                  <a:lnTo>
                    <a:pt x="2170" y="2328"/>
                  </a:lnTo>
                  <a:lnTo>
                    <a:pt x="1966" y="3119"/>
                  </a:lnTo>
                  <a:lnTo>
                    <a:pt x="1537" y="4656"/>
                  </a:lnTo>
                  <a:lnTo>
                    <a:pt x="1085" y="6148"/>
                  </a:lnTo>
                  <a:lnTo>
                    <a:pt x="678" y="7481"/>
                  </a:lnTo>
                  <a:lnTo>
                    <a:pt x="317" y="8657"/>
                  </a:lnTo>
                  <a:lnTo>
                    <a:pt x="181" y="9154"/>
                  </a:lnTo>
                  <a:lnTo>
                    <a:pt x="91" y="9583"/>
                  </a:lnTo>
                  <a:lnTo>
                    <a:pt x="23" y="9967"/>
                  </a:lnTo>
                  <a:lnTo>
                    <a:pt x="0" y="10261"/>
                  </a:lnTo>
                  <a:lnTo>
                    <a:pt x="0" y="10261"/>
                  </a:lnTo>
                  <a:lnTo>
                    <a:pt x="475" y="9719"/>
                  </a:lnTo>
                  <a:lnTo>
                    <a:pt x="723" y="9448"/>
                  </a:lnTo>
                  <a:lnTo>
                    <a:pt x="1017" y="9176"/>
                  </a:lnTo>
                  <a:lnTo>
                    <a:pt x="1243" y="8950"/>
                  </a:lnTo>
                  <a:lnTo>
                    <a:pt x="1469" y="8702"/>
                  </a:lnTo>
                  <a:lnTo>
                    <a:pt x="1673" y="8453"/>
                  </a:lnTo>
                  <a:lnTo>
                    <a:pt x="1876" y="8159"/>
                  </a:lnTo>
                  <a:lnTo>
                    <a:pt x="2283" y="7549"/>
                  </a:lnTo>
                  <a:lnTo>
                    <a:pt x="2667" y="6871"/>
                  </a:lnTo>
                  <a:lnTo>
                    <a:pt x="3029" y="6170"/>
                  </a:lnTo>
                  <a:lnTo>
                    <a:pt x="3413" y="5447"/>
                  </a:lnTo>
                  <a:lnTo>
                    <a:pt x="3797" y="4724"/>
                  </a:lnTo>
                  <a:lnTo>
                    <a:pt x="4181" y="4023"/>
                  </a:lnTo>
                  <a:lnTo>
                    <a:pt x="3707" y="2916"/>
                  </a:lnTo>
                  <a:lnTo>
                    <a:pt x="3323" y="1854"/>
                  </a:lnTo>
                  <a:lnTo>
                    <a:pt x="2961" y="859"/>
                  </a:lnTo>
                  <a:lnTo>
                    <a:pt x="2667" y="0"/>
                  </a:lnTo>
                  <a:close/>
                </a:path>
              </a:pathLst>
            </a:custGeom>
            <a:solidFill>
              <a:srgbClr val="98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5" name="Google Shape;1832;p16">
              <a:extLst>
                <a:ext uri="{FF2B5EF4-FFF2-40B4-BE49-F238E27FC236}">
                  <a16:creationId xmlns:a16="http://schemas.microsoft.com/office/drawing/2014/main" id="{A786F270-8A0A-B618-A357-837CC495C7B3}"/>
                </a:ext>
              </a:extLst>
            </p:cNvPr>
            <p:cNvSpPr/>
            <p:nvPr/>
          </p:nvSpPr>
          <p:spPr>
            <a:xfrm>
              <a:off x="2709025" y="2152050"/>
              <a:ext cx="104550" cy="256550"/>
            </a:xfrm>
            <a:custGeom>
              <a:avLst/>
              <a:gdLst/>
              <a:ahLst/>
              <a:cxnLst/>
              <a:rect l="l" t="t" r="r" b="b"/>
              <a:pathLst>
                <a:path w="4182" h="10262" fill="none" extrusionOk="0">
                  <a:moveTo>
                    <a:pt x="2667" y="0"/>
                  </a:moveTo>
                  <a:lnTo>
                    <a:pt x="2667" y="0"/>
                  </a:lnTo>
                  <a:lnTo>
                    <a:pt x="2531" y="769"/>
                  </a:lnTo>
                  <a:lnTo>
                    <a:pt x="2373" y="1560"/>
                  </a:lnTo>
                  <a:lnTo>
                    <a:pt x="2170" y="2328"/>
                  </a:lnTo>
                  <a:lnTo>
                    <a:pt x="1966" y="3119"/>
                  </a:lnTo>
                  <a:lnTo>
                    <a:pt x="1537" y="4656"/>
                  </a:lnTo>
                  <a:lnTo>
                    <a:pt x="1085" y="6148"/>
                  </a:lnTo>
                  <a:lnTo>
                    <a:pt x="678" y="7481"/>
                  </a:lnTo>
                  <a:lnTo>
                    <a:pt x="317" y="8657"/>
                  </a:lnTo>
                  <a:lnTo>
                    <a:pt x="181" y="9154"/>
                  </a:lnTo>
                  <a:lnTo>
                    <a:pt x="91" y="9583"/>
                  </a:lnTo>
                  <a:lnTo>
                    <a:pt x="23" y="9967"/>
                  </a:lnTo>
                  <a:lnTo>
                    <a:pt x="0" y="10261"/>
                  </a:lnTo>
                  <a:lnTo>
                    <a:pt x="0" y="10261"/>
                  </a:lnTo>
                  <a:lnTo>
                    <a:pt x="475" y="9719"/>
                  </a:lnTo>
                  <a:lnTo>
                    <a:pt x="723" y="9448"/>
                  </a:lnTo>
                  <a:lnTo>
                    <a:pt x="1017" y="9176"/>
                  </a:lnTo>
                  <a:lnTo>
                    <a:pt x="1017" y="9176"/>
                  </a:lnTo>
                  <a:lnTo>
                    <a:pt x="1243" y="8950"/>
                  </a:lnTo>
                  <a:lnTo>
                    <a:pt x="1469" y="8702"/>
                  </a:lnTo>
                  <a:lnTo>
                    <a:pt x="1673" y="8453"/>
                  </a:lnTo>
                  <a:lnTo>
                    <a:pt x="1876" y="8159"/>
                  </a:lnTo>
                  <a:lnTo>
                    <a:pt x="2283" y="7549"/>
                  </a:lnTo>
                  <a:lnTo>
                    <a:pt x="2667" y="6871"/>
                  </a:lnTo>
                  <a:lnTo>
                    <a:pt x="3029" y="6170"/>
                  </a:lnTo>
                  <a:lnTo>
                    <a:pt x="3413" y="5447"/>
                  </a:lnTo>
                  <a:lnTo>
                    <a:pt x="3797" y="4724"/>
                  </a:lnTo>
                  <a:lnTo>
                    <a:pt x="4181" y="4023"/>
                  </a:lnTo>
                  <a:lnTo>
                    <a:pt x="4181" y="4023"/>
                  </a:lnTo>
                  <a:lnTo>
                    <a:pt x="3707" y="2916"/>
                  </a:lnTo>
                  <a:lnTo>
                    <a:pt x="3323" y="1854"/>
                  </a:lnTo>
                  <a:lnTo>
                    <a:pt x="2961" y="859"/>
                  </a:lnTo>
                  <a:lnTo>
                    <a:pt x="2667" y="0"/>
                  </a:lnTo>
                </a:path>
              </a:pathLst>
            </a:custGeom>
            <a:solidFill>
              <a:srgbClr val="98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6" name="Google Shape;1833;p16">
              <a:extLst>
                <a:ext uri="{FF2B5EF4-FFF2-40B4-BE49-F238E27FC236}">
                  <a16:creationId xmlns:a16="http://schemas.microsoft.com/office/drawing/2014/main" id="{5E095FAC-F72B-2566-1175-2A549C3C4B1F}"/>
                </a:ext>
              </a:extLst>
            </p:cNvPr>
            <p:cNvSpPr/>
            <p:nvPr/>
          </p:nvSpPr>
          <p:spPr>
            <a:xfrm>
              <a:off x="3151450" y="2244700"/>
              <a:ext cx="285925" cy="118125"/>
            </a:xfrm>
            <a:custGeom>
              <a:avLst/>
              <a:gdLst/>
              <a:ahLst/>
              <a:cxnLst/>
              <a:rect l="l" t="t" r="r" b="b"/>
              <a:pathLst>
                <a:path w="11437" h="4725" extrusionOk="0">
                  <a:moveTo>
                    <a:pt x="8769" y="1"/>
                  </a:moveTo>
                  <a:lnTo>
                    <a:pt x="8408" y="46"/>
                  </a:lnTo>
                  <a:lnTo>
                    <a:pt x="8046" y="114"/>
                  </a:lnTo>
                  <a:lnTo>
                    <a:pt x="7639" y="182"/>
                  </a:lnTo>
                  <a:lnTo>
                    <a:pt x="6826" y="362"/>
                  </a:lnTo>
                  <a:lnTo>
                    <a:pt x="5944" y="566"/>
                  </a:lnTo>
                  <a:lnTo>
                    <a:pt x="5198" y="747"/>
                  </a:lnTo>
                  <a:lnTo>
                    <a:pt x="4724" y="860"/>
                  </a:lnTo>
                  <a:lnTo>
                    <a:pt x="4453" y="905"/>
                  </a:lnTo>
                  <a:lnTo>
                    <a:pt x="4204" y="927"/>
                  </a:lnTo>
                  <a:lnTo>
                    <a:pt x="3729" y="927"/>
                  </a:lnTo>
                  <a:lnTo>
                    <a:pt x="3322" y="905"/>
                  </a:lnTo>
                  <a:lnTo>
                    <a:pt x="2870" y="927"/>
                  </a:lnTo>
                  <a:lnTo>
                    <a:pt x="2622" y="950"/>
                  </a:lnTo>
                  <a:lnTo>
                    <a:pt x="2351" y="995"/>
                  </a:lnTo>
                  <a:lnTo>
                    <a:pt x="2057" y="1063"/>
                  </a:lnTo>
                  <a:lnTo>
                    <a:pt x="1740" y="1154"/>
                  </a:lnTo>
                  <a:lnTo>
                    <a:pt x="1379" y="1289"/>
                  </a:lnTo>
                  <a:lnTo>
                    <a:pt x="972" y="1470"/>
                  </a:lnTo>
                  <a:lnTo>
                    <a:pt x="520" y="1673"/>
                  </a:lnTo>
                  <a:lnTo>
                    <a:pt x="0" y="1945"/>
                  </a:lnTo>
                  <a:lnTo>
                    <a:pt x="0" y="2080"/>
                  </a:lnTo>
                  <a:lnTo>
                    <a:pt x="0" y="2487"/>
                  </a:lnTo>
                  <a:lnTo>
                    <a:pt x="23" y="2736"/>
                  </a:lnTo>
                  <a:lnTo>
                    <a:pt x="68" y="3029"/>
                  </a:lnTo>
                  <a:lnTo>
                    <a:pt x="113" y="3323"/>
                  </a:lnTo>
                  <a:lnTo>
                    <a:pt x="203" y="3617"/>
                  </a:lnTo>
                  <a:lnTo>
                    <a:pt x="316" y="3911"/>
                  </a:lnTo>
                  <a:lnTo>
                    <a:pt x="452" y="4159"/>
                  </a:lnTo>
                  <a:lnTo>
                    <a:pt x="542" y="4272"/>
                  </a:lnTo>
                  <a:lnTo>
                    <a:pt x="633" y="4385"/>
                  </a:lnTo>
                  <a:lnTo>
                    <a:pt x="746" y="4476"/>
                  </a:lnTo>
                  <a:lnTo>
                    <a:pt x="859" y="4566"/>
                  </a:lnTo>
                  <a:lnTo>
                    <a:pt x="994" y="4634"/>
                  </a:lnTo>
                  <a:lnTo>
                    <a:pt x="1130" y="4679"/>
                  </a:lnTo>
                  <a:lnTo>
                    <a:pt x="1288" y="4702"/>
                  </a:lnTo>
                  <a:lnTo>
                    <a:pt x="1469" y="4725"/>
                  </a:lnTo>
                  <a:lnTo>
                    <a:pt x="1650" y="4702"/>
                  </a:lnTo>
                  <a:lnTo>
                    <a:pt x="1831" y="4679"/>
                  </a:lnTo>
                  <a:lnTo>
                    <a:pt x="2057" y="4612"/>
                  </a:lnTo>
                  <a:lnTo>
                    <a:pt x="2283" y="4544"/>
                  </a:lnTo>
                  <a:lnTo>
                    <a:pt x="3232" y="4182"/>
                  </a:lnTo>
                  <a:lnTo>
                    <a:pt x="4068" y="3888"/>
                  </a:lnTo>
                  <a:lnTo>
                    <a:pt x="4859" y="3617"/>
                  </a:lnTo>
                  <a:lnTo>
                    <a:pt x="5221" y="3459"/>
                  </a:lnTo>
                  <a:lnTo>
                    <a:pt x="5605" y="3323"/>
                  </a:lnTo>
                  <a:lnTo>
                    <a:pt x="6690" y="2849"/>
                  </a:lnTo>
                  <a:lnTo>
                    <a:pt x="7187" y="2645"/>
                  </a:lnTo>
                  <a:lnTo>
                    <a:pt x="7662" y="2487"/>
                  </a:lnTo>
                  <a:lnTo>
                    <a:pt x="8114" y="2351"/>
                  </a:lnTo>
                  <a:lnTo>
                    <a:pt x="8521" y="2261"/>
                  </a:lnTo>
                  <a:lnTo>
                    <a:pt x="8905" y="2193"/>
                  </a:lnTo>
                  <a:lnTo>
                    <a:pt x="9267" y="2171"/>
                  </a:lnTo>
                  <a:lnTo>
                    <a:pt x="9515" y="2216"/>
                  </a:lnTo>
                  <a:lnTo>
                    <a:pt x="9741" y="2284"/>
                  </a:lnTo>
                  <a:lnTo>
                    <a:pt x="9899" y="2374"/>
                  </a:lnTo>
                  <a:lnTo>
                    <a:pt x="10035" y="2510"/>
                  </a:lnTo>
                  <a:lnTo>
                    <a:pt x="10148" y="2645"/>
                  </a:lnTo>
                  <a:lnTo>
                    <a:pt x="10238" y="2803"/>
                  </a:lnTo>
                  <a:lnTo>
                    <a:pt x="10351" y="3120"/>
                  </a:lnTo>
                  <a:lnTo>
                    <a:pt x="10464" y="3391"/>
                  </a:lnTo>
                  <a:lnTo>
                    <a:pt x="10532" y="3504"/>
                  </a:lnTo>
                  <a:lnTo>
                    <a:pt x="10623" y="3594"/>
                  </a:lnTo>
                  <a:lnTo>
                    <a:pt x="10713" y="3640"/>
                  </a:lnTo>
                  <a:lnTo>
                    <a:pt x="10826" y="3617"/>
                  </a:lnTo>
                  <a:lnTo>
                    <a:pt x="10984" y="3572"/>
                  </a:lnTo>
                  <a:lnTo>
                    <a:pt x="11188" y="3459"/>
                  </a:lnTo>
                  <a:lnTo>
                    <a:pt x="11278" y="3391"/>
                  </a:lnTo>
                  <a:lnTo>
                    <a:pt x="11346" y="3255"/>
                  </a:lnTo>
                  <a:lnTo>
                    <a:pt x="11391" y="3120"/>
                  </a:lnTo>
                  <a:lnTo>
                    <a:pt x="11414" y="2916"/>
                  </a:lnTo>
                  <a:lnTo>
                    <a:pt x="11436" y="2713"/>
                  </a:lnTo>
                  <a:lnTo>
                    <a:pt x="11436" y="2487"/>
                  </a:lnTo>
                  <a:lnTo>
                    <a:pt x="11391" y="2238"/>
                  </a:lnTo>
                  <a:lnTo>
                    <a:pt x="11346" y="1990"/>
                  </a:lnTo>
                  <a:lnTo>
                    <a:pt x="11278" y="1741"/>
                  </a:lnTo>
                  <a:lnTo>
                    <a:pt x="11210" y="1470"/>
                  </a:lnTo>
                  <a:lnTo>
                    <a:pt x="11097" y="1221"/>
                  </a:lnTo>
                  <a:lnTo>
                    <a:pt x="10962" y="995"/>
                  </a:lnTo>
                  <a:lnTo>
                    <a:pt x="10804" y="769"/>
                  </a:lnTo>
                  <a:lnTo>
                    <a:pt x="10623" y="566"/>
                  </a:lnTo>
                  <a:lnTo>
                    <a:pt x="10419" y="385"/>
                  </a:lnTo>
                  <a:lnTo>
                    <a:pt x="10193" y="227"/>
                  </a:lnTo>
                  <a:lnTo>
                    <a:pt x="9945" y="114"/>
                  </a:lnTo>
                  <a:lnTo>
                    <a:pt x="9673" y="46"/>
                  </a:lnTo>
                  <a:lnTo>
                    <a:pt x="9380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7" name="Google Shape;1834;p16">
              <a:extLst>
                <a:ext uri="{FF2B5EF4-FFF2-40B4-BE49-F238E27FC236}">
                  <a16:creationId xmlns:a16="http://schemas.microsoft.com/office/drawing/2014/main" id="{0164718E-13A6-2B10-F50B-ACB3BEE98A70}"/>
                </a:ext>
              </a:extLst>
            </p:cNvPr>
            <p:cNvSpPr/>
            <p:nvPr/>
          </p:nvSpPr>
          <p:spPr>
            <a:xfrm>
              <a:off x="2751950" y="1931675"/>
              <a:ext cx="564500" cy="483125"/>
            </a:xfrm>
            <a:custGeom>
              <a:avLst/>
              <a:gdLst/>
              <a:ahLst/>
              <a:cxnLst/>
              <a:rect l="l" t="t" r="r" b="b"/>
              <a:pathLst>
                <a:path w="22580" h="19325" extrusionOk="0">
                  <a:moveTo>
                    <a:pt x="2803" y="1"/>
                  </a:moveTo>
                  <a:lnTo>
                    <a:pt x="2623" y="23"/>
                  </a:lnTo>
                  <a:lnTo>
                    <a:pt x="2464" y="46"/>
                  </a:lnTo>
                  <a:lnTo>
                    <a:pt x="2284" y="91"/>
                  </a:lnTo>
                  <a:lnTo>
                    <a:pt x="2103" y="159"/>
                  </a:lnTo>
                  <a:lnTo>
                    <a:pt x="1899" y="249"/>
                  </a:lnTo>
                  <a:lnTo>
                    <a:pt x="1719" y="362"/>
                  </a:lnTo>
                  <a:lnTo>
                    <a:pt x="1538" y="475"/>
                  </a:lnTo>
                  <a:lnTo>
                    <a:pt x="1334" y="634"/>
                  </a:lnTo>
                  <a:lnTo>
                    <a:pt x="1153" y="814"/>
                  </a:lnTo>
                  <a:lnTo>
                    <a:pt x="950" y="1018"/>
                  </a:lnTo>
                  <a:lnTo>
                    <a:pt x="792" y="1221"/>
                  </a:lnTo>
                  <a:lnTo>
                    <a:pt x="634" y="1447"/>
                  </a:lnTo>
                  <a:lnTo>
                    <a:pt x="521" y="1696"/>
                  </a:lnTo>
                  <a:lnTo>
                    <a:pt x="408" y="1922"/>
                  </a:lnTo>
                  <a:lnTo>
                    <a:pt x="295" y="2170"/>
                  </a:lnTo>
                  <a:lnTo>
                    <a:pt x="227" y="2442"/>
                  </a:lnTo>
                  <a:lnTo>
                    <a:pt x="159" y="2690"/>
                  </a:lnTo>
                  <a:lnTo>
                    <a:pt x="69" y="3233"/>
                  </a:lnTo>
                  <a:lnTo>
                    <a:pt x="1" y="3775"/>
                  </a:lnTo>
                  <a:lnTo>
                    <a:pt x="1" y="4295"/>
                  </a:lnTo>
                  <a:lnTo>
                    <a:pt x="23" y="4815"/>
                  </a:lnTo>
                  <a:lnTo>
                    <a:pt x="69" y="5312"/>
                  </a:lnTo>
                  <a:lnTo>
                    <a:pt x="136" y="5787"/>
                  </a:lnTo>
                  <a:lnTo>
                    <a:pt x="204" y="6193"/>
                  </a:lnTo>
                  <a:lnTo>
                    <a:pt x="272" y="6578"/>
                  </a:lnTo>
                  <a:lnTo>
                    <a:pt x="408" y="7098"/>
                  </a:lnTo>
                  <a:lnTo>
                    <a:pt x="475" y="7301"/>
                  </a:lnTo>
                  <a:lnTo>
                    <a:pt x="611" y="7798"/>
                  </a:lnTo>
                  <a:lnTo>
                    <a:pt x="1063" y="9154"/>
                  </a:lnTo>
                  <a:lnTo>
                    <a:pt x="1379" y="10058"/>
                  </a:lnTo>
                  <a:lnTo>
                    <a:pt x="1741" y="11053"/>
                  </a:lnTo>
                  <a:lnTo>
                    <a:pt x="2171" y="12138"/>
                  </a:lnTo>
                  <a:lnTo>
                    <a:pt x="2623" y="13245"/>
                  </a:lnTo>
                  <a:lnTo>
                    <a:pt x="3142" y="14353"/>
                  </a:lnTo>
                  <a:lnTo>
                    <a:pt x="3414" y="14918"/>
                  </a:lnTo>
                  <a:lnTo>
                    <a:pt x="3685" y="15437"/>
                  </a:lnTo>
                  <a:lnTo>
                    <a:pt x="3979" y="15957"/>
                  </a:lnTo>
                  <a:lnTo>
                    <a:pt x="4250" y="16454"/>
                  </a:lnTo>
                  <a:lnTo>
                    <a:pt x="4566" y="16929"/>
                  </a:lnTo>
                  <a:lnTo>
                    <a:pt x="4860" y="17381"/>
                  </a:lnTo>
                  <a:lnTo>
                    <a:pt x="5177" y="17788"/>
                  </a:lnTo>
                  <a:lnTo>
                    <a:pt x="5493" y="18150"/>
                  </a:lnTo>
                  <a:lnTo>
                    <a:pt x="5809" y="18466"/>
                  </a:lnTo>
                  <a:lnTo>
                    <a:pt x="6126" y="18760"/>
                  </a:lnTo>
                  <a:lnTo>
                    <a:pt x="6442" y="18986"/>
                  </a:lnTo>
                  <a:lnTo>
                    <a:pt x="6781" y="19167"/>
                  </a:lnTo>
                  <a:lnTo>
                    <a:pt x="6939" y="19212"/>
                  </a:lnTo>
                  <a:lnTo>
                    <a:pt x="7098" y="19280"/>
                  </a:lnTo>
                  <a:lnTo>
                    <a:pt x="7256" y="19302"/>
                  </a:lnTo>
                  <a:lnTo>
                    <a:pt x="7437" y="19325"/>
                  </a:lnTo>
                  <a:lnTo>
                    <a:pt x="8205" y="19325"/>
                  </a:lnTo>
                  <a:lnTo>
                    <a:pt x="9132" y="19257"/>
                  </a:lnTo>
                  <a:lnTo>
                    <a:pt x="10149" y="19144"/>
                  </a:lnTo>
                  <a:lnTo>
                    <a:pt x="11279" y="18986"/>
                  </a:lnTo>
                  <a:lnTo>
                    <a:pt x="12454" y="18782"/>
                  </a:lnTo>
                  <a:lnTo>
                    <a:pt x="13652" y="18556"/>
                  </a:lnTo>
                  <a:lnTo>
                    <a:pt x="14873" y="18308"/>
                  </a:lnTo>
                  <a:lnTo>
                    <a:pt x="16070" y="18037"/>
                  </a:lnTo>
                  <a:lnTo>
                    <a:pt x="17246" y="17743"/>
                  </a:lnTo>
                  <a:lnTo>
                    <a:pt x="18353" y="17449"/>
                  </a:lnTo>
                  <a:lnTo>
                    <a:pt x="19370" y="17178"/>
                  </a:lnTo>
                  <a:lnTo>
                    <a:pt x="20274" y="16884"/>
                  </a:lnTo>
                  <a:lnTo>
                    <a:pt x="21065" y="16635"/>
                  </a:lnTo>
                  <a:lnTo>
                    <a:pt x="21676" y="16387"/>
                  </a:lnTo>
                  <a:lnTo>
                    <a:pt x="21902" y="16296"/>
                  </a:lnTo>
                  <a:lnTo>
                    <a:pt x="22105" y="16183"/>
                  </a:lnTo>
                  <a:lnTo>
                    <a:pt x="22241" y="16093"/>
                  </a:lnTo>
                  <a:lnTo>
                    <a:pt x="22308" y="16025"/>
                  </a:lnTo>
                  <a:lnTo>
                    <a:pt x="22376" y="15912"/>
                  </a:lnTo>
                  <a:lnTo>
                    <a:pt x="22444" y="15776"/>
                  </a:lnTo>
                  <a:lnTo>
                    <a:pt x="22534" y="15505"/>
                  </a:lnTo>
                  <a:lnTo>
                    <a:pt x="22580" y="15189"/>
                  </a:lnTo>
                  <a:lnTo>
                    <a:pt x="22580" y="14827"/>
                  </a:lnTo>
                  <a:lnTo>
                    <a:pt x="22580" y="14443"/>
                  </a:lnTo>
                  <a:lnTo>
                    <a:pt x="22534" y="13991"/>
                  </a:lnTo>
                  <a:lnTo>
                    <a:pt x="22444" y="12951"/>
                  </a:lnTo>
                  <a:lnTo>
                    <a:pt x="22421" y="12929"/>
                  </a:lnTo>
                  <a:lnTo>
                    <a:pt x="22399" y="12906"/>
                  </a:lnTo>
                  <a:lnTo>
                    <a:pt x="22286" y="12883"/>
                  </a:lnTo>
                  <a:lnTo>
                    <a:pt x="22128" y="12883"/>
                  </a:lnTo>
                  <a:lnTo>
                    <a:pt x="21902" y="12906"/>
                  </a:lnTo>
                  <a:lnTo>
                    <a:pt x="21291" y="12974"/>
                  </a:lnTo>
                  <a:lnTo>
                    <a:pt x="20478" y="13087"/>
                  </a:lnTo>
                  <a:lnTo>
                    <a:pt x="18444" y="13426"/>
                  </a:lnTo>
                  <a:lnTo>
                    <a:pt x="16070" y="13855"/>
                  </a:lnTo>
                  <a:lnTo>
                    <a:pt x="13584" y="14285"/>
                  </a:lnTo>
                  <a:lnTo>
                    <a:pt x="12409" y="14466"/>
                  </a:lnTo>
                  <a:lnTo>
                    <a:pt x="11279" y="14624"/>
                  </a:lnTo>
                  <a:lnTo>
                    <a:pt x="10262" y="14759"/>
                  </a:lnTo>
                  <a:lnTo>
                    <a:pt x="9380" y="14827"/>
                  </a:lnTo>
                  <a:lnTo>
                    <a:pt x="8680" y="14827"/>
                  </a:lnTo>
                  <a:lnTo>
                    <a:pt x="8409" y="14805"/>
                  </a:lnTo>
                  <a:lnTo>
                    <a:pt x="8183" y="14759"/>
                  </a:lnTo>
                  <a:lnTo>
                    <a:pt x="7821" y="13968"/>
                  </a:lnTo>
                  <a:lnTo>
                    <a:pt x="7527" y="13335"/>
                  </a:lnTo>
                  <a:lnTo>
                    <a:pt x="7301" y="12770"/>
                  </a:lnTo>
                  <a:lnTo>
                    <a:pt x="7143" y="12273"/>
                  </a:lnTo>
                  <a:lnTo>
                    <a:pt x="7030" y="11821"/>
                  </a:lnTo>
                  <a:lnTo>
                    <a:pt x="6939" y="11392"/>
                  </a:lnTo>
                  <a:lnTo>
                    <a:pt x="6872" y="10940"/>
                  </a:lnTo>
                  <a:lnTo>
                    <a:pt x="6804" y="10443"/>
                  </a:lnTo>
                  <a:lnTo>
                    <a:pt x="6646" y="9177"/>
                  </a:lnTo>
                  <a:lnTo>
                    <a:pt x="6533" y="8363"/>
                  </a:lnTo>
                  <a:lnTo>
                    <a:pt x="6374" y="7391"/>
                  </a:lnTo>
                  <a:lnTo>
                    <a:pt x="6171" y="6216"/>
                  </a:lnTo>
                  <a:lnTo>
                    <a:pt x="5877" y="4837"/>
                  </a:lnTo>
                  <a:lnTo>
                    <a:pt x="5516" y="3187"/>
                  </a:lnTo>
                  <a:lnTo>
                    <a:pt x="5041" y="1289"/>
                  </a:lnTo>
                  <a:lnTo>
                    <a:pt x="4951" y="1176"/>
                  </a:lnTo>
                  <a:lnTo>
                    <a:pt x="4725" y="927"/>
                  </a:lnTo>
                  <a:lnTo>
                    <a:pt x="4566" y="769"/>
                  </a:lnTo>
                  <a:lnTo>
                    <a:pt x="4363" y="588"/>
                  </a:lnTo>
                  <a:lnTo>
                    <a:pt x="4137" y="430"/>
                  </a:lnTo>
                  <a:lnTo>
                    <a:pt x="3866" y="272"/>
                  </a:lnTo>
                  <a:lnTo>
                    <a:pt x="3594" y="159"/>
                  </a:lnTo>
                  <a:lnTo>
                    <a:pt x="3301" y="68"/>
                  </a:lnTo>
                  <a:lnTo>
                    <a:pt x="2962" y="23"/>
                  </a:lnTo>
                  <a:lnTo>
                    <a:pt x="2803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8" name="Google Shape;1835;p16">
              <a:extLst>
                <a:ext uri="{FF2B5EF4-FFF2-40B4-BE49-F238E27FC236}">
                  <a16:creationId xmlns:a16="http://schemas.microsoft.com/office/drawing/2014/main" id="{65B48A95-218F-1C28-B41F-0605C18E71A4}"/>
                </a:ext>
              </a:extLst>
            </p:cNvPr>
            <p:cNvSpPr/>
            <p:nvPr/>
          </p:nvSpPr>
          <p:spPr>
            <a:xfrm>
              <a:off x="2751950" y="1931675"/>
              <a:ext cx="564500" cy="483125"/>
            </a:xfrm>
            <a:custGeom>
              <a:avLst/>
              <a:gdLst/>
              <a:ahLst/>
              <a:cxnLst/>
              <a:rect l="l" t="t" r="r" b="b"/>
              <a:pathLst>
                <a:path w="22580" h="19325" fill="none" extrusionOk="0">
                  <a:moveTo>
                    <a:pt x="5041" y="1289"/>
                  </a:moveTo>
                  <a:lnTo>
                    <a:pt x="5041" y="1289"/>
                  </a:lnTo>
                  <a:lnTo>
                    <a:pt x="5516" y="3187"/>
                  </a:lnTo>
                  <a:lnTo>
                    <a:pt x="5877" y="4837"/>
                  </a:lnTo>
                  <a:lnTo>
                    <a:pt x="6171" y="6216"/>
                  </a:lnTo>
                  <a:lnTo>
                    <a:pt x="6374" y="7391"/>
                  </a:lnTo>
                  <a:lnTo>
                    <a:pt x="6533" y="8363"/>
                  </a:lnTo>
                  <a:lnTo>
                    <a:pt x="6646" y="9177"/>
                  </a:lnTo>
                  <a:lnTo>
                    <a:pt x="6804" y="10443"/>
                  </a:lnTo>
                  <a:lnTo>
                    <a:pt x="6872" y="10940"/>
                  </a:lnTo>
                  <a:lnTo>
                    <a:pt x="6939" y="11392"/>
                  </a:lnTo>
                  <a:lnTo>
                    <a:pt x="7030" y="11821"/>
                  </a:lnTo>
                  <a:lnTo>
                    <a:pt x="7143" y="12273"/>
                  </a:lnTo>
                  <a:lnTo>
                    <a:pt x="7301" y="12770"/>
                  </a:lnTo>
                  <a:lnTo>
                    <a:pt x="7527" y="13335"/>
                  </a:lnTo>
                  <a:lnTo>
                    <a:pt x="7821" y="13968"/>
                  </a:lnTo>
                  <a:lnTo>
                    <a:pt x="8183" y="14759"/>
                  </a:lnTo>
                  <a:lnTo>
                    <a:pt x="8183" y="14759"/>
                  </a:lnTo>
                  <a:lnTo>
                    <a:pt x="8409" y="14805"/>
                  </a:lnTo>
                  <a:lnTo>
                    <a:pt x="8680" y="14827"/>
                  </a:lnTo>
                  <a:lnTo>
                    <a:pt x="9019" y="14827"/>
                  </a:lnTo>
                  <a:lnTo>
                    <a:pt x="9380" y="14827"/>
                  </a:lnTo>
                  <a:lnTo>
                    <a:pt x="10262" y="14759"/>
                  </a:lnTo>
                  <a:lnTo>
                    <a:pt x="11279" y="14624"/>
                  </a:lnTo>
                  <a:lnTo>
                    <a:pt x="12409" y="14466"/>
                  </a:lnTo>
                  <a:lnTo>
                    <a:pt x="13584" y="14285"/>
                  </a:lnTo>
                  <a:lnTo>
                    <a:pt x="16070" y="13855"/>
                  </a:lnTo>
                  <a:lnTo>
                    <a:pt x="16070" y="13855"/>
                  </a:lnTo>
                  <a:lnTo>
                    <a:pt x="18444" y="13426"/>
                  </a:lnTo>
                  <a:lnTo>
                    <a:pt x="20478" y="13087"/>
                  </a:lnTo>
                  <a:lnTo>
                    <a:pt x="21291" y="12974"/>
                  </a:lnTo>
                  <a:lnTo>
                    <a:pt x="21902" y="12906"/>
                  </a:lnTo>
                  <a:lnTo>
                    <a:pt x="22128" y="12883"/>
                  </a:lnTo>
                  <a:lnTo>
                    <a:pt x="22286" y="12883"/>
                  </a:lnTo>
                  <a:lnTo>
                    <a:pt x="22399" y="12906"/>
                  </a:lnTo>
                  <a:lnTo>
                    <a:pt x="22421" y="12929"/>
                  </a:lnTo>
                  <a:lnTo>
                    <a:pt x="22444" y="12951"/>
                  </a:lnTo>
                  <a:lnTo>
                    <a:pt x="22444" y="12951"/>
                  </a:lnTo>
                  <a:lnTo>
                    <a:pt x="22534" y="13991"/>
                  </a:lnTo>
                  <a:lnTo>
                    <a:pt x="22580" y="14443"/>
                  </a:lnTo>
                  <a:lnTo>
                    <a:pt x="22580" y="14827"/>
                  </a:lnTo>
                  <a:lnTo>
                    <a:pt x="22580" y="15189"/>
                  </a:lnTo>
                  <a:lnTo>
                    <a:pt x="22534" y="15505"/>
                  </a:lnTo>
                  <a:lnTo>
                    <a:pt x="22444" y="15776"/>
                  </a:lnTo>
                  <a:lnTo>
                    <a:pt x="22376" y="15912"/>
                  </a:lnTo>
                  <a:lnTo>
                    <a:pt x="22308" y="16025"/>
                  </a:lnTo>
                  <a:lnTo>
                    <a:pt x="22308" y="16025"/>
                  </a:lnTo>
                  <a:lnTo>
                    <a:pt x="22241" y="16093"/>
                  </a:lnTo>
                  <a:lnTo>
                    <a:pt x="22105" y="16183"/>
                  </a:lnTo>
                  <a:lnTo>
                    <a:pt x="21902" y="16296"/>
                  </a:lnTo>
                  <a:lnTo>
                    <a:pt x="21676" y="16387"/>
                  </a:lnTo>
                  <a:lnTo>
                    <a:pt x="21065" y="16635"/>
                  </a:lnTo>
                  <a:lnTo>
                    <a:pt x="20274" y="16884"/>
                  </a:lnTo>
                  <a:lnTo>
                    <a:pt x="19370" y="17178"/>
                  </a:lnTo>
                  <a:lnTo>
                    <a:pt x="18353" y="17449"/>
                  </a:lnTo>
                  <a:lnTo>
                    <a:pt x="17246" y="17743"/>
                  </a:lnTo>
                  <a:lnTo>
                    <a:pt x="16070" y="18037"/>
                  </a:lnTo>
                  <a:lnTo>
                    <a:pt x="14873" y="18308"/>
                  </a:lnTo>
                  <a:lnTo>
                    <a:pt x="13652" y="18556"/>
                  </a:lnTo>
                  <a:lnTo>
                    <a:pt x="12454" y="18782"/>
                  </a:lnTo>
                  <a:lnTo>
                    <a:pt x="11279" y="18986"/>
                  </a:lnTo>
                  <a:lnTo>
                    <a:pt x="10149" y="19144"/>
                  </a:lnTo>
                  <a:lnTo>
                    <a:pt x="9132" y="19257"/>
                  </a:lnTo>
                  <a:lnTo>
                    <a:pt x="8205" y="19325"/>
                  </a:lnTo>
                  <a:lnTo>
                    <a:pt x="7798" y="19325"/>
                  </a:lnTo>
                  <a:lnTo>
                    <a:pt x="7437" y="19325"/>
                  </a:lnTo>
                  <a:lnTo>
                    <a:pt x="7437" y="19325"/>
                  </a:lnTo>
                  <a:lnTo>
                    <a:pt x="7256" y="19302"/>
                  </a:lnTo>
                  <a:lnTo>
                    <a:pt x="7098" y="19280"/>
                  </a:lnTo>
                  <a:lnTo>
                    <a:pt x="6939" y="19212"/>
                  </a:lnTo>
                  <a:lnTo>
                    <a:pt x="6781" y="19167"/>
                  </a:lnTo>
                  <a:lnTo>
                    <a:pt x="6442" y="18986"/>
                  </a:lnTo>
                  <a:lnTo>
                    <a:pt x="6126" y="18760"/>
                  </a:lnTo>
                  <a:lnTo>
                    <a:pt x="5809" y="18466"/>
                  </a:lnTo>
                  <a:lnTo>
                    <a:pt x="5493" y="18150"/>
                  </a:lnTo>
                  <a:lnTo>
                    <a:pt x="5177" y="17788"/>
                  </a:lnTo>
                  <a:lnTo>
                    <a:pt x="4860" y="17381"/>
                  </a:lnTo>
                  <a:lnTo>
                    <a:pt x="4566" y="16929"/>
                  </a:lnTo>
                  <a:lnTo>
                    <a:pt x="4250" y="16454"/>
                  </a:lnTo>
                  <a:lnTo>
                    <a:pt x="3979" y="15957"/>
                  </a:lnTo>
                  <a:lnTo>
                    <a:pt x="3685" y="15437"/>
                  </a:lnTo>
                  <a:lnTo>
                    <a:pt x="3414" y="14918"/>
                  </a:lnTo>
                  <a:lnTo>
                    <a:pt x="3142" y="14353"/>
                  </a:lnTo>
                  <a:lnTo>
                    <a:pt x="2623" y="13245"/>
                  </a:lnTo>
                  <a:lnTo>
                    <a:pt x="2171" y="12138"/>
                  </a:lnTo>
                  <a:lnTo>
                    <a:pt x="1741" y="11053"/>
                  </a:lnTo>
                  <a:lnTo>
                    <a:pt x="1379" y="10058"/>
                  </a:lnTo>
                  <a:lnTo>
                    <a:pt x="1063" y="9154"/>
                  </a:lnTo>
                  <a:lnTo>
                    <a:pt x="611" y="7798"/>
                  </a:lnTo>
                  <a:lnTo>
                    <a:pt x="475" y="7301"/>
                  </a:lnTo>
                  <a:lnTo>
                    <a:pt x="475" y="7301"/>
                  </a:lnTo>
                  <a:lnTo>
                    <a:pt x="408" y="7098"/>
                  </a:lnTo>
                  <a:lnTo>
                    <a:pt x="272" y="6578"/>
                  </a:lnTo>
                  <a:lnTo>
                    <a:pt x="204" y="6193"/>
                  </a:lnTo>
                  <a:lnTo>
                    <a:pt x="136" y="5787"/>
                  </a:lnTo>
                  <a:lnTo>
                    <a:pt x="69" y="5312"/>
                  </a:lnTo>
                  <a:lnTo>
                    <a:pt x="23" y="4815"/>
                  </a:lnTo>
                  <a:lnTo>
                    <a:pt x="1" y="4295"/>
                  </a:lnTo>
                  <a:lnTo>
                    <a:pt x="1" y="3775"/>
                  </a:lnTo>
                  <a:lnTo>
                    <a:pt x="69" y="3233"/>
                  </a:lnTo>
                  <a:lnTo>
                    <a:pt x="159" y="2690"/>
                  </a:lnTo>
                  <a:lnTo>
                    <a:pt x="227" y="2442"/>
                  </a:lnTo>
                  <a:lnTo>
                    <a:pt x="295" y="2170"/>
                  </a:lnTo>
                  <a:lnTo>
                    <a:pt x="408" y="1922"/>
                  </a:lnTo>
                  <a:lnTo>
                    <a:pt x="521" y="1696"/>
                  </a:lnTo>
                  <a:lnTo>
                    <a:pt x="634" y="1447"/>
                  </a:lnTo>
                  <a:lnTo>
                    <a:pt x="792" y="1221"/>
                  </a:lnTo>
                  <a:lnTo>
                    <a:pt x="950" y="1018"/>
                  </a:lnTo>
                  <a:lnTo>
                    <a:pt x="1153" y="814"/>
                  </a:lnTo>
                  <a:lnTo>
                    <a:pt x="1153" y="814"/>
                  </a:lnTo>
                  <a:lnTo>
                    <a:pt x="1334" y="634"/>
                  </a:lnTo>
                  <a:lnTo>
                    <a:pt x="1538" y="475"/>
                  </a:lnTo>
                  <a:lnTo>
                    <a:pt x="1719" y="362"/>
                  </a:lnTo>
                  <a:lnTo>
                    <a:pt x="1899" y="249"/>
                  </a:lnTo>
                  <a:lnTo>
                    <a:pt x="2103" y="159"/>
                  </a:lnTo>
                  <a:lnTo>
                    <a:pt x="2284" y="91"/>
                  </a:lnTo>
                  <a:lnTo>
                    <a:pt x="2464" y="46"/>
                  </a:lnTo>
                  <a:lnTo>
                    <a:pt x="2623" y="23"/>
                  </a:lnTo>
                  <a:lnTo>
                    <a:pt x="2803" y="1"/>
                  </a:lnTo>
                  <a:lnTo>
                    <a:pt x="2962" y="23"/>
                  </a:lnTo>
                  <a:lnTo>
                    <a:pt x="3301" y="68"/>
                  </a:lnTo>
                  <a:lnTo>
                    <a:pt x="3594" y="159"/>
                  </a:lnTo>
                  <a:lnTo>
                    <a:pt x="3866" y="272"/>
                  </a:lnTo>
                  <a:lnTo>
                    <a:pt x="4137" y="430"/>
                  </a:lnTo>
                  <a:lnTo>
                    <a:pt x="4363" y="588"/>
                  </a:lnTo>
                  <a:lnTo>
                    <a:pt x="4566" y="769"/>
                  </a:lnTo>
                  <a:lnTo>
                    <a:pt x="4725" y="927"/>
                  </a:lnTo>
                  <a:lnTo>
                    <a:pt x="4951" y="1176"/>
                  </a:lnTo>
                  <a:lnTo>
                    <a:pt x="5041" y="128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9" name="Google Shape;1836;p16">
              <a:extLst>
                <a:ext uri="{FF2B5EF4-FFF2-40B4-BE49-F238E27FC236}">
                  <a16:creationId xmlns:a16="http://schemas.microsoft.com/office/drawing/2014/main" id="{6F426CB1-87DA-2A87-B035-E1E813818AD5}"/>
                </a:ext>
              </a:extLst>
            </p:cNvPr>
            <p:cNvSpPr/>
            <p:nvPr/>
          </p:nvSpPr>
          <p:spPr>
            <a:xfrm>
              <a:off x="2740650" y="1944100"/>
              <a:ext cx="15300" cy="7950"/>
            </a:xfrm>
            <a:custGeom>
              <a:avLst/>
              <a:gdLst/>
              <a:ahLst/>
              <a:cxnLst/>
              <a:rect l="l" t="t" r="r" b="b"/>
              <a:pathLst>
                <a:path w="612" h="318" extrusionOk="0">
                  <a:moveTo>
                    <a:pt x="204" y="1"/>
                  </a:moveTo>
                  <a:lnTo>
                    <a:pt x="249" y="24"/>
                  </a:lnTo>
                  <a:lnTo>
                    <a:pt x="408" y="114"/>
                  </a:lnTo>
                  <a:lnTo>
                    <a:pt x="1" y="114"/>
                  </a:lnTo>
                  <a:lnTo>
                    <a:pt x="340" y="317"/>
                  </a:lnTo>
                  <a:lnTo>
                    <a:pt x="430" y="272"/>
                  </a:lnTo>
                  <a:lnTo>
                    <a:pt x="498" y="159"/>
                  </a:lnTo>
                  <a:lnTo>
                    <a:pt x="543" y="182"/>
                  </a:lnTo>
                  <a:lnTo>
                    <a:pt x="611" y="137"/>
                  </a:lnTo>
                  <a:lnTo>
                    <a:pt x="521" y="114"/>
                  </a:lnTo>
                  <a:lnTo>
                    <a:pt x="498" y="91"/>
                  </a:lnTo>
                  <a:lnTo>
                    <a:pt x="430" y="69"/>
                  </a:lnTo>
                  <a:lnTo>
                    <a:pt x="249" y="1"/>
                  </a:lnTo>
                  <a:close/>
                </a:path>
              </a:pathLst>
            </a:custGeom>
            <a:solidFill>
              <a:srgbClr val="CACAC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0" name="Google Shape;1837;p16">
              <a:extLst>
                <a:ext uri="{FF2B5EF4-FFF2-40B4-BE49-F238E27FC236}">
                  <a16:creationId xmlns:a16="http://schemas.microsoft.com/office/drawing/2014/main" id="{F704E6FF-69D0-1B5A-384D-D0D992EBA696}"/>
                </a:ext>
              </a:extLst>
            </p:cNvPr>
            <p:cNvSpPr/>
            <p:nvPr/>
          </p:nvSpPr>
          <p:spPr>
            <a:xfrm>
              <a:off x="2740650" y="1944100"/>
              <a:ext cx="15300" cy="7950"/>
            </a:xfrm>
            <a:custGeom>
              <a:avLst/>
              <a:gdLst/>
              <a:ahLst/>
              <a:cxnLst/>
              <a:rect l="l" t="t" r="r" b="b"/>
              <a:pathLst>
                <a:path w="612" h="318" fill="none" extrusionOk="0">
                  <a:moveTo>
                    <a:pt x="204" y="1"/>
                  </a:moveTo>
                  <a:lnTo>
                    <a:pt x="204" y="1"/>
                  </a:lnTo>
                  <a:lnTo>
                    <a:pt x="204" y="1"/>
                  </a:lnTo>
                  <a:lnTo>
                    <a:pt x="204" y="1"/>
                  </a:lnTo>
                  <a:lnTo>
                    <a:pt x="249" y="24"/>
                  </a:lnTo>
                  <a:lnTo>
                    <a:pt x="408" y="114"/>
                  </a:lnTo>
                  <a:lnTo>
                    <a:pt x="408" y="114"/>
                  </a:lnTo>
                  <a:lnTo>
                    <a:pt x="317" y="114"/>
                  </a:lnTo>
                  <a:lnTo>
                    <a:pt x="317" y="114"/>
                  </a:lnTo>
                  <a:lnTo>
                    <a:pt x="46" y="114"/>
                  </a:lnTo>
                  <a:lnTo>
                    <a:pt x="46" y="114"/>
                  </a:lnTo>
                  <a:lnTo>
                    <a:pt x="1" y="114"/>
                  </a:lnTo>
                  <a:lnTo>
                    <a:pt x="1" y="114"/>
                  </a:lnTo>
                  <a:lnTo>
                    <a:pt x="340" y="317"/>
                  </a:lnTo>
                  <a:lnTo>
                    <a:pt x="340" y="317"/>
                  </a:lnTo>
                  <a:lnTo>
                    <a:pt x="430" y="272"/>
                  </a:lnTo>
                  <a:lnTo>
                    <a:pt x="430" y="272"/>
                  </a:lnTo>
                  <a:lnTo>
                    <a:pt x="498" y="159"/>
                  </a:lnTo>
                  <a:lnTo>
                    <a:pt x="498" y="159"/>
                  </a:lnTo>
                  <a:lnTo>
                    <a:pt x="543" y="182"/>
                  </a:lnTo>
                  <a:lnTo>
                    <a:pt x="543" y="182"/>
                  </a:lnTo>
                  <a:lnTo>
                    <a:pt x="611" y="137"/>
                  </a:lnTo>
                  <a:lnTo>
                    <a:pt x="611" y="137"/>
                  </a:lnTo>
                  <a:lnTo>
                    <a:pt x="521" y="114"/>
                  </a:lnTo>
                  <a:lnTo>
                    <a:pt x="521" y="114"/>
                  </a:lnTo>
                  <a:lnTo>
                    <a:pt x="498" y="91"/>
                  </a:lnTo>
                  <a:lnTo>
                    <a:pt x="430" y="69"/>
                  </a:lnTo>
                  <a:lnTo>
                    <a:pt x="249" y="1"/>
                  </a:lnTo>
                  <a:lnTo>
                    <a:pt x="249" y="1"/>
                  </a:lnTo>
                  <a:lnTo>
                    <a:pt x="204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1" name="Google Shape;1838;p16">
              <a:extLst>
                <a:ext uri="{FF2B5EF4-FFF2-40B4-BE49-F238E27FC236}">
                  <a16:creationId xmlns:a16="http://schemas.microsoft.com/office/drawing/2014/main" id="{CBB919A7-B0FA-0058-FC3A-79FDB22FF907}"/>
                </a:ext>
              </a:extLst>
            </p:cNvPr>
            <p:cNvSpPr/>
            <p:nvPr/>
          </p:nvSpPr>
          <p:spPr>
            <a:xfrm>
              <a:off x="2749125" y="1947500"/>
              <a:ext cx="6825" cy="4550"/>
            </a:xfrm>
            <a:custGeom>
              <a:avLst/>
              <a:gdLst/>
              <a:ahLst/>
              <a:cxnLst/>
              <a:rect l="l" t="t" r="r" b="b"/>
              <a:pathLst>
                <a:path w="273" h="182" extrusionOk="0">
                  <a:moveTo>
                    <a:pt x="272" y="1"/>
                  </a:moveTo>
                  <a:lnTo>
                    <a:pt x="204" y="46"/>
                  </a:lnTo>
                  <a:lnTo>
                    <a:pt x="227" y="68"/>
                  </a:lnTo>
                  <a:lnTo>
                    <a:pt x="272" y="46"/>
                  </a:lnTo>
                  <a:lnTo>
                    <a:pt x="272" y="1"/>
                  </a:lnTo>
                  <a:close/>
                  <a:moveTo>
                    <a:pt x="91" y="136"/>
                  </a:moveTo>
                  <a:lnTo>
                    <a:pt x="1" y="181"/>
                  </a:lnTo>
                  <a:lnTo>
                    <a:pt x="23" y="181"/>
                  </a:lnTo>
                  <a:lnTo>
                    <a:pt x="91" y="136"/>
                  </a:lnTo>
                  <a:close/>
                </a:path>
              </a:pathLst>
            </a:custGeom>
            <a:solidFill>
              <a:srgbClr val="BA742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2" name="Google Shape;1839;p16">
              <a:extLst>
                <a:ext uri="{FF2B5EF4-FFF2-40B4-BE49-F238E27FC236}">
                  <a16:creationId xmlns:a16="http://schemas.microsoft.com/office/drawing/2014/main" id="{F2A448DC-850E-DFEC-0942-B3A8504A2EF5}"/>
                </a:ext>
              </a:extLst>
            </p:cNvPr>
            <p:cNvSpPr/>
            <p:nvPr/>
          </p:nvSpPr>
          <p:spPr>
            <a:xfrm>
              <a:off x="2749125" y="1950900"/>
              <a:ext cx="2300" cy="1150"/>
            </a:xfrm>
            <a:custGeom>
              <a:avLst/>
              <a:gdLst/>
              <a:ahLst/>
              <a:cxnLst/>
              <a:rect l="l" t="t" r="r" b="b"/>
              <a:pathLst>
                <a:path w="92" h="46" fill="none" extrusionOk="0">
                  <a:moveTo>
                    <a:pt x="91" y="0"/>
                  </a:moveTo>
                  <a:lnTo>
                    <a:pt x="91" y="0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9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3" name="Google Shape;1840;p16">
              <a:extLst>
                <a:ext uri="{FF2B5EF4-FFF2-40B4-BE49-F238E27FC236}">
                  <a16:creationId xmlns:a16="http://schemas.microsoft.com/office/drawing/2014/main" id="{89A25FD3-2FF4-1256-EDFC-EA65B517F9AB}"/>
                </a:ext>
              </a:extLst>
            </p:cNvPr>
            <p:cNvSpPr/>
            <p:nvPr/>
          </p:nvSpPr>
          <p:spPr>
            <a:xfrm>
              <a:off x="2754225" y="1947500"/>
              <a:ext cx="1725" cy="1725"/>
            </a:xfrm>
            <a:custGeom>
              <a:avLst/>
              <a:gdLst/>
              <a:ahLst/>
              <a:cxnLst/>
              <a:rect l="l" t="t" r="r" b="b"/>
              <a:pathLst>
                <a:path w="69" h="69" fill="none" extrusionOk="0">
                  <a:moveTo>
                    <a:pt x="68" y="1"/>
                  </a:moveTo>
                  <a:lnTo>
                    <a:pt x="68" y="1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68" y="46"/>
                  </a:lnTo>
                  <a:lnTo>
                    <a:pt x="68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4" name="Google Shape;1841;p16">
              <a:extLst>
                <a:ext uri="{FF2B5EF4-FFF2-40B4-BE49-F238E27FC236}">
                  <a16:creationId xmlns:a16="http://schemas.microsoft.com/office/drawing/2014/main" id="{23C96561-CDF0-5748-0FA5-B1741E255AEC}"/>
                </a:ext>
              </a:extLst>
            </p:cNvPr>
            <p:cNvSpPr/>
            <p:nvPr/>
          </p:nvSpPr>
          <p:spPr>
            <a:xfrm>
              <a:off x="2731625" y="1944100"/>
              <a:ext cx="9050" cy="2850"/>
            </a:xfrm>
            <a:custGeom>
              <a:avLst/>
              <a:gdLst/>
              <a:ahLst/>
              <a:cxnLst/>
              <a:rect l="l" t="t" r="r" b="b"/>
              <a:pathLst>
                <a:path w="362" h="114" extrusionOk="0">
                  <a:moveTo>
                    <a:pt x="204" y="1"/>
                  </a:moveTo>
                  <a:lnTo>
                    <a:pt x="45" y="69"/>
                  </a:lnTo>
                  <a:lnTo>
                    <a:pt x="0" y="91"/>
                  </a:lnTo>
                  <a:lnTo>
                    <a:pt x="45" y="114"/>
                  </a:lnTo>
                  <a:lnTo>
                    <a:pt x="362" y="114"/>
                  </a:lnTo>
                  <a:lnTo>
                    <a:pt x="204" y="1"/>
                  </a:lnTo>
                  <a:close/>
                </a:path>
              </a:pathLst>
            </a:custGeom>
            <a:solidFill>
              <a:srgbClr val="CACAC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5" name="Google Shape;1842;p16">
              <a:extLst>
                <a:ext uri="{FF2B5EF4-FFF2-40B4-BE49-F238E27FC236}">
                  <a16:creationId xmlns:a16="http://schemas.microsoft.com/office/drawing/2014/main" id="{CC53C545-6C2A-3BBF-9C33-2BAD45897138}"/>
                </a:ext>
              </a:extLst>
            </p:cNvPr>
            <p:cNvSpPr/>
            <p:nvPr/>
          </p:nvSpPr>
          <p:spPr>
            <a:xfrm>
              <a:off x="2731625" y="1944100"/>
              <a:ext cx="9050" cy="2850"/>
            </a:xfrm>
            <a:custGeom>
              <a:avLst/>
              <a:gdLst/>
              <a:ahLst/>
              <a:cxnLst/>
              <a:rect l="l" t="t" r="r" b="b"/>
              <a:pathLst>
                <a:path w="362" h="114" fill="none" extrusionOk="0">
                  <a:moveTo>
                    <a:pt x="204" y="1"/>
                  </a:moveTo>
                  <a:lnTo>
                    <a:pt x="204" y="1"/>
                  </a:lnTo>
                  <a:lnTo>
                    <a:pt x="45" y="69"/>
                  </a:lnTo>
                  <a:lnTo>
                    <a:pt x="0" y="91"/>
                  </a:lnTo>
                  <a:lnTo>
                    <a:pt x="45" y="114"/>
                  </a:lnTo>
                  <a:lnTo>
                    <a:pt x="158" y="114"/>
                  </a:lnTo>
                  <a:lnTo>
                    <a:pt x="158" y="114"/>
                  </a:lnTo>
                  <a:lnTo>
                    <a:pt x="362" y="114"/>
                  </a:lnTo>
                  <a:lnTo>
                    <a:pt x="362" y="114"/>
                  </a:lnTo>
                  <a:lnTo>
                    <a:pt x="204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6" name="Google Shape;1843;p16">
              <a:extLst>
                <a:ext uri="{FF2B5EF4-FFF2-40B4-BE49-F238E27FC236}">
                  <a16:creationId xmlns:a16="http://schemas.microsoft.com/office/drawing/2014/main" id="{5DFC3A32-7AA9-E74D-7F28-283F268D1682}"/>
                </a:ext>
              </a:extLst>
            </p:cNvPr>
            <p:cNvSpPr/>
            <p:nvPr/>
          </p:nvSpPr>
          <p:spPr>
            <a:xfrm>
              <a:off x="2715225" y="1949200"/>
              <a:ext cx="55975" cy="54825"/>
            </a:xfrm>
            <a:custGeom>
              <a:avLst/>
              <a:gdLst/>
              <a:ahLst/>
              <a:cxnLst/>
              <a:rect l="l" t="t" r="r" b="b"/>
              <a:pathLst>
                <a:path w="2239" h="2193" extrusionOk="0">
                  <a:moveTo>
                    <a:pt x="1583" y="0"/>
                  </a:moveTo>
                  <a:lnTo>
                    <a:pt x="1492" y="68"/>
                  </a:lnTo>
                  <a:lnTo>
                    <a:pt x="1492" y="68"/>
                  </a:lnTo>
                  <a:lnTo>
                    <a:pt x="1560" y="46"/>
                  </a:lnTo>
                  <a:lnTo>
                    <a:pt x="1583" y="23"/>
                  </a:lnTo>
                  <a:lnTo>
                    <a:pt x="1583" y="0"/>
                  </a:lnTo>
                  <a:close/>
                  <a:moveTo>
                    <a:pt x="1379" y="113"/>
                  </a:moveTo>
                  <a:lnTo>
                    <a:pt x="837" y="543"/>
                  </a:lnTo>
                  <a:lnTo>
                    <a:pt x="453" y="904"/>
                  </a:lnTo>
                  <a:lnTo>
                    <a:pt x="1" y="1356"/>
                  </a:lnTo>
                  <a:lnTo>
                    <a:pt x="23" y="1379"/>
                  </a:lnTo>
                  <a:lnTo>
                    <a:pt x="91" y="1447"/>
                  </a:lnTo>
                  <a:lnTo>
                    <a:pt x="430" y="1650"/>
                  </a:lnTo>
                  <a:lnTo>
                    <a:pt x="927" y="1899"/>
                  </a:lnTo>
                  <a:lnTo>
                    <a:pt x="1583" y="2193"/>
                  </a:lnTo>
                  <a:lnTo>
                    <a:pt x="1673" y="1763"/>
                  </a:lnTo>
                  <a:lnTo>
                    <a:pt x="1831" y="1334"/>
                  </a:lnTo>
                  <a:lnTo>
                    <a:pt x="2012" y="950"/>
                  </a:lnTo>
                  <a:lnTo>
                    <a:pt x="2125" y="746"/>
                  </a:lnTo>
                  <a:lnTo>
                    <a:pt x="2238" y="565"/>
                  </a:lnTo>
                  <a:lnTo>
                    <a:pt x="1922" y="407"/>
                  </a:lnTo>
                  <a:lnTo>
                    <a:pt x="1379" y="113"/>
                  </a:lnTo>
                  <a:close/>
                </a:path>
              </a:pathLst>
            </a:custGeom>
            <a:solidFill>
              <a:srgbClr val="BA742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7" name="Google Shape;1844;p16">
              <a:extLst>
                <a:ext uri="{FF2B5EF4-FFF2-40B4-BE49-F238E27FC236}">
                  <a16:creationId xmlns:a16="http://schemas.microsoft.com/office/drawing/2014/main" id="{180C10D8-BCAC-F76D-EE61-6DE9783E0EE1}"/>
                </a:ext>
              </a:extLst>
            </p:cNvPr>
            <p:cNvSpPr/>
            <p:nvPr/>
          </p:nvSpPr>
          <p:spPr>
            <a:xfrm>
              <a:off x="2715225" y="1952025"/>
              <a:ext cx="55975" cy="52000"/>
            </a:xfrm>
            <a:custGeom>
              <a:avLst/>
              <a:gdLst/>
              <a:ahLst/>
              <a:cxnLst/>
              <a:rect l="l" t="t" r="r" b="b"/>
              <a:pathLst>
                <a:path w="2239" h="2080" fill="none" extrusionOk="0">
                  <a:moveTo>
                    <a:pt x="1379" y="0"/>
                  </a:moveTo>
                  <a:lnTo>
                    <a:pt x="1379" y="0"/>
                  </a:lnTo>
                  <a:lnTo>
                    <a:pt x="837" y="430"/>
                  </a:lnTo>
                  <a:lnTo>
                    <a:pt x="453" y="791"/>
                  </a:lnTo>
                  <a:lnTo>
                    <a:pt x="1" y="1243"/>
                  </a:lnTo>
                  <a:lnTo>
                    <a:pt x="1" y="1243"/>
                  </a:lnTo>
                  <a:lnTo>
                    <a:pt x="23" y="1266"/>
                  </a:lnTo>
                  <a:lnTo>
                    <a:pt x="91" y="1334"/>
                  </a:lnTo>
                  <a:lnTo>
                    <a:pt x="430" y="1537"/>
                  </a:lnTo>
                  <a:lnTo>
                    <a:pt x="927" y="1786"/>
                  </a:lnTo>
                  <a:lnTo>
                    <a:pt x="1583" y="2080"/>
                  </a:lnTo>
                  <a:lnTo>
                    <a:pt x="1583" y="2080"/>
                  </a:lnTo>
                  <a:lnTo>
                    <a:pt x="1673" y="1650"/>
                  </a:lnTo>
                  <a:lnTo>
                    <a:pt x="1831" y="1221"/>
                  </a:lnTo>
                  <a:lnTo>
                    <a:pt x="2012" y="837"/>
                  </a:lnTo>
                  <a:lnTo>
                    <a:pt x="2125" y="633"/>
                  </a:lnTo>
                  <a:lnTo>
                    <a:pt x="2238" y="452"/>
                  </a:lnTo>
                  <a:lnTo>
                    <a:pt x="2238" y="452"/>
                  </a:lnTo>
                  <a:lnTo>
                    <a:pt x="1922" y="294"/>
                  </a:lnTo>
                  <a:lnTo>
                    <a:pt x="1922" y="294"/>
                  </a:lnTo>
                  <a:lnTo>
                    <a:pt x="1379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8" name="Google Shape;1845;p16">
              <a:extLst>
                <a:ext uri="{FF2B5EF4-FFF2-40B4-BE49-F238E27FC236}">
                  <a16:creationId xmlns:a16="http://schemas.microsoft.com/office/drawing/2014/main" id="{E837E85B-D359-DDBF-6E0C-4CB5EF22BF67}"/>
                </a:ext>
              </a:extLst>
            </p:cNvPr>
            <p:cNvSpPr/>
            <p:nvPr/>
          </p:nvSpPr>
          <p:spPr>
            <a:xfrm>
              <a:off x="2752525" y="1949200"/>
              <a:ext cx="2275" cy="1725"/>
            </a:xfrm>
            <a:custGeom>
              <a:avLst/>
              <a:gdLst/>
              <a:ahLst/>
              <a:cxnLst/>
              <a:rect l="l" t="t" r="r" b="b"/>
              <a:pathLst>
                <a:path w="91" h="69" fill="none" extrusionOk="0">
                  <a:moveTo>
                    <a:pt x="91" y="0"/>
                  </a:moveTo>
                  <a:lnTo>
                    <a:pt x="91" y="0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68" y="46"/>
                  </a:lnTo>
                  <a:lnTo>
                    <a:pt x="91" y="23"/>
                  </a:lnTo>
                  <a:lnTo>
                    <a:pt x="9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9" name="Google Shape;1846;p16">
              <a:extLst>
                <a:ext uri="{FF2B5EF4-FFF2-40B4-BE49-F238E27FC236}">
                  <a16:creationId xmlns:a16="http://schemas.microsoft.com/office/drawing/2014/main" id="{C6CD8FA5-6994-197E-2295-D990F3B8B5B7}"/>
                </a:ext>
              </a:extLst>
            </p:cNvPr>
            <p:cNvSpPr/>
            <p:nvPr/>
          </p:nvSpPr>
          <p:spPr>
            <a:xfrm>
              <a:off x="2982500" y="1970675"/>
              <a:ext cx="11875" cy="11325"/>
            </a:xfrm>
            <a:custGeom>
              <a:avLst/>
              <a:gdLst/>
              <a:ahLst/>
              <a:cxnLst/>
              <a:rect l="l" t="t" r="r" b="b"/>
              <a:pathLst>
                <a:path w="475" h="453" extrusionOk="0">
                  <a:moveTo>
                    <a:pt x="113" y="0"/>
                  </a:moveTo>
                  <a:lnTo>
                    <a:pt x="0" y="45"/>
                  </a:lnTo>
                  <a:lnTo>
                    <a:pt x="68" y="181"/>
                  </a:lnTo>
                  <a:lnTo>
                    <a:pt x="136" y="271"/>
                  </a:lnTo>
                  <a:lnTo>
                    <a:pt x="226" y="362"/>
                  </a:lnTo>
                  <a:lnTo>
                    <a:pt x="317" y="430"/>
                  </a:lnTo>
                  <a:lnTo>
                    <a:pt x="339" y="452"/>
                  </a:lnTo>
                  <a:lnTo>
                    <a:pt x="430" y="339"/>
                  </a:lnTo>
                  <a:lnTo>
                    <a:pt x="475" y="271"/>
                  </a:lnTo>
                  <a:lnTo>
                    <a:pt x="475" y="204"/>
                  </a:lnTo>
                  <a:lnTo>
                    <a:pt x="475" y="136"/>
                  </a:lnTo>
                  <a:lnTo>
                    <a:pt x="452" y="91"/>
                  </a:lnTo>
                  <a:lnTo>
                    <a:pt x="407" y="45"/>
                  </a:lnTo>
                  <a:lnTo>
                    <a:pt x="317" y="0"/>
                  </a:lnTo>
                  <a:close/>
                </a:path>
              </a:pathLst>
            </a:custGeom>
            <a:solidFill>
              <a:srgbClr val="BE8E8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0" name="Google Shape;1847;p16">
              <a:extLst>
                <a:ext uri="{FF2B5EF4-FFF2-40B4-BE49-F238E27FC236}">
                  <a16:creationId xmlns:a16="http://schemas.microsoft.com/office/drawing/2014/main" id="{64B7EF18-BB29-D584-6E43-D57CFD134BFF}"/>
                </a:ext>
              </a:extLst>
            </p:cNvPr>
            <p:cNvSpPr/>
            <p:nvPr/>
          </p:nvSpPr>
          <p:spPr>
            <a:xfrm>
              <a:off x="2982500" y="1970675"/>
              <a:ext cx="11875" cy="11325"/>
            </a:xfrm>
            <a:custGeom>
              <a:avLst/>
              <a:gdLst/>
              <a:ahLst/>
              <a:cxnLst/>
              <a:rect l="l" t="t" r="r" b="b"/>
              <a:pathLst>
                <a:path w="475" h="453" fill="none" extrusionOk="0">
                  <a:moveTo>
                    <a:pt x="226" y="0"/>
                  </a:moveTo>
                  <a:lnTo>
                    <a:pt x="226" y="0"/>
                  </a:lnTo>
                  <a:lnTo>
                    <a:pt x="113" y="0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68" y="181"/>
                  </a:lnTo>
                  <a:lnTo>
                    <a:pt x="136" y="271"/>
                  </a:lnTo>
                  <a:lnTo>
                    <a:pt x="226" y="362"/>
                  </a:lnTo>
                  <a:lnTo>
                    <a:pt x="317" y="430"/>
                  </a:lnTo>
                  <a:lnTo>
                    <a:pt x="317" y="430"/>
                  </a:lnTo>
                  <a:lnTo>
                    <a:pt x="339" y="452"/>
                  </a:lnTo>
                  <a:lnTo>
                    <a:pt x="339" y="452"/>
                  </a:lnTo>
                  <a:lnTo>
                    <a:pt x="430" y="339"/>
                  </a:lnTo>
                  <a:lnTo>
                    <a:pt x="475" y="271"/>
                  </a:lnTo>
                  <a:lnTo>
                    <a:pt x="475" y="204"/>
                  </a:lnTo>
                  <a:lnTo>
                    <a:pt x="475" y="136"/>
                  </a:lnTo>
                  <a:lnTo>
                    <a:pt x="452" y="91"/>
                  </a:lnTo>
                  <a:lnTo>
                    <a:pt x="407" y="45"/>
                  </a:lnTo>
                  <a:lnTo>
                    <a:pt x="317" y="0"/>
                  </a:lnTo>
                  <a:lnTo>
                    <a:pt x="317" y="0"/>
                  </a:lnTo>
                  <a:lnTo>
                    <a:pt x="22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1" name="Google Shape;1848;p16">
              <a:extLst>
                <a:ext uri="{FF2B5EF4-FFF2-40B4-BE49-F238E27FC236}">
                  <a16:creationId xmlns:a16="http://schemas.microsoft.com/office/drawing/2014/main" id="{FD3DD03D-2011-0079-729F-85A6E5A985BC}"/>
                </a:ext>
              </a:extLst>
            </p:cNvPr>
            <p:cNvSpPr/>
            <p:nvPr/>
          </p:nvSpPr>
          <p:spPr>
            <a:xfrm>
              <a:off x="2911875" y="1971800"/>
              <a:ext cx="79125" cy="58775"/>
            </a:xfrm>
            <a:custGeom>
              <a:avLst/>
              <a:gdLst/>
              <a:ahLst/>
              <a:cxnLst/>
              <a:rect l="l" t="t" r="r" b="b"/>
              <a:pathLst>
                <a:path w="3165" h="2351" extrusionOk="0">
                  <a:moveTo>
                    <a:pt x="2825" y="0"/>
                  </a:moveTo>
                  <a:lnTo>
                    <a:pt x="2712" y="91"/>
                  </a:lnTo>
                  <a:lnTo>
                    <a:pt x="2577" y="204"/>
                  </a:lnTo>
                  <a:lnTo>
                    <a:pt x="2441" y="317"/>
                  </a:lnTo>
                  <a:lnTo>
                    <a:pt x="2283" y="407"/>
                  </a:lnTo>
                  <a:lnTo>
                    <a:pt x="1853" y="588"/>
                  </a:lnTo>
                  <a:lnTo>
                    <a:pt x="1379" y="769"/>
                  </a:lnTo>
                  <a:lnTo>
                    <a:pt x="859" y="927"/>
                  </a:lnTo>
                  <a:lnTo>
                    <a:pt x="316" y="1063"/>
                  </a:lnTo>
                  <a:lnTo>
                    <a:pt x="0" y="2351"/>
                  </a:lnTo>
                  <a:lnTo>
                    <a:pt x="407" y="2193"/>
                  </a:lnTo>
                  <a:lnTo>
                    <a:pt x="904" y="1989"/>
                  </a:lnTo>
                  <a:lnTo>
                    <a:pt x="1311" y="1763"/>
                  </a:lnTo>
                  <a:lnTo>
                    <a:pt x="1650" y="1560"/>
                  </a:lnTo>
                  <a:lnTo>
                    <a:pt x="1921" y="1334"/>
                  </a:lnTo>
                  <a:lnTo>
                    <a:pt x="2147" y="1130"/>
                  </a:lnTo>
                  <a:lnTo>
                    <a:pt x="2351" y="950"/>
                  </a:lnTo>
                  <a:lnTo>
                    <a:pt x="2509" y="791"/>
                  </a:lnTo>
                  <a:lnTo>
                    <a:pt x="2690" y="656"/>
                  </a:lnTo>
                  <a:lnTo>
                    <a:pt x="2780" y="588"/>
                  </a:lnTo>
                  <a:lnTo>
                    <a:pt x="2825" y="565"/>
                  </a:lnTo>
                  <a:lnTo>
                    <a:pt x="2870" y="588"/>
                  </a:lnTo>
                  <a:lnTo>
                    <a:pt x="2938" y="588"/>
                  </a:lnTo>
                  <a:lnTo>
                    <a:pt x="3006" y="543"/>
                  </a:lnTo>
                  <a:lnTo>
                    <a:pt x="3164" y="407"/>
                  </a:lnTo>
                  <a:lnTo>
                    <a:pt x="3142" y="385"/>
                  </a:lnTo>
                  <a:lnTo>
                    <a:pt x="3051" y="317"/>
                  </a:lnTo>
                  <a:lnTo>
                    <a:pt x="2961" y="226"/>
                  </a:lnTo>
                  <a:lnTo>
                    <a:pt x="2893" y="136"/>
                  </a:lnTo>
                  <a:lnTo>
                    <a:pt x="2825" y="0"/>
                  </a:lnTo>
                  <a:close/>
                </a:path>
              </a:pathLst>
            </a:custGeom>
            <a:solidFill>
              <a:srgbClr val="CACAC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2" name="Google Shape;1849;p16">
              <a:extLst>
                <a:ext uri="{FF2B5EF4-FFF2-40B4-BE49-F238E27FC236}">
                  <a16:creationId xmlns:a16="http://schemas.microsoft.com/office/drawing/2014/main" id="{1C31DCED-BB08-BE7C-90FA-1CD167FE24DF}"/>
                </a:ext>
              </a:extLst>
            </p:cNvPr>
            <p:cNvSpPr/>
            <p:nvPr/>
          </p:nvSpPr>
          <p:spPr>
            <a:xfrm>
              <a:off x="2911875" y="1971800"/>
              <a:ext cx="79125" cy="58775"/>
            </a:xfrm>
            <a:custGeom>
              <a:avLst/>
              <a:gdLst/>
              <a:ahLst/>
              <a:cxnLst/>
              <a:rect l="l" t="t" r="r" b="b"/>
              <a:pathLst>
                <a:path w="3165" h="2351" fill="none" extrusionOk="0">
                  <a:moveTo>
                    <a:pt x="2825" y="0"/>
                  </a:moveTo>
                  <a:lnTo>
                    <a:pt x="2825" y="0"/>
                  </a:lnTo>
                  <a:lnTo>
                    <a:pt x="2712" y="91"/>
                  </a:lnTo>
                  <a:lnTo>
                    <a:pt x="2577" y="204"/>
                  </a:lnTo>
                  <a:lnTo>
                    <a:pt x="2441" y="317"/>
                  </a:lnTo>
                  <a:lnTo>
                    <a:pt x="2283" y="407"/>
                  </a:lnTo>
                  <a:lnTo>
                    <a:pt x="2283" y="407"/>
                  </a:lnTo>
                  <a:lnTo>
                    <a:pt x="1853" y="588"/>
                  </a:lnTo>
                  <a:lnTo>
                    <a:pt x="1379" y="769"/>
                  </a:lnTo>
                  <a:lnTo>
                    <a:pt x="859" y="927"/>
                  </a:lnTo>
                  <a:lnTo>
                    <a:pt x="316" y="1063"/>
                  </a:lnTo>
                  <a:lnTo>
                    <a:pt x="316" y="1063"/>
                  </a:lnTo>
                  <a:lnTo>
                    <a:pt x="0" y="2351"/>
                  </a:lnTo>
                  <a:lnTo>
                    <a:pt x="0" y="2351"/>
                  </a:lnTo>
                  <a:lnTo>
                    <a:pt x="407" y="2193"/>
                  </a:lnTo>
                  <a:lnTo>
                    <a:pt x="407" y="2193"/>
                  </a:lnTo>
                  <a:lnTo>
                    <a:pt x="904" y="1989"/>
                  </a:lnTo>
                  <a:lnTo>
                    <a:pt x="1311" y="1763"/>
                  </a:lnTo>
                  <a:lnTo>
                    <a:pt x="1650" y="1560"/>
                  </a:lnTo>
                  <a:lnTo>
                    <a:pt x="1921" y="1334"/>
                  </a:lnTo>
                  <a:lnTo>
                    <a:pt x="2147" y="1130"/>
                  </a:lnTo>
                  <a:lnTo>
                    <a:pt x="2351" y="950"/>
                  </a:lnTo>
                  <a:lnTo>
                    <a:pt x="2509" y="791"/>
                  </a:lnTo>
                  <a:lnTo>
                    <a:pt x="2690" y="656"/>
                  </a:lnTo>
                  <a:lnTo>
                    <a:pt x="2690" y="656"/>
                  </a:lnTo>
                  <a:lnTo>
                    <a:pt x="2780" y="588"/>
                  </a:lnTo>
                  <a:lnTo>
                    <a:pt x="2825" y="565"/>
                  </a:lnTo>
                  <a:lnTo>
                    <a:pt x="2825" y="565"/>
                  </a:lnTo>
                  <a:lnTo>
                    <a:pt x="2825" y="565"/>
                  </a:lnTo>
                  <a:lnTo>
                    <a:pt x="2825" y="565"/>
                  </a:lnTo>
                  <a:lnTo>
                    <a:pt x="2870" y="588"/>
                  </a:lnTo>
                  <a:lnTo>
                    <a:pt x="2870" y="588"/>
                  </a:lnTo>
                  <a:lnTo>
                    <a:pt x="2938" y="588"/>
                  </a:lnTo>
                  <a:lnTo>
                    <a:pt x="3006" y="543"/>
                  </a:lnTo>
                  <a:lnTo>
                    <a:pt x="3164" y="407"/>
                  </a:lnTo>
                  <a:lnTo>
                    <a:pt x="3164" y="407"/>
                  </a:lnTo>
                  <a:lnTo>
                    <a:pt x="3142" y="385"/>
                  </a:lnTo>
                  <a:lnTo>
                    <a:pt x="3142" y="385"/>
                  </a:lnTo>
                  <a:lnTo>
                    <a:pt x="3051" y="317"/>
                  </a:lnTo>
                  <a:lnTo>
                    <a:pt x="2961" y="226"/>
                  </a:lnTo>
                  <a:lnTo>
                    <a:pt x="2893" y="136"/>
                  </a:lnTo>
                  <a:lnTo>
                    <a:pt x="282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3" name="Google Shape;1850;p16">
              <a:extLst>
                <a:ext uri="{FF2B5EF4-FFF2-40B4-BE49-F238E27FC236}">
                  <a16:creationId xmlns:a16="http://schemas.microsoft.com/office/drawing/2014/main" id="{6877076F-D3D0-64FC-F224-C387A2F40D9A}"/>
                </a:ext>
              </a:extLst>
            </p:cNvPr>
            <p:cNvSpPr/>
            <p:nvPr/>
          </p:nvSpPr>
          <p:spPr>
            <a:xfrm>
              <a:off x="2887575" y="1998350"/>
              <a:ext cx="32225" cy="36750"/>
            </a:xfrm>
            <a:custGeom>
              <a:avLst/>
              <a:gdLst/>
              <a:ahLst/>
              <a:cxnLst/>
              <a:rect l="l" t="t" r="r" b="b"/>
              <a:pathLst>
                <a:path w="1289" h="1470" extrusionOk="0">
                  <a:moveTo>
                    <a:pt x="1288" y="1"/>
                  </a:moveTo>
                  <a:lnTo>
                    <a:pt x="972" y="68"/>
                  </a:lnTo>
                  <a:lnTo>
                    <a:pt x="656" y="114"/>
                  </a:lnTo>
                  <a:lnTo>
                    <a:pt x="339" y="136"/>
                  </a:lnTo>
                  <a:lnTo>
                    <a:pt x="0" y="136"/>
                  </a:lnTo>
                  <a:lnTo>
                    <a:pt x="294" y="1470"/>
                  </a:lnTo>
                  <a:lnTo>
                    <a:pt x="678" y="1379"/>
                  </a:lnTo>
                  <a:lnTo>
                    <a:pt x="972" y="1289"/>
                  </a:lnTo>
                  <a:lnTo>
                    <a:pt x="1288" y="1"/>
                  </a:lnTo>
                  <a:close/>
                </a:path>
              </a:pathLst>
            </a:custGeom>
            <a:solidFill>
              <a:srgbClr val="BA742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4" name="Google Shape;1851;p16">
              <a:extLst>
                <a:ext uri="{FF2B5EF4-FFF2-40B4-BE49-F238E27FC236}">
                  <a16:creationId xmlns:a16="http://schemas.microsoft.com/office/drawing/2014/main" id="{B1B8DA09-2515-00D3-6448-DFD072AA009A}"/>
                </a:ext>
              </a:extLst>
            </p:cNvPr>
            <p:cNvSpPr/>
            <p:nvPr/>
          </p:nvSpPr>
          <p:spPr>
            <a:xfrm>
              <a:off x="2887575" y="1998350"/>
              <a:ext cx="32225" cy="36750"/>
            </a:xfrm>
            <a:custGeom>
              <a:avLst/>
              <a:gdLst/>
              <a:ahLst/>
              <a:cxnLst/>
              <a:rect l="l" t="t" r="r" b="b"/>
              <a:pathLst>
                <a:path w="1289" h="1470" fill="none" extrusionOk="0">
                  <a:moveTo>
                    <a:pt x="1288" y="1"/>
                  </a:moveTo>
                  <a:lnTo>
                    <a:pt x="1288" y="1"/>
                  </a:lnTo>
                  <a:lnTo>
                    <a:pt x="972" y="68"/>
                  </a:lnTo>
                  <a:lnTo>
                    <a:pt x="656" y="114"/>
                  </a:lnTo>
                  <a:lnTo>
                    <a:pt x="656" y="114"/>
                  </a:lnTo>
                  <a:lnTo>
                    <a:pt x="339" y="136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294" y="1470"/>
                  </a:lnTo>
                  <a:lnTo>
                    <a:pt x="294" y="1470"/>
                  </a:lnTo>
                  <a:lnTo>
                    <a:pt x="678" y="1379"/>
                  </a:lnTo>
                  <a:lnTo>
                    <a:pt x="972" y="1289"/>
                  </a:lnTo>
                  <a:lnTo>
                    <a:pt x="972" y="1289"/>
                  </a:lnTo>
                  <a:lnTo>
                    <a:pt x="1288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5" name="Google Shape;1852;p16">
              <a:extLst>
                <a:ext uri="{FF2B5EF4-FFF2-40B4-BE49-F238E27FC236}">
                  <a16:creationId xmlns:a16="http://schemas.microsoft.com/office/drawing/2014/main" id="{F396BF1B-399E-D129-BFA6-7AFE259063D3}"/>
                </a:ext>
              </a:extLst>
            </p:cNvPr>
            <p:cNvSpPr/>
            <p:nvPr/>
          </p:nvSpPr>
          <p:spPr>
            <a:xfrm>
              <a:off x="2754775" y="1963325"/>
              <a:ext cx="140150" cy="74050"/>
            </a:xfrm>
            <a:custGeom>
              <a:avLst/>
              <a:gdLst/>
              <a:ahLst/>
              <a:cxnLst/>
              <a:rect l="l" t="t" r="r" b="b"/>
              <a:pathLst>
                <a:path w="5606" h="2962" extrusionOk="0">
                  <a:moveTo>
                    <a:pt x="656" y="0"/>
                  </a:moveTo>
                  <a:lnTo>
                    <a:pt x="543" y="181"/>
                  </a:lnTo>
                  <a:lnTo>
                    <a:pt x="430" y="385"/>
                  </a:lnTo>
                  <a:lnTo>
                    <a:pt x="249" y="769"/>
                  </a:lnTo>
                  <a:lnTo>
                    <a:pt x="91" y="1198"/>
                  </a:lnTo>
                  <a:lnTo>
                    <a:pt x="1" y="1628"/>
                  </a:lnTo>
                  <a:lnTo>
                    <a:pt x="1040" y="2080"/>
                  </a:lnTo>
                  <a:lnTo>
                    <a:pt x="1606" y="2283"/>
                  </a:lnTo>
                  <a:lnTo>
                    <a:pt x="2171" y="2464"/>
                  </a:lnTo>
                  <a:lnTo>
                    <a:pt x="2713" y="2645"/>
                  </a:lnTo>
                  <a:lnTo>
                    <a:pt x="3255" y="2780"/>
                  </a:lnTo>
                  <a:lnTo>
                    <a:pt x="3730" y="2871"/>
                  </a:lnTo>
                  <a:lnTo>
                    <a:pt x="4182" y="2939"/>
                  </a:lnTo>
                  <a:lnTo>
                    <a:pt x="4679" y="2961"/>
                  </a:lnTo>
                  <a:lnTo>
                    <a:pt x="5177" y="2939"/>
                  </a:lnTo>
                  <a:lnTo>
                    <a:pt x="5606" y="2871"/>
                  </a:lnTo>
                  <a:lnTo>
                    <a:pt x="5312" y="1537"/>
                  </a:lnTo>
                  <a:lnTo>
                    <a:pt x="5267" y="1537"/>
                  </a:lnTo>
                  <a:lnTo>
                    <a:pt x="4815" y="1515"/>
                  </a:lnTo>
                  <a:lnTo>
                    <a:pt x="4340" y="1469"/>
                  </a:lnTo>
                  <a:lnTo>
                    <a:pt x="4092" y="1402"/>
                  </a:lnTo>
                  <a:lnTo>
                    <a:pt x="3753" y="1289"/>
                  </a:lnTo>
                  <a:lnTo>
                    <a:pt x="2826" y="950"/>
                  </a:lnTo>
                  <a:lnTo>
                    <a:pt x="1741" y="498"/>
                  </a:lnTo>
                  <a:lnTo>
                    <a:pt x="656" y="0"/>
                  </a:lnTo>
                  <a:close/>
                </a:path>
              </a:pathLst>
            </a:custGeom>
            <a:solidFill>
              <a:srgbClr val="BA742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6" name="Google Shape;1853;p16">
              <a:extLst>
                <a:ext uri="{FF2B5EF4-FFF2-40B4-BE49-F238E27FC236}">
                  <a16:creationId xmlns:a16="http://schemas.microsoft.com/office/drawing/2014/main" id="{D361C667-0B71-0E82-4A05-8405073D216D}"/>
                </a:ext>
              </a:extLst>
            </p:cNvPr>
            <p:cNvSpPr/>
            <p:nvPr/>
          </p:nvSpPr>
          <p:spPr>
            <a:xfrm>
              <a:off x="2754775" y="1963325"/>
              <a:ext cx="140150" cy="74050"/>
            </a:xfrm>
            <a:custGeom>
              <a:avLst/>
              <a:gdLst/>
              <a:ahLst/>
              <a:cxnLst/>
              <a:rect l="l" t="t" r="r" b="b"/>
              <a:pathLst>
                <a:path w="5606" h="2962" fill="none" extrusionOk="0">
                  <a:moveTo>
                    <a:pt x="656" y="0"/>
                  </a:moveTo>
                  <a:lnTo>
                    <a:pt x="656" y="0"/>
                  </a:lnTo>
                  <a:lnTo>
                    <a:pt x="543" y="181"/>
                  </a:lnTo>
                  <a:lnTo>
                    <a:pt x="430" y="385"/>
                  </a:lnTo>
                  <a:lnTo>
                    <a:pt x="249" y="769"/>
                  </a:lnTo>
                  <a:lnTo>
                    <a:pt x="91" y="1198"/>
                  </a:lnTo>
                  <a:lnTo>
                    <a:pt x="1" y="1628"/>
                  </a:lnTo>
                  <a:lnTo>
                    <a:pt x="1" y="1628"/>
                  </a:lnTo>
                  <a:lnTo>
                    <a:pt x="1040" y="2080"/>
                  </a:lnTo>
                  <a:lnTo>
                    <a:pt x="1606" y="2283"/>
                  </a:lnTo>
                  <a:lnTo>
                    <a:pt x="2171" y="2464"/>
                  </a:lnTo>
                  <a:lnTo>
                    <a:pt x="2713" y="2645"/>
                  </a:lnTo>
                  <a:lnTo>
                    <a:pt x="3255" y="2780"/>
                  </a:lnTo>
                  <a:lnTo>
                    <a:pt x="3730" y="2871"/>
                  </a:lnTo>
                  <a:lnTo>
                    <a:pt x="4182" y="2939"/>
                  </a:lnTo>
                  <a:lnTo>
                    <a:pt x="4182" y="2939"/>
                  </a:lnTo>
                  <a:lnTo>
                    <a:pt x="4679" y="2961"/>
                  </a:lnTo>
                  <a:lnTo>
                    <a:pt x="4679" y="2961"/>
                  </a:lnTo>
                  <a:lnTo>
                    <a:pt x="5177" y="2939"/>
                  </a:lnTo>
                  <a:lnTo>
                    <a:pt x="5606" y="2871"/>
                  </a:lnTo>
                  <a:lnTo>
                    <a:pt x="5606" y="2871"/>
                  </a:lnTo>
                  <a:lnTo>
                    <a:pt x="5312" y="1537"/>
                  </a:lnTo>
                  <a:lnTo>
                    <a:pt x="5312" y="1537"/>
                  </a:lnTo>
                  <a:lnTo>
                    <a:pt x="5290" y="1537"/>
                  </a:lnTo>
                  <a:lnTo>
                    <a:pt x="5290" y="1537"/>
                  </a:lnTo>
                  <a:lnTo>
                    <a:pt x="5267" y="1537"/>
                  </a:lnTo>
                  <a:lnTo>
                    <a:pt x="5267" y="1537"/>
                  </a:lnTo>
                  <a:lnTo>
                    <a:pt x="4815" y="1515"/>
                  </a:lnTo>
                  <a:lnTo>
                    <a:pt x="4340" y="1469"/>
                  </a:lnTo>
                  <a:lnTo>
                    <a:pt x="4340" y="1469"/>
                  </a:lnTo>
                  <a:lnTo>
                    <a:pt x="4092" y="1402"/>
                  </a:lnTo>
                  <a:lnTo>
                    <a:pt x="3753" y="1289"/>
                  </a:lnTo>
                  <a:lnTo>
                    <a:pt x="2826" y="950"/>
                  </a:lnTo>
                  <a:lnTo>
                    <a:pt x="1741" y="498"/>
                  </a:lnTo>
                  <a:lnTo>
                    <a:pt x="65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7" name="Google Shape;1854;p16">
              <a:extLst>
                <a:ext uri="{FF2B5EF4-FFF2-40B4-BE49-F238E27FC236}">
                  <a16:creationId xmlns:a16="http://schemas.microsoft.com/office/drawing/2014/main" id="{A4490C19-8F23-C6AA-8E3A-A8154189004E}"/>
                </a:ext>
              </a:extLst>
            </p:cNvPr>
            <p:cNvSpPr/>
            <p:nvPr/>
          </p:nvSpPr>
          <p:spPr>
            <a:xfrm>
              <a:off x="2286375" y="1847500"/>
              <a:ext cx="717625" cy="175175"/>
            </a:xfrm>
            <a:custGeom>
              <a:avLst/>
              <a:gdLst/>
              <a:ahLst/>
              <a:cxnLst/>
              <a:rect l="l" t="t" r="r" b="b"/>
              <a:pathLst>
                <a:path w="28705" h="7007" extrusionOk="0">
                  <a:moveTo>
                    <a:pt x="791" y="0"/>
                  </a:moveTo>
                  <a:lnTo>
                    <a:pt x="543" y="23"/>
                  </a:lnTo>
                  <a:lnTo>
                    <a:pt x="362" y="68"/>
                  </a:lnTo>
                  <a:lnTo>
                    <a:pt x="204" y="136"/>
                  </a:lnTo>
                  <a:lnTo>
                    <a:pt x="136" y="181"/>
                  </a:lnTo>
                  <a:lnTo>
                    <a:pt x="91" y="249"/>
                  </a:lnTo>
                  <a:lnTo>
                    <a:pt x="45" y="294"/>
                  </a:lnTo>
                  <a:lnTo>
                    <a:pt x="23" y="362"/>
                  </a:lnTo>
                  <a:lnTo>
                    <a:pt x="0" y="520"/>
                  </a:lnTo>
                  <a:lnTo>
                    <a:pt x="23" y="723"/>
                  </a:lnTo>
                  <a:lnTo>
                    <a:pt x="68" y="927"/>
                  </a:lnTo>
                  <a:lnTo>
                    <a:pt x="158" y="1153"/>
                  </a:lnTo>
                  <a:lnTo>
                    <a:pt x="271" y="1379"/>
                  </a:lnTo>
                  <a:lnTo>
                    <a:pt x="430" y="1605"/>
                  </a:lnTo>
                  <a:lnTo>
                    <a:pt x="610" y="1808"/>
                  </a:lnTo>
                  <a:lnTo>
                    <a:pt x="814" y="2012"/>
                  </a:lnTo>
                  <a:lnTo>
                    <a:pt x="972" y="2102"/>
                  </a:lnTo>
                  <a:lnTo>
                    <a:pt x="1266" y="2260"/>
                  </a:lnTo>
                  <a:lnTo>
                    <a:pt x="2080" y="2622"/>
                  </a:lnTo>
                  <a:lnTo>
                    <a:pt x="3187" y="3074"/>
                  </a:lnTo>
                  <a:lnTo>
                    <a:pt x="4453" y="3548"/>
                  </a:lnTo>
                  <a:lnTo>
                    <a:pt x="5741" y="4023"/>
                  </a:lnTo>
                  <a:lnTo>
                    <a:pt x="6984" y="4453"/>
                  </a:lnTo>
                  <a:lnTo>
                    <a:pt x="8069" y="4769"/>
                  </a:lnTo>
                  <a:lnTo>
                    <a:pt x="8498" y="4882"/>
                  </a:lnTo>
                  <a:lnTo>
                    <a:pt x="8860" y="4950"/>
                  </a:lnTo>
                  <a:lnTo>
                    <a:pt x="9267" y="4995"/>
                  </a:lnTo>
                  <a:lnTo>
                    <a:pt x="9674" y="5018"/>
                  </a:lnTo>
                  <a:lnTo>
                    <a:pt x="10103" y="5018"/>
                  </a:lnTo>
                  <a:lnTo>
                    <a:pt x="10510" y="4995"/>
                  </a:lnTo>
                  <a:lnTo>
                    <a:pt x="10917" y="4927"/>
                  </a:lnTo>
                  <a:lnTo>
                    <a:pt x="11346" y="4882"/>
                  </a:lnTo>
                  <a:lnTo>
                    <a:pt x="12160" y="4701"/>
                  </a:lnTo>
                  <a:lnTo>
                    <a:pt x="12951" y="4520"/>
                  </a:lnTo>
                  <a:lnTo>
                    <a:pt x="13719" y="4340"/>
                  </a:lnTo>
                  <a:lnTo>
                    <a:pt x="14420" y="4181"/>
                  </a:lnTo>
                  <a:lnTo>
                    <a:pt x="14782" y="4114"/>
                  </a:lnTo>
                  <a:lnTo>
                    <a:pt x="15098" y="4068"/>
                  </a:lnTo>
                  <a:lnTo>
                    <a:pt x="15369" y="4046"/>
                  </a:lnTo>
                  <a:lnTo>
                    <a:pt x="15866" y="4046"/>
                  </a:lnTo>
                  <a:lnTo>
                    <a:pt x="16115" y="4091"/>
                  </a:lnTo>
                  <a:lnTo>
                    <a:pt x="16386" y="4159"/>
                  </a:lnTo>
                  <a:lnTo>
                    <a:pt x="16657" y="4249"/>
                  </a:lnTo>
                  <a:lnTo>
                    <a:pt x="17290" y="4475"/>
                  </a:lnTo>
                  <a:lnTo>
                    <a:pt x="17991" y="4769"/>
                  </a:lnTo>
                  <a:lnTo>
                    <a:pt x="18714" y="5108"/>
                  </a:lnTo>
                  <a:lnTo>
                    <a:pt x="19822" y="5650"/>
                  </a:lnTo>
                  <a:lnTo>
                    <a:pt x="20952" y="6170"/>
                  </a:lnTo>
                  <a:lnTo>
                    <a:pt x="21494" y="6396"/>
                  </a:lnTo>
                  <a:lnTo>
                    <a:pt x="22014" y="6622"/>
                  </a:lnTo>
                  <a:lnTo>
                    <a:pt x="22489" y="6780"/>
                  </a:lnTo>
                  <a:lnTo>
                    <a:pt x="22963" y="6916"/>
                  </a:lnTo>
                  <a:lnTo>
                    <a:pt x="23370" y="6984"/>
                  </a:lnTo>
                  <a:lnTo>
                    <a:pt x="23732" y="7007"/>
                  </a:lnTo>
                  <a:lnTo>
                    <a:pt x="24093" y="7007"/>
                  </a:lnTo>
                  <a:lnTo>
                    <a:pt x="24432" y="6961"/>
                  </a:lnTo>
                  <a:lnTo>
                    <a:pt x="24794" y="6893"/>
                  </a:lnTo>
                  <a:lnTo>
                    <a:pt x="25133" y="6780"/>
                  </a:lnTo>
                  <a:lnTo>
                    <a:pt x="25472" y="6690"/>
                  </a:lnTo>
                  <a:lnTo>
                    <a:pt x="25811" y="6554"/>
                  </a:lnTo>
                  <a:lnTo>
                    <a:pt x="26105" y="6441"/>
                  </a:lnTo>
                  <a:lnTo>
                    <a:pt x="26670" y="6170"/>
                  </a:lnTo>
                  <a:lnTo>
                    <a:pt x="27145" y="5922"/>
                  </a:lnTo>
                  <a:lnTo>
                    <a:pt x="27484" y="5718"/>
                  </a:lnTo>
                  <a:lnTo>
                    <a:pt x="27710" y="5628"/>
                  </a:lnTo>
                  <a:lnTo>
                    <a:pt x="27755" y="5605"/>
                  </a:lnTo>
                  <a:lnTo>
                    <a:pt x="27777" y="5605"/>
                  </a:lnTo>
                  <a:lnTo>
                    <a:pt x="27868" y="5718"/>
                  </a:lnTo>
                  <a:lnTo>
                    <a:pt x="27958" y="5809"/>
                  </a:lnTo>
                  <a:lnTo>
                    <a:pt x="28094" y="5876"/>
                  </a:lnTo>
                  <a:lnTo>
                    <a:pt x="28297" y="5899"/>
                  </a:lnTo>
                  <a:lnTo>
                    <a:pt x="28365" y="5876"/>
                  </a:lnTo>
                  <a:lnTo>
                    <a:pt x="28433" y="5831"/>
                  </a:lnTo>
                  <a:lnTo>
                    <a:pt x="28501" y="5786"/>
                  </a:lnTo>
                  <a:lnTo>
                    <a:pt x="28546" y="5696"/>
                  </a:lnTo>
                  <a:lnTo>
                    <a:pt x="28636" y="5492"/>
                  </a:lnTo>
                  <a:lnTo>
                    <a:pt x="28681" y="5311"/>
                  </a:lnTo>
                  <a:lnTo>
                    <a:pt x="28704" y="5221"/>
                  </a:lnTo>
                  <a:lnTo>
                    <a:pt x="28704" y="5131"/>
                  </a:lnTo>
                  <a:lnTo>
                    <a:pt x="28681" y="5018"/>
                  </a:lnTo>
                  <a:lnTo>
                    <a:pt x="28636" y="4905"/>
                  </a:lnTo>
                  <a:lnTo>
                    <a:pt x="28591" y="4814"/>
                  </a:lnTo>
                  <a:lnTo>
                    <a:pt x="28501" y="4701"/>
                  </a:lnTo>
                  <a:lnTo>
                    <a:pt x="28388" y="4633"/>
                  </a:lnTo>
                  <a:lnTo>
                    <a:pt x="28229" y="4566"/>
                  </a:lnTo>
                  <a:lnTo>
                    <a:pt x="28116" y="4543"/>
                  </a:lnTo>
                  <a:lnTo>
                    <a:pt x="28003" y="4543"/>
                  </a:lnTo>
                  <a:lnTo>
                    <a:pt x="27913" y="4566"/>
                  </a:lnTo>
                  <a:lnTo>
                    <a:pt x="27845" y="4588"/>
                  </a:lnTo>
                  <a:lnTo>
                    <a:pt x="27664" y="4656"/>
                  </a:lnTo>
                  <a:lnTo>
                    <a:pt x="27438" y="4769"/>
                  </a:lnTo>
                  <a:lnTo>
                    <a:pt x="26806" y="5040"/>
                  </a:lnTo>
                  <a:lnTo>
                    <a:pt x="26467" y="5153"/>
                  </a:lnTo>
                  <a:lnTo>
                    <a:pt x="26105" y="5289"/>
                  </a:lnTo>
                  <a:lnTo>
                    <a:pt x="25721" y="5379"/>
                  </a:lnTo>
                  <a:lnTo>
                    <a:pt x="25336" y="5470"/>
                  </a:lnTo>
                  <a:lnTo>
                    <a:pt x="24930" y="5537"/>
                  </a:lnTo>
                  <a:lnTo>
                    <a:pt x="24523" y="5560"/>
                  </a:lnTo>
                  <a:lnTo>
                    <a:pt x="24206" y="5583"/>
                  </a:lnTo>
                  <a:lnTo>
                    <a:pt x="23890" y="5583"/>
                  </a:lnTo>
                  <a:lnTo>
                    <a:pt x="23551" y="5537"/>
                  </a:lnTo>
                  <a:lnTo>
                    <a:pt x="23212" y="5492"/>
                  </a:lnTo>
                  <a:lnTo>
                    <a:pt x="23008" y="5447"/>
                  </a:lnTo>
                  <a:lnTo>
                    <a:pt x="22782" y="5357"/>
                  </a:lnTo>
                  <a:lnTo>
                    <a:pt x="22534" y="5244"/>
                  </a:lnTo>
                  <a:lnTo>
                    <a:pt x="22285" y="5108"/>
                  </a:lnTo>
                  <a:lnTo>
                    <a:pt x="21743" y="4792"/>
                  </a:lnTo>
                  <a:lnTo>
                    <a:pt x="21155" y="4407"/>
                  </a:lnTo>
                  <a:lnTo>
                    <a:pt x="19889" y="3548"/>
                  </a:lnTo>
                  <a:lnTo>
                    <a:pt x="19234" y="3119"/>
                  </a:lnTo>
                  <a:lnTo>
                    <a:pt x="18579" y="2712"/>
                  </a:lnTo>
                  <a:lnTo>
                    <a:pt x="18014" y="2441"/>
                  </a:lnTo>
                  <a:lnTo>
                    <a:pt x="17742" y="2305"/>
                  </a:lnTo>
                  <a:lnTo>
                    <a:pt x="17471" y="2215"/>
                  </a:lnTo>
                  <a:lnTo>
                    <a:pt x="17177" y="2125"/>
                  </a:lnTo>
                  <a:lnTo>
                    <a:pt x="16906" y="2034"/>
                  </a:lnTo>
                  <a:lnTo>
                    <a:pt x="16635" y="1989"/>
                  </a:lnTo>
                  <a:lnTo>
                    <a:pt x="16386" y="1944"/>
                  </a:lnTo>
                  <a:lnTo>
                    <a:pt x="15934" y="1944"/>
                  </a:lnTo>
                  <a:lnTo>
                    <a:pt x="15527" y="1966"/>
                  </a:lnTo>
                  <a:lnTo>
                    <a:pt x="15121" y="2034"/>
                  </a:lnTo>
                  <a:lnTo>
                    <a:pt x="14736" y="2125"/>
                  </a:lnTo>
                  <a:lnTo>
                    <a:pt x="14352" y="2238"/>
                  </a:lnTo>
                  <a:lnTo>
                    <a:pt x="13968" y="2351"/>
                  </a:lnTo>
                  <a:lnTo>
                    <a:pt x="13199" y="2622"/>
                  </a:lnTo>
                  <a:lnTo>
                    <a:pt x="12793" y="2757"/>
                  </a:lnTo>
                  <a:lnTo>
                    <a:pt x="12386" y="2893"/>
                  </a:lnTo>
                  <a:lnTo>
                    <a:pt x="11956" y="3006"/>
                  </a:lnTo>
                  <a:lnTo>
                    <a:pt x="11482" y="3096"/>
                  </a:lnTo>
                  <a:lnTo>
                    <a:pt x="10985" y="3164"/>
                  </a:lnTo>
                  <a:lnTo>
                    <a:pt x="10465" y="3187"/>
                  </a:lnTo>
                  <a:lnTo>
                    <a:pt x="9877" y="3164"/>
                  </a:lnTo>
                  <a:lnTo>
                    <a:pt x="9267" y="3096"/>
                  </a:lnTo>
                  <a:lnTo>
                    <a:pt x="8634" y="2983"/>
                  </a:lnTo>
                  <a:lnTo>
                    <a:pt x="8001" y="2848"/>
                  </a:lnTo>
                  <a:lnTo>
                    <a:pt x="7391" y="2667"/>
                  </a:lnTo>
                  <a:lnTo>
                    <a:pt x="6803" y="2441"/>
                  </a:lnTo>
                  <a:lnTo>
                    <a:pt x="6216" y="2215"/>
                  </a:lnTo>
                  <a:lnTo>
                    <a:pt x="5673" y="1966"/>
                  </a:lnTo>
                  <a:lnTo>
                    <a:pt x="5131" y="1718"/>
                  </a:lnTo>
                  <a:lnTo>
                    <a:pt x="4611" y="1469"/>
                  </a:lnTo>
                  <a:lnTo>
                    <a:pt x="3684" y="972"/>
                  </a:lnTo>
                  <a:lnTo>
                    <a:pt x="2893" y="543"/>
                  </a:lnTo>
                  <a:lnTo>
                    <a:pt x="2554" y="362"/>
                  </a:lnTo>
                  <a:lnTo>
                    <a:pt x="2238" y="226"/>
                  </a:lnTo>
                  <a:lnTo>
                    <a:pt x="1989" y="113"/>
                  </a:lnTo>
                  <a:lnTo>
                    <a:pt x="1763" y="68"/>
                  </a:lnTo>
                  <a:lnTo>
                    <a:pt x="1402" y="45"/>
                  </a:lnTo>
                  <a:lnTo>
                    <a:pt x="1085" y="23"/>
                  </a:lnTo>
                  <a:lnTo>
                    <a:pt x="791" y="0"/>
                  </a:lnTo>
                  <a:close/>
                </a:path>
              </a:pathLst>
            </a:custGeom>
            <a:solidFill>
              <a:srgbClr val="F4AD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61" name="Speech Bubble: Rectangle 260">
            <a:extLst>
              <a:ext uri="{FF2B5EF4-FFF2-40B4-BE49-F238E27FC236}">
                <a16:creationId xmlns:a16="http://schemas.microsoft.com/office/drawing/2014/main" id="{07E35234-48A8-B6CB-4521-3F47AEE39321}"/>
              </a:ext>
            </a:extLst>
          </p:cNvPr>
          <p:cNvSpPr/>
          <p:nvPr/>
        </p:nvSpPr>
        <p:spPr>
          <a:xfrm>
            <a:off x="7707474" y="4021947"/>
            <a:ext cx="1834269" cy="676710"/>
          </a:xfrm>
          <a:prstGeom prst="wedgeRectCallout">
            <a:avLst/>
          </a:prstGeom>
          <a:solidFill>
            <a:srgbClr val="1C33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/>
              <a:t>Vi må skape bedre dialog mellom partene</a:t>
            </a:r>
          </a:p>
        </p:txBody>
      </p:sp>
      <p:sp>
        <p:nvSpPr>
          <p:cNvPr id="262" name="Speech Bubble: Rectangle 261">
            <a:extLst>
              <a:ext uri="{FF2B5EF4-FFF2-40B4-BE49-F238E27FC236}">
                <a16:creationId xmlns:a16="http://schemas.microsoft.com/office/drawing/2014/main" id="{7683EDEF-AD6A-8351-210F-79D14C6A4DAB}"/>
              </a:ext>
            </a:extLst>
          </p:cNvPr>
          <p:cNvSpPr/>
          <p:nvPr/>
        </p:nvSpPr>
        <p:spPr>
          <a:xfrm>
            <a:off x="4794803" y="2481594"/>
            <a:ext cx="2052833" cy="501952"/>
          </a:xfrm>
          <a:prstGeom prst="wedgeRectCallout">
            <a:avLst/>
          </a:prstGeom>
          <a:solidFill>
            <a:srgbClr val="1C33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/>
              <a:t>Tidlig involvering av alle viktige aktører så fort som mulig</a:t>
            </a:r>
          </a:p>
        </p:txBody>
      </p:sp>
      <p:sp>
        <p:nvSpPr>
          <p:cNvPr id="263" name="Speech Bubble: Rectangle 262">
            <a:extLst>
              <a:ext uri="{FF2B5EF4-FFF2-40B4-BE49-F238E27FC236}">
                <a16:creationId xmlns:a16="http://schemas.microsoft.com/office/drawing/2014/main" id="{34D5C6E4-2627-3D91-EB35-1710E3B5F4F3}"/>
              </a:ext>
            </a:extLst>
          </p:cNvPr>
          <p:cNvSpPr/>
          <p:nvPr/>
        </p:nvSpPr>
        <p:spPr>
          <a:xfrm>
            <a:off x="7199657" y="2732570"/>
            <a:ext cx="4359394" cy="501952"/>
          </a:xfrm>
          <a:prstGeom prst="wedgeRectCallout">
            <a:avLst/>
          </a:prstGeom>
          <a:solidFill>
            <a:srgbClr val="1C33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/>
              <a:t>Involvering så tidlig som mulig, men innholdet MÅ være matnyttig. Det må tas vurderinger om når prosjektet er klart for offentlig interesse</a:t>
            </a:r>
          </a:p>
        </p:txBody>
      </p:sp>
    </p:spTree>
    <p:extLst>
      <p:ext uri="{BB962C8B-B14F-4D97-AF65-F5344CB8AC3E}">
        <p14:creationId xmlns:p14="http://schemas.microsoft.com/office/powerpoint/2010/main" val="906800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51" grpId="0" animBg="1"/>
      <p:bldP spid="52" grpId="0" animBg="1"/>
      <p:bldP spid="13" grpId="0" animBg="1"/>
      <p:bldP spid="15" grpId="0" animBg="1"/>
      <p:bldP spid="28" grpId="0" animBg="1"/>
      <p:bldP spid="30" grpId="0" animBg="1"/>
      <p:bldP spid="2" grpId="0" build="p"/>
      <p:bldP spid="32" grpId="0" animBg="1"/>
      <p:bldP spid="33" grpId="0" animBg="1"/>
      <p:bldP spid="45" grpId="0" animBg="1"/>
      <p:bldP spid="47" grpId="0" animBg="1"/>
      <p:bldP spid="53" grpId="0" animBg="1"/>
      <p:bldP spid="54" grpId="0" animBg="1"/>
      <p:bldP spid="55" grpId="0" animBg="1"/>
      <p:bldP spid="57" grpId="0" animBg="1"/>
      <p:bldP spid="261" grpId="0" animBg="1"/>
      <p:bldP spid="262" grpId="0" animBg="1"/>
      <p:bldP spid="26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3E9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CFF2C571-FEEF-5C72-81D1-D97CBF7AD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7670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F2C571-FEEF-5C72-81D1-D97CBF7AD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7294CC65-54CC-6D1B-FE6C-21C43A7A815E}"/>
              </a:ext>
            </a:extLst>
          </p:cNvPr>
          <p:cNvSpPr/>
          <p:nvPr/>
        </p:nvSpPr>
        <p:spPr>
          <a:xfrm>
            <a:off x="8220076" y="2100687"/>
            <a:ext cx="3522715" cy="4068800"/>
          </a:xfrm>
          <a:prstGeom prst="rect">
            <a:avLst/>
          </a:prstGeom>
          <a:solidFill>
            <a:srgbClr val="F3F3F3"/>
          </a:solidFill>
          <a:ln w="63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  <a:p>
            <a:pPr algn="ctr"/>
            <a:endParaRPr lang="nb-NO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77ED752-501F-B6A9-C382-3DAC110B4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27218"/>
            <a:ext cx="11306000" cy="1091981"/>
          </a:xfrm>
        </p:spPr>
        <p:txBody>
          <a:bodyPr vert="horz"/>
          <a:lstStyle/>
          <a:p>
            <a:r>
              <a:rPr lang="nb-NO"/>
              <a:t>Deltakerne peker på behov for målrettede medvirknings-prosesser for å nå de som i dag ikke blir hørt</a:t>
            </a: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72210758-694C-8E2A-BC76-73F1362E0CC3}"/>
              </a:ext>
            </a:extLst>
          </p:cNvPr>
          <p:cNvSpPr/>
          <p:nvPr/>
        </p:nvSpPr>
        <p:spPr>
          <a:xfrm>
            <a:off x="-24505" y="20600"/>
            <a:ext cx="3722451" cy="312945"/>
          </a:xfrm>
          <a:prstGeom prst="homePlate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100"/>
              <a:t>2.  Hvordan jobber vi smartere sammen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768D608-0A07-B1E2-501A-11E3CDC83E17}"/>
              </a:ext>
            </a:extLst>
          </p:cNvPr>
          <p:cNvSpPr/>
          <p:nvPr/>
        </p:nvSpPr>
        <p:spPr>
          <a:xfrm>
            <a:off x="442723" y="2100686"/>
            <a:ext cx="3522715" cy="2061616"/>
          </a:xfrm>
          <a:prstGeom prst="rect">
            <a:avLst/>
          </a:prstGeom>
          <a:solidFill>
            <a:srgbClr val="F3F3F3"/>
          </a:solidFill>
          <a:ln w="63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endParaRPr lang="nb-NO" sz="1400">
              <a:solidFill>
                <a:schemeClr val="tx1"/>
              </a:solidFill>
            </a:endParaRPr>
          </a:p>
          <a:p>
            <a:r>
              <a:rPr lang="nb-NO" sz="1400">
                <a:solidFill>
                  <a:schemeClr val="tx1"/>
                </a:solidFill>
              </a:rPr>
              <a:t>Kommunen</a:t>
            </a:r>
          </a:p>
          <a:p>
            <a:r>
              <a:rPr lang="nb-NO" sz="1400">
                <a:solidFill>
                  <a:schemeClr val="tx1"/>
                </a:solidFill>
              </a:rPr>
              <a:t>Utbyggere og utviklere</a:t>
            </a:r>
          </a:p>
          <a:p>
            <a:r>
              <a:rPr lang="nb-NO" sz="1400">
                <a:solidFill>
                  <a:schemeClr val="tx1"/>
                </a:solidFill>
              </a:rPr>
              <a:t>Opprørene og media</a:t>
            </a:r>
          </a:p>
          <a:p>
            <a:r>
              <a:rPr lang="nb-NO" sz="1400">
                <a:solidFill>
                  <a:schemeClr val="tx1"/>
                </a:solidFill>
              </a:rPr>
              <a:t>Næringsinteresser</a:t>
            </a:r>
          </a:p>
          <a:p>
            <a:r>
              <a:rPr lang="nb-NO" sz="1400">
                <a:solidFill>
                  <a:schemeClr val="tx1"/>
                </a:solidFill>
              </a:rPr>
              <a:t>Ressurssterke mennesker</a:t>
            </a:r>
          </a:p>
          <a:p>
            <a:r>
              <a:rPr lang="nb-NO" sz="1400">
                <a:solidFill>
                  <a:schemeClr val="tx1"/>
                </a:solidFill>
              </a:rPr>
              <a:t>«Hvite menn i 50 årene»</a:t>
            </a:r>
          </a:p>
          <a:p>
            <a:r>
              <a:rPr lang="nb-NO" sz="1400">
                <a:solidFill>
                  <a:schemeClr val="tx1"/>
                </a:solidFill>
              </a:rPr>
              <a:t>Lobbyorganisasjoner</a:t>
            </a:r>
          </a:p>
        </p:txBody>
      </p:sp>
      <p:sp>
        <p:nvSpPr>
          <p:cNvPr id="9" name="Google Shape;756;p16">
            <a:extLst>
              <a:ext uri="{FF2B5EF4-FFF2-40B4-BE49-F238E27FC236}">
                <a16:creationId xmlns:a16="http://schemas.microsoft.com/office/drawing/2014/main" id="{0F17A278-D611-58E9-9EF1-7449AFF5AA8B}"/>
              </a:ext>
            </a:extLst>
          </p:cNvPr>
          <p:cNvSpPr/>
          <p:nvPr/>
        </p:nvSpPr>
        <p:spPr>
          <a:xfrm>
            <a:off x="442724" y="1935951"/>
            <a:ext cx="2148993" cy="2476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SzPts val="700"/>
            </a:pPr>
            <a:r>
              <a:rPr lang="en" sz="933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TEMMER VI HØRER FRA I DAG</a:t>
            </a:r>
            <a:endParaRPr sz="933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FEDE2E-8171-FD3F-E3B9-8A5511EB3263}"/>
              </a:ext>
            </a:extLst>
          </p:cNvPr>
          <p:cNvSpPr/>
          <p:nvPr/>
        </p:nvSpPr>
        <p:spPr>
          <a:xfrm>
            <a:off x="4338773" y="2075047"/>
            <a:ext cx="3522715" cy="2084899"/>
          </a:xfrm>
          <a:prstGeom prst="rect">
            <a:avLst/>
          </a:prstGeom>
          <a:solidFill>
            <a:srgbClr val="F3F3F3"/>
          </a:solidFill>
          <a:ln w="63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endParaRPr lang="nb-NO" sz="1400">
              <a:solidFill>
                <a:schemeClr val="tx1"/>
              </a:solidFill>
            </a:endParaRPr>
          </a:p>
          <a:p>
            <a:r>
              <a:rPr lang="nb-NO" sz="1400">
                <a:solidFill>
                  <a:schemeClr val="tx1"/>
                </a:solidFill>
              </a:rPr>
              <a:t>Barn og unge</a:t>
            </a:r>
          </a:p>
          <a:p>
            <a:r>
              <a:rPr lang="nb-NO" sz="1400">
                <a:solidFill>
                  <a:schemeClr val="tx1"/>
                </a:solidFill>
              </a:rPr>
              <a:t>Gjennomsnittsmennesket og den tause majoritet</a:t>
            </a:r>
          </a:p>
          <a:p>
            <a:r>
              <a:rPr lang="nb-NO" sz="1400">
                <a:solidFill>
                  <a:schemeClr val="tx1"/>
                </a:solidFill>
              </a:rPr>
              <a:t>Naturen</a:t>
            </a:r>
          </a:p>
          <a:p>
            <a:r>
              <a:rPr lang="nb-NO" sz="1400">
                <a:solidFill>
                  <a:schemeClr val="tx1"/>
                </a:solidFill>
              </a:rPr>
              <a:t>De uten muligheter</a:t>
            </a:r>
          </a:p>
          <a:p>
            <a:r>
              <a:rPr lang="nb-NO" sz="1400">
                <a:solidFill>
                  <a:schemeClr val="tx1"/>
                </a:solidFill>
              </a:rPr>
              <a:t>Tilflyttere, innvandrere og flyktninger</a:t>
            </a:r>
          </a:p>
          <a:p>
            <a:r>
              <a:rPr lang="nb-NO" sz="1400">
                <a:solidFill>
                  <a:schemeClr val="tx1"/>
                </a:solidFill>
              </a:rPr>
              <a:t>Småbarnsforeldre</a:t>
            </a:r>
          </a:p>
          <a:p>
            <a:r>
              <a:rPr lang="nb-NO" sz="1400">
                <a:solidFill>
                  <a:schemeClr val="tx1"/>
                </a:solidFill>
              </a:rPr>
              <a:t>Lavt utdannede grupper</a:t>
            </a:r>
          </a:p>
          <a:p>
            <a:endParaRPr lang="nb-NO" sz="1400">
              <a:solidFill>
                <a:schemeClr val="tx1"/>
              </a:solidFill>
            </a:endParaRPr>
          </a:p>
        </p:txBody>
      </p:sp>
      <p:sp>
        <p:nvSpPr>
          <p:cNvPr id="11" name="Google Shape;756;p16">
            <a:extLst>
              <a:ext uri="{FF2B5EF4-FFF2-40B4-BE49-F238E27FC236}">
                <a16:creationId xmlns:a16="http://schemas.microsoft.com/office/drawing/2014/main" id="{E937BAEE-0912-8A9A-5266-0F916A4264FA}"/>
              </a:ext>
            </a:extLst>
          </p:cNvPr>
          <p:cNvSpPr/>
          <p:nvPr/>
        </p:nvSpPr>
        <p:spPr>
          <a:xfrm>
            <a:off x="4332287" y="1910312"/>
            <a:ext cx="2515985" cy="2476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SzPts val="700"/>
            </a:pPr>
            <a:r>
              <a:rPr lang="en" sz="933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UNDERREPRESENTERTE STEMMER</a:t>
            </a:r>
            <a:endParaRPr sz="933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067C74-1F2E-F3BE-2152-1D9603609B3A}"/>
              </a:ext>
            </a:extLst>
          </p:cNvPr>
          <p:cNvSpPr/>
          <p:nvPr/>
        </p:nvSpPr>
        <p:spPr>
          <a:xfrm>
            <a:off x="442723" y="4353964"/>
            <a:ext cx="7418765" cy="178413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nb-NO" sz="1400"/>
          </a:p>
        </p:txBody>
      </p:sp>
      <p:sp>
        <p:nvSpPr>
          <p:cNvPr id="13" name="Google Shape;756;p16">
            <a:extLst>
              <a:ext uri="{FF2B5EF4-FFF2-40B4-BE49-F238E27FC236}">
                <a16:creationId xmlns:a16="http://schemas.microsoft.com/office/drawing/2014/main" id="{4F3DA436-5C9D-2013-5C5F-64DE516FD00C}"/>
              </a:ext>
            </a:extLst>
          </p:cNvPr>
          <p:cNvSpPr/>
          <p:nvPr/>
        </p:nvSpPr>
        <p:spPr>
          <a:xfrm>
            <a:off x="442723" y="4236802"/>
            <a:ext cx="3098145" cy="2476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SzPts val="700"/>
            </a:pPr>
            <a:r>
              <a:rPr lang="en" sz="933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VORDAN ENGASJERE LOKALSAMFUNNET</a:t>
            </a:r>
            <a:endParaRPr sz="933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Speech Bubble: Rectangle 14">
            <a:extLst>
              <a:ext uri="{FF2B5EF4-FFF2-40B4-BE49-F238E27FC236}">
                <a16:creationId xmlns:a16="http://schemas.microsoft.com/office/drawing/2014/main" id="{3B688F4B-8A25-7A72-1917-677E54B47605}"/>
              </a:ext>
            </a:extLst>
          </p:cNvPr>
          <p:cNvSpPr/>
          <p:nvPr/>
        </p:nvSpPr>
        <p:spPr>
          <a:xfrm>
            <a:off x="9124545" y="2183551"/>
            <a:ext cx="2503860" cy="362077"/>
          </a:xfrm>
          <a:prstGeom prst="wedgeRectCallout">
            <a:avLst/>
          </a:prstGeom>
          <a:solidFill>
            <a:srgbClr val="1C33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/>
              <a:t>Fagspråk kan virke ekskluderend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53673B3-D5DD-C51D-70AD-F82801B16CBA}"/>
              </a:ext>
            </a:extLst>
          </p:cNvPr>
          <p:cNvSpPr txBox="1"/>
          <p:nvPr/>
        </p:nvSpPr>
        <p:spPr>
          <a:xfrm>
            <a:off x="534817" y="4465701"/>
            <a:ext cx="7104638" cy="18158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sz="1400" b="1"/>
              <a:t>Målrettet medvirkning: </a:t>
            </a:r>
            <a:r>
              <a:rPr lang="nb-NO" sz="1400"/>
              <a:t>Oppsøk folk der de er (barnehage, skole, eldrehjem osv.)</a:t>
            </a:r>
          </a:p>
          <a:p>
            <a:endParaRPr lang="nb-NO" sz="1400" b="1"/>
          </a:p>
          <a:p>
            <a:r>
              <a:rPr lang="nb-NO" sz="1400" b="1"/>
              <a:t>Mindre og flere forum</a:t>
            </a:r>
            <a:r>
              <a:rPr lang="nb-NO" sz="1400"/>
              <a:t>: Lokale medvirkningsmøter, «pop-up-lokaler», workshops</a:t>
            </a:r>
          </a:p>
          <a:p>
            <a:endParaRPr lang="nb-NO" sz="1400" b="1"/>
          </a:p>
          <a:p>
            <a:r>
              <a:rPr lang="nb-NO" sz="1400" b="1"/>
              <a:t>Kommunikasjon: </a:t>
            </a:r>
            <a:r>
              <a:rPr lang="nb-NO" sz="1400"/>
              <a:t>Spisset mot enkelte grupper og bruk av visualisering</a:t>
            </a:r>
          </a:p>
          <a:p>
            <a:endParaRPr lang="nb-NO" sz="1400" b="1"/>
          </a:p>
          <a:p>
            <a:r>
              <a:rPr lang="nb-NO" sz="1400" b="1"/>
              <a:t>Metodikk: </a:t>
            </a:r>
            <a:r>
              <a:rPr lang="nb-NO" sz="1400"/>
              <a:t>Tilpasset målgruppen (bydelskahoot, minecraft osv.)</a:t>
            </a:r>
          </a:p>
          <a:p>
            <a:r>
              <a:rPr lang="nb-NO" sz="14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9" name="Speech Bubble: Rectangle 18">
            <a:extLst>
              <a:ext uri="{FF2B5EF4-FFF2-40B4-BE49-F238E27FC236}">
                <a16:creationId xmlns:a16="http://schemas.microsoft.com/office/drawing/2014/main" id="{882C312A-5B39-E59C-1D43-1218CFDB7A87}"/>
              </a:ext>
            </a:extLst>
          </p:cNvPr>
          <p:cNvSpPr/>
          <p:nvPr/>
        </p:nvSpPr>
        <p:spPr>
          <a:xfrm>
            <a:off x="8382000" y="2705602"/>
            <a:ext cx="2503860" cy="362077"/>
          </a:xfrm>
          <a:prstGeom prst="wedgeRectCallout">
            <a:avLst/>
          </a:prstGeom>
          <a:solidFill>
            <a:srgbClr val="1C33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/>
              <a:t>Gjøre flere i stand til å ytre seg</a:t>
            </a:r>
          </a:p>
        </p:txBody>
      </p:sp>
      <p:sp>
        <p:nvSpPr>
          <p:cNvPr id="20" name="Speech Bubble: Rectangle 19">
            <a:extLst>
              <a:ext uri="{FF2B5EF4-FFF2-40B4-BE49-F238E27FC236}">
                <a16:creationId xmlns:a16="http://schemas.microsoft.com/office/drawing/2014/main" id="{96873F79-F9DA-962C-448E-528A5CBCCB04}"/>
              </a:ext>
            </a:extLst>
          </p:cNvPr>
          <p:cNvSpPr/>
          <p:nvPr/>
        </p:nvSpPr>
        <p:spPr>
          <a:xfrm>
            <a:off x="9500681" y="3142549"/>
            <a:ext cx="2127724" cy="520646"/>
          </a:xfrm>
          <a:prstGeom prst="wedgeRectCallout">
            <a:avLst/>
          </a:prstGeom>
          <a:solidFill>
            <a:srgbClr val="1C33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/>
              <a:t>Vise at det å gi innspill fører til noe, det betyr noe og du blir hørt</a:t>
            </a:r>
          </a:p>
        </p:txBody>
      </p:sp>
      <p:sp>
        <p:nvSpPr>
          <p:cNvPr id="21" name="Speech Bubble: Rectangle 20">
            <a:extLst>
              <a:ext uri="{FF2B5EF4-FFF2-40B4-BE49-F238E27FC236}">
                <a16:creationId xmlns:a16="http://schemas.microsoft.com/office/drawing/2014/main" id="{53D911ED-513E-0ED6-0311-754C1F2F8162}"/>
              </a:ext>
            </a:extLst>
          </p:cNvPr>
          <p:cNvSpPr/>
          <p:nvPr/>
        </p:nvSpPr>
        <p:spPr>
          <a:xfrm>
            <a:off x="8392032" y="3797869"/>
            <a:ext cx="2724354" cy="362077"/>
          </a:xfrm>
          <a:prstGeom prst="wedgeRectCallout">
            <a:avLst/>
          </a:prstGeom>
          <a:solidFill>
            <a:srgbClr val="1C33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/>
              <a:t>Flere metoder enn folkemøter</a:t>
            </a:r>
          </a:p>
        </p:txBody>
      </p:sp>
      <p:sp>
        <p:nvSpPr>
          <p:cNvPr id="22" name="Speech Bubble: Rectangle 21">
            <a:extLst>
              <a:ext uri="{FF2B5EF4-FFF2-40B4-BE49-F238E27FC236}">
                <a16:creationId xmlns:a16="http://schemas.microsoft.com/office/drawing/2014/main" id="{613479A0-A894-D2B1-AD71-88F941385FBE}"/>
              </a:ext>
            </a:extLst>
          </p:cNvPr>
          <p:cNvSpPr/>
          <p:nvPr/>
        </p:nvSpPr>
        <p:spPr>
          <a:xfrm>
            <a:off x="9753599" y="4275374"/>
            <a:ext cx="1903583" cy="520646"/>
          </a:xfrm>
          <a:prstGeom prst="wedgeRectCallout">
            <a:avLst/>
          </a:prstGeom>
          <a:solidFill>
            <a:srgbClr val="1C33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/>
              <a:t>Innhold må være forståelig og visuelt for målgruppen</a:t>
            </a:r>
          </a:p>
        </p:txBody>
      </p:sp>
      <p:sp>
        <p:nvSpPr>
          <p:cNvPr id="23" name="Speech Bubble: Rectangle 22">
            <a:extLst>
              <a:ext uri="{FF2B5EF4-FFF2-40B4-BE49-F238E27FC236}">
                <a16:creationId xmlns:a16="http://schemas.microsoft.com/office/drawing/2014/main" id="{15862BFD-AE7D-84C4-6D74-EDF6BA68BE91}"/>
              </a:ext>
            </a:extLst>
          </p:cNvPr>
          <p:cNvSpPr/>
          <p:nvPr/>
        </p:nvSpPr>
        <p:spPr>
          <a:xfrm>
            <a:off x="8392032" y="4947563"/>
            <a:ext cx="2724354" cy="520646"/>
          </a:xfrm>
          <a:prstGeom prst="wedgeRectCallout">
            <a:avLst/>
          </a:prstGeom>
          <a:solidFill>
            <a:srgbClr val="1C33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/>
              <a:t>Vis hvordan innspillet kan se ut, kan være komplisert selv for faglærte</a:t>
            </a:r>
          </a:p>
        </p:txBody>
      </p:sp>
      <p:sp>
        <p:nvSpPr>
          <p:cNvPr id="24" name="Speech Bubble: Rectangle 23">
            <a:extLst>
              <a:ext uri="{FF2B5EF4-FFF2-40B4-BE49-F238E27FC236}">
                <a16:creationId xmlns:a16="http://schemas.microsoft.com/office/drawing/2014/main" id="{18FECF91-2201-623C-A536-901DAECC3487}"/>
              </a:ext>
            </a:extLst>
          </p:cNvPr>
          <p:cNvSpPr/>
          <p:nvPr/>
        </p:nvSpPr>
        <p:spPr>
          <a:xfrm>
            <a:off x="8904051" y="5619752"/>
            <a:ext cx="2724354" cy="362077"/>
          </a:xfrm>
          <a:prstGeom prst="wedgeRectCallout">
            <a:avLst/>
          </a:prstGeom>
          <a:solidFill>
            <a:srgbClr val="1C33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/>
              <a:t>Lag lab for byutvikling</a:t>
            </a:r>
          </a:p>
        </p:txBody>
      </p:sp>
      <p:grpSp>
        <p:nvGrpSpPr>
          <p:cNvPr id="36" name="Google Shape;1855;p16">
            <a:extLst>
              <a:ext uri="{FF2B5EF4-FFF2-40B4-BE49-F238E27FC236}">
                <a16:creationId xmlns:a16="http://schemas.microsoft.com/office/drawing/2014/main" id="{3F35873C-ABED-3D19-3244-8AEF7DBD9E29}"/>
              </a:ext>
            </a:extLst>
          </p:cNvPr>
          <p:cNvGrpSpPr/>
          <p:nvPr/>
        </p:nvGrpSpPr>
        <p:grpSpPr>
          <a:xfrm>
            <a:off x="6408203" y="5007457"/>
            <a:ext cx="1697487" cy="1130109"/>
            <a:chOff x="846010" y="4505444"/>
            <a:chExt cx="4056627" cy="3054715"/>
          </a:xfrm>
        </p:grpSpPr>
        <p:grpSp>
          <p:nvGrpSpPr>
            <p:cNvPr id="37" name="Google Shape;1856;p16">
              <a:extLst>
                <a:ext uri="{FF2B5EF4-FFF2-40B4-BE49-F238E27FC236}">
                  <a16:creationId xmlns:a16="http://schemas.microsoft.com/office/drawing/2014/main" id="{A85F46BA-763D-0608-39DA-4B1AB64D2952}"/>
                </a:ext>
              </a:extLst>
            </p:cNvPr>
            <p:cNvGrpSpPr/>
            <p:nvPr/>
          </p:nvGrpSpPr>
          <p:grpSpPr>
            <a:xfrm>
              <a:off x="1066366" y="6730340"/>
              <a:ext cx="693062" cy="829654"/>
              <a:chOff x="1815468" y="3683050"/>
              <a:chExt cx="1188582" cy="1793847"/>
            </a:xfrm>
          </p:grpSpPr>
          <p:sp>
            <p:nvSpPr>
              <p:cNvPr id="1209" name="Google Shape;1857;p16">
                <a:extLst>
                  <a:ext uri="{FF2B5EF4-FFF2-40B4-BE49-F238E27FC236}">
                    <a16:creationId xmlns:a16="http://schemas.microsoft.com/office/drawing/2014/main" id="{E9ED6D02-F347-F1AF-E722-B8B95EFB717B}"/>
                  </a:ext>
                </a:extLst>
              </p:cNvPr>
              <p:cNvSpPr/>
              <p:nvPr/>
            </p:nvSpPr>
            <p:spPr>
              <a:xfrm>
                <a:off x="1815468" y="3683072"/>
                <a:ext cx="1188548" cy="1793825"/>
              </a:xfrm>
              <a:custGeom>
                <a:avLst/>
                <a:gdLst/>
                <a:ahLst/>
                <a:cxnLst/>
                <a:rect l="l" t="t" r="r" b="b"/>
                <a:pathLst>
                  <a:path w="34366" h="71753" extrusionOk="0">
                    <a:moveTo>
                      <a:pt x="3806" y="0"/>
                    </a:moveTo>
                    <a:lnTo>
                      <a:pt x="2799" y="112"/>
                    </a:lnTo>
                    <a:lnTo>
                      <a:pt x="1903" y="448"/>
                    </a:lnTo>
                    <a:lnTo>
                      <a:pt x="1232" y="896"/>
                    </a:lnTo>
                    <a:lnTo>
                      <a:pt x="560" y="1567"/>
                    </a:lnTo>
                    <a:lnTo>
                      <a:pt x="336" y="2015"/>
                    </a:lnTo>
                    <a:lnTo>
                      <a:pt x="112" y="2463"/>
                    </a:lnTo>
                    <a:lnTo>
                      <a:pt x="0" y="2910"/>
                    </a:lnTo>
                    <a:lnTo>
                      <a:pt x="0" y="3470"/>
                    </a:lnTo>
                    <a:lnTo>
                      <a:pt x="0" y="71753"/>
                    </a:lnTo>
                    <a:lnTo>
                      <a:pt x="34366" y="71753"/>
                    </a:lnTo>
                    <a:lnTo>
                      <a:pt x="34254" y="3470"/>
                    </a:lnTo>
                    <a:lnTo>
                      <a:pt x="34254" y="2910"/>
                    </a:lnTo>
                    <a:lnTo>
                      <a:pt x="34030" y="2351"/>
                    </a:lnTo>
                    <a:lnTo>
                      <a:pt x="33806" y="1791"/>
                    </a:lnTo>
                    <a:lnTo>
                      <a:pt x="33470" y="1343"/>
                    </a:lnTo>
                    <a:lnTo>
                      <a:pt x="32910" y="784"/>
                    </a:lnTo>
                    <a:lnTo>
                      <a:pt x="32239" y="336"/>
                    </a:lnTo>
                    <a:lnTo>
                      <a:pt x="31455" y="112"/>
                    </a:lnTo>
                    <a:lnTo>
                      <a:pt x="30560" y="0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10" name="Google Shape;1858;p16">
                <a:extLst>
                  <a:ext uri="{FF2B5EF4-FFF2-40B4-BE49-F238E27FC236}">
                    <a16:creationId xmlns:a16="http://schemas.microsoft.com/office/drawing/2014/main" id="{4C247740-CABF-D36E-02C8-BF17A1CA728B}"/>
                  </a:ext>
                </a:extLst>
              </p:cNvPr>
              <p:cNvSpPr/>
              <p:nvPr/>
            </p:nvSpPr>
            <p:spPr>
              <a:xfrm>
                <a:off x="2690600" y="3683050"/>
                <a:ext cx="313450" cy="1793825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71753" extrusionOk="0">
                    <a:moveTo>
                      <a:pt x="0" y="0"/>
                    </a:moveTo>
                    <a:lnTo>
                      <a:pt x="0" y="1791"/>
                    </a:lnTo>
                    <a:lnTo>
                      <a:pt x="0" y="1903"/>
                    </a:lnTo>
                    <a:lnTo>
                      <a:pt x="112" y="16007"/>
                    </a:lnTo>
                    <a:lnTo>
                      <a:pt x="448" y="34701"/>
                    </a:lnTo>
                    <a:lnTo>
                      <a:pt x="784" y="44776"/>
                    </a:lnTo>
                    <a:lnTo>
                      <a:pt x="1120" y="54626"/>
                    </a:lnTo>
                    <a:lnTo>
                      <a:pt x="1568" y="63693"/>
                    </a:lnTo>
                    <a:lnTo>
                      <a:pt x="2127" y="71753"/>
                    </a:lnTo>
                    <a:lnTo>
                      <a:pt x="12538" y="71753"/>
                    </a:lnTo>
                    <a:lnTo>
                      <a:pt x="12426" y="3470"/>
                    </a:lnTo>
                    <a:lnTo>
                      <a:pt x="12426" y="2910"/>
                    </a:lnTo>
                    <a:lnTo>
                      <a:pt x="12202" y="2351"/>
                    </a:lnTo>
                    <a:lnTo>
                      <a:pt x="11978" y="1791"/>
                    </a:lnTo>
                    <a:lnTo>
                      <a:pt x="11642" y="1343"/>
                    </a:lnTo>
                    <a:lnTo>
                      <a:pt x="11082" y="784"/>
                    </a:lnTo>
                    <a:lnTo>
                      <a:pt x="10411" y="336"/>
                    </a:lnTo>
                    <a:lnTo>
                      <a:pt x="9627" y="112"/>
                    </a:lnTo>
                    <a:lnTo>
                      <a:pt x="8732" y="0"/>
                    </a:lnTo>
                    <a:close/>
                  </a:path>
                </a:pathLst>
              </a:custGeom>
              <a:solidFill>
                <a:srgbClr val="D25F3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38" name="Google Shape;1859;p16">
              <a:extLst>
                <a:ext uri="{FF2B5EF4-FFF2-40B4-BE49-F238E27FC236}">
                  <a16:creationId xmlns:a16="http://schemas.microsoft.com/office/drawing/2014/main" id="{3703781A-4319-174D-1CB1-898D40489530}"/>
                </a:ext>
              </a:extLst>
            </p:cNvPr>
            <p:cNvGrpSpPr/>
            <p:nvPr/>
          </p:nvGrpSpPr>
          <p:grpSpPr>
            <a:xfrm>
              <a:off x="846010" y="4505444"/>
              <a:ext cx="4056627" cy="3054715"/>
              <a:chOff x="331500" y="238125"/>
              <a:chExt cx="6957000" cy="5238750"/>
            </a:xfrm>
          </p:grpSpPr>
          <p:sp>
            <p:nvSpPr>
              <p:cNvPr id="39" name="Google Shape;1860;p16">
                <a:extLst>
                  <a:ext uri="{FF2B5EF4-FFF2-40B4-BE49-F238E27FC236}">
                    <a16:creationId xmlns:a16="http://schemas.microsoft.com/office/drawing/2014/main" id="{B5720B65-17D9-5895-A472-70E585CF50B3}"/>
                  </a:ext>
                </a:extLst>
              </p:cNvPr>
              <p:cNvSpPr/>
              <p:nvPr/>
            </p:nvSpPr>
            <p:spPr>
              <a:xfrm>
                <a:off x="6085150" y="263300"/>
                <a:ext cx="694050" cy="355425"/>
              </a:xfrm>
              <a:custGeom>
                <a:avLst/>
                <a:gdLst/>
                <a:ahLst/>
                <a:cxnLst/>
                <a:rect l="l" t="t" r="r" b="b"/>
                <a:pathLst>
                  <a:path w="27762" h="14217" extrusionOk="0">
                    <a:moveTo>
                      <a:pt x="7724" y="0"/>
                    </a:moveTo>
                    <a:lnTo>
                      <a:pt x="5485" y="112"/>
                    </a:lnTo>
                    <a:lnTo>
                      <a:pt x="3023" y="448"/>
                    </a:lnTo>
                    <a:lnTo>
                      <a:pt x="1008" y="896"/>
                    </a:lnTo>
                    <a:lnTo>
                      <a:pt x="336" y="1120"/>
                    </a:lnTo>
                    <a:lnTo>
                      <a:pt x="112" y="1344"/>
                    </a:lnTo>
                    <a:lnTo>
                      <a:pt x="112" y="1680"/>
                    </a:lnTo>
                    <a:lnTo>
                      <a:pt x="336" y="2239"/>
                    </a:lnTo>
                    <a:lnTo>
                      <a:pt x="1344" y="3471"/>
                    </a:lnTo>
                    <a:lnTo>
                      <a:pt x="2239" y="4926"/>
                    </a:lnTo>
                    <a:lnTo>
                      <a:pt x="2575" y="5597"/>
                    </a:lnTo>
                    <a:lnTo>
                      <a:pt x="2799" y="6157"/>
                    </a:lnTo>
                    <a:lnTo>
                      <a:pt x="2575" y="7053"/>
                    </a:lnTo>
                    <a:lnTo>
                      <a:pt x="2239" y="8060"/>
                    </a:lnTo>
                    <a:lnTo>
                      <a:pt x="1791" y="9068"/>
                    </a:lnTo>
                    <a:lnTo>
                      <a:pt x="1232" y="10075"/>
                    </a:lnTo>
                    <a:lnTo>
                      <a:pt x="336" y="11866"/>
                    </a:lnTo>
                    <a:lnTo>
                      <a:pt x="0" y="12426"/>
                    </a:lnTo>
                    <a:lnTo>
                      <a:pt x="0" y="12873"/>
                    </a:lnTo>
                    <a:lnTo>
                      <a:pt x="560" y="12873"/>
                    </a:lnTo>
                    <a:lnTo>
                      <a:pt x="1903" y="12650"/>
                    </a:lnTo>
                    <a:lnTo>
                      <a:pt x="5933" y="11866"/>
                    </a:lnTo>
                    <a:lnTo>
                      <a:pt x="7724" y="11530"/>
                    </a:lnTo>
                    <a:lnTo>
                      <a:pt x="9179" y="11530"/>
                    </a:lnTo>
                    <a:lnTo>
                      <a:pt x="10187" y="11642"/>
                    </a:lnTo>
                    <a:lnTo>
                      <a:pt x="11082" y="11866"/>
                    </a:lnTo>
                    <a:lnTo>
                      <a:pt x="11754" y="12202"/>
                    </a:lnTo>
                    <a:lnTo>
                      <a:pt x="12426" y="12538"/>
                    </a:lnTo>
                    <a:lnTo>
                      <a:pt x="13769" y="13321"/>
                    </a:lnTo>
                    <a:lnTo>
                      <a:pt x="14664" y="13657"/>
                    </a:lnTo>
                    <a:lnTo>
                      <a:pt x="15672" y="13993"/>
                    </a:lnTo>
                    <a:lnTo>
                      <a:pt x="17015" y="14217"/>
                    </a:lnTo>
                    <a:lnTo>
                      <a:pt x="19702" y="14217"/>
                    </a:lnTo>
                    <a:lnTo>
                      <a:pt x="20597" y="13993"/>
                    </a:lnTo>
                    <a:lnTo>
                      <a:pt x="22500" y="13545"/>
                    </a:lnTo>
                    <a:lnTo>
                      <a:pt x="24403" y="12873"/>
                    </a:lnTo>
                    <a:lnTo>
                      <a:pt x="25970" y="12314"/>
                    </a:lnTo>
                    <a:lnTo>
                      <a:pt x="27761" y="11642"/>
                    </a:lnTo>
                    <a:lnTo>
                      <a:pt x="26978" y="0"/>
                    </a:lnTo>
                    <a:lnTo>
                      <a:pt x="25522" y="1008"/>
                    </a:lnTo>
                    <a:lnTo>
                      <a:pt x="24739" y="1456"/>
                    </a:lnTo>
                    <a:lnTo>
                      <a:pt x="23955" y="1903"/>
                    </a:lnTo>
                    <a:lnTo>
                      <a:pt x="23060" y="2239"/>
                    </a:lnTo>
                    <a:lnTo>
                      <a:pt x="22052" y="2575"/>
                    </a:lnTo>
                    <a:lnTo>
                      <a:pt x="21157" y="2799"/>
                    </a:lnTo>
                    <a:lnTo>
                      <a:pt x="20149" y="3023"/>
                    </a:lnTo>
                    <a:lnTo>
                      <a:pt x="19030" y="3135"/>
                    </a:lnTo>
                    <a:lnTo>
                      <a:pt x="17239" y="3135"/>
                    </a:lnTo>
                    <a:lnTo>
                      <a:pt x="16455" y="3023"/>
                    </a:lnTo>
                    <a:lnTo>
                      <a:pt x="15112" y="2687"/>
                    </a:lnTo>
                    <a:lnTo>
                      <a:pt x="13993" y="2127"/>
                    </a:lnTo>
                    <a:lnTo>
                      <a:pt x="12873" y="1568"/>
                    </a:lnTo>
                    <a:lnTo>
                      <a:pt x="11754" y="1008"/>
                    </a:lnTo>
                    <a:lnTo>
                      <a:pt x="10634" y="448"/>
                    </a:lnTo>
                    <a:lnTo>
                      <a:pt x="9291" y="112"/>
                    </a:lnTo>
                    <a:lnTo>
                      <a:pt x="8620" y="0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1861;p16">
                <a:extLst>
                  <a:ext uri="{FF2B5EF4-FFF2-40B4-BE49-F238E27FC236}">
                    <a16:creationId xmlns:a16="http://schemas.microsoft.com/office/drawing/2014/main" id="{B9CB5FA1-8BE3-C10F-A9B4-49B440116FFE}"/>
                  </a:ext>
                </a:extLst>
              </p:cNvPr>
              <p:cNvSpPr/>
              <p:nvPr/>
            </p:nvSpPr>
            <p:spPr>
              <a:xfrm>
                <a:off x="6085150" y="263300"/>
                <a:ext cx="694050" cy="355425"/>
              </a:xfrm>
              <a:custGeom>
                <a:avLst/>
                <a:gdLst/>
                <a:ahLst/>
                <a:cxnLst/>
                <a:rect l="l" t="t" r="r" b="b"/>
                <a:pathLst>
                  <a:path w="27762" h="14217" fill="none" extrusionOk="0">
                    <a:moveTo>
                      <a:pt x="27761" y="11642"/>
                    </a:moveTo>
                    <a:lnTo>
                      <a:pt x="27761" y="11642"/>
                    </a:lnTo>
                    <a:lnTo>
                      <a:pt x="25970" y="12314"/>
                    </a:lnTo>
                    <a:lnTo>
                      <a:pt x="25970" y="12314"/>
                    </a:lnTo>
                    <a:lnTo>
                      <a:pt x="24403" y="12873"/>
                    </a:lnTo>
                    <a:lnTo>
                      <a:pt x="22500" y="13545"/>
                    </a:lnTo>
                    <a:lnTo>
                      <a:pt x="20597" y="13993"/>
                    </a:lnTo>
                    <a:lnTo>
                      <a:pt x="19702" y="14217"/>
                    </a:lnTo>
                    <a:lnTo>
                      <a:pt x="18806" y="14217"/>
                    </a:lnTo>
                    <a:lnTo>
                      <a:pt x="18806" y="14217"/>
                    </a:lnTo>
                    <a:lnTo>
                      <a:pt x="17015" y="14217"/>
                    </a:lnTo>
                    <a:lnTo>
                      <a:pt x="15672" y="13993"/>
                    </a:lnTo>
                    <a:lnTo>
                      <a:pt x="15672" y="13993"/>
                    </a:lnTo>
                    <a:lnTo>
                      <a:pt x="14664" y="13657"/>
                    </a:lnTo>
                    <a:lnTo>
                      <a:pt x="13769" y="13321"/>
                    </a:lnTo>
                    <a:lnTo>
                      <a:pt x="12426" y="12538"/>
                    </a:lnTo>
                    <a:lnTo>
                      <a:pt x="11754" y="12202"/>
                    </a:lnTo>
                    <a:lnTo>
                      <a:pt x="11082" y="11866"/>
                    </a:lnTo>
                    <a:lnTo>
                      <a:pt x="10187" y="11642"/>
                    </a:lnTo>
                    <a:lnTo>
                      <a:pt x="9179" y="11530"/>
                    </a:lnTo>
                    <a:lnTo>
                      <a:pt x="9179" y="11530"/>
                    </a:lnTo>
                    <a:lnTo>
                      <a:pt x="8508" y="11530"/>
                    </a:lnTo>
                    <a:lnTo>
                      <a:pt x="7724" y="11530"/>
                    </a:lnTo>
                    <a:lnTo>
                      <a:pt x="5933" y="11866"/>
                    </a:lnTo>
                    <a:lnTo>
                      <a:pt x="5933" y="11866"/>
                    </a:lnTo>
                    <a:lnTo>
                      <a:pt x="1903" y="12650"/>
                    </a:lnTo>
                    <a:lnTo>
                      <a:pt x="560" y="12873"/>
                    </a:lnTo>
                    <a:lnTo>
                      <a:pt x="112" y="12873"/>
                    </a:lnTo>
                    <a:lnTo>
                      <a:pt x="0" y="12873"/>
                    </a:lnTo>
                    <a:lnTo>
                      <a:pt x="0" y="12873"/>
                    </a:lnTo>
                    <a:lnTo>
                      <a:pt x="0" y="12426"/>
                    </a:lnTo>
                    <a:lnTo>
                      <a:pt x="336" y="11866"/>
                    </a:lnTo>
                    <a:lnTo>
                      <a:pt x="1232" y="10075"/>
                    </a:lnTo>
                    <a:lnTo>
                      <a:pt x="1791" y="9068"/>
                    </a:lnTo>
                    <a:lnTo>
                      <a:pt x="2239" y="8060"/>
                    </a:lnTo>
                    <a:lnTo>
                      <a:pt x="2575" y="7053"/>
                    </a:lnTo>
                    <a:lnTo>
                      <a:pt x="2799" y="6157"/>
                    </a:lnTo>
                    <a:lnTo>
                      <a:pt x="2799" y="6157"/>
                    </a:lnTo>
                    <a:lnTo>
                      <a:pt x="2575" y="5597"/>
                    </a:lnTo>
                    <a:lnTo>
                      <a:pt x="2239" y="4926"/>
                    </a:lnTo>
                    <a:lnTo>
                      <a:pt x="1344" y="3471"/>
                    </a:lnTo>
                    <a:lnTo>
                      <a:pt x="336" y="2239"/>
                    </a:lnTo>
                    <a:lnTo>
                      <a:pt x="112" y="1680"/>
                    </a:lnTo>
                    <a:lnTo>
                      <a:pt x="112" y="1344"/>
                    </a:lnTo>
                    <a:lnTo>
                      <a:pt x="112" y="1344"/>
                    </a:lnTo>
                    <a:lnTo>
                      <a:pt x="336" y="1120"/>
                    </a:lnTo>
                    <a:lnTo>
                      <a:pt x="1008" y="896"/>
                    </a:lnTo>
                    <a:lnTo>
                      <a:pt x="3023" y="448"/>
                    </a:lnTo>
                    <a:lnTo>
                      <a:pt x="5485" y="112"/>
                    </a:lnTo>
                    <a:lnTo>
                      <a:pt x="7724" y="0"/>
                    </a:lnTo>
                    <a:lnTo>
                      <a:pt x="7724" y="0"/>
                    </a:lnTo>
                    <a:lnTo>
                      <a:pt x="8620" y="0"/>
                    </a:lnTo>
                    <a:lnTo>
                      <a:pt x="9291" y="112"/>
                    </a:lnTo>
                    <a:lnTo>
                      <a:pt x="10634" y="448"/>
                    </a:lnTo>
                    <a:lnTo>
                      <a:pt x="11754" y="1008"/>
                    </a:lnTo>
                    <a:lnTo>
                      <a:pt x="12873" y="1568"/>
                    </a:lnTo>
                    <a:lnTo>
                      <a:pt x="12873" y="1568"/>
                    </a:lnTo>
                    <a:lnTo>
                      <a:pt x="13993" y="2127"/>
                    </a:lnTo>
                    <a:lnTo>
                      <a:pt x="15112" y="2687"/>
                    </a:lnTo>
                    <a:lnTo>
                      <a:pt x="16455" y="3023"/>
                    </a:lnTo>
                    <a:lnTo>
                      <a:pt x="17239" y="3135"/>
                    </a:lnTo>
                    <a:lnTo>
                      <a:pt x="18022" y="3135"/>
                    </a:lnTo>
                    <a:lnTo>
                      <a:pt x="18022" y="3135"/>
                    </a:lnTo>
                    <a:lnTo>
                      <a:pt x="19030" y="3135"/>
                    </a:lnTo>
                    <a:lnTo>
                      <a:pt x="20149" y="3023"/>
                    </a:lnTo>
                    <a:lnTo>
                      <a:pt x="21157" y="2799"/>
                    </a:lnTo>
                    <a:lnTo>
                      <a:pt x="22052" y="2575"/>
                    </a:lnTo>
                    <a:lnTo>
                      <a:pt x="23060" y="2239"/>
                    </a:lnTo>
                    <a:lnTo>
                      <a:pt x="23955" y="1903"/>
                    </a:lnTo>
                    <a:lnTo>
                      <a:pt x="24739" y="1456"/>
                    </a:lnTo>
                    <a:lnTo>
                      <a:pt x="25522" y="1008"/>
                    </a:lnTo>
                    <a:lnTo>
                      <a:pt x="25522" y="1008"/>
                    </a:lnTo>
                    <a:lnTo>
                      <a:pt x="26978" y="0"/>
                    </a:lnTo>
                    <a:lnTo>
                      <a:pt x="27761" y="11642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" name="Google Shape;1862;p16">
                <a:extLst>
                  <a:ext uri="{FF2B5EF4-FFF2-40B4-BE49-F238E27FC236}">
                    <a16:creationId xmlns:a16="http://schemas.microsoft.com/office/drawing/2014/main" id="{5AC42DF9-1827-5804-363D-7BF5F4B6D321}"/>
                  </a:ext>
                </a:extLst>
              </p:cNvPr>
              <p:cNvSpPr/>
              <p:nvPr/>
            </p:nvSpPr>
            <p:spPr>
              <a:xfrm>
                <a:off x="6751175" y="263300"/>
                <a:ext cx="28025" cy="299450"/>
              </a:xfrm>
              <a:custGeom>
                <a:avLst/>
                <a:gdLst/>
                <a:ahLst/>
                <a:cxnLst/>
                <a:rect l="l" t="t" r="r" b="b"/>
                <a:pathLst>
                  <a:path w="1121" h="11978" extrusionOk="0">
                    <a:moveTo>
                      <a:pt x="672" y="5038"/>
                    </a:moveTo>
                    <a:lnTo>
                      <a:pt x="1120" y="11642"/>
                    </a:lnTo>
                    <a:lnTo>
                      <a:pt x="1120" y="11642"/>
                    </a:lnTo>
                    <a:lnTo>
                      <a:pt x="337" y="11978"/>
                    </a:lnTo>
                    <a:lnTo>
                      <a:pt x="337" y="11978"/>
                    </a:lnTo>
                    <a:lnTo>
                      <a:pt x="1120" y="11642"/>
                    </a:lnTo>
                    <a:lnTo>
                      <a:pt x="672" y="5038"/>
                    </a:lnTo>
                    <a:close/>
                    <a:moveTo>
                      <a:pt x="337" y="0"/>
                    </a:moveTo>
                    <a:lnTo>
                      <a:pt x="337" y="0"/>
                    </a:lnTo>
                    <a:lnTo>
                      <a:pt x="1" y="224"/>
                    </a:lnTo>
                    <a:lnTo>
                      <a:pt x="1" y="224"/>
                    </a:lnTo>
                    <a:lnTo>
                      <a:pt x="337" y="0"/>
                    </a:lnTo>
                    <a:lnTo>
                      <a:pt x="337" y="0"/>
                    </a:lnTo>
                    <a:close/>
                  </a:path>
                </a:pathLst>
              </a:custGeom>
              <a:solidFill>
                <a:srgbClr val="CBC8D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" name="Google Shape;1863;p16">
                <a:extLst>
                  <a:ext uri="{FF2B5EF4-FFF2-40B4-BE49-F238E27FC236}">
                    <a16:creationId xmlns:a16="http://schemas.microsoft.com/office/drawing/2014/main" id="{47864DE3-5669-CE76-721F-C058F343BE9C}"/>
                  </a:ext>
                </a:extLst>
              </p:cNvPr>
              <p:cNvSpPr/>
              <p:nvPr/>
            </p:nvSpPr>
            <p:spPr>
              <a:xfrm>
                <a:off x="6759575" y="389225"/>
                <a:ext cx="19625" cy="173525"/>
              </a:xfrm>
              <a:custGeom>
                <a:avLst/>
                <a:gdLst/>
                <a:ahLst/>
                <a:cxnLst/>
                <a:rect l="l" t="t" r="r" b="b"/>
                <a:pathLst>
                  <a:path w="785" h="6941" fill="none" extrusionOk="0">
                    <a:moveTo>
                      <a:pt x="336" y="1"/>
                    </a:moveTo>
                    <a:lnTo>
                      <a:pt x="784" y="6605"/>
                    </a:lnTo>
                    <a:lnTo>
                      <a:pt x="784" y="6605"/>
                    </a:lnTo>
                    <a:lnTo>
                      <a:pt x="1" y="6941"/>
                    </a:lnTo>
                    <a:lnTo>
                      <a:pt x="1" y="6941"/>
                    </a:lnTo>
                    <a:lnTo>
                      <a:pt x="784" y="6605"/>
                    </a:lnTo>
                    <a:lnTo>
                      <a:pt x="336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1864;p16">
                <a:extLst>
                  <a:ext uri="{FF2B5EF4-FFF2-40B4-BE49-F238E27FC236}">
                    <a16:creationId xmlns:a16="http://schemas.microsoft.com/office/drawing/2014/main" id="{1C97A900-7F9D-DB39-7C37-428D1298E28B}"/>
                  </a:ext>
                </a:extLst>
              </p:cNvPr>
              <p:cNvSpPr/>
              <p:nvPr/>
            </p:nvSpPr>
            <p:spPr>
              <a:xfrm>
                <a:off x="6751175" y="263300"/>
                <a:ext cx="8425" cy="5625"/>
              </a:xfrm>
              <a:custGeom>
                <a:avLst/>
                <a:gdLst/>
                <a:ahLst/>
                <a:cxnLst/>
                <a:rect l="l" t="t" r="r" b="b"/>
                <a:pathLst>
                  <a:path w="337" h="225" fill="none" extrusionOk="0">
                    <a:moveTo>
                      <a:pt x="337" y="0"/>
                    </a:moveTo>
                    <a:lnTo>
                      <a:pt x="337" y="0"/>
                    </a:lnTo>
                    <a:lnTo>
                      <a:pt x="1" y="224"/>
                    </a:lnTo>
                    <a:lnTo>
                      <a:pt x="1" y="224"/>
                    </a:lnTo>
                    <a:lnTo>
                      <a:pt x="337" y="0"/>
                    </a:lnTo>
                    <a:lnTo>
                      <a:pt x="337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1865;p16">
                <a:extLst>
                  <a:ext uri="{FF2B5EF4-FFF2-40B4-BE49-F238E27FC236}">
                    <a16:creationId xmlns:a16="http://schemas.microsoft.com/office/drawing/2014/main" id="{8603041B-73DE-C627-59D6-55DA93EEB5CE}"/>
                  </a:ext>
                </a:extLst>
              </p:cNvPr>
              <p:cNvSpPr/>
              <p:nvPr/>
            </p:nvSpPr>
            <p:spPr>
              <a:xfrm>
                <a:off x="6723200" y="263300"/>
                <a:ext cx="56000" cy="307850"/>
              </a:xfrm>
              <a:custGeom>
                <a:avLst/>
                <a:gdLst/>
                <a:ahLst/>
                <a:cxnLst/>
                <a:rect l="l" t="t" r="r" b="b"/>
                <a:pathLst>
                  <a:path w="2240" h="12314" extrusionOk="0">
                    <a:moveTo>
                      <a:pt x="1456" y="0"/>
                    </a:moveTo>
                    <a:lnTo>
                      <a:pt x="1120" y="224"/>
                    </a:lnTo>
                    <a:lnTo>
                      <a:pt x="0" y="1008"/>
                    </a:lnTo>
                    <a:lnTo>
                      <a:pt x="336" y="6941"/>
                    </a:lnTo>
                    <a:lnTo>
                      <a:pt x="448" y="12314"/>
                    </a:lnTo>
                    <a:lnTo>
                      <a:pt x="1456" y="11978"/>
                    </a:lnTo>
                    <a:lnTo>
                      <a:pt x="2239" y="11642"/>
                    </a:lnTo>
                    <a:lnTo>
                      <a:pt x="1791" y="5038"/>
                    </a:lnTo>
                    <a:lnTo>
                      <a:pt x="1456" y="0"/>
                    </a:lnTo>
                    <a:close/>
                  </a:path>
                </a:pathLst>
              </a:custGeom>
              <a:solidFill>
                <a:srgbClr val="B2472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1866;p16">
                <a:extLst>
                  <a:ext uri="{FF2B5EF4-FFF2-40B4-BE49-F238E27FC236}">
                    <a16:creationId xmlns:a16="http://schemas.microsoft.com/office/drawing/2014/main" id="{CEB4436F-3E30-EC7D-1786-322B039D9A59}"/>
                  </a:ext>
                </a:extLst>
              </p:cNvPr>
              <p:cNvSpPr/>
              <p:nvPr/>
            </p:nvSpPr>
            <p:spPr>
              <a:xfrm>
                <a:off x="6723200" y="263300"/>
                <a:ext cx="56000" cy="307850"/>
              </a:xfrm>
              <a:custGeom>
                <a:avLst/>
                <a:gdLst/>
                <a:ahLst/>
                <a:cxnLst/>
                <a:rect l="l" t="t" r="r" b="b"/>
                <a:pathLst>
                  <a:path w="2240" h="12314" fill="none" extrusionOk="0">
                    <a:moveTo>
                      <a:pt x="1456" y="0"/>
                    </a:moveTo>
                    <a:lnTo>
                      <a:pt x="1456" y="0"/>
                    </a:lnTo>
                    <a:lnTo>
                      <a:pt x="1120" y="224"/>
                    </a:lnTo>
                    <a:lnTo>
                      <a:pt x="1120" y="224"/>
                    </a:lnTo>
                    <a:lnTo>
                      <a:pt x="0" y="1008"/>
                    </a:lnTo>
                    <a:lnTo>
                      <a:pt x="0" y="1008"/>
                    </a:lnTo>
                    <a:lnTo>
                      <a:pt x="336" y="6941"/>
                    </a:lnTo>
                    <a:lnTo>
                      <a:pt x="448" y="12314"/>
                    </a:lnTo>
                    <a:lnTo>
                      <a:pt x="448" y="12314"/>
                    </a:lnTo>
                    <a:lnTo>
                      <a:pt x="1456" y="11978"/>
                    </a:lnTo>
                    <a:lnTo>
                      <a:pt x="1456" y="11978"/>
                    </a:lnTo>
                    <a:lnTo>
                      <a:pt x="2239" y="11642"/>
                    </a:lnTo>
                    <a:lnTo>
                      <a:pt x="1791" y="5038"/>
                    </a:lnTo>
                    <a:lnTo>
                      <a:pt x="1456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1867;p16">
                <a:extLst>
                  <a:ext uri="{FF2B5EF4-FFF2-40B4-BE49-F238E27FC236}">
                    <a16:creationId xmlns:a16="http://schemas.microsoft.com/office/drawing/2014/main" id="{A4EA8F42-B26B-16AC-F103-16B7003A233F}"/>
                  </a:ext>
                </a:extLst>
              </p:cNvPr>
              <p:cNvSpPr/>
              <p:nvPr/>
            </p:nvSpPr>
            <p:spPr>
              <a:xfrm>
                <a:off x="6737200" y="238125"/>
                <a:ext cx="184700" cy="2364725"/>
              </a:xfrm>
              <a:custGeom>
                <a:avLst/>
                <a:gdLst/>
                <a:ahLst/>
                <a:cxnLst/>
                <a:rect l="l" t="t" r="r" b="b"/>
                <a:pathLst>
                  <a:path w="7388" h="94589" extrusionOk="0">
                    <a:moveTo>
                      <a:pt x="560" y="0"/>
                    </a:moveTo>
                    <a:lnTo>
                      <a:pt x="336" y="112"/>
                    </a:lnTo>
                    <a:lnTo>
                      <a:pt x="112" y="224"/>
                    </a:lnTo>
                    <a:lnTo>
                      <a:pt x="0" y="448"/>
                    </a:lnTo>
                    <a:lnTo>
                      <a:pt x="0" y="672"/>
                    </a:lnTo>
                    <a:lnTo>
                      <a:pt x="784" y="9291"/>
                    </a:lnTo>
                    <a:lnTo>
                      <a:pt x="1679" y="18806"/>
                    </a:lnTo>
                    <a:lnTo>
                      <a:pt x="2687" y="31007"/>
                    </a:lnTo>
                    <a:lnTo>
                      <a:pt x="3694" y="45335"/>
                    </a:lnTo>
                    <a:lnTo>
                      <a:pt x="4701" y="60895"/>
                    </a:lnTo>
                    <a:lnTo>
                      <a:pt x="5485" y="77350"/>
                    </a:lnTo>
                    <a:lnTo>
                      <a:pt x="5821" y="85633"/>
                    </a:lnTo>
                    <a:lnTo>
                      <a:pt x="6045" y="93917"/>
                    </a:lnTo>
                    <a:lnTo>
                      <a:pt x="6157" y="94253"/>
                    </a:lnTo>
                    <a:lnTo>
                      <a:pt x="6269" y="94365"/>
                    </a:lnTo>
                    <a:lnTo>
                      <a:pt x="6493" y="94589"/>
                    </a:lnTo>
                    <a:lnTo>
                      <a:pt x="6716" y="94589"/>
                    </a:lnTo>
                    <a:lnTo>
                      <a:pt x="7052" y="94477"/>
                    </a:lnTo>
                    <a:lnTo>
                      <a:pt x="7276" y="94365"/>
                    </a:lnTo>
                    <a:lnTo>
                      <a:pt x="7388" y="94141"/>
                    </a:lnTo>
                    <a:lnTo>
                      <a:pt x="7388" y="93917"/>
                    </a:lnTo>
                    <a:lnTo>
                      <a:pt x="7164" y="85633"/>
                    </a:lnTo>
                    <a:lnTo>
                      <a:pt x="6828" y="77350"/>
                    </a:lnTo>
                    <a:lnTo>
                      <a:pt x="6045" y="60895"/>
                    </a:lnTo>
                    <a:lnTo>
                      <a:pt x="5037" y="45223"/>
                    </a:lnTo>
                    <a:lnTo>
                      <a:pt x="4030" y="31007"/>
                    </a:lnTo>
                    <a:lnTo>
                      <a:pt x="3022" y="18694"/>
                    </a:lnTo>
                    <a:lnTo>
                      <a:pt x="2127" y="9179"/>
                    </a:lnTo>
                    <a:lnTo>
                      <a:pt x="1343" y="560"/>
                    </a:lnTo>
                    <a:lnTo>
                      <a:pt x="1231" y="336"/>
                    </a:lnTo>
                    <a:lnTo>
                      <a:pt x="1119" y="112"/>
                    </a:lnTo>
                    <a:lnTo>
                      <a:pt x="896" y="0"/>
                    </a:lnTo>
                    <a:close/>
                  </a:path>
                </a:pathLst>
              </a:custGeom>
              <a:solidFill>
                <a:srgbClr val="DFDED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1868;p16">
                <a:extLst>
                  <a:ext uri="{FF2B5EF4-FFF2-40B4-BE49-F238E27FC236}">
                    <a16:creationId xmlns:a16="http://schemas.microsoft.com/office/drawing/2014/main" id="{A7F5651D-9A60-2CA6-ED2D-9E220FAB3F6D}"/>
                  </a:ext>
                </a:extLst>
              </p:cNvPr>
              <p:cNvSpPr/>
              <p:nvPr/>
            </p:nvSpPr>
            <p:spPr>
              <a:xfrm>
                <a:off x="6840725" y="1069250"/>
                <a:ext cx="30825" cy="67200"/>
              </a:xfrm>
              <a:custGeom>
                <a:avLst/>
                <a:gdLst/>
                <a:ahLst/>
                <a:cxnLst/>
                <a:rect l="l" t="t" r="r" b="b"/>
                <a:pathLst>
                  <a:path w="1233" h="2688" extrusionOk="0">
                    <a:moveTo>
                      <a:pt x="1" y="1"/>
                    </a:moveTo>
                    <a:lnTo>
                      <a:pt x="560" y="2687"/>
                    </a:lnTo>
                    <a:lnTo>
                      <a:pt x="896" y="2464"/>
                    </a:lnTo>
                    <a:lnTo>
                      <a:pt x="1008" y="2240"/>
                    </a:lnTo>
                    <a:lnTo>
                      <a:pt x="1232" y="1568"/>
                    </a:lnTo>
                    <a:lnTo>
                      <a:pt x="1232" y="896"/>
                    </a:lnTo>
                    <a:lnTo>
                      <a:pt x="1120" y="337"/>
                    </a:lnTo>
                    <a:lnTo>
                      <a:pt x="1008" y="113"/>
                    </a:lnTo>
                    <a:lnTo>
                      <a:pt x="896" y="1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1869;p16">
                <a:extLst>
                  <a:ext uri="{FF2B5EF4-FFF2-40B4-BE49-F238E27FC236}">
                    <a16:creationId xmlns:a16="http://schemas.microsoft.com/office/drawing/2014/main" id="{F91E7AE5-EBAA-2A03-C787-E6839747302F}"/>
                  </a:ext>
                </a:extLst>
              </p:cNvPr>
              <p:cNvSpPr/>
              <p:nvPr/>
            </p:nvSpPr>
            <p:spPr>
              <a:xfrm>
                <a:off x="6689625" y="1063675"/>
                <a:ext cx="123150" cy="125950"/>
              </a:xfrm>
              <a:custGeom>
                <a:avLst/>
                <a:gdLst/>
                <a:ahLst/>
                <a:cxnLst/>
                <a:rect l="l" t="t" r="r" b="b"/>
                <a:pathLst>
                  <a:path w="4926" h="5038" extrusionOk="0">
                    <a:moveTo>
                      <a:pt x="4254" y="0"/>
                    </a:moveTo>
                    <a:lnTo>
                      <a:pt x="3918" y="336"/>
                    </a:lnTo>
                    <a:lnTo>
                      <a:pt x="3470" y="896"/>
                    </a:lnTo>
                    <a:lnTo>
                      <a:pt x="2911" y="1455"/>
                    </a:lnTo>
                    <a:lnTo>
                      <a:pt x="2463" y="1791"/>
                    </a:lnTo>
                    <a:lnTo>
                      <a:pt x="2015" y="2015"/>
                    </a:lnTo>
                    <a:lnTo>
                      <a:pt x="1455" y="2127"/>
                    </a:lnTo>
                    <a:lnTo>
                      <a:pt x="784" y="2463"/>
                    </a:lnTo>
                    <a:lnTo>
                      <a:pt x="336" y="2687"/>
                    </a:lnTo>
                    <a:lnTo>
                      <a:pt x="112" y="2910"/>
                    </a:lnTo>
                    <a:lnTo>
                      <a:pt x="0" y="3134"/>
                    </a:lnTo>
                    <a:lnTo>
                      <a:pt x="112" y="3358"/>
                    </a:lnTo>
                    <a:lnTo>
                      <a:pt x="448" y="4030"/>
                    </a:lnTo>
                    <a:lnTo>
                      <a:pt x="1008" y="4925"/>
                    </a:lnTo>
                    <a:lnTo>
                      <a:pt x="1343" y="4925"/>
                    </a:lnTo>
                    <a:lnTo>
                      <a:pt x="1455" y="5037"/>
                    </a:lnTo>
                    <a:lnTo>
                      <a:pt x="1903" y="4813"/>
                    </a:lnTo>
                    <a:lnTo>
                      <a:pt x="3246" y="3918"/>
                    </a:lnTo>
                    <a:lnTo>
                      <a:pt x="3918" y="3582"/>
                    </a:lnTo>
                    <a:lnTo>
                      <a:pt x="4142" y="3470"/>
                    </a:lnTo>
                    <a:lnTo>
                      <a:pt x="4366" y="3358"/>
                    </a:lnTo>
                    <a:lnTo>
                      <a:pt x="4925" y="3246"/>
                    </a:lnTo>
                    <a:lnTo>
                      <a:pt x="4813" y="2575"/>
                    </a:lnTo>
                    <a:lnTo>
                      <a:pt x="4813" y="1791"/>
                    </a:lnTo>
                    <a:lnTo>
                      <a:pt x="4813" y="1119"/>
                    </a:lnTo>
                    <a:lnTo>
                      <a:pt x="4702" y="336"/>
                    </a:lnTo>
                    <a:lnTo>
                      <a:pt x="4590" y="224"/>
                    </a:lnTo>
                    <a:lnTo>
                      <a:pt x="4590" y="112"/>
                    </a:lnTo>
                    <a:lnTo>
                      <a:pt x="4478" y="0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1870;p16">
                <a:extLst>
                  <a:ext uri="{FF2B5EF4-FFF2-40B4-BE49-F238E27FC236}">
                    <a16:creationId xmlns:a16="http://schemas.microsoft.com/office/drawing/2014/main" id="{26A7E1A9-5A3C-6258-883A-3676F5EECDB8}"/>
                  </a:ext>
                </a:extLst>
              </p:cNvPr>
              <p:cNvSpPr/>
              <p:nvPr/>
            </p:nvSpPr>
            <p:spPr>
              <a:xfrm>
                <a:off x="6821150" y="1069250"/>
                <a:ext cx="39200" cy="70000"/>
              </a:xfrm>
              <a:custGeom>
                <a:avLst/>
                <a:gdLst/>
                <a:ahLst/>
                <a:cxnLst/>
                <a:rect l="l" t="t" r="r" b="b"/>
                <a:pathLst>
                  <a:path w="1568" h="2800" extrusionOk="0">
                    <a:moveTo>
                      <a:pt x="560" y="1"/>
                    </a:moveTo>
                    <a:lnTo>
                      <a:pt x="448" y="225"/>
                    </a:lnTo>
                    <a:lnTo>
                      <a:pt x="112" y="561"/>
                    </a:lnTo>
                    <a:lnTo>
                      <a:pt x="112" y="673"/>
                    </a:lnTo>
                    <a:lnTo>
                      <a:pt x="0" y="784"/>
                    </a:lnTo>
                    <a:lnTo>
                      <a:pt x="112" y="1232"/>
                    </a:lnTo>
                    <a:lnTo>
                      <a:pt x="224" y="2240"/>
                    </a:lnTo>
                    <a:lnTo>
                      <a:pt x="336" y="2687"/>
                    </a:lnTo>
                    <a:lnTo>
                      <a:pt x="560" y="2799"/>
                    </a:lnTo>
                    <a:lnTo>
                      <a:pt x="1008" y="2799"/>
                    </a:lnTo>
                    <a:lnTo>
                      <a:pt x="1343" y="2687"/>
                    </a:lnTo>
                    <a:lnTo>
                      <a:pt x="1567" y="2576"/>
                    </a:lnTo>
                    <a:lnTo>
                      <a:pt x="1567" y="2240"/>
                    </a:lnTo>
                    <a:lnTo>
                      <a:pt x="1455" y="1344"/>
                    </a:lnTo>
                    <a:lnTo>
                      <a:pt x="1120" y="337"/>
                    </a:lnTo>
                    <a:lnTo>
                      <a:pt x="896" y="113"/>
                    </a:lnTo>
                    <a:lnTo>
                      <a:pt x="784" y="1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1871;p16">
                <a:extLst>
                  <a:ext uri="{FF2B5EF4-FFF2-40B4-BE49-F238E27FC236}">
                    <a16:creationId xmlns:a16="http://schemas.microsoft.com/office/drawing/2014/main" id="{BDC9A1E8-B7EE-79A7-83E9-9D4C81FEF05E}"/>
                  </a:ext>
                </a:extLst>
              </p:cNvPr>
              <p:cNvSpPr/>
              <p:nvPr/>
            </p:nvSpPr>
            <p:spPr>
              <a:xfrm>
                <a:off x="6784775" y="1049675"/>
                <a:ext cx="47575" cy="44800"/>
              </a:xfrm>
              <a:custGeom>
                <a:avLst/>
                <a:gdLst/>
                <a:ahLst/>
                <a:cxnLst/>
                <a:rect l="l" t="t" r="r" b="b"/>
                <a:pathLst>
                  <a:path w="1903" h="1792" extrusionOk="0">
                    <a:moveTo>
                      <a:pt x="1343" y="0"/>
                    </a:moveTo>
                    <a:lnTo>
                      <a:pt x="672" y="336"/>
                    </a:lnTo>
                    <a:lnTo>
                      <a:pt x="448" y="560"/>
                    </a:lnTo>
                    <a:lnTo>
                      <a:pt x="0" y="896"/>
                    </a:lnTo>
                    <a:lnTo>
                      <a:pt x="0" y="1120"/>
                    </a:lnTo>
                    <a:lnTo>
                      <a:pt x="112" y="1456"/>
                    </a:lnTo>
                    <a:lnTo>
                      <a:pt x="336" y="1679"/>
                    </a:lnTo>
                    <a:lnTo>
                      <a:pt x="448" y="1791"/>
                    </a:lnTo>
                    <a:lnTo>
                      <a:pt x="560" y="1567"/>
                    </a:lnTo>
                    <a:lnTo>
                      <a:pt x="672" y="1456"/>
                    </a:lnTo>
                    <a:lnTo>
                      <a:pt x="1119" y="1232"/>
                    </a:lnTo>
                    <a:lnTo>
                      <a:pt x="1567" y="784"/>
                    </a:lnTo>
                    <a:lnTo>
                      <a:pt x="1791" y="448"/>
                    </a:lnTo>
                    <a:lnTo>
                      <a:pt x="1903" y="224"/>
                    </a:lnTo>
                    <a:lnTo>
                      <a:pt x="1791" y="0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1872;p16">
                <a:extLst>
                  <a:ext uri="{FF2B5EF4-FFF2-40B4-BE49-F238E27FC236}">
                    <a16:creationId xmlns:a16="http://schemas.microsoft.com/office/drawing/2014/main" id="{196BFD83-4526-C566-F327-5F87FA1481AF}"/>
                  </a:ext>
                </a:extLst>
              </p:cNvPr>
              <p:cNvSpPr/>
              <p:nvPr/>
            </p:nvSpPr>
            <p:spPr>
              <a:xfrm>
                <a:off x="558175" y="2924650"/>
                <a:ext cx="123150" cy="106375"/>
              </a:xfrm>
              <a:custGeom>
                <a:avLst/>
                <a:gdLst/>
                <a:ahLst/>
                <a:cxnLst/>
                <a:rect l="l" t="t" r="r" b="b"/>
                <a:pathLst>
                  <a:path w="4926" h="4255" extrusionOk="0">
                    <a:moveTo>
                      <a:pt x="1791" y="1"/>
                    </a:moveTo>
                    <a:lnTo>
                      <a:pt x="1455" y="112"/>
                    </a:lnTo>
                    <a:lnTo>
                      <a:pt x="1119" y="336"/>
                    </a:lnTo>
                    <a:lnTo>
                      <a:pt x="784" y="672"/>
                    </a:lnTo>
                    <a:lnTo>
                      <a:pt x="0" y="2015"/>
                    </a:lnTo>
                    <a:lnTo>
                      <a:pt x="560" y="2351"/>
                    </a:lnTo>
                    <a:lnTo>
                      <a:pt x="560" y="2239"/>
                    </a:lnTo>
                    <a:lnTo>
                      <a:pt x="1119" y="1344"/>
                    </a:lnTo>
                    <a:lnTo>
                      <a:pt x="1343" y="1120"/>
                    </a:lnTo>
                    <a:lnTo>
                      <a:pt x="1567" y="896"/>
                    </a:lnTo>
                    <a:lnTo>
                      <a:pt x="2015" y="896"/>
                    </a:lnTo>
                    <a:lnTo>
                      <a:pt x="3918" y="2015"/>
                    </a:lnTo>
                    <a:lnTo>
                      <a:pt x="4030" y="2239"/>
                    </a:lnTo>
                    <a:lnTo>
                      <a:pt x="4142" y="2463"/>
                    </a:lnTo>
                    <a:lnTo>
                      <a:pt x="4142" y="2687"/>
                    </a:lnTo>
                    <a:lnTo>
                      <a:pt x="4030" y="3023"/>
                    </a:lnTo>
                    <a:lnTo>
                      <a:pt x="3470" y="3918"/>
                    </a:lnTo>
                    <a:lnTo>
                      <a:pt x="3918" y="4254"/>
                    </a:lnTo>
                    <a:lnTo>
                      <a:pt x="4813" y="2911"/>
                    </a:lnTo>
                    <a:lnTo>
                      <a:pt x="4925" y="2463"/>
                    </a:lnTo>
                    <a:lnTo>
                      <a:pt x="4925" y="2127"/>
                    </a:lnTo>
                    <a:lnTo>
                      <a:pt x="4813" y="1792"/>
                    </a:lnTo>
                    <a:lnTo>
                      <a:pt x="4590" y="1568"/>
                    </a:lnTo>
                    <a:lnTo>
                      <a:pt x="2015" y="112"/>
                    </a:lnTo>
                    <a:lnTo>
                      <a:pt x="1791" y="1"/>
                    </a:lnTo>
                    <a:close/>
                  </a:path>
                </a:pathLst>
              </a:custGeom>
              <a:solidFill>
                <a:srgbClr val="201B2C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1873;p16">
                <a:extLst>
                  <a:ext uri="{FF2B5EF4-FFF2-40B4-BE49-F238E27FC236}">
                    <a16:creationId xmlns:a16="http://schemas.microsoft.com/office/drawing/2014/main" id="{02CD07F3-9B56-8673-636A-64A949123484}"/>
                  </a:ext>
                </a:extLst>
              </p:cNvPr>
              <p:cNvSpPr/>
              <p:nvPr/>
            </p:nvSpPr>
            <p:spPr>
              <a:xfrm>
                <a:off x="600150" y="2868675"/>
                <a:ext cx="92375" cy="109175"/>
              </a:xfrm>
              <a:custGeom>
                <a:avLst/>
                <a:gdLst/>
                <a:ahLst/>
                <a:cxnLst/>
                <a:rect l="l" t="t" r="r" b="b"/>
                <a:pathLst>
                  <a:path w="3695" h="4367" extrusionOk="0">
                    <a:moveTo>
                      <a:pt x="1679" y="1"/>
                    </a:moveTo>
                    <a:lnTo>
                      <a:pt x="1008" y="672"/>
                    </a:lnTo>
                    <a:lnTo>
                      <a:pt x="560" y="1232"/>
                    </a:lnTo>
                    <a:lnTo>
                      <a:pt x="224" y="1680"/>
                    </a:lnTo>
                    <a:lnTo>
                      <a:pt x="112" y="2240"/>
                    </a:lnTo>
                    <a:lnTo>
                      <a:pt x="0" y="2687"/>
                    </a:lnTo>
                    <a:lnTo>
                      <a:pt x="112" y="3135"/>
                    </a:lnTo>
                    <a:lnTo>
                      <a:pt x="336" y="3583"/>
                    </a:lnTo>
                    <a:lnTo>
                      <a:pt x="672" y="3919"/>
                    </a:lnTo>
                    <a:lnTo>
                      <a:pt x="1120" y="4143"/>
                    </a:lnTo>
                    <a:lnTo>
                      <a:pt x="1679" y="4254"/>
                    </a:lnTo>
                    <a:lnTo>
                      <a:pt x="2127" y="4143"/>
                    </a:lnTo>
                    <a:lnTo>
                      <a:pt x="2239" y="3919"/>
                    </a:lnTo>
                    <a:lnTo>
                      <a:pt x="2351" y="3695"/>
                    </a:lnTo>
                    <a:lnTo>
                      <a:pt x="2351" y="3471"/>
                    </a:lnTo>
                    <a:lnTo>
                      <a:pt x="2575" y="3919"/>
                    </a:lnTo>
                    <a:lnTo>
                      <a:pt x="2799" y="4254"/>
                    </a:lnTo>
                    <a:lnTo>
                      <a:pt x="3134" y="4366"/>
                    </a:lnTo>
                    <a:lnTo>
                      <a:pt x="3246" y="4366"/>
                    </a:lnTo>
                    <a:lnTo>
                      <a:pt x="3358" y="4254"/>
                    </a:lnTo>
                    <a:lnTo>
                      <a:pt x="3470" y="3695"/>
                    </a:lnTo>
                    <a:lnTo>
                      <a:pt x="3582" y="2351"/>
                    </a:lnTo>
                    <a:lnTo>
                      <a:pt x="3582" y="1904"/>
                    </a:lnTo>
                    <a:lnTo>
                      <a:pt x="3582" y="1680"/>
                    </a:lnTo>
                    <a:lnTo>
                      <a:pt x="3582" y="1456"/>
                    </a:lnTo>
                    <a:lnTo>
                      <a:pt x="3694" y="1120"/>
                    </a:lnTo>
                    <a:lnTo>
                      <a:pt x="2687" y="449"/>
                    </a:lnTo>
                    <a:lnTo>
                      <a:pt x="2127" y="113"/>
                    </a:lnTo>
                    <a:lnTo>
                      <a:pt x="1791" y="1"/>
                    </a:lnTo>
                    <a:close/>
                  </a:path>
                </a:pathLst>
              </a:custGeom>
              <a:solidFill>
                <a:srgbClr val="FAB59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1874;p16">
                <a:extLst>
                  <a:ext uri="{FF2B5EF4-FFF2-40B4-BE49-F238E27FC236}">
                    <a16:creationId xmlns:a16="http://schemas.microsoft.com/office/drawing/2014/main" id="{5EE76EF5-2CE4-73AB-0398-BDD7D98B29CF}"/>
                  </a:ext>
                </a:extLst>
              </p:cNvPr>
              <p:cNvSpPr/>
              <p:nvPr/>
            </p:nvSpPr>
            <p:spPr>
              <a:xfrm>
                <a:off x="600150" y="2868675"/>
                <a:ext cx="92375" cy="109175"/>
              </a:xfrm>
              <a:custGeom>
                <a:avLst/>
                <a:gdLst/>
                <a:ahLst/>
                <a:cxnLst/>
                <a:rect l="l" t="t" r="r" b="b"/>
                <a:pathLst>
                  <a:path w="3695" h="4367" fill="none" extrusionOk="0">
                    <a:moveTo>
                      <a:pt x="3694" y="1120"/>
                    </a:moveTo>
                    <a:lnTo>
                      <a:pt x="3694" y="1120"/>
                    </a:lnTo>
                    <a:lnTo>
                      <a:pt x="3694" y="1120"/>
                    </a:lnTo>
                    <a:lnTo>
                      <a:pt x="3582" y="1456"/>
                    </a:lnTo>
                    <a:lnTo>
                      <a:pt x="3582" y="1680"/>
                    </a:lnTo>
                    <a:lnTo>
                      <a:pt x="3582" y="1904"/>
                    </a:lnTo>
                    <a:lnTo>
                      <a:pt x="3582" y="2351"/>
                    </a:lnTo>
                    <a:lnTo>
                      <a:pt x="3582" y="2351"/>
                    </a:lnTo>
                    <a:lnTo>
                      <a:pt x="3470" y="3695"/>
                    </a:lnTo>
                    <a:lnTo>
                      <a:pt x="3358" y="4254"/>
                    </a:lnTo>
                    <a:lnTo>
                      <a:pt x="3246" y="4366"/>
                    </a:lnTo>
                    <a:lnTo>
                      <a:pt x="3134" y="4366"/>
                    </a:lnTo>
                    <a:lnTo>
                      <a:pt x="3134" y="4366"/>
                    </a:lnTo>
                    <a:lnTo>
                      <a:pt x="2799" y="4254"/>
                    </a:lnTo>
                    <a:lnTo>
                      <a:pt x="2575" y="3919"/>
                    </a:lnTo>
                    <a:lnTo>
                      <a:pt x="2351" y="3471"/>
                    </a:lnTo>
                    <a:lnTo>
                      <a:pt x="2351" y="3471"/>
                    </a:lnTo>
                    <a:lnTo>
                      <a:pt x="2351" y="3471"/>
                    </a:lnTo>
                    <a:lnTo>
                      <a:pt x="2351" y="3695"/>
                    </a:lnTo>
                    <a:lnTo>
                      <a:pt x="2239" y="3919"/>
                    </a:lnTo>
                    <a:lnTo>
                      <a:pt x="2127" y="4143"/>
                    </a:lnTo>
                    <a:lnTo>
                      <a:pt x="2127" y="4143"/>
                    </a:lnTo>
                    <a:lnTo>
                      <a:pt x="1679" y="4254"/>
                    </a:lnTo>
                    <a:lnTo>
                      <a:pt x="1120" y="4143"/>
                    </a:lnTo>
                    <a:lnTo>
                      <a:pt x="672" y="3919"/>
                    </a:lnTo>
                    <a:lnTo>
                      <a:pt x="336" y="3583"/>
                    </a:lnTo>
                    <a:lnTo>
                      <a:pt x="336" y="3583"/>
                    </a:lnTo>
                    <a:lnTo>
                      <a:pt x="112" y="3135"/>
                    </a:lnTo>
                    <a:lnTo>
                      <a:pt x="0" y="2687"/>
                    </a:lnTo>
                    <a:lnTo>
                      <a:pt x="112" y="2240"/>
                    </a:lnTo>
                    <a:lnTo>
                      <a:pt x="224" y="1680"/>
                    </a:lnTo>
                    <a:lnTo>
                      <a:pt x="224" y="1680"/>
                    </a:lnTo>
                    <a:lnTo>
                      <a:pt x="560" y="1232"/>
                    </a:lnTo>
                    <a:lnTo>
                      <a:pt x="1008" y="672"/>
                    </a:lnTo>
                    <a:lnTo>
                      <a:pt x="1679" y="1"/>
                    </a:lnTo>
                    <a:lnTo>
                      <a:pt x="1679" y="1"/>
                    </a:lnTo>
                    <a:lnTo>
                      <a:pt x="1791" y="1"/>
                    </a:lnTo>
                    <a:lnTo>
                      <a:pt x="2127" y="113"/>
                    </a:lnTo>
                    <a:lnTo>
                      <a:pt x="2687" y="449"/>
                    </a:lnTo>
                    <a:lnTo>
                      <a:pt x="3694" y="112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1875;p16">
                <a:extLst>
                  <a:ext uri="{FF2B5EF4-FFF2-40B4-BE49-F238E27FC236}">
                    <a16:creationId xmlns:a16="http://schemas.microsoft.com/office/drawing/2014/main" id="{8F2C2B26-11BB-DC60-23C1-F48B253997DC}"/>
                  </a:ext>
                </a:extLst>
              </p:cNvPr>
              <p:cNvSpPr/>
              <p:nvPr/>
            </p:nvSpPr>
            <p:spPr>
              <a:xfrm>
                <a:off x="644925" y="2955425"/>
                <a:ext cx="36400" cy="75600"/>
              </a:xfrm>
              <a:custGeom>
                <a:avLst/>
                <a:gdLst/>
                <a:ahLst/>
                <a:cxnLst/>
                <a:rect l="l" t="t" r="r" b="b"/>
                <a:pathLst>
                  <a:path w="1456" h="3024" extrusionOk="0">
                    <a:moveTo>
                      <a:pt x="560" y="1"/>
                    </a:moveTo>
                    <a:lnTo>
                      <a:pt x="448" y="784"/>
                    </a:lnTo>
                    <a:lnTo>
                      <a:pt x="560" y="896"/>
                    </a:lnTo>
                    <a:lnTo>
                      <a:pt x="672" y="1232"/>
                    </a:lnTo>
                    <a:lnTo>
                      <a:pt x="672" y="1456"/>
                    </a:lnTo>
                    <a:lnTo>
                      <a:pt x="560" y="1792"/>
                    </a:lnTo>
                    <a:lnTo>
                      <a:pt x="0" y="2687"/>
                    </a:lnTo>
                    <a:lnTo>
                      <a:pt x="448" y="3023"/>
                    </a:lnTo>
                    <a:lnTo>
                      <a:pt x="1343" y="1568"/>
                    </a:lnTo>
                    <a:lnTo>
                      <a:pt x="1455" y="1232"/>
                    </a:lnTo>
                    <a:lnTo>
                      <a:pt x="1455" y="896"/>
                    </a:lnTo>
                    <a:lnTo>
                      <a:pt x="1343" y="561"/>
                    </a:lnTo>
                    <a:lnTo>
                      <a:pt x="1120" y="337"/>
                    </a:lnTo>
                    <a:lnTo>
                      <a:pt x="560" y="1"/>
                    </a:lnTo>
                    <a:close/>
                  </a:path>
                </a:pathLst>
              </a:custGeom>
              <a:solidFill>
                <a:srgbClr val="201B2C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1876;p16">
                <a:extLst>
                  <a:ext uri="{FF2B5EF4-FFF2-40B4-BE49-F238E27FC236}">
                    <a16:creationId xmlns:a16="http://schemas.microsoft.com/office/drawing/2014/main" id="{024573A7-1E53-1B2B-B5E1-8CBCD8CAE830}"/>
                  </a:ext>
                </a:extLst>
              </p:cNvPr>
              <p:cNvSpPr/>
              <p:nvPr/>
            </p:nvSpPr>
            <p:spPr>
              <a:xfrm>
                <a:off x="331500" y="2896675"/>
                <a:ext cx="470150" cy="400200"/>
              </a:xfrm>
              <a:custGeom>
                <a:avLst/>
                <a:gdLst/>
                <a:ahLst/>
                <a:cxnLst/>
                <a:rect l="l" t="t" r="r" b="b"/>
                <a:pathLst>
                  <a:path w="18806" h="16008" extrusionOk="0">
                    <a:moveTo>
                      <a:pt x="4701" y="0"/>
                    </a:moveTo>
                    <a:lnTo>
                      <a:pt x="4366" y="112"/>
                    </a:lnTo>
                    <a:lnTo>
                      <a:pt x="3806" y="336"/>
                    </a:lnTo>
                    <a:lnTo>
                      <a:pt x="3582" y="672"/>
                    </a:lnTo>
                    <a:lnTo>
                      <a:pt x="224" y="6828"/>
                    </a:lnTo>
                    <a:lnTo>
                      <a:pt x="112" y="7276"/>
                    </a:lnTo>
                    <a:lnTo>
                      <a:pt x="0" y="7724"/>
                    </a:lnTo>
                    <a:lnTo>
                      <a:pt x="0" y="8060"/>
                    </a:lnTo>
                    <a:lnTo>
                      <a:pt x="224" y="8284"/>
                    </a:lnTo>
                    <a:lnTo>
                      <a:pt x="448" y="8619"/>
                    </a:lnTo>
                    <a:lnTo>
                      <a:pt x="896" y="8955"/>
                    </a:lnTo>
                    <a:lnTo>
                      <a:pt x="13768" y="15896"/>
                    </a:lnTo>
                    <a:lnTo>
                      <a:pt x="14104" y="16007"/>
                    </a:lnTo>
                    <a:lnTo>
                      <a:pt x="14440" y="16007"/>
                    </a:lnTo>
                    <a:lnTo>
                      <a:pt x="14664" y="15896"/>
                    </a:lnTo>
                    <a:lnTo>
                      <a:pt x="14888" y="15672"/>
                    </a:lnTo>
                    <a:lnTo>
                      <a:pt x="18582" y="9291"/>
                    </a:lnTo>
                    <a:lnTo>
                      <a:pt x="18694" y="8955"/>
                    </a:lnTo>
                    <a:lnTo>
                      <a:pt x="18806" y="8619"/>
                    </a:lnTo>
                    <a:lnTo>
                      <a:pt x="18694" y="8284"/>
                    </a:lnTo>
                    <a:lnTo>
                      <a:pt x="18694" y="7948"/>
                    </a:lnTo>
                    <a:lnTo>
                      <a:pt x="18246" y="7276"/>
                    </a:lnTo>
                    <a:lnTo>
                      <a:pt x="17686" y="6828"/>
                    </a:lnTo>
                    <a:lnTo>
                      <a:pt x="17239" y="6605"/>
                    </a:lnTo>
                    <a:lnTo>
                      <a:pt x="5933" y="224"/>
                    </a:lnTo>
                    <a:lnTo>
                      <a:pt x="5485" y="112"/>
                    </a:lnTo>
                    <a:lnTo>
                      <a:pt x="5149" y="0"/>
                    </a:lnTo>
                    <a:close/>
                  </a:path>
                </a:pathLst>
              </a:custGeom>
              <a:solidFill>
                <a:srgbClr val="46464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1877;p16">
                <a:extLst>
                  <a:ext uri="{FF2B5EF4-FFF2-40B4-BE49-F238E27FC236}">
                    <a16:creationId xmlns:a16="http://schemas.microsoft.com/office/drawing/2014/main" id="{4259D153-1356-49C4-3A24-A88553C4B7F6}"/>
                  </a:ext>
                </a:extLst>
              </p:cNvPr>
              <p:cNvSpPr/>
              <p:nvPr/>
            </p:nvSpPr>
            <p:spPr>
              <a:xfrm>
                <a:off x="675700" y="3061775"/>
                <a:ext cx="125950" cy="235100"/>
              </a:xfrm>
              <a:custGeom>
                <a:avLst/>
                <a:gdLst/>
                <a:ahLst/>
                <a:cxnLst/>
                <a:rect l="l" t="t" r="r" b="b"/>
                <a:pathLst>
                  <a:path w="5038" h="9404" extrusionOk="0">
                    <a:moveTo>
                      <a:pt x="3471" y="1"/>
                    </a:moveTo>
                    <a:lnTo>
                      <a:pt x="3135" y="1680"/>
                    </a:lnTo>
                    <a:lnTo>
                      <a:pt x="2575" y="3583"/>
                    </a:lnTo>
                    <a:lnTo>
                      <a:pt x="1903" y="5486"/>
                    </a:lnTo>
                    <a:lnTo>
                      <a:pt x="1344" y="6381"/>
                    </a:lnTo>
                    <a:lnTo>
                      <a:pt x="896" y="7277"/>
                    </a:lnTo>
                    <a:lnTo>
                      <a:pt x="224" y="8396"/>
                    </a:lnTo>
                    <a:lnTo>
                      <a:pt x="0" y="9292"/>
                    </a:lnTo>
                    <a:lnTo>
                      <a:pt x="336" y="9403"/>
                    </a:lnTo>
                    <a:lnTo>
                      <a:pt x="672" y="9403"/>
                    </a:lnTo>
                    <a:lnTo>
                      <a:pt x="896" y="9292"/>
                    </a:lnTo>
                    <a:lnTo>
                      <a:pt x="1120" y="9068"/>
                    </a:lnTo>
                    <a:lnTo>
                      <a:pt x="4814" y="2687"/>
                    </a:lnTo>
                    <a:lnTo>
                      <a:pt x="4926" y="2351"/>
                    </a:lnTo>
                    <a:lnTo>
                      <a:pt x="5038" y="2015"/>
                    </a:lnTo>
                    <a:lnTo>
                      <a:pt x="4926" y="1680"/>
                    </a:lnTo>
                    <a:lnTo>
                      <a:pt x="4926" y="1344"/>
                    </a:lnTo>
                    <a:lnTo>
                      <a:pt x="4478" y="672"/>
                    </a:lnTo>
                    <a:lnTo>
                      <a:pt x="3918" y="224"/>
                    </a:lnTo>
                    <a:lnTo>
                      <a:pt x="3471" y="1"/>
                    </a:lnTo>
                    <a:close/>
                  </a:path>
                </a:pathLst>
              </a:custGeom>
              <a:solidFill>
                <a:srgbClr val="7E7E7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1878;p16">
                <a:extLst>
                  <a:ext uri="{FF2B5EF4-FFF2-40B4-BE49-F238E27FC236}">
                    <a16:creationId xmlns:a16="http://schemas.microsoft.com/office/drawing/2014/main" id="{72FC51D3-1ECE-53F1-4547-D5E6B9CC4F3F}"/>
                  </a:ext>
                </a:extLst>
              </p:cNvPr>
              <p:cNvSpPr/>
              <p:nvPr/>
            </p:nvSpPr>
            <p:spPr>
              <a:xfrm>
                <a:off x="614125" y="2406925"/>
                <a:ext cx="414200" cy="484175"/>
              </a:xfrm>
              <a:custGeom>
                <a:avLst/>
                <a:gdLst/>
                <a:ahLst/>
                <a:cxnLst/>
                <a:rect l="l" t="t" r="r" b="b"/>
                <a:pathLst>
                  <a:path w="16568" h="19367" extrusionOk="0">
                    <a:moveTo>
                      <a:pt x="14441" y="1"/>
                    </a:moveTo>
                    <a:lnTo>
                      <a:pt x="14105" y="113"/>
                    </a:lnTo>
                    <a:lnTo>
                      <a:pt x="13657" y="337"/>
                    </a:lnTo>
                    <a:lnTo>
                      <a:pt x="13098" y="672"/>
                    </a:lnTo>
                    <a:lnTo>
                      <a:pt x="9628" y="4143"/>
                    </a:lnTo>
                    <a:lnTo>
                      <a:pt x="7501" y="6381"/>
                    </a:lnTo>
                    <a:lnTo>
                      <a:pt x="5598" y="8508"/>
                    </a:lnTo>
                    <a:lnTo>
                      <a:pt x="4814" y="9740"/>
                    </a:lnTo>
                    <a:lnTo>
                      <a:pt x="4031" y="11083"/>
                    </a:lnTo>
                    <a:lnTo>
                      <a:pt x="2240" y="14105"/>
                    </a:lnTo>
                    <a:lnTo>
                      <a:pt x="1" y="18247"/>
                    </a:lnTo>
                    <a:lnTo>
                      <a:pt x="1" y="18359"/>
                    </a:lnTo>
                    <a:lnTo>
                      <a:pt x="1" y="18583"/>
                    </a:lnTo>
                    <a:lnTo>
                      <a:pt x="337" y="18807"/>
                    </a:lnTo>
                    <a:lnTo>
                      <a:pt x="784" y="18919"/>
                    </a:lnTo>
                    <a:lnTo>
                      <a:pt x="1456" y="19142"/>
                    </a:lnTo>
                    <a:lnTo>
                      <a:pt x="2687" y="19366"/>
                    </a:lnTo>
                    <a:lnTo>
                      <a:pt x="3247" y="19366"/>
                    </a:lnTo>
                    <a:lnTo>
                      <a:pt x="3583" y="19254"/>
                    </a:lnTo>
                    <a:lnTo>
                      <a:pt x="4255" y="18135"/>
                    </a:lnTo>
                    <a:lnTo>
                      <a:pt x="5598" y="15560"/>
                    </a:lnTo>
                    <a:lnTo>
                      <a:pt x="7165" y="12874"/>
                    </a:lnTo>
                    <a:lnTo>
                      <a:pt x="8172" y="11083"/>
                    </a:lnTo>
                    <a:lnTo>
                      <a:pt x="8956" y="10187"/>
                    </a:lnTo>
                    <a:lnTo>
                      <a:pt x="10075" y="9068"/>
                    </a:lnTo>
                    <a:lnTo>
                      <a:pt x="12874" y="6717"/>
                    </a:lnTo>
                    <a:lnTo>
                      <a:pt x="15448" y="4814"/>
                    </a:lnTo>
                    <a:lnTo>
                      <a:pt x="16568" y="3919"/>
                    </a:lnTo>
                    <a:lnTo>
                      <a:pt x="16456" y="3023"/>
                    </a:lnTo>
                    <a:lnTo>
                      <a:pt x="16232" y="2240"/>
                    </a:lnTo>
                    <a:lnTo>
                      <a:pt x="15896" y="1232"/>
                    </a:lnTo>
                    <a:lnTo>
                      <a:pt x="15448" y="561"/>
                    </a:lnTo>
                    <a:lnTo>
                      <a:pt x="15113" y="225"/>
                    </a:lnTo>
                    <a:lnTo>
                      <a:pt x="14889" y="1"/>
                    </a:lnTo>
                    <a:close/>
                  </a:path>
                </a:pathLst>
              </a:custGeom>
              <a:solidFill>
                <a:srgbClr val="EA8C23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1879;p16">
                <a:extLst>
                  <a:ext uri="{FF2B5EF4-FFF2-40B4-BE49-F238E27FC236}">
                    <a16:creationId xmlns:a16="http://schemas.microsoft.com/office/drawing/2014/main" id="{97329053-1670-4104-B64A-B395159554B8}"/>
                  </a:ext>
                </a:extLst>
              </p:cNvPr>
              <p:cNvSpPr/>
              <p:nvPr/>
            </p:nvSpPr>
            <p:spPr>
              <a:xfrm>
                <a:off x="614125" y="2406925"/>
                <a:ext cx="414200" cy="484175"/>
              </a:xfrm>
              <a:custGeom>
                <a:avLst/>
                <a:gdLst/>
                <a:ahLst/>
                <a:cxnLst/>
                <a:rect l="l" t="t" r="r" b="b"/>
                <a:pathLst>
                  <a:path w="16568" h="19367" fill="none" extrusionOk="0">
                    <a:moveTo>
                      <a:pt x="5598" y="8508"/>
                    </a:moveTo>
                    <a:lnTo>
                      <a:pt x="5598" y="8508"/>
                    </a:lnTo>
                    <a:lnTo>
                      <a:pt x="4814" y="9740"/>
                    </a:lnTo>
                    <a:lnTo>
                      <a:pt x="4031" y="11083"/>
                    </a:lnTo>
                    <a:lnTo>
                      <a:pt x="2240" y="14105"/>
                    </a:lnTo>
                    <a:lnTo>
                      <a:pt x="1" y="18247"/>
                    </a:lnTo>
                    <a:lnTo>
                      <a:pt x="1" y="18247"/>
                    </a:lnTo>
                    <a:lnTo>
                      <a:pt x="1" y="18359"/>
                    </a:lnTo>
                    <a:lnTo>
                      <a:pt x="1" y="18583"/>
                    </a:lnTo>
                    <a:lnTo>
                      <a:pt x="337" y="18807"/>
                    </a:lnTo>
                    <a:lnTo>
                      <a:pt x="784" y="18919"/>
                    </a:lnTo>
                    <a:lnTo>
                      <a:pt x="1456" y="19142"/>
                    </a:lnTo>
                    <a:lnTo>
                      <a:pt x="2687" y="19366"/>
                    </a:lnTo>
                    <a:lnTo>
                      <a:pt x="3247" y="19366"/>
                    </a:lnTo>
                    <a:lnTo>
                      <a:pt x="3583" y="19254"/>
                    </a:lnTo>
                    <a:lnTo>
                      <a:pt x="3583" y="19254"/>
                    </a:lnTo>
                    <a:lnTo>
                      <a:pt x="4255" y="18135"/>
                    </a:lnTo>
                    <a:lnTo>
                      <a:pt x="5598" y="15560"/>
                    </a:lnTo>
                    <a:lnTo>
                      <a:pt x="7165" y="12874"/>
                    </a:lnTo>
                    <a:lnTo>
                      <a:pt x="8172" y="11083"/>
                    </a:lnTo>
                    <a:lnTo>
                      <a:pt x="8172" y="11083"/>
                    </a:lnTo>
                    <a:lnTo>
                      <a:pt x="8956" y="10187"/>
                    </a:lnTo>
                    <a:lnTo>
                      <a:pt x="10075" y="9068"/>
                    </a:lnTo>
                    <a:lnTo>
                      <a:pt x="12874" y="6717"/>
                    </a:lnTo>
                    <a:lnTo>
                      <a:pt x="15448" y="4814"/>
                    </a:lnTo>
                    <a:lnTo>
                      <a:pt x="16568" y="3919"/>
                    </a:lnTo>
                    <a:lnTo>
                      <a:pt x="16568" y="3919"/>
                    </a:lnTo>
                    <a:lnTo>
                      <a:pt x="16456" y="3023"/>
                    </a:lnTo>
                    <a:lnTo>
                      <a:pt x="16232" y="2240"/>
                    </a:lnTo>
                    <a:lnTo>
                      <a:pt x="15896" y="1232"/>
                    </a:lnTo>
                    <a:lnTo>
                      <a:pt x="15448" y="561"/>
                    </a:lnTo>
                    <a:lnTo>
                      <a:pt x="15113" y="225"/>
                    </a:lnTo>
                    <a:lnTo>
                      <a:pt x="14889" y="1"/>
                    </a:lnTo>
                    <a:lnTo>
                      <a:pt x="14441" y="1"/>
                    </a:lnTo>
                    <a:lnTo>
                      <a:pt x="14105" y="113"/>
                    </a:lnTo>
                    <a:lnTo>
                      <a:pt x="13657" y="337"/>
                    </a:lnTo>
                    <a:lnTo>
                      <a:pt x="13098" y="672"/>
                    </a:lnTo>
                    <a:lnTo>
                      <a:pt x="13098" y="672"/>
                    </a:lnTo>
                    <a:lnTo>
                      <a:pt x="9628" y="4143"/>
                    </a:lnTo>
                    <a:lnTo>
                      <a:pt x="7501" y="6381"/>
                    </a:lnTo>
                    <a:lnTo>
                      <a:pt x="5598" y="8508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1880;p16">
                <a:extLst>
                  <a:ext uri="{FF2B5EF4-FFF2-40B4-BE49-F238E27FC236}">
                    <a16:creationId xmlns:a16="http://schemas.microsoft.com/office/drawing/2014/main" id="{7F81DA2B-372C-937B-456E-282C51DB7066}"/>
                  </a:ext>
                </a:extLst>
              </p:cNvPr>
              <p:cNvSpPr/>
              <p:nvPr/>
            </p:nvSpPr>
            <p:spPr>
              <a:xfrm>
                <a:off x="614125" y="2448900"/>
                <a:ext cx="302275" cy="442200"/>
              </a:xfrm>
              <a:custGeom>
                <a:avLst/>
                <a:gdLst/>
                <a:ahLst/>
                <a:cxnLst/>
                <a:rect l="l" t="t" r="r" b="b"/>
                <a:pathLst>
                  <a:path w="12091" h="17688" extrusionOk="0">
                    <a:moveTo>
                      <a:pt x="12090" y="1"/>
                    </a:moveTo>
                    <a:lnTo>
                      <a:pt x="8844" y="3247"/>
                    </a:lnTo>
                    <a:lnTo>
                      <a:pt x="7165" y="5150"/>
                    </a:lnTo>
                    <a:lnTo>
                      <a:pt x="5598" y="6829"/>
                    </a:lnTo>
                    <a:lnTo>
                      <a:pt x="4814" y="8061"/>
                    </a:lnTo>
                    <a:lnTo>
                      <a:pt x="4031" y="9404"/>
                    </a:lnTo>
                    <a:lnTo>
                      <a:pt x="2240" y="12426"/>
                    </a:lnTo>
                    <a:lnTo>
                      <a:pt x="1" y="16568"/>
                    </a:lnTo>
                    <a:lnTo>
                      <a:pt x="1" y="16680"/>
                    </a:lnTo>
                    <a:lnTo>
                      <a:pt x="1" y="16904"/>
                    </a:lnTo>
                    <a:lnTo>
                      <a:pt x="337" y="17016"/>
                    </a:lnTo>
                    <a:lnTo>
                      <a:pt x="1120" y="17351"/>
                    </a:lnTo>
                    <a:lnTo>
                      <a:pt x="2128" y="17575"/>
                    </a:lnTo>
                    <a:lnTo>
                      <a:pt x="3023" y="17687"/>
                    </a:lnTo>
                    <a:lnTo>
                      <a:pt x="3583" y="17575"/>
                    </a:lnTo>
                    <a:lnTo>
                      <a:pt x="4255" y="16456"/>
                    </a:lnTo>
                    <a:lnTo>
                      <a:pt x="5598" y="13881"/>
                    </a:lnTo>
                    <a:lnTo>
                      <a:pt x="7165" y="11195"/>
                    </a:lnTo>
                    <a:lnTo>
                      <a:pt x="8172" y="9404"/>
                    </a:lnTo>
                    <a:lnTo>
                      <a:pt x="8620" y="8844"/>
                    </a:lnTo>
                    <a:lnTo>
                      <a:pt x="9180" y="8172"/>
                    </a:lnTo>
                    <a:lnTo>
                      <a:pt x="10747" y="6717"/>
                    </a:lnTo>
                    <a:lnTo>
                      <a:pt x="11195" y="3135"/>
                    </a:lnTo>
                    <a:lnTo>
                      <a:pt x="11419" y="1792"/>
                    </a:lnTo>
                    <a:lnTo>
                      <a:pt x="11531" y="1008"/>
                    </a:lnTo>
                    <a:lnTo>
                      <a:pt x="11754" y="561"/>
                    </a:lnTo>
                    <a:lnTo>
                      <a:pt x="12090" y="1"/>
                    </a:lnTo>
                    <a:close/>
                  </a:path>
                </a:pathLst>
              </a:custGeom>
              <a:solidFill>
                <a:srgbClr val="C3783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1881;p16">
                <a:extLst>
                  <a:ext uri="{FF2B5EF4-FFF2-40B4-BE49-F238E27FC236}">
                    <a16:creationId xmlns:a16="http://schemas.microsoft.com/office/drawing/2014/main" id="{F17A1315-E862-59F9-A141-FD5744EADE33}"/>
                  </a:ext>
                </a:extLst>
              </p:cNvPr>
              <p:cNvSpPr/>
              <p:nvPr/>
            </p:nvSpPr>
            <p:spPr>
              <a:xfrm>
                <a:off x="614125" y="2448900"/>
                <a:ext cx="302275" cy="442200"/>
              </a:xfrm>
              <a:custGeom>
                <a:avLst/>
                <a:gdLst/>
                <a:ahLst/>
                <a:cxnLst/>
                <a:rect l="l" t="t" r="r" b="b"/>
                <a:pathLst>
                  <a:path w="12091" h="17688" fill="none" extrusionOk="0">
                    <a:moveTo>
                      <a:pt x="12090" y="1"/>
                    </a:moveTo>
                    <a:lnTo>
                      <a:pt x="12090" y="1"/>
                    </a:lnTo>
                    <a:lnTo>
                      <a:pt x="8844" y="3247"/>
                    </a:lnTo>
                    <a:lnTo>
                      <a:pt x="7165" y="5150"/>
                    </a:lnTo>
                    <a:lnTo>
                      <a:pt x="5598" y="6829"/>
                    </a:lnTo>
                    <a:lnTo>
                      <a:pt x="5598" y="6829"/>
                    </a:lnTo>
                    <a:lnTo>
                      <a:pt x="4814" y="8061"/>
                    </a:lnTo>
                    <a:lnTo>
                      <a:pt x="4031" y="9404"/>
                    </a:lnTo>
                    <a:lnTo>
                      <a:pt x="2240" y="12426"/>
                    </a:lnTo>
                    <a:lnTo>
                      <a:pt x="1" y="16568"/>
                    </a:lnTo>
                    <a:lnTo>
                      <a:pt x="1" y="16568"/>
                    </a:lnTo>
                    <a:lnTo>
                      <a:pt x="1" y="16680"/>
                    </a:lnTo>
                    <a:lnTo>
                      <a:pt x="1" y="16680"/>
                    </a:lnTo>
                    <a:lnTo>
                      <a:pt x="1" y="16904"/>
                    </a:lnTo>
                    <a:lnTo>
                      <a:pt x="337" y="17016"/>
                    </a:lnTo>
                    <a:lnTo>
                      <a:pt x="1120" y="17351"/>
                    </a:lnTo>
                    <a:lnTo>
                      <a:pt x="2128" y="17575"/>
                    </a:lnTo>
                    <a:lnTo>
                      <a:pt x="3023" y="17687"/>
                    </a:lnTo>
                    <a:lnTo>
                      <a:pt x="3023" y="17687"/>
                    </a:lnTo>
                    <a:lnTo>
                      <a:pt x="3583" y="17575"/>
                    </a:lnTo>
                    <a:lnTo>
                      <a:pt x="3583" y="17575"/>
                    </a:lnTo>
                    <a:lnTo>
                      <a:pt x="4255" y="16456"/>
                    </a:lnTo>
                    <a:lnTo>
                      <a:pt x="5598" y="13881"/>
                    </a:lnTo>
                    <a:lnTo>
                      <a:pt x="7165" y="11195"/>
                    </a:lnTo>
                    <a:lnTo>
                      <a:pt x="8172" y="9404"/>
                    </a:lnTo>
                    <a:lnTo>
                      <a:pt x="8172" y="9404"/>
                    </a:lnTo>
                    <a:lnTo>
                      <a:pt x="8620" y="8844"/>
                    </a:lnTo>
                    <a:lnTo>
                      <a:pt x="9180" y="8172"/>
                    </a:lnTo>
                    <a:lnTo>
                      <a:pt x="10747" y="6717"/>
                    </a:lnTo>
                    <a:lnTo>
                      <a:pt x="10747" y="6717"/>
                    </a:lnTo>
                    <a:lnTo>
                      <a:pt x="11195" y="3135"/>
                    </a:lnTo>
                    <a:lnTo>
                      <a:pt x="11419" y="1792"/>
                    </a:lnTo>
                    <a:lnTo>
                      <a:pt x="11531" y="1008"/>
                    </a:lnTo>
                    <a:lnTo>
                      <a:pt x="11531" y="1008"/>
                    </a:lnTo>
                    <a:lnTo>
                      <a:pt x="11754" y="561"/>
                    </a:lnTo>
                    <a:lnTo>
                      <a:pt x="1209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1882;p16">
                <a:extLst>
                  <a:ext uri="{FF2B5EF4-FFF2-40B4-BE49-F238E27FC236}">
                    <a16:creationId xmlns:a16="http://schemas.microsoft.com/office/drawing/2014/main" id="{111A189D-3152-4812-0D78-8E05BE0749BE}"/>
                  </a:ext>
                </a:extLst>
              </p:cNvPr>
              <p:cNvSpPr/>
              <p:nvPr/>
            </p:nvSpPr>
            <p:spPr>
              <a:xfrm>
                <a:off x="947150" y="2409725"/>
                <a:ext cx="14025" cy="8425"/>
              </a:xfrm>
              <a:custGeom>
                <a:avLst/>
                <a:gdLst/>
                <a:ahLst/>
                <a:cxnLst/>
                <a:rect l="l" t="t" r="r" b="b"/>
                <a:pathLst>
                  <a:path w="561" h="337" fill="none" extrusionOk="0">
                    <a:moveTo>
                      <a:pt x="560" y="1"/>
                    </a:moveTo>
                    <a:lnTo>
                      <a:pt x="560" y="1"/>
                    </a:lnTo>
                    <a:lnTo>
                      <a:pt x="1" y="337"/>
                    </a:lnTo>
                    <a:lnTo>
                      <a:pt x="1" y="337"/>
                    </a:lnTo>
                    <a:lnTo>
                      <a:pt x="56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1883;p16">
                <a:extLst>
                  <a:ext uri="{FF2B5EF4-FFF2-40B4-BE49-F238E27FC236}">
                    <a16:creationId xmlns:a16="http://schemas.microsoft.com/office/drawing/2014/main" id="{1F1303FD-9B24-34FE-4130-5C4A6F711D4F}"/>
                  </a:ext>
                </a:extLst>
              </p:cNvPr>
              <p:cNvSpPr/>
              <p:nvPr/>
            </p:nvSpPr>
            <p:spPr>
              <a:xfrm>
                <a:off x="4196175" y="1645750"/>
                <a:ext cx="181925" cy="75575"/>
              </a:xfrm>
              <a:custGeom>
                <a:avLst/>
                <a:gdLst/>
                <a:ahLst/>
                <a:cxnLst/>
                <a:rect l="l" t="t" r="r" b="b"/>
                <a:pathLst>
                  <a:path w="7277" h="3023" extrusionOk="0">
                    <a:moveTo>
                      <a:pt x="2239" y="0"/>
                    </a:moveTo>
                    <a:lnTo>
                      <a:pt x="2127" y="112"/>
                    </a:lnTo>
                    <a:lnTo>
                      <a:pt x="2127" y="336"/>
                    </a:lnTo>
                    <a:lnTo>
                      <a:pt x="2015" y="560"/>
                    </a:lnTo>
                    <a:lnTo>
                      <a:pt x="1792" y="784"/>
                    </a:lnTo>
                    <a:lnTo>
                      <a:pt x="1456" y="1008"/>
                    </a:lnTo>
                    <a:lnTo>
                      <a:pt x="784" y="1120"/>
                    </a:lnTo>
                    <a:lnTo>
                      <a:pt x="560" y="1344"/>
                    </a:lnTo>
                    <a:lnTo>
                      <a:pt x="224" y="1568"/>
                    </a:lnTo>
                    <a:lnTo>
                      <a:pt x="113" y="1903"/>
                    </a:lnTo>
                    <a:lnTo>
                      <a:pt x="1" y="2239"/>
                    </a:lnTo>
                    <a:lnTo>
                      <a:pt x="113" y="2575"/>
                    </a:lnTo>
                    <a:lnTo>
                      <a:pt x="448" y="2911"/>
                    </a:lnTo>
                    <a:lnTo>
                      <a:pt x="1120" y="3023"/>
                    </a:lnTo>
                    <a:lnTo>
                      <a:pt x="2127" y="2911"/>
                    </a:lnTo>
                    <a:lnTo>
                      <a:pt x="2575" y="2799"/>
                    </a:lnTo>
                    <a:lnTo>
                      <a:pt x="3135" y="2575"/>
                    </a:lnTo>
                    <a:lnTo>
                      <a:pt x="4142" y="2351"/>
                    </a:lnTo>
                    <a:lnTo>
                      <a:pt x="5486" y="2239"/>
                    </a:lnTo>
                    <a:lnTo>
                      <a:pt x="6829" y="2127"/>
                    </a:lnTo>
                    <a:lnTo>
                      <a:pt x="7277" y="2127"/>
                    </a:lnTo>
                    <a:lnTo>
                      <a:pt x="6941" y="0"/>
                    </a:lnTo>
                    <a:lnTo>
                      <a:pt x="6269" y="224"/>
                    </a:lnTo>
                    <a:lnTo>
                      <a:pt x="5598" y="336"/>
                    </a:lnTo>
                    <a:lnTo>
                      <a:pt x="4702" y="448"/>
                    </a:lnTo>
                    <a:lnTo>
                      <a:pt x="4254" y="336"/>
                    </a:lnTo>
                    <a:lnTo>
                      <a:pt x="3806" y="336"/>
                    </a:lnTo>
                    <a:lnTo>
                      <a:pt x="2911" y="0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3" name="Google Shape;1884;p16">
                <a:extLst>
                  <a:ext uri="{FF2B5EF4-FFF2-40B4-BE49-F238E27FC236}">
                    <a16:creationId xmlns:a16="http://schemas.microsoft.com/office/drawing/2014/main" id="{83E26F65-5DAD-7774-79B9-8ED0CBC44552}"/>
                  </a:ext>
                </a:extLst>
              </p:cNvPr>
              <p:cNvSpPr/>
              <p:nvPr/>
            </p:nvSpPr>
            <p:spPr>
              <a:xfrm>
                <a:off x="4103825" y="1645750"/>
                <a:ext cx="173525" cy="131550"/>
              </a:xfrm>
              <a:custGeom>
                <a:avLst/>
                <a:gdLst/>
                <a:ahLst/>
                <a:cxnLst/>
                <a:rect l="l" t="t" r="r" b="b"/>
                <a:pathLst>
                  <a:path w="6941" h="5262" extrusionOk="0">
                    <a:moveTo>
                      <a:pt x="5709" y="0"/>
                    </a:moveTo>
                    <a:lnTo>
                      <a:pt x="5374" y="112"/>
                    </a:lnTo>
                    <a:lnTo>
                      <a:pt x="4926" y="224"/>
                    </a:lnTo>
                    <a:lnTo>
                      <a:pt x="4478" y="560"/>
                    </a:lnTo>
                    <a:lnTo>
                      <a:pt x="4142" y="784"/>
                    </a:lnTo>
                    <a:lnTo>
                      <a:pt x="3583" y="1344"/>
                    </a:lnTo>
                    <a:lnTo>
                      <a:pt x="2799" y="1903"/>
                    </a:lnTo>
                    <a:lnTo>
                      <a:pt x="1680" y="2575"/>
                    </a:lnTo>
                    <a:lnTo>
                      <a:pt x="448" y="3247"/>
                    </a:lnTo>
                    <a:lnTo>
                      <a:pt x="1" y="3470"/>
                    </a:lnTo>
                    <a:lnTo>
                      <a:pt x="1232" y="5262"/>
                    </a:lnTo>
                    <a:lnTo>
                      <a:pt x="1792" y="4814"/>
                    </a:lnTo>
                    <a:lnTo>
                      <a:pt x="2351" y="4590"/>
                    </a:lnTo>
                    <a:lnTo>
                      <a:pt x="2799" y="4366"/>
                    </a:lnTo>
                    <a:lnTo>
                      <a:pt x="3135" y="4254"/>
                    </a:lnTo>
                    <a:lnTo>
                      <a:pt x="3583" y="3918"/>
                    </a:lnTo>
                    <a:lnTo>
                      <a:pt x="4030" y="3806"/>
                    </a:lnTo>
                    <a:lnTo>
                      <a:pt x="4814" y="3582"/>
                    </a:lnTo>
                    <a:lnTo>
                      <a:pt x="5709" y="3582"/>
                    </a:lnTo>
                    <a:lnTo>
                      <a:pt x="5933" y="3470"/>
                    </a:lnTo>
                    <a:lnTo>
                      <a:pt x="6157" y="3247"/>
                    </a:lnTo>
                    <a:lnTo>
                      <a:pt x="6045" y="3023"/>
                    </a:lnTo>
                    <a:lnTo>
                      <a:pt x="5486" y="2799"/>
                    </a:lnTo>
                    <a:lnTo>
                      <a:pt x="5262" y="2687"/>
                    </a:lnTo>
                    <a:lnTo>
                      <a:pt x="5262" y="2575"/>
                    </a:lnTo>
                    <a:lnTo>
                      <a:pt x="5709" y="2351"/>
                    </a:lnTo>
                    <a:lnTo>
                      <a:pt x="6605" y="2127"/>
                    </a:lnTo>
                    <a:lnTo>
                      <a:pt x="6829" y="1903"/>
                    </a:lnTo>
                    <a:lnTo>
                      <a:pt x="6941" y="1568"/>
                    </a:lnTo>
                    <a:lnTo>
                      <a:pt x="6941" y="1120"/>
                    </a:lnTo>
                    <a:lnTo>
                      <a:pt x="6829" y="672"/>
                    </a:lnTo>
                    <a:lnTo>
                      <a:pt x="6493" y="224"/>
                    </a:lnTo>
                    <a:lnTo>
                      <a:pt x="6269" y="112"/>
                    </a:lnTo>
                    <a:lnTo>
                      <a:pt x="6045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4" name="Google Shape;1885;p16">
                <a:extLst>
                  <a:ext uri="{FF2B5EF4-FFF2-40B4-BE49-F238E27FC236}">
                    <a16:creationId xmlns:a16="http://schemas.microsoft.com/office/drawing/2014/main" id="{AEB4609E-98A4-1184-A105-592B8A253E1B}"/>
                  </a:ext>
                </a:extLst>
              </p:cNvPr>
              <p:cNvSpPr/>
              <p:nvPr/>
            </p:nvSpPr>
            <p:spPr>
              <a:xfrm>
                <a:off x="5379925" y="2709175"/>
                <a:ext cx="861950" cy="2767700"/>
              </a:xfrm>
              <a:custGeom>
                <a:avLst/>
                <a:gdLst/>
                <a:ahLst/>
                <a:cxnLst/>
                <a:rect l="l" t="t" r="r" b="b"/>
                <a:pathLst>
                  <a:path w="34478" h="110708" extrusionOk="0">
                    <a:moveTo>
                      <a:pt x="3919" y="0"/>
                    </a:moveTo>
                    <a:lnTo>
                      <a:pt x="3247" y="112"/>
                    </a:lnTo>
                    <a:lnTo>
                      <a:pt x="2687" y="224"/>
                    </a:lnTo>
                    <a:lnTo>
                      <a:pt x="2128" y="448"/>
                    </a:lnTo>
                    <a:lnTo>
                      <a:pt x="1680" y="896"/>
                    </a:lnTo>
                    <a:lnTo>
                      <a:pt x="1008" y="1567"/>
                    </a:lnTo>
                    <a:lnTo>
                      <a:pt x="448" y="2463"/>
                    </a:lnTo>
                    <a:lnTo>
                      <a:pt x="113" y="3470"/>
                    </a:lnTo>
                    <a:lnTo>
                      <a:pt x="1" y="4590"/>
                    </a:lnTo>
                    <a:lnTo>
                      <a:pt x="113" y="110708"/>
                    </a:lnTo>
                    <a:lnTo>
                      <a:pt x="34478" y="110708"/>
                    </a:lnTo>
                    <a:lnTo>
                      <a:pt x="34366" y="4478"/>
                    </a:lnTo>
                    <a:lnTo>
                      <a:pt x="34254" y="3470"/>
                    </a:lnTo>
                    <a:lnTo>
                      <a:pt x="34030" y="2575"/>
                    </a:lnTo>
                    <a:lnTo>
                      <a:pt x="33470" y="1679"/>
                    </a:lnTo>
                    <a:lnTo>
                      <a:pt x="32911" y="1008"/>
                    </a:lnTo>
                    <a:lnTo>
                      <a:pt x="32239" y="448"/>
                    </a:lnTo>
                    <a:lnTo>
                      <a:pt x="31344" y="112"/>
                    </a:lnTo>
                    <a:lnTo>
                      <a:pt x="30560" y="0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5" name="Google Shape;1886;p16">
                <a:extLst>
                  <a:ext uri="{FF2B5EF4-FFF2-40B4-BE49-F238E27FC236}">
                    <a16:creationId xmlns:a16="http://schemas.microsoft.com/office/drawing/2014/main" id="{BE13F78C-4507-6032-85CB-8C5CAA8F2379}"/>
                  </a:ext>
                </a:extLst>
              </p:cNvPr>
              <p:cNvSpPr/>
              <p:nvPr/>
            </p:nvSpPr>
            <p:spPr>
              <a:xfrm>
                <a:off x="5379925" y="2709175"/>
                <a:ext cx="861950" cy="2767700"/>
              </a:xfrm>
              <a:custGeom>
                <a:avLst/>
                <a:gdLst/>
                <a:ahLst/>
                <a:cxnLst/>
                <a:rect l="l" t="t" r="r" b="b"/>
                <a:pathLst>
                  <a:path w="34478" h="110708" fill="none" extrusionOk="0">
                    <a:moveTo>
                      <a:pt x="34478" y="110708"/>
                    </a:moveTo>
                    <a:lnTo>
                      <a:pt x="34366" y="4478"/>
                    </a:lnTo>
                    <a:lnTo>
                      <a:pt x="34366" y="4478"/>
                    </a:lnTo>
                    <a:lnTo>
                      <a:pt x="34254" y="3470"/>
                    </a:lnTo>
                    <a:lnTo>
                      <a:pt x="34030" y="2575"/>
                    </a:lnTo>
                    <a:lnTo>
                      <a:pt x="33470" y="1679"/>
                    </a:lnTo>
                    <a:lnTo>
                      <a:pt x="32911" y="1008"/>
                    </a:lnTo>
                    <a:lnTo>
                      <a:pt x="32911" y="1008"/>
                    </a:lnTo>
                    <a:lnTo>
                      <a:pt x="32239" y="448"/>
                    </a:lnTo>
                    <a:lnTo>
                      <a:pt x="31344" y="112"/>
                    </a:lnTo>
                    <a:lnTo>
                      <a:pt x="31344" y="112"/>
                    </a:lnTo>
                    <a:lnTo>
                      <a:pt x="30560" y="0"/>
                    </a:lnTo>
                    <a:lnTo>
                      <a:pt x="30336" y="0"/>
                    </a:lnTo>
                    <a:lnTo>
                      <a:pt x="3919" y="0"/>
                    </a:lnTo>
                    <a:lnTo>
                      <a:pt x="3919" y="0"/>
                    </a:lnTo>
                    <a:lnTo>
                      <a:pt x="3247" y="112"/>
                    </a:lnTo>
                    <a:lnTo>
                      <a:pt x="2687" y="224"/>
                    </a:lnTo>
                    <a:lnTo>
                      <a:pt x="2128" y="448"/>
                    </a:lnTo>
                    <a:lnTo>
                      <a:pt x="1680" y="896"/>
                    </a:lnTo>
                    <a:lnTo>
                      <a:pt x="1680" y="896"/>
                    </a:lnTo>
                    <a:lnTo>
                      <a:pt x="1008" y="1567"/>
                    </a:lnTo>
                    <a:lnTo>
                      <a:pt x="448" y="2463"/>
                    </a:lnTo>
                    <a:lnTo>
                      <a:pt x="113" y="3470"/>
                    </a:lnTo>
                    <a:lnTo>
                      <a:pt x="1" y="4590"/>
                    </a:lnTo>
                    <a:lnTo>
                      <a:pt x="113" y="110708"/>
                    </a:lnTo>
                    <a:lnTo>
                      <a:pt x="34478" y="110708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7" name="Google Shape;1887;p16">
                <a:extLst>
                  <a:ext uri="{FF2B5EF4-FFF2-40B4-BE49-F238E27FC236}">
                    <a16:creationId xmlns:a16="http://schemas.microsoft.com/office/drawing/2014/main" id="{9FA2E654-C878-C262-46FA-D76A16D2C3F8}"/>
                  </a:ext>
                </a:extLst>
              </p:cNvPr>
              <p:cNvSpPr/>
              <p:nvPr/>
            </p:nvSpPr>
            <p:spPr>
              <a:xfrm>
                <a:off x="6143925" y="2709175"/>
                <a:ext cx="33600" cy="8425"/>
              </a:xfrm>
              <a:custGeom>
                <a:avLst/>
                <a:gdLst/>
                <a:ahLst/>
                <a:cxnLst/>
                <a:rect l="l" t="t" r="r" b="b"/>
                <a:pathLst>
                  <a:path w="1344" h="337" extrusionOk="0">
                    <a:moveTo>
                      <a:pt x="0" y="0"/>
                    </a:moveTo>
                    <a:lnTo>
                      <a:pt x="672" y="112"/>
                    </a:lnTo>
                    <a:lnTo>
                      <a:pt x="1343" y="336"/>
                    </a:lnTo>
                    <a:lnTo>
                      <a:pt x="784" y="1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DFDF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8" name="Google Shape;1888;p16">
                <a:extLst>
                  <a:ext uri="{FF2B5EF4-FFF2-40B4-BE49-F238E27FC236}">
                    <a16:creationId xmlns:a16="http://schemas.microsoft.com/office/drawing/2014/main" id="{8197B1D4-8CF3-69C9-59B4-F60F5C1E3D90}"/>
                  </a:ext>
                </a:extLst>
              </p:cNvPr>
              <p:cNvSpPr/>
              <p:nvPr/>
            </p:nvSpPr>
            <p:spPr>
              <a:xfrm>
                <a:off x="6219475" y="2751150"/>
                <a:ext cx="19600" cy="1589550"/>
              </a:xfrm>
              <a:custGeom>
                <a:avLst/>
                <a:gdLst/>
                <a:ahLst/>
                <a:cxnLst/>
                <a:rect l="l" t="t" r="r" b="b"/>
                <a:pathLst>
                  <a:path w="784" h="63582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336" y="672"/>
                    </a:lnTo>
                    <a:lnTo>
                      <a:pt x="560" y="1344"/>
                    </a:lnTo>
                    <a:lnTo>
                      <a:pt x="784" y="2015"/>
                    </a:lnTo>
                    <a:lnTo>
                      <a:pt x="784" y="2799"/>
                    </a:lnTo>
                    <a:lnTo>
                      <a:pt x="784" y="63582"/>
                    </a:lnTo>
                    <a:lnTo>
                      <a:pt x="784" y="2799"/>
                    </a:lnTo>
                    <a:lnTo>
                      <a:pt x="784" y="2799"/>
                    </a:lnTo>
                    <a:lnTo>
                      <a:pt x="784" y="2015"/>
                    </a:lnTo>
                    <a:lnTo>
                      <a:pt x="560" y="1344"/>
                    </a:lnTo>
                    <a:lnTo>
                      <a:pt x="336" y="67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9" name="Google Shape;1889;p16">
                <a:extLst>
                  <a:ext uri="{FF2B5EF4-FFF2-40B4-BE49-F238E27FC236}">
                    <a16:creationId xmlns:a16="http://schemas.microsoft.com/office/drawing/2014/main" id="{8B4B4F21-BE11-A36D-65FE-BF715C7F04B6}"/>
                  </a:ext>
                </a:extLst>
              </p:cNvPr>
              <p:cNvSpPr/>
              <p:nvPr/>
            </p:nvSpPr>
            <p:spPr>
              <a:xfrm>
                <a:off x="6219475" y="2751150"/>
                <a:ext cx="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0" name="Google Shape;1890;p16">
                <a:extLst>
                  <a:ext uri="{FF2B5EF4-FFF2-40B4-BE49-F238E27FC236}">
                    <a16:creationId xmlns:a16="http://schemas.microsoft.com/office/drawing/2014/main" id="{9AB1B755-E07F-59C4-F20A-3D29F7B3BFA1}"/>
                  </a:ext>
                </a:extLst>
              </p:cNvPr>
              <p:cNvSpPr/>
              <p:nvPr/>
            </p:nvSpPr>
            <p:spPr>
              <a:xfrm>
                <a:off x="6216675" y="2751150"/>
                <a:ext cx="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1" name="Google Shape;1891;p16">
                <a:extLst>
                  <a:ext uri="{FF2B5EF4-FFF2-40B4-BE49-F238E27FC236}">
                    <a16:creationId xmlns:a16="http://schemas.microsoft.com/office/drawing/2014/main" id="{D7009B02-1651-DFFE-E095-783CD75C0BDA}"/>
                  </a:ext>
                </a:extLst>
              </p:cNvPr>
              <p:cNvSpPr/>
              <p:nvPr/>
            </p:nvSpPr>
            <p:spPr>
              <a:xfrm>
                <a:off x="6177500" y="2717575"/>
                <a:ext cx="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2" name="Google Shape;1892;p16">
                <a:extLst>
                  <a:ext uri="{FF2B5EF4-FFF2-40B4-BE49-F238E27FC236}">
                    <a16:creationId xmlns:a16="http://schemas.microsoft.com/office/drawing/2014/main" id="{49257434-3363-F782-FD84-0130BCA7C87E}"/>
                  </a:ext>
                </a:extLst>
              </p:cNvPr>
              <p:cNvSpPr/>
              <p:nvPr/>
            </p:nvSpPr>
            <p:spPr>
              <a:xfrm>
                <a:off x="5928425" y="2709175"/>
                <a:ext cx="249100" cy="8425"/>
              </a:xfrm>
              <a:custGeom>
                <a:avLst/>
                <a:gdLst/>
                <a:ahLst/>
                <a:cxnLst/>
                <a:rect l="l" t="t" r="r" b="b"/>
                <a:pathLst>
                  <a:path w="9964" h="337" fill="none" extrusionOk="0">
                    <a:moveTo>
                      <a:pt x="8620" y="0"/>
                    </a:moveTo>
                    <a:lnTo>
                      <a:pt x="8620" y="0"/>
                    </a:lnTo>
                    <a:lnTo>
                      <a:pt x="862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8396" y="0"/>
                    </a:lnTo>
                    <a:lnTo>
                      <a:pt x="8620" y="0"/>
                    </a:lnTo>
                    <a:lnTo>
                      <a:pt x="8620" y="0"/>
                    </a:lnTo>
                    <a:lnTo>
                      <a:pt x="9404" y="112"/>
                    </a:lnTo>
                    <a:lnTo>
                      <a:pt x="9404" y="112"/>
                    </a:lnTo>
                    <a:lnTo>
                      <a:pt x="9963" y="336"/>
                    </a:lnTo>
                    <a:lnTo>
                      <a:pt x="9963" y="336"/>
                    </a:lnTo>
                    <a:lnTo>
                      <a:pt x="9292" y="112"/>
                    </a:lnTo>
                    <a:lnTo>
                      <a:pt x="862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3" name="Google Shape;1893;p16">
                <a:extLst>
                  <a:ext uri="{FF2B5EF4-FFF2-40B4-BE49-F238E27FC236}">
                    <a16:creationId xmlns:a16="http://schemas.microsoft.com/office/drawing/2014/main" id="{5FEEC011-6C0E-6F7C-96AA-86B345B587A2}"/>
                  </a:ext>
                </a:extLst>
              </p:cNvPr>
              <p:cNvSpPr/>
              <p:nvPr/>
            </p:nvSpPr>
            <p:spPr>
              <a:xfrm>
                <a:off x="5925625" y="2709175"/>
                <a:ext cx="316250" cy="2767700"/>
              </a:xfrm>
              <a:custGeom>
                <a:avLst/>
                <a:gdLst/>
                <a:ahLst/>
                <a:cxnLst/>
                <a:rect l="l" t="t" r="r" b="b"/>
                <a:pathLst>
                  <a:path w="12650" h="110708" extrusionOk="0">
                    <a:moveTo>
                      <a:pt x="113" y="0"/>
                    </a:moveTo>
                    <a:lnTo>
                      <a:pt x="1" y="27761"/>
                    </a:lnTo>
                    <a:lnTo>
                      <a:pt x="225" y="56529"/>
                    </a:lnTo>
                    <a:lnTo>
                      <a:pt x="560" y="84738"/>
                    </a:lnTo>
                    <a:lnTo>
                      <a:pt x="784" y="98059"/>
                    </a:lnTo>
                    <a:lnTo>
                      <a:pt x="1120" y="110708"/>
                    </a:lnTo>
                    <a:lnTo>
                      <a:pt x="12650" y="110708"/>
                    </a:lnTo>
                    <a:lnTo>
                      <a:pt x="12538" y="65261"/>
                    </a:lnTo>
                    <a:lnTo>
                      <a:pt x="12538" y="4478"/>
                    </a:lnTo>
                    <a:lnTo>
                      <a:pt x="12538" y="3694"/>
                    </a:lnTo>
                    <a:lnTo>
                      <a:pt x="12314" y="3023"/>
                    </a:lnTo>
                    <a:lnTo>
                      <a:pt x="12090" y="2351"/>
                    </a:lnTo>
                    <a:lnTo>
                      <a:pt x="11754" y="1679"/>
                    </a:lnTo>
                    <a:lnTo>
                      <a:pt x="11642" y="1679"/>
                    </a:lnTo>
                    <a:lnTo>
                      <a:pt x="11307" y="1232"/>
                    </a:lnTo>
                    <a:lnTo>
                      <a:pt x="10971" y="896"/>
                    </a:lnTo>
                    <a:lnTo>
                      <a:pt x="10523" y="560"/>
                    </a:lnTo>
                    <a:lnTo>
                      <a:pt x="10075" y="336"/>
                    </a:lnTo>
                    <a:lnTo>
                      <a:pt x="9516" y="112"/>
                    </a:lnTo>
                    <a:lnTo>
                      <a:pt x="8732" y="0"/>
                    </a:lnTo>
                    <a:close/>
                  </a:path>
                </a:pathLst>
              </a:custGeom>
              <a:solidFill>
                <a:srgbClr val="D25F3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4" name="Google Shape;1894;p16">
                <a:extLst>
                  <a:ext uri="{FF2B5EF4-FFF2-40B4-BE49-F238E27FC236}">
                    <a16:creationId xmlns:a16="http://schemas.microsoft.com/office/drawing/2014/main" id="{56AA4EBD-D5F3-EE2A-405A-39F03992007E}"/>
                  </a:ext>
                </a:extLst>
              </p:cNvPr>
              <p:cNvSpPr/>
              <p:nvPr/>
            </p:nvSpPr>
            <p:spPr>
              <a:xfrm>
                <a:off x="5925625" y="2709175"/>
                <a:ext cx="316250" cy="2767700"/>
              </a:xfrm>
              <a:custGeom>
                <a:avLst/>
                <a:gdLst/>
                <a:ahLst/>
                <a:cxnLst/>
                <a:rect l="l" t="t" r="r" b="b"/>
                <a:pathLst>
                  <a:path w="12650" h="110708" fill="none" extrusionOk="0">
                    <a:moveTo>
                      <a:pt x="8732" y="0"/>
                    </a:moveTo>
                    <a:lnTo>
                      <a:pt x="8508" y="0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" y="27761"/>
                    </a:lnTo>
                    <a:lnTo>
                      <a:pt x="225" y="56529"/>
                    </a:lnTo>
                    <a:lnTo>
                      <a:pt x="560" y="84738"/>
                    </a:lnTo>
                    <a:lnTo>
                      <a:pt x="784" y="98059"/>
                    </a:lnTo>
                    <a:lnTo>
                      <a:pt x="1120" y="110708"/>
                    </a:lnTo>
                    <a:lnTo>
                      <a:pt x="12650" y="110708"/>
                    </a:lnTo>
                    <a:lnTo>
                      <a:pt x="12538" y="65261"/>
                    </a:lnTo>
                    <a:lnTo>
                      <a:pt x="12538" y="4478"/>
                    </a:lnTo>
                    <a:lnTo>
                      <a:pt x="12538" y="4478"/>
                    </a:lnTo>
                    <a:lnTo>
                      <a:pt x="12538" y="3694"/>
                    </a:lnTo>
                    <a:lnTo>
                      <a:pt x="12314" y="3023"/>
                    </a:lnTo>
                    <a:lnTo>
                      <a:pt x="12090" y="2351"/>
                    </a:lnTo>
                    <a:lnTo>
                      <a:pt x="11754" y="1679"/>
                    </a:lnTo>
                    <a:lnTo>
                      <a:pt x="11754" y="1679"/>
                    </a:lnTo>
                    <a:lnTo>
                      <a:pt x="11754" y="1679"/>
                    </a:lnTo>
                    <a:lnTo>
                      <a:pt x="11754" y="1679"/>
                    </a:lnTo>
                    <a:lnTo>
                      <a:pt x="11754" y="1679"/>
                    </a:lnTo>
                    <a:lnTo>
                      <a:pt x="11754" y="1679"/>
                    </a:lnTo>
                    <a:lnTo>
                      <a:pt x="11642" y="1679"/>
                    </a:lnTo>
                    <a:lnTo>
                      <a:pt x="11642" y="1679"/>
                    </a:lnTo>
                    <a:lnTo>
                      <a:pt x="11642" y="1679"/>
                    </a:lnTo>
                    <a:lnTo>
                      <a:pt x="11642" y="1679"/>
                    </a:lnTo>
                    <a:lnTo>
                      <a:pt x="11307" y="1232"/>
                    </a:lnTo>
                    <a:lnTo>
                      <a:pt x="10971" y="896"/>
                    </a:lnTo>
                    <a:lnTo>
                      <a:pt x="10523" y="560"/>
                    </a:lnTo>
                    <a:lnTo>
                      <a:pt x="10075" y="336"/>
                    </a:lnTo>
                    <a:lnTo>
                      <a:pt x="10075" y="336"/>
                    </a:lnTo>
                    <a:lnTo>
                      <a:pt x="10075" y="336"/>
                    </a:lnTo>
                    <a:lnTo>
                      <a:pt x="10075" y="336"/>
                    </a:lnTo>
                    <a:lnTo>
                      <a:pt x="10075" y="336"/>
                    </a:lnTo>
                    <a:lnTo>
                      <a:pt x="10075" y="336"/>
                    </a:lnTo>
                    <a:lnTo>
                      <a:pt x="9516" y="112"/>
                    </a:lnTo>
                    <a:lnTo>
                      <a:pt x="9516" y="112"/>
                    </a:lnTo>
                    <a:lnTo>
                      <a:pt x="873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5" name="Google Shape;1895;p16">
                <a:extLst>
                  <a:ext uri="{FF2B5EF4-FFF2-40B4-BE49-F238E27FC236}">
                    <a16:creationId xmlns:a16="http://schemas.microsoft.com/office/drawing/2014/main" id="{7CC7EEEE-A9DE-5BF3-732B-C272378B0ED7}"/>
                  </a:ext>
                </a:extLst>
              </p:cNvPr>
              <p:cNvSpPr/>
              <p:nvPr/>
            </p:nvSpPr>
            <p:spPr>
              <a:xfrm>
                <a:off x="6429350" y="2420925"/>
                <a:ext cx="859150" cy="3055950"/>
              </a:xfrm>
              <a:custGeom>
                <a:avLst/>
                <a:gdLst/>
                <a:ahLst/>
                <a:cxnLst/>
                <a:rect l="l" t="t" r="r" b="b"/>
                <a:pathLst>
                  <a:path w="34366" h="122238" extrusionOk="0">
                    <a:moveTo>
                      <a:pt x="3919" y="1"/>
                    </a:moveTo>
                    <a:lnTo>
                      <a:pt x="2911" y="112"/>
                    </a:lnTo>
                    <a:lnTo>
                      <a:pt x="2128" y="560"/>
                    </a:lnTo>
                    <a:lnTo>
                      <a:pt x="1344" y="1120"/>
                    </a:lnTo>
                    <a:lnTo>
                      <a:pt x="784" y="1792"/>
                    </a:lnTo>
                    <a:lnTo>
                      <a:pt x="449" y="2463"/>
                    </a:lnTo>
                    <a:lnTo>
                      <a:pt x="225" y="3135"/>
                    </a:lnTo>
                    <a:lnTo>
                      <a:pt x="113" y="3806"/>
                    </a:lnTo>
                    <a:lnTo>
                      <a:pt x="1" y="4590"/>
                    </a:lnTo>
                    <a:lnTo>
                      <a:pt x="1" y="122238"/>
                    </a:lnTo>
                    <a:lnTo>
                      <a:pt x="34366" y="122238"/>
                    </a:lnTo>
                    <a:lnTo>
                      <a:pt x="34366" y="4590"/>
                    </a:lnTo>
                    <a:lnTo>
                      <a:pt x="34254" y="3583"/>
                    </a:lnTo>
                    <a:lnTo>
                      <a:pt x="34030" y="2687"/>
                    </a:lnTo>
                    <a:lnTo>
                      <a:pt x="33694" y="1903"/>
                    </a:lnTo>
                    <a:lnTo>
                      <a:pt x="33135" y="1232"/>
                    </a:lnTo>
                    <a:lnTo>
                      <a:pt x="32575" y="784"/>
                    </a:lnTo>
                    <a:lnTo>
                      <a:pt x="31903" y="336"/>
                    </a:lnTo>
                    <a:lnTo>
                      <a:pt x="31232" y="112"/>
                    </a:lnTo>
                    <a:lnTo>
                      <a:pt x="30448" y="1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6" name="Google Shape;1896;p16">
                <a:extLst>
                  <a:ext uri="{FF2B5EF4-FFF2-40B4-BE49-F238E27FC236}">
                    <a16:creationId xmlns:a16="http://schemas.microsoft.com/office/drawing/2014/main" id="{B3A1DB65-AC54-9833-C5AF-0B0A9CC8697B}"/>
                  </a:ext>
                </a:extLst>
              </p:cNvPr>
              <p:cNvSpPr/>
              <p:nvPr/>
            </p:nvSpPr>
            <p:spPr>
              <a:xfrm>
                <a:off x="6429350" y="2420925"/>
                <a:ext cx="859150" cy="3055950"/>
              </a:xfrm>
              <a:custGeom>
                <a:avLst/>
                <a:gdLst/>
                <a:ahLst/>
                <a:cxnLst/>
                <a:rect l="l" t="t" r="r" b="b"/>
                <a:pathLst>
                  <a:path w="34366" h="122238" fill="none" extrusionOk="0">
                    <a:moveTo>
                      <a:pt x="34366" y="122238"/>
                    </a:moveTo>
                    <a:lnTo>
                      <a:pt x="34366" y="4590"/>
                    </a:lnTo>
                    <a:lnTo>
                      <a:pt x="34366" y="4590"/>
                    </a:lnTo>
                    <a:lnTo>
                      <a:pt x="34254" y="3583"/>
                    </a:lnTo>
                    <a:lnTo>
                      <a:pt x="34030" y="2687"/>
                    </a:lnTo>
                    <a:lnTo>
                      <a:pt x="33694" y="1903"/>
                    </a:lnTo>
                    <a:lnTo>
                      <a:pt x="33135" y="1232"/>
                    </a:lnTo>
                    <a:lnTo>
                      <a:pt x="33135" y="1232"/>
                    </a:lnTo>
                    <a:lnTo>
                      <a:pt x="32575" y="784"/>
                    </a:lnTo>
                    <a:lnTo>
                      <a:pt x="31903" y="336"/>
                    </a:lnTo>
                    <a:lnTo>
                      <a:pt x="31232" y="112"/>
                    </a:lnTo>
                    <a:lnTo>
                      <a:pt x="30448" y="1"/>
                    </a:lnTo>
                    <a:lnTo>
                      <a:pt x="3919" y="1"/>
                    </a:lnTo>
                    <a:lnTo>
                      <a:pt x="3919" y="1"/>
                    </a:lnTo>
                    <a:lnTo>
                      <a:pt x="2911" y="112"/>
                    </a:lnTo>
                    <a:lnTo>
                      <a:pt x="2128" y="560"/>
                    </a:lnTo>
                    <a:lnTo>
                      <a:pt x="1344" y="1120"/>
                    </a:lnTo>
                    <a:lnTo>
                      <a:pt x="784" y="1792"/>
                    </a:lnTo>
                    <a:lnTo>
                      <a:pt x="784" y="1792"/>
                    </a:lnTo>
                    <a:lnTo>
                      <a:pt x="449" y="2463"/>
                    </a:lnTo>
                    <a:lnTo>
                      <a:pt x="225" y="3135"/>
                    </a:lnTo>
                    <a:lnTo>
                      <a:pt x="113" y="3806"/>
                    </a:lnTo>
                    <a:lnTo>
                      <a:pt x="1" y="4590"/>
                    </a:lnTo>
                    <a:lnTo>
                      <a:pt x="1" y="122238"/>
                    </a:lnTo>
                    <a:lnTo>
                      <a:pt x="34366" y="122238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7" name="Google Shape;1897;p16">
                <a:extLst>
                  <a:ext uri="{FF2B5EF4-FFF2-40B4-BE49-F238E27FC236}">
                    <a16:creationId xmlns:a16="http://schemas.microsoft.com/office/drawing/2014/main" id="{B6F4525E-0F4A-50C0-4963-330AD2CE7E19}"/>
                  </a:ext>
                </a:extLst>
              </p:cNvPr>
              <p:cNvSpPr/>
              <p:nvPr/>
            </p:nvSpPr>
            <p:spPr>
              <a:xfrm>
                <a:off x="7266100" y="2462900"/>
                <a:ext cx="22400" cy="3013975"/>
              </a:xfrm>
              <a:custGeom>
                <a:avLst/>
                <a:gdLst/>
                <a:ahLst/>
                <a:cxnLst/>
                <a:rect l="l" t="t" r="r" b="b"/>
                <a:pathLst>
                  <a:path w="896" h="120559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336" y="672"/>
                    </a:lnTo>
                    <a:lnTo>
                      <a:pt x="672" y="1344"/>
                    </a:lnTo>
                    <a:lnTo>
                      <a:pt x="784" y="2015"/>
                    </a:lnTo>
                    <a:lnTo>
                      <a:pt x="896" y="2911"/>
                    </a:lnTo>
                    <a:lnTo>
                      <a:pt x="896" y="120559"/>
                    </a:lnTo>
                    <a:lnTo>
                      <a:pt x="896" y="120559"/>
                    </a:lnTo>
                    <a:lnTo>
                      <a:pt x="896" y="2911"/>
                    </a:lnTo>
                    <a:lnTo>
                      <a:pt x="896" y="2911"/>
                    </a:lnTo>
                    <a:lnTo>
                      <a:pt x="784" y="2015"/>
                    </a:lnTo>
                    <a:lnTo>
                      <a:pt x="672" y="1344"/>
                    </a:lnTo>
                    <a:lnTo>
                      <a:pt x="336" y="672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FDFDF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8" name="Google Shape;1898;p16">
                <a:extLst>
                  <a:ext uri="{FF2B5EF4-FFF2-40B4-BE49-F238E27FC236}">
                    <a16:creationId xmlns:a16="http://schemas.microsoft.com/office/drawing/2014/main" id="{2CD29004-F0A9-5B82-DDD6-AC77DC008838}"/>
                  </a:ext>
                </a:extLst>
              </p:cNvPr>
              <p:cNvSpPr/>
              <p:nvPr/>
            </p:nvSpPr>
            <p:spPr>
              <a:xfrm>
                <a:off x="7266100" y="2462900"/>
                <a:ext cx="22400" cy="3013975"/>
              </a:xfrm>
              <a:custGeom>
                <a:avLst/>
                <a:gdLst/>
                <a:ahLst/>
                <a:cxnLst/>
                <a:rect l="l" t="t" r="r" b="b"/>
                <a:pathLst>
                  <a:path w="896" h="120559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336" y="672"/>
                    </a:lnTo>
                    <a:lnTo>
                      <a:pt x="672" y="1344"/>
                    </a:lnTo>
                    <a:lnTo>
                      <a:pt x="784" y="2015"/>
                    </a:lnTo>
                    <a:lnTo>
                      <a:pt x="896" y="2911"/>
                    </a:lnTo>
                    <a:lnTo>
                      <a:pt x="896" y="120559"/>
                    </a:lnTo>
                    <a:lnTo>
                      <a:pt x="896" y="120559"/>
                    </a:lnTo>
                    <a:lnTo>
                      <a:pt x="896" y="2911"/>
                    </a:lnTo>
                    <a:lnTo>
                      <a:pt x="896" y="2911"/>
                    </a:lnTo>
                    <a:lnTo>
                      <a:pt x="784" y="2015"/>
                    </a:lnTo>
                    <a:lnTo>
                      <a:pt x="672" y="1344"/>
                    </a:lnTo>
                    <a:lnTo>
                      <a:pt x="336" y="672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9" name="Google Shape;1899;p16">
                <a:extLst>
                  <a:ext uri="{FF2B5EF4-FFF2-40B4-BE49-F238E27FC236}">
                    <a16:creationId xmlns:a16="http://schemas.microsoft.com/office/drawing/2014/main" id="{C77B473F-3870-26A8-DD8E-18B746C7AF6F}"/>
                  </a:ext>
                </a:extLst>
              </p:cNvPr>
              <p:cNvSpPr/>
              <p:nvPr/>
            </p:nvSpPr>
            <p:spPr>
              <a:xfrm>
                <a:off x="6975050" y="2420925"/>
                <a:ext cx="313450" cy="3055950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122238" extrusionOk="0">
                    <a:moveTo>
                      <a:pt x="113" y="1"/>
                    </a:moveTo>
                    <a:lnTo>
                      <a:pt x="1" y="27649"/>
                    </a:lnTo>
                    <a:lnTo>
                      <a:pt x="113" y="58880"/>
                    </a:lnTo>
                    <a:lnTo>
                      <a:pt x="449" y="91231"/>
                    </a:lnTo>
                    <a:lnTo>
                      <a:pt x="896" y="122238"/>
                    </a:lnTo>
                    <a:lnTo>
                      <a:pt x="12538" y="122238"/>
                    </a:lnTo>
                    <a:lnTo>
                      <a:pt x="12538" y="4590"/>
                    </a:lnTo>
                    <a:lnTo>
                      <a:pt x="12426" y="3694"/>
                    </a:lnTo>
                    <a:lnTo>
                      <a:pt x="12314" y="3023"/>
                    </a:lnTo>
                    <a:lnTo>
                      <a:pt x="11978" y="2351"/>
                    </a:lnTo>
                    <a:lnTo>
                      <a:pt x="11643" y="1680"/>
                    </a:lnTo>
                    <a:lnTo>
                      <a:pt x="11083" y="1008"/>
                    </a:lnTo>
                    <a:lnTo>
                      <a:pt x="10299" y="448"/>
                    </a:lnTo>
                    <a:lnTo>
                      <a:pt x="9516" y="112"/>
                    </a:lnTo>
                    <a:lnTo>
                      <a:pt x="8620" y="1"/>
                    </a:lnTo>
                    <a:close/>
                  </a:path>
                </a:pathLst>
              </a:custGeom>
              <a:solidFill>
                <a:srgbClr val="D25F3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0" name="Google Shape;1900;p16">
                <a:extLst>
                  <a:ext uri="{FF2B5EF4-FFF2-40B4-BE49-F238E27FC236}">
                    <a16:creationId xmlns:a16="http://schemas.microsoft.com/office/drawing/2014/main" id="{90125AFA-74D4-EB7D-8164-DE4ADFC22BDC}"/>
                  </a:ext>
                </a:extLst>
              </p:cNvPr>
              <p:cNvSpPr/>
              <p:nvPr/>
            </p:nvSpPr>
            <p:spPr>
              <a:xfrm>
                <a:off x="6975050" y="2420925"/>
                <a:ext cx="313450" cy="3055950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122238" fill="none" extrusionOk="0">
                    <a:moveTo>
                      <a:pt x="8620" y="1"/>
                    </a:moveTo>
                    <a:lnTo>
                      <a:pt x="8620" y="1"/>
                    </a:lnTo>
                    <a:lnTo>
                      <a:pt x="8620" y="1"/>
                    </a:lnTo>
                    <a:lnTo>
                      <a:pt x="113" y="1"/>
                    </a:lnTo>
                    <a:lnTo>
                      <a:pt x="113" y="1"/>
                    </a:lnTo>
                    <a:lnTo>
                      <a:pt x="1" y="27649"/>
                    </a:lnTo>
                    <a:lnTo>
                      <a:pt x="113" y="58880"/>
                    </a:lnTo>
                    <a:lnTo>
                      <a:pt x="449" y="91231"/>
                    </a:lnTo>
                    <a:lnTo>
                      <a:pt x="896" y="122238"/>
                    </a:lnTo>
                    <a:lnTo>
                      <a:pt x="12538" y="122238"/>
                    </a:lnTo>
                    <a:lnTo>
                      <a:pt x="12538" y="4590"/>
                    </a:lnTo>
                    <a:lnTo>
                      <a:pt x="12538" y="4590"/>
                    </a:lnTo>
                    <a:lnTo>
                      <a:pt x="12426" y="3694"/>
                    </a:lnTo>
                    <a:lnTo>
                      <a:pt x="12314" y="3023"/>
                    </a:lnTo>
                    <a:lnTo>
                      <a:pt x="11978" y="2351"/>
                    </a:lnTo>
                    <a:lnTo>
                      <a:pt x="11643" y="1680"/>
                    </a:lnTo>
                    <a:lnTo>
                      <a:pt x="11643" y="1680"/>
                    </a:lnTo>
                    <a:lnTo>
                      <a:pt x="11083" y="1008"/>
                    </a:lnTo>
                    <a:lnTo>
                      <a:pt x="10299" y="448"/>
                    </a:lnTo>
                    <a:lnTo>
                      <a:pt x="9516" y="112"/>
                    </a:lnTo>
                    <a:lnTo>
                      <a:pt x="862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1" name="Google Shape;1901;p16">
                <a:extLst>
                  <a:ext uri="{FF2B5EF4-FFF2-40B4-BE49-F238E27FC236}">
                    <a16:creationId xmlns:a16="http://schemas.microsoft.com/office/drawing/2014/main" id="{13D850F2-9628-1117-A3BE-DEA7AFA27707}"/>
                  </a:ext>
                </a:extLst>
              </p:cNvPr>
              <p:cNvSpPr/>
              <p:nvPr/>
            </p:nvSpPr>
            <p:spPr>
              <a:xfrm>
                <a:off x="4316500" y="3019800"/>
                <a:ext cx="859175" cy="2457075"/>
              </a:xfrm>
              <a:custGeom>
                <a:avLst/>
                <a:gdLst/>
                <a:ahLst/>
                <a:cxnLst/>
                <a:rect l="l" t="t" r="r" b="b"/>
                <a:pathLst>
                  <a:path w="34367" h="98283" extrusionOk="0">
                    <a:moveTo>
                      <a:pt x="3919" y="0"/>
                    </a:moveTo>
                    <a:lnTo>
                      <a:pt x="2911" y="112"/>
                    </a:lnTo>
                    <a:lnTo>
                      <a:pt x="2016" y="448"/>
                    </a:lnTo>
                    <a:lnTo>
                      <a:pt x="1456" y="784"/>
                    </a:lnTo>
                    <a:lnTo>
                      <a:pt x="1008" y="1120"/>
                    </a:lnTo>
                    <a:lnTo>
                      <a:pt x="561" y="1680"/>
                    </a:lnTo>
                    <a:lnTo>
                      <a:pt x="337" y="2239"/>
                    </a:lnTo>
                    <a:lnTo>
                      <a:pt x="113" y="2799"/>
                    </a:lnTo>
                    <a:lnTo>
                      <a:pt x="1" y="3471"/>
                    </a:lnTo>
                    <a:lnTo>
                      <a:pt x="113" y="98283"/>
                    </a:lnTo>
                    <a:lnTo>
                      <a:pt x="34366" y="98283"/>
                    </a:lnTo>
                    <a:lnTo>
                      <a:pt x="34366" y="3471"/>
                    </a:lnTo>
                    <a:lnTo>
                      <a:pt x="34366" y="3359"/>
                    </a:lnTo>
                    <a:lnTo>
                      <a:pt x="34366" y="2911"/>
                    </a:lnTo>
                    <a:lnTo>
                      <a:pt x="34254" y="2575"/>
                    </a:lnTo>
                    <a:lnTo>
                      <a:pt x="34254" y="2463"/>
                    </a:lnTo>
                    <a:lnTo>
                      <a:pt x="34030" y="2127"/>
                    </a:lnTo>
                    <a:lnTo>
                      <a:pt x="33918" y="1791"/>
                    </a:lnTo>
                    <a:lnTo>
                      <a:pt x="33695" y="1568"/>
                    </a:lnTo>
                    <a:lnTo>
                      <a:pt x="33135" y="896"/>
                    </a:lnTo>
                    <a:lnTo>
                      <a:pt x="33023" y="784"/>
                    </a:lnTo>
                    <a:lnTo>
                      <a:pt x="32463" y="448"/>
                    </a:lnTo>
                    <a:lnTo>
                      <a:pt x="31792" y="224"/>
                    </a:lnTo>
                    <a:lnTo>
                      <a:pt x="31456" y="112"/>
                    </a:lnTo>
                    <a:lnTo>
                      <a:pt x="30560" y="0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2" name="Google Shape;1902;p16">
                <a:extLst>
                  <a:ext uri="{FF2B5EF4-FFF2-40B4-BE49-F238E27FC236}">
                    <a16:creationId xmlns:a16="http://schemas.microsoft.com/office/drawing/2014/main" id="{4A71637E-A8BE-A8B7-283B-C13F4AC8382F}"/>
                  </a:ext>
                </a:extLst>
              </p:cNvPr>
              <p:cNvSpPr/>
              <p:nvPr/>
            </p:nvSpPr>
            <p:spPr>
              <a:xfrm>
                <a:off x="4316500" y="3019800"/>
                <a:ext cx="859175" cy="2457075"/>
              </a:xfrm>
              <a:custGeom>
                <a:avLst/>
                <a:gdLst/>
                <a:ahLst/>
                <a:cxnLst/>
                <a:rect l="l" t="t" r="r" b="b"/>
                <a:pathLst>
                  <a:path w="34367" h="98283" fill="none" extrusionOk="0">
                    <a:moveTo>
                      <a:pt x="34366" y="98283"/>
                    </a:moveTo>
                    <a:lnTo>
                      <a:pt x="34366" y="3471"/>
                    </a:lnTo>
                    <a:lnTo>
                      <a:pt x="34366" y="3471"/>
                    </a:lnTo>
                    <a:lnTo>
                      <a:pt x="34366" y="3359"/>
                    </a:lnTo>
                    <a:lnTo>
                      <a:pt x="34366" y="3359"/>
                    </a:lnTo>
                    <a:lnTo>
                      <a:pt x="34366" y="2911"/>
                    </a:lnTo>
                    <a:lnTo>
                      <a:pt x="34366" y="2911"/>
                    </a:lnTo>
                    <a:lnTo>
                      <a:pt x="34254" y="2575"/>
                    </a:lnTo>
                    <a:lnTo>
                      <a:pt x="34254" y="2575"/>
                    </a:lnTo>
                    <a:lnTo>
                      <a:pt x="34254" y="2463"/>
                    </a:lnTo>
                    <a:lnTo>
                      <a:pt x="34254" y="2463"/>
                    </a:lnTo>
                    <a:lnTo>
                      <a:pt x="34030" y="2127"/>
                    </a:lnTo>
                    <a:lnTo>
                      <a:pt x="34030" y="2127"/>
                    </a:lnTo>
                    <a:lnTo>
                      <a:pt x="33918" y="1791"/>
                    </a:lnTo>
                    <a:lnTo>
                      <a:pt x="33918" y="1791"/>
                    </a:lnTo>
                    <a:lnTo>
                      <a:pt x="33695" y="1568"/>
                    </a:lnTo>
                    <a:lnTo>
                      <a:pt x="33695" y="1568"/>
                    </a:lnTo>
                    <a:lnTo>
                      <a:pt x="33135" y="896"/>
                    </a:lnTo>
                    <a:lnTo>
                      <a:pt x="33135" y="896"/>
                    </a:lnTo>
                    <a:lnTo>
                      <a:pt x="33023" y="784"/>
                    </a:lnTo>
                    <a:lnTo>
                      <a:pt x="33023" y="784"/>
                    </a:lnTo>
                    <a:lnTo>
                      <a:pt x="32463" y="448"/>
                    </a:lnTo>
                    <a:lnTo>
                      <a:pt x="31792" y="224"/>
                    </a:lnTo>
                    <a:lnTo>
                      <a:pt x="31792" y="224"/>
                    </a:lnTo>
                    <a:lnTo>
                      <a:pt x="31456" y="112"/>
                    </a:lnTo>
                    <a:lnTo>
                      <a:pt x="31456" y="112"/>
                    </a:lnTo>
                    <a:lnTo>
                      <a:pt x="31456" y="112"/>
                    </a:lnTo>
                    <a:lnTo>
                      <a:pt x="30560" y="0"/>
                    </a:lnTo>
                    <a:lnTo>
                      <a:pt x="21941" y="0"/>
                    </a:lnTo>
                    <a:lnTo>
                      <a:pt x="17463" y="0"/>
                    </a:lnTo>
                    <a:lnTo>
                      <a:pt x="3919" y="0"/>
                    </a:lnTo>
                    <a:lnTo>
                      <a:pt x="3919" y="0"/>
                    </a:lnTo>
                    <a:lnTo>
                      <a:pt x="2911" y="112"/>
                    </a:lnTo>
                    <a:lnTo>
                      <a:pt x="2016" y="448"/>
                    </a:lnTo>
                    <a:lnTo>
                      <a:pt x="2016" y="448"/>
                    </a:lnTo>
                    <a:lnTo>
                      <a:pt x="2016" y="448"/>
                    </a:lnTo>
                    <a:lnTo>
                      <a:pt x="1456" y="784"/>
                    </a:lnTo>
                    <a:lnTo>
                      <a:pt x="1008" y="1120"/>
                    </a:lnTo>
                    <a:lnTo>
                      <a:pt x="1008" y="1120"/>
                    </a:lnTo>
                    <a:lnTo>
                      <a:pt x="561" y="1680"/>
                    </a:lnTo>
                    <a:lnTo>
                      <a:pt x="337" y="2239"/>
                    </a:lnTo>
                    <a:lnTo>
                      <a:pt x="113" y="2799"/>
                    </a:lnTo>
                    <a:lnTo>
                      <a:pt x="1" y="3471"/>
                    </a:lnTo>
                    <a:lnTo>
                      <a:pt x="113" y="98283"/>
                    </a:lnTo>
                    <a:lnTo>
                      <a:pt x="34366" y="98283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3" name="Google Shape;1903;p16">
                <a:extLst>
                  <a:ext uri="{FF2B5EF4-FFF2-40B4-BE49-F238E27FC236}">
                    <a16:creationId xmlns:a16="http://schemas.microsoft.com/office/drawing/2014/main" id="{A984981C-BC34-759C-709A-39CEA57B2DDE}"/>
                  </a:ext>
                </a:extLst>
              </p:cNvPr>
              <p:cNvSpPr/>
              <p:nvPr/>
            </p:nvSpPr>
            <p:spPr>
              <a:xfrm>
                <a:off x="4862225" y="3019800"/>
                <a:ext cx="313450" cy="2457075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98283" extrusionOk="0">
                    <a:moveTo>
                      <a:pt x="112" y="0"/>
                    </a:moveTo>
                    <a:lnTo>
                      <a:pt x="112" y="2015"/>
                    </a:lnTo>
                    <a:lnTo>
                      <a:pt x="0" y="24627"/>
                    </a:lnTo>
                    <a:lnTo>
                      <a:pt x="224" y="49813"/>
                    </a:lnTo>
                    <a:lnTo>
                      <a:pt x="672" y="75224"/>
                    </a:lnTo>
                    <a:lnTo>
                      <a:pt x="896" y="87201"/>
                    </a:lnTo>
                    <a:lnTo>
                      <a:pt x="1231" y="98283"/>
                    </a:lnTo>
                    <a:lnTo>
                      <a:pt x="12537" y="98283"/>
                    </a:lnTo>
                    <a:lnTo>
                      <a:pt x="12537" y="3471"/>
                    </a:lnTo>
                    <a:lnTo>
                      <a:pt x="12537" y="3359"/>
                    </a:lnTo>
                    <a:lnTo>
                      <a:pt x="12537" y="2911"/>
                    </a:lnTo>
                    <a:lnTo>
                      <a:pt x="12425" y="2575"/>
                    </a:lnTo>
                    <a:lnTo>
                      <a:pt x="12425" y="2463"/>
                    </a:lnTo>
                    <a:lnTo>
                      <a:pt x="12201" y="2127"/>
                    </a:lnTo>
                    <a:lnTo>
                      <a:pt x="12089" y="1791"/>
                    </a:lnTo>
                    <a:lnTo>
                      <a:pt x="11866" y="1568"/>
                    </a:lnTo>
                    <a:lnTo>
                      <a:pt x="11306" y="896"/>
                    </a:lnTo>
                    <a:lnTo>
                      <a:pt x="11194" y="784"/>
                    </a:lnTo>
                    <a:lnTo>
                      <a:pt x="10634" y="448"/>
                    </a:lnTo>
                    <a:lnTo>
                      <a:pt x="9963" y="224"/>
                    </a:lnTo>
                    <a:lnTo>
                      <a:pt x="9627" y="112"/>
                    </a:lnTo>
                    <a:lnTo>
                      <a:pt x="8731" y="0"/>
                    </a:lnTo>
                    <a:close/>
                  </a:path>
                </a:pathLst>
              </a:custGeom>
              <a:solidFill>
                <a:srgbClr val="D25F3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4" name="Google Shape;1904;p16">
                <a:extLst>
                  <a:ext uri="{FF2B5EF4-FFF2-40B4-BE49-F238E27FC236}">
                    <a16:creationId xmlns:a16="http://schemas.microsoft.com/office/drawing/2014/main" id="{FFE3C9E7-3661-DF8A-FAB1-EA998EA7A6A6}"/>
                  </a:ext>
                </a:extLst>
              </p:cNvPr>
              <p:cNvSpPr/>
              <p:nvPr/>
            </p:nvSpPr>
            <p:spPr>
              <a:xfrm>
                <a:off x="4862225" y="3019800"/>
                <a:ext cx="313450" cy="2457075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98283" fill="none" extrusionOk="0">
                    <a:moveTo>
                      <a:pt x="8731" y="0"/>
                    </a:moveTo>
                    <a:lnTo>
                      <a:pt x="112" y="0"/>
                    </a:lnTo>
                    <a:lnTo>
                      <a:pt x="112" y="0"/>
                    </a:lnTo>
                    <a:lnTo>
                      <a:pt x="112" y="2015"/>
                    </a:lnTo>
                    <a:lnTo>
                      <a:pt x="112" y="2015"/>
                    </a:lnTo>
                    <a:lnTo>
                      <a:pt x="0" y="24627"/>
                    </a:lnTo>
                    <a:lnTo>
                      <a:pt x="224" y="49813"/>
                    </a:lnTo>
                    <a:lnTo>
                      <a:pt x="672" y="75224"/>
                    </a:lnTo>
                    <a:lnTo>
                      <a:pt x="896" y="87201"/>
                    </a:lnTo>
                    <a:lnTo>
                      <a:pt x="1231" y="98283"/>
                    </a:lnTo>
                    <a:lnTo>
                      <a:pt x="12537" y="98283"/>
                    </a:lnTo>
                    <a:lnTo>
                      <a:pt x="12537" y="3471"/>
                    </a:lnTo>
                    <a:lnTo>
                      <a:pt x="12537" y="3471"/>
                    </a:lnTo>
                    <a:lnTo>
                      <a:pt x="12537" y="3359"/>
                    </a:lnTo>
                    <a:lnTo>
                      <a:pt x="12537" y="3359"/>
                    </a:lnTo>
                    <a:lnTo>
                      <a:pt x="12537" y="3359"/>
                    </a:lnTo>
                    <a:lnTo>
                      <a:pt x="12537" y="2911"/>
                    </a:lnTo>
                    <a:lnTo>
                      <a:pt x="12537" y="2911"/>
                    </a:lnTo>
                    <a:lnTo>
                      <a:pt x="12537" y="2911"/>
                    </a:lnTo>
                    <a:lnTo>
                      <a:pt x="12537" y="2911"/>
                    </a:lnTo>
                    <a:lnTo>
                      <a:pt x="12425" y="2575"/>
                    </a:lnTo>
                    <a:lnTo>
                      <a:pt x="12425" y="2575"/>
                    </a:lnTo>
                    <a:lnTo>
                      <a:pt x="12425" y="2575"/>
                    </a:lnTo>
                    <a:lnTo>
                      <a:pt x="12425" y="2463"/>
                    </a:lnTo>
                    <a:lnTo>
                      <a:pt x="12425" y="2463"/>
                    </a:lnTo>
                    <a:lnTo>
                      <a:pt x="12425" y="2463"/>
                    </a:lnTo>
                    <a:lnTo>
                      <a:pt x="12201" y="2127"/>
                    </a:lnTo>
                    <a:lnTo>
                      <a:pt x="12201" y="2127"/>
                    </a:lnTo>
                    <a:lnTo>
                      <a:pt x="12201" y="2127"/>
                    </a:lnTo>
                    <a:lnTo>
                      <a:pt x="12089" y="1791"/>
                    </a:lnTo>
                    <a:lnTo>
                      <a:pt x="12089" y="1791"/>
                    </a:lnTo>
                    <a:lnTo>
                      <a:pt x="11866" y="1568"/>
                    </a:lnTo>
                    <a:lnTo>
                      <a:pt x="11866" y="1568"/>
                    </a:lnTo>
                    <a:lnTo>
                      <a:pt x="11306" y="896"/>
                    </a:lnTo>
                    <a:lnTo>
                      <a:pt x="11306" y="896"/>
                    </a:lnTo>
                    <a:lnTo>
                      <a:pt x="11194" y="784"/>
                    </a:lnTo>
                    <a:lnTo>
                      <a:pt x="11194" y="784"/>
                    </a:lnTo>
                    <a:lnTo>
                      <a:pt x="10634" y="448"/>
                    </a:lnTo>
                    <a:lnTo>
                      <a:pt x="9963" y="224"/>
                    </a:lnTo>
                    <a:lnTo>
                      <a:pt x="9963" y="224"/>
                    </a:lnTo>
                    <a:lnTo>
                      <a:pt x="9963" y="224"/>
                    </a:lnTo>
                    <a:lnTo>
                      <a:pt x="9627" y="112"/>
                    </a:lnTo>
                    <a:lnTo>
                      <a:pt x="9627" y="112"/>
                    </a:lnTo>
                    <a:lnTo>
                      <a:pt x="9627" y="112"/>
                    </a:lnTo>
                    <a:lnTo>
                      <a:pt x="9627" y="112"/>
                    </a:lnTo>
                    <a:lnTo>
                      <a:pt x="9627" y="112"/>
                    </a:lnTo>
                    <a:lnTo>
                      <a:pt x="873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5" name="Google Shape;1905;p16">
                <a:extLst>
                  <a:ext uri="{FF2B5EF4-FFF2-40B4-BE49-F238E27FC236}">
                    <a16:creationId xmlns:a16="http://schemas.microsoft.com/office/drawing/2014/main" id="{5BE6ED46-642C-F759-D907-1DD73B1EB6BE}"/>
                  </a:ext>
                </a:extLst>
              </p:cNvPr>
              <p:cNvSpPr/>
              <p:nvPr/>
            </p:nvSpPr>
            <p:spPr>
              <a:xfrm>
                <a:off x="3219500" y="3336025"/>
                <a:ext cx="859175" cy="2140850"/>
              </a:xfrm>
              <a:custGeom>
                <a:avLst/>
                <a:gdLst/>
                <a:ahLst/>
                <a:cxnLst/>
                <a:rect l="l" t="t" r="r" b="b"/>
                <a:pathLst>
                  <a:path w="34367" h="85634" extrusionOk="0">
                    <a:moveTo>
                      <a:pt x="3807" y="1"/>
                    </a:moveTo>
                    <a:lnTo>
                      <a:pt x="3023" y="113"/>
                    </a:lnTo>
                    <a:lnTo>
                      <a:pt x="2352" y="336"/>
                    </a:lnTo>
                    <a:lnTo>
                      <a:pt x="1680" y="672"/>
                    </a:lnTo>
                    <a:lnTo>
                      <a:pt x="1120" y="1008"/>
                    </a:lnTo>
                    <a:lnTo>
                      <a:pt x="673" y="1568"/>
                    </a:lnTo>
                    <a:lnTo>
                      <a:pt x="337" y="2127"/>
                    </a:lnTo>
                    <a:lnTo>
                      <a:pt x="113" y="2799"/>
                    </a:lnTo>
                    <a:lnTo>
                      <a:pt x="1" y="3471"/>
                    </a:lnTo>
                    <a:lnTo>
                      <a:pt x="1" y="85634"/>
                    </a:lnTo>
                    <a:lnTo>
                      <a:pt x="34366" y="85634"/>
                    </a:lnTo>
                    <a:lnTo>
                      <a:pt x="34366" y="3471"/>
                    </a:lnTo>
                    <a:lnTo>
                      <a:pt x="34254" y="2799"/>
                    </a:lnTo>
                    <a:lnTo>
                      <a:pt x="34030" y="2127"/>
                    </a:lnTo>
                    <a:lnTo>
                      <a:pt x="33695" y="1568"/>
                    </a:lnTo>
                    <a:lnTo>
                      <a:pt x="33247" y="1008"/>
                    </a:lnTo>
                    <a:lnTo>
                      <a:pt x="32575" y="560"/>
                    </a:lnTo>
                    <a:lnTo>
                      <a:pt x="32015" y="336"/>
                    </a:lnTo>
                    <a:lnTo>
                      <a:pt x="31232" y="113"/>
                    </a:lnTo>
                    <a:lnTo>
                      <a:pt x="30448" y="1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6" name="Google Shape;1906;p16">
                <a:extLst>
                  <a:ext uri="{FF2B5EF4-FFF2-40B4-BE49-F238E27FC236}">
                    <a16:creationId xmlns:a16="http://schemas.microsoft.com/office/drawing/2014/main" id="{462206A8-16E3-93DA-A6A0-1BF25E2E5BC2}"/>
                  </a:ext>
                </a:extLst>
              </p:cNvPr>
              <p:cNvSpPr/>
              <p:nvPr/>
            </p:nvSpPr>
            <p:spPr>
              <a:xfrm>
                <a:off x="3219500" y="3336025"/>
                <a:ext cx="859175" cy="2140850"/>
              </a:xfrm>
              <a:custGeom>
                <a:avLst/>
                <a:gdLst/>
                <a:ahLst/>
                <a:cxnLst/>
                <a:rect l="l" t="t" r="r" b="b"/>
                <a:pathLst>
                  <a:path w="34367" h="85634" fill="none" extrusionOk="0">
                    <a:moveTo>
                      <a:pt x="34366" y="85634"/>
                    </a:moveTo>
                    <a:lnTo>
                      <a:pt x="34366" y="3471"/>
                    </a:lnTo>
                    <a:lnTo>
                      <a:pt x="34366" y="3471"/>
                    </a:lnTo>
                    <a:lnTo>
                      <a:pt x="34254" y="2799"/>
                    </a:lnTo>
                    <a:lnTo>
                      <a:pt x="34030" y="2127"/>
                    </a:lnTo>
                    <a:lnTo>
                      <a:pt x="33695" y="1568"/>
                    </a:lnTo>
                    <a:lnTo>
                      <a:pt x="33247" y="1008"/>
                    </a:lnTo>
                    <a:lnTo>
                      <a:pt x="32575" y="560"/>
                    </a:lnTo>
                    <a:lnTo>
                      <a:pt x="32015" y="336"/>
                    </a:lnTo>
                    <a:lnTo>
                      <a:pt x="31232" y="113"/>
                    </a:lnTo>
                    <a:lnTo>
                      <a:pt x="30448" y="1"/>
                    </a:lnTo>
                    <a:lnTo>
                      <a:pt x="3807" y="1"/>
                    </a:lnTo>
                    <a:lnTo>
                      <a:pt x="3807" y="1"/>
                    </a:lnTo>
                    <a:lnTo>
                      <a:pt x="3023" y="113"/>
                    </a:lnTo>
                    <a:lnTo>
                      <a:pt x="2352" y="336"/>
                    </a:lnTo>
                    <a:lnTo>
                      <a:pt x="1680" y="672"/>
                    </a:lnTo>
                    <a:lnTo>
                      <a:pt x="1120" y="1008"/>
                    </a:lnTo>
                    <a:lnTo>
                      <a:pt x="673" y="1568"/>
                    </a:lnTo>
                    <a:lnTo>
                      <a:pt x="337" y="2127"/>
                    </a:lnTo>
                    <a:lnTo>
                      <a:pt x="113" y="2799"/>
                    </a:lnTo>
                    <a:lnTo>
                      <a:pt x="1" y="3471"/>
                    </a:lnTo>
                    <a:lnTo>
                      <a:pt x="1" y="85634"/>
                    </a:lnTo>
                    <a:lnTo>
                      <a:pt x="34366" y="85634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7" name="Google Shape;1907;p16">
                <a:extLst>
                  <a:ext uri="{FF2B5EF4-FFF2-40B4-BE49-F238E27FC236}">
                    <a16:creationId xmlns:a16="http://schemas.microsoft.com/office/drawing/2014/main" id="{A1208EEA-C5DF-21FE-2F51-CEFA3A0F2A19}"/>
                  </a:ext>
                </a:extLst>
              </p:cNvPr>
              <p:cNvSpPr/>
              <p:nvPr/>
            </p:nvSpPr>
            <p:spPr>
              <a:xfrm>
                <a:off x="3765200" y="3336025"/>
                <a:ext cx="313475" cy="2140850"/>
              </a:xfrm>
              <a:custGeom>
                <a:avLst/>
                <a:gdLst/>
                <a:ahLst/>
                <a:cxnLst/>
                <a:rect l="l" t="t" r="r" b="b"/>
                <a:pathLst>
                  <a:path w="12539" h="85634" extrusionOk="0">
                    <a:moveTo>
                      <a:pt x="1" y="1"/>
                    </a:moveTo>
                    <a:lnTo>
                      <a:pt x="1" y="12202"/>
                    </a:lnTo>
                    <a:lnTo>
                      <a:pt x="1" y="24068"/>
                    </a:lnTo>
                    <a:lnTo>
                      <a:pt x="113" y="35709"/>
                    </a:lnTo>
                    <a:lnTo>
                      <a:pt x="225" y="46903"/>
                    </a:lnTo>
                    <a:lnTo>
                      <a:pt x="449" y="57649"/>
                    </a:lnTo>
                    <a:lnTo>
                      <a:pt x="785" y="67724"/>
                    </a:lnTo>
                    <a:lnTo>
                      <a:pt x="1232" y="77127"/>
                    </a:lnTo>
                    <a:lnTo>
                      <a:pt x="1680" y="85634"/>
                    </a:lnTo>
                    <a:lnTo>
                      <a:pt x="12538" y="85634"/>
                    </a:lnTo>
                    <a:lnTo>
                      <a:pt x="12538" y="3471"/>
                    </a:lnTo>
                    <a:lnTo>
                      <a:pt x="12426" y="2799"/>
                    </a:lnTo>
                    <a:lnTo>
                      <a:pt x="12202" y="2127"/>
                    </a:lnTo>
                    <a:lnTo>
                      <a:pt x="11867" y="1568"/>
                    </a:lnTo>
                    <a:lnTo>
                      <a:pt x="11419" y="1008"/>
                    </a:lnTo>
                    <a:lnTo>
                      <a:pt x="10747" y="560"/>
                    </a:lnTo>
                    <a:lnTo>
                      <a:pt x="10187" y="336"/>
                    </a:lnTo>
                    <a:lnTo>
                      <a:pt x="9404" y="113"/>
                    </a:lnTo>
                    <a:lnTo>
                      <a:pt x="8620" y="1"/>
                    </a:lnTo>
                    <a:close/>
                  </a:path>
                </a:pathLst>
              </a:custGeom>
              <a:solidFill>
                <a:srgbClr val="D25F3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8" name="Google Shape;1908;p16">
                <a:extLst>
                  <a:ext uri="{FF2B5EF4-FFF2-40B4-BE49-F238E27FC236}">
                    <a16:creationId xmlns:a16="http://schemas.microsoft.com/office/drawing/2014/main" id="{D6F2D4DA-EC05-78E8-22EB-A802077C001A}"/>
                  </a:ext>
                </a:extLst>
              </p:cNvPr>
              <p:cNvSpPr/>
              <p:nvPr/>
            </p:nvSpPr>
            <p:spPr>
              <a:xfrm>
                <a:off x="3765200" y="3336025"/>
                <a:ext cx="313475" cy="2140850"/>
              </a:xfrm>
              <a:custGeom>
                <a:avLst/>
                <a:gdLst/>
                <a:ahLst/>
                <a:cxnLst/>
                <a:rect l="l" t="t" r="r" b="b"/>
                <a:pathLst>
                  <a:path w="12539" h="85634" fill="none" extrusionOk="0">
                    <a:moveTo>
                      <a:pt x="8620" y="1"/>
                    </a:moveTo>
                    <a:lnTo>
                      <a:pt x="8620" y="1"/>
                    </a:lnTo>
                    <a:lnTo>
                      <a:pt x="8620" y="1"/>
                    </a:lnTo>
                    <a:lnTo>
                      <a:pt x="8620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2202"/>
                    </a:lnTo>
                    <a:lnTo>
                      <a:pt x="1" y="24068"/>
                    </a:lnTo>
                    <a:lnTo>
                      <a:pt x="113" y="35709"/>
                    </a:lnTo>
                    <a:lnTo>
                      <a:pt x="225" y="46903"/>
                    </a:lnTo>
                    <a:lnTo>
                      <a:pt x="449" y="57649"/>
                    </a:lnTo>
                    <a:lnTo>
                      <a:pt x="785" y="67724"/>
                    </a:lnTo>
                    <a:lnTo>
                      <a:pt x="1232" y="77127"/>
                    </a:lnTo>
                    <a:lnTo>
                      <a:pt x="1680" y="85634"/>
                    </a:lnTo>
                    <a:lnTo>
                      <a:pt x="12538" y="85634"/>
                    </a:lnTo>
                    <a:lnTo>
                      <a:pt x="12538" y="3471"/>
                    </a:lnTo>
                    <a:lnTo>
                      <a:pt x="12538" y="3471"/>
                    </a:lnTo>
                    <a:lnTo>
                      <a:pt x="12426" y="2799"/>
                    </a:lnTo>
                    <a:lnTo>
                      <a:pt x="12202" y="2127"/>
                    </a:lnTo>
                    <a:lnTo>
                      <a:pt x="11867" y="1568"/>
                    </a:lnTo>
                    <a:lnTo>
                      <a:pt x="11419" y="1008"/>
                    </a:lnTo>
                    <a:lnTo>
                      <a:pt x="10747" y="560"/>
                    </a:lnTo>
                    <a:lnTo>
                      <a:pt x="10187" y="336"/>
                    </a:lnTo>
                    <a:lnTo>
                      <a:pt x="9404" y="113"/>
                    </a:lnTo>
                    <a:lnTo>
                      <a:pt x="862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9" name="Google Shape;1909;p16">
                <a:extLst>
                  <a:ext uri="{FF2B5EF4-FFF2-40B4-BE49-F238E27FC236}">
                    <a16:creationId xmlns:a16="http://schemas.microsoft.com/office/drawing/2014/main" id="{C4B43656-8F34-2FB3-86F5-0CE2B577F4D4}"/>
                  </a:ext>
                </a:extLst>
              </p:cNvPr>
              <p:cNvSpPr/>
              <p:nvPr/>
            </p:nvSpPr>
            <p:spPr>
              <a:xfrm>
                <a:off x="2144900" y="3683050"/>
                <a:ext cx="859150" cy="1793825"/>
              </a:xfrm>
              <a:custGeom>
                <a:avLst/>
                <a:gdLst/>
                <a:ahLst/>
                <a:cxnLst/>
                <a:rect l="l" t="t" r="r" b="b"/>
                <a:pathLst>
                  <a:path w="34366" h="71753" extrusionOk="0">
                    <a:moveTo>
                      <a:pt x="3806" y="0"/>
                    </a:moveTo>
                    <a:lnTo>
                      <a:pt x="2799" y="112"/>
                    </a:lnTo>
                    <a:lnTo>
                      <a:pt x="1903" y="448"/>
                    </a:lnTo>
                    <a:lnTo>
                      <a:pt x="1232" y="896"/>
                    </a:lnTo>
                    <a:lnTo>
                      <a:pt x="560" y="1567"/>
                    </a:lnTo>
                    <a:lnTo>
                      <a:pt x="336" y="2015"/>
                    </a:lnTo>
                    <a:lnTo>
                      <a:pt x="112" y="2463"/>
                    </a:lnTo>
                    <a:lnTo>
                      <a:pt x="0" y="2910"/>
                    </a:lnTo>
                    <a:lnTo>
                      <a:pt x="0" y="3470"/>
                    </a:lnTo>
                    <a:lnTo>
                      <a:pt x="0" y="71753"/>
                    </a:lnTo>
                    <a:lnTo>
                      <a:pt x="34366" y="71753"/>
                    </a:lnTo>
                    <a:lnTo>
                      <a:pt x="34254" y="3470"/>
                    </a:lnTo>
                    <a:lnTo>
                      <a:pt x="34254" y="2910"/>
                    </a:lnTo>
                    <a:lnTo>
                      <a:pt x="34030" y="2351"/>
                    </a:lnTo>
                    <a:lnTo>
                      <a:pt x="33806" y="1791"/>
                    </a:lnTo>
                    <a:lnTo>
                      <a:pt x="33470" y="1343"/>
                    </a:lnTo>
                    <a:lnTo>
                      <a:pt x="32910" y="784"/>
                    </a:lnTo>
                    <a:lnTo>
                      <a:pt x="32239" y="336"/>
                    </a:lnTo>
                    <a:lnTo>
                      <a:pt x="31455" y="112"/>
                    </a:lnTo>
                    <a:lnTo>
                      <a:pt x="30560" y="0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0" name="Google Shape;1910;p16">
                <a:extLst>
                  <a:ext uri="{FF2B5EF4-FFF2-40B4-BE49-F238E27FC236}">
                    <a16:creationId xmlns:a16="http://schemas.microsoft.com/office/drawing/2014/main" id="{639FA63A-651E-B3B5-7D95-0A10D6857C62}"/>
                  </a:ext>
                </a:extLst>
              </p:cNvPr>
              <p:cNvSpPr/>
              <p:nvPr/>
            </p:nvSpPr>
            <p:spPr>
              <a:xfrm>
                <a:off x="2144900" y="3683050"/>
                <a:ext cx="859150" cy="1793825"/>
              </a:xfrm>
              <a:custGeom>
                <a:avLst/>
                <a:gdLst/>
                <a:ahLst/>
                <a:cxnLst/>
                <a:rect l="l" t="t" r="r" b="b"/>
                <a:pathLst>
                  <a:path w="34366" h="71753" fill="none" extrusionOk="0">
                    <a:moveTo>
                      <a:pt x="34366" y="71753"/>
                    </a:moveTo>
                    <a:lnTo>
                      <a:pt x="34254" y="3470"/>
                    </a:lnTo>
                    <a:lnTo>
                      <a:pt x="34254" y="3470"/>
                    </a:lnTo>
                    <a:lnTo>
                      <a:pt x="34254" y="2910"/>
                    </a:lnTo>
                    <a:lnTo>
                      <a:pt x="34030" y="2351"/>
                    </a:lnTo>
                    <a:lnTo>
                      <a:pt x="33806" y="1791"/>
                    </a:lnTo>
                    <a:lnTo>
                      <a:pt x="33470" y="1343"/>
                    </a:lnTo>
                    <a:lnTo>
                      <a:pt x="33470" y="1343"/>
                    </a:lnTo>
                    <a:lnTo>
                      <a:pt x="32910" y="784"/>
                    </a:lnTo>
                    <a:lnTo>
                      <a:pt x="32239" y="336"/>
                    </a:lnTo>
                    <a:lnTo>
                      <a:pt x="31455" y="112"/>
                    </a:lnTo>
                    <a:lnTo>
                      <a:pt x="30560" y="0"/>
                    </a:lnTo>
                    <a:lnTo>
                      <a:pt x="30448" y="0"/>
                    </a:lnTo>
                    <a:lnTo>
                      <a:pt x="28657" y="0"/>
                    </a:lnTo>
                    <a:lnTo>
                      <a:pt x="21828" y="0"/>
                    </a:lnTo>
                    <a:lnTo>
                      <a:pt x="4702" y="0"/>
                    </a:lnTo>
                    <a:lnTo>
                      <a:pt x="3806" y="0"/>
                    </a:lnTo>
                    <a:lnTo>
                      <a:pt x="3806" y="0"/>
                    </a:lnTo>
                    <a:lnTo>
                      <a:pt x="2799" y="112"/>
                    </a:lnTo>
                    <a:lnTo>
                      <a:pt x="1903" y="448"/>
                    </a:lnTo>
                    <a:lnTo>
                      <a:pt x="1232" y="896"/>
                    </a:lnTo>
                    <a:lnTo>
                      <a:pt x="560" y="1567"/>
                    </a:lnTo>
                    <a:lnTo>
                      <a:pt x="560" y="1567"/>
                    </a:lnTo>
                    <a:lnTo>
                      <a:pt x="560" y="1567"/>
                    </a:lnTo>
                    <a:lnTo>
                      <a:pt x="336" y="2015"/>
                    </a:lnTo>
                    <a:lnTo>
                      <a:pt x="112" y="2463"/>
                    </a:lnTo>
                    <a:lnTo>
                      <a:pt x="0" y="2910"/>
                    </a:lnTo>
                    <a:lnTo>
                      <a:pt x="0" y="3470"/>
                    </a:lnTo>
                    <a:lnTo>
                      <a:pt x="0" y="71753"/>
                    </a:lnTo>
                    <a:lnTo>
                      <a:pt x="34366" y="71753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1" name="Google Shape;1911;p16">
                <a:extLst>
                  <a:ext uri="{FF2B5EF4-FFF2-40B4-BE49-F238E27FC236}">
                    <a16:creationId xmlns:a16="http://schemas.microsoft.com/office/drawing/2014/main" id="{B6386071-08DB-7307-E5AC-799CB0781FD5}"/>
                  </a:ext>
                </a:extLst>
              </p:cNvPr>
              <p:cNvSpPr/>
              <p:nvPr/>
            </p:nvSpPr>
            <p:spPr>
              <a:xfrm>
                <a:off x="2690600" y="3683050"/>
                <a:ext cx="313450" cy="1793825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71753" extrusionOk="0">
                    <a:moveTo>
                      <a:pt x="0" y="0"/>
                    </a:moveTo>
                    <a:lnTo>
                      <a:pt x="0" y="1791"/>
                    </a:lnTo>
                    <a:lnTo>
                      <a:pt x="0" y="1903"/>
                    </a:lnTo>
                    <a:lnTo>
                      <a:pt x="112" y="16007"/>
                    </a:lnTo>
                    <a:lnTo>
                      <a:pt x="448" y="34701"/>
                    </a:lnTo>
                    <a:lnTo>
                      <a:pt x="784" y="44776"/>
                    </a:lnTo>
                    <a:lnTo>
                      <a:pt x="1120" y="54626"/>
                    </a:lnTo>
                    <a:lnTo>
                      <a:pt x="1568" y="63693"/>
                    </a:lnTo>
                    <a:lnTo>
                      <a:pt x="2127" y="71753"/>
                    </a:lnTo>
                    <a:lnTo>
                      <a:pt x="12538" y="71753"/>
                    </a:lnTo>
                    <a:lnTo>
                      <a:pt x="12426" y="3470"/>
                    </a:lnTo>
                    <a:lnTo>
                      <a:pt x="12426" y="2910"/>
                    </a:lnTo>
                    <a:lnTo>
                      <a:pt x="12202" y="2351"/>
                    </a:lnTo>
                    <a:lnTo>
                      <a:pt x="11978" y="1791"/>
                    </a:lnTo>
                    <a:lnTo>
                      <a:pt x="11642" y="1343"/>
                    </a:lnTo>
                    <a:lnTo>
                      <a:pt x="11082" y="784"/>
                    </a:lnTo>
                    <a:lnTo>
                      <a:pt x="10411" y="336"/>
                    </a:lnTo>
                    <a:lnTo>
                      <a:pt x="9627" y="112"/>
                    </a:lnTo>
                    <a:lnTo>
                      <a:pt x="8732" y="0"/>
                    </a:lnTo>
                    <a:close/>
                  </a:path>
                </a:pathLst>
              </a:custGeom>
              <a:solidFill>
                <a:srgbClr val="D25F3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2" name="Google Shape;1912;p16">
                <a:extLst>
                  <a:ext uri="{FF2B5EF4-FFF2-40B4-BE49-F238E27FC236}">
                    <a16:creationId xmlns:a16="http://schemas.microsoft.com/office/drawing/2014/main" id="{680CFACC-BFCA-8DDE-AEA7-A266A0C5948A}"/>
                  </a:ext>
                </a:extLst>
              </p:cNvPr>
              <p:cNvSpPr/>
              <p:nvPr/>
            </p:nvSpPr>
            <p:spPr>
              <a:xfrm>
                <a:off x="2690600" y="3683050"/>
                <a:ext cx="313450" cy="1793825"/>
              </a:xfrm>
              <a:custGeom>
                <a:avLst/>
                <a:gdLst/>
                <a:ahLst/>
                <a:cxnLst/>
                <a:rect l="l" t="t" r="r" b="b"/>
                <a:pathLst>
                  <a:path w="12538" h="71753" fill="none" extrusionOk="0">
                    <a:moveTo>
                      <a:pt x="8620" y="0"/>
                    </a:moveTo>
                    <a:lnTo>
                      <a:pt x="6829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791"/>
                    </a:lnTo>
                    <a:lnTo>
                      <a:pt x="0" y="1903"/>
                    </a:lnTo>
                    <a:lnTo>
                      <a:pt x="0" y="1903"/>
                    </a:lnTo>
                    <a:lnTo>
                      <a:pt x="112" y="16007"/>
                    </a:lnTo>
                    <a:lnTo>
                      <a:pt x="448" y="34701"/>
                    </a:lnTo>
                    <a:lnTo>
                      <a:pt x="784" y="44776"/>
                    </a:lnTo>
                    <a:lnTo>
                      <a:pt x="1120" y="54626"/>
                    </a:lnTo>
                    <a:lnTo>
                      <a:pt x="1568" y="63693"/>
                    </a:lnTo>
                    <a:lnTo>
                      <a:pt x="2127" y="71753"/>
                    </a:lnTo>
                    <a:lnTo>
                      <a:pt x="12538" y="71753"/>
                    </a:lnTo>
                    <a:lnTo>
                      <a:pt x="12426" y="3470"/>
                    </a:lnTo>
                    <a:lnTo>
                      <a:pt x="12426" y="3470"/>
                    </a:lnTo>
                    <a:lnTo>
                      <a:pt x="12426" y="2910"/>
                    </a:lnTo>
                    <a:lnTo>
                      <a:pt x="12202" y="2351"/>
                    </a:lnTo>
                    <a:lnTo>
                      <a:pt x="11978" y="1791"/>
                    </a:lnTo>
                    <a:lnTo>
                      <a:pt x="11642" y="1343"/>
                    </a:lnTo>
                    <a:lnTo>
                      <a:pt x="11642" y="1343"/>
                    </a:lnTo>
                    <a:lnTo>
                      <a:pt x="11082" y="784"/>
                    </a:lnTo>
                    <a:lnTo>
                      <a:pt x="10411" y="336"/>
                    </a:lnTo>
                    <a:lnTo>
                      <a:pt x="9627" y="112"/>
                    </a:lnTo>
                    <a:lnTo>
                      <a:pt x="8732" y="0"/>
                    </a:lnTo>
                    <a:lnTo>
                      <a:pt x="862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3" name="Google Shape;1913;p16">
                <a:extLst>
                  <a:ext uri="{FF2B5EF4-FFF2-40B4-BE49-F238E27FC236}">
                    <a16:creationId xmlns:a16="http://schemas.microsoft.com/office/drawing/2014/main" id="{BFB2F8E0-036D-ACEE-5751-2AB627871157}"/>
                  </a:ext>
                </a:extLst>
              </p:cNvPr>
              <p:cNvSpPr/>
              <p:nvPr/>
            </p:nvSpPr>
            <p:spPr>
              <a:xfrm>
                <a:off x="5281975" y="1225975"/>
                <a:ext cx="165150" cy="134350"/>
              </a:xfrm>
              <a:custGeom>
                <a:avLst/>
                <a:gdLst/>
                <a:ahLst/>
                <a:cxnLst/>
                <a:rect l="l" t="t" r="r" b="b"/>
                <a:pathLst>
                  <a:path w="6606" h="5374" extrusionOk="0">
                    <a:moveTo>
                      <a:pt x="5822" y="1"/>
                    </a:moveTo>
                    <a:lnTo>
                      <a:pt x="5262" y="112"/>
                    </a:lnTo>
                    <a:lnTo>
                      <a:pt x="4366" y="560"/>
                    </a:lnTo>
                    <a:lnTo>
                      <a:pt x="4031" y="896"/>
                    </a:lnTo>
                    <a:lnTo>
                      <a:pt x="3471" y="1344"/>
                    </a:lnTo>
                    <a:lnTo>
                      <a:pt x="2799" y="2015"/>
                    </a:lnTo>
                    <a:lnTo>
                      <a:pt x="1568" y="2575"/>
                    </a:lnTo>
                    <a:lnTo>
                      <a:pt x="337" y="3247"/>
                    </a:lnTo>
                    <a:lnTo>
                      <a:pt x="1" y="3583"/>
                    </a:lnTo>
                    <a:lnTo>
                      <a:pt x="1120" y="5374"/>
                    </a:lnTo>
                    <a:lnTo>
                      <a:pt x="1792" y="4814"/>
                    </a:lnTo>
                    <a:lnTo>
                      <a:pt x="2240" y="4478"/>
                    </a:lnTo>
                    <a:lnTo>
                      <a:pt x="3023" y="4030"/>
                    </a:lnTo>
                    <a:lnTo>
                      <a:pt x="3471" y="3806"/>
                    </a:lnTo>
                    <a:lnTo>
                      <a:pt x="3919" y="3694"/>
                    </a:lnTo>
                    <a:lnTo>
                      <a:pt x="4814" y="3583"/>
                    </a:lnTo>
                    <a:lnTo>
                      <a:pt x="5262" y="3471"/>
                    </a:lnTo>
                    <a:lnTo>
                      <a:pt x="5486" y="3359"/>
                    </a:lnTo>
                    <a:lnTo>
                      <a:pt x="5486" y="3135"/>
                    </a:lnTo>
                    <a:lnTo>
                      <a:pt x="5486" y="3023"/>
                    </a:lnTo>
                    <a:lnTo>
                      <a:pt x="5486" y="2799"/>
                    </a:lnTo>
                    <a:lnTo>
                      <a:pt x="5486" y="2463"/>
                    </a:lnTo>
                    <a:lnTo>
                      <a:pt x="5822" y="2127"/>
                    </a:lnTo>
                    <a:lnTo>
                      <a:pt x="6269" y="1680"/>
                    </a:lnTo>
                    <a:lnTo>
                      <a:pt x="6493" y="1456"/>
                    </a:lnTo>
                    <a:lnTo>
                      <a:pt x="6605" y="1120"/>
                    </a:lnTo>
                    <a:lnTo>
                      <a:pt x="6605" y="672"/>
                    </a:lnTo>
                    <a:lnTo>
                      <a:pt x="6493" y="336"/>
                    </a:lnTo>
                    <a:lnTo>
                      <a:pt x="6269" y="112"/>
                    </a:lnTo>
                    <a:lnTo>
                      <a:pt x="5822" y="1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4" name="Google Shape;1914;p16">
                <a:extLst>
                  <a:ext uri="{FF2B5EF4-FFF2-40B4-BE49-F238E27FC236}">
                    <a16:creationId xmlns:a16="http://schemas.microsoft.com/office/drawing/2014/main" id="{E12861C5-ED4B-EEC3-CF41-2C45ED5EACBF}"/>
                  </a:ext>
                </a:extLst>
              </p:cNvPr>
              <p:cNvSpPr/>
              <p:nvPr/>
            </p:nvSpPr>
            <p:spPr>
              <a:xfrm>
                <a:off x="4719500" y="1847225"/>
                <a:ext cx="302250" cy="1119425"/>
              </a:xfrm>
              <a:custGeom>
                <a:avLst/>
                <a:gdLst/>
                <a:ahLst/>
                <a:cxnLst/>
                <a:rect l="l" t="t" r="r" b="b"/>
                <a:pathLst>
                  <a:path w="12090" h="44777" extrusionOk="0">
                    <a:moveTo>
                      <a:pt x="6269" y="1"/>
                    </a:moveTo>
                    <a:lnTo>
                      <a:pt x="5821" y="225"/>
                    </a:lnTo>
                    <a:lnTo>
                      <a:pt x="5485" y="449"/>
                    </a:lnTo>
                    <a:lnTo>
                      <a:pt x="5149" y="785"/>
                    </a:lnTo>
                    <a:lnTo>
                      <a:pt x="4814" y="1232"/>
                    </a:lnTo>
                    <a:lnTo>
                      <a:pt x="4366" y="2352"/>
                    </a:lnTo>
                    <a:lnTo>
                      <a:pt x="4030" y="3471"/>
                    </a:lnTo>
                    <a:lnTo>
                      <a:pt x="3918" y="4590"/>
                    </a:lnTo>
                    <a:lnTo>
                      <a:pt x="3806" y="5598"/>
                    </a:lnTo>
                    <a:lnTo>
                      <a:pt x="3918" y="6270"/>
                    </a:lnTo>
                    <a:lnTo>
                      <a:pt x="4030" y="7053"/>
                    </a:lnTo>
                    <a:lnTo>
                      <a:pt x="4254" y="8508"/>
                    </a:lnTo>
                    <a:lnTo>
                      <a:pt x="4254" y="10076"/>
                    </a:lnTo>
                    <a:lnTo>
                      <a:pt x="4254" y="10859"/>
                    </a:lnTo>
                    <a:lnTo>
                      <a:pt x="4254" y="16344"/>
                    </a:lnTo>
                    <a:lnTo>
                      <a:pt x="4254" y="18359"/>
                    </a:lnTo>
                    <a:lnTo>
                      <a:pt x="4030" y="21381"/>
                    </a:lnTo>
                    <a:lnTo>
                      <a:pt x="4030" y="22501"/>
                    </a:lnTo>
                    <a:lnTo>
                      <a:pt x="3918" y="23284"/>
                    </a:lnTo>
                    <a:lnTo>
                      <a:pt x="1791" y="33471"/>
                    </a:lnTo>
                    <a:lnTo>
                      <a:pt x="0" y="42426"/>
                    </a:lnTo>
                    <a:lnTo>
                      <a:pt x="1679" y="44777"/>
                    </a:lnTo>
                    <a:lnTo>
                      <a:pt x="4478" y="44441"/>
                    </a:lnTo>
                    <a:lnTo>
                      <a:pt x="3470" y="42650"/>
                    </a:lnTo>
                    <a:lnTo>
                      <a:pt x="3246" y="42202"/>
                    </a:lnTo>
                    <a:lnTo>
                      <a:pt x="3022" y="41754"/>
                    </a:lnTo>
                    <a:lnTo>
                      <a:pt x="2911" y="41083"/>
                    </a:lnTo>
                    <a:lnTo>
                      <a:pt x="2911" y="40075"/>
                    </a:lnTo>
                    <a:lnTo>
                      <a:pt x="3022" y="39515"/>
                    </a:lnTo>
                    <a:lnTo>
                      <a:pt x="3470" y="38396"/>
                    </a:lnTo>
                    <a:lnTo>
                      <a:pt x="4925" y="34926"/>
                    </a:lnTo>
                    <a:lnTo>
                      <a:pt x="5821" y="32575"/>
                    </a:lnTo>
                    <a:lnTo>
                      <a:pt x="6716" y="30001"/>
                    </a:lnTo>
                    <a:lnTo>
                      <a:pt x="7500" y="27202"/>
                    </a:lnTo>
                    <a:lnTo>
                      <a:pt x="8284" y="24180"/>
                    </a:lnTo>
                    <a:lnTo>
                      <a:pt x="9515" y="18135"/>
                    </a:lnTo>
                    <a:lnTo>
                      <a:pt x="9627" y="17016"/>
                    </a:lnTo>
                    <a:lnTo>
                      <a:pt x="12090" y="5598"/>
                    </a:lnTo>
                    <a:lnTo>
                      <a:pt x="11978" y="4926"/>
                    </a:lnTo>
                    <a:lnTo>
                      <a:pt x="11754" y="4367"/>
                    </a:lnTo>
                    <a:lnTo>
                      <a:pt x="11418" y="3583"/>
                    </a:lnTo>
                    <a:lnTo>
                      <a:pt x="10746" y="2688"/>
                    </a:lnTo>
                    <a:lnTo>
                      <a:pt x="9963" y="1792"/>
                    </a:lnTo>
                    <a:lnTo>
                      <a:pt x="9403" y="1344"/>
                    </a:lnTo>
                    <a:lnTo>
                      <a:pt x="8731" y="897"/>
                    </a:lnTo>
                    <a:lnTo>
                      <a:pt x="8060" y="449"/>
                    </a:lnTo>
                    <a:lnTo>
                      <a:pt x="7164" y="113"/>
                    </a:lnTo>
                    <a:lnTo>
                      <a:pt x="6716" y="1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5" name="Google Shape;1915;p16">
                <a:extLst>
                  <a:ext uri="{FF2B5EF4-FFF2-40B4-BE49-F238E27FC236}">
                    <a16:creationId xmlns:a16="http://schemas.microsoft.com/office/drawing/2014/main" id="{CB90A6A4-8461-01A6-9B23-EC00EE11FF3A}"/>
                  </a:ext>
                </a:extLst>
              </p:cNvPr>
              <p:cNvSpPr/>
              <p:nvPr/>
            </p:nvSpPr>
            <p:spPr>
              <a:xfrm>
                <a:off x="4719500" y="1847225"/>
                <a:ext cx="302250" cy="1119425"/>
              </a:xfrm>
              <a:custGeom>
                <a:avLst/>
                <a:gdLst/>
                <a:ahLst/>
                <a:cxnLst/>
                <a:rect l="l" t="t" r="r" b="b"/>
                <a:pathLst>
                  <a:path w="12090" h="44777" fill="none" extrusionOk="0">
                    <a:moveTo>
                      <a:pt x="9515" y="18135"/>
                    </a:moveTo>
                    <a:lnTo>
                      <a:pt x="9515" y="18135"/>
                    </a:lnTo>
                    <a:lnTo>
                      <a:pt x="8284" y="24180"/>
                    </a:lnTo>
                    <a:lnTo>
                      <a:pt x="8284" y="24180"/>
                    </a:lnTo>
                    <a:lnTo>
                      <a:pt x="7500" y="27202"/>
                    </a:lnTo>
                    <a:lnTo>
                      <a:pt x="6716" y="30001"/>
                    </a:lnTo>
                    <a:lnTo>
                      <a:pt x="5821" y="32575"/>
                    </a:lnTo>
                    <a:lnTo>
                      <a:pt x="4925" y="34926"/>
                    </a:lnTo>
                    <a:lnTo>
                      <a:pt x="3470" y="38396"/>
                    </a:lnTo>
                    <a:lnTo>
                      <a:pt x="3022" y="39515"/>
                    </a:lnTo>
                    <a:lnTo>
                      <a:pt x="2911" y="40075"/>
                    </a:lnTo>
                    <a:lnTo>
                      <a:pt x="2911" y="40075"/>
                    </a:lnTo>
                    <a:lnTo>
                      <a:pt x="2911" y="41083"/>
                    </a:lnTo>
                    <a:lnTo>
                      <a:pt x="3022" y="41754"/>
                    </a:lnTo>
                    <a:lnTo>
                      <a:pt x="3246" y="42202"/>
                    </a:lnTo>
                    <a:lnTo>
                      <a:pt x="3470" y="42650"/>
                    </a:lnTo>
                    <a:lnTo>
                      <a:pt x="4478" y="44441"/>
                    </a:lnTo>
                    <a:lnTo>
                      <a:pt x="1679" y="44777"/>
                    </a:lnTo>
                    <a:lnTo>
                      <a:pt x="0" y="42426"/>
                    </a:lnTo>
                    <a:lnTo>
                      <a:pt x="0" y="42426"/>
                    </a:lnTo>
                    <a:lnTo>
                      <a:pt x="1791" y="33471"/>
                    </a:lnTo>
                    <a:lnTo>
                      <a:pt x="3918" y="23284"/>
                    </a:lnTo>
                    <a:lnTo>
                      <a:pt x="3918" y="23284"/>
                    </a:lnTo>
                    <a:lnTo>
                      <a:pt x="4030" y="22501"/>
                    </a:lnTo>
                    <a:lnTo>
                      <a:pt x="4030" y="21381"/>
                    </a:lnTo>
                    <a:lnTo>
                      <a:pt x="4254" y="18359"/>
                    </a:lnTo>
                    <a:lnTo>
                      <a:pt x="4254" y="18359"/>
                    </a:lnTo>
                    <a:lnTo>
                      <a:pt x="4254" y="16344"/>
                    </a:lnTo>
                    <a:lnTo>
                      <a:pt x="4254" y="16344"/>
                    </a:lnTo>
                    <a:lnTo>
                      <a:pt x="4254" y="10859"/>
                    </a:lnTo>
                    <a:lnTo>
                      <a:pt x="4254" y="10859"/>
                    </a:lnTo>
                    <a:lnTo>
                      <a:pt x="4254" y="10076"/>
                    </a:lnTo>
                    <a:lnTo>
                      <a:pt x="4254" y="8508"/>
                    </a:lnTo>
                    <a:lnTo>
                      <a:pt x="4030" y="7053"/>
                    </a:lnTo>
                    <a:lnTo>
                      <a:pt x="3918" y="6270"/>
                    </a:lnTo>
                    <a:lnTo>
                      <a:pt x="3918" y="6270"/>
                    </a:lnTo>
                    <a:lnTo>
                      <a:pt x="3806" y="5598"/>
                    </a:lnTo>
                    <a:lnTo>
                      <a:pt x="3918" y="4590"/>
                    </a:lnTo>
                    <a:lnTo>
                      <a:pt x="4030" y="3471"/>
                    </a:lnTo>
                    <a:lnTo>
                      <a:pt x="4366" y="2352"/>
                    </a:lnTo>
                    <a:lnTo>
                      <a:pt x="4814" y="1232"/>
                    </a:lnTo>
                    <a:lnTo>
                      <a:pt x="5149" y="785"/>
                    </a:lnTo>
                    <a:lnTo>
                      <a:pt x="5485" y="449"/>
                    </a:lnTo>
                    <a:lnTo>
                      <a:pt x="5821" y="225"/>
                    </a:lnTo>
                    <a:lnTo>
                      <a:pt x="6269" y="1"/>
                    </a:lnTo>
                    <a:lnTo>
                      <a:pt x="6716" y="1"/>
                    </a:lnTo>
                    <a:lnTo>
                      <a:pt x="7164" y="113"/>
                    </a:lnTo>
                    <a:lnTo>
                      <a:pt x="7164" y="113"/>
                    </a:lnTo>
                    <a:lnTo>
                      <a:pt x="8060" y="449"/>
                    </a:lnTo>
                    <a:lnTo>
                      <a:pt x="8731" y="897"/>
                    </a:lnTo>
                    <a:lnTo>
                      <a:pt x="9403" y="1344"/>
                    </a:lnTo>
                    <a:lnTo>
                      <a:pt x="9963" y="1792"/>
                    </a:lnTo>
                    <a:lnTo>
                      <a:pt x="10746" y="2688"/>
                    </a:lnTo>
                    <a:lnTo>
                      <a:pt x="11418" y="3583"/>
                    </a:lnTo>
                    <a:lnTo>
                      <a:pt x="11754" y="4367"/>
                    </a:lnTo>
                    <a:lnTo>
                      <a:pt x="11978" y="4926"/>
                    </a:lnTo>
                    <a:lnTo>
                      <a:pt x="12090" y="5598"/>
                    </a:lnTo>
                    <a:lnTo>
                      <a:pt x="12090" y="5598"/>
                    </a:lnTo>
                    <a:lnTo>
                      <a:pt x="9627" y="17016"/>
                    </a:lnTo>
                    <a:lnTo>
                      <a:pt x="9515" y="18135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6" name="Google Shape;1916;p16">
                <a:extLst>
                  <a:ext uri="{FF2B5EF4-FFF2-40B4-BE49-F238E27FC236}">
                    <a16:creationId xmlns:a16="http://schemas.microsoft.com/office/drawing/2014/main" id="{B288165B-7473-0DCE-FA13-22FD36604FB7}"/>
                  </a:ext>
                </a:extLst>
              </p:cNvPr>
              <p:cNvSpPr/>
              <p:nvPr/>
            </p:nvSpPr>
            <p:spPr>
              <a:xfrm>
                <a:off x="4688700" y="2851900"/>
                <a:ext cx="218325" cy="176325"/>
              </a:xfrm>
              <a:custGeom>
                <a:avLst/>
                <a:gdLst/>
                <a:ahLst/>
                <a:cxnLst/>
                <a:rect l="l" t="t" r="r" b="b"/>
                <a:pathLst>
                  <a:path w="8733" h="7053" extrusionOk="0">
                    <a:moveTo>
                      <a:pt x="1456" y="0"/>
                    </a:moveTo>
                    <a:lnTo>
                      <a:pt x="1008" y="336"/>
                    </a:lnTo>
                    <a:lnTo>
                      <a:pt x="561" y="896"/>
                    </a:lnTo>
                    <a:lnTo>
                      <a:pt x="337" y="1231"/>
                    </a:lnTo>
                    <a:lnTo>
                      <a:pt x="225" y="1679"/>
                    </a:lnTo>
                    <a:lnTo>
                      <a:pt x="113" y="2127"/>
                    </a:lnTo>
                    <a:lnTo>
                      <a:pt x="113" y="2687"/>
                    </a:lnTo>
                    <a:lnTo>
                      <a:pt x="225" y="3806"/>
                    </a:lnTo>
                    <a:lnTo>
                      <a:pt x="225" y="4814"/>
                    </a:lnTo>
                    <a:lnTo>
                      <a:pt x="1" y="5709"/>
                    </a:lnTo>
                    <a:lnTo>
                      <a:pt x="449" y="5821"/>
                    </a:lnTo>
                    <a:lnTo>
                      <a:pt x="784" y="4702"/>
                    </a:lnTo>
                    <a:lnTo>
                      <a:pt x="1008" y="3918"/>
                    </a:lnTo>
                    <a:lnTo>
                      <a:pt x="1232" y="3582"/>
                    </a:lnTo>
                    <a:lnTo>
                      <a:pt x="1456" y="3358"/>
                    </a:lnTo>
                    <a:lnTo>
                      <a:pt x="2128" y="4142"/>
                    </a:lnTo>
                    <a:lnTo>
                      <a:pt x="3135" y="5373"/>
                    </a:lnTo>
                    <a:lnTo>
                      <a:pt x="4254" y="6493"/>
                    </a:lnTo>
                    <a:lnTo>
                      <a:pt x="4702" y="6828"/>
                    </a:lnTo>
                    <a:lnTo>
                      <a:pt x="5038" y="6940"/>
                    </a:lnTo>
                    <a:lnTo>
                      <a:pt x="5822" y="7052"/>
                    </a:lnTo>
                    <a:lnTo>
                      <a:pt x="6717" y="6940"/>
                    </a:lnTo>
                    <a:lnTo>
                      <a:pt x="7389" y="6716"/>
                    </a:lnTo>
                    <a:lnTo>
                      <a:pt x="7837" y="6605"/>
                    </a:lnTo>
                    <a:lnTo>
                      <a:pt x="8284" y="6381"/>
                    </a:lnTo>
                    <a:lnTo>
                      <a:pt x="8620" y="6045"/>
                    </a:lnTo>
                    <a:lnTo>
                      <a:pt x="8732" y="5821"/>
                    </a:lnTo>
                    <a:lnTo>
                      <a:pt x="8732" y="5709"/>
                    </a:lnTo>
                    <a:lnTo>
                      <a:pt x="8620" y="5597"/>
                    </a:lnTo>
                    <a:lnTo>
                      <a:pt x="8396" y="5485"/>
                    </a:lnTo>
                    <a:lnTo>
                      <a:pt x="7277" y="5037"/>
                    </a:lnTo>
                    <a:lnTo>
                      <a:pt x="6381" y="4478"/>
                    </a:lnTo>
                    <a:lnTo>
                      <a:pt x="5486" y="3918"/>
                    </a:lnTo>
                    <a:lnTo>
                      <a:pt x="5486" y="3806"/>
                    </a:lnTo>
                    <a:lnTo>
                      <a:pt x="5374" y="3918"/>
                    </a:lnTo>
                    <a:lnTo>
                      <a:pt x="5374" y="4142"/>
                    </a:lnTo>
                    <a:lnTo>
                      <a:pt x="5150" y="4254"/>
                    </a:lnTo>
                    <a:lnTo>
                      <a:pt x="4926" y="4254"/>
                    </a:lnTo>
                    <a:lnTo>
                      <a:pt x="4366" y="4142"/>
                    </a:lnTo>
                    <a:lnTo>
                      <a:pt x="4031" y="3806"/>
                    </a:lnTo>
                    <a:lnTo>
                      <a:pt x="3583" y="3470"/>
                    </a:lnTo>
                    <a:lnTo>
                      <a:pt x="2799" y="2351"/>
                    </a:lnTo>
                    <a:lnTo>
                      <a:pt x="2128" y="1120"/>
                    </a:lnTo>
                    <a:lnTo>
                      <a:pt x="1792" y="112"/>
                    </a:lnTo>
                    <a:lnTo>
                      <a:pt x="168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7" name="Google Shape;1917;p16">
                <a:extLst>
                  <a:ext uri="{FF2B5EF4-FFF2-40B4-BE49-F238E27FC236}">
                    <a16:creationId xmlns:a16="http://schemas.microsoft.com/office/drawing/2014/main" id="{341F27A0-7BF6-239D-DF11-6A7D46BAF0D0}"/>
                  </a:ext>
                </a:extLst>
              </p:cNvPr>
              <p:cNvSpPr/>
              <p:nvPr/>
            </p:nvSpPr>
            <p:spPr>
              <a:xfrm>
                <a:off x="4736275" y="1847225"/>
                <a:ext cx="694050" cy="845175"/>
              </a:xfrm>
              <a:custGeom>
                <a:avLst/>
                <a:gdLst/>
                <a:ahLst/>
                <a:cxnLst/>
                <a:rect l="l" t="t" r="r" b="b"/>
                <a:pathLst>
                  <a:path w="27762" h="33807" extrusionOk="0">
                    <a:moveTo>
                      <a:pt x="3471" y="1"/>
                    </a:moveTo>
                    <a:lnTo>
                      <a:pt x="3247" y="113"/>
                    </a:lnTo>
                    <a:lnTo>
                      <a:pt x="449" y="2464"/>
                    </a:lnTo>
                    <a:lnTo>
                      <a:pt x="225" y="2799"/>
                    </a:lnTo>
                    <a:lnTo>
                      <a:pt x="113" y="3471"/>
                    </a:lnTo>
                    <a:lnTo>
                      <a:pt x="1" y="4479"/>
                    </a:lnTo>
                    <a:lnTo>
                      <a:pt x="113" y="4926"/>
                    </a:lnTo>
                    <a:lnTo>
                      <a:pt x="113" y="5374"/>
                    </a:lnTo>
                    <a:lnTo>
                      <a:pt x="337" y="5822"/>
                    </a:lnTo>
                    <a:lnTo>
                      <a:pt x="560" y="6158"/>
                    </a:lnTo>
                    <a:lnTo>
                      <a:pt x="1568" y="6829"/>
                    </a:lnTo>
                    <a:lnTo>
                      <a:pt x="2463" y="7389"/>
                    </a:lnTo>
                    <a:lnTo>
                      <a:pt x="3247" y="7725"/>
                    </a:lnTo>
                    <a:lnTo>
                      <a:pt x="3919" y="7837"/>
                    </a:lnTo>
                    <a:lnTo>
                      <a:pt x="4478" y="7949"/>
                    </a:lnTo>
                    <a:lnTo>
                      <a:pt x="4926" y="7837"/>
                    </a:lnTo>
                    <a:lnTo>
                      <a:pt x="5486" y="7725"/>
                    </a:lnTo>
                    <a:lnTo>
                      <a:pt x="6381" y="6382"/>
                    </a:lnTo>
                    <a:lnTo>
                      <a:pt x="6941" y="5486"/>
                    </a:lnTo>
                    <a:lnTo>
                      <a:pt x="7277" y="5150"/>
                    </a:lnTo>
                    <a:lnTo>
                      <a:pt x="11866" y="8508"/>
                    </a:lnTo>
                    <a:lnTo>
                      <a:pt x="15224" y="10971"/>
                    </a:lnTo>
                    <a:lnTo>
                      <a:pt x="16456" y="11978"/>
                    </a:lnTo>
                    <a:lnTo>
                      <a:pt x="17127" y="12538"/>
                    </a:lnTo>
                    <a:lnTo>
                      <a:pt x="17351" y="12986"/>
                    </a:lnTo>
                    <a:lnTo>
                      <a:pt x="17687" y="13769"/>
                    </a:lnTo>
                    <a:lnTo>
                      <a:pt x="18359" y="16232"/>
                    </a:lnTo>
                    <a:lnTo>
                      <a:pt x="20150" y="23172"/>
                    </a:lnTo>
                    <a:lnTo>
                      <a:pt x="22612" y="33023"/>
                    </a:lnTo>
                    <a:lnTo>
                      <a:pt x="22724" y="33247"/>
                    </a:lnTo>
                    <a:lnTo>
                      <a:pt x="22948" y="33359"/>
                    </a:lnTo>
                    <a:lnTo>
                      <a:pt x="24403" y="33807"/>
                    </a:lnTo>
                    <a:lnTo>
                      <a:pt x="27202" y="33807"/>
                    </a:lnTo>
                    <a:lnTo>
                      <a:pt x="27426" y="33695"/>
                    </a:lnTo>
                    <a:lnTo>
                      <a:pt x="27538" y="33583"/>
                    </a:lnTo>
                    <a:lnTo>
                      <a:pt x="27762" y="33247"/>
                    </a:lnTo>
                    <a:lnTo>
                      <a:pt x="27650" y="32911"/>
                    </a:lnTo>
                    <a:lnTo>
                      <a:pt x="27538" y="32799"/>
                    </a:lnTo>
                    <a:lnTo>
                      <a:pt x="27426" y="32687"/>
                    </a:lnTo>
                    <a:lnTo>
                      <a:pt x="27314" y="32687"/>
                    </a:lnTo>
                    <a:lnTo>
                      <a:pt x="26418" y="32239"/>
                    </a:lnTo>
                    <a:lnTo>
                      <a:pt x="25747" y="31680"/>
                    </a:lnTo>
                    <a:lnTo>
                      <a:pt x="25299" y="31232"/>
                    </a:lnTo>
                    <a:lnTo>
                      <a:pt x="24963" y="30560"/>
                    </a:lnTo>
                    <a:lnTo>
                      <a:pt x="24851" y="29553"/>
                    </a:lnTo>
                    <a:lnTo>
                      <a:pt x="24627" y="27538"/>
                    </a:lnTo>
                    <a:lnTo>
                      <a:pt x="24068" y="21381"/>
                    </a:lnTo>
                    <a:lnTo>
                      <a:pt x="23620" y="17911"/>
                    </a:lnTo>
                    <a:lnTo>
                      <a:pt x="23172" y="14777"/>
                    </a:lnTo>
                    <a:lnTo>
                      <a:pt x="22612" y="12202"/>
                    </a:lnTo>
                    <a:lnTo>
                      <a:pt x="22277" y="11195"/>
                    </a:lnTo>
                    <a:lnTo>
                      <a:pt x="21941" y="10523"/>
                    </a:lnTo>
                    <a:lnTo>
                      <a:pt x="21269" y="9516"/>
                    </a:lnTo>
                    <a:lnTo>
                      <a:pt x="20374" y="8396"/>
                    </a:lnTo>
                    <a:lnTo>
                      <a:pt x="17911" y="5710"/>
                    </a:lnTo>
                    <a:lnTo>
                      <a:pt x="15448" y="3247"/>
                    </a:lnTo>
                    <a:lnTo>
                      <a:pt x="14441" y="2464"/>
                    </a:lnTo>
                    <a:lnTo>
                      <a:pt x="13769" y="1904"/>
                    </a:lnTo>
                    <a:lnTo>
                      <a:pt x="13321" y="1792"/>
                    </a:lnTo>
                    <a:lnTo>
                      <a:pt x="12986" y="2016"/>
                    </a:lnTo>
                    <a:lnTo>
                      <a:pt x="12762" y="2352"/>
                    </a:lnTo>
                    <a:lnTo>
                      <a:pt x="12538" y="2688"/>
                    </a:lnTo>
                    <a:lnTo>
                      <a:pt x="12426" y="3359"/>
                    </a:lnTo>
                    <a:lnTo>
                      <a:pt x="12426" y="3583"/>
                    </a:lnTo>
                    <a:lnTo>
                      <a:pt x="10747" y="2688"/>
                    </a:lnTo>
                    <a:lnTo>
                      <a:pt x="8732" y="1680"/>
                    </a:lnTo>
                    <a:lnTo>
                      <a:pt x="5710" y="337"/>
                    </a:lnTo>
                    <a:lnTo>
                      <a:pt x="5598" y="225"/>
                    </a:lnTo>
                    <a:lnTo>
                      <a:pt x="3695" y="1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8" name="Google Shape;1918;p16">
                <a:extLst>
                  <a:ext uri="{FF2B5EF4-FFF2-40B4-BE49-F238E27FC236}">
                    <a16:creationId xmlns:a16="http://schemas.microsoft.com/office/drawing/2014/main" id="{620658CD-B9E1-9570-1EE3-FAE23092FC1B}"/>
                  </a:ext>
                </a:extLst>
              </p:cNvPr>
              <p:cNvSpPr/>
              <p:nvPr/>
            </p:nvSpPr>
            <p:spPr>
              <a:xfrm>
                <a:off x="4736275" y="1847225"/>
                <a:ext cx="694050" cy="845175"/>
              </a:xfrm>
              <a:custGeom>
                <a:avLst/>
                <a:gdLst/>
                <a:ahLst/>
                <a:cxnLst/>
                <a:rect l="l" t="t" r="r" b="b"/>
                <a:pathLst>
                  <a:path w="27762" h="33807" fill="none" extrusionOk="0">
                    <a:moveTo>
                      <a:pt x="3695" y="1"/>
                    </a:moveTo>
                    <a:lnTo>
                      <a:pt x="5598" y="225"/>
                    </a:lnTo>
                    <a:lnTo>
                      <a:pt x="5598" y="225"/>
                    </a:lnTo>
                    <a:lnTo>
                      <a:pt x="5710" y="337"/>
                    </a:lnTo>
                    <a:lnTo>
                      <a:pt x="5710" y="337"/>
                    </a:lnTo>
                    <a:lnTo>
                      <a:pt x="8732" y="1680"/>
                    </a:lnTo>
                    <a:lnTo>
                      <a:pt x="10747" y="2688"/>
                    </a:lnTo>
                    <a:lnTo>
                      <a:pt x="12426" y="3583"/>
                    </a:lnTo>
                    <a:lnTo>
                      <a:pt x="12426" y="3583"/>
                    </a:lnTo>
                    <a:lnTo>
                      <a:pt x="12426" y="3359"/>
                    </a:lnTo>
                    <a:lnTo>
                      <a:pt x="12538" y="2688"/>
                    </a:lnTo>
                    <a:lnTo>
                      <a:pt x="12538" y="2688"/>
                    </a:lnTo>
                    <a:lnTo>
                      <a:pt x="12762" y="2352"/>
                    </a:lnTo>
                    <a:lnTo>
                      <a:pt x="12986" y="2016"/>
                    </a:lnTo>
                    <a:lnTo>
                      <a:pt x="13321" y="1792"/>
                    </a:lnTo>
                    <a:lnTo>
                      <a:pt x="13769" y="1904"/>
                    </a:lnTo>
                    <a:lnTo>
                      <a:pt x="13769" y="1904"/>
                    </a:lnTo>
                    <a:lnTo>
                      <a:pt x="14441" y="2464"/>
                    </a:lnTo>
                    <a:lnTo>
                      <a:pt x="15448" y="3247"/>
                    </a:lnTo>
                    <a:lnTo>
                      <a:pt x="17911" y="5710"/>
                    </a:lnTo>
                    <a:lnTo>
                      <a:pt x="20374" y="8396"/>
                    </a:lnTo>
                    <a:lnTo>
                      <a:pt x="21269" y="9516"/>
                    </a:lnTo>
                    <a:lnTo>
                      <a:pt x="21941" y="10523"/>
                    </a:lnTo>
                    <a:lnTo>
                      <a:pt x="21941" y="10523"/>
                    </a:lnTo>
                    <a:lnTo>
                      <a:pt x="22277" y="11195"/>
                    </a:lnTo>
                    <a:lnTo>
                      <a:pt x="22612" y="12202"/>
                    </a:lnTo>
                    <a:lnTo>
                      <a:pt x="23172" y="14777"/>
                    </a:lnTo>
                    <a:lnTo>
                      <a:pt x="23620" y="17911"/>
                    </a:lnTo>
                    <a:lnTo>
                      <a:pt x="24068" y="21381"/>
                    </a:lnTo>
                    <a:lnTo>
                      <a:pt x="24627" y="27538"/>
                    </a:lnTo>
                    <a:lnTo>
                      <a:pt x="24851" y="29553"/>
                    </a:lnTo>
                    <a:lnTo>
                      <a:pt x="24963" y="30560"/>
                    </a:lnTo>
                    <a:lnTo>
                      <a:pt x="24963" y="30560"/>
                    </a:lnTo>
                    <a:lnTo>
                      <a:pt x="25299" y="31232"/>
                    </a:lnTo>
                    <a:lnTo>
                      <a:pt x="25747" y="31680"/>
                    </a:lnTo>
                    <a:lnTo>
                      <a:pt x="26418" y="32239"/>
                    </a:lnTo>
                    <a:lnTo>
                      <a:pt x="27314" y="32687"/>
                    </a:lnTo>
                    <a:lnTo>
                      <a:pt x="27426" y="32687"/>
                    </a:lnTo>
                    <a:lnTo>
                      <a:pt x="27426" y="32687"/>
                    </a:lnTo>
                    <a:lnTo>
                      <a:pt x="27538" y="32799"/>
                    </a:lnTo>
                    <a:lnTo>
                      <a:pt x="27650" y="32911"/>
                    </a:lnTo>
                    <a:lnTo>
                      <a:pt x="27762" y="33247"/>
                    </a:lnTo>
                    <a:lnTo>
                      <a:pt x="27538" y="33583"/>
                    </a:lnTo>
                    <a:lnTo>
                      <a:pt x="27426" y="33695"/>
                    </a:lnTo>
                    <a:lnTo>
                      <a:pt x="27202" y="33807"/>
                    </a:lnTo>
                    <a:lnTo>
                      <a:pt x="24627" y="33807"/>
                    </a:lnTo>
                    <a:lnTo>
                      <a:pt x="24627" y="33807"/>
                    </a:lnTo>
                    <a:lnTo>
                      <a:pt x="24403" y="33807"/>
                    </a:lnTo>
                    <a:lnTo>
                      <a:pt x="22948" y="33359"/>
                    </a:lnTo>
                    <a:lnTo>
                      <a:pt x="22948" y="33359"/>
                    </a:lnTo>
                    <a:lnTo>
                      <a:pt x="22724" y="33247"/>
                    </a:lnTo>
                    <a:lnTo>
                      <a:pt x="22612" y="33023"/>
                    </a:lnTo>
                    <a:lnTo>
                      <a:pt x="22612" y="33023"/>
                    </a:lnTo>
                    <a:lnTo>
                      <a:pt x="20150" y="23172"/>
                    </a:lnTo>
                    <a:lnTo>
                      <a:pt x="18359" y="16232"/>
                    </a:lnTo>
                    <a:lnTo>
                      <a:pt x="17687" y="13769"/>
                    </a:lnTo>
                    <a:lnTo>
                      <a:pt x="17351" y="12986"/>
                    </a:lnTo>
                    <a:lnTo>
                      <a:pt x="17127" y="12538"/>
                    </a:lnTo>
                    <a:lnTo>
                      <a:pt x="17127" y="12538"/>
                    </a:lnTo>
                    <a:lnTo>
                      <a:pt x="16456" y="11978"/>
                    </a:lnTo>
                    <a:lnTo>
                      <a:pt x="15224" y="10971"/>
                    </a:lnTo>
                    <a:lnTo>
                      <a:pt x="11866" y="8508"/>
                    </a:lnTo>
                    <a:lnTo>
                      <a:pt x="7277" y="5150"/>
                    </a:lnTo>
                    <a:lnTo>
                      <a:pt x="7277" y="5150"/>
                    </a:lnTo>
                    <a:lnTo>
                      <a:pt x="6941" y="5486"/>
                    </a:lnTo>
                    <a:lnTo>
                      <a:pt x="6381" y="6382"/>
                    </a:lnTo>
                    <a:lnTo>
                      <a:pt x="5486" y="7725"/>
                    </a:lnTo>
                    <a:lnTo>
                      <a:pt x="5486" y="7725"/>
                    </a:lnTo>
                    <a:lnTo>
                      <a:pt x="4926" y="7837"/>
                    </a:lnTo>
                    <a:lnTo>
                      <a:pt x="4478" y="7949"/>
                    </a:lnTo>
                    <a:lnTo>
                      <a:pt x="3919" y="7837"/>
                    </a:lnTo>
                    <a:lnTo>
                      <a:pt x="3247" y="7725"/>
                    </a:lnTo>
                    <a:lnTo>
                      <a:pt x="2463" y="7389"/>
                    </a:lnTo>
                    <a:lnTo>
                      <a:pt x="1568" y="6829"/>
                    </a:lnTo>
                    <a:lnTo>
                      <a:pt x="560" y="6158"/>
                    </a:lnTo>
                    <a:lnTo>
                      <a:pt x="560" y="6158"/>
                    </a:lnTo>
                    <a:lnTo>
                      <a:pt x="337" y="5822"/>
                    </a:lnTo>
                    <a:lnTo>
                      <a:pt x="113" y="5374"/>
                    </a:lnTo>
                    <a:lnTo>
                      <a:pt x="113" y="4926"/>
                    </a:lnTo>
                    <a:lnTo>
                      <a:pt x="1" y="4479"/>
                    </a:lnTo>
                    <a:lnTo>
                      <a:pt x="113" y="3471"/>
                    </a:lnTo>
                    <a:lnTo>
                      <a:pt x="225" y="2799"/>
                    </a:lnTo>
                    <a:lnTo>
                      <a:pt x="225" y="2799"/>
                    </a:lnTo>
                    <a:lnTo>
                      <a:pt x="449" y="2464"/>
                    </a:lnTo>
                    <a:lnTo>
                      <a:pt x="3247" y="113"/>
                    </a:lnTo>
                    <a:lnTo>
                      <a:pt x="3247" y="113"/>
                    </a:lnTo>
                    <a:lnTo>
                      <a:pt x="3471" y="1"/>
                    </a:lnTo>
                    <a:lnTo>
                      <a:pt x="3695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9" name="Google Shape;1919;p16">
                <a:extLst>
                  <a:ext uri="{FF2B5EF4-FFF2-40B4-BE49-F238E27FC236}">
                    <a16:creationId xmlns:a16="http://schemas.microsoft.com/office/drawing/2014/main" id="{CC8E73DE-239C-D0B1-E788-E93774C96E64}"/>
                  </a:ext>
                </a:extLst>
              </p:cNvPr>
              <p:cNvSpPr/>
              <p:nvPr/>
            </p:nvSpPr>
            <p:spPr>
              <a:xfrm>
                <a:off x="5293175" y="2661600"/>
                <a:ext cx="232300" cy="103575"/>
              </a:xfrm>
              <a:custGeom>
                <a:avLst/>
                <a:gdLst/>
                <a:ahLst/>
                <a:cxnLst/>
                <a:rect l="l" t="t" r="r" b="b"/>
                <a:pathLst>
                  <a:path w="9292" h="4143" extrusionOk="0">
                    <a:moveTo>
                      <a:pt x="113" y="0"/>
                    </a:moveTo>
                    <a:lnTo>
                      <a:pt x="1" y="112"/>
                    </a:lnTo>
                    <a:lnTo>
                      <a:pt x="1" y="672"/>
                    </a:lnTo>
                    <a:lnTo>
                      <a:pt x="1" y="1344"/>
                    </a:lnTo>
                    <a:lnTo>
                      <a:pt x="113" y="1791"/>
                    </a:lnTo>
                    <a:lnTo>
                      <a:pt x="224" y="2127"/>
                    </a:lnTo>
                    <a:lnTo>
                      <a:pt x="560" y="2575"/>
                    </a:lnTo>
                    <a:lnTo>
                      <a:pt x="896" y="2911"/>
                    </a:lnTo>
                    <a:lnTo>
                      <a:pt x="1568" y="3470"/>
                    </a:lnTo>
                    <a:lnTo>
                      <a:pt x="2016" y="3806"/>
                    </a:lnTo>
                    <a:lnTo>
                      <a:pt x="2239" y="4142"/>
                    </a:lnTo>
                    <a:lnTo>
                      <a:pt x="2799" y="4142"/>
                    </a:lnTo>
                    <a:lnTo>
                      <a:pt x="2463" y="3582"/>
                    </a:lnTo>
                    <a:lnTo>
                      <a:pt x="2239" y="3023"/>
                    </a:lnTo>
                    <a:lnTo>
                      <a:pt x="2127" y="2687"/>
                    </a:lnTo>
                    <a:lnTo>
                      <a:pt x="2239" y="2463"/>
                    </a:lnTo>
                    <a:lnTo>
                      <a:pt x="3695" y="2575"/>
                    </a:lnTo>
                    <a:lnTo>
                      <a:pt x="5598" y="2687"/>
                    </a:lnTo>
                    <a:lnTo>
                      <a:pt x="6941" y="2687"/>
                    </a:lnTo>
                    <a:lnTo>
                      <a:pt x="7053" y="2575"/>
                    </a:lnTo>
                    <a:lnTo>
                      <a:pt x="8284" y="2015"/>
                    </a:lnTo>
                    <a:lnTo>
                      <a:pt x="8956" y="1679"/>
                    </a:lnTo>
                    <a:lnTo>
                      <a:pt x="9292" y="1344"/>
                    </a:lnTo>
                    <a:lnTo>
                      <a:pt x="9292" y="1008"/>
                    </a:lnTo>
                    <a:lnTo>
                      <a:pt x="9068" y="672"/>
                    </a:lnTo>
                    <a:lnTo>
                      <a:pt x="8620" y="336"/>
                    </a:lnTo>
                    <a:lnTo>
                      <a:pt x="8060" y="112"/>
                    </a:lnTo>
                    <a:lnTo>
                      <a:pt x="5262" y="112"/>
                    </a:lnTo>
                    <a:lnTo>
                      <a:pt x="5262" y="224"/>
                    </a:lnTo>
                    <a:lnTo>
                      <a:pt x="5374" y="448"/>
                    </a:lnTo>
                    <a:lnTo>
                      <a:pt x="5374" y="560"/>
                    </a:lnTo>
                    <a:lnTo>
                      <a:pt x="5150" y="784"/>
                    </a:lnTo>
                    <a:lnTo>
                      <a:pt x="4702" y="1008"/>
                    </a:lnTo>
                    <a:lnTo>
                      <a:pt x="4254" y="1120"/>
                    </a:lnTo>
                    <a:lnTo>
                      <a:pt x="3695" y="1120"/>
                    </a:lnTo>
                    <a:lnTo>
                      <a:pt x="2463" y="896"/>
                    </a:lnTo>
                    <a:lnTo>
                      <a:pt x="1232" y="448"/>
                    </a:lnTo>
                    <a:lnTo>
                      <a:pt x="33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0" name="Google Shape;1920;p16">
                <a:extLst>
                  <a:ext uri="{FF2B5EF4-FFF2-40B4-BE49-F238E27FC236}">
                    <a16:creationId xmlns:a16="http://schemas.microsoft.com/office/drawing/2014/main" id="{87E36DA8-5DBB-066C-34E6-F83C86BABDDA}"/>
                  </a:ext>
                </a:extLst>
              </p:cNvPr>
              <p:cNvSpPr/>
              <p:nvPr/>
            </p:nvSpPr>
            <p:spPr>
              <a:xfrm>
                <a:off x="4736275" y="1757675"/>
                <a:ext cx="540125" cy="573725"/>
              </a:xfrm>
              <a:custGeom>
                <a:avLst/>
                <a:gdLst/>
                <a:ahLst/>
                <a:cxnLst/>
                <a:rect l="l" t="t" r="r" b="b"/>
                <a:pathLst>
                  <a:path w="21605" h="22949" extrusionOk="0">
                    <a:moveTo>
                      <a:pt x="11419" y="1"/>
                    </a:moveTo>
                    <a:lnTo>
                      <a:pt x="10747" y="337"/>
                    </a:lnTo>
                    <a:lnTo>
                      <a:pt x="9963" y="673"/>
                    </a:lnTo>
                    <a:lnTo>
                      <a:pt x="9180" y="896"/>
                    </a:lnTo>
                    <a:lnTo>
                      <a:pt x="8396" y="1008"/>
                    </a:lnTo>
                    <a:lnTo>
                      <a:pt x="6717" y="1120"/>
                    </a:lnTo>
                    <a:lnTo>
                      <a:pt x="5038" y="1120"/>
                    </a:lnTo>
                    <a:lnTo>
                      <a:pt x="3583" y="896"/>
                    </a:lnTo>
                    <a:lnTo>
                      <a:pt x="2463" y="785"/>
                    </a:lnTo>
                    <a:lnTo>
                      <a:pt x="1344" y="561"/>
                    </a:lnTo>
                    <a:lnTo>
                      <a:pt x="1232" y="673"/>
                    </a:lnTo>
                    <a:lnTo>
                      <a:pt x="672" y="3023"/>
                    </a:lnTo>
                    <a:lnTo>
                      <a:pt x="337" y="4702"/>
                    </a:lnTo>
                    <a:lnTo>
                      <a:pt x="1" y="6493"/>
                    </a:lnTo>
                    <a:lnTo>
                      <a:pt x="1" y="7837"/>
                    </a:lnTo>
                    <a:lnTo>
                      <a:pt x="1" y="9068"/>
                    </a:lnTo>
                    <a:lnTo>
                      <a:pt x="225" y="9964"/>
                    </a:lnTo>
                    <a:lnTo>
                      <a:pt x="672" y="10971"/>
                    </a:lnTo>
                    <a:lnTo>
                      <a:pt x="1568" y="13322"/>
                    </a:lnTo>
                    <a:lnTo>
                      <a:pt x="2575" y="15896"/>
                    </a:lnTo>
                    <a:lnTo>
                      <a:pt x="3023" y="17128"/>
                    </a:lnTo>
                    <a:lnTo>
                      <a:pt x="3247" y="18247"/>
                    </a:lnTo>
                    <a:lnTo>
                      <a:pt x="3359" y="19031"/>
                    </a:lnTo>
                    <a:lnTo>
                      <a:pt x="3247" y="19702"/>
                    </a:lnTo>
                    <a:lnTo>
                      <a:pt x="3023" y="20822"/>
                    </a:lnTo>
                    <a:lnTo>
                      <a:pt x="2799" y="21941"/>
                    </a:lnTo>
                    <a:lnTo>
                      <a:pt x="2911" y="22277"/>
                    </a:lnTo>
                    <a:lnTo>
                      <a:pt x="3023" y="22725"/>
                    </a:lnTo>
                    <a:lnTo>
                      <a:pt x="3247" y="22837"/>
                    </a:lnTo>
                    <a:lnTo>
                      <a:pt x="3583" y="22948"/>
                    </a:lnTo>
                    <a:lnTo>
                      <a:pt x="4366" y="22948"/>
                    </a:lnTo>
                    <a:lnTo>
                      <a:pt x="5486" y="22725"/>
                    </a:lnTo>
                    <a:lnTo>
                      <a:pt x="6829" y="22389"/>
                    </a:lnTo>
                    <a:lnTo>
                      <a:pt x="8284" y="21941"/>
                    </a:lnTo>
                    <a:lnTo>
                      <a:pt x="9739" y="21269"/>
                    </a:lnTo>
                    <a:lnTo>
                      <a:pt x="11083" y="20710"/>
                    </a:lnTo>
                    <a:lnTo>
                      <a:pt x="12314" y="19926"/>
                    </a:lnTo>
                    <a:lnTo>
                      <a:pt x="14889" y="18359"/>
                    </a:lnTo>
                    <a:lnTo>
                      <a:pt x="17911" y="16344"/>
                    </a:lnTo>
                    <a:lnTo>
                      <a:pt x="19254" y="15337"/>
                    </a:lnTo>
                    <a:lnTo>
                      <a:pt x="20374" y="14329"/>
                    </a:lnTo>
                    <a:lnTo>
                      <a:pt x="21157" y="13434"/>
                    </a:lnTo>
                    <a:lnTo>
                      <a:pt x="21493" y="13098"/>
                    </a:lnTo>
                    <a:lnTo>
                      <a:pt x="21605" y="12762"/>
                    </a:lnTo>
                    <a:lnTo>
                      <a:pt x="21493" y="12426"/>
                    </a:lnTo>
                    <a:lnTo>
                      <a:pt x="21381" y="12202"/>
                    </a:lnTo>
                    <a:lnTo>
                      <a:pt x="20709" y="11419"/>
                    </a:lnTo>
                    <a:lnTo>
                      <a:pt x="18359" y="9068"/>
                    </a:lnTo>
                    <a:lnTo>
                      <a:pt x="16792" y="7389"/>
                    </a:lnTo>
                    <a:lnTo>
                      <a:pt x="15001" y="5374"/>
                    </a:lnTo>
                    <a:lnTo>
                      <a:pt x="13210" y="2911"/>
                    </a:lnTo>
                    <a:lnTo>
                      <a:pt x="12314" y="1456"/>
                    </a:lnTo>
                    <a:lnTo>
                      <a:pt x="11419" y="1"/>
                    </a:lnTo>
                    <a:close/>
                  </a:path>
                </a:pathLst>
              </a:custGeom>
              <a:solidFill>
                <a:srgbClr val="2D2D2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1" name="Google Shape;1921;p16">
                <a:extLst>
                  <a:ext uri="{FF2B5EF4-FFF2-40B4-BE49-F238E27FC236}">
                    <a16:creationId xmlns:a16="http://schemas.microsoft.com/office/drawing/2014/main" id="{C12ED514-6934-AB28-5FD6-D2222C4D7591}"/>
                  </a:ext>
                </a:extLst>
              </p:cNvPr>
              <p:cNvSpPr/>
              <p:nvPr/>
            </p:nvSpPr>
            <p:spPr>
              <a:xfrm>
                <a:off x="4736275" y="1757675"/>
                <a:ext cx="540125" cy="573725"/>
              </a:xfrm>
              <a:custGeom>
                <a:avLst/>
                <a:gdLst/>
                <a:ahLst/>
                <a:cxnLst/>
                <a:rect l="l" t="t" r="r" b="b"/>
                <a:pathLst>
                  <a:path w="21605" h="22949" fill="none" extrusionOk="0">
                    <a:moveTo>
                      <a:pt x="3023" y="22725"/>
                    </a:moveTo>
                    <a:lnTo>
                      <a:pt x="3023" y="22725"/>
                    </a:lnTo>
                    <a:lnTo>
                      <a:pt x="3247" y="22837"/>
                    </a:lnTo>
                    <a:lnTo>
                      <a:pt x="3583" y="22948"/>
                    </a:lnTo>
                    <a:lnTo>
                      <a:pt x="4366" y="22948"/>
                    </a:lnTo>
                    <a:lnTo>
                      <a:pt x="5486" y="22725"/>
                    </a:lnTo>
                    <a:lnTo>
                      <a:pt x="6829" y="22389"/>
                    </a:lnTo>
                    <a:lnTo>
                      <a:pt x="8284" y="21941"/>
                    </a:lnTo>
                    <a:lnTo>
                      <a:pt x="9739" y="21269"/>
                    </a:lnTo>
                    <a:lnTo>
                      <a:pt x="11083" y="20710"/>
                    </a:lnTo>
                    <a:lnTo>
                      <a:pt x="12314" y="19926"/>
                    </a:lnTo>
                    <a:lnTo>
                      <a:pt x="12314" y="19926"/>
                    </a:lnTo>
                    <a:lnTo>
                      <a:pt x="14889" y="18359"/>
                    </a:lnTo>
                    <a:lnTo>
                      <a:pt x="17911" y="16344"/>
                    </a:lnTo>
                    <a:lnTo>
                      <a:pt x="19254" y="15337"/>
                    </a:lnTo>
                    <a:lnTo>
                      <a:pt x="20374" y="14329"/>
                    </a:lnTo>
                    <a:lnTo>
                      <a:pt x="21157" y="13434"/>
                    </a:lnTo>
                    <a:lnTo>
                      <a:pt x="21493" y="13098"/>
                    </a:lnTo>
                    <a:lnTo>
                      <a:pt x="21605" y="12762"/>
                    </a:lnTo>
                    <a:lnTo>
                      <a:pt x="21605" y="12762"/>
                    </a:lnTo>
                    <a:lnTo>
                      <a:pt x="21493" y="12426"/>
                    </a:lnTo>
                    <a:lnTo>
                      <a:pt x="21381" y="12202"/>
                    </a:lnTo>
                    <a:lnTo>
                      <a:pt x="20709" y="11419"/>
                    </a:lnTo>
                    <a:lnTo>
                      <a:pt x="18359" y="9068"/>
                    </a:lnTo>
                    <a:lnTo>
                      <a:pt x="16792" y="7389"/>
                    </a:lnTo>
                    <a:lnTo>
                      <a:pt x="15001" y="5374"/>
                    </a:lnTo>
                    <a:lnTo>
                      <a:pt x="13210" y="2911"/>
                    </a:lnTo>
                    <a:lnTo>
                      <a:pt x="12314" y="1456"/>
                    </a:lnTo>
                    <a:lnTo>
                      <a:pt x="11419" y="1"/>
                    </a:lnTo>
                    <a:lnTo>
                      <a:pt x="11419" y="1"/>
                    </a:lnTo>
                    <a:lnTo>
                      <a:pt x="10747" y="337"/>
                    </a:lnTo>
                    <a:lnTo>
                      <a:pt x="9963" y="673"/>
                    </a:lnTo>
                    <a:lnTo>
                      <a:pt x="9180" y="896"/>
                    </a:lnTo>
                    <a:lnTo>
                      <a:pt x="8396" y="1008"/>
                    </a:lnTo>
                    <a:lnTo>
                      <a:pt x="6717" y="1120"/>
                    </a:lnTo>
                    <a:lnTo>
                      <a:pt x="5038" y="1120"/>
                    </a:lnTo>
                    <a:lnTo>
                      <a:pt x="3583" y="896"/>
                    </a:lnTo>
                    <a:lnTo>
                      <a:pt x="2463" y="785"/>
                    </a:lnTo>
                    <a:lnTo>
                      <a:pt x="1344" y="561"/>
                    </a:lnTo>
                    <a:lnTo>
                      <a:pt x="1344" y="561"/>
                    </a:lnTo>
                    <a:lnTo>
                      <a:pt x="1232" y="673"/>
                    </a:lnTo>
                    <a:lnTo>
                      <a:pt x="1232" y="673"/>
                    </a:lnTo>
                    <a:lnTo>
                      <a:pt x="672" y="3023"/>
                    </a:lnTo>
                    <a:lnTo>
                      <a:pt x="337" y="4702"/>
                    </a:lnTo>
                    <a:lnTo>
                      <a:pt x="1" y="6493"/>
                    </a:lnTo>
                    <a:lnTo>
                      <a:pt x="1" y="6493"/>
                    </a:lnTo>
                    <a:lnTo>
                      <a:pt x="1" y="7837"/>
                    </a:lnTo>
                    <a:lnTo>
                      <a:pt x="1" y="9068"/>
                    </a:lnTo>
                    <a:lnTo>
                      <a:pt x="1" y="9068"/>
                    </a:lnTo>
                    <a:lnTo>
                      <a:pt x="225" y="9964"/>
                    </a:lnTo>
                    <a:lnTo>
                      <a:pt x="672" y="10971"/>
                    </a:lnTo>
                    <a:lnTo>
                      <a:pt x="1568" y="13322"/>
                    </a:lnTo>
                    <a:lnTo>
                      <a:pt x="2575" y="15896"/>
                    </a:lnTo>
                    <a:lnTo>
                      <a:pt x="3023" y="17128"/>
                    </a:lnTo>
                    <a:lnTo>
                      <a:pt x="3247" y="18247"/>
                    </a:lnTo>
                    <a:lnTo>
                      <a:pt x="3247" y="18247"/>
                    </a:lnTo>
                    <a:lnTo>
                      <a:pt x="3359" y="19031"/>
                    </a:lnTo>
                    <a:lnTo>
                      <a:pt x="3247" y="19702"/>
                    </a:lnTo>
                    <a:lnTo>
                      <a:pt x="3023" y="20822"/>
                    </a:lnTo>
                    <a:lnTo>
                      <a:pt x="2799" y="21941"/>
                    </a:lnTo>
                    <a:lnTo>
                      <a:pt x="2911" y="22277"/>
                    </a:lnTo>
                    <a:lnTo>
                      <a:pt x="3023" y="22725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2" name="Google Shape;1922;p16">
                <a:extLst>
                  <a:ext uri="{FF2B5EF4-FFF2-40B4-BE49-F238E27FC236}">
                    <a16:creationId xmlns:a16="http://schemas.microsoft.com/office/drawing/2014/main" id="{94AA556C-5B8B-1475-6569-3E6CCAF8F957}"/>
                  </a:ext>
                </a:extLst>
              </p:cNvPr>
              <p:cNvSpPr/>
              <p:nvPr/>
            </p:nvSpPr>
            <p:spPr>
              <a:xfrm>
                <a:off x="4795050" y="1329525"/>
                <a:ext cx="212700" cy="470175"/>
              </a:xfrm>
              <a:custGeom>
                <a:avLst/>
                <a:gdLst/>
                <a:ahLst/>
                <a:cxnLst/>
                <a:rect l="l" t="t" r="r" b="b"/>
                <a:pathLst>
                  <a:path w="8508" h="18807" extrusionOk="0">
                    <a:moveTo>
                      <a:pt x="2015" y="0"/>
                    </a:moveTo>
                    <a:lnTo>
                      <a:pt x="0" y="448"/>
                    </a:lnTo>
                    <a:lnTo>
                      <a:pt x="336" y="2351"/>
                    </a:lnTo>
                    <a:lnTo>
                      <a:pt x="896" y="6940"/>
                    </a:lnTo>
                    <a:lnTo>
                      <a:pt x="1120" y="9739"/>
                    </a:lnTo>
                    <a:lnTo>
                      <a:pt x="1232" y="12649"/>
                    </a:lnTo>
                    <a:lnTo>
                      <a:pt x="1232" y="15448"/>
                    </a:lnTo>
                    <a:lnTo>
                      <a:pt x="1120" y="16679"/>
                    </a:lnTo>
                    <a:lnTo>
                      <a:pt x="1008" y="17911"/>
                    </a:lnTo>
                    <a:lnTo>
                      <a:pt x="1120" y="18022"/>
                    </a:lnTo>
                    <a:lnTo>
                      <a:pt x="1232" y="18134"/>
                    </a:lnTo>
                    <a:lnTo>
                      <a:pt x="1903" y="18470"/>
                    </a:lnTo>
                    <a:lnTo>
                      <a:pt x="2911" y="18694"/>
                    </a:lnTo>
                    <a:lnTo>
                      <a:pt x="4030" y="18806"/>
                    </a:lnTo>
                    <a:lnTo>
                      <a:pt x="5262" y="18806"/>
                    </a:lnTo>
                    <a:lnTo>
                      <a:pt x="5821" y="18694"/>
                    </a:lnTo>
                    <a:lnTo>
                      <a:pt x="6381" y="18582"/>
                    </a:lnTo>
                    <a:lnTo>
                      <a:pt x="6941" y="18358"/>
                    </a:lnTo>
                    <a:lnTo>
                      <a:pt x="7388" y="18022"/>
                    </a:lnTo>
                    <a:lnTo>
                      <a:pt x="7724" y="17687"/>
                    </a:lnTo>
                    <a:lnTo>
                      <a:pt x="7948" y="17127"/>
                    </a:lnTo>
                    <a:lnTo>
                      <a:pt x="8284" y="16119"/>
                    </a:lnTo>
                    <a:lnTo>
                      <a:pt x="8396" y="15000"/>
                    </a:lnTo>
                    <a:lnTo>
                      <a:pt x="8508" y="13657"/>
                    </a:lnTo>
                    <a:lnTo>
                      <a:pt x="8508" y="12314"/>
                    </a:lnTo>
                    <a:lnTo>
                      <a:pt x="8396" y="10075"/>
                    </a:lnTo>
                    <a:lnTo>
                      <a:pt x="8284" y="9179"/>
                    </a:lnTo>
                    <a:lnTo>
                      <a:pt x="3918" y="560"/>
                    </a:lnTo>
                    <a:lnTo>
                      <a:pt x="20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3" name="Google Shape;1923;p16">
                <a:extLst>
                  <a:ext uri="{FF2B5EF4-FFF2-40B4-BE49-F238E27FC236}">
                    <a16:creationId xmlns:a16="http://schemas.microsoft.com/office/drawing/2014/main" id="{7D163710-2C39-1898-99AA-8587B60BE1DC}"/>
                  </a:ext>
                </a:extLst>
              </p:cNvPr>
              <p:cNvSpPr/>
              <p:nvPr/>
            </p:nvSpPr>
            <p:spPr>
              <a:xfrm>
                <a:off x="4795050" y="1329525"/>
                <a:ext cx="212700" cy="470175"/>
              </a:xfrm>
              <a:custGeom>
                <a:avLst/>
                <a:gdLst/>
                <a:ahLst/>
                <a:cxnLst/>
                <a:rect l="l" t="t" r="r" b="b"/>
                <a:pathLst>
                  <a:path w="8508" h="18807" fill="none" extrusionOk="0">
                    <a:moveTo>
                      <a:pt x="2015" y="0"/>
                    </a:moveTo>
                    <a:lnTo>
                      <a:pt x="3918" y="560"/>
                    </a:lnTo>
                    <a:lnTo>
                      <a:pt x="8284" y="9179"/>
                    </a:lnTo>
                    <a:lnTo>
                      <a:pt x="8284" y="9179"/>
                    </a:lnTo>
                    <a:lnTo>
                      <a:pt x="8396" y="10075"/>
                    </a:lnTo>
                    <a:lnTo>
                      <a:pt x="8508" y="12314"/>
                    </a:lnTo>
                    <a:lnTo>
                      <a:pt x="8508" y="13657"/>
                    </a:lnTo>
                    <a:lnTo>
                      <a:pt x="8396" y="15000"/>
                    </a:lnTo>
                    <a:lnTo>
                      <a:pt x="8284" y="16119"/>
                    </a:lnTo>
                    <a:lnTo>
                      <a:pt x="7948" y="17127"/>
                    </a:lnTo>
                    <a:lnTo>
                      <a:pt x="7948" y="17127"/>
                    </a:lnTo>
                    <a:lnTo>
                      <a:pt x="7724" y="17687"/>
                    </a:lnTo>
                    <a:lnTo>
                      <a:pt x="7388" y="18022"/>
                    </a:lnTo>
                    <a:lnTo>
                      <a:pt x="6941" y="18358"/>
                    </a:lnTo>
                    <a:lnTo>
                      <a:pt x="6381" y="18582"/>
                    </a:lnTo>
                    <a:lnTo>
                      <a:pt x="5821" y="18694"/>
                    </a:lnTo>
                    <a:lnTo>
                      <a:pt x="5262" y="18806"/>
                    </a:lnTo>
                    <a:lnTo>
                      <a:pt x="4030" y="18806"/>
                    </a:lnTo>
                    <a:lnTo>
                      <a:pt x="2911" y="18694"/>
                    </a:lnTo>
                    <a:lnTo>
                      <a:pt x="1903" y="18470"/>
                    </a:lnTo>
                    <a:lnTo>
                      <a:pt x="1232" y="18134"/>
                    </a:lnTo>
                    <a:lnTo>
                      <a:pt x="1120" y="18022"/>
                    </a:lnTo>
                    <a:lnTo>
                      <a:pt x="1008" y="17911"/>
                    </a:lnTo>
                    <a:lnTo>
                      <a:pt x="1008" y="17911"/>
                    </a:lnTo>
                    <a:lnTo>
                      <a:pt x="1120" y="16679"/>
                    </a:lnTo>
                    <a:lnTo>
                      <a:pt x="1232" y="15448"/>
                    </a:lnTo>
                    <a:lnTo>
                      <a:pt x="1232" y="12649"/>
                    </a:lnTo>
                    <a:lnTo>
                      <a:pt x="1120" y="9739"/>
                    </a:lnTo>
                    <a:lnTo>
                      <a:pt x="896" y="6940"/>
                    </a:lnTo>
                    <a:lnTo>
                      <a:pt x="336" y="2351"/>
                    </a:lnTo>
                    <a:lnTo>
                      <a:pt x="0" y="448"/>
                    </a:lnTo>
                    <a:lnTo>
                      <a:pt x="2015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4" name="Google Shape;1924;p16">
                <a:extLst>
                  <a:ext uri="{FF2B5EF4-FFF2-40B4-BE49-F238E27FC236}">
                    <a16:creationId xmlns:a16="http://schemas.microsoft.com/office/drawing/2014/main" id="{DD99FA02-A978-205C-8EF1-97E2FA2EFA21}"/>
                  </a:ext>
                </a:extLst>
              </p:cNvPr>
              <p:cNvSpPr/>
              <p:nvPr/>
            </p:nvSpPr>
            <p:spPr>
              <a:xfrm>
                <a:off x="4736275" y="1813650"/>
                <a:ext cx="156750" cy="109175"/>
              </a:xfrm>
              <a:custGeom>
                <a:avLst/>
                <a:gdLst/>
                <a:ahLst/>
                <a:cxnLst/>
                <a:rect l="l" t="t" r="r" b="b"/>
                <a:pathLst>
                  <a:path w="6270" h="4367" extrusionOk="0">
                    <a:moveTo>
                      <a:pt x="6269" y="1"/>
                    </a:moveTo>
                    <a:lnTo>
                      <a:pt x="5934" y="560"/>
                    </a:lnTo>
                    <a:lnTo>
                      <a:pt x="5598" y="896"/>
                    </a:lnTo>
                    <a:lnTo>
                      <a:pt x="5038" y="1232"/>
                    </a:lnTo>
                    <a:lnTo>
                      <a:pt x="3695" y="1904"/>
                    </a:lnTo>
                    <a:lnTo>
                      <a:pt x="2240" y="2240"/>
                    </a:lnTo>
                    <a:lnTo>
                      <a:pt x="1568" y="2351"/>
                    </a:lnTo>
                    <a:lnTo>
                      <a:pt x="896" y="2463"/>
                    </a:lnTo>
                    <a:lnTo>
                      <a:pt x="337" y="2351"/>
                    </a:lnTo>
                    <a:lnTo>
                      <a:pt x="1" y="4254"/>
                    </a:lnTo>
                    <a:lnTo>
                      <a:pt x="896" y="4366"/>
                    </a:lnTo>
                    <a:lnTo>
                      <a:pt x="1456" y="4366"/>
                    </a:lnTo>
                    <a:lnTo>
                      <a:pt x="2016" y="4142"/>
                    </a:lnTo>
                    <a:lnTo>
                      <a:pt x="2575" y="3919"/>
                    </a:lnTo>
                    <a:lnTo>
                      <a:pt x="3023" y="3695"/>
                    </a:lnTo>
                    <a:lnTo>
                      <a:pt x="3919" y="3023"/>
                    </a:lnTo>
                    <a:lnTo>
                      <a:pt x="4702" y="2240"/>
                    </a:lnTo>
                    <a:lnTo>
                      <a:pt x="5374" y="1456"/>
                    </a:lnTo>
                    <a:lnTo>
                      <a:pt x="5934" y="672"/>
                    </a:lnTo>
                    <a:lnTo>
                      <a:pt x="6269" y="1"/>
                    </a:lnTo>
                    <a:close/>
                  </a:path>
                </a:pathLst>
              </a:custGeom>
              <a:solidFill>
                <a:srgbClr val="252628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5" name="Google Shape;1925;p16">
                <a:extLst>
                  <a:ext uri="{FF2B5EF4-FFF2-40B4-BE49-F238E27FC236}">
                    <a16:creationId xmlns:a16="http://schemas.microsoft.com/office/drawing/2014/main" id="{66C495A8-C084-5868-8B76-6B40DB9CFEDA}"/>
                  </a:ext>
                </a:extLst>
              </p:cNvPr>
              <p:cNvSpPr/>
              <p:nvPr/>
            </p:nvSpPr>
            <p:spPr>
              <a:xfrm>
                <a:off x="4736275" y="1813650"/>
                <a:ext cx="156750" cy="109175"/>
              </a:xfrm>
              <a:custGeom>
                <a:avLst/>
                <a:gdLst/>
                <a:ahLst/>
                <a:cxnLst/>
                <a:rect l="l" t="t" r="r" b="b"/>
                <a:pathLst>
                  <a:path w="6270" h="4367" fill="none" extrusionOk="0">
                    <a:moveTo>
                      <a:pt x="6269" y="1"/>
                    </a:moveTo>
                    <a:lnTo>
                      <a:pt x="6269" y="1"/>
                    </a:lnTo>
                    <a:lnTo>
                      <a:pt x="5934" y="560"/>
                    </a:lnTo>
                    <a:lnTo>
                      <a:pt x="5934" y="560"/>
                    </a:lnTo>
                    <a:lnTo>
                      <a:pt x="5598" y="896"/>
                    </a:lnTo>
                    <a:lnTo>
                      <a:pt x="5038" y="1232"/>
                    </a:lnTo>
                    <a:lnTo>
                      <a:pt x="3695" y="1904"/>
                    </a:lnTo>
                    <a:lnTo>
                      <a:pt x="2240" y="2240"/>
                    </a:lnTo>
                    <a:lnTo>
                      <a:pt x="1568" y="2351"/>
                    </a:lnTo>
                    <a:lnTo>
                      <a:pt x="896" y="2463"/>
                    </a:lnTo>
                    <a:lnTo>
                      <a:pt x="896" y="2463"/>
                    </a:lnTo>
                    <a:lnTo>
                      <a:pt x="337" y="2351"/>
                    </a:lnTo>
                    <a:lnTo>
                      <a:pt x="337" y="2351"/>
                    </a:lnTo>
                    <a:lnTo>
                      <a:pt x="1" y="4254"/>
                    </a:lnTo>
                    <a:lnTo>
                      <a:pt x="1" y="4254"/>
                    </a:lnTo>
                    <a:lnTo>
                      <a:pt x="896" y="4366"/>
                    </a:lnTo>
                    <a:lnTo>
                      <a:pt x="896" y="4366"/>
                    </a:lnTo>
                    <a:lnTo>
                      <a:pt x="1456" y="4366"/>
                    </a:lnTo>
                    <a:lnTo>
                      <a:pt x="2016" y="4142"/>
                    </a:lnTo>
                    <a:lnTo>
                      <a:pt x="2575" y="3919"/>
                    </a:lnTo>
                    <a:lnTo>
                      <a:pt x="3023" y="3695"/>
                    </a:lnTo>
                    <a:lnTo>
                      <a:pt x="3919" y="3023"/>
                    </a:lnTo>
                    <a:lnTo>
                      <a:pt x="4702" y="2240"/>
                    </a:lnTo>
                    <a:lnTo>
                      <a:pt x="5374" y="1456"/>
                    </a:lnTo>
                    <a:lnTo>
                      <a:pt x="5934" y="672"/>
                    </a:lnTo>
                    <a:lnTo>
                      <a:pt x="6269" y="1"/>
                    </a:lnTo>
                    <a:lnTo>
                      <a:pt x="6269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6" name="Google Shape;1926;p16">
                <a:extLst>
                  <a:ext uri="{FF2B5EF4-FFF2-40B4-BE49-F238E27FC236}">
                    <a16:creationId xmlns:a16="http://schemas.microsoft.com/office/drawing/2014/main" id="{D5B63C3C-F124-3571-885B-FF8BFB5FDE2F}"/>
                  </a:ext>
                </a:extLst>
              </p:cNvPr>
              <p:cNvSpPr/>
              <p:nvPr/>
            </p:nvSpPr>
            <p:spPr>
              <a:xfrm>
                <a:off x="4305325" y="1337925"/>
                <a:ext cx="598900" cy="537325"/>
              </a:xfrm>
              <a:custGeom>
                <a:avLst/>
                <a:gdLst/>
                <a:ahLst/>
                <a:cxnLst/>
                <a:rect l="l" t="t" r="r" b="b"/>
                <a:pathLst>
                  <a:path w="23956" h="21493" extrusionOk="0">
                    <a:moveTo>
                      <a:pt x="19589" y="0"/>
                    </a:moveTo>
                    <a:lnTo>
                      <a:pt x="18470" y="784"/>
                    </a:lnTo>
                    <a:lnTo>
                      <a:pt x="17687" y="1455"/>
                    </a:lnTo>
                    <a:lnTo>
                      <a:pt x="17015" y="2239"/>
                    </a:lnTo>
                    <a:lnTo>
                      <a:pt x="15336" y="3806"/>
                    </a:lnTo>
                    <a:lnTo>
                      <a:pt x="13657" y="5597"/>
                    </a:lnTo>
                    <a:lnTo>
                      <a:pt x="12090" y="7500"/>
                    </a:lnTo>
                    <a:lnTo>
                      <a:pt x="11306" y="8284"/>
                    </a:lnTo>
                    <a:lnTo>
                      <a:pt x="10522" y="9067"/>
                    </a:lnTo>
                    <a:lnTo>
                      <a:pt x="9739" y="9627"/>
                    </a:lnTo>
                    <a:lnTo>
                      <a:pt x="9067" y="10075"/>
                    </a:lnTo>
                    <a:lnTo>
                      <a:pt x="7164" y="10634"/>
                    </a:lnTo>
                    <a:lnTo>
                      <a:pt x="4254" y="11306"/>
                    </a:lnTo>
                    <a:lnTo>
                      <a:pt x="0" y="12201"/>
                    </a:lnTo>
                    <a:lnTo>
                      <a:pt x="0" y="12425"/>
                    </a:lnTo>
                    <a:lnTo>
                      <a:pt x="0" y="12761"/>
                    </a:lnTo>
                    <a:lnTo>
                      <a:pt x="112" y="13769"/>
                    </a:lnTo>
                    <a:lnTo>
                      <a:pt x="448" y="14776"/>
                    </a:lnTo>
                    <a:lnTo>
                      <a:pt x="672" y="15112"/>
                    </a:lnTo>
                    <a:lnTo>
                      <a:pt x="784" y="15224"/>
                    </a:lnTo>
                    <a:lnTo>
                      <a:pt x="2687" y="14888"/>
                    </a:lnTo>
                    <a:lnTo>
                      <a:pt x="5709" y="14328"/>
                    </a:lnTo>
                    <a:lnTo>
                      <a:pt x="8843" y="13657"/>
                    </a:lnTo>
                    <a:lnTo>
                      <a:pt x="9963" y="13433"/>
                    </a:lnTo>
                    <a:lnTo>
                      <a:pt x="10746" y="13097"/>
                    </a:lnTo>
                    <a:lnTo>
                      <a:pt x="11642" y="12649"/>
                    </a:lnTo>
                    <a:lnTo>
                      <a:pt x="12649" y="11866"/>
                    </a:lnTo>
                    <a:lnTo>
                      <a:pt x="14440" y="10075"/>
                    </a:lnTo>
                    <a:lnTo>
                      <a:pt x="16007" y="8619"/>
                    </a:lnTo>
                    <a:lnTo>
                      <a:pt x="16567" y="8284"/>
                    </a:lnTo>
                    <a:lnTo>
                      <a:pt x="16791" y="8172"/>
                    </a:lnTo>
                    <a:lnTo>
                      <a:pt x="16903" y="8172"/>
                    </a:lnTo>
                    <a:lnTo>
                      <a:pt x="17239" y="8507"/>
                    </a:lnTo>
                    <a:lnTo>
                      <a:pt x="17575" y="8955"/>
                    </a:lnTo>
                    <a:lnTo>
                      <a:pt x="18358" y="10298"/>
                    </a:lnTo>
                    <a:lnTo>
                      <a:pt x="19030" y="11978"/>
                    </a:lnTo>
                    <a:lnTo>
                      <a:pt x="19142" y="12873"/>
                    </a:lnTo>
                    <a:lnTo>
                      <a:pt x="19366" y="13657"/>
                    </a:lnTo>
                    <a:lnTo>
                      <a:pt x="19366" y="14328"/>
                    </a:lnTo>
                    <a:lnTo>
                      <a:pt x="19254" y="14888"/>
                    </a:lnTo>
                    <a:lnTo>
                      <a:pt x="19030" y="15783"/>
                    </a:lnTo>
                    <a:lnTo>
                      <a:pt x="18694" y="16679"/>
                    </a:lnTo>
                    <a:lnTo>
                      <a:pt x="17910" y="18470"/>
                    </a:lnTo>
                    <a:lnTo>
                      <a:pt x="17351" y="20037"/>
                    </a:lnTo>
                    <a:lnTo>
                      <a:pt x="17239" y="20709"/>
                    </a:lnTo>
                    <a:lnTo>
                      <a:pt x="17239" y="21157"/>
                    </a:lnTo>
                    <a:lnTo>
                      <a:pt x="17351" y="21269"/>
                    </a:lnTo>
                    <a:lnTo>
                      <a:pt x="17575" y="21380"/>
                    </a:lnTo>
                    <a:lnTo>
                      <a:pt x="18134" y="21492"/>
                    </a:lnTo>
                    <a:lnTo>
                      <a:pt x="18918" y="21380"/>
                    </a:lnTo>
                    <a:lnTo>
                      <a:pt x="19925" y="21157"/>
                    </a:lnTo>
                    <a:lnTo>
                      <a:pt x="20933" y="20933"/>
                    </a:lnTo>
                    <a:lnTo>
                      <a:pt x="21828" y="20485"/>
                    </a:lnTo>
                    <a:lnTo>
                      <a:pt x="22612" y="20037"/>
                    </a:lnTo>
                    <a:lnTo>
                      <a:pt x="23172" y="19589"/>
                    </a:lnTo>
                    <a:lnTo>
                      <a:pt x="23395" y="19254"/>
                    </a:lnTo>
                    <a:lnTo>
                      <a:pt x="23507" y="18918"/>
                    </a:lnTo>
                    <a:lnTo>
                      <a:pt x="23731" y="18022"/>
                    </a:lnTo>
                    <a:lnTo>
                      <a:pt x="23843" y="17015"/>
                    </a:lnTo>
                    <a:lnTo>
                      <a:pt x="23843" y="15895"/>
                    </a:lnTo>
                    <a:lnTo>
                      <a:pt x="23619" y="13769"/>
                    </a:lnTo>
                    <a:lnTo>
                      <a:pt x="23619" y="12761"/>
                    </a:lnTo>
                    <a:lnTo>
                      <a:pt x="23619" y="12089"/>
                    </a:lnTo>
                    <a:lnTo>
                      <a:pt x="23843" y="10746"/>
                    </a:lnTo>
                    <a:lnTo>
                      <a:pt x="23955" y="9179"/>
                    </a:lnTo>
                    <a:lnTo>
                      <a:pt x="23843" y="8396"/>
                    </a:lnTo>
                    <a:lnTo>
                      <a:pt x="23731" y="7612"/>
                    </a:lnTo>
                    <a:lnTo>
                      <a:pt x="23507" y="6828"/>
                    </a:lnTo>
                    <a:lnTo>
                      <a:pt x="23060" y="6157"/>
                    </a:lnTo>
                    <a:lnTo>
                      <a:pt x="22276" y="5037"/>
                    </a:lnTo>
                    <a:lnTo>
                      <a:pt x="21492" y="3470"/>
                    </a:lnTo>
                    <a:lnTo>
                      <a:pt x="20037" y="784"/>
                    </a:lnTo>
                    <a:lnTo>
                      <a:pt x="19589" y="0"/>
                    </a:lnTo>
                    <a:close/>
                  </a:path>
                </a:pathLst>
              </a:custGeom>
              <a:solidFill>
                <a:srgbClr val="46464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7" name="Google Shape;1927;p16">
                <a:extLst>
                  <a:ext uri="{FF2B5EF4-FFF2-40B4-BE49-F238E27FC236}">
                    <a16:creationId xmlns:a16="http://schemas.microsoft.com/office/drawing/2014/main" id="{E21A4339-E99C-3126-7D34-1F479C5A221F}"/>
                  </a:ext>
                </a:extLst>
              </p:cNvPr>
              <p:cNvSpPr/>
              <p:nvPr/>
            </p:nvSpPr>
            <p:spPr>
              <a:xfrm>
                <a:off x="4305325" y="1337925"/>
                <a:ext cx="598900" cy="537325"/>
              </a:xfrm>
              <a:custGeom>
                <a:avLst/>
                <a:gdLst/>
                <a:ahLst/>
                <a:cxnLst/>
                <a:rect l="l" t="t" r="r" b="b"/>
                <a:pathLst>
                  <a:path w="23956" h="21493" fill="none" extrusionOk="0">
                    <a:moveTo>
                      <a:pt x="9067" y="10075"/>
                    </a:moveTo>
                    <a:lnTo>
                      <a:pt x="9067" y="10075"/>
                    </a:lnTo>
                    <a:lnTo>
                      <a:pt x="7164" y="10634"/>
                    </a:lnTo>
                    <a:lnTo>
                      <a:pt x="4254" y="11306"/>
                    </a:lnTo>
                    <a:lnTo>
                      <a:pt x="0" y="12201"/>
                    </a:lnTo>
                    <a:lnTo>
                      <a:pt x="0" y="12201"/>
                    </a:lnTo>
                    <a:lnTo>
                      <a:pt x="0" y="12425"/>
                    </a:lnTo>
                    <a:lnTo>
                      <a:pt x="0" y="12761"/>
                    </a:lnTo>
                    <a:lnTo>
                      <a:pt x="112" y="13769"/>
                    </a:lnTo>
                    <a:lnTo>
                      <a:pt x="448" y="14776"/>
                    </a:lnTo>
                    <a:lnTo>
                      <a:pt x="672" y="15112"/>
                    </a:lnTo>
                    <a:lnTo>
                      <a:pt x="784" y="15224"/>
                    </a:lnTo>
                    <a:lnTo>
                      <a:pt x="784" y="15224"/>
                    </a:lnTo>
                    <a:lnTo>
                      <a:pt x="2687" y="14888"/>
                    </a:lnTo>
                    <a:lnTo>
                      <a:pt x="5709" y="14328"/>
                    </a:lnTo>
                    <a:lnTo>
                      <a:pt x="8843" y="13657"/>
                    </a:lnTo>
                    <a:lnTo>
                      <a:pt x="9963" y="13433"/>
                    </a:lnTo>
                    <a:lnTo>
                      <a:pt x="10746" y="13097"/>
                    </a:lnTo>
                    <a:lnTo>
                      <a:pt x="10746" y="13097"/>
                    </a:lnTo>
                    <a:lnTo>
                      <a:pt x="11642" y="12649"/>
                    </a:lnTo>
                    <a:lnTo>
                      <a:pt x="12649" y="11866"/>
                    </a:lnTo>
                    <a:lnTo>
                      <a:pt x="14440" y="10075"/>
                    </a:lnTo>
                    <a:lnTo>
                      <a:pt x="16007" y="8619"/>
                    </a:lnTo>
                    <a:lnTo>
                      <a:pt x="16567" y="8284"/>
                    </a:lnTo>
                    <a:lnTo>
                      <a:pt x="16791" y="8172"/>
                    </a:lnTo>
                    <a:lnTo>
                      <a:pt x="16903" y="8172"/>
                    </a:lnTo>
                    <a:lnTo>
                      <a:pt x="16903" y="8172"/>
                    </a:lnTo>
                    <a:lnTo>
                      <a:pt x="17239" y="8507"/>
                    </a:lnTo>
                    <a:lnTo>
                      <a:pt x="17575" y="8955"/>
                    </a:lnTo>
                    <a:lnTo>
                      <a:pt x="18358" y="10298"/>
                    </a:lnTo>
                    <a:lnTo>
                      <a:pt x="19030" y="11978"/>
                    </a:lnTo>
                    <a:lnTo>
                      <a:pt x="19142" y="12873"/>
                    </a:lnTo>
                    <a:lnTo>
                      <a:pt x="19366" y="13657"/>
                    </a:lnTo>
                    <a:lnTo>
                      <a:pt x="19366" y="13657"/>
                    </a:lnTo>
                    <a:lnTo>
                      <a:pt x="19366" y="14328"/>
                    </a:lnTo>
                    <a:lnTo>
                      <a:pt x="19254" y="14888"/>
                    </a:lnTo>
                    <a:lnTo>
                      <a:pt x="19254" y="14888"/>
                    </a:lnTo>
                    <a:lnTo>
                      <a:pt x="19030" y="15783"/>
                    </a:lnTo>
                    <a:lnTo>
                      <a:pt x="18694" y="16679"/>
                    </a:lnTo>
                    <a:lnTo>
                      <a:pt x="17910" y="18470"/>
                    </a:lnTo>
                    <a:lnTo>
                      <a:pt x="17351" y="20037"/>
                    </a:lnTo>
                    <a:lnTo>
                      <a:pt x="17239" y="20709"/>
                    </a:lnTo>
                    <a:lnTo>
                      <a:pt x="17239" y="21157"/>
                    </a:lnTo>
                    <a:lnTo>
                      <a:pt x="17239" y="21157"/>
                    </a:lnTo>
                    <a:lnTo>
                      <a:pt x="17351" y="21269"/>
                    </a:lnTo>
                    <a:lnTo>
                      <a:pt x="17575" y="21380"/>
                    </a:lnTo>
                    <a:lnTo>
                      <a:pt x="18134" y="21492"/>
                    </a:lnTo>
                    <a:lnTo>
                      <a:pt x="18918" y="21380"/>
                    </a:lnTo>
                    <a:lnTo>
                      <a:pt x="19925" y="21157"/>
                    </a:lnTo>
                    <a:lnTo>
                      <a:pt x="20933" y="20933"/>
                    </a:lnTo>
                    <a:lnTo>
                      <a:pt x="21828" y="20485"/>
                    </a:lnTo>
                    <a:lnTo>
                      <a:pt x="22612" y="20037"/>
                    </a:lnTo>
                    <a:lnTo>
                      <a:pt x="23172" y="19589"/>
                    </a:lnTo>
                    <a:lnTo>
                      <a:pt x="23172" y="19589"/>
                    </a:lnTo>
                    <a:lnTo>
                      <a:pt x="23395" y="19254"/>
                    </a:lnTo>
                    <a:lnTo>
                      <a:pt x="23507" y="18918"/>
                    </a:lnTo>
                    <a:lnTo>
                      <a:pt x="23731" y="18022"/>
                    </a:lnTo>
                    <a:lnTo>
                      <a:pt x="23843" y="17015"/>
                    </a:lnTo>
                    <a:lnTo>
                      <a:pt x="23843" y="15895"/>
                    </a:lnTo>
                    <a:lnTo>
                      <a:pt x="23619" y="13769"/>
                    </a:lnTo>
                    <a:lnTo>
                      <a:pt x="23619" y="12761"/>
                    </a:lnTo>
                    <a:lnTo>
                      <a:pt x="23619" y="12089"/>
                    </a:lnTo>
                    <a:lnTo>
                      <a:pt x="23619" y="12089"/>
                    </a:lnTo>
                    <a:lnTo>
                      <a:pt x="23843" y="10746"/>
                    </a:lnTo>
                    <a:lnTo>
                      <a:pt x="23955" y="9179"/>
                    </a:lnTo>
                    <a:lnTo>
                      <a:pt x="23843" y="8396"/>
                    </a:lnTo>
                    <a:lnTo>
                      <a:pt x="23731" y="7612"/>
                    </a:lnTo>
                    <a:lnTo>
                      <a:pt x="23507" y="6828"/>
                    </a:lnTo>
                    <a:lnTo>
                      <a:pt x="23060" y="6157"/>
                    </a:lnTo>
                    <a:lnTo>
                      <a:pt x="23060" y="6157"/>
                    </a:lnTo>
                    <a:lnTo>
                      <a:pt x="22276" y="5037"/>
                    </a:lnTo>
                    <a:lnTo>
                      <a:pt x="21492" y="3470"/>
                    </a:lnTo>
                    <a:lnTo>
                      <a:pt x="20037" y="784"/>
                    </a:lnTo>
                    <a:lnTo>
                      <a:pt x="20037" y="784"/>
                    </a:lnTo>
                    <a:lnTo>
                      <a:pt x="20037" y="784"/>
                    </a:lnTo>
                    <a:lnTo>
                      <a:pt x="19589" y="0"/>
                    </a:lnTo>
                    <a:lnTo>
                      <a:pt x="19589" y="0"/>
                    </a:lnTo>
                    <a:lnTo>
                      <a:pt x="18470" y="784"/>
                    </a:lnTo>
                    <a:lnTo>
                      <a:pt x="18470" y="784"/>
                    </a:lnTo>
                    <a:lnTo>
                      <a:pt x="17687" y="1455"/>
                    </a:lnTo>
                    <a:lnTo>
                      <a:pt x="17015" y="2239"/>
                    </a:lnTo>
                    <a:lnTo>
                      <a:pt x="15336" y="3806"/>
                    </a:lnTo>
                    <a:lnTo>
                      <a:pt x="15336" y="3806"/>
                    </a:lnTo>
                    <a:lnTo>
                      <a:pt x="13657" y="5597"/>
                    </a:lnTo>
                    <a:lnTo>
                      <a:pt x="12090" y="7500"/>
                    </a:lnTo>
                    <a:lnTo>
                      <a:pt x="11306" y="8284"/>
                    </a:lnTo>
                    <a:lnTo>
                      <a:pt x="10522" y="9067"/>
                    </a:lnTo>
                    <a:lnTo>
                      <a:pt x="9739" y="9627"/>
                    </a:lnTo>
                    <a:lnTo>
                      <a:pt x="9067" y="10075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8" name="Google Shape;1928;p16">
                <a:extLst>
                  <a:ext uri="{FF2B5EF4-FFF2-40B4-BE49-F238E27FC236}">
                    <a16:creationId xmlns:a16="http://schemas.microsoft.com/office/drawing/2014/main" id="{BEF2A560-1904-8EC0-06EE-6F6FD43A1866}"/>
                  </a:ext>
                </a:extLst>
              </p:cNvPr>
              <p:cNvSpPr/>
              <p:nvPr/>
            </p:nvSpPr>
            <p:spPr>
              <a:xfrm>
                <a:off x="4887400" y="1265150"/>
                <a:ext cx="481350" cy="576525"/>
              </a:xfrm>
              <a:custGeom>
                <a:avLst/>
                <a:gdLst/>
                <a:ahLst/>
                <a:cxnLst/>
                <a:rect l="l" t="t" r="r" b="b"/>
                <a:pathLst>
                  <a:path w="19254" h="23061" extrusionOk="0">
                    <a:moveTo>
                      <a:pt x="18358" y="1"/>
                    </a:moveTo>
                    <a:lnTo>
                      <a:pt x="16791" y="784"/>
                    </a:lnTo>
                    <a:lnTo>
                      <a:pt x="14664" y="1904"/>
                    </a:lnTo>
                    <a:lnTo>
                      <a:pt x="12426" y="2799"/>
                    </a:lnTo>
                    <a:lnTo>
                      <a:pt x="10523" y="3471"/>
                    </a:lnTo>
                    <a:lnTo>
                      <a:pt x="9627" y="3695"/>
                    </a:lnTo>
                    <a:lnTo>
                      <a:pt x="8732" y="3695"/>
                    </a:lnTo>
                    <a:lnTo>
                      <a:pt x="6493" y="3583"/>
                    </a:lnTo>
                    <a:lnTo>
                      <a:pt x="3694" y="3359"/>
                    </a:lnTo>
                    <a:lnTo>
                      <a:pt x="0" y="3023"/>
                    </a:lnTo>
                    <a:lnTo>
                      <a:pt x="0" y="3023"/>
                    </a:lnTo>
                    <a:lnTo>
                      <a:pt x="112" y="3247"/>
                    </a:lnTo>
                    <a:lnTo>
                      <a:pt x="448" y="4030"/>
                    </a:lnTo>
                    <a:lnTo>
                      <a:pt x="1008" y="5821"/>
                    </a:lnTo>
                    <a:lnTo>
                      <a:pt x="1344" y="6493"/>
                    </a:lnTo>
                    <a:lnTo>
                      <a:pt x="1568" y="7053"/>
                    </a:lnTo>
                    <a:lnTo>
                      <a:pt x="2127" y="7948"/>
                    </a:lnTo>
                    <a:lnTo>
                      <a:pt x="2799" y="8844"/>
                    </a:lnTo>
                    <a:lnTo>
                      <a:pt x="3694" y="10075"/>
                    </a:lnTo>
                    <a:lnTo>
                      <a:pt x="3806" y="10411"/>
                    </a:lnTo>
                    <a:lnTo>
                      <a:pt x="3918" y="10859"/>
                    </a:lnTo>
                    <a:lnTo>
                      <a:pt x="4030" y="11978"/>
                    </a:lnTo>
                    <a:lnTo>
                      <a:pt x="4030" y="13209"/>
                    </a:lnTo>
                    <a:lnTo>
                      <a:pt x="3806" y="14553"/>
                    </a:lnTo>
                    <a:lnTo>
                      <a:pt x="3583" y="17575"/>
                    </a:lnTo>
                    <a:lnTo>
                      <a:pt x="3583" y="19030"/>
                    </a:lnTo>
                    <a:lnTo>
                      <a:pt x="3694" y="20486"/>
                    </a:lnTo>
                    <a:lnTo>
                      <a:pt x="3694" y="20597"/>
                    </a:lnTo>
                    <a:lnTo>
                      <a:pt x="3918" y="21493"/>
                    </a:lnTo>
                    <a:lnTo>
                      <a:pt x="4254" y="22165"/>
                    </a:lnTo>
                    <a:lnTo>
                      <a:pt x="4366" y="22388"/>
                    </a:lnTo>
                    <a:lnTo>
                      <a:pt x="4590" y="22612"/>
                    </a:lnTo>
                    <a:lnTo>
                      <a:pt x="5150" y="22836"/>
                    </a:lnTo>
                    <a:lnTo>
                      <a:pt x="5821" y="23060"/>
                    </a:lnTo>
                    <a:lnTo>
                      <a:pt x="6381" y="23060"/>
                    </a:lnTo>
                    <a:lnTo>
                      <a:pt x="6605" y="22948"/>
                    </a:lnTo>
                    <a:lnTo>
                      <a:pt x="6829" y="22836"/>
                    </a:lnTo>
                    <a:lnTo>
                      <a:pt x="6941" y="22612"/>
                    </a:lnTo>
                    <a:lnTo>
                      <a:pt x="6941" y="22277"/>
                    </a:lnTo>
                    <a:lnTo>
                      <a:pt x="6493" y="20709"/>
                    </a:lnTo>
                    <a:lnTo>
                      <a:pt x="6269" y="19254"/>
                    </a:lnTo>
                    <a:lnTo>
                      <a:pt x="6269" y="17799"/>
                    </a:lnTo>
                    <a:lnTo>
                      <a:pt x="6269" y="16344"/>
                    </a:lnTo>
                    <a:lnTo>
                      <a:pt x="6381" y="14777"/>
                    </a:lnTo>
                    <a:lnTo>
                      <a:pt x="6493" y="13321"/>
                    </a:lnTo>
                    <a:lnTo>
                      <a:pt x="6381" y="11642"/>
                    </a:lnTo>
                    <a:lnTo>
                      <a:pt x="6157" y="9963"/>
                    </a:lnTo>
                    <a:lnTo>
                      <a:pt x="6045" y="9515"/>
                    </a:lnTo>
                    <a:lnTo>
                      <a:pt x="5821" y="9180"/>
                    </a:lnTo>
                    <a:lnTo>
                      <a:pt x="5374" y="8508"/>
                    </a:lnTo>
                    <a:lnTo>
                      <a:pt x="5150" y="7948"/>
                    </a:lnTo>
                    <a:lnTo>
                      <a:pt x="5150" y="7724"/>
                    </a:lnTo>
                    <a:lnTo>
                      <a:pt x="5262" y="7501"/>
                    </a:lnTo>
                    <a:lnTo>
                      <a:pt x="5597" y="7389"/>
                    </a:lnTo>
                    <a:lnTo>
                      <a:pt x="6045" y="7277"/>
                    </a:lnTo>
                    <a:lnTo>
                      <a:pt x="7388" y="7165"/>
                    </a:lnTo>
                    <a:lnTo>
                      <a:pt x="9179" y="6941"/>
                    </a:lnTo>
                    <a:lnTo>
                      <a:pt x="10187" y="6717"/>
                    </a:lnTo>
                    <a:lnTo>
                      <a:pt x="11082" y="6381"/>
                    </a:lnTo>
                    <a:lnTo>
                      <a:pt x="12873" y="5710"/>
                    </a:lnTo>
                    <a:lnTo>
                      <a:pt x="15448" y="4814"/>
                    </a:lnTo>
                    <a:lnTo>
                      <a:pt x="16679" y="4254"/>
                    </a:lnTo>
                    <a:lnTo>
                      <a:pt x="17799" y="3695"/>
                    </a:lnTo>
                    <a:lnTo>
                      <a:pt x="18694" y="3135"/>
                    </a:lnTo>
                    <a:lnTo>
                      <a:pt x="19142" y="2575"/>
                    </a:lnTo>
                    <a:lnTo>
                      <a:pt x="19254" y="2351"/>
                    </a:lnTo>
                    <a:lnTo>
                      <a:pt x="19254" y="1904"/>
                    </a:lnTo>
                    <a:lnTo>
                      <a:pt x="19142" y="1008"/>
                    </a:lnTo>
                    <a:lnTo>
                      <a:pt x="18806" y="113"/>
                    </a:lnTo>
                    <a:lnTo>
                      <a:pt x="18582" y="1"/>
                    </a:lnTo>
                    <a:close/>
                  </a:path>
                </a:pathLst>
              </a:custGeom>
              <a:solidFill>
                <a:srgbClr val="46464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9" name="Google Shape;1929;p16">
                <a:extLst>
                  <a:ext uri="{FF2B5EF4-FFF2-40B4-BE49-F238E27FC236}">
                    <a16:creationId xmlns:a16="http://schemas.microsoft.com/office/drawing/2014/main" id="{2CB56044-04AA-A7BA-4834-A4760156F4CF}"/>
                  </a:ext>
                </a:extLst>
              </p:cNvPr>
              <p:cNvSpPr/>
              <p:nvPr/>
            </p:nvSpPr>
            <p:spPr>
              <a:xfrm>
                <a:off x="4727875" y="1542200"/>
                <a:ext cx="58800" cy="123150"/>
              </a:xfrm>
              <a:custGeom>
                <a:avLst/>
                <a:gdLst/>
                <a:ahLst/>
                <a:cxnLst/>
                <a:rect l="l" t="t" r="r" b="b"/>
                <a:pathLst>
                  <a:path w="2352" h="4926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337" y="225"/>
                    </a:lnTo>
                    <a:lnTo>
                      <a:pt x="673" y="672"/>
                    </a:lnTo>
                    <a:lnTo>
                      <a:pt x="1344" y="1792"/>
                    </a:lnTo>
                    <a:lnTo>
                      <a:pt x="1904" y="3359"/>
                    </a:lnTo>
                    <a:lnTo>
                      <a:pt x="2352" y="4926"/>
                    </a:lnTo>
                    <a:lnTo>
                      <a:pt x="2352" y="4926"/>
                    </a:lnTo>
                    <a:lnTo>
                      <a:pt x="1904" y="3359"/>
                    </a:lnTo>
                    <a:lnTo>
                      <a:pt x="1344" y="1792"/>
                    </a:lnTo>
                    <a:lnTo>
                      <a:pt x="673" y="672"/>
                    </a:lnTo>
                    <a:lnTo>
                      <a:pt x="337" y="225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C0BEC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0" name="Google Shape;1930;p16">
                <a:extLst>
                  <a:ext uri="{FF2B5EF4-FFF2-40B4-BE49-F238E27FC236}">
                    <a16:creationId xmlns:a16="http://schemas.microsoft.com/office/drawing/2014/main" id="{D6141CB7-95AE-99C0-72AA-6AD175E4190A}"/>
                  </a:ext>
                </a:extLst>
              </p:cNvPr>
              <p:cNvSpPr/>
              <p:nvPr/>
            </p:nvSpPr>
            <p:spPr>
              <a:xfrm>
                <a:off x="4727875" y="1542200"/>
                <a:ext cx="58800" cy="123150"/>
              </a:xfrm>
              <a:custGeom>
                <a:avLst/>
                <a:gdLst/>
                <a:ahLst/>
                <a:cxnLst/>
                <a:rect l="l" t="t" r="r" b="b"/>
                <a:pathLst>
                  <a:path w="2352" h="4926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337" y="225"/>
                    </a:lnTo>
                    <a:lnTo>
                      <a:pt x="673" y="672"/>
                    </a:lnTo>
                    <a:lnTo>
                      <a:pt x="1344" y="1792"/>
                    </a:lnTo>
                    <a:lnTo>
                      <a:pt x="1904" y="3359"/>
                    </a:lnTo>
                    <a:lnTo>
                      <a:pt x="2352" y="4926"/>
                    </a:lnTo>
                    <a:lnTo>
                      <a:pt x="2352" y="4926"/>
                    </a:lnTo>
                    <a:lnTo>
                      <a:pt x="1904" y="3359"/>
                    </a:lnTo>
                    <a:lnTo>
                      <a:pt x="1344" y="1792"/>
                    </a:lnTo>
                    <a:lnTo>
                      <a:pt x="673" y="672"/>
                    </a:lnTo>
                    <a:lnTo>
                      <a:pt x="337" y="225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1" name="Google Shape;1931;p16">
                <a:extLst>
                  <a:ext uri="{FF2B5EF4-FFF2-40B4-BE49-F238E27FC236}">
                    <a16:creationId xmlns:a16="http://schemas.microsoft.com/office/drawing/2014/main" id="{5ED71F03-0143-CBC7-403C-67364DBA7C95}"/>
                  </a:ext>
                </a:extLst>
              </p:cNvPr>
              <p:cNvSpPr/>
              <p:nvPr/>
            </p:nvSpPr>
            <p:spPr>
              <a:xfrm>
                <a:off x="4727875" y="1542200"/>
                <a:ext cx="75600" cy="137150"/>
              </a:xfrm>
              <a:custGeom>
                <a:avLst/>
                <a:gdLst/>
                <a:ahLst/>
                <a:cxnLst/>
                <a:rect l="l" t="t" r="r" b="b"/>
                <a:pathLst>
                  <a:path w="3024" h="5486" extrusionOk="0">
                    <a:moveTo>
                      <a:pt x="1" y="1"/>
                    </a:moveTo>
                    <a:lnTo>
                      <a:pt x="337" y="225"/>
                    </a:lnTo>
                    <a:lnTo>
                      <a:pt x="673" y="672"/>
                    </a:lnTo>
                    <a:lnTo>
                      <a:pt x="1344" y="1792"/>
                    </a:lnTo>
                    <a:lnTo>
                      <a:pt x="1904" y="3359"/>
                    </a:lnTo>
                    <a:lnTo>
                      <a:pt x="2352" y="4926"/>
                    </a:lnTo>
                    <a:lnTo>
                      <a:pt x="2464" y="5486"/>
                    </a:lnTo>
                    <a:lnTo>
                      <a:pt x="2911" y="4030"/>
                    </a:lnTo>
                    <a:lnTo>
                      <a:pt x="3023" y="3359"/>
                    </a:lnTo>
                    <a:lnTo>
                      <a:pt x="3023" y="2799"/>
                    </a:lnTo>
                    <a:lnTo>
                      <a:pt x="2911" y="2575"/>
                    </a:lnTo>
                    <a:lnTo>
                      <a:pt x="2799" y="2239"/>
                    </a:lnTo>
                    <a:lnTo>
                      <a:pt x="2128" y="1344"/>
                    </a:lnTo>
                    <a:lnTo>
                      <a:pt x="1120" y="560"/>
                    </a:lnTo>
                    <a:lnTo>
                      <a:pt x="561" y="336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3E3E4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2" name="Google Shape;1932;p16">
                <a:extLst>
                  <a:ext uri="{FF2B5EF4-FFF2-40B4-BE49-F238E27FC236}">
                    <a16:creationId xmlns:a16="http://schemas.microsoft.com/office/drawing/2014/main" id="{B926FAFC-0AEF-C1B6-9267-CD5BEE3D1288}"/>
                  </a:ext>
                </a:extLst>
              </p:cNvPr>
              <p:cNvSpPr/>
              <p:nvPr/>
            </p:nvSpPr>
            <p:spPr>
              <a:xfrm>
                <a:off x="4727875" y="1542200"/>
                <a:ext cx="75600" cy="137150"/>
              </a:xfrm>
              <a:custGeom>
                <a:avLst/>
                <a:gdLst/>
                <a:ahLst/>
                <a:cxnLst/>
                <a:rect l="l" t="t" r="r" b="b"/>
                <a:pathLst>
                  <a:path w="3024" h="5486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337" y="225"/>
                    </a:lnTo>
                    <a:lnTo>
                      <a:pt x="673" y="672"/>
                    </a:lnTo>
                    <a:lnTo>
                      <a:pt x="1344" y="1792"/>
                    </a:lnTo>
                    <a:lnTo>
                      <a:pt x="1904" y="3359"/>
                    </a:lnTo>
                    <a:lnTo>
                      <a:pt x="2352" y="4926"/>
                    </a:lnTo>
                    <a:lnTo>
                      <a:pt x="2352" y="4926"/>
                    </a:lnTo>
                    <a:lnTo>
                      <a:pt x="2464" y="5486"/>
                    </a:lnTo>
                    <a:lnTo>
                      <a:pt x="2464" y="5486"/>
                    </a:lnTo>
                    <a:lnTo>
                      <a:pt x="2911" y="4030"/>
                    </a:lnTo>
                    <a:lnTo>
                      <a:pt x="3023" y="3359"/>
                    </a:lnTo>
                    <a:lnTo>
                      <a:pt x="3023" y="2799"/>
                    </a:lnTo>
                    <a:lnTo>
                      <a:pt x="3023" y="2799"/>
                    </a:lnTo>
                    <a:lnTo>
                      <a:pt x="2911" y="2575"/>
                    </a:lnTo>
                    <a:lnTo>
                      <a:pt x="2799" y="2239"/>
                    </a:lnTo>
                    <a:lnTo>
                      <a:pt x="2128" y="1344"/>
                    </a:lnTo>
                    <a:lnTo>
                      <a:pt x="1120" y="560"/>
                    </a:lnTo>
                    <a:lnTo>
                      <a:pt x="561" y="336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3" name="Google Shape;1933;p16">
                <a:extLst>
                  <a:ext uri="{FF2B5EF4-FFF2-40B4-BE49-F238E27FC236}">
                    <a16:creationId xmlns:a16="http://schemas.microsoft.com/office/drawing/2014/main" id="{0688AD62-2DE2-A5EE-6DA0-702EC2985F1A}"/>
                  </a:ext>
                </a:extLst>
              </p:cNvPr>
              <p:cNvSpPr/>
              <p:nvPr/>
            </p:nvSpPr>
            <p:spPr>
              <a:xfrm>
                <a:off x="4688700" y="1357500"/>
                <a:ext cx="78400" cy="75575"/>
              </a:xfrm>
              <a:custGeom>
                <a:avLst/>
                <a:gdLst/>
                <a:ahLst/>
                <a:cxnLst/>
                <a:rect l="l" t="t" r="r" b="b"/>
                <a:pathLst>
                  <a:path w="3136" h="3023" extrusionOk="0">
                    <a:moveTo>
                      <a:pt x="3135" y="1"/>
                    </a:moveTo>
                    <a:lnTo>
                      <a:pt x="1568" y="1344"/>
                    </a:lnTo>
                    <a:lnTo>
                      <a:pt x="1" y="3023"/>
                    </a:lnTo>
                    <a:lnTo>
                      <a:pt x="1680" y="1456"/>
                    </a:lnTo>
                    <a:lnTo>
                      <a:pt x="2352" y="672"/>
                    </a:lnTo>
                    <a:lnTo>
                      <a:pt x="3135" y="1"/>
                    </a:lnTo>
                    <a:close/>
                  </a:path>
                </a:pathLst>
              </a:custGeom>
              <a:solidFill>
                <a:srgbClr val="C0BEC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4" name="Google Shape;1934;p16">
                <a:extLst>
                  <a:ext uri="{FF2B5EF4-FFF2-40B4-BE49-F238E27FC236}">
                    <a16:creationId xmlns:a16="http://schemas.microsoft.com/office/drawing/2014/main" id="{516B5311-AD36-8399-24E3-FBEABA37C50A}"/>
                  </a:ext>
                </a:extLst>
              </p:cNvPr>
              <p:cNvSpPr/>
              <p:nvPr/>
            </p:nvSpPr>
            <p:spPr>
              <a:xfrm>
                <a:off x="4688700" y="1357500"/>
                <a:ext cx="78400" cy="75575"/>
              </a:xfrm>
              <a:custGeom>
                <a:avLst/>
                <a:gdLst/>
                <a:ahLst/>
                <a:cxnLst/>
                <a:rect l="l" t="t" r="r" b="b"/>
                <a:pathLst>
                  <a:path w="3136" h="3023" fill="none" extrusionOk="0">
                    <a:moveTo>
                      <a:pt x="3135" y="1"/>
                    </a:moveTo>
                    <a:lnTo>
                      <a:pt x="3135" y="1"/>
                    </a:lnTo>
                    <a:lnTo>
                      <a:pt x="3135" y="1"/>
                    </a:lnTo>
                    <a:lnTo>
                      <a:pt x="1568" y="1344"/>
                    </a:lnTo>
                    <a:lnTo>
                      <a:pt x="1" y="3023"/>
                    </a:lnTo>
                    <a:lnTo>
                      <a:pt x="1" y="3023"/>
                    </a:lnTo>
                    <a:lnTo>
                      <a:pt x="1" y="3023"/>
                    </a:lnTo>
                    <a:lnTo>
                      <a:pt x="1680" y="1456"/>
                    </a:lnTo>
                    <a:lnTo>
                      <a:pt x="2352" y="672"/>
                    </a:lnTo>
                    <a:lnTo>
                      <a:pt x="3135" y="1"/>
                    </a:lnTo>
                    <a:lnTo>
                      <a:pt x="3135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5" name="Google Shape;1935;p16">
                <a:extLst>
                  <a:ext uri="{FF2B5EF4-FFF2-40B4-BE49-F238E27FC236}">
                    <a16:creationId xmlns:a16="http://schemas.microsoft.com/office/drawing/2014/main" id="{A3A846C1-3896-315D-088A-789921736B29}"/>
                  </a:ext>
                </a:extLst>
              </p:cNvPr>
              <p:cNvSpPr/>
              <p:nvPr/>
            </p:nvSpPr>
            <p:spPr>
              <a:xfrm>
                <a:off x="4806250" y="1357500"/>
                <a:ext cx="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C0BEC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6" name="Google Shape;1936;p16">
                <a:extLst>
                  <a:ext uri="{FF2B5EF4-FFF2-40B4-BE49-F238E27FC236}">
                    <a16:creationId xmlns:a16="http://schemas.microsoft.com/office/drawing/2014/main" id="{A2DA226C-0FE6-FCC0-56FE-1964F9D6A14C}"/>
                  </a:ext>
                </a:extLst>
              </p:cNvPr>
              <p:cNvSpPr/>
              <p:nvPr/>
            </p:nvSpPr>
            <p:spPr>
              <a:xfrm>
                <a:off x="4806250" y="1357500"/>
                <a:ext cx="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7" name="Google Shape;1937;p16">
                <a:extLst>
                  <a:ext uri="{FF2B5EF4-FFF2-40B4-BE49-F238E27FC236}">
                    <a16:creationId xmlns:a16="http://schemas.microsoft.com/office/drawing/2014/main" id="{ED5B93FA-6FC3-6C02-9427-E195A9FCFB60}"/>
                  </a:ext>
                </a:extLst>
              </p:cNvPr>
              <p:cNvSpPr/>
              <p:nvPr/>
            </p:nvSpPr>
            <p:spPr>
              <a:xfrm>
                <a:off x="4688700" y="1357500"/>
                <a:ext cx="117575" cy="75575"/>
              </a:xfrm>
              <a:custGeom>
                <a:avLst/>
                <a:gdLst/>
                <a:ahLst/>
                <a:cxnLst/>
                <a:rect l="l" t="t" r="r" b="b"/>
                <a:pathLst>
                  <a:path w="4703" h="3023" extrusionOk="0">
                    <a:moveTo>
                      <a:pt x="3135" y="1"/>
                    </a:moveTo>
                    <a:lnTo>
                      <a:pt x="2352" y="672"/>
                    </a:lnTo>
                    <a:lnTo>
                      <a:pt x="1680" y="1456"/>
                    </a:lnTo>
                    <a:lnTo>
                      <a:pt x="1" y="3023"/>
                    </a:lnTo>
                    <a:lnTo>
                      <a:pt x="2016" y="2463"/>
                    </a:lnTo>
                    <a:lnTo>
                      <a:pt x="2687" y="2127"/>
                    </a:lnTo>
                    <a:lnTo>
                      <a:pt x="3359" y="1792"/>
                    </a:lnTo>
                    <a:lnTo>
                      <a:pt x="3807" y="1456"/>
                    </a:lnTo>
                    <a:lnTo>
                      <a:pt x="4254" y="1008"/>
                    </a:lnTo>
                    <a:lnTo>
                      <a:pt x="4478" y="560"/>
                    </a:lnTo>
                    <a:lnTo>
                      <a:pt x="4702" y="1"/>
                    </a:lnTo>
                    <a:close/>
                  </a:path>
                </a:pathLst>
              </a:custGeom>
              <a:solidFill>
                <a:srgbClr val="3E3E4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8" name="Google Shape;1938;p16">
                <a:extLst>
                  <a:ext uri="{FF2B5EF4-FFF2-40B4-BE49-F238E27FC236}">
                    <a16:creationId xmlns:a16="http://schemas.microsoft.com/office/drawing/2014/main" id="{B69E276D-5D34-3860-B1BC-DA719FB032C4}"/>
                  </a:ext>
                </a:extLst>
              </p:cNvPr>
              <p:cNvSpPr/>
              <p:nvPr/>
            </p:nvSpPr>
            <p:spPr>
              <a:xfrm>
                <a:off x="4688700" y="1357500"/>
                <a:ext cx="117575" cy="75575"/>
              </a:xfrm>
              <a:custGeom>
                <a:avLst/>
                <a:gdLst/>
                <a:ahLst/>
                <a:cxnLst/>
                <a:rect l="l" t="t" r="r" b="b"/>
                <a:pathLst>
                  <a:path w="4703" h="3023" fill="none" extrusionOk="0">
                    <a:moveTo>
                      <a:pt x="4702" y="1"/>
                    </a:moveTo>
                    <a:lnTo>
                      <a:pt x="3135" y="1"/>
                    </a:lnTo>
                    <a:lnTo>
                      <a:pt x="3135" y="1"/>
                    </a:lnTo>
                    <a:lnTo>
                      <a:pt x="3135" y="1"/>
                    </a:lnTo>
                    <a:lnTo>
                      <a:pt x="2352" y="672"/>
                    </a:lnTo>
                    <a:lnTo>
                      <a:pt x="1680" y="1456"/>
                    </a:lnTo>
                    <a:lnTo>
                      <a:pt x="1" y="3023"/>
                    </a:lnTo>
                    <a:lnTo>
                      <a:pt x="1" y="3023"/>
                    </a:lnTo>
                    <a:lnTo>
                      <a:pt x="2016" y="2463"/>
                    </a:lnTo>
                    <a:lnTo>
                      <a:pt x="2687" y="2127"/>
                    </a:lnTo>
                    <a:lnTo>
                      <a:pt x="3359" y="1792"/>
                    </a:lnTo>
                    <a:lnTo>
                      <a:pt x="3807" y="1456"/>
                    </a:lnTo>
                    <a:lnTo>
                      <a:pt x="4254" y="1008"/>
                    </a:lnTo>
                    <a:lnTo>
                      <a:pt x="4478" y="560"/>
                    </a:lnTo>
                    <a:lnTo>
                      <a:pt x="4702" y="1"/>
                    </a:lnTo>
                    <a:lnTo>
                      <a:pt x="4702" y="1"/>
                    </a:lnTo>
                    <a:lnTo>
                      <a:pt x="470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9" name="Google Shape;1939;p16">
                <a:extLst>
                  <a:ext uri="{FF2B5EF4-FFF2-40B4-BE49-F238E27FC236}">
                    <a16:creationId xmlns:a16="http://schemas.microsoft.com/office/drawing/2014/main" id="{E017EBAF-FF7C-1082-6F67-739DC59C83BD}"/>
                  </a:ext>
                </a:extLst>
              </p:cNvPr>
              <p:cNvSpPr/>
              <p:nvPr/>
            </p:nvSpPr>
            <p:spPr>
              <a:xfrm>
                <a:off x="4789450" y="1184000"/>
                <a:ext cx="148350" cy="263075"/>
              </a:xfrm>
              <a:custGeom>
                <a:avLst/>
                <a:gdLst/>
                <a:ahLst/>
                <a:cxnLst/>
                <a:rect l="l" t="t" r="r" b="b"/>
                <a:pathLst>
                  <a:path w="5934" h="10523" extrusionOk="0">
                    <a:moveTo>
                      <a:pt x="5038" y="0"/>
                    </a:moveTo>
                    <a:lnTo>
                      <a:pt x="2016" y="560"/>
                    </a:lnTo>
                    <a:lnTo>
                      <a:pt x="1344" y="2463"/>
                    </a:lnTo>
                    <a:lnTo>
                      <a:pt x="896" y="2911"/>
                    </a:lnTo>
                    <a:lnTo>
                      <a:pt x="560" y="3471"/>
                    </a:lnTo>
                    <a:lnTo>
                      <a:pt x="224" y="4254"/>
                    </a:lnTo>
                    <a:lnTo>
                      <a:pt x="1" y="5038"/>
                    </a:lnTo>
                    <a:lnTo>
                      <a:pt x="1" y="5821"/>
                    </a:lnTo>
                    <a:lnTo>
                      <a:pt x="113" y="6157"/>
                    </a:lnTo>
                    <a:lnTo>
                      <a:pt x="336" y="6605"/>
                    </a:lnTo>
                    <a:lnTo>
                      <a:pt x="560" y="6941"/>
                    </a:lnTo>
                    <a:lnTo>
                      <a:pt x="896" y="7276"/>
                    </a:lnTo>
                    <a:lnTo>
                      <a:pt x="1680" y="7836"/>
                    </a:lnTo>
                    <a:lnTo>
                      <a:pt x="2239" y="8396"/>
                    </a:lnTo>
                    <a:lnTo>
                      <a:pt x="3135" y="9403"/>
                    </a:lnTo>
                    <a:lnTo>
                      <a:pt x="3807" y="10187"/>
                    </a:lnTo>
                    <a:lnTo>
                      <a:pt x="4142" y="10411"/>
                    </a:lnTo>
                    <a:lnTo>
                      <a:pt x="4366" y="10523"/>
                    </a:lnTo>
                    <a:lnTo>
                      <a:pt x="4478" y="10411"/>
                    </a:lnTo>
                    <a:lnTo>
                      <a:pt x="4478" y="10075"/>
                    </a:lnTo>
                    <a:lnTo>
                      <a:pt x="4478" y="9067"/>
                    </a:lnTo>
                    <a:lnTo>
                      <a:pt x="4142" y="7276"/>
                    </a:lnTo>
                    <a:lnTo>
                      <a:pt x="3918" y="6717"/>
                    </a:lnTo>
                    <a:lnTo>
                      <a:pt x="3695" y="6157"/>
                    </a:lnTo>
                    <a:lnTo>
                      <a:pt x="3471" y="5597"/>
                    </a:lnTo>
                    <a:lnTo>
                      <a:pt x="3471" y="5373"/>
                    </a:lnTo>
                    <a:lnTo>
                      <a:pt x="3583" y="5150"/>
                    </a:lnTo>
                    <a:lnTo>
                      <a:pt x="3807" y="5150"/>
                    </a:lnTo>
                    <a:lnTo>
                      <a:pt x="4030" y="5038"/>
                    </a:lnTo>
                    <a:lnTo>
                      <a:pt x="4366" y="5150"/>
                    </a:lnTo>
                    <a:lnTo>
                      <a:pt x="4814" y="5262"/>
                    </a:lnTo>
                    <a:lnTo>
                      <a:pt x="5150" y="5262"/>
                    </a:lnTo>
                    <a:lnTo>
                      <a:pt x="5262" y="5150"/>
                    </a:lnTo>
                    <a:lnTo>
                      <a:pt x="5262" y="5038"/>
                    </a:lnTo>
                    <a:lnTo>
                      <a:pt x="5262" y="4702"/>
                    </a:lnTo>
                    <a:lnTo>
                      <a:pt x="5262" y="4254"/>
                    </a:lnTo>
                    <a:lnTo>
                      <a:pt x="5262" y="3918"/>
                    </a:lnTo>
                    <a:lnTo>
                      <a:pt x="5374" y="3806"/>
                    </a:lnTo>
                    <a:lnTo>
                      <a:pt x="5262" y="3694"/>
                    </a:lnTo>
                    <a:lnTo>
                      <a:pt x="5150" y="3694"/>
                    </a:lnTo>
                    <a:lnTo>
                      <a:pt x="5038" y="3582"/>
                    </a:lnTo>
                    <a:lnTo>
                      <a:pt x="5150" y="3471"/>
                    </a:lnTo>
                    <a:lnTo>
                      <a:pt x="5374" y="3471"/>
                    </a:lnTo>
                    <a:lnTo>
                      <a:pt x="5486" y="3359"/>
                    </a:lnTo>
                    <a:lnTo>
                      <a:pt x="5486" y="3247"/>
                    </a:lnTo>
                    <a:lnTo>
                      <a:pt x="5374" y="2911"/>
                    </a:lnTo>
                    <a:lnTo>
                      <a:pt x="5374" y="2799"/>
                    </a:lnTo>
                    <a:lnTo>
                      <a:pt x="5598" y="2687"/>
                    </a:lnTo>
                    <a:lnTo>
                      <a:pt x="5821" y="2687"/>
                    </a:lnTo>
                    <a:lnTo>
                      <a:pt x="5933" y="2575"/>
                    </a:lnTo>
                    <a:lnTo>
                      <a:pt x="5933" y="2351"/>
                    </a:lnTo>
                    <a:lnTo>
                      <a:pt x="5821" y="2239"/>
                    </a:lnTo>
                    <a:lnTo>
                      <a:pt x="5262" y="1791"/>
                    </a:lnTo>
                    <a:lnTo>
                      <a:pt x="5038" y="1344"/>
                    </a:lnTo>
                    <a:lnTo>
                      <a:pt x="5038" y="896"/>
                    </a:lnTo>
                    <a:lnTo>
                      <a:pt x="5038" y="448"/>
                    </a:lnTo>
                    <a:lnTo>
                      <a:pt x="5038" y="0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0" name="Google Shape;1940;p16">
                <a:extLst>
                  <a:ext uri="{FF2B5EF4-FFF2-40B4-BE49-F238E27FC236}">
                    <a16:creationId xmlns:a16="http://schemas.microsoft.com/office/drawing/2014/main" id="{7F5E19D3-E32A-BC67-99BD-4443ED7E6143}"/>
                  </a:ext>
                </a:extLst>
              </p:cNvPr>
              <p:cNvSpPr/>
              <p:nvPr/>
            </p:nvSpPr>
            <p:spPr>
              <a:xfrm>
                <a:off x="4434050" y="1130825"/>
                <a:ext cx="486950" cy="285475"/>
              </a:xfrm>
              <a:custGeom>
                <a:avLst/>
                <a:gdLst/>
                <a:ahLst/>
                <a:cxnLst/>
                <a:rect l="l" t="t" r="r" b="b"/>
                <a:pathLst>
                  <a:path w="19478" h="11419" extrusionOk="0">
                    <a:moveTo>
                      <a:pt x="16903" y="1"/>
                    </a:moveTo>
                    <a:lnTo>
                      <a:pt x="15784" y="113"/>
                    </a:lnTo>
                    <a:lnTo>
                      <a:pt x="15336" y="224"/>
                    </a:lnTo>
                    <a:lnTo>
                      <a:pt x="15000" y="448"/>
                    </a:lnTo>
                    <a:lnTo>
                      <a:pt x="14329" y="1008"/>
                    </a:lnTo>
                    <a:lnTo>
                      <a:pt x="13769" y="1680"/>
                    </a:lnTo>
                    <a:lnTo>
                      <a:pt x="13321" y="2351"/>
                    </a:lnTo>
                    <a:lnTo>
                      <a:pt x="12649" y="3695"/>
                    </a:lnTo>
                    <a:lnTo>
                      <a:pt x="12314" y="4254"/>
                    </a:lnTo>
                    <a:lnTo>
                      <a:pt x="12090" y="4478"/>
                    </a:lnTo>
                    <a:lnTo>
                      <a:pt x="11866" y="4590"/>
                    </a:lnTo>
                    <a:lnTo>
                      <a:pt x="9963" y="4590"/>
                    </a:lnTo>
                    <a:lnTo>
                      <a:pt x="9515" y="4814"/>
                    </a:lnTo>
                    <a:lnTo>
                      <a:pt x="8844" y="5150"/>
                    </a:lnTo>
                    <a:lnTo>
                      <a:pt x="8396" y="5486"/>
                    </a:lnTo>
                    <a:lnTo>
                      <a:pt x="8172" y="5821"/>
                    </a:lnTo>
                    <a:lnTo>
                      <a:pt x="7948" y="6157"/>
                    </a:lnTo>
                    <a:lnTo>
                      <a:pt x="7612" y="6717"/>
                    </a:lnTo>
                    <a:lnTo>
                      <a:pt x="7500" y="6829"/>
                    </a:lnTo>
                    <a:lnTo>
                      <a:pt x="7276" y="7053"/>
                    </a:lnTo>
                    <a:lnTo>
                      <a:pt x="6717" y="7165"/>
                    </a:lnTo>
                    <a:lnTo>
                      <a:pt x="6045" y="7277"/>
                    </a:lnTo>
                    <a:lnTo>
                      <a:pt x="4366" y="7277"/>
                    </a:lnTo>
                    <a:lnTo>
                      <a:pt x="3470" y="7500"/>
                    </a:lnTo>
                    <a:lnTo>
                      <a:pt x="2575" y="7836"/>
                    </a:lnTo>
                    <a:lnTo>
                      <a:pt x="1791" y="8284"/>
                    </a:lnTo>
                    <a:lnTo>
                      <a:pt x="1008" y="8844"/>
                    </a:lnTo>
                    <a:lnTo>
                      <a:pt x="448" y="9403"/>
                    </a:lnTo>
                    <a:lnTo>
                      <a:pt x="112" y="10075"/>
                    </a:lnTo>
                    <a:lnTo>
                      <a:pt x="0" y="10299"/>
                    </a:lnTo>
                    <a:lnTo>
                      <a:pt x="0" y="10523"/>
                    </a:lnTo>
                    <a:lnTo>
                      <a:pt x="112" y="10859"/>
                    </a:lnTo>
                    <a:lnTo>
                      <a:pt x="336" y="11083"/>
                    </a:lnTo>
                    <a:lnTo>
                      <a:pt x="560" y="11194"/>
                    </a:lnTo>
                    <a:lnTo>
                      <a:pt x="784" y="11194"/>
                    </a:lnTo>
                    <a:lnTo>
                      <a:pt x="1456" y="11083"/>
                    </a:lnTo>
                    <a:lnTo>
                      <a:pt x="3135" y="10411"/>
                    </a:lnTo>
                    <a:lnTo>
                      <a:pt x="4142" y="10187"/>
                    </a:lnTo>
                    <a:lnTo>
                      <a:pt x="5150" y="10075"/>
                    </a:lnTo>
                    <a:lnTo>
                      <a:pt x="5709" y="10187"/>
                    </a:lnTo>
                    <a:lnTo>
                      <a:pt x="6157" y="10299"/>
                    </a:lnTo>
                    <a:lnTo>
                      <a:pt x="6605" y="10635"/>
                    </a:lnTo>
                    <a:lnTo>
                      <a:pt x="7053" y="10971"/>
                    </a:lnTo>
                    <a:lnTo>
                      <a:pt x="7388" y="11306"/>
                    </a:lnTo>
                    <a:lnTo>
                      <a:pt x="7724" y="11418"/>
                    </a:lnTo>
                    <a:lnTo>
                      <a:pt x="8060" y="11306"/>
                    </a:lnTo>
                    <a:lnTo>
                      <a:pt x="8396" y="11306"/>
                    </a:lnTo>
                    <a:lnTo>
                      <a:pt x="9179" y="10971"/>
                    </a:lnTo>
                    <a:lnTo>
                      <a:pt x="9851" y="10635"/>
                    </a:lnTo>
                    <a:lnTo>
                      <a:pt x="10299" y="10635"/>
                    </a:lnTo>
                    <a:lnTo>
                      <a:pt x="11194" y="10747"/>
                    </a:lnTo>
                    <a:lnTo>
                      <a:pt x="11866" y="10859"/>
                    </a:lnTo>
                    <a:lnTo>
                      <a:pt x="12314" y="10747"/>
                    </a:lnTo>
                    <a:lnTo>
                      <a:pt x="12761" y="10635"/>
                    </a:lnTo>
                    <a:lnTo>
                      <a:pt x="13769" y="10411"/>
                    </a:lnTo>
                    <a:lnTo>
                      <a:pt x="14329" y="10075"/>
                    </a:lnTo>
                    <a:lnTo>
                      <a:pt x="14888" y="9627"/>
                    </a:lnTo>
                    <a:lnTo>
                      <a:pt x="15336" y="9068"/>
                    </a:lnTo>
                    <a:lnTo>
                      <a:pt x="15672" y="8620"/>
                    </a:lnTo>
                    <a:lnTo>
                      <a:pt x="16232" y="7500"/>
                    </a:lnTo>
                    <a:lnTo>
                      <a:pt x="16791" y="5709"/>
                    </a:lnTo>
                    <a:lnTo>
                      <a:pt x="16903" y="5374"/>
                    </a:lnTo>
                    <a:lnTo>
                      <a:pt x="16791" y="4926"/>
                    </a:lnTo>
                    <a:lnTo>
                      <a:pt x="16455" y="4478"/>
                    </a:lnTo>
                    <a:lnTo>
                      <a:pt x="16343" y="4254"/>
                    </a:lnTo>
                    <a:lnTo>
                      <a:pt x="16455" y="4030"/>
                    </a:lnTo>
                    <a:lnTo>
                      <a:pt x="16567" y="3918"/>
                    </a:lnTo>
                    <a:lnTo>
                      <a:pt x="16791" y="3807"/>
                    </a:lnTo>
                    <a:lnTo>
                      <a:pt x="17015" y="3918"/>
                    </a:lnTo>
                    <a:lnTo>
                      <a:pt x="17127" y="4030"/>
                    </a:lnTo>
                    <a:lnTo>
                      <a:pt x="17351" y="4366"/>
                    </a:lnTo>
                    <a:lnTo>
                      <a:pt x="17575" y="4478"/>
                    </a:lnTo>
                    <a:lnTo>
                      <a:pt x="17687" y="4366"/>
                    </a:lnTo>
                    <a:lnTo>
                      <a:pt x="17799" y="4030"/>
                    </a:lnTo>
                    <a:lnTo>
                      <a:pt x="17911" y="3247"/>
                    </a:lnTo>
                    <a:lnTo>
                      <a:pt x="18134" y="2799"/>
                    </a:lnTo>
                    <a:lnTo>
                      <a:pt x="18470" y="2575"/>
                    </a:lnTo>
                    <a:lnTo>
                      <a:pt x="18806" y="2463"/>
                    </a:lnTo>
                    <a:lnTo>
                      <a:pt x="19030" y="2463"/>
                    </a:lnTo>
                    <a:lnTo>
                      <a:pt x="19254" y="2351"/>
                    </a:lnTo>
                    <a:lnTo>
                      <a:pt x="19478" y="2015"/>
                    </a:lnTo>
                    <a:lnTo>
                      <a:pt x="19478" y="1680"/>
                    </a:lnTo>
                    <a:lnTo>
                      <a:pt x="19254" y="1008"/>
                    </a:lnTo>
                    <a:lnTo>
                      <a:pt x="19030" y="672"/>
                    </a:lnTo>
                    <a:lnTo>
                      <a:pt x="18806" y="336"/>
                    </a:lnTo>
                    <a:lnTo>
                      <a:pt x="18358" y="113"/>
                    </a:lnTo>
                    <a:lnTo>
                      <a:pt x="17911" y="1"/>
                    </a:lnTo>
                    <a:close/>
                  </a:path>
                </a:pathLst>
              </a:custGeom>
              <a:solidFill>
                <a:srgbClr val="6E362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1" name="Google Shape;1941;p16">
                <a:extLst>
                  <a:ext uri="{FF2B5EF4-FFF2-40B4-BE49-F238E27FC236}">
                    <a16:creationId xmlns:a16="http://schemas.microsoft.com/office/drawing/2014/main" id="{2E81A757-018C-9DED-CC51-A7AD2D0D9943}"/>
                  </a:ext>
                </a:extLst>
              </p:cNvPr>
              <p:cNvSpPr/>
              <p:nvPr/>
            </p:nvSpPr>
            <p:spPr>
              <a:xfrm>
                <a:off x="5382725" y="1239975"/>
                <a:ext cx="193125" cy="92375"/>
              </a:xfrm>
              <a:custGeom>
                <a:avLst/>
                <a:gdLst/>
                <a:ahLst/>
                <a:cxnLst/>
                <a:rect l="l" t="t" r="r" b="b"/>
                <a:pathLst>
                  <a:path w="7725" h="3695" extrusionOk="0">
                    <a:moveTo>
                      <a:pt x="2239" y="0"/>
                    </a:moveTo>
                    <a:lnTo>
                      <a:pt x="2127" y="336"/>
                    </a:lnTo>
                    <a:lnTo>
                      <a:pt x="2127" y="560"/>
                    </a:lnTo>
                    <a:lnTo>
                      <a:pt x="2127" y="672"/>
                    </a:lnTo>
                    <a:lnTo>
                      <a:pt x="2016" y="672"/>
                    </a:lnTo>
                    <a:lnTo>
                      <a:pt x="1680" y="560"/>
                    </a:lnTo>
                    <a:lnTo>
                      <a:pt x="560" y="560"/>
                    </a:lnTo>
                    <a:lnTo>
                      <a:pt x="113" y="672"/>
                    </a:lnTo>
                    <a:lnTo>
                      <a:pt x="1" y="784"/>
                    </a:lnTo>
                    <a:lnTo>
                      <a:pt x="1" y="896"/>
                    </a:lnTo>
                    <a:lnTo>
                      <a:pt x="113" y="1567"/>
                    </a:lnTo>
                    <a:lnTo>
                      <a:pt x="113" y="2015"/>
                    </a:lnTo>
                    <a:lnTo>
                      <a:pt x="225" y="2351"/>
                    </a:lnTo>
                    <a:lnTo>
                      <a:pt x="448" y="2687"/>
                    </a:lnTo>
                    <a:lnTo>
                      <a:pt x="784" y="3023"/>
                    </a:lnTo>
                    <a:lnTo>
                      <a:pt x="1344" y="3246"/>
                    </a:lnTo>
                    <a:lnTo>
                      <a:pt x="2127" y="3470"/>
                    </a:lnTo>
                    <a:lnTo>
                      <a:pt x="5933" y="3694"/>
                    </a:lnTo>
                    <a:lnTo>
                      <a:pt x="7724" y="3694"/>
                    </a:lnTo>
                    <a:lnTo>
                      <a:pt x="6157" y="1455"/>
                    </a:lnTo>
                    <a:lnTo>
                      <a:pt x="5598" y="1343"/>
                    </a:lnTo>
                    <a:lnTo>
                      <a:pt x="4366" y="1232"/>
                    </a:lnTo>
                    <a:lnTo>
                      <a:pt x="3919" y="1120"/>
                    </a:lnTo>
                    <a:lnTo>
                      <a:pt x="3695" y="896"/>
                    </a:lnTo>
                    <a:lnTo>
                      <a:pt x="3359" y="560"/>
                    </a:lnTo>
                    <a:lnTo>
                      <a:pt x="2799" y="112"/>
                    </a:lnTo>
                    <a:lnTo>
                      <a:pt x="2463" y="0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2" name="Google Shape;1942;p16">
                <a:extLst>
                  <a:ext uri="{FF2B5EF4-FFF2-40B4-BE49-F238E27FC236}">
                    <a16:creationId xmlns:a16="http://schemas.microsoft.com/office/drawing/2014/main" id="{B1FC4DA6-10F6-D120-7A44-F5E3038A567C}"/>
                  </a:ext>
                </a:extLst>
              </p:cNvPr>
              <p:cNvSpPr/>
              <p:nvPr/>
            </p:nvSpPr>
            <p:spPr>
              <a:xfrm>
                <a:off x="6135525" y="909750"/>
                <a:ext cx="109150" cy="179125"/>
              </a:xfrm>
              <a:custGeom>
                <a:avLst/>
                <a:gdLst/>
                <a:ahLst/>
                <a:cxnLst/>
                <a:rect l="l" t="t" r="r" b="b"/>
                <a:pathLst>
                  <a:path w="4366" h="7165" extrusionOk="0">
                    <a:moveTo>
                      <a:pt x="2015" y="0"/>
                    </a:moveTo>
                    <a:lnTo>
                      <a:pt x="1120" y="2127"/>
                    </a:lnTo>
                    <a:lnTo>
                      <a:pt x="1120" y="2351"/>
                    </a:lnTo>
                    <a:lnTo>
                      <a:pt x="1120" y="3359"/>
                    </a:lnTo>
                    <a:lnTo>
                      <a:pt x="1008" y="4254"/>
                    </a:lnTo>
                    <a:lnTo>
                      <a:pt x="784" y="5038"/>
                    </a:lnTo>
                    <a:lnTo>
                      <a:pt x="672" y="5373"/>
                    </a:lnTo>
                    <a:lnTo>
                      <a:pt x="560" y="5933"/>
                    </a:lnTo>
                    <a:lnTo>
                      <a:pt x="336" y="6381"/>
                    </a:lnTo>
                    <a:lnTo>
                      <a:pt x="112" y="6941"/>
                    </a:lnTo>
                    <a:lnTo>
                      <a:pt x="0" y="7053"/>
                    </a:lnTo>
                    <a:lnTo>
                      <a:pt x="224" y="7164"/>
                    </a:lnTo>
                    <a:lnTo>
                      <a:pt x="896" y="7164"/>
                    </a:lnTo>
                    <a:lnTo>
                      <a:pt x="2015" y="6941"/>
                    </a:lnTo>
                    <a:lnTo>
                      <a:pt x="4366" y="6493"/>
                    </a:lnTo>
                    <a:lnTo>
                      <a:pt x="4366" y="6045"/>
                    </a:lnTo>
                    <a:lnTo>
                      <a:pt x="4254" y="5485"/>
                    </a:lnTo>
                    <a:lnTo>
                      <a:pt x="3918" y="4254"/>
                    </a:lnTo>
                    <a:lnTo>
                      <a:pt x="3582" y="3135"/>
                    </a:lnTo>
                    <a:lnTo>
                      <a:pt x="3358" y="2127"/>
                    </a:lnTo>
                    <a:lnTo>
                      <a:pt x="3246" y="1791"/>
                    </a:lnTo>
                    <a:lnTo>
                      <a:pt x="3134" y="1344"/>
                    </a:lnTo>
                    <a:lnTo>
                      <a:pt x="2687" y="672"/>
                    </a:lnTo>
                    <a:lnTo>
                      <a:pt x="2015" y="0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3" name="Google Shape;1943;p16">
                <a:extLst>
                  <a:ext uri="{FF2B5EF4-FFF2-40B4-BE49-F238E27FC236}">
                    <a16:creationId xmlns:a16="http://schemas.microsoft.com/office/drawing/2014/main" id="{7D7144DE-F9D6-22BD-629F-C333105DD8C1}"/>
                  </a:ext>
                </a:extLst>
              </p:cNvPr>
              <p:cNvSpPr/>
              <p:nvPr/>
            </p:nvSpPr>
            <p:spPr>
              <a:xfrm>
                <a:off x="6135525" y="909750"/>
                <a:ext cx="109150" cy="179125"/>
              </a:xfrm>
              <a:custGeom>
                <a:avLst/>
                <a:gdLst/>
                <a:ahLst/>
                <a:cxnLst/>
                <a:rect l="l" t="t" r="r" b="b"/>
                <a:pathLst>
                  <a:path w="4366" h="7165" fill="none" extrusionOk="0">
                    <a:moveTo>
                      <a:pt x="2015" y="6941"/>
                    </a:moveTo>
                    <a:lnTo>
                      <a:pt x="4366" y="6493"/>
                    </a:lnTo>
                    <a:lnTo>
                      <a:pt x="4366" y="6493"/>
                    </a:lnTo>
                    <a:lnTo>
                      <a:pt x="4366" y="6045"/>
                    </a:lnTo>
                    <a:lnTo>
                      <a:pt x="4254" y="5485"/>
                    </a:lnTo>
                    <a:lnTo>
                      <a:pt x="3918" y="4254"/>
                    </a:lnTo>
                    <a:lnTo>
                      <a:pt x="3582" y="3135"/>
                    </a:lnTo>
                    <a:lnTo>
                      <a:pt x="3358" y="2127"/>
                    </a:lnTo>
                    <a:lnTo>
                      <a:pt x="3358" y="2127"/>
                    </a:lnTo>
                    <a:lnTo>
                      <a:pt x="3246" y="1791"/>
                    </a:lnTo>
                    <a:lnTo>
                      <a:pt x="3134" y="1344"/>
                    </a:lnTo>
                    <a:lnTo>
                      <a:pt x="2687" y="672"/>
                    </a:lnTo>
                    <a:lnTo>
                      <a:pt x="2015" y="0"/>
                    </a:lnTo>
                    <a:lnTo>
                      <a:pt x="1120" y="2127"/>
                    </a:lnTo>
                    <a:lnTo>
                      <a:pt x="1120" y="2351"/>
                    </a:lnTo>
                    <a:lnTo>
                      <a:pt x="1120" y="2351"/>
                    </a:lnTo>
                    <a:lnTo>
                      <a:pt x="1120" y="3359"/>
                    </a:lnTo>
                    <a:lnTo>
                      <a:pt x="1008" y="4254"/>
                    </a:lnTo>
                    <a:lnTo>
                      <a:pt x="784" y="5038"/>
                    </a:lnTo>
                    <a:lnTo>
                      <a:pt x="784" y="5038"/>
                    </a:lnTo>
                    <a:lnTo>
                      <a:pt x="672" y="5373"/>
                    </a:lnTo>
                    <a:lnTo>
                      <a:pt x="560" y="5933"/>
                    </a:lnTo>
                    <a:lnTo>
                      <a:pt x="336" y="6381"/>
                    </a:lnTo>
                    <a:lnTo>
                      <a:pt x="112" y="6941"/>
                    </a:lnTo>
                    <a:lnTo>
                      <a:pt x="112" y="6941"/>
                    </a:lnTo>
                    <a:lnTo>
                      <a:pt x="0" y="7053"/>
                    </a:lnTo>
                    <a:lnTo>
                      <a:pt x="224" y="7164"/>
                    </a:lnTo>
                    <a:lnTo>
                      <a:pt x="896" y="7164"/>
                    </a:lnTo>
                    <a:lnTo>
                      <a:pt x="2015" y="694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4" name="Google Shape;1944;p16">
                <a:extLst>
                  <a:ext uri="{FF2B5EF4-FFF2-40B4-BE49-F238E27FC236}">
                    <a16:creationId xmlns:a16="http://schemas.microsoft.com/office/drawing/2014/main" id="{6BEB09D5-3A66-EBE5-5BC7-911D9E4BA437}"/>
                  </a:ext>
                </a:extLst>
              </p:cNvPr>
              <p:cNvSpPr/>
              <p:nvPr/>
            </p:nvSpPr>
            <p:spPr>
              <a:xfrm>
                <a:off x="6157900" y="979700"/>
                <a:ext cx="5625" cy="44800"/>
              </a:xfrm>
              <a:custGeom>
                <a:avLst/>
                <a:gdLst/>
                <a:ahLst/>
                <a:cxnLst/>
                <a:rect l="l" t="t" r="r" b="b"/>
                <a:pathLst>
                  <a:path w="225" h="1792" extrusionOk="0">
                    <a:moveTo>
                      <a:pt x="1" y="1792"/>
                    </a:moveTo>
                    <a:lnTo>
                      <a:pt x="1" y="1792"/>
                    </a:lnTo>
                    <a:lnTo>
                      <a:pt x="1" y="1792"/>
                    </a:lnTo>
                    <a:lnTo>
                      <a:pt x="1" y="1792"/>
                    </a:lnTo>
                    <a:lnTo>
                      <a:pt x="1" y="1792"/>
                    </a:lnTo>
                    <a:lnTo>
                      <a:pt x="1" y="1792"/>
                    </a:lnTo>
                    <a:close/>
                    <a:moveTo>
                      <a:pt x="225" y="1"/>
                    </a:moveTo>
                    <a:lnTo>
                      <a:pt x="225" y="1"/>
                    </a:lnTo>
                    <a:lnTo>
                      <a:pt x="225" y="1"/>
                    </a:lnTo>
                    <a:lnTo>
                      <a:pt x="225" y="1008"/>
                    </a:lnTo>
                    <a:lnTo>
                      <a:pt x="225" y="1008"/>
                    </a:lnTo>
                    <a:lnTo>
                      <a:pt x="225" y="1"/>
                    </a:lnTo>
                    <a:close/>
                  </a:path>
                </a:pathLst>
              </a:custGeom>
              <a:solidFill>
                <a:srgbClr val="CBC8D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5" name="Google Shape;1945;p16">
                <a:extLst>
                  <a:ext uri="{FF2B5EF4-FFF2-40B4-BE49-F238E27FC236}">
                    <a16:creationId xmlns:a16="http://schemas.microsoft.com/office/drawing/2014/main" id="{45607B7E-2323-CF8F-AB7D-B98F3BCB7268}"/>
                  </a:ext>
                </a:extLst>
              </p:cNvPr>
              <p:cNvSpPr/>
              <p:nvPr/>
            </p:nvSpPr>
            <p:spPr>
              <a:xfrm>
                <a:off x="6157900" y="1024475"/>
                <a:ext cx="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6" name="Google Shape;1946;p16">
                <a:extLst>
                  <a:ext uri="{FF2B5EF4-FFF2-40B4-BE49-F238E27FC236}">
                    <a16:creationId xmlns:a16="http://schemas.microsoft.com/office/drawing/2014/main" id="{323827ED-1AF1-D78C-2406-41634115EB22}"/>
                  </a:ext>
                </a:extLst>
              </p:cNvPr>
              <p:cNvSpPr/>
              <p:nvPr/>
            </p:nvSpPr>
            <p:spPr>
              <a:xfrm>
                <a:off x="6163500" y="979700"/>
                <a:ext cx="25" cy="252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009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008"/>
                    </a:lnTo>
                    <a:lnTo>
                      <a:pt x="1" y="1008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7" name="Google Shape;1947;p16">
                <a:extLst>
                  <a:ext uri="{FF2B5EF4-FFF2-40B4-BE49-F238E27FC236}">
                    <a16:creationId xmlns:a16="http://schemas.microsoft.com/office/drawing/2014/main" id="{B892946B-6503-CD94-AEB2-CB3C1B027CF2}"/>
                  </a:ext>
                </a:extLst>
              </p:cNvPr>
              <p:cNvSpPr/>
              <p:nvPr/>
            </p:nvSpPr>
            <p:spPr>
              <a:xfrm>
                <a:off x="6157900" y="968525"/>
                <a:ext cx="53200" cy="61575"/>
              </a:xfrm>
              <a:custGeom>
                <a:avLst/>
                <a:gdLst/>
                <a:ahLst/>
                <a:cxnLst/>
                <a:rect l="l" t="t" r="r" b="b"/>
                <a:pathLst>
                  <a:path w="2128" h="2463" extrusionOk="0">
                    <a:moveTo>
                      <a:pt x="1232" y="0"/>
                    </a:moveTo>
                    <a:lnTo>
                      <a:pt x="1008" y="112"/>
                    </a:lnTo>
                    <a:lnTo>
                      <a:pt x="225" y="448"/>
                    </a:lnTo>
                    <a:lnTo>
                      <a:pt x="225" y="1455"/>
                    </a:lnTo>
                    <a:lnTo>
                      <a:pt x="1" y="2239"/>
                    </a:lnTo>
                    <a:lnTo>
                      <a:pt x="337" y="2351"/>
                    </a:lnTo>
                    <a:lnTo>
                      <a:pt x="560" y="2463"/>
                    </a:lnTo>
                    <a:lnTo>
                      <a:pt x="1008" y="2351"/>
                    </a:lnTo>
                    <a:lnTo>
                      <a:pt x="1344" y="2127"/>
                    </a:lnTo>
                    <a:lnTo>
                      <a:pt x="1568" y="1791"/>
                    </a:lnTo>
                    <a:lnTo>
                      <a:pt x="1904" y="1455"/>
                    </a:lnTo>
                    <a:lnTo>
                      <a:pt x="2128" y="672"/>
                    </a:lnTo>
                    <a:lnTo>
                      <a:pt x="2128" y="336"/>
                    </a:lnTo>
                    <a:lnTo>
                      <a:pt x="2128" y="112"/>
                    </a:lnTo>
                    <a:lnTo>
                      <a:pt x="1904" y="0"/>
                    </a:lnTo>
                    <a:close/>
                  </a:path>
                </a:pathLst>
              </a:custGeom>
              <a:solidFill>
                <a:srgbClr val="C4909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8" name="Google Shape;1948;p16">
                <a:extLst>
                  <a:ext uri="{FF2B5EF4-FFF2-40B4-BE49-F238E27FC236}">
                    <a16:creationId xmlns:a16="http://schemas.microsoft.com/office/drawing/2014/main" id="{0F7C3B9B-5D9D-E773-164D-8D95AAFE0DC6}"/>
                  </a:ext>
                </a:extLst>
              </p:cNvPr>
              <p:cNvSpPr/>
              <p:nvPr/>
            </p:nvSpPr>
            <p:spPr>
              <a:xfrm>
                <a:off x="6157900" y="968525"/>
                <a:ext cx="53200" cy="61575"/>
              </a:xfrm>
              <a:custGeom>
                <a:avLst/>
                <a:gdLst/>
                <a:ahLst/>
                <a:cxnLst/>
                <a:rect l="l" t="t" r="r" b="b"/>
                <a:pathLst>
                  <a:path w="2128" h="2463" fill="none" extrusionOk="0">
                    <a:moveTo>
                      <a:pt x="1680" y="0"/>
                    </a:moveTo>
                    <a:lnTo>
                      <a:pt x="1680" y="0"/>
                    </a:lnTo>
                    <a:lnTo>
                      <a:pt x="1232" y="0"/>
                    </a:lnTo>
                    <a:lnTo>
                      <a:pt x="1008" y="112"/>
                    </a:lnTo>
                    <a:lnTo>
                      <a:pt x="225" y="448"/>
                    </a:lnTo>
                    <a:lnTo>
                      <a:pt x="225" y="448"/>
                    </a:lnTo>
                    <a:lnTo>
                      <a:pt x="225" y="1455"/>
                    </a:lnTo>
                    <a:lnTo>
                      <a:pt x="225" y="1455"/>
                    </a:lnTo>
                    <a:lnTo>
                      <a:pt x="1" y="2239"/>
                    </a:lnTo>
                    <a:lnTo>
                      <a:pt x="1" y="2239"/>
                    </a:lnTo>
                    <a:lnTo>
                      <a:pt x="1" y="2239"/>
                    </a:lnTo>
                    <a:lnTo>
                      <a:pt x="1" y="2239"/>
                    </a:lnTo>
                    <a:lnTo>
                      <a:pt x="337" y="2351"/>
                    </a:lnTo>
                    <a:lnTo>
                      <a:pt x="560" y="2463"/>
                    </a:lnTo>
                    <a:lnTo>
                      <a:pt x="560" y="2463"/>
                    </a:lnTo>
                    <a:lnTo>
                      <a:pt x="1008" y="2351"/>
                    </a:lnTo>
                    <a:lnTo>
                      <a:pt x="1344" y="2127"/>
                    </a:lnTo>
                    <a:lnTo>
                      <a:pt x="1568" y="1791"/>
                    </a:lnTo>
                    <a:lnTo>
                      <a:pt x="1904" y="1455"/>
                    </a:lnTo>
                    <a:lnTo>
                      <a:pt x="2128" y="672"/>
                    </a:lnTo>
                    <a:lnTo>
                      <a:pt x="2128" y="336"/>
                    </a:lnTo>
                    <a:lnTo>
                      <a:pt x="2128" y="112"/>
                    </a:lnTo>
                    <a:lnTo>
                      <a:pt x="2128" y="112"/>
                    </a:lnTo>
                    <a:lnTo>
                      <a:pt x="1904" y="0"/>
                    </a:lnTo>
                    <a:lnTo>
                      <a:pt x="168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9" name="Google Shape;1949;p16">
                <a:extLst>
                  <a:ext uri="{FF2B5EF4-FFF2-40B4-BE49-F238E27FC236}">
                    <a16:creationId xmlns:a16="http://schemas.microsoft.com/office/drawing/2014/main" id="{61AB6BE4-3873-7888-69E7-F7BE510DF6FC}"/>
                  </a:ext>
                </a:extLst>
              </p:cNvPr>
              <p:cNvSpPr/>
              <p:nvPr/>
            </p:nvSpPr>
            <p:spPr>
              <a:xfrm>
                <a:off x="6101925" y="890150"/>
                <a:ext cx="111975" cy="125975"/>
              </a:xfrm>
              <a:custGeom>
                <a:avLst/>
                <a:gdLst/>
                <a:ahLst/>
                <a:cxnLst/>
                <a:rect l="l" t="t" r="r" b="b"/>
                <a:pathLst>
                  <a:path w="4479" h="5039" extrusionOk="0">
                    <a:moveTo>
                      <a:pt x="4143" y="1"/>
                    </a:moveTo>
                    <a:lnTo>
                      <a:pt x="337" y="449"/>
                    </a:lnTo>
                    <a:lnTo>
                      <a:pt x="225" y="1232"/>
                    </a:lnTo>
                    <a:lnTo>
                      <a:pt x="113" y="2128"/>
                    </a:lnTo>
                    <a:lnTo>
                      <a:pt x="1" y="2911"/>
                    </a:lnTo>
                    <a:lnTo>
                      <a:pt x="1" y="3135"/>
                    </a:lnTo>
                    <a:lnTo>
                      <a:pt x="225" y="3135"/>
                    </a:lnTo>
                    <a:lnTo>
                      <a:pt x="449" y="3247"/>
                    </a:lnTo>
                    <a:lnTo>
                      <a:pt x="561" y="3471"/>
                    </a:lnTo>
                    <a:lnTo>
                      <a:pt x="561" y="4143"/>
                    </a:lnTo>
                    <a:lnTo>
                      <a:pt x="673" y="4814"/>
                    </a:lnTo>
                    <a:lnTo>
                      <a:pt x="785" y="5038"/>
                    </a:lnTo>
                    <a:lnTo>
                      <a:pt x="1568" y="5038"/>
                    </a:lnTo>
                    <a:lnTo>
                      <a:pt x="2128" y="4814"/>
                    </a:lnTo>
                    <a:lnTo>
                      <a:pt x="2687" y="4590"/>
                    </a:lnTo>
                    <a:lnTo>
                      <a:pt x="3247" y="4254"/>
                    </a:lnTo>
                    <a:lnTo>
                      <a:pt x="3695" y="3919"/>
                    </a:lnTo>
                    <a:lnTo>
                      <a:pt x="4031" y="3583"/>
                    </a:lnTo>
                    <a:lnTo>
                      <a:pt x="4367" y="3247"/>
                    </a:lnTo>
                    <a:lnTo>
                      <a:pt x="4478" y="2911"/>
                    </a:lnTo>
                    <a:lnTo>
                      <a:pt x="4478" y="2128"/>
                    </a:lnTo>
                    <a:lnTo>
                      <a:pt x="4367" y="1120"/>
                    </a:lnTo>
                    <a:lnTo>
                      <a:pt x="4143" y="1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0" name="Google Shape;1950;p16">
                <a:extLst>
                  <a:ext uri="{FF2B5EF4-FFF2-40B4-BE49-F238E27FC236}">
                    <a16:creationId xmlns:a16="http://schemas.microsoft.com/office/drawing/2014/main" id="{CB0D73A4-2D2C-6C29-A6B3-1059E084B826}"/>
                  </a:ext>
                </a:extLst>
              </p:cNvPr>
              <p:cNvSpPr/>
              <p:nvPr/>
            </p:nvSpPr>
            <p:spPr>
              <a:xfrm>
                <a:off x="6079550" y="836975"/>
                <a:ext cx="167925" cy="128775"/>
              </a:xfrm>
              <a:custGeom>
                <a:avLst/>
                <a:gdLst/>
                <a:ahLst/>
                <a:cxnLst/>
                <a:rect l="l" t="t" r="r" b="b"/>
                <a:pathLst>
                  <a:path w="6717" h="5151" extrusionOk="0">
                    <a:moveTo>
                      <a:pt x="4814" y="1"/>
                    </a:moveTo>
                    <a:lnTo>
                      <a:pt x="4366" y="113"/>
                    </a:lnTo>
                    <a:lnTo>
                      <a:pt x="4030" y="337"/>
                    </a:lnTo>
                    <a:lnTo>
                      <a:pt x="3471" y="337"/>
                    </a:lnTo>
                    <a:lnTo>
                      <a:pt x="3247" y="225"/>
                    </a:lnTo>
                    <a:lnTo>
                      <a:pt x="3023" y="113"/>
                    </a:lnTo>
                    <a:lnTo>
                      <a:pt x="2351" y="113"/>
                    </a:lnTo>
                    <a:lnTo>
                      <a:pt x="2127" y="225"/>
                    </a:lnTo>
                    <a:lnTo>
                      <a:pt x="1903" y="561"/>
                    </a:lnTo>
                    <a:lnTo>
                      <a:pt x="1680" y="785"/>
                    </a:lnTo>
                    <a:lnTo>
                      <a:pt x="1568" y="896"/>
                    </a:lnTo>
                    <a:lnTo>
                      <a:pt x="1008" y="896"/>
                    </a:lnTo>
                    <a:lnTo>
                      <a:pt x="448" y="1008"/>
                    </a:lnTo>
                    <a:lnTo>
                      <a:pt x="224" y="1120"/>
                    </a:lnTo>
                    <a:lnTo>
                      <a:pt x="112" y="1232"/>
                    </a:lnTo>
                    <a:lnTo>
                      <a:pt x="0" y="1568"/>
                    </a:lnTo>
                    <a:lnTo>
                      <a:pt x="112" y="1904"/>
                    </a:lnTo>
                    <a:lnTo>
                      <a:pt x="112" y="2128"/>
                    </a:lnTo>
                    <a:lnTo>
                      <a:pt x="336" y="2352"/>
                    </a:lnTo>
                    <a:lnTo>
                      <a:pt x="672" y="2576"/>
                    </a:lnTo>
                    <a:lnTo>
                      <a:pt x="1680" y="2576"/>
                    </a:lnTo>
                    <a:lnTo>
                      <a:pt x="1903" y="2688"/>
                    </a:lnTo>
                    <a:lnTo>
                      <a:pt x="2015" y="2911"/>
                    </a:lnTo>
                    <a:lnTo>
                      <a:pt x="2015" y="3247"/>
                    </a:lnTo>
                    <a:lnTo>
                      <a:pt x="2127" y="3359"/>
                    </a:lnTo>
                    <a:lnTo>
                      <a:pt x="2351" y="3471"/>
                    </a:lnTo>
                    <a:lnTo>
                      <a:pt x="2575" y="3359"/>
                    </a:lnTo>
                    <a:lnTo>
                      <a:pt x="3023" y="3247"/>
                    </a:lnTo>
                    <a:lnTo>
                      <a:pt x="3582" y="3247"/>
                    </a:lnTo>
                    <a:lnTo>
                      <a:pt x="3582" y="3583"/>
                    </a:lnTo>
                    <a:lnTo>
                      <a:pt x="3471" y="4031"/>
                    </a:lnTo>
                    <a:lnTo>
                      <a:pt x="3359" y="4255"/>
                    </a:lnTo>
                    <a:lnTo>
                      <a:pt x="3359" y="4367"/>
                    </a:lnTo>
                    <a:lnTo>
                      <a:pt x="3471" y="4479"/>
                    </a:lnTo>
                    <a:lnTo>
                      <a:pt x="3582" y="4590"/>
                    </a:lnTo>
                    <a:lnTo>
                      <a:pt x="3806" y="4479"/>
                    </a:lnTo>
                    <a:lnTo>
                      <a:pt x="4142" y="4255"/>
                    </a:lnTo>
                    <a:lnTo>
                      <a:pt x="4478" y="3695"/>
                    </a:lnTo>
                    <a:lnTo>
                      <a:pt x="4702" y="3695"/>
                    </a:lnTo>
                    <a:lnTo>
                      <a:pt x="4926" y="3807"/>
                    </a:lnTo>
                    <a:lnTo>
                      <a:pt x="5038" y="3807"/>
                    </a:lnTo>
                    <a:lnTo>
                      <a:pt x="5150" y="4031"/>
                    </a:lnTo>
                    <a:lnTo>
                      <a:pt x="5150" y="4479"/>
                    </a:lnTo>
                    <a:lnTo>
                      <a:pt x="5150" y="4926"/>
                    </a:lnTo>
                    <a:lnTo>
                      <a:pt x="5262" y="5038"/>
                    </a:lnTo>
                    <a:lnTo>
                      <a:pt x="5262" y="5150"/>
                    </a:lnTo>
                    <a:lnTo>
                      <a:pt x="5485" y="5150"/>
                    </a:lnTo>
                    <a:lnTo>
                      <a:pt x="5709" y="4926"/>
                    </a:lnTo>
                    <a:lnTo>
                      <a:pt x="6045" y="4590"/>
                    </a:lnTo>
                    <a:lnTo>
                      <a:pt x="6381" y="4143"/>
                    </a:lnTo>
                    <a:lnTo>
                      <a:pt x="6605" y="3695"/>
                    </a:lnTo>
                    <a:lnTo>
                      <a:pt x="6717" y="3247"/>
                    </a:lnTo>
                    <a:lnTo>
                      <a:pt x="6717" y="2799"/>
                    </a:lnTo>
                    <a:lnTo>
                      <a:pt x="6605" y="2576"/>
                    </a:lnTo>
                    <a:lnTo>
                      <a:pt x="6493" y="2352"/>
                    </a:lnTo>
                    <a:lnTo>
                      <a:pt x="6157" y="2128"/>
                    </a:lnTo>
                    <a:lnTo>
                      <a:pt x="6045" y="1792"/>
                    </a:lnTo>
                    <a:lnTo>
                      <a:pt x="5933" y="1232"/>
                    </a:lnTo>
                    <a:lnTo>
                      <a:pt x="5709" y="673"/>
                    </a:lnTo>
                    <a:lnTo>
                      <a:pt x="5597" y="337"/>
                    </a:lnTo>
                    <a:lnTo>
                      <a:pt x="5262" y="113"/>
                    </a:lnTo>
                    <a:lnTo>
                      <a:pt x="5038" y="1"/>
                    </a:lnTo>
                    <a:close/>
                  </a:path>
                </a:pathLst>
              </a:custGeom>
              <a:solidFill>
                <a:srgbClr val="201F3B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1" name="Google Shape;1951;p16">
                <a:extLst>
                  <a:ext uri="{FF2B5EF4-FFF2-40B4-BE49-F238E27FC236}">
                    <a16:creationId xmlns:a16="http://schemas.microsoft.com/office/drawing/2014/main" id="{F6FEF967-DC74-1D68-5F02-4EE4CB53F7CD}"/>
                  </a:ext>
                </a:extLst>
              </p:cNvPr>
              <p:cNvSpPr/>
              <p:nvPr/>
            </p:nvSpPr>
            <p:spPr>
              <a:xfrm>
                <a:off x="6549700" y="2253025"/>
                <a:ext cx="75575" cy="137150"/>
              </a:xfrm>
              <a:custGeom>
                <a:avLst/>
                <a:gdLst/>
                <a:ahLst/>
                <a:cxnLst/>
                <a:rect l="l" t="t" r="r" b="b"/>
                <a:pathLst>
                  <a:path w="3023" h="5486" extrusionOk="0">
                    <a:moveTo>
                      <a:pt x="0" y="0"/>
                    </a:moveTo>
                    <a:lnTo>
                      <a:pt x="224" y="4142"/>
                    </a:lnTo>
                    <a:lnTo>
                      <a:pt x="2127" y="5485"/>
                    </a:lnTo>
                    <a:lnTo>
                      <a:pt x="3023" y="3918"/>
                    </a:lnTo>
                    <a:lnTo>
                      <a:pt x="3023" y="1679"/>
                    </a:lnTo>
                    <a:lnTo>
                      <a:pt x="3023" y="1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2" name="Google Shape;1952;p16">
                <a:extLst>
                  <a:ext uri="{FF2B5EF4-FFF2-40B4-BE49-F238E27FC236}">
                    <a16:creationId xmlns:a16="http://schemas.microsoft.com/office/drawing/2014/main" id="{2701B12D-2C81-F080-58E7-310A3123ED33}"/>
                  </a:ext>
                </a:extLst>
              </p:cNvPr>
              <p:cNvSpPr/>
              <p:nvPr/>
            </p:nvSpPr>
            <p:spPr>
              <a:xfrm>
                <a:off x="6544100" y="2325775"/>
                <a:ext cx="223900" cy="97975"/>
              </a:xfrm>
              <a:custGeom>
                <a:avLst/>
                <a:gdLst/>
                <a:ahLst/>
                <a:cxnLst/>
                <a:rect l="l" t="t" r="r" b="b"/>
                <a:pathLst>
                  <a:path w="8956" h="3919" extrusionOk="0">
                    <a:moveTo>
                      <a:pt x="336" y="1"/>
                    </a:moveTo>
                    <a:lnTo>
                      <a:pt x="224" y="113"/>
                    </a:lnTo>
                    <a:lnTo>
                      <a:pt x="112" y="448"/>
                    </a:lnTo>
                    <a:lnTo>
                      <a:pt x="0" y="1344"/>
                    </a:lnTo>
                    <a:lnTo>
                      <a:pt x="112" y="2463"/>
                    </a:lnTo>
                    <a:lnTo>
                      <a:pt x="224" y="3471"/>
                    </a:lnTo>
                    <a:lnTo>
                      <a:pt x="336" y="3583"/>
                    </a:lnTo>
                    <a:lnTo>
                      <a:pt x="448" y="3807"/>
                    </a:lnTo>
                    <a:lnTo>
                      <a:pt x="672" y="3918"/>
                    </a:lnTo>
                    <a:lnTo>
                      <a:pt x="8396" y="3918"/>
                    </a:lnTo>
                    <a:lnTo>
                      <a:pt x="8732" y="3695"/>
                    </a:lnTo>
                    <a:lnTo>
                      <a:pt x="8843" y="3471"/>
                    </a:lnTo>
                    <a:lnTo>
                      <a:pt x="8955" y="3135"/>
                    </a:lnTo>
                    <a:lnTo>
                      <a:pt x="8955" y="2911"/>
                    </a:lnTo>
                    <a:lnTo>
                      <a:pt x="8843" y="2575"/>
                    </a:lnTo>
                    <a:lnTo>
                      <a:pt x="8732" y="2463"/>
                    </a:lnTo>
                    <a:lnTo>
                      <a:pt x="8620" y="2351"/>
                    </a:lnTo>
                    <a:lnTo>
                      <a:pt x="7724" y="2239"/>
                    </a:lnTo>
                    <a:lnTo>
                      <a:pt x="6381" y="2127"/>
                    </a:lnTo>
                    <a:lnTo>
                      <a:pt x="5709" y="1904"/>
                    </a:lnTo>
                    <a:lnTo>
                      <a:pt x="5038" y="1680"/>
                    </a:lnTo>
                    <a:lnTo>
                      <a:pt x="4590" y="1456"/>
                    </a:lnTo>
                    <a:lnTo>
                      <a:pt x="4366" y="1120"/>
                    </a:lnTo>
                    <a:lnTo>
                      <a:pt x="4254" y="672"/>
                    </a:lnTo>
                    <a:lnTo>
                      <a:pt x="4030" y="336"/>
                    </a:lnTo>
                    <a:lnTo>
                      <a:pt x="3694" y="113"/>
                    </a:lnTo>
                    <a:lnTo>
                      <a:pt x="3470" y="113"/>
                    </a:lnTo>
                    <a:lnTo>
                      <a:pt x="3023" y="336"/>
                    </a:lnTo>
                    <a:lnTo>
                      <a:pt x="2687" y="448"/>
                    </a:lnTo>
                    <a:lnTo>
                      <a:pt x="1791" y="448"/>
                    </a:lnTo>
                    <a:lnTo>
                      <a:pt x="896" y="224"/>
                    </a:lnTo>
                    <a:lnTo>
                      <a:pt x="336" y="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3" name="Google Shape;1953;p16">
                <a:extLst>
                  <a:ext uri="{FF2B5EF4-FFF2-40B4-BE49-F238E27FC236}">
                    <a16:creationId xmlns:a16="http://schemas.microsoft.com/office/drawing/2014/main" id="{C14EBD71-4FD0-A277-4388-5901F4796B55}"/>
                  </a:ext>
                </a:extLst>
              </p:cNvPr>
              <p:cNvSpPr/>
              <p:nvPr/>
            </p:nvSpPr>
            <p:spPr>
              <a:xfrm>
                <a:off x="6001200" y="2535675"/>
                <a:ext cx="75575" cy="137150"/>
              </a:xfrm>
              <a:custGeom>
                <a:avLst/>
                <a:gdLst/>
                <a:ahLst/>
                <a:cxnLst/>
                <a:rect l="l" t="t" r="r" b="b"/>
                <a:pathLst>
                  <a:path w="3023" h="5486" extrusionOk="0">
                    <a:moveTo>
                      <a:pt x="0" y="0"/>
                    </a:moveTo>
                    <a:lnTo>
                      <a:pt x="112" y="4142"/>
                    </a:lnTo>
                    <a:lnTo>
                      <a:pt x="2127" y="5485"/>
                    </a:lnTo>
                    <a:lnTo>
                      <a:pt x="3022" y="3918"/>
                    </a:lnTo>
                    <a:lnTo>
                      <a:pt x="3022" y="1679"/>
                    </a:lnTo>
                    <a:lnTo>
                      <a:pt x="3022" y="1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4" name="Google Shape;1954;p16">
                <a:extLst>
                  <a:ext uri="{FF2B5EF4-FFF2-40B4-BE49-F238E27FC236}">
                    <a16:creationId xmlns:a16="http://schemas.microsoft.com/office/drawing/2014/main" id="{5F659955-172F-69C2-3BD1-4841EB41885D}"/>
                  </a:ext>
                </a:extLst>
              </p:cNvPr>
              <p:cNvSpPr/>
              <p:nvPr/>
            </p:nvSpPr>
            <p:spPr>
              <a:xfrm>
                <a:off x="5995600" y="2597225"/>
                <a:ext cx="221100" cy="109175"/>
              </a:xfrm>
              <a:custGeom>
                <a:avLst/>
                <a:gdLst/>
                <a:ahLst/>
                <a:cxnLst/>
                <a:rect l="l" t="t" r="r" b="b"/>
                <a:pathLst>
                  <a:path w="8844" h="4367" extrusionOk="0">
                    <a:moveTo>
                      <a:pt x="224" y="1"/>
                    </a:moveTo>
                    <a:lnTo>
                      <a:pt x="112" y="225"/>
                    </a:lnTo>
                    <a:lnTo>
                      <a:pt x="0" y="560"/>
                    </a:lnTo>
                    <a:lnTo>
                      <a:pt x="0" y="1568"/>
                    </a:lnTo>
                    <a:lnTo>
                      <a:pt x="0" y="2799"/>
                    </a:lnTo>
                    <a:lnTo>
                      <a:pt x="224" y="3807"/>
                    </a:lnTo>
                    <a:lnTo>
                      <a:pt x="224" y="4030"/>
                    </a:lnTo>
                    <a:lnTo>
                      <a:pt x="448" y="4254"/>
                    </a:lnTo>
                    <a:lnTo>
                      <a:pt x="560" y="4254"/>
                    </a:lnTo>
                    <a:lnTo>
                      <a:pt x="784" y="4366"/>
                    </a:lnTo>
                    <a:lnTo>
                      <a:pt x="8284" y="4366"/>
                    </a:lnTo>
                    <a:lnTo>
                      <a:pt x="8620" y="4142"/>
                    </a:lnTo>
                    <a:lnTo>
                      <a:pt x="8843" y="3919"/>
                    </a:lnTo>
                    <a:lnTo>
                      <a:pt x="8843" y="3695"/>
                    </a:lnTo>
                    <a:lnTo>
                      <a:pt x="8843" y="3359"/>
                    </a:lnTo>
                    <a:lnTo>
                      <a:pt x="8843" y="3135"/>
                    </a:lnTo>
                    <a:lnTo>
                      <a:pt x="8731" y="2911"/>
                    </a:lnTo>
                    <a:lnTo>
                      <a:pt x="8620" y="2911"/>
                    </a:lnTo>
                    <a:lnTo>
                      <a:pt x="7612" y="2687"/>
                    </a:lnTo>
                    <a:lnTo>
                      <a:pt x="6157" y="2351"/>
                    </a:lnTo>
                    <a:lnTo>
                      <a:pt x="5373" y="2016"/>
                    </a:lnTo>
                    <a:lnTo>
                      <a:pt x="4702" y="1792"/>
                    </a:lnTo>
                    <a:lnTo>
                      <a:pt x="4142" y="1456"/>
                    </a:lnTo>
                    <a:lnTo>
                      <a:pt x="4030" y="1232"/>
                    </a:lnTo>
                    <a:lnTo>
                      <a:pt x="3918" y="1008"/>
                    </a:lnTo>
                    <a:lnTo>
                      <a:pt x="3806" y="448"/>
                    </a:lnTo>
                    <a:lnTo>
                      <a:pt x="3694" y="336"/>
                    </a:lnTo>
                    <a:lnTo>
                      <a:pt x="3582" y="225"/>
                    </a:lnTo>
                    <a:lnTo>
                      <a:pt x="1567" y="225"/>
                    </a:lnTo>
                    <a:lnTo>
                      <a:pt x="224" y="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5" name="Google Shape;1955;p16">
                <a:extLst>
                  <a:ext uri="{FF2B5EF4-FFF2-40B4-BE49-F238E27FC236}">
                    <a16:creationId xmlns:a16="http://schemas.microsoft.com/office/drawing/2014/main" id="{97751818-F0B2-9313-1501-A50E7956C5B3}"/>
                  </a:ext>
                </a:extLst>
              </p:cNvPr>
              <p:cNvSpPr/>
              <p:nvPr/>
            </p:nvSpPr>
            <p:spPr>
              <a:xfrm>
                <a:off x="5964800" y="1500225"/>
                <a:ext cx="691250" cy="1077450"/>
              </a:xfrm>
              <a:custGeom>
                <a:avLst/>
                <a:gdLst/>
                <a:ahLst/>
                <a:cxnLst/>
                <a:rect l="l" t="t" r="r" b="b"/>
                <a:pathLst>
                  <a:path w="27650" h="43098" extrusionOk="0">
                    <a:moveTo>
                      <a:pt x="3247" y="1"/>
                    </a:moveTo>
                    <a:lnTo>
                      <a:pt x="2352" y="112"/>
                    </a:lnTo>
                    <a:lnTo>
                      <a:pt x="1568" y="336"/>
                    </a:lnTo>
                    <a:lnTo>
                      <a:pt x="896" y="672"/>
                    </a:lnTo>
                    <a:lnTo>
                      <a:pt x="673" y="896"/>
                    </a:lnTo>
                    <a:lnTo>
                      <a:pt x="449" y="1232"/>
                    </a:lnTo>
                    <a:lnTo>
                      <a:pt x="337" y="1456"/>
                    </a:lnTo>
                    <a:lnTo>
                      <a:pt x="225" y="1904"/>
                    </a:lnTo>
                    <a:lnTo>
                      <a:pt x="225" y="3471"/>
                    </a:lnTo>
                    <a:lnTo>
                      <a:pt x="113" y="5374"/>
                    </a:lnTo>
                    <a:lnTo>
                      <a:pt x="1" y="7277"/>
                    </a:lnTo>
                    <a:lnTo>
                      <a:pt x="113" y="9627"/>
                    </a:lnTo>
                    <a:lnTo>
                      <a:pt x="337" y="11194"/>
                    </a:lnTo>
                    <a:lnTo>
                      <a:pt x="561" y="13769"/>
                    </a:lnTo>
                    <a:lnTo>
                      <a:pt x="785" y="17463"/>
                    </a:lnTo>
                    <a:lnTo>
                      <a:pt x="896" y="21605"/>
                    </a:lnTo>
                    <a:lnTo>
                      <a:pt x="1008" y="25411"/>
                    </a:lnTo>
                    <a:lnTo>
                      <a:pt x="896" y="29888"/>
                    </a:lnTo>
                    <a:lnTo>
                      <a:pt x="1008" y="35149"/>
                    </a:lnTo>
                    <a:lnTo>
                      <a:pt x="1232" y="42649"/>
                    </a:lnTo>
                    <a:lnTo>
                      <a:pt x="2240" y="42985"/>
                    </a:lnTo>
                    <a:lnTo>
                      <a:pt x="3135" y="43097"/>
                    </a:lnTo>
                    <a:lnTo>
                      <a:pt x="4255" y="42985"/>
                    </a:lnTo>
                    <a:lnTo>
                      <a:pt x="5598" y="42649"/>
                    </a:lnTo>
                    <a:lnTo>
                      <a:pt x="6046" y="37164"/>
                    </a:lnTo>
                    <a:lnTo>
                      <a:pt x="6829" y="25747"/>
                    </a:lnTo>
                    <a:lnTo>
                      <a:pt x="7277" y="22500"/>
                    </a:lnTo>
                    <a:lnTo>
                      <a:pt x="7949" y="18135"/>
                    </a:lnTo>
                    <a:lnTo>
                      <a:pt x="9068" y="11754"/>
                    </a:lnTo>
                    <a:lnTo>
                      <a:pt x="11419" y="12314"/>
                    </a:lnTo>
                    <a:lnTo>
                      <a:pt x="15672" y="13321"/>
                    </a:lnTo>
                    <a:lnTo>
                      <a:pt x="17799" y="13881"/>
                    </a:lnTo>
                    <a:lnTo>
                      <a:pt x="19702" y="14441"/>
                    </a:lnTo>
                    <a:lnTo>
                      <a:pt x="21045" y="14888"/>
                    </a:lnTo>
                    <a:lnTo>
                      <a:pt x="21493" y="15112"/>
                    </a:lnTo>
                    <a:lnTo>
                      <a:pt x="21605" y="15336"/>
                    </a:lnTo>
                    <a:lnTo>
                      <a:pt x="21829" y="16008"/>
                    </a:lnTo>
                    <a:lnTo>
                      <a:pt x="21941" y="16791"/>
                    </a:lnTo>
                    <a:lnTo>
                      <a:pt x="22165" y="19030"/>
                    </a:lnTo>
                    <a:lnTo>
                      <a:pt x="22165" y="21717"/>
                    </a:lnTo>
                    <a:lnTo>
                      <a:pt x="22277" y="24515"/>
                    </a:lnTo>
                    <a:lnTo>
                      <a:pt x="22277" y="29552"/>
                    </a:lnTo>
                    <a:lnTo>
                      <a:pt x="22389" y="31232"/>
                    </a:lnTo>
                    <a:lnTo>
                      <a:pt x="22501" y="31679"/>
                    </a:lnTo>
                    <a:lnTo>
                      <a:pt x="22501" y="31903"/>
                    </a:lnTo>
                    <a:lnTo>
                      <a:pt x="22613" y="32015"/>
                    </a:lnTo>
                    <a:lnTo>
                      <a:pt x="22836" y="32127"/>
                    </a:lnTo>
                    <a:lnTo>
                      <a:pt x="23396" y="32239"/>
                    </a:lnTo>
                    <a:lnTo>
                      <a:pt x="24180" y="32351"/>
                    </a:lnTo>
                    <a:lnTo>
                      <a:pt x="25187" y="32351"/>
                    </a:lnTo>
                    <a:lnTo>
                      <a:pt x="26083" y="32239"/>
                    </a:lnTo>
                    <a:lnTo>
                      <a:pt x="26866" y="32127"/>
                    </a:lnTo>
                    <a:lnTo>
                      <a:pt x="27426" y="31791"/>
                    </a:lnTo>
                    <a:lnTo>
                      <a:pt x="27538" y="31679"/>
                    </a:lnTo>
                    <a:lnTo>
                      <a:pt x="27650" y="31567"/>
                    </a:lnTo>
                    <a:lnTo>
                      <a:pt x="27538" y="23060"/>
                    </a:lnTo>
                    <a:lnTo>
                      <a:pt x="27314" y="16679"/>
                    </a:lnTo>
                    <a:lnTo>
                      <a:pt x="27202" y="14105"/>
                    </a:lnTo>
                    <a:lnTo>
                      <a:pt x="27090" y="12538"/>
                    </a:lnTo>
                    <a:lnTo>
                      <a:pt x="26866" y="11866"/>
                    </a:lnTo>
                    <a:lnTo>
                      <a:pt x="26419" y="11306"/>
                    </a:lnTo>
                    <a:lnTo>
                      <a:pt x="25747" y="10635"/>
                    </a:lnTo>
                    <a:lnTo>
                      <a:pt x="24963" y="10075"/>
                    </a:lnTo>
                    <a:lnTo>
                      <a:pt x="22948" y="8956"/>
                    </a:lnTo>
                    <a:lnTo>
                      <a:pt x="20598" y="7724"/>
                    </a:lnTo>
                    <a:lnTo>
                      <a:pt x="18247" y="6605"/>
                    </a:lnTo>
                    <a:lnTo>
                      <a:pt x="15896" y="5262"/>
                    </a:lnTo>
                    <a:lnTo>
                      <a:pt x="14889" y="4478"/>
                    </a:lnTo>
                    <a:lnTo>
                      <a:pt x="13993" y="3695"/>
                    </a:lnTo>
                    <a:lnTo>
                      <a:pt x="13210" y="2911"/>
                    </a:lnTo>
                    <a:lnTo>
                      <a:pt x="12650" y="2015"/>
                    </a:lnTo>
                    <a:lnTo>
                      <a:pt x="10747" y="1456"/>
                    </a:lnTo>
                    <a:lnTo>
                      <a:pt x="8844" y="896"/>
                    </a:lnTo>
                    <a:lnTo>
                      <a:pt x="6605" y="336"/>
                    </a:lnTo>
                    <a:lnTo>
                      <a:pt x="5486" y="224"/>
                    </a:lnTo>
                    <a:lnTo>
                      <a:pt x="4367" y="112"/>
                    </a:lnTo>
                    <a:lnTo>
                      <a:pt x="3247" y="1"/>
                    </a:lnTo>
                    <a:close/>
                  </a:path>
                </a:pathLst>
              </a:custGeom>
              <a:solidFill>
                <a:srgbClr val="46464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6" name="Google Shape;1956;p16">
                <a:extLst>
                  <a:ext uri="{FF2B5EF4-FFF2-40B4-BE49-F238E27FC236}">
                    <a16:creationId xmlns:a16="http://schemas.microsoft.com/office/drawing/2014/main" id="{52B1D6C4-DDF2-BFB9-F892-97EB0511D843}"/>
                  </a:ext>
                </a:extLst>
              </p:cNvPr>
              <p:cNvSpPr/>
              <p:nvPr/>
            </p:nvSpPr>
            <p:spPr>
              <a:xfrm>
                <a:off x="5964800" y="1500225"/>
                <a:ext cx="691250" cy="1077450"/>
              </a:xfrm>
              <a:custGeom>
                <a:avLst/>
                <a:gdLst/>
                <a:ahLst/>
                <a:cxnLst/>
                <a:rect l="l" t="t" r="r" b="b"/>
                <a:pathLst>
                  <a:path w="27650" h="43098" fill="none" extrusionOk="0">
                    <a:moveTo>
                      <a:pt x="113" y="9627"/>
                    </a:moveTo>
                    <a:lnTo>
                      <a:pt x="113" y="9627"/>
                    </a:lnTo>
                    <a:lnTo>
                      <a:pt x="337" y="11194"/>
                    </a:lnTo>
                    <a:lnTo>
                      <a:pt x="337" y="11194"/>
                    </a:lnTo>
                    <a:lnTo>
                      <a:pt x="561" y="13769"/>
                    </a:lnTo>
                    <a:lnTo>
                      <a:pt x="785" y="17463"/>
                    </a:lnTo>
                    <a:lnTo>
                      <a:pt x="896" y="21605"/>
                    </a:lnTo>
                    <a:lnTo>
                      <a:pt x="1008" y="25411"/>
                    </a:lnTo>
                    <a:lnTo>
                      <a:pt x="1008" y="25411"/>
                    </a:lnTo>
                    <a:lnTo>
                      <a:pt x="896" y="29888"/>
                    </a:lnTo>
                    <a:lnTo>
                      <a:pt x="1008" y="35149"/>
                    </a:lnTo>
                    <a:lnTo>
                      <a:pt x="1232" y="42649"/>
                    </a:lnTo>
                    <a:lnTo>
                      <a:pt x="1232" y="42649"/>
                    </a:lnTo>
                    <a:lnTo>
                      <a:pt x="2240" y="42985"/>
                    </a:lnTo>
                    <a:lnTo>
                      <a:pt x="3135" y="43097"/>
                    </a:lnTo>
                    <a:lnTo>
                      <a:pt x="4255" y="42985"/>
                    </a:lnTo>
                    <a:lnTo>
                      <a:pt x="5598" y="42649"/>
                    </a:lnTo>
                    <a:lnTo>
                      <a:pt x="5598" y="42649"/>
                    </a:lnTo>
                    <a:lnTo>
                      <a:pt x="6046" y="37164"/>
                    </a:lnTo>
                    <a:lnTo>
                      <a:pt x="6829" y="25747"/>
                    </a:lnTo>
                    <a:lnTo>
                      <a:pt x="6829" y="25747"/>
                    </a:lnTo>
                    <a:lnTo>
                      <a:pt x="7277" y="22500"/>
                    </a:lnTo>
                    <a:lnTo>
                      <a:pt x="7949" y="18135"/>
                    </a:lnTo>
                    <a:lnTo>
                      <a:pt x="9068" y="11754"/>
                    </a:lnTo>
                    <a:lnTo>
                      <a:pt x="9068" y="11754"/>
                    </a:lnTo>
                    <a:lnTo>
                      <a:pt x="11419" y="12314"/>
                    </a:lnTo>
                    <a:lnTo>
                      <a:pt x="15672" y="13321"/>
                    </a:lnTo>
                    <a:lnTo>
                      <a:pt x="17799" y="13881"/>
                    </a:lnTo>
                    <a:lnTo>
                      <a:pt x="19702" y="14441"/>
                    </a:lnTo>
                    <a:lnTo>
                      <a:pt x="21045" y="14888"/>
                    </a:lnTo>
                    <a:lnTo>
                      <a:pt x="21493" y="15112"/>
                    </a:lnTo>
                    <a:lnTo>
                      <a:pt x="21605" y="15336"/>
                    </a:lnTo>
                    <a:lnTo>
                      <a:pt x="21605" y="15336"/>
                    </a:lnTo>
                    <a:lnTo>
                      <a:pt x="21829" y="16008"/>
                    </a:lnTo>
                    <a:lnTo>
                      <a:pt x="21941" y="16791"/>
                    </a:lnTo>
                    <a:lnTo>
                      <a:pt x="22165" y="19030"/>
                    </a:lnTo>
                    <a:lnTo>
                      <a:pt x="22165" y="21717"/>
                    </a:lnTo>
                    <a:lnTo>
                      <a:pt x="22277" y="24515"/>
                    </a:lnTo>
                    <a:lnTo>
                      <a:pt x="22277" y="29552"/>
                    </a:lnTo>
                    <a:lnTo>
                      <a:pt x="22389" y="31232"/>
                    </a:lnTo>
                    <a:lnTo>
                      <a:pt x="22501" y="31679"/>
                    </a:lnTo>
                    <a:lnTo>
                      <a:pt x="22501" y="31903"/>
                    </a:lnTo>
                    <a:lnTo>
                      <a:pt x="22501" y="31903"/>
                    </a:lnTo>
                    <a:lnTo>
                      <a:pt x="22613" y="32015"/>
                    </a:lnTo>
                    <a:lnTo>
                      <a:pt x="22836" y="32127"/>
                    </a:lnTo>
                    <a:lnTo>
                      <a:pt x="23396" y="32239"/>
                    </a:lnTo>
                    <a:lnTo>
                      <a:pt x="24180" y="32351"/>
                    </a:lnTo>
                    <a:lnTo>
                      <a:pt x="25187" y="32351"/>
                    </a:lnTo>
                    <a:lnTo>
                      <a:pt x="26083" y="32239"/>
                    </a:lnTo>
                    <a:lnTo>
                      <a:pt x="26866" y="32127"/>
                    </a:lnTo>
                    <a:lnTo>
                      <a:pt x="27426" y="31791"/>
                    </a:lnTo>
                    <a:lnTo>
                      <a:pt x="27538" y="31679"/>
                    </a:lnTo>
                    <a:lnTo>
                      <a:pt x="27650" y="31567"/>
                    </a:lnTo>
                    <a:lnTo>
                      <a:pt x="27650" y="31567"/>
                    </a:lnTo>
                    <a:lnTo>
                      <a:pt x="27538" y="23060"/>
                    </a:lnTo>
                    <a:lnTo>
                      <a:pt x="27314" y="16679"/>
                    </a:lnTo>
                    <a:lnTo>
                      <a:pt x="27202" y="14105"/>
                    </a:lnTo>
                    <a:lnTo>
                      <a:pt x="27090" y="12538"/>
                    </a:lnTo>
                    <a:lnTo>
                      <a:pt x="27090" y="12538"/>
                    </a:lnTo>
                    <a:lnTo>
                      <a:pt x="26866" y="11866"/>
                    </a:lnTo>
                    <a:lnTo>
                      <a:pt x="26419" y="11306"/>
                    </a:lnTo>
                    <a:lnTo>
                      <a:pt x="25747" y="10635"/>
                    </a:lnTo>
                    <a:lnTo>
                      <a:pt x="24963" y="10075"/>
                    </a:lnTo>
                    <a:lnTo>
                      <a:pt x="22948" y="8956"/>
                    </a:lnTo>
                    <a:lnTo>
                      <a:pt x="20598" y="7724"/>
                    </a:lnTo>
                    <a:lnTo>
                      <a:pt x="18247" y="6605"/>
                    </a:lnTo>
                    <a:lnTo>
                      <a:pt x="15896" y="5262"/>
                    </a:lnTo>
                    <a:lnTo>
                      <a:pt x="14889" y="4478"/>
                    </a:lnTo>
                    <a:lnTo>
                      <a:pt x="13993" y="3695"/>
                    </a:lnTo>
                    <a:lnTo>
                      <a:pt x="13210" y="2911"/>
                    </a:lnTo>
                    <a:lnTo>
                      <a:pt x="12650" y="2015"/>
                    </a:lnTo>
                    <a:lnTo>
                      <a:pt x="12650" y="2015"/>
                    </a:lnTo>
                    <a:lnTo>
                      <a:pt x="10747" y="1456"/>
                    </a:lnTo>
                    <a:lnTo>
                      <a:pt x="8844" y="896"/>
                    </a:lnTo>
                    <a:lnTo>
                      <a:pt x="6605" y="336"/>
                    </a:lnTo>
                    <a:lnTo>
                      <a:pt x="5486" y="224"/>
                    </a:lnTo>
                    <a:lnTo>
                      <a:pt x="4367" y="112"/>
                    </a:lnTo>
                    <a:lnTo>
                      <a:pt x="3247" y="1"/>
                    </a:lnTo>
                    <a:lnTo>
                      <a:pt x="2352" y="112"/>
                    </a:lnTo>
                    <a:lnTo>
                      <a:pt x="1568" y="336"/>
                    </a:lnTo>
                    <a:lnTo>
                      <a:pt x="896" y="672"/>
                    </a:lnTo>
                    <a:lnTo>
                      <a:pt x="673" y="896"/>
                    </a:lnTo>
                    <a:lnTo>
                      <a:pt x="449" y="1232"/>
                    </a:lnTo>
                    <a:lnTo>
                      <a:pt x="337" y="1456"/>
                    </a:lnTo>
                    <a:lnTo>
                      <a:pt x="225" y="1904"/>
                    </a:lnTo>
                    <a:lnTo>
                      <a:pt x="225" y="1904"/>
                    </a:lnTo>
                    <a:lnTo>
                      <a:pt x="225" y="3471"/>
                    </a:lnTo>
                    <a:lnTo>
                      <a:pt x="225" y="3471"/>
                    </a:lnTo>
                    <a:lnTo>
                      <a:pt x="113" y="5374"/>
                    </a:lnTo>
                    <a:lnTo>
                      <a:pt x="113" y="5374"/>
                    </a:lnTo>
                    <a:lnTo>
                      <a:pt x="1" y="7277"/>
                    </a:lnTo>
                    <a:lnTo>
                      <a:pt x="113" y="9627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7" name="Google Shape;1957;p16">
                <a:extLst>
                  <a:ext uri="{FF2B5EF4-FFF2-40B4-BE49-F238E27FC236}">
                    <a16:creationId xmlns:a16="http://schemas.microsoft.com/office/drawing/2014/main" id="{A5E50240-FC0F-103D-8FCC-CE13A1A53BEB}"/>
                  </a:ext>
                </a:extLst>
              </p:cNvPr>
              <p:cNvSpPr/>
              <p:nvPr/>
            </p:nvSpPr>
            <p:spPr>
              <a:xfrm>
                <a:off x="6135525" y="1760475"/>
                <a:ext cx="25" cy="28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13" extrusionOk="0">
                    <a:moveTo>
                      <a:pt x="0" y="1"/>
                    </a:moveTo>
                    <a:lnTo>
                      <a:pt x="0" y="113"/>
                    </a:lnTo>
                    <a:lnTo>
                      <a:pt x="0" y="113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34354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8" name="Google Shape;1958;p16">
                <a:extLst>
                  <a:ext uri="{FF2B5EF4-FFF2-40B4-BE49-F238E27FC236}">
                    <a16:creationId xmlns:a16="http://schemas.microsoft.com/office/drawing/2014/main" id="{A8BF40DE-31A7-16F1-D500-128D95429B68}"/>
                  </a:ext>
                </a:extLst>
              </p:cNvPr>
              <p:cNvSpPr/>
              <p:nvPr/>
            </p:nvSpPr>
            <p:spPr>
              <a:xfrm>
                <a:off x="6135525" y="1760475"/>
                <a:ext cx="25" cy="2825"/>
              </a:xfrm>
              <a:custGeom>
                <a:avLst/>
                <a:gdLst/>
                <a:ahLst/>
                <a:cxnLst/>
                <a:rect l="l" t="t" r="r" b="b"/>
                <a:pathLst>
                  <a:path w="1" h="113" fill="none" extrusionOk="0">
                    <a:moveTo>
                      <a:pt x="0" y="1"/>
                    </a:moveTo>
                    <a:lnTo>
                      <a:pt x="0" y="113"/>
                    </a:lnTo>
                    <a:lnTo>
                      <a:pt x="0" y="113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9" name="Google Shape;1959;p16">
                <a:extLst>
                  <a:ext uri="{FF2B5EF4-FFF2-40B4-BE49-F238E27FC236}">
                    <a16:creationId xmlns:a16="http://schemas.microsoft.com/office/drawing/2014/main" id="{66D2D2CA-6171-BD1F-C548-694A0A0AED8D}"/>
                  </a:ext>
                </a:extLst>
              </p:cNvPr>
              <p:cNvSpPr/>
              <p:nvPr/>
            </p:nvSpPr>
            <p:spPr>
              <a:xfrm>
                <a:off x="5964800" y="1679325"/>
                <a:ext cx="2825" cy="30800"/>
              </a:xfrm>
              <a:custGeom>
                <a:avLst/>
                <a:gdLst/>
                <a:ahLst/>
                <a:cxnLst/>
                <a:rect l="l" t="t" r="r" b="b"/>
                <a:pathLst>
                  <a:path w="113" h="1232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13" y="1232"/>
                    </a:lnTo>
                    <a:lnTo>
                      <a:pt x="113" y="123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9D9999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0" name="Google Shape;1960;p16">
                <a:extLst>
                  <a:ext uri="{FF2B5EF4-FFF2-40B4-BE49-F238E27FC236}">
                    <a16:creationId xmlns:a16="http://schemas.microsoft.com/office/drawing/2014/main" id="{F7AB7ADF-1DE7-057D-068C-0160E04FE00E}"/>
                  </a:ext>
                </a:extLst>
              </p:cNvPr>
              <p:cNvSpPr/>
              <p:nvPr/>
            </p:nvSpPr>
            <p:spPr>
              <a:xfrm>
                <a:off x="5964800" y="1679325"/>
                <a:ext cx="2825" cy="30800"/>
              </a:xfrm>
              <a:custGeom>
                <a:avLst/>
                <a:gdLst/>
                <a:ahLst/>
                <a:cxnLst/>
                <a:rect l="l" t="t" r="r" b="b"/>
                <a:pathLst>
                  <a:path w="113" h="1232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13" y="1232"/>
                    </a:lnTo>
                    <a:lnTo>
                      <a:pt x="113" y="123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1" name="Google Shape;1961;p16">
                <a:extLst>
                  <a:ext uri="{FF2B5EF4-FFF2-40B4-BE49-F238E27FC236}">
                    <a16:creationId xmlns:a16="http://schemas.microsoft.com/office/drawing/2014/main" id="{C5C4C49C-25AC-320F-256E-5427223B2F06}"/>
                  </a:ext>
                </a:extLst>
              </p:cNvPr>
              <p:cNvSpPr/>
              <p:nvPr/>
            </p:nvSpPr>
            <p:spPr>
              <a:xfrm>
                <a:off x="5964800" y="1623350"/>
                <a:ext cx="139950" cy="86775"/>
              </a:xfrm>
              <a:custGeom>
                <a:avLst/>
                <a:gdLst/>
                <a:ahLst/>
                <a:cxnLst/>
                <a:rect l="l" t="t" r="r" b="b"/>
                <a:pathLst>
                  <a:path w="5598" h="3471" extrusionOk="0">
                    <a:moveTo>
                      <a:pt x="5598" y="1"/>
                    </a:moveTo>
                    <a:lnTo>
                      <a:pt x="5486" y="337"/>
                    </a:lnTo>
                    <a:lnTo>
                      <a:pt x="5150" y="672"/>
                    </a:lnTo>
                    <a:lnTo>
                      <a:pt x="4814" y="1008"/>
                    </a:lnTo>
                    <a:lnTo>
                      <a:pt x="4367" y="1344"/>
                    </a:lnTo>
                    <a:lnTo>
                      <a:pt x="3247" y="1904"/>
                    </a:lnTo>
                    <a:lnTo>
                      <a:pt x="2128" y="2240"/>
                    </a:lnTo>
                    <a:lnTo>
                      <a:pt x="1008" y="2352"/>
                    </a:lnTo>
                    <a:lnTo>
                      <a:pt x="1" y="2240"/>
                    </a:lnTo>
                    <a:lnTo>
                      <a:pt x="113" y="3471"/>
                    </a:lnTo>
                    <a:lnTo>
                      <a:pt x="896" y="3247"/>
                    </a:lnTo>
                    <a:lnTo>
                      <a:pt x="1680" y="2911"/>
                    </a:lnTo>
                    <a:lnTo>
                      <a:pt x="2687" y="2575"/>
                    </a:lnTo>
                    <a:lnTo>
                      <a:pt x="3583" y="2128"/>
                    </a:lnTo>
                    <a:lnTo>
                      <a:pt x="4478" y="1568"/>
                    </a:lnTo>
                    <a:lnTo>
                      <a:pt x="5262" y="784"/>
                    </a:lnTo>
                    <a:lnTo>
                      <a:pt x="5486" y="449"/>
                    </a:lnTo>
                    <a:lnTo>
                      <a:pt x="5598" y="1"/>
                    </a:lnTo>
                    <a:close/>
                  </a:path>
                </a:pathLst>
              </a:custGeom>
              <a:solidFill>
                <a:srgbClr val="3E3E3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2" name="Google Shape;1962;p16">
                <a:extLst>
                  <a:ext uri="{FF2B5EF4-FFF2-40B4-BE49-F238E27FC236}">
                    <a16:creationId xmlns:a16="http://schemas.microsoft.com/office/drawing/2014/main" id="{0804020E-3C7D-FDFF-5D72-B736183F3F92}"/>
                  </a:ext>
                </a:extLst>
              </p:cNvPr>
              <p:cNvSpPr/>
              <p:nvPr/>
            </p:nvSpPr>
            <p:spPr>
              <a:xfrm>
                <a:off x="5964800" y="1623350"/>
                <a:ext cx="139950" cy="86775"/>
              </a:xfrm>
              <a:custGeom>
                <a:avLst/>
                <a:gdLst/>
                <a:ahLst/>
                <a:cxnLst/>
                <a:rect l="l" t="t" r="r" b="b"/>
                <a:pathLst>
                  <a:path w="5598" h="3471" fill="none" extrusionOk="0">
                    <a:moveTo>
                      <a:pt x="5598" y="1"/>
                    </a:moveTo>
                    <a:lnTo>
                      <a:pt x="5598" y="1"/>
                    </a:lnTo>
                    <a:lnTo>
                      <a:pt x="5486" y="337"/>
                    </a:lnTo>
                    <a:lnTo>
                      <a:pt x="5150" y="672"/>
                    </a:lnTo>
                    <a:lnTo>
                      <a:pt x="5150" y="672"/>
                    </a:lnTo>
                    <a:lnTo>
                      <a:pt x="4814" y="1008"/>
                    </a:lnTo>
                    <a:lnTo>
                      <a:pt x="4367" y="1344"/>
                    </a:lnTo>
                    <a:lnTo>
                      <a:pt x="3247" y="1904"/>
                    </a:lnTo>
                    <a:lnTo>
                      <a:pt x="2128" y="2240"/>
                    </a:lnTo>
                    <a:lnTo>
                      <a:pt x="1008" y="2352"/>
                    </a:lnTo>
                    <a:lnTo>
                      <a:pt x="1008" y="2352"/>
                    </a:lnTo>
                    <a:lnTo>
                      <a:pt x="1" y="2240"/>
                    </a:lnTo>
                    <a:lnTo>
                      <a:pt x="1" y="2240"/>
                    </a:lnTo>
                    <a:lnTo>
                      <a:pt x="113" y="3471"/>
                    </a:lnTo>
                    <a:lnTo>
                      <a:pt x="113" y="3471"/>
                    </a:lnTo>
                    <a:lnTo>
                      <a:pt x="113" y="3471"/>
                    </a:lnTo>
                    <a:lnTo>
                      <a:pt x="113" y="3471"/>
                    </a:lnTo>
                    <a:lnTo>
                      <a:pt x="896" y="3247"/>
                    </a:lnTo>
                    <a:lnTo>
                      <a:pt x="1680" y="2911"/>
                    </a:lnTo>
                    <a:lnTo>
                      <a:pt x="2687" y="2575"/>
                    </a:lnTo>
                    <a:lnTo>
                      <a:pt x="3583" y="2128"/>
                    </a:lnTo>
                    <a:lnTo>
                      <a:pt x="4478" y="1568"/>
                    </a:lnTo>
                    <a:lnTo>
                      <a:pt x="5262" y="784"/>
                    </a:lnTo>
                    <a:lnTo>
                      <a:pt x="5486" y="449"/>
                    </a:lnTo>
                    <a:lnTo>
                      <a:pt x="5598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3" name="Google Shape;1963;p16">
                <a:extLst>
                  <a:ext uri="{FF2B5EF4-FFF2-40B4-BE49-F238E27FC236}">
                    <a16:creationId xmlns:a16="http://schemas.microsoft.com/office/drawing/2014/main" id="{9FFE3ADC-2885-6687-CCF4-AB7B58585391}"/>
                  </a:ext>
                </a:extLst>
              </p:cNvPr>
              <p:cNvSpPr/>
              <p:nvPr/>
            </p:nvSpPr>
            <p:spPr>
              <a:xfrm>
                <a:off x="5992800" y="1035675"/>
                <a:ext cx="310650" cy="582100"/>
              </a:xfrm>
              <a:custGeom>
                <a:avLst/>
                <a:gdLst/>
                <a:ahLst/>
                <a:cxnLst/>
                <a:rect l="l" t="t" r="r" b="b"/>
                <a:pathLst>
                  <a:path w="12426" h="23284" extrusionOk="0">
                    <a:moveTo>
                      <a:pt x="6493" y="1"/>
                    </a:moveTo>
                    <a:lnTo>
                      <a:pt x="5150" y="1008"/>
                    </a:lnTo>
                    <a:lnTo>
                      <a:pt x="3918" y="1792"/>
                    </a:lnTo>
                    <a:lnTo>
                      <a:pt x="2687" y="2575"/>
                    </a:lnTo>
                    <a:lnTo>
                      <a:pt x="112" y="17127"/>
                    </a:lnTo>
                    <a:lnTo>
                      <a:pt x="0" y="18359"/>
                    </a:lnTo>
                    <a:lnTo>
                      <a:pt x="112" y="19142"/>
                    </a:lnTo>
                    <a:lnTo>
                      <a:pt x="336" y="20150"/>
                    </a:lnTo>
                    <a:lnTo>
                      <a:pt x="784" y="21045"/>
                    </a:lnTo>
                    <a:lnTo>
                      <a:pt x="1008" y="21493"/>
                    </a:lnTo>
                    <a:lnTo>
                      <a:pt x="1456" y="21941"/>
                    </a:lnTo>
                    <a:lnTo>
                      <a:pt x="1791" y="22277"/>
                    </a:lnTo>
                    <a:lnTo>
                      <a:pt x="2351" y="22612"/>
                    </a:lnTo>
                    <a:lnTo>
                      <a:pt x="2911" y="22948"/>
                    </a:lnTo>
                    <a:lnTo>
                      <a:pt x="3694" y="23172"/>
                    </a:lnTo>
                    <a:lnTo>
                      <a:pt x="4814" y="23284"/>
                    </a:lnTo>
                    <a:lnTo>
                      <a:pt x="6045" y="23284"/>
                    </a:lnTo>
                    <a:lnTo>
                      <a:pt x="7164" y="23060"/>
                    </a:lnTo>
                    <a:lnTo>
                      <a:pt x="8396" y="22836"/>
                    </a:lnTo>
                    <a:lnTo>
                      <a:pt x="9291" y="22500"/>
                    </a:lnTo>
                    <a:lnTo>
                      <a:pt x="10075" y="22053"/>
                    </a:lnTo>
                    <a:lnTo>
                      <a:pt x="10523" y="21717"/>
                    </a:lnTo>
                    <a:lnTo>
                      <a:pt x="10523" y="21493"/>
                    </a:lnTo>
                    <a:lnTo>
                      <a:pt x="10523" y="21381"/>
                    </a:lnTo>
                    <a:lnTo>
                      <a:pt x="10411" y="21045"/>
                    </a:lnTo>
                    <a:lnTo>
                      <a:pt x="10523" y="20374"/>
                    </a:lnTo>
                    <a:lnTo>
                      <a:pt x="10858" y="18583"/>
                    </a:lnTo>
                    <a:lnTo>
                      <a:pt x="11530" y="15896"/>
                    </a:lnTo>
                    <a:lnTo>
                      <a:pt x="11978" y="12874"/>
                    </a:lnTo>
                    <a:lnTo>
                      <a:pt x="12202" y="11195"/>
                    </a:lnTo>
                    <a:lnTo>
                      <a:pt x="12426" y="9627"/>
                    </a:lnTo>
                    <a:lnTo>
                      <a:pt x="12426" y="7948"/>
                    </a:lnTo>
                    <a:lnTo>
                      <a:pt x="12314" y="6381"/>
                    </a:lnTo>
                    <a:lnTo>
                      <a:pt x="11978" y="4814"/>
                    </a:lnTo>
                    <a:lnTo>
                      <a:pt x="11530" y="3359"/>
                    </a:lnTo>
                    <a:lnTo>
                      <a:pt x="11306" y="2799"/>
                    </a:lnTo>
                    <a:lnTo>
                      <a:pt x="10970" y="2127"/>
                    </a:lnTo>
                    <a:lnTo>
                      <a:pt x="10523" y="1568"/>
                    </a:lnTo>
                    <a:lnTo>
                      <a:pt x="10075" y="1008"/>
                    </a:lnTo>
                    <a:lnTo>
                      <a:pt x="9851" y="896"/>
                    </a:lnTo>
                    <a:lnTo>
                      <a:pt x="9739" y="896"/>
                    </a:lnTo>
                    <a:lnTo>
                      <a:pt x="9403" y="1120"/>
                    </a:lnTo>
                    <a:lnTo>
                      <a:pt x="9179" y="1456"/>
                    </a:lnTo>
                    <a:lnTo>
                      <a:pt x="9067" y="1568"/>
                    </a:lnTo>
                    <a:lnTo>
                      <a:pt x="8732" y="1568"/>
                    </a:lnTo>
                    <a:lnTo>
                      <a:pt x="8396" y="1456"/>
                    </a:lnTo>
                    <a:lnTo>
                      <a:pt x="8060" y="1232"/>
                    </a:lnTo>
                    <a:lnTo>
                      <a:pt x="7612" y="560"/>
                    </a:lnTo>
                    <a:lnTo>
                      <a:pt x="7388" y="336"/>
                    </a:lnTo>
                    <a:lnTo>
                      <a:pt x="7052" y="113"/>
                    </a:lnTo>
                    <a:lnTo>
                      <a:pt x="6829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4" name="Google Shape;1964;p16">
                <a:extLst>
                  <a:ext uri="{FF2B5EF4-FFF2-40B4-BE49-F238E27FC236}">
                    <a16:creationId xmlns:a16="http://schemas.microsoft.com/office/drawing/2014/main" id="{BFD7DE98-071D-6580-D92E-95476F443360}"/>
                  </a:ext>
                </a:extLst>
              </p:cNvPr>
              <p:cNvSpPr/>
              <p:nvPr/>
            </p:nvSpPr>
            <p:spPr>
              <a:xfrm>
                <a:off x="5992800" y="1035675"/>
                <a:ext cx="310650" cy="582100"/>
              </a:xfrm>
              <a:custGeom>
                <a:avLst/>
                <a:gdLst/>
                <a:ahLst/>
                <a:cxnLst/>
                <a:rect l="l" t="t" r="r" b="b"/>
                <a:pathLst>
                  <a:path w="12426" h="23284" fill="none" extrusionOk="0">
                    <a:moveTo>
                      <a:pt x="6493" y="1"/>
                    </a:moveTo>
                    <a:lnTo>
                      <a:pt x="6493" y="1"/>
                    </a:lnTo>
                    <a:lnTo>
                      <a:pt x="6829" y="1"/>
                    </a:lnTo>
                    <a:lnTo>
                      <a:pt x="7052" y="113"/>
                    </a:lnTo>
                    <a:lnTo>
                      <a:pt x="7388" y="336"/>
                    </a:lnTo>
                    <a:lnTo>
                      <a:pt x="7612" y="560"/>
                    </a:lnTo>
                    <a:lnTo>
                      <a:pt x="8060" y="1232"/>
                    </a:lnTo>
                    <a:lnTo>
                      <a:pt x="8396" y="1456"/>
                    </a:lnTo>
                    <a:lnTo>
                      <a:pt x="8732" y="1568"/>
                    </a:lnTo>
                    <a:lnTo>
                      <a:pt x="8732" y="1568"/>
                    </a:lnTo>
                    <a:lnTo>
                      <a:pt x="9067" y="1568"/>
                    </a:lnTo>
                    <a:lnTo>
                      <a:pt x="9179" y="1456"/>
                    </a:lnTo>
                    <a:lnTo>
                      <a:pt x="9403" y="1120"/>
                    </a:lnTo>
                    <a:lnTo>
                      <a:pt x="9403" y="1120"/>
                    </a:lnTo>
                    <a:lnTo>
                      <a:pt x="9739" y="896"/>
                    </a:lnTo>
                    <a:lnTo>
                      <a:pt x="9851" y="896"/>
                    </a:lnTo>
                    <a:lnTo>
                      <a:pt x="10075" y="1008"/>
                    </a:lnTo>
                    <a:lnTo>
                      <a:pt x="10075" y="1008"/>
                    </a:lnTo>
                    <a:lnTo>
                      <a:pt x="10523" y="1568"/>
                    </a:lnTo>
                    <a:lnTo>
                      <a:pt x="10970" y="2127"/>
                    </a:lnTo>
                    <a:lnTo>
                      <a:pt x="11306" y="2799"/>
                    </a:lnTo>
                    <a:lnTo>
                      <a:pt x="11530" y="3359"/>
                    </a:lnTo>
                    <a:lnTo>
                      <a:pt x="11978" y="4814"/>
                    </a:lnTo>
                    <a:lnTo>
                      <a:pt x="12314" y="6381"/>
                    </a:lnTo>
                    <a:lnTo>
                      <a:pt x="12426" y="7948"/>
                    </a:lnTo>
                    <a:lnTo>
                      <a:pt x="12426" y="9627"/>
                    </a:lnTo>
                    <a:lnTo>
                      <a:pt x="12202" y="11195"/>
                    </a:lnTo>
                    <a:lnTo>
                      <a:pt x="11978" y="12874"/>
                    </a:lnTo>
                    <a:lnTo>
                      <a:pt x="11530" y="15896"/>
                    </a:lnTo>
                    <a:lnTo>
                      <a:pt x="10858" y="18583"/>
                    </a:lnTo>
                    <a:lnTo>
                      <a:pt x="10523" y="20374"/>
                    </a:lnTo>
                    <a:lnTo>
                      <a:pt x="10411" y="21045"/>
                    </a:lnTo>
                    <a:lnTo>
                      <a:pt x="10523" y="21381"/>
                    </a:lnTo>
                    <a:lnTo>
                      <a:pt x="10523" y="21381"/>
                    </a:lnTo>
                    <a:lnTo>
                      <a:pt x="10523" y="21493"/>
                    </a:lnTo>
                    <a:lnTo>
                      <a:pt x="10523" y="21717"/>
                    </a:lnTo>
                    <a:lnTo>
                      <a:pt x="10075" y="22053"/>
                    </a:lnTo>
                    <a:lnTo>
                      <a:pt x="9291" y="22500"/>
                    </a:lnTo>
                    <a:lnTo>
                      <a:pt x="8396" y="22836"/>
                    </a:lnTo>
                    <a:lnTo>
                      <a:pt x="7164" y="23060"/>
                    </a:lnTo>
                    <a:lnTo>
                      <a:pt x="6045" y="23284"/>
                    </a:lnTo>
                    <a:lnTo>
                      <a:pt x="4814" y="23284"/>
                    </a:lnTo>
                    <a:lnTo>
                      <a:pt x="3694" y="23172"/>
                    </a:lnTo>
                    <a:lnTo>
                      <a:pt x="3694" y="23172"/>
                    </a:lnTo>
                    <a:lnTo>
                      <a:pt x="2911" y="22948"/>
                    </a:lnTo>
                    <a:lnTo>
                      <a:pt x="2351" y="22612"/>
                    </a:lnTo>
                    <a:lnTo>
                      <a:pt x="1791" y="22277"/>
                    </a:lnTo>
                    <a:lnTo>
                      <a:pt x="1456" y="21941"/>
                    </a:lnTo>
                    <a:lnTo>
                      <a:pt x="1008" y="21493"/>
                    </a:lnTo>
                    <a:lnTo>
                      <a:pt x="784" y="21045"/>
                    </a:lnTo>
                    <a:lnTo>
                      <a:pt x="336" y="20150"/>
                    </a:lnTo>
                    <a:lnTo>
                      <a:pt x="112" y="19142"/>
                    </a:lnTo>
                    <a:lnTo>
                      <a:pt x="0" y="18359"/>
                    </a:lnTo>
                    <a:lnTo>
                      <a:pt x="112" y="17127"/>
                    </a:lnTo>
                    <a:lnTo>
                      <a:pt x="112" y="17127"/>
                    </a:lnTo>
                    <a:lnTo>
                      <a:pt x="2687" y="2575"/>
                    </a:lnTo>
                    <a:lnTo>
                      <a:pt x="2687" y="2575"/>
                    </a:lnTo>
                    <a:lnTo>
                      <a:pt x="3918" y="1792"/>
                    </a:lnTo>
                    <a:lnTo>
                      <a:pt x="5150" y="1008"/>
                    </a:lnTo>
                    <a:lnTo>
                      <a:pt x="649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5" name="Google Shape;1965;p16">
                <a:extLst>
                  <a:ext uri="{FF2B5EF4-FFF2-40B4-BE49-F238E27FC236}">
                    <a16:creationId xmlns:a16="http://schemas.microsoft.com/office/drawing/2014/main" id="{16C7A948-D458-6B6F-0676-A8E074BCDEF6}"/>
                  </a:ext>
                </a:extLst>
              </p:cNvPr>
              <p:cNvSpPr/>
              <p:nvPr/>
            </p:nvSpPr>
            <p:spPr>
              <a:xfrm>
                <a:off x="6219475" y="1060875"/>
                <a:ext cx="554125" cy="604475"/>
              </a:xfrm>
              <a:custGeom>
                <a:avLst/>
                <a:gdLst/>
                <a:ahLst/>
                <a:cxnLst/>
                <a:rect l="l" t="t" r="r" b="b"/>
                <a:pathLst>
                  <a:path w="22165" h="24179" extrusionOk="0">
                    <a:moveTo>
                      <a:pt x="1008" y="0"/>
                    </a:moveTo>
                    <a:lnTo>
                      <a:pt x="1008" y="112"/>
                    </a:lnTo>
                    <a:lnTo>
                      <a:pt x="896" y="784"/>
                    </a:lnTo>
                    <a:lnTo>
                      <a:pt x="1008" y="2015"/>
                    </a:lnTo>
                    <a:lnTo>
                      <a:pt x="1120" y="3358"/>
                    </a:lnTo>
                    <a:lnTo>
                      <a:pt x="1232" y="4478"/>
                    </a:lnTo>
                    <a:lnTo>
                      <a:pt x="1120" y="5597"/>
                    </a:lnTo>
                    <a:lnTo>
                      <a:pt x="896" y="6605"/>
                    </a:lnTo>
                    <a:lnTo>
                      <a:pt x="672" y="7724"/>
                    </a:lnTo>
                    <a:lnTo>
                      <a:pt x="448" y="8843"/>
                    </a:lnTo>
                    <a:lnTo>
                      <a:pt x="224" y="9963"/>
                    </a:lnTo>
                    <a:lnTo>
                      <a:pt x="112" y="11194"/>
                    </a:lnTo>
                    <a:lnTo>
                      <a:pt x="112" y="12537"/>
                    </a:lnTo>
                    <a:lnTo>
                      <a:pt x="224" y="14216"/>
                    </a:lnTo>
                    <a:lnTo>
                      <a:pt x="224" y="15784"/>
                    </a:lnTo>
                    <a:lnTo>
                      <a:pt x="112" y="18806"/>
                    </a:lnTo>
                    <a:lnTo>
                      <a:pt x="0" y="21492"/>
                    </a:lnTo>
                    <a:lnTo>
                      <a:pt x="112" y="22276"/>
                    </a:lnTo>
                    <a:lnTo>
                      <a:pt x="224" y="22948"/>
                    </a:lnTo>
                    <a:lnTo>
                      <a:pt x="336" y="23395"/>
                    </a:lnTo>
                    <a:lnTo>
                      <a:pt x="560" y="23731"/>
                    </a:lnTo>
                    <a:lnTo>
                      <a:pt x="1232" y="24067"/>
                    </a:lnTo>
                    <a:lnTo>
                      <a:pt x="1568" y="24179"/>
                    </a:lnTo>
                    <a:lnTo>
                      <a:pt x="2239" y="24179"/>
                    </a:lnTo>
                    <a:lnTo>
                      <a:pt x="2687" y="23955"/>
                    </a:lnTo>
                    <a:lnTo>
                      <a:pt x="3023" y="23731"/>
                    </a:lnTo>
                    <a:lnTo>
                      <a:pt x="3470" y="23283"/>
                    </a:lnTo>
                    <a:lnTo>
                      <a:pt x="3918" y="22724"/>
                    </a:lnTo>
                    <a:lnTo>
                      <a:pt x="4142" y="22164"/>
                    </a:lnTo>
                    <a:lnTo>
                      <a:pt x="4366" y="21045"/>
                    </a:lnTo>
                    <a:lnTo>
                      <a:pt x="4478" y="19813"/>
                    </a:lnTo>
                    <a:lnTo>
                      <a:pt x="4478" y="18582"/>
                    </a:lnTo>
                    <a:lnTo>
                      <a:pt x="4478" y="17239"/>
                    </a:lnTo>
                    <a:lnTo>
                      <a:pt x="4142" y="15000"/>
                    </a:lnTo>
                    <a:lnTo>
                      <a:pt x="4030" y="13433"/>
                    </a:lnTo>
                    <a:lnTo>
                      <a:pt x="3694" y="11194"/>
                    </a:lnTo>
                    <a:lnTo>
                      <a:pt x="3582" y="10410"/>
                    </a:lnTo>
                    <a:lnTo>
                      <a:pt x="3470" y="9403"/>
                    </a:lnTo>
                    <a:lnTo>
                      <a:pt x="3582" y="8396"/>
                    </a:lnTo>
                    <a:lnTo>
                      <a:pt x="3694" y="7612"/>
                    </a:lnTo>
                    <a:lnTo>
                      <a:pt x="3806" y="7500"/>
                    </a:lnTo>
                    <a:lnTo>
                      <a:pt x="3918" y="7388"/>
                    </a:lnTo>
                    <a:lnTo>
                      <a:pt x="4478" y="7388"/>
                    </a:lnTo>
                    <a:lnTo>
                      <a:pt x="5261" y="7612"/>
                    </a:lnTo>
                    <a:lnTo>
                      <a:pt x="7500" y="8507"/>
                    </a:lnTo>
                    <a:lnTo>
                      <a:pt x="8844" y="9067"/>
                    </a:lnTo>
                    <a:lnTo>
                      <a:pt x="10187" y="9627"/>
                    </a:lnTo>
                    <a:lnTo>
                      <a:pt x="11418" y="9963"/>
                    </a:lnTo>
                    <a:lnTo>
                      <a:pt x="12426" y="10187"/>
                    </a:lnTo>
                    <a:lnTo>
                      <a:pt x="12873" y="10075"/>
                    </a:lnTo>
                    <a:lnTo>
                      <a:pt x="13433" y="9963"/>
                    </a:lnTo>
                    <a:lnTo>
                      <a:pt x="14776" y="9291"/>
                    </a:lnTo>
                    <a:lnTo>
                      <a:pt x="16343" y="8396"/>
                    </a:lnTo>
                    <a:lnTo>
                      <a:pt x="17911" y="7388"/>
                    </a:lnTo>
                    <a:lnTo>
                      <a:pt x="20821" y="5485"/>
                    </a:lnTo>
                    <a:lnTo>
                      <a:pt x="22164" y="4478"/>
                    </a:lnTo>
                    <a:lnTo>
                      <a:pt x="22164" y="4142"/>
                    </a:lnTo>
                    <a:lnTo>
                      <a:pt x="22164" y="3582"/>
                    </a:lnTo>
                    <a:lnTo>
                      <a:pt x="21940" y="3022"/>
                    </a:lnTo>
                    <a:lnTo>
                      <a:pt x="21717" y="2463"/>
                    </a:lnTo>
                    <a:lnTo>
                      <a:pt x="21493" y="2015"/>
                    </a:lnTo>
                    <a:lnTo>
                      <a:pt x="21157" y="1567"/>
                    </a:lnTo>
                    <a:lnTo>
                      <a:pt x="20821" y="1343"/>
                    </a:lnTo>
                    <a:lnTo>
                      <a:pt x="20597" y="1343"/>
                    </a:lnTo>
                    <a:lnTo>
                      <a:pt x="20485" y="1455"/>
                    </a:lnTo>
                    <a:lnTo>
                      <a:pt x="16679" y="3694"/>
                    </a:lnTo>
                    <a:lnTo>
                      <a:pt x="14217" y="5037"/>
                    </a:lnTo>
                    <a:lnTo>
                      <a:pt x="13209" y="5485"/>
                    </a:lnTo>
                    <a:lnTo>
                      <a:pt x="12426" y="5597"/>
                    </a:lnTo>
                    <a:lnTo>
                      <a:pt x="11418" y="5485"/>
                    </a:lnTo>
                    <a:lnTo>
                      <a:pt x="10411" y="5149"/>
                    </a:lnTo>
                    <a:lnTo>
                      <a:pt x="9403" y="4702"/>
                    </a:lnTo>
                    <a:lnTo>
                      <a:pt x="8284" y="4030"/>
                    </a:lnTo>
                    <a:lnTo>
                      <a:pt x="5261" y="2239"/>
                    </a:lnTo>
                    <a:lnTo>
                      <a:pt x="3359" y="1231"/>
                    </a:lnTo>
                    <a:lnTo>
                      <a:pt x="1008" y="0"/>
                    </a:lnTo>
                    <a:close/>
                  </a:path>
                </a:pathLst>
              </a:custGeom>
              <a:solidFill>
                <a:srgbClr val="DB546A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6" name="Google Shape;1966;p16">
                <a:extLst>
                  <a:ext uri="{FF2B5EF4-FFF2-40B4-BE49-F238E27FC236}">
                    <a16:creationId xmlns:a16="http://schemas.microsoft.com/office/drawing/2014/main" id="{14991C00-181A-6890-F90D-9BD2747CB453}"/>
                  </a:ext>
                </a:extLst>
              </p:cNvPr>
              <p:cNvSpPr/>
              <p:nvPr/>
            </p:nvSpPr>
            <p:spPr>
              <a:xfrm>
                <a:off x="5928425" y="1035675"/>
                <a:ext cx="229500" cy="646475"/>
              </a:xfrm>
              <a:custGeom>
                <a:avLst/>
                <a:gdLst/>
                <a:ahLst/>
                <a:cxnLst/>
                <a:rect l="l" t="t" r="r" b="b"/>
                <a:pathLst>
                  <a:path w="9180" h="25859" extrusionOk="0">
                    <a:moveTo>
                      <a:pt x="9068" y="1"/>
                    </a:moveTo>
                    <a:lnTo>
                      <a:pt x="8396" y="113"/>
                    </a:lnTo>
                    <a:lnTo>
                      <a:pt x="6717" y="448"/>
                    </a:lnTo>
                    <a:lnTo>
                      <a:pt x="5710" y="896"/>
                    </a:lnTo>
                    <a:lnTo>
                      <a:pt x="4702" y="1344"/>
                    </a:lnTo>
                    <a:lnTo>
                      <a:pt x="3695" y="2016"/>
                    </a:lnTo>
                    <a:lnTo>
                      <a:pt x="2799" y="2799"/>
                    </a:lnTo>
                    <a:lnTo>
                      <a:pt x="2463" y="3247"/>
                    </a:lnTo>
                    <a:lnTo>
                      <a:pt x="2351" y="3807"/>
                    </a:lnTo>
                    <a:lnTo>
                      <a:pt x="2240" y="4366"/>
                    </a:lnTo>
                    <a:lnTo>
                      <a:pt x="2240" y="5150"/>
                    </a:lnTo>
                    <a:lnTo>
                      <a:pt x="2351" y="6605"/>
                    </a:lnTo>
                    <a:lnTo>
                      <a:pt x="2463" y="8172"/>
                    </a:lnTo>
                    <a:lnTo>
                      <a:pt x="2351" y="8508"/>
                    </a:lnTo>
                    <a:lnTo>
                      <a:pt x="2351" y="8620"/>
                    </a:lnTo>
                    <a:lnTo>
                      <a:pt x="2351" y="9851"/>
                    </a:lnTo>
                    <a:lnTo>
                      <a:pt x="2351" y="12090"/>
                    </a:lnTo>
                    <a:lnTo>
                      <a:pt x="2463" y="12426"/>
                    </a:lnTo>
                    <a:lnTo>
                      <a:pt x="2463" y="12874"/>
                    </a:lnTo>
                    <a:lnTo>
                      <a:pt x="2463" y="13545"/>
                    </a:lnTo>
                    <a:lnTo>
                      <a:pt x="2463" y="14105"/>
                    </a:lnTo>
                    <a:lnTo>
                      <a:pt x="2351" y="15000"/>
                    </a:lnTo>
                    <a:lnTo>
                      <a:pt x="2128" y="16232"/>
                    </a:lnTo>
                    <a:lnTo>
                      <a:pt x="1904" y="17463"/>
                    </a:lnTo>
                    <a:lnTo>
                      <a:pt x="1232" y="19814"/>
                    </a:lnTo>
                    <a:lnTo>
                      <a:pt x="448" y="22277"/>
                    </a:lnTo>
                    <a:lnTo>
                      <a:pt x="225" y="23396"/>
                    </a:lnTo>
                    <a:lnTo>
                      <a:pt x="1" y="24291"/>
                    </a:lnTo>
                    <a:lnTo>
                      <a:pt x="1" y="24963"/>
                    </a:lnTo>
                    <a:lnTo>
                      <a:pt x="113" y="25187"/>
                    </a:lnTo>
                    <a:lnTo>
                      <a:pt x="225" y="25299"/>
                    </a:lnTo>
                    <a:lnTo>
                      <a:pt x="1008" y="25635"/>
                    </a:lnTo>
                    <a:lnTo>
                      <a:pt x="1792" y="25859"/>
                    </a:lnTo>
                    <a:lnTo>
                      <a:pt x="2687" y="25859"/>
                    </a:lnTo>
                    <a:lnTo>
                      <a:pt x="3583" y="25747"/>
                    </a:lnTo>
                    <a:lnTo>
                      <a:pt x="4366" y="25523"/>
                    </a:lnTo>
                    <a:lnTo>
                      <a:pt x="5262" y="25187"/>
                    </a:lnTo>
                    <a:lnTo>
                      <a:pt x="6045" y="24739"/>
                    </a:lnTo>
                    <a:lnTo>
                      <a:pt x="6605" y="24179"/>
                    </a:lnTo>
                    <a:lnTo>
                      <a:pt x="6941" y="23732"/>
                    </a:lnTo>
                    <a:lnTo>
                      <a:pt x="7165" y="23284"/>
                    </a:lnTo>
                    <a:lnTo>
                      <a:pt x="7277" y="22836"/>
                    </a:lnTo>
                    <a:lnTo>
                      <a:pt x="7277" y="22277"/>
                    </a:lnTo>
                    <a:lnTo>
                      <a:pt x="7165" y="21157"/>
                    </a:lnTo>
                    <a:lnTo>
                      <a:pt x="7277" y="19814"/>
                    </a:lnTo>
                    <a:lnTo>
                      <a:pt x="7389" y="19030"/>
                    </a:lnTo>
                    <a:lnTo>
                      <a:pt x="7501" y="18135"/>
                    </a:lnTo>
                    <a:lnTo>
                      <a:pt x="8396" y="14889"/>
                    </a:lnTo>
                    <a:lnTo>
                      <a:pt x="8844" y="12986"/>
                    </a:lnTo>
                    <a:lnTo>
                      <a:pt x="9068" y="11306"/>
                    </a:lnTo>
                    <a:lnTo>
                      <a:pt x="9180" y="7724"/>
                    </a:lnTo>
                    <a:lnTo>
                      <a:pt x="9180" y="4366"/>
                    </a:lnTo>
                    <a:lnTo>
                      <a:pt x="9068" y="1680"/>
                    </a:lnTo>
                    <a:lnTo>
                      <a:pt x="9068" y="1"/>
                    </a:lnTo>
                    <a:close/>
                  </a:path>
                </a:pathLst>
              </a:custGeom>
              <a:solidFill>
                <a:srgbClr val="DB546A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7" name="Google Shape;1967;p16">
                <a:extLst>
                  <a:ext uri="{FF2B5EF4-FFF2-40B4-BE49-F238E27FC236}">
                    <a16:creationId xmlns:a16="http://schemas.microsoft.com/office/drawing/2014/main" id="{02510C61-51F4-DB39-1191-21FC3D66BCD1}"/>
                  </a:ext>
                </a:extLst>
              </p:cNvPr>
              <p:cNvSpPr/>
              <p:nvPr/>
            </p:nvSpPr>
            <p:spPr>
              <a:xfrm>
                <a:off x="5928425" y="1035675"/>
                <a:ext cx="229500" cy="646475"/>
              </a:xfrm>
              <a:custGeom>
                <a:avLst/>
                <a:gdLst/>
                <a:ahLst/>
                <a:cxnLst/>
                <a:rect l="l" t="t" r="r" b="b"/>
                <a:pathLst>
                  <a:path w="9180" h="25859" fill="none" extrusionOk="0">
                    <a:moveTo>
                      <a:pt x="225" y="25299"/>
                    </a:moveTo>
                    <a:lnTo>
                      <a:pt x="225" y="25299"/>
                    </a:lnTo>
                    <a:lnTo>
                      <a:pt x="1008" y="25635"/>
                    </a:lnTo>
                    <a:lnTo>
                      <a:pt x="1792" y="25859"/>
                    </a:lnTo>
                    <a:lnTo>
                      <a:pt x="2687" y="25859"/>
                    </a:lnTo>
                    <a:lnTo>
                      <a:pt x="3583" y="25747"/>
                    </a:lnTo>
                    <a:lnTo>
                      <a:pt x="4366" y="25523"/>
                    </a:lnTo>
                    <a:lnTo>
                      <a:pt x="5262" y="25187"/>
                    </a:lnTo>
                    <a:lnTo>
                      <a:pt x="6045" y="24739"/>
                    </a:lnTo>
                    <a:lnTo>
                      <a:pt x="6605" y="24179"/>
                    </a:lnTo>
                    <a:lnTo>
                      <a:pt x="6605" y="24179"/>
                    </a:lnTo>
                    <a:lnTo>
                      <a:pt x="6941" y="23732"/>
                    </a:lnTo>
                    <a:lnTo>
                      <a:pt x="7165" y="23284"/>
                    </a:lnTo>
                    <a:lnTo>
                      <a:pt x="7165" y="23284"/>
                    </a:lnTo>
                    <a:lnTo>
                      <a:pt x="7165" y="23284"/>
                    </a:lnTo>
                    <a:lnTo>
                      <a:pt x="7277" y="22836"/>
                    </a:lnTo>
                    <a:lnTo>
                      <a:pt x="7277" y="22277"/>
                    </a:lnTo>
                    <a:lnTo>
                      <a:pt x="7165" y="21157"/>
                    </a:lnTo>
                    <a:lnTo>
                      <a:pt x="7277" y="19814"/>
                    </a:lnTo>
                    <a:lnTo>
                      <a:pt x="7389" y="19030"/>
                    </a:lnTo>
                    <a:lnTo>
                      <a:pt x="7501" y="18135"/>
                    </a:lnTo>
                    <a:lnTo>
                      <a:pt x="7501" y="18135"/>
                    </a:lnTo>
                    <a:lnTo>
                      <a:pt x="8396" y="14889"/>
                    </a:lnTo>
                    <a:lnTo>
                      <a:pt x="8844" y="12986"/>
                    </a:lnTo>
                    <a:lnTo>
                      <a:pt x="9068" y="11306"/>
                    </a:lnTo>
                    <a:lnTo>
                      <a:pt x="9068" y="11306"/>
                    </a:lnTo>
                    <a:lnTo>
                      <a:pt x="9180" y="7724"/>
                    </a:lnTo>
                    <a:lnTo>
                      <a:pt x="9180" y="4366"/>
                    </a:lnTo>
                    <a:lnTo>
                      <a:pt x="9068" y="1680"/>
                    </a:lnTo>
                    <a:lnTo>
                      <a:pt x="9068" y="1"/>
                    </a:lnTo>
                    <a:lnTo>
                      <a:pt x="9068" y="1"/>
                    </a:lnTo>
                    <a:lnTo>
                      <a:pt x="9068" y="1"/>
                    </a:lnTo>
                    <a:lnTo>
                      <a:pt x="8396" y="113"/>
                    </a:lnTo>
                    <a:lnTo>
                      <a:pt x="6717" y="448"/>
                    </a:lnTo>
                    <a:lnTo>
                      <a:pt x="5710" y="896"/>
                    </a:lnTo>
                    <a:lnTo>
                      <a:pt x="4702" y="1344"/>
                    </a:lnTo>
                    <a:lnTo>
                      <a:pt x="3695" y="2016"/>
                    </a:lnTo>
                    <a:lnTo>
                      <a:pt x="2799" y="2799"/>
                    </a:lnTo>
                    <a:lnTo>
                      <a:pt x="2799" y="2799"/>
                    </a:lnTo>
                    <a:lnTo>
                      <a:pt x="2799" y="2799"/>
                    </a:lnTo>
                    <a:lnTo>
                      <a:pt x="2463" y="3247"/>
                    </a:lnTo>
                    <a:lnTo>
                      <a:pt x="2351" y="3807"/>
                    </a:lnTo>
                    <a:lnTo>
                      <a:pt x="2240" y="4366"/>
                    </a:lnTo>
                    <a:lnTo>
                      <a:pt x="2240" y="5150"/>
                    </a:lnTo>
                    <a:lnTo>
                      <a:pt x="2351" y="6605"/>
                    </a:lnTo>
                    <a:lnTo>
                      <a:pt x="2463" y="8172"/>
                    </a:lnTo>
                    <a:lnTo>
                      <a:pt x="2463" y="8172"/>
                    </a:lnTo>
                    <a:lnTo>
                      <a:pt x="2351" y="8508"/>
                    </a:lnTo>
                    <a:lnTo>
                      <a:pt x="2351" y="8620"/>
                    </a:lnTo>
                    <a:lnTo>
                      <a:pt x="2351" y="8620"/>
                    </a:lnTo>
                    <a:lnTo>
                      <a:pt x="2351" y="9851"/>
                    </a:lnTo>
                    <a:lnTo>
                      <a:pt x="2351" y="9851"/>
                    </a:lnTo>
                    <a:lnTo>
                      <a:pt x="2351" y="12090"/>
                    </a:lnTo>
                    <a:lnTo>
                      <a:pt x="2351" y="12090"/>
                    </a:lnTo>
                    <a:lnTo>
                      <a:pt x="2463" y="12426"/>
                    </a:lnTo>
                    <a:lnTo>
                      <a:pt x="2463" y="12426"/>
                    </a:lnTo>
                    <a:lnTo>
                      <a:pt x="2463" y="12874"/>
                    </a:lnTo>
                    <a:lnTo>
                      <a:pt x="2463" y="12874"/>
                    </a:lnTo>
                    <a:lnTo>
                      <a:pt x="2463" y="12874"/>
                    </a:lnTo>
                    <a:lnTo>
                      <a:pt x="2463" y="13545"/>
                    </a:lnTo>
                    <a:lnTo>
                      <a:pt x="2463" y="13545"/>
                    </a:lnTo>
                    <a:lnTo>
                      <a:pt x="2463" y="14105"/>
                    </a:lnTo>
                    <a:lnTo>
                      <a:pt x="2463" y="14105"/>
                    </a:lnTo>
                    <a:lnTo>
                      <a:pt x="2351" y="15000"/>
                    </a:lnTo>
                    <a:lnTo>
                      <a:pt x="2128" y="16232"/>
                    </a:lnTo>
                    <a:lnTo>
                      <a:pt x="2128" y="16232"/>
                    </a:lnTo>
                    <a:lnTo>
                      <a:pt x="1904" y="17463"/>
                    </a:lnTo>
                    <a:lnTo>
                      <a:pt x="1904" y="17463"/>
                    </a:lnTo>
                    <a:lnTo>
                      <a:pt x="1904" y="17463"/>
                    </a:lnTo>
                    <a:lnTo>
                      <a:pt x="1232" y="19814"/>
                    </a:lnTo>
                    <a:lnTo>
                      <a:pt x="448" y="22277"/>
                    </a:lnTo>
                    <a:lnTo>
                      <a:pt x="225" y="23396"/>
                    </a:lnTo>
                    <a:lnTo>
                      <a:pt x="1" y="24291"/>
                    </a:lnTo>
                    <a:lnTo>
                      <a:pt x="1" y="24963"/>
                    </a:lnTo>
                    <a:lnTo>
                      <a:pt x="113" y="25187"/>
                    </a:lnTo>
                    <a:lnTo>
                      <a:pt x="225" y="25299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8" name="Google Shape;1968;p16">
                <a:extLst>
                  <a:ext uri="{FF2B5EF4-FFF2-40B4-BE49-F238E27FC236}">
                    <a16:creationId xmlns:a16="http://schemas.microsoft.com/office/drawing/2014/main" id="{E6D2D034-F9C6-82B5-8D73-262EFF2413AC}"/>
                  </a:ext>
                </a:extLst>
              </p:cNvPr>
              <p:cNvSpPr/>
              <p:nvPr/>
            </p:nvSpPr>
            <p:spPr>
              <a:xfrm>
                <a:off x="5497475" y="1060875"/>
                <a:ext cx="649250" cy="293850"/>
              </a:xfrm>
              <a:custGeom>
                <a:avLst/>
                <a:gdLst/>
                <a:ahLst/>
                <a:cxnLst/>
                <a:rect l="l" t="t" r="r" b="b"/>
                <a:pathLst>
                  <a:path w="25970" h="11754" extrusionOk="0">
                    <a:moveTo>
                      <a:pt x="23060" y="0"/>
                    </a:moveTo>
                    <a:lnTo>
                      <a:pt x="22388" y="112"/>
                    </a:lnTo>
                    <a:lnTo>
                      <a:pt x="22164" y="224"/>
                    </a:lnTo>
                    <a:lnTo>
                      <a:pt x="21157" y="672"/>
                    </a:lnTo>
                    <a:lnTo>
                      <a:pt x="20709" y="896"/>
                    </a:lnTo>
                    <a:lnTo>
                      <a:pt x="20373" y="1119"/>
                    </a:lnTo>
                    <a:lnTo>
                      <a:pt x="20037" y="1343"/>
                    </a:lnTo>
                    <a:lnTo>
                      <a:pt x="19813" y="1455"/>
                    </a:lnTo>
                    <a:lnTo>
                      <a:pt x="17127" y="3134"/>
                    </a:lnTo>
                    <a:lnTo>
                      <a:pt x="14440" y="4813"/>
                    </a:lnTo>
                    <a:lnTo>
                      <a:pt x="10746" y="7276"/>
                    </a:lnTo>
                    <a:lnTo>
                      <a:pt x="10299" y="7500"/>
                    </a:lnTo>
                    <a:lnTo>
                      <a:pt x="9851" y="7612"/>
                    </a:lnTo>
                    <a:lnTo>
                      <a:pt x="8507" y="7724"/>
                    </a:lnTo>
                    <a:lnTo>
                      <a:pt x="6940" y="7724"/>
                    </a:lnTo>
                    <a:lnTo>
                      <a:pt x="5261" y="7612"/>
                    </a:lnTo>
                    <a:lnTo>
                      <a:pt x="2351" y="7500"/>
                    </a:lnTo>
                    <a:lnTo>
                      <a:pt x="1231" y="7612"/>
                    </a:lnTo>
                    <a:lnTo>
                      <a:pt x="336" y="7724"/>
                    </a:lnTo>
                    <a:lnTo>
                      <a:pt x="112" y="7948"/>
                    </a:lnTo>
                    <a:lnTo>
                      <a:pt x="0" y="8396"/>
                    </a:lnTo>
                    <a:lnTo>
                      <a:pt x="0" y="9515"/>
                    </a:lnTo>
                    <a:lnTo>
                      <a:pt x="0" y="10187"/>
                    </a:lnTo>
                    <a:lnTo>
                      <a:pt x="112" y="10746"/>
                    </a:lnTo>
                    <a:lnTo>
                      <a:pt x="336" y="11194"/>
                    </a:lnTo>
                    <a:lnTo>
                      <a:pt x="560" y="11418"/>
                    </a:lnTo>
                    <a:lnTo>
                      <a:pt x="2687" y="11530"/>
                    </a:lnTo>
                    <a:lnTo>
                      <a:pt x="6269" y="11754"/>
                    </a:lnTo>
                    <a:lnTo>
                      <a:pt x="10746" y="11754"/>
                    </a:lnTo>
                    <a:lnTo>
                      <a:pt x="11306" y="11642"/>
                    </a:lnTo>
                    <a:lnTo>
                      <a:pt x="13769" y="10522"/>
                    </a:lnTo>
                    <a:lnTo>
                      <a:pt x="16119" y="9291"/>
                    </a:lnTo>
                    <a:lnTo>
                      <a:pt x="18134" y="8172"/>
                    </a:lnTo>
                    <a:lnTo>
                      <a:pt x="19478" y="7276"/>
                    </a:lnTo>
                    <a:lnTo>
                      <a:pt x="19589" y="7164"/>
                    </a:lnTo>
                    <a:lnTo>
                      <a:pt x="20597" y="6493"/>
                    </a:lnTo>
                    <a:lnTo>
                      <a:pt x="21716" y="5597"/>
                    </a:lnTo>
                    <a:lnTo>
                      <a:pt x="22724" y="4925"/>
                    </a:lnTo>
                    <a:lnTo>
                      <a:pt x="23731" y="4254"/>
                    </a:lnTo>
                    <a:lnTo>
                      <a:pt x="23843" y="4142"/>
                    </a:lnTo>
                    <a:lnTo>
                      <a:pt x="24403" y="3806"/>
                    </a:lnTo>
                    <a:lnTo>
                      <a:pt x="24963" y="3358"/>
                    </a:lnTo>
                    <a:lnTo>
                      <a:pt x="25410" y="2911"/>
                    </a:lnTo>
                    <a:lnTo>
                      <a:pt x="25858" y="2239"/>
                    </a:lnTo>
                    <a:lnTo>
                      <a:pt x="25970" y="1903"/>
                    </a:lnTo>
                    <a:lnTo>
                      <a:pt x="25858" y="1679"/>
                    </a:lnTo>
                    <a:lnTo>
                      <a:pt x="25746" y="1343"/>
                    </a:lnTo>
                    <a:lnTo>
                      <a:pt x="25522" y="1008"/>
                    </a:lnTo>
                    <a:lnTo>
                      <a:pt x="24963" y="560"/>
                    </a:lnTo>
                    <a:lnTo>
                      <a:pt x="24067" y="224"/>
                    </a:lnTo>
                    <a:lnTo>
                      <a:pt x="23619" y="112"/>
                    </a:lnTo>
                    <a:lnTo>
                      <a:pt x="23060" y="0"/>
                    </a:lnTo>
                    <a:close/>
                  </a:path>
                </a:pathLst>
              </a:custGeom>
              <a:solidFill>
                <a:srgbClr val="DB546A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9" name="Google Shape;1969;p16">
                <a:extLst>
                  <a:ext uri="{FF2B5EF4-FFF2-40B4-BE49-F238E27FC236}">
                    <a16:creationId xmlns:a16="http://schemas.microsoft.com/office/drawing/2014/main" id="{3AD9879B-B7FB-A293-75B7-BE30BBFF32C2}"/>
                  </a:ext>
                </a:extLst>
              </p:cNvPr>
              <p:cNvSpPr/>
              <p:nvPr/>
            </p:nvSpPr>
            <p:spPr>
              <a:xfrm>
                <a:off x="5497475" y="1060875"/>
                <a:ext cx="649250" cy="293850"/>
              </a:xfrm>
              <a:custGeom>
                <a:avLst/>
                <a:gdLst/>
                <a:ahLst/>
                <a:cxnLst/>
                <a:rect l="l" t="t" r="r" b="b"/>
                <a:pathLst>
                  <a:path w="25970" h="11754" fill="none" extrusionOk="0">
                    <a:moveTo>
                      <a:pt x="336" y="7724"/>
                    </a:moveTo>
                    <a:lnTo>
                      <a:pt x="336" y="7724"/>
                    </a:lnTo>
                    <a:lnTo>
                      <a:pt x="112" y="7948"/>
                    </a:lnTo>
                    <a:lnTo>
                      <a:pt x="0" y="8396"/>
                    </a:lnTo>
                    <a:lnTo>
                      <a:pt x="0" y="9515"/>
                    </a:lnTo>
                    <a:lnTo>
                      <a:pt x="0" y="10187"/>
                    </a:lnTo>
                    <a:lnTo>
                      <a:pt x="112" y="10746"/>
                    </a:lnTo>
                    <a:lnTo>
                      <a:pt x="336" y="11194"/>
                    </a:lnTo>
                    <a:lnTo>
                      <a:pt x="560" y="11418"/>
                    </a:lnTo>
                    <a:lnTo>
                      <a:pt x="560" y="11418"/>
                    </a:lnTo>
                    <a:lnTo>
                      <a:pt x="2687" y="11530"/>
                    </a:lnTo>
                    <a:lnTo>
                      <a:pt x="6269" y="11754"/>
                    </a:lnTo>
                    <a:lnTo>
                      <a:pt x="9627" y="11754"/>
                    </a:lnTo>
                    <a:lnTo>
                      <a:pt x="10746" y="11754"/>
                    </a:lnTo>
                    <a:lnTo>
                      <a:pt x="11306" y="11642"/>
                    </a:lnTo>
                    <a:lnTo>
                      <a:pt x="11306" y="11642"/>
                    </a:lnTo>
                    <a:lnTo>
                      <a:pt x="13769" y="10522"/>
                    </a:lnTo>
                    <a:lnTo>
                      <a:pt x="16119" y="9291"/>
                    </a:lnTo>
                    <a:lnTo>
                      <a:pt x="18134" y="8172"/>
                    </a:lnTo>
                    <a:lnTo>
                      <a:pt x="19478" y="7276"/>
                    </a:lnTo>
                    <a:lnTo>
                      <a:pt x="19478" y="7276"/>
                    </a:lnTo>
                    <a:lnTo>
                      <a:pt x="19589" y="7164"/>
                    </a:lnTo>
                    <a:lnTo>
                      <a:pt x="19589" y="7164"/>
                    </a:lnTo>
                    <a:lnTo>
                      <a:pt x="20597" y="6493"/>
                    </a:lnTo>
                    <a:lnTo>
                      <a:pt x="20597" y="6493"/>
                    </a:lnTo>
                    <a:lnTo>
                      <a:pt x="21716" y="5597"/>
                    </a:lnTo>
                    <a:lnTo>
                      <a:pt x="21716" y="5597"/>
                    </a:lnTo>
                    <a:lnTo>
                      <a:pt x="22724" y="4925"/>
                    </a:lnTo>
                    <a:lnTo>
                      <a:pt x="23731" y="4254"/>
                    </a:lnTo>
                    <a:lnTo>
                      <a:pt x="23731" y="4254"/>
                    </a:lnTo>
                    <a:lnTo>
                      <a:pt x="23843" y="4142"/>
                    </a:lnTo>
                    <a:lnTo>
                      <a:pt x="23843" y="4142"/>
                    </a:lnTo>
                    <a:lnTo>
                      <a:pt x="24403" y="3806"/>
                    </a:lnTo>
                    <a:lnTo>
                      <a:pt x="24403" y="3806"/>
                    </a:lnTo>
                    <a:lnTo>
                      <a:pt x="24963" y="3358"/>
                    </a:lnTo>
                    <a:lnTo>
                      <a:pt x="24963" y="3358"/>
                    </a:lnTo>
                    <a:lnTo>
                      <a:pt x="25410" y="2911"/>
                    </a:lnTo>
                    <a:lnTo>
                      <a:pt x="25410" y="2911"/>
                    </a:lnTo>
                    <a:lnTo>
                      <a:pt x="25858" y="2239"/>
                    </a:lnTo>
                    <a:lnTo>
                      <a:pt x="25858" y="2239"/>
                    </a:lnTo>
                    <a:lnTo>
                      <a:pt x="25970" y="1903"/>
                    </a:lnTo>
                    <a:lnTo>
                      <a:pt x="25858" y="1679"/>
                    </a:lnTo>
                    <a:lnTo>
                      <a:pt x="25746" y="1343"/>
                    </a:lnTo>
                    <a:lnTo>
                      <a:pt x="25522" y="1008"/>
                    </a:lnTo>
                    <a:lnTo>
                      <a:pt x="24963" y="560"/>
                    </a:lnTo>
                    <a:lnTo>
                      <a:pt x="24067" y="224"/>
                    </a:lnTo>
                    <a:lnTo>
                      <a:pt x="24067" y="224"/>
                    </a:lnTo>
                    <a:lnTo>
                      <a:pt x="23619" y="112"/>
                    </a:lnTo>
                    <a:lnTo>
                      <a:pt x="23060" y="0"/>
                    </a:lnTo>
                    <a:lnTo>
                      <a:pt x="23060" y="0"/>
                    </a:lnTo>
                    <a:lnTo>
                      <a:pt x="22388" y="112"/>
                    </a:lnTo>
                    <a:lnTo>
                      <a:pt x="22388" y="112"/>
                    </a:lnTo>
                    <a:lnTo>
                      <a:pt x="22388" y="112"/>
                    </a:lnTo>
                    <a:lnTo>
                      <a:pt x="22164" y="224"/>
                    </a:lnTo>
                    <a:lnTo>
                      <a:pt x="22164" y="224"/>
                    </a:lnTo>
                    <a:lnTo>
                      <a:pt x="21157" y="672"/>
                    </a:lnTo>
                    <a:lnTo>
                      <a:pt x="21157" y="672"/>
                    </a:lnTo>
                    <a:lnTo>
                      <a:pt x="20709" y="896"/>
                    </a:lnTo>
                    <a:lnTo>
                      <a:pt x="20709" y="896"/>
                    </a:lnTo>
                    <a:lnTo>
                      <a:pt x="20373" y="1119"/>
                    </a:lnTo>
                    <a:lnTo>
                      <a:pt x="20373" y="1119"/>
                    </a:lnTo>
                    <a:lnTo>
                      <a:pt x="20037" y="1343"/>
                    </a:lnTo>
                    <a:lnTo>
                      <a:pt x="20037" y="1343"/>
                    </a:lnTo>
                    <a:lnTo>
                      <a:pt x="19813" y="1455"/>
                    </a:lnTo>
                    <a:lnTo>
                      <a:pt x="19813" y="1455"/>
                    </a:lnTo>
                    <a:lnTo>
                      <a:pt x="17127" y="3134"/>
                    </a:lnTo>
                    <a:lnTo>
                      <a:pt x="14440" y="4813"/>
                    </a:lnTo>
                    <a:lnTo>
                      <a:pt x="10746" y="7276"/>
                    </a:lnTo>
                    <a:lnTo>
                      <a:pt x="10746" y="7276"/>
                    </a:lnTo>
                    <a:lnTo>
                      <a:pt x="10299" y="7500"/>
                    </a:lnTo>
                    <a:lnTo>
                      <a:pt x="9851" y="7612"/>
                    </a:lnTo>
                    <a:lnTo>
                      <a:pt x="8507" y="7724"/>
                    </a:lnTo>
                    <a:lnTo>
                      <a:pt x="6940" y="7724"/>
                    </a:lnTo>
                    <a:lnTo>
                      <a:pt x="5261" y="7612"/>
                    </a:lnTo>
                    <a:lnTo>
                      <a:pt x="5261" y="7612"/>
                    </a:lnTo>
                    <a:lnTo>
                      <a:pt x="2351" y="7500"/>
                    </a:lnTo>
                    <a:lnTo>
                      <a:pt x="1231" y="7612"/>
                    </a:lnTo>
                    <a:lnTo>
                      <a:pt x="336" y="7724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0" name="Google Shape;1970;p16">
                <a:extLst>
                  <a:ext uri="{FF2B5EF4-FFF2-40B4-BE49-F238E27FC236}">
                    <a16:creationId xmlns:a16="http://schemas.microsoft.com/office/drawing/2014/main" id="{FF065417-D341-E62C-31CF-323779B3F620}"/>
                  </a:ext>
                </a:extLst>
              </p:cNvPr>
              <p:cNvSpPr/>
              <p:nvPr/>
            </p:nvSpPr>
            <p:spPr>
              <a:xfrm>
                <a:off x="5987200" y="1239975"/>
                <a:ext cx="2825" cy="8425"/>
              </a:xfrm>
              <a:custGeom>
                <a:avLst/>
                <a:gdLst/>
                <a:ahLst/>
                <a:cxnLst/>
                <a:rect l="l" t="t" r="r" b="b"/>
                <a:pathLst>
                  <a:path w="113" h="337" extrusionOk="0">
                    <a:moveTo>
                      <a:pt x="0" y="0"/>
                    </a:moveTo>
                    <a:lnTo>
                      <a:pt x="0" y="336"/>
                    </a:lnTo>
                    <a:lnTo>
                      <a:pt x="112" y="0"/>
                    </a:lnTo>
                    <a:close/>
                  </a:path>
                </a:pathLst>
              </a:custGeom>
              <a:solidFill>
                <a:srgbClr val="B1ADB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1" name="Google Shape;1971;p16">
                <a:extLst>
                  <a:ext uri="{FF2B5EF4-FFF2-40B4-BE49-F238E27FC236}">
                    <a16:creationId xmlns:a16="http://schemas.microsoft.com/office/drawing/2014/main" id="{B6F86BC5-1C80-3FF8-8E90-9F86F2ABECF1}"/>
                  </a:ext>
                </a:extLst>
              </p:cNvPr>
              <p:cNvSpPr/>
              <p:nvPr/>
            </p:nvSpPr>
            <p:spPr>
              <a:xfrm>
                <a:off x="5987200" y="1239975"/>
                <a:ext cx="2825" cy="53200"/>
              </a:xfrm>
              <a:custGeom>
                <a:avLst/>
                <a:gdLst/>
                <a:ahLst/>
                <a:cxnLst/>
                <a:rect l="l" t="t" r="r" b="b"/>
                <a:pathLst>
                  <a:path w="113" h="2128" fill="none" extrusionOk="0">
                    <a:moveTo>
                      <a:pt x="112" y="0"/>
                    </a:moveTo>
                    <a:lnTo>
                      <a:pt x="11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343"/>
                    </a:lnTo>
                    <a:lnTo>
                      <a:pt x="0" y="1343"/>
                    </a:lnTo>
                    <a:lnTo>
                      <a:pt x="0" y="2127"/>
                    </a:lnTo>
                    <a:lnTo>
                      <a:pt x="0" y="2127"/>
                    </a:lnTo>
                    <a:lnTo>
                      <a:pt x="0" y="1679"/>
                    </a:lnTo>
                    <a:lnTo>
                      <a:pt x="0" y="1679"/>
                    </a:lnTo>
                    <a:lnTo>
                      <a:pt x="0" y="448"/>
                    </a:lnTo>
                    <a:lnTo>
                      <a:pt x="0" y="336"/>
                    </a:lnTo>
                    <a:lnTo>
                      <a:pt x="0" y="336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1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2" name="Google Shape;1972;p16">
                <a:extLst>
                  <a:ext uri="{FF2B5EF4-FFF2-40B4-BE49-F238E27FC236}">
                    <a16:creationId xmlns:a16="http://schemas.microsoft.com/office/drawing/2014/main" id="{7DCF0190-3265-858B-70D7-59F6879A9356}"/>
                  </a:ext>
                </a:extLst>
              </p:cNvPr>
              <p:cNvSpPr/>
              <p:nvPr/>
            </p:nvSpPr>
            <p:spPr>
              <a:xfrm>
                <a:off x="5987200" y="1195200"/>
                <a:ext cx="61600" cy="139950"/>
              </a:xfrm>
              <a:custGeom>
                <a:avLst/>
                <a:gdLst/>
                <a:ahLst/>
                <a:cxnLst/>
                <a:rect l="l" t="t" r="r" b="b"/>
                <a:pathLst>
                  <a:path w="2464" h="5598" extrusionOk="0">
                    <a:moveTo>
                      <a:pt x="2463" y="0"/>
                    </a:moveTo>
                    <a:lnTo>
                      <a:pt x="2127" y="224"/>
                    </a:lnTo>
                    <a:lnTo>
                      <a:pt x="1456" y="784"/>
                    </a:lnTo>
                    <a:lnTo>
                      <a:pt x="1344" y="896"/>
                    </a:lnTo>
                    <a:lnTo>
                      <a:pt x="1008" y="1120"/>
                    </a:lnTo>
                    <a:lnTo>
                      <a:pt x="112" y="1791"/>
                    </a:lnTo>
                    <a:lnTo>
                      <a:pt x="0" y="2127"/>
                    </a:lnTo>
                    <a:lnTo>
                      <a:pt x="0" y="2239"/>
                    </a:lnTo>
                    <a:lnTo>
                      <a:pt x="0" y="3470"/>
                    </a:lnTo>
                    <a:lnTo>
                      <a:pt x="0" y="3918"/>
                    </a:lnTo>
                    <a:lnTo>
                      <a:pt x="0" y="5261"/>
                    </a:lnTo>
                    <a:lnTo>
                      <a:pt x="112" y="5597"/>
                    </a:lnTo>
                    <a:lnTo>
                      <a:pt x="448" y="4925"/>
                    </a:lnTo>
                    <a:lnTo>
                      <a:pt x="1232" y="3358"/>
                    </a:lnTo>
                    <a:lnTo>
                      <a:pt x="1791" y="1903"/>
                    </a:lnTo>
                    <a:lnTo>
                      <a:pt x="2463" y="0"/>
                    </a:lnTo>
                    <a:close/>
                  </a:path>
                </a:pathLst>
              </a:custGeom>
              <a:solidFill>
                <a:srgbClr val="A4465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3" name="Google Shape;1973;p16">
                <a:extLst>
                  <a:ext uri="{FF2B5EF4-FFF2-40B4-BE49-F238E27FC236}">
                    <a16:creationId xmlns:a16="http://schemas.microsoft.com/office/drawing/2014/main" id="{51695994-A27D-4A5C-B932-6F6B88A9441E}"/>
                  </a:ext>
                </a:extLst>
              </p:cNvPr>
              <p:cNvSpPr/>
              <p:nvPr/>
            </p:nvSpPr>
            <p:spPr>
              <a:xfrm>
                <a:off x="5987200" y="1195200"/>
                <a:ext cx="61600" cy="139950"/>
              </a:xfrm>
              <a:custGeom>
                <a:avLst/>
                <a:gdLst/>
                <a:ahLst/>
                <a:cxnLst/>
                <a:rect l="l" t="t" r="r" b="b"/>
                <a:pathLst>
                  <a:path w="2464" h="5598" fill="none" extrusionOk="0">
                    <a:moveTo>
                      <a:pt x="2463" y="0"/>
                    </a:moveTo>
                    <a:lnTo>
                      <a:pt x="2127" y="224"/>
                    </a:lnTo>
                    <a:lnTo>
                      <a:pt x="1456" y="784"/>
                    </a:lnTo>
                    <a:lnTo>
                      <a:pt x="1344" y="896"/>
                    </a:lnTo>
                    <a:lnTo>
                      <a:pt x="1344" y="896"/>
                    </a:lnTo>
                    <a:lnTo>
                      <a:pt x="1008" y="1120"/>
                    </a:lnTo>
                    <a:lnTo>
                      <a:pt x="1008" y="1120"/>
                    </a:lnTo>
                    <a:lnTo>
                      <a:pt x="112" y="1791"/>
                    </a:lnTo>
                    <a:lnTo>
                      <a:pt x="112" y="1791"/>
                    </a:lnTo>
                    <a:lnTo>
                      <a:pt x="112" y="1791"/>
                    </a:lnTo>
                    <a:lnTo>
                      <a:pt x="112" y="1791"/>
                    </a:lnTo>
                    <a:lnTo>
                      <a:pt x="0" y="2127"/>
                    </a:lnTo>
                    <a:lnTo>
                      <a:pt x="0" y="2239"/>
                    </a:lnTo>
                    <a:lnTo>
                      <a:pt x="0" y="2239"/>
                    </a:lnTo>
                    <a:lnTo>
                      <a:pt x="0" y="3470"/>
                    </a:lnTo>
                    <a:lnTo>
                      <a:pt x="0" y="3470"/>
                    </a:lnTo>
                    <a:lnTo>
                      <a:pt x="0" y="3918"/>
                    </a:lnTo>
                    <a:lnTo>
                      <a:pt x="0" y="3918"/>
                    </a:lnTo>
                    <a:lnTo>
                      <a:pt x="0" y="5261"/>
                    </a:lnTo>
                    <a:lnTo>
                      <a:pt x="0" y="5261"/>
                    </a:lnTo>
                    <a:lnTo>
                      <a:pt x="112" y="5597"/>
                    </a:lnTo>
                    <a:lnTo>
                      <a:pt x="112" y="5597"/>
                    </a:lnTo>
                    <a:lnTo>
                      <a:pt x="448" y="4925"/>
                    </a:lnTo>
                    <a:lnTo>
                      <a:pt x="448" y="4925"/>
                    </a:lnTo>
                    <a:lnTo>
                      <a:pt x="1232" y="3358"/>
                    </a:lnTo>
                    <a:lnTo>
                      <a:pt x="1791" y="1903"/>
                    </a:lnTo>
                    <a:lnTo>
                      <a:pt x="1791" y="1903"/>
                    </a:lnTo>
                    <a:lnTo>
                      <a:pt x="2463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4" name="Google Shape;1974;p16">
                <a:extLst>
                  <a:ext uri="{FF2B5EF4-FFF2-40B4-BE49-F238E27FC236}">
                    <a16:creationId xmlns:a16="http://schemas.microsoft.com/office/drawing/2014/main" id="{2568A620-2E1A-4B95-66BA-86A7A471EA23}"/>
                  </a:ext>
                </a:extLst>
              </p:cNvPr>
              <p:cNvSpPr/>
              <p:nvPr/>
            </p:nvSpPr>
            <p:spPr>
              <a:xfrm>
                <a:off x="5984400" y="1223175"/>
                <a:ext cx="28000" cy="19625"/>
              </a:xfrm>
              <a:custGeom>
                <a:avLst/>
                <a:gdLst/>
                <a:ahLst/>
                <a:cxnLst/>
                <a:rect l="l" t="t" r="r" b="b"/>
                <a:pathLst>
                  <a:path w="1120" h="785" extrusionOk="0">
                    <a:moveTo>
                      <a:pt x="1120" y="1"/>
                    </a:moveTo>
                    <a:lnTo>
                      <a:pt x="112" y="672"/>
                    </a:lnTo>
                    <a:lnTo>
                      <a:pt x="224" y="672"/>
                    </a:lnTo>
                    <a:lnTo>
                      <a:pt x="1120" y="1"/>
                    </a:lnTo>
                    <a:close/>
                    <a:moveTo>
                      <a:pt x="1" y="672"/>
                    </a:moveTo>
                    <a:lnTo>
                      <a:pt x="1" y="784"/>
                    </a:lnTo>
                    <a:lnTo>
                      <a:pt x="112" y="672"/>
                    </a:lnTo>
                    <a:close/>
                  </a:path>
                </a:pathLst>
              </a:custGeom>
              <a:solidFill>
                <a:srgbClr val="A4465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5" name="Google Shape;1975;p16">
                <a:extLst>
                  <a:ext uri="{FF2B5EF4-FFF2-40B4-BE49-F238E27FC236}">
                    <a16:creationId xmlns:a16="http://schemas.microsoft.com/office/drawing/2014/main" id="{C71A1314-527E-EBD0-790B-B8010A926F2A}"/>
                  </a:ext>
                </a:extLst>
              </p:cNvPr>
              <p:cNvSpPr/>
              <p:nvPr/>
            </p:nvSpPr>
            <p:spPr>
              <a:xfrm>
                <a:off x="5984400" y="1217575"/>
                <a:ext cx="36400" cy="25225"/>
              </a:xfrm>
              <a:custGeom>
                <a:avLst/>
                <a:gdLst/>
                <a:ahLst/>
                <a:cxnLst/>
                <a:rect l="l" t="t" r="r" b="b"/>
                <a:pathLst>
                  <a:path w="1456" h="1009" fill="none" extrusionOk="0">
                    <a:moveTo>
                      <a:pt x="1456" y="1"/>
                    </a:moveTo>
                    <a:lnTo>
                      <a:pt x="1120" y="225"/>
                    </a:lnTo>
                    <a:lnTo>
                      <a:pt x="112" y="896"/>
                    </a:lnTo>
                    <a:lnTo>
                      <a:pt x="1" y="896"/>
                    </a:lnTo>
                    <a:lnTo>
                      <a:pt x="1" y="896"/>
                    </a:lnTo>
                    <a:lnTo>
                      <a:pt x="1" y="1008"/>
                    </a:lnTo>
                    <a:lnTo>
                      <a:pt x="1" y="1008"/>
                    </a:lnTo>
                    <a:lnTo>
                      <a:pt x="112" y="896"/>
                    </a:lnTo>
                    <a:lnTo>
                      <a:pt x="112" y="896"/>
                    </a:lnTo>
                    <a:lnTo>
                      <a:pt x="112" y="896"/>
                    </a:lnTo>
                    <a:lnTo>
                      <a:pt x="112" y="896"/>
                    </a:lnTo>
                    <a:lnTo>
                      <a:pt x="112" y="896"/>
                    </a:lnTo>
                    <a:lnTo>
                      <a:pt x="112" y="896"/>
                    </a:lnTo>
                    <a:lnTo>
                      <a:pt x="224" y="896"/>
                    </a:lnTo>
                    <a:lnTo>
                      <a:pt x="224" y="896"/>
                    </a:lnTo>
                    <a:lnTo>
                      <a:pt x="1120" y="225"/>
                    </a:lnTo>
                    <a:lnTo>
                      <a:pt x="1120" y="225"/>
                    </a:lnTo>
                    <a:lnTo>
                      <a:pt x="1456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6" name="Google Shape;1976;p16">
                <a:extLst>
                  <a:ext uri="{FF2B5EF4-FFF2-40B4-BE49-F238E27FC236}">
                    <a16:creationId xmlns:a16="http://schemas.microsoft.com/office/drawing/2014/main" id="{B2126EEE-7F84-84FF-7AB8-29BAC0F34FCF}"/>
                  </a:ext>
                </a:extLst>
              </p:cNvPr>
              <p:cNvSpPr/>
              <p:nvPr/>
            </p:nvSpPr>
            <p:spPr>
              <a:xfrm>
                <a:off x="6197075" y="1069250"/>
                <a:ext cx="8425" cy="2825"/>
              </a:xfrm>
              <a:custGeom>
                <a:avLst/>
                <a:gdLst/>
                <a:ahLst/>
                <a:cxnLst/>
                <a:rect l="l" t="t" r="r" b="b"/>
                <a:pathLst>
                  <a:path w="337" h="113" extrusionOk="0">
                    <a:moveTo>
                      <a:pt x="1" y="1"/>
                    </a:moveTo>
                    <a:lnTo>
                      <a:pt x="337" y="113"/>
                    </a:lnTo>
                    <a:lnTo>
                      <a:pt x="337" y="1"/>
                    </a:lnTo>
                    <a:close/>
                  </a:path>
                </a:pathLst>
              </a:custGeom>
              <a:solidFill>
                <a:srgbClr val="A5798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7" name="Google Shape;1977;p16">
                <a:extLst>
                  <a:ext uri="{FF2B5EF4-FFF2-40B4-BE49-F238E27FC236}">
                    <a16:creationId xmlns:a16="http://schemas.microsoft.com/office/drawing/2014/main" id="{D9238D7E-54EC-B868-3C59-D902B1DA81EF}"/>
                  </a:ext>
                </a:extLst>
              </p:cNvPr>
              <p:cNvSpPr/>
              <p:nvPr/>
            </p:nvSpPr>
            <p:spPr>
              <a:xfrm>
                <a:off x="6197075" y="1069250"/>
                <a:ext cx="8425" cy="2825"/>
              </a:xfrm>
              <a:custGeom>
                <a:avLst/>
                <a:gdLst/>
                <a:ahLst/>
                <a:cxnLst/>
                <a:rect l="l" t="t" r="r" b="b"/>
                <a:pathLst>
                  <a:path w="337" h="113" fill="none" extrusionOk="0">
                    <a:moveTo>
                      <a:pt x="113" y="1"/>
                    </a:moveTo>
                    <a:lnTo>
                      <a:pt x="113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337" y="113"/>
                    </a:lnTo>
                    <a:lnTo>
                      <a:pt x="337" y="113"/>
                    </a:lnTo>
                    <a:lnTo>
                      <a:pt x="337" y="1"/>
                    </a:lnTo>
                    <a:lnTo>
                      <a:pt x="11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8" name="Google Shape;1978;p16">
                <a:extLst>
                  <a:ext uri="{FF2B5EF4-FFF2-40B4-BE49-F238E27FC236}">
                    <a16:creationId xmlns:a16="http://schemas.microsoft.com/office/drawing/2014/main" id="{25D35345-6E78-42E2-06F5-2E2BBF97F6B5}"/>
                  </a:ext>
                </a:extLst>
              </p:cNvPr>
              <p:cNvSpPr/>
              <p:nvPr/>
            </p:nvSpPr>
            <p:spPr>
              <a:xfrm>
                <a:off x="6157900" y="1069250"/>
                <a:ext cx="47600" cy="58800"/>
              </a:xfrm>
              <a:custGeom>
                <a:avLst/>
                <a:gdLst/>
                <a:ahLst/>
                <a:cxnLst/>
                <a:rect l="l" t="t" r="r" b="b"/>
                <a:pathLst>
                  <a:path w="1904" h="2352" extrusionOk="0">
                    <a:moveTo>
                      <a:pt x="1568" y="1"/>
                    </a:moveTo>
                    <a:lnTo>
                      <a:pt x="1344" y="225"/>
                    </a:lnTo>
                    <a:lnTo>
                      <a:pt x="1120" y="561"/>
                    </a:lnTo>
                    <a:lnTo>
                      <a:pt x="1" y="1344"/>
                    </a:lnTo>
                    <a:lnTo>
                      <a:pt x="1" y="2352"/>
                    </a:lnTo>
                    <a:lnTo>
                      <a:pt x="896" y="1344"/>
                    </a:lnTo>
                    <a:lnTo>
                      <a:pt x="1456" y="673"/>
                    </a:lnTo>
                    <a:lnTo>
                      <a:pt x="1568" y="561"/>
                    </a:lnTo>
                    <a:lnTo>
                      <a:pt x="1680" y="561"/>
                    </a:lnTo>
                    <a:lnTo>
                      <a:pt x="1792" y="449"/>
                    </a:lnTo>
                    <a:lnTo>
                      <a:pt x="1904" y="113"/>
                    </a:lnTo>
                    <a:lnTo>
                      <a:pt x="1568" y="1"/>
                    </a:lnTo>
                    <a:close/>
                  </a:path>
                </a:pathLst>
              </a:custGeom>
              <a:solidFill>
                <a:srgbClr val="A9A4B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9" name="Google Shape;1979;p16">
                <a:extLst>
                  <a:ext uri="{FF2B5EF4-FFF2-40B4-BE49-F238E27FC236}">
                    <a16:creationId xmlns:a16="http://schemas.microsoft.com/office/drawing/2014/main" id="{77A22109-05CF-97A5-7E3B-5538A75B2E10}"/>
                  </a:ext>
                </a:extLst>
              </p:cNvPr>
              <p:cNvSpPr/>
              <p:nvPr/>
            </p:nvSpPr>
            <p:spPr>
              <a:xfrm>
                <a:off x="6157900" y="1069250"/>
                <a:ext cx="47600" cy="58800"/>
              </a:xfrm>
              <a:custGeom>
                <a:avLst/>
                <a:gdLst/>
                <a:ahLst/>
                <a:cxnLst/>
                <a:rect l="l" t="t" r="r" b="b"/>
                <a:pathLst>
                  <a:path w="1904" h="2352" fill="none" extrusionOk="0">
                    <a:moveTo>
                      <a:pt x="1568" y="1"/>
                    </a:moveTo>
                    <a:lnTo>
                      <a:pt x="1568" y="1"/>
                    </a:lnTo>
                    <a:lnTo>
                      <a:pt x="1344" y="225"/>
                    </a:lnTo>
                    <a:lnTo>
                      <a:pt x="1120" y="561"/>
                    </a:lnTo>
                    <a:lnTo>
                      <a:pt x="1120" y="561"/>
                    </a:lnTo>
                    <a:lnTo>
                      <a:pt x="1" y="1344"/>
                    </a:lnTo>
                    <a:lnTo>
                      <a:pt x="1" y="1344"/>
                    </a:lnTo>
                    <a:lnTo>
                      <a:pt x="1" y="2352"/>
                    </a:lnTo>
                    <a:lnTo>
                      <a:pt x="1" y="2352"/>
                    </a:lnTo>
                    <a:lnTo>
                      <a:pt x="896" y="1344"/>
                    </a:lnTo>
                    <a:lnTo>
                      <a:pt x="1456" y="673"/>
                    </a:lnTo>
                    <a:lnTo>
                      <a:pt x="1456" y="673"/>
                    </a:lnTo>
                    <a:lnTo>
                      <a:pt x="1568" y="561"/>
                    </a:lnTo>
                    <a:lnTo>
                      <a:pt x="1568" y="561"/>
                    </a:lnTo>
                    <a:lnTo>
                      <a:pt x="1568" y="561"/>
                    </a:lnTo>
                    <a:lnTo>
                      <a:pt x="1568" y="561"/>
                    </a:lnTo>
                    <a:lnTo>
                      <a:pt x="1680" y="561"/>
                    </a:lnTo>
                    <a:lnTo>
                      <a:pt x="1680" y="561"/>
                    </a:lnTo>
                    <a:lnTo>
                      <a:pt x="1792" y="449"/>
                    </a:lnTo>
                    <a:lnTo>
                      <a:pt x="1904" y="113"/>
                    </a:lnTo>
                    <a:lnTo>
                      <a:pt x="1904" y="113"/>
                    </a:lnTo>
                    <a:lnTo>
                      <a:pt x="1568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20" name="Google Shape;1980;p16">
                <a:extLst>
                  <a:ext uri="{FF2B5EF4-FFF2-40B4-BE49-F238E27FC236}">
                    <a16:creationId xmlns:a16="http://schemas.microsoft.com/office/drawing/2014/main" id="{18F6A8D4-81F3-9C5C-863D-04B1AC37A9C3}"/>
                  </a:ext>
                </a:extLst>
              </p:cNvPr>
              <p:cNvSpPr/>
              <p:nvPr/>
            </p:nvSpPr>
            <p:spPr>
              <a:xfrm>
                <a:off x="5945225" y="1097250"/>
                <a:ext cx="39200" cy="22400"/>
              </a:xfrm>
              <a:custGeom>
                <a:avLst/>
                <a:gdLst/>
                <a:ahLst/>
                <a:cxnLst/>
                <a:rect l="l" t="t" r="r" b="b"/>
                <a:pathLst>
                  <a:path w="1568" h="896" extrusionOk="0">
                    <a:moveTo>
                      <a:pt x="672" y="0"/>
                    </a:moveTo>
                    <a:lnTo>
                      <a:pt x="336" y="448"/>
                    </a:lnTo>
                    <a:lnTo>
                      <a:pt x="0" y="784"/>
                    </a:lnTo>
                    <a:lnTo>
                      <a:pt x="448" y="896"/>
                    </a:lnTo>
                    <a:lnTo>
                      <a:pt x="1568" y="224"/>
                    </a:lnTo>
                    <a:lnTo>
                      <a:pt x="1456" y="224"/>
                    </a:lnTo>
                    <a:lnTo>
                      <a:pt x="672" y="0"/>
                    </a:lnTo>
                    <a:close/>
                  </a:path>
                </a:pathLst>
              </a:custGeom>
              <a:solidFill>
                <a:srgbClr val="A9A4B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21" name="Google Shape;1981;p16">
                <a:extLst>
                  <a:ext uri="{FF2B5EF4-FFF2-40B4-BE49-F238E27FC236}">
                    <a16:creationId xmlns:a16="http://schemas.microsoft.com/office/drawing/2014/main" id="{9F2A075E-69E7-37EE-BA05-05C8B0579C8B}"/>
                  </a:ext>
                </a:extLst>
              </p:cNvPr>
              <p:cNvSpPr/>
              <p:nvPr/>
            </p:nvSpPr>
            <p:spPr>
              <a:xfrm>
                <a:off x="5945225" y="1097250"/>
                <a:ext cx="39200" cy="22400"/>
              </a:xfrm>
              <a:custGeom>
                <a:avLst/>
                <a:gdLst/>
                <a:ahLst/>
                <a:cxnLst/>
                <a:rect l="l" t="t" r="r" b="b"/>
                <a:pathLst>
                  <a:path w="1568" h="896" fill="none" extrusionOk="0">
                    <a:moveTo>
                      <a:pt x="672" y="0"/>
                    </a:moveTo>
                    <a:lnTo>
                      <a:pt x="672" y="0"/>
                    </a:lnTo>
                    <a:lnTo>
                      <a:pt x="336" y="448"/>
                    </a:lnTo>
                    <a:lnTo>
                      <a:pt x="0" y="784"/>
                    </a:lnTo>
                    <a:lnTo>
                      <a:pt x="0" y="784"/>
                    </a:lnTo>
                    <a:lnTo>
                      <a:pt x="448" y="896"/>
                    </a:lnTo>
                    <a:lnTo>
                      <a:pt x="448" y="896"/>
                    </a:lnTo>
                    <a:lnTo>
                      <a:pt x="1568" y="224"/>
                    </a:lnTo>
                    <a:lnTo>
                      <a:pt x="1568" y="224"/>
                    </a:lnTo>
                    <a:lnTo>
                      <a:pt x="1456" y="224"/>
                    </a:lnTo>
                    <a:lnTo>
                      <a:pt x="1456" y="224"/>
                    </a:lnTo>
                    <a:lnTo>
                      <a:pt x="67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22" name="Google Shape;1982;p16">
                <a:extLst>
                  <a:ext uri="{FF2B5EF4-FFF2-40B4-BE49-F238E27FC236}">
                    <a16:creationId xmlns:a16="http://schemas.microsoft.com/office/drawing/2014/main" id="{4F3E9120-81C0-62EC-9EDB-4FFCCC8DDFAE}"/>
                  </a:ext>
                </a:extLst>
              </p:cNvPr>
              <p:cNvSpPr/>
              <p:nvPr/>
            </p:nvSpPr>
            <p:spPr>
              <a:xfrm>
                <a:off x="6113125" y="1102850"/>
                <a:ext cx="44800" cy="47600"/>
              </a:xfrm>
              <a:custGeom>
                <a:avLst/>
                <a:gdLst/>
                <a:ahLst/>
                <a:cxnLst/>
                <a:rect l="l" t="t" r="r" b="b"/>
                <a:pathLst>
                  <a:path w="1792" h="1904" extrusionOk="0">
                    <a:moveTo>
                      <a:pt x="1792" y="0"/>
                    </a:moveTo>
                    <a:lnTo>
                      <a:pt x="1456" y="112"/>
                    </a:lnTo>
                    <a:lnTo>
                      <a:pt x="1344" y="224"/>
                    </a:lnTo>
                    <a:lnTo>
                      <a:pt x="1232" y="560"/>
                    </a:lnTo>
                    <a:lnTo>
                      <a:pt x="784" y="1232"/>
                    </a:lnTo>
                    <a:lnTo>
                      <a:pt x="337" y="1679"/>
                    </a:lnTo>
                    <a:lnTo>
                      <a:pt x="1" y="1903"/>
                    </a:lnTo>
                    <a:lnTo>
                      <a:pt x="1" y="1903"/>
                    </a:lnTo>
                    <a:lnTo>
                      <a:pt x="784" y="1679"/>
                    </a:lnTo>
                    <a:lnTo>
                      <a:pt x="1456" y="1343"/>
                    </a:lnTo>
                    <a:lnTo>
                      <a:pt x="1792" y="1008"/>
                    </a:lnTo>
                    <a:lnTo>
                      <a:pt x="1792" y="0"/>
                    </a:lnTo>
                    <a:close/>
                  </a:path>
                </a:pathLst>
              </a:custGeom>
              <a:solidFill>
                <a:srgbClr val="9E455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23" name="Google Shape;1983;p16">
                <a:extLst>
                  <a:ext uri="{FF2B5EF4-FFF2-40B4-BE49-F238E27FC236}">
                    <a16:creationId xmlns:a16="http://schemas.microsoft.com/office/drawing/2014/main" id="{1C7FEECE-1B18-AC64-98A5-33276C20385D}"/>
                  </a:ext>
                </a:extLst>
              </p:cNvPr>
              <p:cNvSpPr/>
              <p:nvPr/>
            </p:nvSpPr>
            <p:spPr>
              <a:xfrm>
                <a:off x="6113125" y="1102850"/>
                <a:ext cx="44800" cy="47600"/>
              </a:xfrm>
              <a:custGeom>
                <a:avLst/>
                <a:gdLst/>
                <a:ahLst/>
                <a:cxnLst/>
                <a:rect l="l" t="t" r="r" b="b"/>
                <a:pathLst>
                  <a:path w="1792" h="1904" fill="none" extrusionOk="0">
                    <a:moveTo>
                      <a:pt x="1792" y="0"/>
                    </a:moveTo>
                    <a:lnTo>
                      <a:pt x="1792" y="0"/>
                    </a:lnTo>
                    <a:lnTo>
                      <a:pt x="1456" y="112"/>
                    </a:lnTo>
                    <a:lnTo>
                      <a:pt x="1456" y="112"/>
                    </a:lnTo>
                    <a:lnTo>
                      <a:pt x="1344" y="224"/>
                    </a:lnTo>
                    <a:lnTo>
                      <a:pt x="1344" y="224"/>
                    </a:lnTo>
                    <a:lnTo>
                      <a:pt x="1232" y="560"/>
                    </a:lnTo>
                    <a:lnTo>
                      <a:pt x="1232" y="560"/>
                    </a:lnTo>
                    <a:lnTo>
                      <a:pt x="784" y="1232"/>
                    </a:lnTo>
                    <a:lnTo>
                      <a:pt x="784" y="1232"/>
                    </a:lnTo>
                    <a:lnTo>
                      <a:pt x="337" y="1679"/>
                    </a:lnTo>
                    <a:lnTo>
                      <a:pt x="337" y="1679"/>
                    </a:lnTo>
                    <a:lnTo>
                      <a:pt x="1" y="1903"/>
                    </a:lnTo>
                    <a:lnTo>
                      <a:pt x="1" y="1903"/>
                    </a:lnTo>
                    <a:lnTo>
                      <a:pt x="784" y="1679"/>
                    </a:lnTo>
                    <a:lnTo>
                      <a:pt x="784" y="1679"/>
                    </a:lnTo>
                    <a:lnTo>
                      <a:pt x="1456" y="1343"/>
                    </a:lnTo>
                    <a:lnTo>
                      <a:pt x="1456" y="1343"/>
                    </a:lnTo>
                    <a:lnTo>
                      <a:pt x="1792" y="1008"/>
                    </a:lnTo>
                    <a:lnTo>
                      <a:pt x="1792" y="1008"/>
                    </a:lnTo>
                    <a:lnTo>
                      <a:pt x="179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24" name="Google Shape;1984;p16">
                <a:extLst>
                  <a:ext uri="{FF2B5EF4-FFF2-40B4-BE49-F238E27FC236}">
                    <a16:creationId xmlns:a16="http://schemas.microsoft.com/office/drawing/2014/main" id="{53986E01-CABD-1F11-87E8-59F7A7A97BDD}"/>
                  </a:ext>
                </a:extLst>
              </p:cNvPr>
              <p:cNvSpPr/>
              <p:nvPr/>
            </p:nvSpPr>
            <p:spPr>
              <a:xfrm>
                <a:off x="5950825" y="1102850"/>
                <a:ext cx="195900" cy="50400"/>
              </a:xfrm>
              <a:custGeom>
                <a:avLst/>
                <a:gdLst/>
                <a:ahLst/>
                <a:cxnLst/>
                <a:rect l="l" t="t" r="r" b="b"/>
                <a:pathLst>
                  <a:path w="7836" h="2016" extrusionOk="0">
                    <a:moveTo>
                      <a:pt x="1344" y="0"/>
                    </a:moveTo>
                    <a:lnTo>
                      <a:pt x="224" y="672"/>
                    </a:lnTo>
                    <a:lnTo>
                      <a:pt x="896" y="672"/>
                    </a:lnTo>
                    <a:lnTo>
                      <a:pt x="0" y="1232"/>
                    </a:lnTo>
                    <a:lnTo>
                      <a:pt x="1008" y="1343"/>
                    </a:lnTo>
                    <a:lnTo>
                      <a:pt x="3246" y="1791"/>
                    </a:lnTo>
                    <a:lnTo>
                      <a:pt x="5261" y="2015"/>
                    </a:lnTo>
                    <a:lnTo>
                      <a:pt x="5933" y="2015"/>
                    </a:lnTo>
                    <a:lnTo>
                      <a:pt x="6493" y="1903"/>
                    </a:lnTo>
                    <a:lnTo>
                      <a:pt x="6829" y="1679"/>
                    </a:lnTo>
                    <a:lnTo>
                      <a:pt x="7276" y="1232"/>
                    </a:lnTo>
                    <a:lnTo>
                      <a:pt x="7724" y="560"/>
                    </a:lnTo>
                    <a:lnTo>
                      <a:pt x="7836" y="224"/>
                    </a:lnTo>
                    <a:lnTo>
                      <a:pt x="7276" y="448"/>
                    </a:lnTo>
                    <a:lnTo>
                      <a:pt x="6605" y="672"/>
                    </a:lnTo>
                    <a:lnTo>
                      <a:pt x="5933" y="784"/>
                    </a:lnTo>
                    <a:lnTo>
                      <a:pt x="5821" y="784"/>
                    </a:lnTo>
                    <a:lnTo>
                      <a:pt x="3918" y="448"/>
                    </a:lnTo>
                    <a:lnTo>
                      <a:pt x="1455" y="0"/>
                    </a:lnTo>
                    <a:close/>
                  </a:path>
                </a:pathLst>
              </a:custGeom>
              <a:solidFill>
                <a:srgbClr val="9E455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25" name="Google Shape;1985;p16">
                <a:extLst>
                  <a:ext uri="{FF2B5EF4-FFF2-40B4-BE49-F238E27FC236}">
                    <a16:creationId xmlns:a16="http://schemas.microsoft.com/office/drawing/2014/main" id="{66D92407-F885-5163-D606-AF9AF929E141}"/>
                  </a:ext>
                </a:extLst>
              </p:cNvPr>
              <p:cNvSpPr/>
              <p:nvPr/>
            </p:nvSpPr>
            <p:spPr>
              <a:xfrm>
                <a:off x="5950825" y="1102850"/>
                <a:ext cx="195900" cy="50400"/>
              </a:xfrm>
              <a:custGeom>
                <a:avLst/>
                <a:gdLst/>
                <a:ahLst/>
                <a:cxnLst/>
                <a:rect l="l" t="t" r="r" b="b"/>
                <a:pathLst>
                  <a:path w="7836" h="2016" fill="none" extrusionOk="0">
                    <a:moveTo>
                      <a:pt x="1344" y="0"/>
                    </a:moveTo>
                    <a:lnTo>
                      <a:pt x="1344" y="0"/>
                    </a:lnTo>
                    <a:lnTo>
                      <a:pt x="224" y="672"/>
                    </a:lnTo>
                    <a:lnTo>
                      <a:pt x="224" y="672"/>
                    </a:lnTo>
                    <a:lnTo>
                      <a:pt x="896" y="672"/>
                    </a:lnTo>
                    <a:lnTo>
                      <a:pt x="896" y="672"/>
                    </a:lnTo>
                    <a:lnTo>
                      <a:pt x="0" y="1232"/>
                    </a:lnTo>
                    <a:lnTo>
                      <a:pt x="0" y="1232"/>
                    </a:lnTo>
                    <a:lnTo>
                      <a:pt x="1008" y="1343"/>
                    </a:lnTo>
                    <a:lnTo>
                      <a:pt x="1008" y="1343"/>
                    </a:lnTo>
                    <a:lnTo>
                      <a:pt x="3246" y="1791"/>
                    </a:lnTo>
                    <a:lnTo>
                      <a:pt x="5261" y="2015"/>
                    </a:lnTo>
                    <a:lnTo>
                      <a:pt x="5261" y="2015"/>
                    </a:lnTo>
                    <a:lnTo>
                      <a:pt x="5933" y="2015"/>
                    </a:lnTo>
                    <a:lnTo>
                      <a:pt x="5933" y="2015"/>
                    </a:lnTo>
                    <a:lnTo>
                      <a:pt x="5933" y="2015"/>
                    </a:lnTo>
                    <a:lnTo>
                      <a:pt x="5933" y="2015"/>
                    </a:lnTo>
                    <a:lnTo>
                      <a:pt x="6493" y="1903"/>
                    </a:lnTo>
                    <a:lnTo>
                      <a:pt x="6493" y="1903"/>
                    </a:lnTo>
                    <a:lnTo>
                      <a:pt x="6829" y="1679"/>
                    </a:lnTo>
                    <a:lnTo>
                      <a:pt x="6829" y="1679"/>
                    </a:lnTo>
                    <a:lnTo>
                      <a:pt x="7276" y="1232"/>
                    </a:lnTo>
                    <a:lnTo>
                      <a:pt x="7276" y="1232"/>
                    </a:lnTo>
                    <a:lnTo>
                      <a:pt x="7724" y="560"/>
                    </a:lnTo>
                    <a:lnTo>
                      <a:pt x="7724" y="560"/>
                    </a:lnTo>
                    <a:lnTo>
                      <a:pt x="7836" y="224"/>
                    </a:lnTo>
                    <a:lnTo>
                      <a:pt x="7836" y="224"/>
                    </a:lnTo>
                    <a:lnTo>
                      <a:pt x="7276" y="448"/>
                    </a:lnTo>
                    <a:lnTo>
                      <a:pt x="7276" y="448"/>
                    </a:lnTo>
                    <a:lnTo>
                      <a:pt x="6605" y="672"/>
                    </a:lnTo>
                    <a:lnTo>
                      <a:pt x="5933" y="784"/>
                    </a:lnTo>
                    <a:lnTo>
                      <a:pt x="5821" y="784"/>
                    </a:lnTo>
                    <a:lnTo>
                      <a:pt x="5821" y="784"/>
                    </a:lnTo>
                    <a:lnTo>
                      <a:pt x="5821" y="784"/>
                    </a:lnTo>
                    <a:lnTo>
                      <a:pt x="5821" y="784"/>
                    </a:lnTo>
                    <a:lnTo>
                      <a:pt x="3918" y="448"/>
                    </a:lnTo>
                    <a:lnTo>
                      <a:pt x="1455" y="0"/>
                    </a:lnTo>
                    <a:lnTo>
                      <a:pt x="1455" y="0"/>
                    </a:lnTo>
                    <a:lnTo>
                      <a:pt x="1344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26" name="Google Shape;1986;p16">
                <a:extLst>
                  <a:ext uri="{FF2B5EF4-FFF2-40B4-BE49-F238E27FC236}">
                    <a16:creationId xmlns:a16="http://schemas.microsoft.com/office/drawing/2014/main" id="{7FBB7C0D-75C2-FAE7-1E5A-0986040F07CA}"/>
                  </a:ext>
                </a:extLst>
              </p:cNvPr>
              <p:cNvSpPr/>
              <p:nvPr/>
            </p:nvSpPr>
            <p:spPr>
              <a:xfrm>
                <a:off x="5559025" y="1060875"/>
                <a:ext cx="654875" cy="114750"/>
              </a:xfrm>
              <a:custGeom>
                <a:avLst/>
                <a:gdLst/>
                <a:ahLst/>
                <a:cxnLst/>
                <a:rect l="l" t="t" r="r" b="b"/>
                <a:pathLst>
                  <a:path w="26195" h="4590" extrusionOk="0">
                    <a:moveTo>
                      <a:pt x="25635" y="0"/>
                    </a:moveTo>
                    <a:lnTo>
                      <a:pt x="25299" y="112"/>
                    </a:lnTo>
                    <a:lnTo>
                      <a:pt x="24963" y="336"/>
                    </a:lnTo>
                    <a:lnTo>
                      <a:pt x="24403" y="784"/>
                    </a:lnTo>
                    <a:lnTo>
                      <a:pt x="23620" y="1231"/>
                    </a:lnTo>
                    <a:lnTo>
                      <a:pt x="22724" y="1567"/>
                    </a:lnTo>
                    <a:lnTo>
                      <a:pt x="21829" y="1903"/>
                    </a:lnTo>
                    <a:lnTo>
                      <a:pt x="21493" y="1903"/>
                    </a:lnTo>
                    <a:lnTo>
                      <a:pt x="20709" y="1791"/>
                    </a:lnTo>
                    <a:lnTo>
                      <a:pt x="19814" y="1567"/>
                    </a:lnTo>
                    <a:lnTo>
                      <a:pt x="17687" y="784"/>
                    </a:lnTo>
                    <a:lnTo>
                      <a:pt x="16120" y="448"/>
                    </a:lnTo>
                    <a:lnTo>
                      <a:pt x="15336" y="336"/>
                    </a:lnTo>
                    <a:lnTo>
                      <a:pt x="14665" y="336"/>
                    </a:lnTo>
                    <a:lnTo>
                      <a:pt x="13881" y="560"/>
                    </a:lnTo>
                    <a:lnTo>
                      <a:pt x="13210" y="896"/>
                    </a:lnTo>
                    <a:lnTo>
                      <a:pt x="11978" y="1679"/>
                    </a:lnTo>
                    <a:lnTo>
                      <a:pt x="11419" y="2015"/>
                    </a:lnTo>
                    <a:lnTo>
                      <a:pt x="10635" y="2463"/>
                    </a:lnTo>
                    <a:lnTo>
                      <a:pt x="9739" y="2687"/>
                    </a:lnTo>
                    <a:lnTo>
                      <a:pt x="8732" y="2911"/>
                    </a:lnTo>
                    <a:lnTo>
                      <a:pt x="7501" y="3022"/>
                    </a:lnTo>
                    <a:lnTo>
                      <a:pt x="6381" y="2911"/>
                    </a:lnTo>
                    <a:lnTo>
                      <a:pt x="5262" y="2799"/>
                    </a:lnTo>
                    <a:lnTo>
                      <a:pt x="4254" y="2575"/>
                    </a:lnTo>
                    <a:lnTo>
                      <a:pt x="2463" y="2127"/>
                    </a:lnTo>
                    <a:lnTo>
                      <a:pt x="1904" y="2015"/>
                    </a:lnTo>
                    <a:lnTo>
                      <a:pt x="1456" y="2015"/>
                    </a:lnTo>
                    <a:lnTo>
                      <a:pt x="784" y="2127"/>
                    </a:lnTo>
                    <a:lnTo>
                      <a:pt x="337" y="2239"/>
                    </a:lnTo>
                    <a:lnTo>
                      <a:pt x="1" y="2463"/>
                    </a:lnTo>
                    <a:lnTo>
                      <a:pt x="1" y="2687"/>
                    </a:lnTo>
                    <a:lnTo>
                      <a:pt x="1" y="2911"/>
                    </a:lnTo>
                    <a:lnTo>
                      <a:pt x="225" y="3246"/>
                    </a:lnTo>
                    <a:lnTo>
                      <a:pt x="560" y="3582"/>
                    </a:lnTo>
                    <a:lnTo>
                      <a:pt x="1008" y="3918"/>
                    </a:lnTo>
                    <a:lnTo>
                      <a:pt x="2352" y="4142"/>
                    </a:lnTo>
                    <a:lnTo>
                      <a:pt x="4590" y="4366"/>
                    </a:lnTo>
                    <a:lnTo>
                      <a:pt x="7053" y="4590"/>
                    </a:lnTo>
                    <a:lnTo>
                      <a:pt x="8844" y="4590"/>
                    </a:lnTo>
                    <a:lnTo>
                      <a:pt x="9739" y="4478"/>
                    </a:lnTo>
                    <a:lnTo>
                      <a:pt x="10523" y="4142"/>
                    </a:lnTo>
                    <a:lnTo>
                      <a:pt x="12202" y="3358"/>
                    </a:lnTo>
                    <a:lnTo>
                      <a:pt x="13657" y="2575"/>
                    </a:lnTo>
                    <a:lnTo>
                      <a:pt x="14329" y="2351"/>
                    </a:lnTo>
                    <a:lnTo>
                      <a:pt x="14889" y="2239"/>
                    </a:lnTo>
                    <a:lnTo>
                      <a:pt x="15448" y="2239"/>
                    </a:lnTo>
                    <a:lnTo>
                      <a:pt x="16568" y="2351"/>
                    </a:lnTo>
                    <a:lnTo>
                      <a:pt x="16680" y="2463"/>
                    </a:lnTo>
                    <a:lnTo>
                      <a:pt x="19030" y="2911"/>
                    </a:lnTo>
                    <a:lnTo>
                      <a:pt x="20262" y="3022"/>
                    </a:lnTo>
                    <a:lnTo>
                      <a:pt x="21269" y="3134"/>
                    </a:lnTo>
                    <a:lnTo>
                      <a:pt x="22165" y="3134"/>
                    </a:lnTo>
                    <a:lnTo>
                      <a:pt x="22612" y="2911"/>
                    </a:lnTo>
                    <a:lnTo>
                      <a:pt x="23620" y="2463"/>
                    </a:lnTo>
                    <a:lnTo>
                      <a:pt x="24292" y="2015"/>
                    </a:lnTo>
                    <a:lnTo>
                      <a:pt x="24851" y="1567"/>
                    </a:lnTo>
                    <a:lnTo>
                      <a:pt x="25411" y="1008"/>
                    </a:lnTo>
                    <a:lnTo>
                      <a:pt x="25523" y="1008"/>
                    </a:lnTo>
                    <a:lnTo>
                      <a:pt x="25747" y="1119"/>
                    </a:lnTo>
                    <a:lnTo>
                      <a:pt x="25971" y="1119"/>
                    </a:lnTo>
                    <a:lnTo>
                      <a:pt x="26083" y="1008"/>
                    </a:lnTo>
                    <a:lnTo>
                      <a:pt x="26194" y="896"/>
                    </a:lnTo>
                    <a:lnTo>
                      <a:pt x="26194" y="560"/>
                    </a:lnTo>
                    <a:lnTo>
                      <a:pt x="26194" y="336"/>
                    </a:lnTo>
                    <a:lnTo>
                      <a:pt x="26083" y="224"/>
                    </a:lnTo>
                    <a:lnTo>
                      <a:pt x="25859" y="0"/>
                    </a:lnTo>
                    <a:close/>
                  </a:path>
                </a:pathLst>
              </a:custGeom>
              <a:solidFill>
                <a:srgbClr val="F2AD1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27" name="Google Shape;1987;p16">
                <a:extLst>
                  <a:ext uri="{FF2B5EF4-FFF2-40B4-BE49-F238E27FC236}">
                    <a16:creationId xmlns:a16="http://schemas.microsoft.com/office/drawing/2014/main" id="{527195C7-123C-5D15-AFD2-E67D17AF9C18}"/>
                  </a:ext>
                </a:extLst>
              </p:cNvPr>
              <p:cNvSpPr/>
              <p:nvPr/>
            </p:nvSpPr>
            <p:spPr>
              <a:xfrm>
                <a:off x="6191475" y="1743700"/>
                <a:ext cx="128775" cy="81175"/>
              </a:xfrm>
              <a:custGeom>
                <a:avLst/>
                <a:gdLst/>
                <a:ahLst/>
                <a:cxnLst/>
                <a:rect l="l" t="t" r="r" b="b"/>
                <a:pathLst>
                  <a:path w="5151" h="3247" extrusionOk="0">
                    <a:moveTo>
                      <a:pt x="449" y="0"/>
                    </a:moveTo>
                    <a:lnTo>
                      <a:pt x="1" y="2015"/>
                    </a:lnTo>
                    <a:lnTo>
                      <a:pt x="5150" y="3246"/>
                    </a:lnTo>
                    <a:lnTo>
                      <a:pt x="4479" y="2687"/>
                    </a:lnTo>
                    <a:lnTo>
                      <a:pt x="3807" y="2015"/>
                    </a:lnTo>
                    <a:lnTo>
                      <a:pt x="2240" y="1008"/>
                    </a:lnTo>
                    <a:lnTo>
                      <a:pt x="449" y="0"/>
                    </a:ln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28" name="Google Shape;1988;p16">
                <a:extLst>
                  <a:ext uri="{FF2B5EF4-FFF2-40B4-BE49-F238E27FC236}">
                    <a16:creationId xmlns:a16="http://schemas.microsoft.com/office/drawing/2014/main" id="{F0A301CB-FDB8-B7E8-4ED4-90F44CAAA8C7}"/>
                  </a:ext>
                </a:extLst>
              </p:cNvPr>
              <p:cNvSpPr/>
              <p:nvPr/>
            </p:nvSpPr>
            <p:spPr>
              <a:xfrm>
                <a:off x="6191475" y="1743700"/>
                <a:ext cx="128775" cy="81175"/>
              </a:xfrm>
              <a:custGeom>
                <a:avLst/>
                <a:gdLst/>
                <a:ahLst/>
                <a:cxnLst/>
                <a:rect l="l" t="t" r="r" b="b"/>
                <a:pathLst>
                  <a:path w="5151" h="3247" fill="none" extrusionOk="0">
                    <a:moveTo>
                      <a:pt x="449" y="0"/>
                    </a:moveTo>
                    <a:lnTo>
                      <a:pt x="1" y="2015"/>
                    </a:lnTo>
                    <a:lnTo>
                      <a:pt x="1" y="2015"/>
                    </a:lnTo>
                    <a:lnTo>
                      <a:pt x="5150" y="3246"/>
                    </a:lnTo>
                    <a:lnTo>
                      <a:pt x="5150" y="3246"/>
                    </a:lnTo>
                    <a:lnTo>
                      <a:pt x="4479" y="2687"/>
                    </a:lnTo>
                    <a:lnTo>
                      <a:pt x="3807" y="2015"/>
                    </a:lnTo>
                    <a:lnTo>
                      <a:pt x="2240" y="1008"/>
                    </a:lnTo>
                    <a:lnTo>
                      <a:pt x="449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29" name="Google Shape;1989;p16">
                <a:extLst>
                  <a:ext uri="{FF2B5EF4-FFF2-40B4-BE49-F238E27FC236}">
                    <a16:creationId xmlns:a16="http://schemas.microsoft.com/office/drawing/2014/main" id="{B4EAF072-DA20-1351-3DB6-8523CA0873DE}"/>
                  </a:ext>
                </a:extLst>
              </p:cNvPr>
              <p:cNvSpPr/>
              <p:nvPr/>
            </p:nvSpPr>
            <p:spPr>
              <a:xfrm>
                <a:off x="1705525" y="2281000"/>
                <a:ext cx="156750" cy="86775"/>
              </a:xfrm>
              <a:custGeom>
                <a:avLst/>
                <a:gdLst/>
                <a:ahLst/>
                <a:cxnLst/>
                <a:rect l="l" t="t" r="r" b="b"/>
                <a:pathLst>
                  <a:path w="6270" h="3471" extrusionOk="0">
                    <a:moveTo>
                      <a:pt x="2240" y="1"/>
                    </a:moveTo>
                    <a:lnTo>
                      <a:pt x="1680" y="112"/>
                    </a:lnTo>
                    <a:lnTo>
                      <a:pt x="1232" y="336"/>
                    </a:lnTo>
                    <a:lnTo>
                      <a:pt x="785" y="672"/>
                    </a:lnTo>
                    <a:lnTo>
                      <a:pt x="337" y="1008"/>
                    </a:lnTo>
                    <a:lnTo>
                      <a:pt x="113" y="1344"/>
                    </a:lnTo>
                    <a:lnTo>
                      <a:pt x="1" y="1680"/>
                    </a:lnTo>
                    <a:lnTo>
                      <a:pt x="1" y="2015"/>
                    </a:lnTo>
                    <a:lnTo>
                      <a:pt x="225" y="2127"/>
                    </a:lnTo>
                    <a:lnTo>
                      <a:pt x="673" y="2239"/>
                    </a:lnTo>
                    <a:lnTo>
                      <a:pt x="1792" y="2239"/>
                    </a:lnTo>
                    <a:lnTo>
                      <a:pt x="2016" y="2463"/>
                    </a:lnTo>
                    <a:lnTo>
                      <a:pt x="2016" y="2575"/>
                    </a:lnTo>
                    <a:lnTo>
                      <a:pt x="1904" y="3023"/>
                    </a:lnTo>
                    <a:lnTo>
                      <a:pt x="1904" y="3247"/>
                    </a:lnTo>
                    <a:lnTo>
                      <a:pt x="2016" y="3359"/>
                    </a:lnTo>
                    <a:lnTo>
                      <a:pt x="2240" y="3471"/>
                    </a:lnTo>
                    <a:lnTo>
                      <a:pt x="2688" y="3471"/>
                    </a:lnTo>
                    <a:lnTo>
                      <a:pt x="3471" y="3359"/>
                    </a:lnTo>
                    <a:lnTo>
                      <a:pt x="4255" y="3247"/>
                    </a:lnTo>
                    <a:lnTo>
                      <a:pt x="4590" y="3247"/>
                    </a:lnTo>
                    <a:lnTo>
                      <a:pt x="4702" y="3359"/>
                    </a:lnTo>
                    <a:lnTo>
                      <a:pt x="4926" y="3359"/>
                    </a:lnTo>
                    <a:lnTo>
                      <a:pt x="5038" y="3247"/>
                    </a:lnTo>
                    <a:lnTo>
                      <a:pt x="5598" y="2911"/>
                    </a:lnTo>
                    <a:lnTo>
                      <a:pt x="6270" y="2351"/>
                    </a:lnTo>
                    <a:lnTo>
                      <a:pt x="5934" y="1680"/>
                    </a:lnTo>
                    <a:lnTo>
                      <a:pt x="5374" y="1232"/>
                    </a:lnTo>
                    <a:lnTo>
                      <a:pt x="4814" y="784"/>
                    </a:lnTo>
                    <a:lnTo>
                      <a:pt x="4143" y="448"/>
                    </a:lnTo>
                    <a:lnTo>
                      <a:pt x="3471" y="224"/>
                    </a:lnTo>
                    <a:lnTo>
                      <a:pt x="2799" y="112"/>
                    </a:lnTo>
                    <a:lnTo>
                      <a:pt x="2240" y="1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30" name="Google Shape;1990;p16">
                <a:extLst>
                  <a:ext uri="{FF2B5EF4-FFF2-40B4-BE49-F238E27FC236}">
                    <a16:creationId xmlns:a16="http://schemas.microsoft.com/office/drawing/2014/main" id="{DFFDE7F9-9387-117D-634E-749745839A3A}"/>
                  </a:ext>
                </a:extLst>
              </p:cNvPr>
              <p:cNvSpPr/>
              <p:nvPr/>
            </p:nvSpPr>
            <p:spPr>
              <a:xfrm>
                <a:off x="2794150" y="2015150"/>
                <a:ext cx="162325" cy="100775"/>
              </a:xfrm>
              <a:custGeom>
                <a:avLst/>
                <a:gdLst/>
                <a:ahLst/>
                <a:cxnLst/>
                <a:rect l="l" t="t" r="r" b="b"/>
                <a:pathLst>
                  <a:path w="6493" h="4031" extrusionOk="0">
                    <a:moveTo>
                      <a:pt x="4590" y="0"/>
                    </a:moveTo>
                    <a:lnTo>
                      <a:pt x="4142" y="224"/>
                    </a:lnTo>
                    <a:lnTo>
                      <a:pt x="3806" y="448"/>
                    </a:lnTo>
                    <a:lnTo>
                      <a:pt x="2911" y="1120"/>
                    </a:lnTo>
                    <a:lnTo>
                      <a:pt x="1679" y="2015"/>
                    </a:lnTo>
                    <a:lnTo>
                      <a:pt x="1008" y="2575"/>
                    </a:lnTo>
                    <a:lnTo>
                      <a:pt x="0" y="3023"/>
                    </a:lnTo>
                    <a:lnTo>
                      <a:pt x="336" y="3247"/>
                    </a:lnTo>
                    <a:lnTo>
                      <a:pt x="896" y="3694"/>
                    </a:lnTo>
                    <a:lnTo>
                      <a:pt x="1343" y="3918"/>
                    </a:lnTo>
                    <a:lnTo>
                      <a:pt x="1903" y="4030"/>
                    </a:lnTo>
                    <a:lnTo>
                      <a:pt x="2351" y="4030"/>
                    </a:lnTo>
                    <a:lnTo>
                      <a:pt x="2911" y="3806"/>
                    </a:lnTo>
                    <a:lnTo>
                      <a:pt x="4030" y="3023"/>
                    </a:lnTo>
                    <a:lnTo>
                      <a:pt x="4926" y="2575"/>
                    </a:lnTo>
                    <a:lnTo>
                      <a:pt x="5373" y="2463"/>
                    </a:lnTo>
                    <a:lnTo>
                      <a:pt x="5821" y="2351"/>
                    </a:lnTo>
                    <a:lnTo>
                      <a:pt x="6269" y="2239"/>
                    </a:lnTo>
                    <a:lnTo>
                      <a:pt x="6493" y="2015"/>
                    </a:lnTo>
                    <a:lnTo>
                      <a:pt x="6493" y="1567"/>
                    </a:lnTo>
                    <a:lnTo>
                      <a:pt x="6493" y="1120"/>
                    </a:lnTo>
                    <a:lnTo>
                      <a:pt x="6157" y="672"/>
                    </a:lnTo>
                    <a:lnTo>
                      <a:pt x="5821" y="336"/>
                    </a:lnTo>
                    <a:lnTo>
                      <a:pt x="5261" y="112"/>
                    </a:lnTo>
                    <a:lnTo>
                      <a:pt x="4590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31" name="Google Shape;1991;p16">
                <a:extLst>
                  <a:ext uri="{FF2B5EF4-FFF2-40B4-BE49-F238E27FC236}">
                    <a16:creationId xmlns:a16="http://schemas.microsoft.com/office/drawing/2014/main" id="{51698F5A-A6C2-459D-BB38-7879E5A45C91}"/>
                  </a:ext>
                </a:extLst>
              </p:cNvPr>
              <p:cNvSpPr/>
              <p:nvPr/>
            </p:nvSpPr>
            <p:spPr>
              <a:xfrm>
                <a:off x="1873450" y="3005800"/>
                <a:ext cx="453375" cy="638075"/>
              </a:xfrm>
              <a:custGeom>
                <a:avLst/>
                <a:gdLst/>
                <a:ahLst/>
                <a:cxnLst/>
                <a:rect l="l" t="t" r="r" b="b"/>
                <a:pathLst>
                  <a:path w="18135" h="25523" extrusionOk="0">
                    <a:moveTo>
                      <a:pt x="18134" y="1"/>
                    </a:moveTo>
                    <a:lnTo>
                      <a:pt x="15336" y="784"/>
                    </a:lnTo>
                    <a:lnTo>
                      <a:pt x="13209" y="1456"/>
                    </a:lnTo>
                    <a:lnTo>
                      <a:pt x="12426" y="1792"/>
                    </a:lnTo>
                    <a:lnTo>
                      <a:pt x="11978" y="2128"/>
                    </a:lnTo>
                    <a:lnTo>
                      <a:pt x="11418" y="2799"/>
                    </a:lnTo>
                    <a:lnTo>
                      <a:pt x="10746" y="4143"/>
                    </a:lnTo>
                    <a:lnTo>
                      <a:pt x="8955" y="7837"/>
                    </a:lnTo>
                    <a:lnTo>
                      <a:pt x="6157" y="13545"/>
                    </a:lnTo>
                    <a:lnTo>
                      <a:pt x="4142" y="16680"/>
                    </a:lnTo>
                    <a:lnTo>
                      <a:pt x="2687" y="18583"/>
                    </a:lnTo>
                    <a:lnTo>
                      <a:pt x="2127" y="19254"/>
                    </a:lnTo>
                    <a:lnTo>
                      <a:pt x="1679" y="19814"/>
                    </a:lnTo>
                    <a:lnTo>
                      <a:pt x="1008" y="20374"/>
                    </a:lnTo>
                    <a:lnTo>
                      <a:pt x="560" y="20486"/>
                    </a:lnTo>
                    <a:lnTo>
                      <a:pt x="336" y="20710"/>
                    </a:lnTo>
                    <a:lnTo>
                      <a:pt x="0" y="21157"/>
                    </a:lnTo>
                    <a:lnTo>
                      <a:pt x="0" y="21269"/>
                    </a:lnTo>
                    <a:lnTo>
                      <a:pt x="112" y="21605"/>
                    </a:lnTo>
                    <a:lnTo>
                      <a:pt x="336" y="22277"/>
                    </a:lnTo>
                    <a:lnTo>
                      <a:pt x="896" y="22948"/>
                    </a:lnTo>
                    <a:lnTo>
                      <a:pt x="1567" y="23844"/>
                    </a:lnTo>
                    <a:lnTo>
                      <a:pt x="2799" y="25075"/>
                    </a:lnTo>
                    <a:lnTo>
                      <a:pt x="3247" y="25523"/>
                    </a:lnTo>
                    <a:lnTo>
                      <a:pt x="3470" y="25523"/>
                    </a:lnTo>
                    <a:lnTo>
                      <a:pt x="3247" y="22277"/>
                    </a:lnTo>
                    <a:lnTo>
                      <a:pt x="3694" y="21605"/>
                    </a:lnTo>
                    <a:lnTo>
                      <a:pt x="4814" y="20038"/>
                    </a:lnTo>
                    <a:lnTo>
                      <a:pt x="8396" y="15560"/>
                    </a:lnTo>
                    <a:lnTo>
                      <a:pt x="14776" y="7725"/>
                    </a:lnTo>
                    <a:lnTo>
                      <a:pt x="15336" y="6941"/>
                    </a:lnTo>
                    <a:lnTo>
                      <a:pt x="15784" y="6157"/>
                    </a:lnTo>
                    <a:lnTo>
                      <a:pt x="16679" y="4366"/>
                    </a:lnTo>
                    <a:lnTo>
                      <a:pt x="17463" y="2240"/>
                    </a:lnTo>
                    <a:lnTo>
                      <a:pt x="18134" y="1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32" name="Google Shape;1992;p16">
                <a:extLst>
                  <a:ext uri="{FF2B5EF4-FFF2-40B4-BE49-F238E27FC236}">
                    <a16:creationId xmlns:a16="http://schemas.microsoft.com/office/drawing/2014/main" id="{F8AFE49D-F4D7-531C-98B4-5B67E839002F}"/>
                  </a:ext>
                </a:extLst>
              </p:cNvPr>
              <p:cNvSpPr/>
              <p:nvPr/>
            </p:nvSpPr>
            <p:spPr>
              <a:xfrm>
                <a:off x="1873450" y="3005800"/>
                <a:ext cx="453375" cy="638075"/>
              </a:xfrm>
              <a:custGeom>
                <a:avLst/>
                <a:gdLst/>
                <a:ahLst/>
                <a:cxnLst/>
                <a:rect l="l" t="t" r="r" b="b"/>
                <a:pathLst>
                  <a:path w="18135" h="25523" fill="none" extrusionOk="0">
                    <a:moveTo>
                      <a:pt x="18134" y="1"/>
                    </a:moveTo>
                    <a:lnTo>
                      <a:pt x="18134" y="1"/>
                    </a:lnTo>
                    <a:lnTo>
                      <a:pt x="17463" y="2240"/>
                    </a:lnTo>
                    <a:lnTo>
                      <a:pt x="16679" y="4366"/>
                    </a:lnTo>
                    <a:lnTo>
                      <a:pt x="15784" y="6157"/>
                    </a:lnTo>
                    <a:lnTo>
                      <a:pt x="15336" y="6941"/>
                    </a:lnTo>
                    <a:lnTo>
                      <a:pt x="14776" y="7725"/>
                    </a:lnTo>
                    <a:lnTo>
                      <a:pt x="14776" y="7725"/>
                    </a:lnTo>
                    <a:lnTo>
                      <a:pt x="8396" y="15560"/>
                    </a:lnTo>
                    <a:lnTo>
                      <a:pt x="4814" y="20038"/>
                    </a:lnTo>
                    <a:lnTo>
                      <a:pt x="3694" y="21605"/>
                    </a:lnTo>
                    <a:lnTo>
                      <a:pt x="3247" y="22277"/>
                    </a:lnTo>
                    <a:lnTo>
                      <a:pt x="3247" y="22277"/>
                    </a:lnTo>
                    <a:lnTo>
                      <a:pt x="3470" y="25523"/>
                    </a:lnTo>
                    <a:lnTo>
                      <a:pt x="3470" y="25523"/>
                    </a:lnTo>
                    <a:lnTo>
                      <a:pt x="3358" y="25523"/>
                    </a:lnTo>
                    <a:lnTo>
                      <a:pt x="3247" y="25523"/>
                    </a:lnTo>
                    <a:lnTo>
                      <a:pt x="2799" y="25075"/>
                    </a:lnTo>
                    <a:lnTo>
                      <a:pt x="1567" y="23844"/>
                    </a:lnTo>
                    <a:lnTo>
                      <a:pt x="896" y="22948"/>
                    </a:lnTo>
                    <a:lnTo>
                      <a:pt x="336" y="22277"/>
                    </a:lnTo>
                    <a:lnTo>
                      <a:pt x="112" y="21605"/>
                    </a:lnTo>
                    <a:lnTo>
                      <a:pt x="0" y="21269"/>
                    </a:lnTo>
                    <a:lnTo>
                      <a:pt x="0" y="21157"/>
                    </a:lnTo>
                    <a:lnTo>
                      <a:pt x="0" y="21157"/>
                    </a:lnTo>
                    <a:lnTo>
                      <a:pt x="336" y="20710"/>
                    </a:lnTo>
                    <a:lnTo>
                      <a:pt x="560" y="20486"/>
                    </a:lnTo>
                    <a:lnTo>
                      <a:pt x="1008" y="20374"/>
                    </a:lnTo>
                    <a:lnTo>
                      <a:pt x="1679" y="19814"/>
                    </a:lnTo>
                    <a:lnTo>
                      <a:pt x="1679" y="19814"/>
                    </a:lnTo>
                    <a:lnTo>
                      <a:pt x="2127" y="19254"/>
                    </a:lnTo>
                    <a:lnTo>
                      <a:pt x="2687" y="18583"/>
                    </a:lnTo>
                    <a:lnTo>
                      <a:pt x="4142" y="16680"/>
                    </a:lnTo>
                    <a:lnTo>
                      <a:pt x="6157" y="13545"/>
                    </a:lnTo>
                    <a:lnTo>
                      <a:pt x="6157" y="13545"/>
                    </a:lnTo>
                    <a:lnTo>
                      <a:pt x="8955" y="7837"/>
                    </a:lnTo>
                    <a:lnTo>
                      <a:pt x="10746" y="4143"/>
                    </a:lnTo>
                    <a:lnTo>
                      <a:pt x="11418" y="2799"/>
                    </a:lnTo>
                    <a:lnTo>
                      <a:pt x="11978" y="2128"/>
                    </a:lnTo>
                    <a:lnTo>
                      <a:pt x="11978" y="2128"/>
                    </a:lnTo>
                    <a:lnTo>
                      <a:pt x="12426" y="1792"/>
                    </a:lnTo>
                    <a:lnTo>
                      <a:pt x="13209" y="1456"/>
                    </a:lnTo>
                    <a:lnTo>
                      <a:pt x="15336" y="784"/>
                    </a:lnTo>
                    <a:lnTo>
                      <a:pt x="18134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33" name="Google Shape;1993;p16">
                <a:extLst>
                  <a:ext uri="{FF2B5EF4-FFF2-40B4-BE49-F238E27FC236}">
                    <a16:creationId xmlns:a16="http://schemas.microsoft.com/office/drawing/2014/main" id="{31FFC6CD-15E5-2F34-6446-772F1126C395}"/>
                  </a:ext>
                </a:extLst>
              </p:cNvPr>
              <p:cNvSpPr/>
              <p:nvPr/>
            </p:nvSpPr>
            <p:spPr>
              <a:xfrm>
                <a:off x="1845450" y="3495550"/>
                <a:ext cx="134350" cy="209900"/>
              </a:xfrm>
              <a:custGeom>
                <a:avLst/>
                <a:gdLst/>
                <a:ahLst/>
                <a:cxnLst/>
                <a:rect l="l" t="t" r="r" b="b"/>
                <a:pathLst>
                  <a:path w="5374" h="8396" extrusionOk="0">
                    <a:moveTo>
                      <a:pt x="2464" y="0"/>
                    </a:moveTo>
                    <a:lnTo>
                      <a:pt x="1120" y="224"/>
                    </a:lnTo>
                    <a:lnTo>
                      <a:pt x="784" y="336"/>
                    </a:lnTo>
                    <a:lnTo>
                      <a:pt x="337" y="560"/>
                    </a:lnTo>
                    <a:lnTo>
                      <a:pt x="113" y="784"/>
                    </a:lnTo>
                    <a:lnTo>
                      <a:pt x="1" y="1008"/>
                    </a:lnTo>
                    <a:lnTo>
                      <a:pt x="1" y="1343"/>
                    </a:lnTo>
                    <a:lnTo>
                      <a:pt x="113" y="1791"/>
                    </a:lnTo>
                    <a:lnTo>
                      <a:pt x="561" y="2911"/>
                    </a:lnTo>
                    <a:lnTo>
                      <a:pt x="673" y="3022"/>
                    </a:lnTo>
                    <a:lnTo>
                      <a:pt x="1008" y="2911"/>
                    </a:lnTo>
                    <a:lnTo>
                      <a:pt x="1120" y="3246"/>
                    </a:lnTo>
                    <a:lnTo>
                      <a:pt x="1456" y="4142"/>
                    </a:lnTo>
                    <a:lnTo>
                      <a:pt x="2240" y="6157"/>
                    </a:lnTo>
                    <a:lnTo>
                      <a:pt x="2352" y="6493"/>
                    </a:lnTo>
                    <a:lnTo>
                      <a:pt x="2687" y="6940"/>
                    </a:lnTo>
                    <a:lnTo>
                      <a:pt x="3471" y="7724"/>
                    </a:lnTo>
                    <a:lnTo>
                      <a:pt x="4255" y="8284"/>
                    </a:lnTo>
                    <a:lnTo>
                      <a:pt x="4702" y="8396"/>
                    </a:lnTo>
                    <a:lnTo>
                      <a:pt x="5038" y="8396"/>
                    </a:lnTo>
                    <a:lnTo>
                      <a:pt x="5262" y="8284"/>
                    </a:lnTo>
                    <a:lnTo>
                      <a:pt x="5374" y="7948"/>
                    </a:lnTo>
                    <a:lnTo>
                      <a:pt x="5262" y="7612"/>
                    </a:lnTo>
                    <a:lnTo>
                      <a:pt x="5150" y="7164"/>
                    </a:lnTo>
                    <a:lnTo>
                      <a:pt x="4702" y="5709"/>
                    </a:lnTo>
                    <a:lnTo>
                      <a:pt x="4478" y="5373"/>
                    </a:lnTo>
                    <a:lnTo>
                      <a:pt x="4031" y="5037"/>
                    </a:lnTo>
                    <a:lnTo>
                      <a:pt x="3583" y="4478"/>
                    </a:lnTo>
                    <a:lnTo>
                      <a:pt x="3135" y="3806"/>
                    </a:lnTo>
                    <a:lnTo>
                      <a:pt x="2799" y="3022"/>
                    </a:lnTo>
                    <a:lnTo>
                      <a:pt x="2799" y="2463"/>
                    </a:lnTo>
                    <a:lnTo>
                      <a:pt x="2911" y="2015"/>
                    </a:lnTo>
                    <a:lnTo>
                      <a:pt x="2911" y="1679"/>
                    </a:lnTo>
                    <a:lnTo>
                      <a:pt x="3023" y="1120"/>
                    </a:lnTo>
                    <a:lnTo>
                      <a:pt x="2911" y="672"/>
                    </a:lnTo>
                    <a:lnTo>
                      <a:pt x="2799" y="224"/>
                    </a:lnTo>
                    <a:lnTo>
                      <a:pt x="2576" y="112"/>
                    </a:lnTo>
                    <a:lnTo>
                      <a:pt x="2464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34" name="Google Shape;1994;p16">
                <a:extLst>
                  <a:ext uri="{FF2B5EF4-FFF2-40B4-BE49-F238E27FC236}">
                    <a16:creationId xmlns:a16="http://schemas.microsoft.com/office/drawing/2014/main" id="{0CE6A374-8949-D19A-0848-7E83180211DF}"/>
                  </a:ext>
                </a:extLst>
              </p:cNvPr>
              <p:cNvSpPr/>
              <p:nvPr/>
            </p:nvSpPr>
            <p:spPr>
              <a:xfrm>
                <a:off x="2435950" y="2938650"/>
                <a:ext cx="383400" cy="708025"/>
              </a:xfrm>
              <a:custGeom>
                <a:avLst/>
                <a:gdLst/>
                <a:ahLst/>
                <a:cxnLst/>
                <a:rect l="l" t="t" r="r" b="b"/>
                <a:pathLst>
                  <a:path w="15336" h="28321" extrusionOk="0">
                    <a:moveTo>
                      <a:pt x="3358" y="0"/>
                    </a:moveTo>
                    <a:lnTo>
                      <a:pt x="2798" y="224"/>
                    </a:lnTo>
                    <a:lnTo>
                      <a:pt x="1455" y="560"/>
                    </a:lnTo>
                    <a:lnTo>
                      <a:pt x="1119" y="448"/>
                    </a:lnTo>
                    <a:lnTo>
                      <a:pt x="560" y="560"/>
                    </a:lnTo>
                    <a:lnTo>
                      <a:pt x="336" y="672"/>
                    </a:lnTo>
                    <a:lnTo>
                      <a:pt x="112" y="896"/>
                    </a:lnTo>
                    <a:lnTo>
                      <a:pt x="0" y="1120"/>
                    </a:lnTo>
                    <a:lnTo>
                      <a:pt x="0" y="1567"/>
                    </a:lnTo>
                    <a:lnTo>
                      <a:pt x="560" y="3470"/>
                    </a:lnTo>
                    <a:lnTo>
                      <a:pt x="1903" y="7164"/>
                    </a:lnTo>
                    <a:lnTo>
                      <a:pt x="2798" y="9739"/>
                    </a:lnTo>
                    <a:lnTo>
                      <a:pt x="4925" y="15560"/>
                    </a:lnTo>
                    <a:lnTo>
                      <a:pt x="6045" y="18582"/>
                    </a:lnTo>
                    <a:lnTo>
                      <a:pt x="7500" y="22052"/>
                    </a:lnTo>
                    <a:lnTo>
                      <a:pt x="8284" y="24403"/>
                    </a:lnTo>
                    <a:lnTo>
                      <a:pt x="8619" y="25298"/>
                    </a:lnTo>
                    <a:lnTo>
                      <a:pt x="8843" y="26082"/>
                    </a:lnTo>
                    <a:lnTo>
                      <a:pt x="8843" y="26866"/>
                    </a:lnTo>
                    <a:lnTo>
                      <a:pt x="8731" y="27313"/>
                    </a:lnTo>
                    <a:lnTo>
                      <a:pt x="8731" y="27649"/>
                    </a:lnTo>
                    <a:lnTo>
                      <a:pt x="8955" y="28209"/>
                    </a:lnTo>
                    <a:lnTo>
                      <a:pt x="9179" y="28321"/>
                    </a:lnTo>
                    <a:lnTo>
                      <a:pt x="10186" y="28321"/>
                    </a:lnTo>
                    <a:lnTo>
                      <a:pt x="11306" y="28097"/>
                    </a:lnTo>
                    <a:lnTo>
                      <a:pt x="12537" y="27761"/>
                    </a:lnTo>
                    <a:lnTo>
                      <a:pt x="14664" y="26978"/>
                    </a:lnTo>
                    <a:lnTo>
                      <a:pt x="15224" y="26754"/>
                    </a:lnTo>
                    <a:lnTo>
                      <a:pt x="15336" y="26642"/>
                    </a:lnTo>
                    <a:lnTo>
                      <a:pt x="15336" y="26530"/>
                    </a:lnTo>
                    <a:lnTo>
                      <a:pt x="15112" y="26418"/>
                    </a:lnTo>
                    <a:lnTo>
                      <a:pt x="14664" y="26306"/>
                    </a:lnTo>
                    <a:lnTo>
                      <a:pt x="13657" y="26194"/>
                    </a:lnTo>
                    <a:lnTo>
                      <a:pt x="12537" y="26082"/>
                    </a:lnTo>
                    <a:lnTo>
                      <a:pt x="11866" y="25970"/>
                    </a:lnTo>
                    <a:lnTo>
                      <a:pt x="11642" y="25522"/>
                    </a:lnTo>
                    <a:lnTo>
                      <a:pt x="11194" y="24179"/>
                    </a:lnTo>
                    <a:lnTo>
                      <a:pt x="10075" y="19925"/>
                    </a:lnTo>
                    <a:lnTo>
                      <a:pt x="7164" y="8620"/>
                    </a:lnTo>
                    <a:lnTo>
                      <a:pt x="6381" y="5933"/>
                    </a:lnTo>
                    <a:lnTo>
                      <a:pt x="5261" y="1679"/>
                    </a:lnTo>
                    <a:lnTo>
                      <a:pt x="4925" y="896"/>
                    </a:lnTo>
                    <a:lnTo>
                      <a:pt x="4590" y="448"/>
                    </a:lnTo>
                    <a:lnTo>
                      <a:pt x="4254" y="112"/>
                    </a:lnTo>
                    <a:lnTo>
                      <a:pt x="3806" y="0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35" name="Google Shape;1995;p16">
                <a:extLst>
                  <a:ext uri="{FF2B5EF4-FFF2-40B4-BE49-F238E27FC236}">
                    <a16:creationId xmlns:a16="http://schemas.microsoft.com/office/drawing/2014/main" id="{E74F69A6-DB9D-C410-DDC6-5F839C684E8C}"/>
                  </a:ext>
                </a:extLst>
              </p:cNvPr>
              <p:cNvSpPr/>
              <p:nvPr/>
            </p:nvSpPr>
            <p:spPr>
              <a:xfrm>
                <a:off x="2645825" y="3596275"/>
                <a:ext cx="226700" cy="92375"/>
              </a:xfrm>
              <a:custGeom>
                <a:avLst/>
                <a:gdLst/>
                <a:ahLst/>
                <a:cxnLst/>
                <a:rect l="l" t="t" r="r" b="b"/>
                <a:pathLst>
                  <a:path w="9068" h="3695" extrusionOk="0">
                    <a:moveTo>
                      <a:pt x="6493" y="1"/>
                    </a:moveTo>
                    <a:lnTo>
                      <a:pt x="6045" y="113"/>
                    </a:lnTo>
                    <a:lnTo>
                      <a:pt x="5485" y="449"/>
                    </a:lnTo>
                    <a:lnTo>
                      <a:pt x="4814" y="673"/>
                    </a:lnTo>
                    <a:lnTo>
                      <a:pt x="4030" y="1008"/>
                    </a:lnTo>
                    <a:lnTo>
                      <a:pt x="3247" y="1120"/>
                    </a:lnTo>
                    <a:lnTo>
                      <a:pt x="2687" y="1008"/>
                    </a:lnTo>
                    <a:lnTo>
                      <a:pt x="2239" y="896"/>
                    </a:lnTo>
                    <a:lnTo>
                      <a:pt x="1903" y="673"/>
                    </a:lnTo>
                    <a:lnTo>
                      <a:pt x="1344" y="561"/>
                    </a:lnTo>
                    <a:lnTo>
                      <a:pt x="448" y="561"/>
                    </a:lnTo>
                    <a:lnTo>
                      <a:pt x="224" y="673"/>
                    </a:lnTo>
                    <a:lnTo>
                      <a:pt x="112" y="896"/>
                    </a:lnTo>
                    <a:lnTo>
                      <a:pt x="0" y="2240"/>
                    </a:lnTo>
                    <a:lnTo>
                      <a:pt x="112" y="2687"/>
                    </a:lnTo>
                    <a:lnTo>
                      <a:pt x="224" y="3135"/>
                    </a:lnTo>
                    <a:lnTo>
                      <a:pt x="448" y="3471"/>
                    </a:lnTo>
                    <a:lnTo>
                      <a:pt x="560" y="3695"/>
                    </a:lnTo>
                    <a:lnTo>
                      <a:pt x="1568" y="3695"/>
                    </a:lnTo>
                    <a:lnTo>
                      <a:pt x="2239" y="3583"/>
                    </a:lnTo>
                    <a:lnTo>
                      <a:pt x="2463" y="3471"/>
                    </a:lnTo>
                    <a:lnTo>
                      <a:pt x="2575" y="3247"/>
                    </a:lnTo>
                    <a:lnTo>
                      <a:pt x="2799" y="3023"/>
                    </a:lnTo>
                    <a:lnTo>
                      <a:pt x="3359" y="2911"/>
                    </a:lnTo>
                    <a:lnTo>
                      <a:pt x="4254" y="2799"/>
                    </a:lnTo>
                    <a:lnTo>
                      <a:pt x="6381" y="2687"/>
                    </a:lnTo>
                    <a:lnTo>
                      <a:pt x="7165" y="2464"/>
                    </a:lnTo>
                    <a:lnTo>
                      <a:pt x="8060" y="2016"/>
                    </a:lnTo>
                    <a:lnTo>
                      <a:pt x="8508" y="1792"/>
                    </a:lnTo>
                    <a:lnTo>
                      <a:pt x="8844" y="1456"/>
                    </a:lnTo>
                    <a:lnTo>
                      <a:pt x="9067" y="1232"/>
                    </a:lnTo>
                    <a:lnTo>
                      <a:pt x="9067" y="896"/>
                    </a:lnTo>
                    <a:lnTo>
                      <a:pt x="8956" y="561"/>
                    </a:lnTo>
                    <a:lnTo>
                      <a:pt x="8732" y="337"/>
                    </a:lnTo>
                    <a:lnTo>
                      <a:pt x="8396" y="225"/>
                    </a:lnTo>
                    <a:lnTo>
                      <a:pt x="7948" y="113"/>
                    </a:lnTo>
                    <a:lnTo>
                      <a:pt x="7053" y="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36" name="Google Shape;1996;p16">
                <a:extLst>
                  <a:ext uri="{FF2B5EF4-FFF2-40B4-BE49-F238E27FC236}">
                    <a16:creationId xmlns:a16="http://schemas.microsoft.com/office/drawing/2014/main" id="{D1202320-FCF5-B0F9-B0BD-D85B4CC7560D}"/>
                  </a:ext>
                </a:extLst>
              </p:cNvPr>
              <p:cNvSpPr/>
              <p:nvPr/>
            </p:nvSpPr>
            <p:spPr>
              <a:xfrm>
                <a:off x="1974200" y="2524475"/>
                <a:ext cx="682850" cy="694050"/>
              </a:xfrm>
              <a:custGeom>
                <a:avLst/>
                <a:gdLst/>
                <a:ahLst/>
                <a:cxnLst/>
                <a:rect l="l" t="t" r="r" b="b"/>
                <a:pathLst>
                  <a:path w="27314" h="27762" extrusionOk="0">
                    <a:moveTo>
                      <a:pt x="14104" y="0"/>
                    </a:moveTo>
                    <a:lnTo>
                      <a:pt x="13321" y="112"/>
                    </a:lnTo>
                    <a:lnTo>
                      <a:pt x="12537" y="224"/>
                    </a:lnTo>
                    <a:lnTo>
                      <a:pt x="11642" y="560"/>
                    </a:lnTo>
                    <a:lnTo>
                      <a:pt x="10634" y="1120"/>
                    </a:lnTo>
                    <a:lnTo>
                      <a:pt x="9627" y="2015"/>
                    </a:lnTo>
                    <a:lnTo>
                      <a:pt x="8843" y="3246"/>
                    </a:lnTo>
                    <a:lnTo>
                      <a:pt x="8172" y="4478"/>
                    </a:lnTo>
                    <a:lnTo>
                      <a:pt x="7724" y="5821"/>
                    </a:lnTo>
                    <a:lnTo>
                      <a:pt x="7276" y="7052"/>
                    </a:lnTo>
                    <a:lnTo>
                      <a:pt x="6605" y="9739"/>
                    </a:lnTo>
                    <a:lnTo>
                      <a:pt x="6045" y="12537"/>
                    </a:lnTo>
                    <a:lnTo>
                      <a:pt x="5261" y="15336"/>
                    </a:lnTo>
                    <a:lnTo>
                      <a:pt x="4813" y="16791"/>
                    </a:lnTo>
                    <a:lnTo>
                      <a:pt x="4142" y="18246"/>
                    </a:lnTo>
                    <a:lnTo>
                      <a:pt x="3470" y="19813"/>
                    </a:lnTo>
                    <a:lnTo>
                      <a:pt x="2463" y="21381"/>
                    </a:lnTo>
                    <a:lnTo>
                      <a:pt x="1343" y="22948"/>
                    </a:lnTo>
                    <a:lnTo>
                      <a:pt x="0" y="24515"/>
                    </a:lnTo>
                    <a:lnTo>
                      <a:pt x="224" y="24851"/>
                    </a:lnTo>
                    <a:lnTo>
                      <a:pt x="560" y="25075"/>
                    </a:lnTo>
                    <a:lnTo>
                      <a:pt x="1455" y="25410"/>
                    </a:lnTo>
                    <a:lnTo>
                      <a:pt x="2351" y="25522"/>
                    </a:lnTo>
                    <a:lnTo>
                      <a:pt x="3470" y="25634"/>
                    </a:lnTo>
                    <a:lnTo>
                      <a:pt x="5597" y="25746"/>
                    </a:lnTo>
                    <a:lnTo>
                      <a:pt x="6493" y="25970"/>
                    </a:lnTo>
                    <a:lnTo>
                      <a:pt x="7164" y="26194"/>
                    </a:lnTo>
                    <a:lnTo>
                      <a:pt x="7612" y="26530"/>
                    </a:lnTo>
                    <a:lnTo>
                      <a:pt x="8396" y="26754"/>
                    </a:lnTo>
                    <a:lnTo>
                      <a:pt x="10187" y="27201"/>
                    </a:lnTo>
                    <a:lnTo>
                      <a:pt x="12425" y="27649"/>
                    </a:lnTo>
                    <a:lnTo>
                      <a:pt x="13545" y="27761"/>
                    </a:lnTo>
                    <a:lnTo>
                      <a:pt x="14552" y="27761"/>
                    </a:lnTo>
                    <a:lnTo>
                      <a:pt x="15448" y="27649"/>
                    </a:lnTo>
                    <a:lnTo>
                      <a:pt x="16007" y="27425"/>
                    </a:lnTo>
                    <a:lnTo>
                      <a:pt x="16679" y="27090"/>
                    </a:lnTo>
                    <a:lnTo>
                      <a:pt x="17463" y="26866"/>
                    </a:lnTo>
                    <a:lnTo>
                      <a:pt x="18918" y="26530"/>
                    </a:lnTo>
                    <a:lnTo>
                      <a:pt x="20373" y="26306"/>
                    </a:lnTo>
                    <a:lnTo>
                      <a:pt x="21828" y="26306"/>
                    </a:lnTo>
                    <a:lnTo>
                      <a:pt x="23283" y="26194"/>
                    </a:lnTo>
                    <a:lnTo>
                      <a:pt x="24627" y="25970"/>
                    </a:lnTo>
                    <a:lnTo>
                      <a:pt x="25298" y="25746"/>
                    </a:lnTo>
                    <a:lnTo>
                      <a:pt x="25970" y="25522"/>
                    </a:lnTo>
                    <a:lnTo>
                      <a:pt x="26530" y="25187"/>
                    </a:lnTo>
                    <a:lnTo>
                      <a:pt x="27089" y="24851"/>
                    </a:lnTo>
                    <a:lnTo>
                      <a:pt x="27201" y="24627"/>
                    </a:lnTo>
                    <a:lnTo>
                      <a:pt x="27201" y="24403"/>
                    </a:lnTo>
                    <a:lnTo>
                      <a:pt x="27313" y="23731"/>
                    </a:lnTo>
                    <a:lnTo>
                      <a:pt x="27089" y="22724"/>
                    </a:lnTo>
                    <a:lnTo>
                      <a:pt x="26865" y="21493"/>
                    </a:lnTo>
                    <a:lnTo>
                      <a:pt x="26082" y="18470"/>
                    </a:lnTo>
                    <a:lnTo>
                      <a:pt x="24962" y="15000"/>
                    </a:lnTo>
                    <a:lnTo>
                      <a:pt x="22612" y="7724"/>
                    </a:lnTo>
                    <a:lnTo>
                      <a:pt x="20709" y="2463"/>
                    </a:lnTo>
                    <a:lnTo>
                      <a:pt x="20485" y="1791"/>
                    </a:lnTo>
                    <a:lnTo>
                      <a:pt x="19701" y="1344"/>
                    </a:lnTo>
                    <a:lnTo>
                      <a:pt x="18806" y="896"/>
                    </a:lnTo>
                    <a:lnTo>
                      <a:pt x="17686" y="448"/>
                    </a:lnTo>
                    <a:lnTo>
                      <a:pt x="16343" y="112"/>
                    </a:lnTo>
                    <a:lnTo>
                      <a:pt x="14888" y="0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37" name="Google Shape;1997;p16">
                <a:extLst>
                  <a:ext uri="{FF2B5EF4-FFF2-40B4-BE49-F238E27FC236}">
                    <a16:creationId xmlns:a16="http://schemas.microsoft.com/office/drawing/2014/main" id="{57CD8695-02AA-F5B9-B3C4-273573AF7DB7}"/>
                  </a:ext>
                </a:extLst>
              </p:cNvPr>
              <p:cNvSpPr/>
              <p:nvPr/>
            </p:nvSpPr>
            <p:spPr>
              <a:xfrm>
                <a:off x="1974200" y="2524475"/>
                <a:ext cx="682850" cy="694050"/>
              </a:xfrm>
              <a:custGeom>
                <a:avLst/>
                <a:gdLst/>
                <a:ahLst/>
                <a:cxnLst/>
                <a:rect l="l" t="t" r="r" b="b"/>
                <a:pathLst>
                  <a:path w="27314" h="27762" fill="none" extrusionOk="0">
                    <a:moveTo>
                      <a:pt x="27089" y="24851"/>
                    </a:moveTo>
                    <a:lnTo>
                      <a:pt x="27089" y="24851"/>
                    </a:lnTo>
                    <a:lnTo>
                      <a:pt x="26530" y="25187"/>
                    </a:lnTo>
                    <a:lnTo>
                      <a:pt x="25970" y="25522"/>
                    </a:lnTo>
                    <a:lnTo>
                      <a:pt x="25298" y="25746"/>
                    </a:lnTo>
                    <a:lnTo>
                      <a:pt x="24627" y="25970"/>
                    </a:lnTo>
                    <a:lnTo>
                      <a:pt x="23283" y="26194"/>
                    </a:lnTo>
                    <a:lnTo>
                      <a:pt x="21828" y="26306"/>
                    </a:lnTo>
                    <a:lnTo>
                      <a:pt x="20373" y="26306"/>
                    </a:lnTo>
                    <a:lnTo>
                      <a:pt x="18918" y="26530"/>
                    </a:lnTo>
                    <a:lnTo>
                      <a:pt x="17463" y="26866"/>
                    </a:lnTo>
                    <a:lnTo>
                      <a:pt x="16679" y="27090"/>
                    </a:lnTo>
                    <a:lnTo>
                      <a:pt x="16007" y="27425"/>
                    </a:lnTo>
                    <a:lnTo>
                      <a:pt x="16007" y="27425"/>
                    </a:lnTo>
                    <a:lnTo>
                      <a:pt x="15448" y="27649"/>
                    </a:lnTo>
                    <a:lnTo>
                      <a:pt x="14552" y="27761"/>
                    </a:lnTo>
                    <a:lnTo>
                      <a:pt x="13545" y="27761"/>
                    </a:lnTo>
                    <a:lnTo>
                      <a:pt x="12425" y="27649"/>
                    </a:lnTo>
                    <a:lnTo>
                      <a:pt x="10187" y="27201"/>
                    </a:lnTo>
                    <a:lnTo>
                      <a:pt x="8396" y="26754"/>
                    </a:lnTo>
                    <a:lnTo>
                      <a:pt x="8396" y="26754"/>
                    </a:lnTo>
                    <a:lnTo>
                      <a:pt x="7612" y="26530"/>
                    </a:lnTo>
                    <a:lnTo>
                      <a:pt x="7164" y="26194"/>
                    </a:lnTo>
                    <a:lnTo>
                      <a:pt x="7164" y="26194"/>
                    </a:lnTo>
                    <a:lnTo>
                      <a:pt x="6493" y="25970"/>
                    </a:lnTo>
                    <a:lnTo>
                      <a:pt x="5597" y="25746"/>
                    </a:lnTo>
                    <a:lnTo>
                      <a:pt x="3470" y="25634"/>
                    </a:lnTo>
                    <a:lnTo>
                      <a:pt x="2351" y="25522"/>
                    </a:lnTo>
                    <a:lnTo>
                      <a:pt x="1455" y="25410"/>
                    </a:lnTo>
                    <a:lnTo>
                      <a:pt x="560" y="25075"/>
                    </a:lnTo>
                    <a:lnTo>
                      <a:pt x="224" y="24851"/>
                    </a:lnTo>
                    <a:lnTo>
                      <a:pt x="0" y="24515"/>
                    </a:lnTo>
                    <a:lnTo>
                      <a:pt x="0" y="24515"/>
                    </a:lnTo>
                    <a:lnTo>
                      <a:pt x="1343" y="22948"/>
                    </a:lnTo>
                    <a:lnTo>
                      <a:pt x="2463" y="21381"/>
                    </a:lnTo>
                    <a:lnTo>
                      <a:pt x="3470" y="19813"/>
                    </a:lnTo>
                    <a:lnTo>
                      <a:pt x="4142" y="18246"/>
                    </a:lnTo>
                    <a:lnTo>
                      <a:pt x="4813" y="16791"/>
                    </a:lnTo>
                    <a:lnTo>
                      <a:pt x="5261" y="15336"/>
                    </a:lnTo>
                    <a:lnTo>
                      <a:pt x="6045" y="12537"/>
                    </a:lnTo>
                    <a:lnTo>
                      <a:pt x="6605" y="9739"/>
                    </a:lnTo>
                    <a:lnTo>
                      <a:pt x="7276" y="7052"/>
                    </a:lnTo>
                    <a:lnTo>
                      <a:pt x="7724" y="5821"/>
                    </a:lnTo>
                    <a:lnTo>
                      <a:pt x="8172" y="4478"/>
                    </a:lnTo>
                    <a:lnTo>
                      <a:pt x="8843" y="3246"/>
                    </a:lnTo>
                    <a:lnTo>
                      <a:pt x="9627" y="2015"/>
                    </a:lnTo>
                    <a:lnTo>
                      <a:pt x="9627" y="2015"/>
                    </a:lnTo>
                    <a:lnTo>
                      <a:pt x="9627" y="2015"/>
                    </a:lnTo>
                    <a:lnTo>
                      <a:pt x="9627" y="2015"/>
                    </a:lnTo>
                    <a:lnTo>
                      <a:pt x="9627" y="2015"/>
                    </a:lnTo>
                    <a:lnTo>
                      <a:pt x="10634" y="1120"/>
                    </a:lnTo>
                    <a:lnTo>
                      <a:pt x="11642" y="560"/>
                    </a:lnTo>
                    <a:lnTo>
                      <a:pt x="11642" y="560"/>
                    </a:lnTo>
                    <a:lnTo>
                      <a:pt x="12537" y="224"/>
                    </a:lnTo>
                    <a:lnTo>
                      <a:pt x="13321" y="112"/>
                    </a:lnTo>
                    <a:lnTo>
                      <a:pt x="14104" y="0"/>
                    </a:lnTo>
                    <a:lnTo>
                      <a:pt x="14888" y="0"/>
                    </a:lnTo>
                    <a:lnTo>
                      <a:pt x="16343" y="112"/>
                    </a:lnTo>
                    <a:lnTo>
                      <a:pt x="17686" y="448"/>
                    </a:lnTo>
                    <a:lnTo>
                      <a:pt x="18806" y="896"/>
                    </a:lnTo>
                    <a:lnTo>
                      <a:pt x="19701" y="1344"/>
                    </a:lnTo>
                    <a:lnTo>
                      <a:pt x="20485" y="1791"/>
                    </a:lnTo>
                    <a:lnTo>
                      <a:pt x="20485" y="1791"/>
                    </a:lnTo>
                    <a:lnTo>
                      <a:pt x="20709" y="2463"/>
                    </a:lnTo>
                    <a:lnTo>
                      <a:pt x="20709" y="2463"/>
                    </a:lnTo>
                    <a:lnTo>
                      <a:pt x="22612" y="7724"/>
                    </a:lnTo>
                    <a:lnTo>
                      <a:pt x="24962" y="15000"/>
                    </a:lnTo>
                    <a:lnTo>
                      <a:pt x="26082" y="18470"/>
                    </a:lnTo>
                    <a:lnTo>
                      <a:pt x="26865" y="21493"/>
                    </a:lnTo>
                    <a:lnTo>
                      <a:pt x="27089" y="22724"/>
                    </a:lnTo>
                    <a:lnTo>
                      <a:pt x="27313" y="23731"/>
                    </a:lnTo>
                    <a:lnTo>
                      <a:pt x="27201" y="24403"/>
                    </a:lnTo>
                    <a:lnTo>
                      <a:pt x="27201" y="24627"/>
                    </a:lnTo>
                    <a:lnTo>
                      <a:pt x="27089" y="2485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38" name="Google Shape;1998;p16">
                <a:extLst>
                  <a:ext uri="{FF2B5EF4-FFF2-40B4-BE49-F238E27FC236}">
                    <a16:creationId xmlns:a16="http://schemas.microsoft.com/office/drawing/2014/main" id="{0EF04222-4F55-DB37-AD79-950FC87683E9}"/>
                  </a:ext>
                </a:extLst>
              </p:cNvPr>
              <p:cNvSpPr/>
              <p:nvPr/>
            </p:nvSpPr>
            <p:spPr>
              <a:xfrm>
                <a:off x="1814675" y="2051525"/>
                <a:ext cx="1060650" cy="551325"/>
              </a:xfrm>
              <a:custGeom>
                <a:avLst/>
                <a:gdLst/>
                <a:ahLst/>
                <a:cxnLst/>
                <a:rect l="l" t="t" r="r" b="b"/>
                <a:pathLst>
                  <a:path w="42426" h="22053" extrusionOk="0">
                    <a:moveTo>
                      <a:pt x="40634" y="1"/>
                    </a:moveTo>
                    <a:lnTo>
                      <a:pt x="37164" y="2015"/>
                    </a:lnTo>
                    <a:lnTo>
                      <a:pt x="34814" y="3247"/>
                    </a:lnTo>
                    <a:lnTo>
                      <a:pt x="33806" y="3695"/>
                    </a:lnTo>
                    <a:lnTo>
                      <a:pt x="33135" y="3918"/>
                    </a:lnTo>
                    <a:lnTo>
                      <a:pt x="32239" y="4030"/>
                    </a:lnTo>
                    <a:lnTo>
                      <a:pt x="30896" y="3918"/>
                    </a:lnTo>
                    <a:lnTo>
                      <a:pt x="27426" y="3583"/>
                    </a:lnTo>
                    <a:lnTo>
                      <a:pt x="24851" y="3247"/>
                    </a:lnTo>
                    <a:lnTo>
                      <a:pt x="23508" y="3135"/>
                    </a:lnTo>
                    <a:lnTo>
                      <a:pt x="22164" y="3135"/>
                    </a:lnTo>
                    <a:lnTo>
                      <a:pt x="20821" y="3023"/>
                    </a:lnTo>
                    <a:lnTo>
                      <a:pt x="20262" y="3023"/>
                    </a:lnTo>
                    <a:lnTo>
                      <a:pt x="19814" y="3135"/>
                    </a:lnTo>
                    <a:lnTo>
                      <a:pt x="19254" y="3359"/>
                    </a:lnTo>
                    <a:lnTo>
                      <a:pt x="18694" y="3695"/>
                    </a:lnTo>
                    <a:lnTo>
                      <a:pt x="17239" y="4590"/>
                    </a:lnTo>
                    <a:lnTo>
                      <a:pt x="16008" y="5597"/>
                    </a:lnTo>
                    <a:lnTo>
                      <a:pt x="15112" y="6157"/>
                    </a:lnTo>
                    <a:lnTo>
                      <a:pt x="14329" y="6605"/>
                    </a:lnTo>
                    <a:lnTo>
                      <a:pt x="13545" y="7277"/>
                    </a:lnTo>
                    <a:lnTo>
                      <a:pt x="12090" y="8508"/>
                    </a:lnTo>
                    <a:lnTo>
                      <a:pt x="11306" y="9068"/>
                    </a:lnTo>
                    <a:lnTo>
                      <a:pt x="10523" y="9515"/>
                    </a:lnTo>
                    <a:lnTo>
                      <a:pt x="9739" y="9851"/>
                    </a:lnTo>
                    <a:lnTo>
                      <a:pt x="8844" y="10075"/>
                    </a:lnTo>
                    <a:lnTo>
                      <a:pt x="6605" y="10075"/>
                    </a:lnTo>
                    <a:lnTo>
                      <a:pt x="3918" y="9851"/>
                    </a:lnTo>
                    <a:lnTo>
                      <a:pt x="1680" y="9515"/>
                    </a:lnTo>
                    <a:lnTo>
                      <a:pt x="560" y="9291"/>
                    </a:lnTo>
                    <a:lnTo>
                      <a:pt x="336" y="9403"/>
                    </a:lnTo>
                    <a:lnTo>
                      <a:pt x="224" y="9739"/>
                    </a:lnTo>
                    <a:lnTo>
                      <a:pt x="1" y="10747"/>
                    </a:lnTo>
                    <a:lnTo>
                      <a:pt x="1" y="11866"/>
                    </a:lnTo>
                    <a:lnTo>
                      <a:pt x="113" y="12314"/>
                    </a:lnTo>
                    <a:lnTo>
                      <a:pt x="224" y="12538"/>
                    </a:lnTo>
                    <a:lnTo>
                      <a:pt x="1344" y="12650"/>
                    </a:lnTo>
                    <a:lnTo>
                      <a:pt x="3471" y="12985"/>
                    </a:lnTo>
                    <a:lnTo>
                      <a:pt x="6157" y="13321"/>
                    </a:lnTo>
                    <a:lnTo>
                      <a:pt x="8732" y="13321"/>
                    </a:lnTo>
                    <a:lnTo>
                      <a:pt x="9292" y="13209"/>
                    </a:lnTo>
                    <a:lnTo>
                      <a:pt x="10299" y="12874"/>
                    </a:lnTo>
                    <a:lnTo>
                      <a:pt x="12650" y="11754"/>
                    </a:lnTo>
                    <a:lnTo>
                      <a:pt x="15000" y="10635"/>
                    </a:lnTo>
                    <a:lnTo>
                      <a:pt x="15896" y="10299"/>
                    </a:lnTo>
                    <a:lnTo>
                      <a:pt x="16568" y="10299"/>
                    </a:lnTo>
                    <a:lnTo>
                      <a:pt x="17127" y="10523"/>
                    </a:lnTo>
                    <a:lnTo>
                      <a:pt x="17463" y="10971"/>
                    </a:lnTo>
                    <a:lnTo>
                      <a:pt x="17799" y="11530"/>
                    </a:lnTo>
                    <a:lnTo>
                      <a:pt x="18023" y="12314"/>
                    </a:lnTo>
                    <a:lnTo>
                      <a:pt x="18135" y="13209"/>
                    </a:lnTo>
                    <a:lnTo>
                      <a:pt x="18135" y="14217"/>
                    </a:lnTo>
                    <a:lnTo>
                      <a:pt x="18023" y="15224"/>
                    </a:lnTo>
                    <a:lnTo>
                      <a:pt x="17799" y="16456"/>
                    </a:lnTo>
                    <a:lnTo>
                      <a:pt x="17687" y="17015"/>
                    </a:lnTo>
                    <a:lnTo>
                      <a:pt x="17351" y="18135"/>
                    </a:lnTo>
                    <a:lnTo>
                      <a:pt x="17015" y="19142"/>
                    </a:lnTo>
                    <a:lnTo>
                      <a:pt x="16568" y="20150"/>
                    </a:lnTo>
                    <a:lnTo>
                      <a:pt x="16008" y="20933"/>
                    </a:lnTo>
                    <a:lnTo>
                      <a:pt x="15896" y="21045"/>
                    </a:lnTo>
                    <a:lnTo>
                      <a:pt x="16008" y="21269"/>
                    </a:lnTo>
                    <a:lnTo>
                      <a:pt x="16456" y="21493"/>
                    </a:lnTo>
                    <a:lnTo>
                      <a:pt x="17239" y="21605"/>
                    </a:lnTo>
                    <a:lnTo>
                      <a:pt x="18247" y="21829"/>
                    </a:lnTo>
                    <a:lnTo>
                      <a:pt x="19366" y="21941"/>
                    </a:lnTo>
                    <a:lnTo>
                      <a:pt x="21829" y="22053"/>
                    </a:lnTo>
                    <a:lnTo>
                      <a:pt x="24179" y="22053"/>
                    </a:lnTo>
                    <a:lnTo>
                      <a:pt x="26082" y="21829"/>
                    </a:lnTo>
                    <a:lnTo>
                      <a:pt x="26642" y="21717"/>
                    </a:lnTo>
                    <a:lnTo>
                      <a:pt x="26978" y="21605"/>
                    </a:lnTo>
                    <a:lnTo>
                      <a:pt x="27090" y="21381"/>
                    </a:lnTo>
                    <a:lnTo>
                      <a:pt x="27090" y="20597"/>
                    </a:lnTo>
                    <a:lnTo>
                      <a:pt x="26978" y="19590"/>
                    </a:lnTo>
                    <a:lnTo>
                      <a:pt x="26530" y="17239"/>
                    </a:lnTo>
                    <a:lnTo>
                      <a:pt x="26082" y="14888"/>
                    </a:lnTo>
                    <a:lnTo>
                      <a:pt x="25858" y="13433"/>
                    </a:lnTo>
                    <a:lnTo>
                      <a:pt x="25970" y="12874"/>
                    </a:lnTo>
                    <a:lnTo>
                      <a:pt x="26082" y="12426"/>
                    </a:lnTo>
                    <a:lnTo>
                      <a:pt x="26642" y="11530"/>
                    </a:lnTo>
                    <a:lnTo>
                      <a:pt x="27090" y="10635"/>
                    </a:lnTo>
                    <a:lnTo>
                      <a:pt x="27314" y="10075"/>
                    </a:lnTo>
                    <a:lnTo>
                      <a:pt x="27314" y="9403"/>
                    </a:lnTo>
                    <a:lnTo>
                      <a:pt x="27314" y="9068"/>
                    </a:lnTo>
                    <a:lnTo>
                      <a:pt x="27202" y="8620"/>
                    </a:lnTo>
                    <a:lnTo>
                      <a:pt x="26754" y="8172"/>
                    </a:lnTo>
                    <a:lnTo>
                      <a:pt x="26642" y="7948"/>
                    </a:lnTo>
                    <a:lnTo>
                      <a:pt x="26530" y="7724"/>
                    </a:lnTo>
                    <a:lnTo>
                      <a:pt x="26642" y="7500"/>
                    </a:lnTo>
                    <a:lnTo>
                      <a:pt x="26866" y="7277"/>
                    </a:lnTo>
                    <a:lnTo>
                      <a:pt x="27985" y="7277"/>
                    </a:lnTo>
                    <a:lnTo>
                      <a:pt x="30112" y="7500"/>
                    </a:lnTo>
                    <a:lnTo>
                      <a:pt x="32127" y="7612"/>
                    </a:lnTo>
                    <a:lnTo>
                      <a:pt x="33582" y="7612"/>
                    </a:lnTo>
                    <a:lnTo>
                      <a:pt x="34478" y="7389"/>
                    </a:lnTo>
                    <a:lnTo>
                      <a:pt x="35597" y="6717"/>
                    </a:lnTo>
                    <a:lnTo>
                      <a:pt x="38508" y="5038"/>
                    </a:lnTo>
                    <a:lnTo>
                      <a:pt x="42425" y="2575"/>
                    </a:lnTo>
                    <a:lnTo>
                      <a:pt x="42425" y="2463"/>
                    </a:lnTo>
                    <a:lnTo>
                      <a:pt x="42313" y="2127"/>
                    </a:lnTo>
                    <a:lnTo>
                      <a:pt x="41866" y="1120"/>
                    </a:lnTo>
                    <a:lnTo>
                      <a:pt x="41194" y="224"/>
                    </a:lnTo>
                    <a:lnTo>
                      <a:pt x="40858" y="1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39" name="Google Shape;1999;p16">
                <a:extLst>
                  <a:ext uri="{FF2B5EF4-FFF2-40B4-BE49-F238E27FC236}">
                    <a16:creationId xmlns:a16="http://schemas.microsoft.com/office/drawing/2014/main" id="{896563AF-D5BB-D3B0-6E50-75DC165B09C5}"/>
                  </a:ext>
                </a:extLst>
              </p:cNvPr>
              <p:cNvSpPr/>
              <p:nvPr/>
            </p:nvSpPr>
            <p:spPr>
              <a:xfrm>
                <a:off x="1814675" y="2051525"/>
                <a:ext cx="1060650" cy="551325"/>
              </a:xfrm>
              <a:custGeom>
                <a:avLst/>
                <a:gdLst/>
                <a:ahLst/>
                <a:cxnLst/>
                <a:rect l="l" t="t" r="r" b="b"/>
                <a:pathLst>
                  <a:path w="42426" h="22053" fill="none" extrusionOk="0">
                    <a:moveTo>
                      <a:pt x="42425" y="2575"/>
                    </a:moveTo>
                    <a:lnTo>
                      <a:pt x="42425" y="2575"/>
                    </a:lnTo>
                    <a:lnTo>
                      <a:pt x="38508" y="5038"/>
                    </a:lnTo>
                    <a:lnTo>
                      <a:pt x="35597" y="6717"/>
                    </a:lnTo>
                    <a:lnTo>
                      <a:pt x="34478" y="7389"/>
                    </a:lnTo>
                    <a:lnTo>
                      <a:pt x="33582" y="7612"/>
                    </a:lnTo>
                    <a:lnTo>
                      <a:pt x="33582" y="7612"/>
                    </a:lnTo>
                    <a:lnTo>
                      <a:pt x="33023" y="7612"/>
                    </a:lnTo>
                    <a:lnTo>
                      <a:pt x="32127" y="7612"/>
                    </a:lnTo>
                    <a:lnTo>
                      <a:pt x="30112" y="7500"/>
                    </a:lnTo>
                    <a:lnTo>
                      <a:pt x="30112" y="7500"/>
                    </a:lnTo>
                    <a:lnTo>
                      <a:pt x="27985" y="7277"/>
                    </a:lnTo>
                    <a:lnTo>
                      <a:pt x="27202" y="7277"/>
                    </a:lnTo>
                    <a:lnTo>
                      <a:pt x="26866" y="7277"/>
                    </a:lnTo>
                    <a:lnTo>
                      <a:pt x="26866" y="7277"/>
                    </a:lnTo>
                    <a:lnTo>
                      <a:pt x="26642" y="7500"/>
                    </a:lnTo>
                    <a:lnTo>
                      <a:pt x="26530" y="7724"/>
                    </a:lnTo>
                    <a:lnTo>
                      <a:pt x="26642" y="7948"/>
                    </a:lnTo>
                    <a:lnTo>
                      <a:pt x="26754" y="8172"/>
                    </a:lnTo>
                    <a:lnTo>
                      <a:pt x="27202" y="8620"/>
                    </a:lnTo>
                    <a:lnTo>
                      <a:pt x="27314" y="9068"/>
                    </a:lnTo>
                    <a:lnTo>
                      <a:pt x="27314" y="9403"/>
                    </a:lnTo>
                    <a:lnTo>
                      <a:pt x="27314" y="9403"/>
                    </a:lnTo>
                    <a:lnTo>
                      <a:pt x="27314" y="10075"/>
                    </a:lnTo>
                    <a:lnTo>
                      <a:pt x="27090" y="10635"/>
                    </a:lnTo>
                    <a:lnTo>
                      <a:pt x="26642" y="11530"/>
                    </a:lnTo>
                    <a:lnTo>
                      <a:pt x="26082" y="12426"/>
                    </a:lnTo>
                    <a:lnTo>
                      <a:pt x="25970" y="12874"/>
                    </a:lnTo>
                    <a:lnTo>
                      <a:pt x="25858" y="13433"/>
                    </a:lnTo>
                    <a:lnTo>
                      <a:pt x="25858" y="13433"/>
                    </a:lnTo>
                    <a:lnTo>
                      <a:pt x="26082" y="14888"/>
                    </a:lnTo>
                    <a:lnTo>
                      <a:pt x="26530" y="17239"/>
                    </a:lnTo>
                    <a:lnTo>
                      <a:pt x="26978" y="19590"/>
                    </a:lnTo>
                    <a:lnTo>
                      <a:pt x="27090" y="20597"/>
                    </a:lnTo>
                    <a:lnTo>
                      <a:pt x="27090" y="21381"/>
                    </a:lnTo>
                    <a:lnTo>
                      <a:pt x="27090" y="21381"/>
                    </a:lnTo>
                    <a:lnTo>
                      <a:pt x="26978" y="21605"/>
                    </a:lnTo>
                    <a:lnTo>
                      <a:pt x="26978" y="21605"/>
                    </a:lnTo>
                    <a:lnTo>
                      <a:pt x="26642" y="21717"/>
                    </a:lnTo>
                    <a:lnTo>
                      <a:pt x="26082" y="21829"/>
                    </a:lnTo>
                    <a:lnTo>
                      <a:pt x="24179" y="22053"/>
                    </a:lnTo>
                    <a:lnTo>
                      <a:pt x="21829" y="22053"/>
                    </a:lnTo>
                    <a:lnTo>
                      <a:pt x="19366" y="21941"/>
                    </a:lnTo>
                    <a:lnTo>
                      <a:pt x="19366" y="21941"/>
                    </a:lnTo>
                    <a:lnTo>
                      <a:pt x="18247" y="21829"/>
                    </a:lnTo>
                    <a:lnTo>
                      <a:pt x="18247" y="21829"/>
                    </a:lnTo>
                    <a:lnTo>
                      <a:pt x="17239" y="21605"/>
                    </a:lnTo>
                    <a:lnTo>
                      <a:pt x="16456" y="21493"/>
                    </a:lnTo>
                    <a:lnTo>
                      <a:pt x="16008" y="21269"/>
                    </a:lnTo>
                    <a:lnTo>
                      <a:pt x="15896" y="21045"/>
                    </a:lnTo>
                    <a:lnTo>
                      <a:pt x="16008" y="20933"/>
                    </a:lnTo>
                    <a:lnTo>
                      <a:pt x="16008" y="20933"/>
                    </a:lnTo>
                    <a:lnTo>
                      <a:pt x="16008" y="20933"/>
                    </a:lnTo>
                    <a:lnTo>
                      <a:pt x="16008" y="20933"/>
                    </a:lnTo>
                    <a:lnTo>
                      <a:pt x="16008" y="20933"/>
                    </a:lnTo>
                    <a:lnTo>
                      <a:pt x="16568" y="20150"/>
                    </a:lnTo>
                    <a:lnTo>
                      <a:pt x="17015" y="19142"/>
                    </a:lnTo>
                    <a:lnTo>
                      <a:pt x="17351" y="18135"/>
                    </a:lnTo>
                    <a:lnTo>
                      <a:pt x="17687" y="17015"/>
                    </a:lnTo>
                    <a:lnTo>
                      <a:pt x="17687" y="17015"/>
                    </a:lnTo>
                    <a:lnTo>
                      <a:pt x="17687" y="17015"/>
                    </a:lnTo>
                    <a:lnTo>
                      <a:pt x="17799" y="16456"/>
                    </a:lnTo>
                    <a:lnTo>
                      <a:pt x="17799" y="16456"/>
                    </a:lnTo>
                    <a:lnTo>
                      <a:pt x="18023" y="15224"/>
                    </a:lnTo>
                    <a:lnTo>
                      <a:pt x="18135" y="14217"/>
                    </a:lnTo>
                    <a:lnTo>
                      <a:pt x="18135" y="13209"/>
                    </a:lnTo>
                    <a:lnTo>
                      <a:pt x="18023" y="12314"/>
                    </a:lnTo>
                    <a:lnTo>
                      <a:pt x="17799" y="11530"/>
                    </a:lnTo>
                    <a:lnTo>
                      <a:pt x="17463" y="10971"/>
                    </a:lnTo>
                    <a:lnTo>
                      <a:pt x="17127" y="10523"/>
                    </a:lnTo>
                    <a:lnTo>
                      <a:pt x="16568" y="10299"/>
                    </a:lnTo>
                    <a:lnTo>
                      <a:pt x="16568" y="10299"/>
                    </a:lnTo>
                    <a:lnTo>
                      <a:pt x="16344" y="10299"/>
                    </a:lnTo>
                    <a:lnTo>
                      <a:pt x="15896" y="10299"/>
                    </a:lnTo>
                    <a:lnTo>
                      <a:pt x="15000" y="10635"/>
                    </a:lnTo>
                    <a:lnTo>
                      <a:pt x="12650" y="11754"/>
                    </a:lnTo>
                    <a:lnTo>
                      <a:pt x="10299" y="12874"/>
                    </a:lnTo>
                    <a:lnTo>
                      <a:pt x="9292" y="13209"/>
                    </a:lnTo>
                    <a:lnTo>
                      <a:pt x="8732" y="13321"/>
                    </a:lnTo>
                    <a:lnTo>
                      <a:pt x="8732" y="13321"/>
                    </a:lnTo>
                    <a:lnTo>
                      <a:pt x="6157" y="13321"/>
                    </a:lnTo>
                    <a:lnTo>
                      <a:pt x="3471" y="12985"/>
                    </a:lnTo>
                    <a:lnTo>
                      <a:pt x="1344" y="12650"/>
                    </a:lnTo>
                    <a:lnTo>
                      <a:pt x="224" y="12538"/>
                    </a:lnTo>
                    <a:lnTo>
                      <a:pt x="224" y="12538"/>
                    </a:lnTo>
                    <a:lnTo>
                      <a:pt x="113" y="12314"/>
                    </a:lnTo>
                    <a:lnTo>
                      <a:pt x="1" y="11866"/>
                    </a:lnTo>
                    <a:lnTo>
                      <a:pt x="1" y="10747"/>
                    </a:lnTo>
                    <a:lnTo>
                      <a:pt x="224" y="9739"/>
                    </a:lnTo>
                    <a:lnTo>
                      <a:pt x="336" y="9403"/>
                    </a:lnTo>
                    <a:lnTo>
                      <a:pt x="560" y="9291"/>
                    </a:lnTo>
                    <a:lnTo>
                      <a:pt x="560" y="9291"/>
                    </a:lnTo>
                    <a:lnTo>
                      <a:pt x="1680" y="9515"/>
                    </a:lnTo>
                    <a:lnTo>
                      <a:pt x="3918" y="9851"/>
                    </a:lnTo>
                    <a:lnTo>
                      <a:pt x="6605" y="10075"/>
                    </a:lnTo>
                    <a:lnTo>
                      <a:pt x="7836" y="10075"/>
                    </a:lnTo>
                    <a:lnTo>
                      <a:pt x="8844" y="10075"/>
                    </a:lnTo>
                    <a:lnTo>
                      <a:pt x="8844" y="10075"/>
                    </a:lnTo>
                    <a:lnTo>
                      <a:pt x="9739" y="9851"/>
                    </a:lnTo>
                    <a:lnTo>
                      <a:pt x="10523" y="9515"/>
                    </a:lnTo>
                    <a:lnTo>
                      <a:pt x="11306" y="9068"/>
                    </a:lnTo>
                    <a:lnTo>
                      <a:pt x="12090" y="8508"/>
                    </a:lnTo>
                    <a:lnTo>
                      <a:pt x="13545" y="7277"/>
                    </a:lnTo>
                    <a:lnTo>
                      <a:pt x="14329" y="6605"/>
                    </a:lnTo>
                    <a:lnTo>
                      <a:pt x="15112" y="6157"/>
                    </a:lnTo>
                    <a:lnTo>
                      <a:pt x="15112" y="6157"/>
                    </a:lnTo>
                    <a:lnTo>
                      <a:pt x="16008" y="5597"/>
                    </a:lnTo>
                    <a:lnTo>
                      <a:pt x="17239" y="4590"/>
                    </a:lnTo>
                    <a:lnTo>
                      <a:pt x="18694" y="3695"/>
                    </a:lnTo>
                    <a:lnTo>
                      <a:pt x="19254" y="3359"/>
                    </a:lnTo>
                    <a:lnTo>
                      <a:pt x="19814" y="3135"/>
                    </a:lnTo>
                    <a:lnTo>
                      <a:pt x="19814" y="3135"/>
                    </a:lnTo>
                    <a:lnTo>
                      <a:pt x="20262" y="3023"/>
                    </a:lnTo>
                    <a:lnTo>
                      <a:pt x="20821" y="3023"/>
                    </a:lnTo>
                    <a:lnTo>
                      <a:pt x="22164" y="3135"/>
                    </a:lnTo>
                    <a:lnTo>
                      <a:pt x="22164" y="3135"/>
                    </a:lnTo>
                    <a:lnTo>
                      <a:pt x="23508" y="3135"/>
                    </a:lnTo>
                    <a:lnTo>
                      <a:pt x="23508" y="3135"/>
                    </a:lnTo>
                    <a:lnTo>
                      <a:pt x="24851" y="3247"/>
                    </a:lnTo>
                    <a:lnTo>
                      <a:pt x="27426" y="3583"/>
                    </a:lnTo>
                    <a:lnTo>
                      <a:pt x="27426" y="3583"/>
                    </a:lnTo>
                    <a:lnTo>
                      <a:pt x="30896" y="3918"/>
                    </a:lnTo>
                    <a:lnTo>
                      <a:pt x="32239" y="4030"/>
                    </a:lnTo>
                    <a:lnTo>
                      <a:pt x="33135" y="3918"/>
                    </a:lnTo>
                    <a:lnTo>
                      <a:pt x="33135" y="3918"/>
                    </a:lnTo>
                    <a:lnTo>
                      <a:pt x="33806" y="3695"/>
                    </a:lnTo>
                    <a:lnTo>
                      <a:pt x="34814" y="3247"/>
                    </a:lnTo>
                    <a:lnTo>
                      <a:pt x="37164" y="2015"/>
                    </a:lnTo>
                    <a:lnTo>
                      <a:pt x="40634" y="1"/>
                    </a:lnTo>
                    <a:lnTo>
                      <a:pt x="40634" y="1"/>
                    </a:lnTo>
                    <a:lnTo>
                      <a:pt x="40858" y="1"/>
                    </a:lnTo>
                    <a:lnTo>
                      <a:pt x="41194" y="224"/>
                    </a:lnTo>
                    <a:lnTo>
                      <a:pt x="41866" y="1120"/>
                    </a:lnTo>
                    <a:lnTo>
                      <a:pt x="42313" y="2127"/>
                    </a:lnTo>
                    <a:lnTo>
                      <a:pt x="42425" y="2463"/>
                    </a:lnTo>
                    <a:lnTo>
                      <a:pt x="42425" y="2575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0" name="Google Shape;2000;p16">
                <a:extLst>
                  <a:ext uri="{FF2B5EF4-FFF2-40B4-BE49-F238E27FC236}">
                    <a16:creationId xmlns:a16="http://schemas.microsoft.com/office/drawing/2014/main" id="{8B5C729F-8A72-C012-77E6-0BAA7FA17F6C}"/>
                  </a:ext>
                </a:extLst>
              </p:cNvPr>
              <p:cNvSpPr/>
              <p:nvPr/>
            </p:nvSpPr>
            <p:spPr>
              <a:xfrm>
                <a:off x="2312800" y="2020750"/>
                <a:ext cx="86775" cy="170725"/>
              </a:xfrm>
              <a:custGeom>
                <a:avLst/>
                <a:gdLst/>
                <a:ahLst/>
                <a:cxnLst/>
                <a:rect l="l" t="t" r="r" b="b"/>
                <a:pathLst>
                  <a:path w="3471" h="6829" extrusionOk="0">
                    <a:moveTo>
                      <a:pt x="2016" y="0"/>
                    </a:moveTo>
                    <a:lnTo>
                      <a:pt x="1904" y="112"/>
                    </a:lnTo>
                    <a:lnTo>
                      <a:pt x="1680" y="560"/>
                    </a:lnTo>
                    <a:lnTo>
                      <a:pt x="560" y="3135"/>
                    </a:lnTo>
                    <a:lnTo>
                      <a:pt x="1" y="4478"/>
                    </a:lnTo>
                    <a:lnTo>
                      <a:pt x="225" y="4926"/>
                    </a:lnTo>
                    <a:lnTo>
                      <a:pt x="560" y="5261"/>
                    </a:lnTo>
                    <a:lnTo>
                      <a:pt x="1008" y="5597"/>
                    </a:lnTo>
                    <a:lnTo>
                      <a:pt x="2239" y="6381"/>
                    </a:lnTo>
                    <a:lnTo>
                      <a:pt x="2799" y="6717"/>
                    </a:lnTo>
                    <a:lnTo>
                      <a:pt x="3247" y="6828"/>
                    </a:lnTo>
                    <a:lnTo>
                      <a:pt x="3359" y="6828"/>
                    </a:lnTo>
                    <a:lnTo>
                      <a:pt x="3471" y="6605"/>
                    </a:lnTo>
                    <a:lnTo>
                      <a:pt x="3471" y="6045"/>
                    </a:lnTo>
                    <a:lnTo>
                      <a:pt x="3359" y="5485"/>
                    </a:lnTo>
                    <a:lnTo>
                      <a:pt x="3247" y="4926"/>
                    </a:lnTo>
                    <a:lnTo>
                      <a:pt x="3023" y="4590"/>
                    </a:lnTo>
                    <a:lnTo>
                      <a:pt x="2911" y="3918"/>
                    </a:lnTo>
                    <a:lnTo>
                      <a:pt x="2911" y="3135"/>
                    </a:lnTo>
                    <a:lnTo>
                      <a:pt x="3023" y="2015"/>
                    </a:lnTo>
                    <a:lnTo>
                      <a:pt x="2911" y="1567"/>
                    </a:lnTo>
                    <a:lnTo>
                      <a:pt x="2575" y="672"/>
                    </a:lnTo>
                    <a:lnTo>
                      <a:pt x="2351" y="224"/>
                    </a:lnTo>
                    <a:lnTo>
                      <a:pt x="2128" y="0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1" name="Google Shape;2001;p16">
                <a:extLst>
                  <a:ext uri="{FF2B5EF4-FFF2-40B4-BE49-F238E27FC236}">
                    <a16:creationId xmlns:a16="http://schemas.microsoft.com/office/drawing/2014/main" id="{75601303-524F-2B6C-B7A4-CBDD650EC781}"/>
                  </a:ext>
                </a:extLst>
              </p:cNvPr>
              <p:cNvSpPr/>
              <p:nvPr/>
            </p:nvSpPr>
            <p:spPr>
              <a:xfrm>
                <a:off x="2312800" y="2020750"/>
                <a:ext cx="86775" cy="170725"/>
              </a:xfrm>
              <a:custGeom>
                <a:avLst/>
                <a:gdLst/>
                <a:ahLst/>
                <a:cxnLst/>
                <a:rect l="l" t="t" r="r" b="b"/>
                <a:pathLst>
                  <a:path w="3471" h="6829" fill="none" extrusionOk="0">
                    <a:moveTo>
                      <a:pt x="3023" y="2015"/>
                    </a:moveTo>
                    <a:lnTo>
                      <a:pt x="3023" y="2015"/>
                    </a:lnTo>
                    <a:lnTo>
                      <a:pt x="2911" y="3135"/>
                    </a:lnTo>
                    <a:lnTo>
                      <a:pt x="2911" y="3918"/>
                    </a:lnTo>
                    <a:lnTo>
                      <a:pt x="3023" y="4590"/>
                    </a:lnTo>
                    <a:lnTo>
                      <a:pt x="3247" y="4926"/>
                    </a:lnTo>
                    <a:lnTo>
                      <a:pt x="3247" y="4926"/>
                    </a:lnTo>
                    <a:lnTo>
                      <a:pt x="3359" y="5485"/>
                    </a:lnTo>
                    <a:lnTo>
                      <a:pt x="3471" y="6045"/>
                    </a:lnTo>
                    <a:lnTo>
                      <a:pt x="3471" y="6605"/>
                    </a:lnTo>
                    <a:lnTo>
                      <a:pt x="3359" y="6828"/>
                    </a:lnTo>
                    <a:lnTo>
                      <a:pt x="3247" y="6828"/>
                    </a:lnTo>
                    <a:lnTo>
                      <a:pt x="3247" y="6828"/>
                    </a:lnTo>
                    <a:lnTo>
                      <a:pt x="2799" y="6717"/>
                    </a:lnTo>
                    <a:lnTo>
                      <a:pt x="2239" y="6381"/>
                    </a:lnTo>
                    <a:lnTo>
                      <a:pt x="1008" y="5597"/>
                    </a:lnTo>
                    <a:lnTo>
                      <a:pt x="1008" y="5597"/>
                    </a:lnTo>
                    <a:lnTo>
                      <a:pt x="560" y="5261"/>
                    </a:lnTo>
                    <a:lnTo>
                      <a:pt x="225" y="4926"/>
                    </a:lnTo>
                    <a:lnTo>
                      <a:pt x="1" y="4478"/>
                    </a:lnTo>
                    <a:lnTo>
                      <a:pt x="1" y="4478"/>
                    </a:lnTo>
                    <a:lnTo>
                      <a:pt x="560" y="3135"/>
                    </a:lnTo>
                    <a:lnTo>
                      <a:pt x="1680" y="560"/>
                    </a:lnTo>
                    <a:lnTo>
                      <a:pt x="1680" y="560"/>
                    </a:lnTo>
                    <a:lnTo>
                      <a:pt x="1904" y="112"/>
                    </a:lnTo>
                    <a:lnTo>
                      <a:pt x="2016" y="0"/>
                    </a:lnTo>
                    <a:lnTo>
                      <a:pt x="2128" y="0"/>
                    </a:lnTo>
                    <a:lnTo>
                      <a:pt x="2351" y="224"/>
                    </a:lnTo>
                    <a:lnTo>
                      <a:pt x="2575" y="672"/>
                    </a:lnTo>
                    <a:lnTo>
                      <a:pt x="2911" y="1567"/>
                    </a:lnTo>
                    <a:lnTo>
                      <a:pt x="3023" y="2015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2" name="Google Shape;2002;p16">
                <a:extLst>
                  <a:ext uri="{FF2B5EF4-FFF2-40B4-BE49-F238E27FC236}">
                    <a16:creationId xmlns:a16="http://schemas.microsoft.com/office/drawing/2014/main" id="{5CCB6221-4E63-B2DC-F0C2-9B06859DFE2D}"/>
                  </a:ext>
                </a:extLst>
              </p:cNvPr>
              <p:cNvSpPr/>
              <p:nvPr/>
            </p:nvSpPr>
            <p:spPr>
              <a:xfrm>
                <a:off x="2385575" y="2071125"/>
                <a:ext cx="2825" cy="39200"/>
              </a:xfrm>
              <a:custGeom>
                <a:avLst/>
                <a:gdLst/>
                <a:ahLst/>
                <a:cxnLst/>
                <a:rect l="l" t="t" r="r" b="b"/>
                <a:pathLst>
                  <a:path w="113" h="1568" extrusionOk="0">
                    <a:moveTo>
                      <a:pt x="112" y="0"/>
                    </a:moveTo>
                    <a:lnTo>
                      <a:pt x="0" y="896"/>
                    </a:lnTo>
                    <a:lnTo>
                      <a:pt x="0" y="1567"/>
                    </a:lnTo>
                    <a:lnTo>
                      <a:pt x="112" y="0"/>
                    </a:lnTo>
                    <a:close/>
                  </a:path>
                </a:pathLst>
              </a:custGeom>
              <a:solidFill>
                <a:srgbClr val="C9C6C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3" name="Google Shape;2003;p16">
                <a:extLst>
                  <a:ext uri="{FF2B5EF4-FFF2-40B4-BE49-F238E27FC236}">
                    <a16:creationId xmlns:a16="http://schemas.microsoft.com/office/drawing/2014/main" id="{BB9E2AA8-DC32-1297-2EC5-820F4CAFC216}"/>
                  </a:ext>
                </a:extLst>
              </p:cNvPr>
              <p:cNvSpPr/>
              <p:nvPr/>
            </p:nvSpPr>
            <p:spPr>
              <a:xfrm>
                <a:off x="2385575" y="2071125"/>
                <a:ext cx="2825" cy="39200"/>
              </a:xfrm>
              <a:custGeom>
                <a:avLst/>
                <a:gdLst/>
                <a:ahLst/>
                <a:cxnLst/>
                <a:rect l="l" t="t" r="r" b="b"/>
                <a:pathLst>
                  <a:path w="113" h="1568" fill="none" extrusionOk="0">
                    <a:moveTo>
                      <a:pt x="112" y="0"/>
                    </a:moveTo>
                    <a:lnTo>
                      <a:pt x="112" y="0"/>
                    </a:lnTo>
                    <a:lnTo>
                      <a:pt x="0" y="1567"/>
                    </a:lnTo>
                    <a:lnTo>
                      <a:pt x="0" y="1567"/>
                    </a:lnTo>
                    <a:lnTo>
                      <a:pt x="0" y="1567"/>
                    </a:lnTo>
                    <a:lnTo>
                      <a:pt x="0" y="1567"/>
                    </a:lnTo>
                    <a:lnTo>
                      <a:pt x="0" y="896"/>
                    </a:lnTo>
                    <a:lnTo>
                      <a:pt x="0" y="896"/>
                    </a:lnTo>
                    <a:lnTo>
                      <a:pt x="11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4" name="Google Shape;2004;p16">
                <a:extLst>
                  <a:ext uri="{FF2B5EF4-FFF2-40B4-BE49-F238E27FC236}">
                    <a16:creationId xmlns:a16="http://schemas.microsoft.com/office/drawing/2014/main" id="{C1B92A84-CB8D-2CCE-784D-87F94B131AF7}"/>
                  </a:ext>
                </a:extLst>
              </p:cNvPr>
              <p:cNvSpPr/>
              <p:nvPr/>
            </p:nvSpPr>
            <p:spPr>
              <a:xfrm>
                <a:off x="2354775" y="2062725"/>
                <a:ext cx="33625" cy="47600"/>
              </a:xfrm>
              <a:custGeom>
                <a:avLst/>
                <a:gdLst/>
                <a:ahLst/>
                <a:cxnLst/>
                <a:rect l="l" t="t" r="r" b="b"/>
                <a:pathLst>
                  <a:path w="1345" h="1904" extrusionOk="0">
                    <a:moveTo>
                      <a:pt x="337" y="0"/>
                    </a:moveTo>
                    <a:lnTo>
                      <a:pt x="225" y="112"/>
                    </a:lnTo>
                    <a:lnTo>
                      <a:pt x="113" y="336"/>
                    </a:lnTo>
                    <a:lnTo>
                      <a:pt x="1" y="672"/>
                    </a:lnTo>
                    <a:lnTo>
                      <a:pt x="113" y="1008"/>
                    </a:lnTo>
                    <a:lnTo>
                      <a:pt x="449" y="1456"/>
                    </a:lnTo>
                    <a:lnTo>
                      <a:pt x="784" y="1679"/>
                    </a:lnTo>
                    <a:lnTo>
                      <a:pt x="1232" y="1903"/>
                    </a:lnTo>
                    <a:lnTo>
                      <a:pt x="1344" y="336"/>
                    </a:lnTo>
                    <a:lnTo>
                      <a:pt x="896" y="224"/>
                    </a:lnTo>
                    <a:lnTo>
                      <a:pt x="896" y="112"/>
                    </a:lnTo>
                    <a:lnTo>
                      <a:pt x="449" y="112"/>
                    </a:lnTo>
                    <a:lnTo>
                      <a:pt x="337" y="0"/>
                    </a:lnTo>
                    <a:close/>
                  </a:path>
                </a:pathLst>
              </a:custGeom>
              <a:solidFill>
                <a:srgbClr val="C7919A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5" name="Google Shape;2005;p16">
                <a:extLst>
                  <a:ext uri="{FF2B5EF4-FFF2-40B4-BE49-F238E27FC236}">
                    <a16:creationId xmlns:a16="http://schemas.microsoft.com/office/drawing/2014/main" id="{A97FFB65-9F1D-A9C8-E478-5F1B0984B02F}"/>
                  </a:ext>
                </a:extLst>
              </p:cNvPr>
              <p:cNvSpPr/>
              <p:nvPr/>
            </p:nvSpPr>
            <p:spPr>
              <a:xfrm>
                <a:off x="2354775" y="2062725"/>
                <a:ext cx="33625" cy="47600"/>
              </a:xfrm>
              <a:custGeom>
                <a:avLst/>
                <a:gdLst/>
                <a:ahLst/>
                <a:cxnLst/>
                <a:rect l="l" t="t" r="r" b="b"/>
                <a:pathLst>
                  <a:path w="1345" h="1904" fill="none" extrusionOk="0">
                    <a:moveTo>
                      <a:pt x="337" y="0"/>
                    </a:moveTo>
                    <a:lnTo>
                      <a:pt x="337" y="0"/>
                    </a:lnTo>
                    <a:lnTo>
                      <a:pt x="225" y="112"/>
                    </a:lnTo>
                    <a:lnTo>
                      <a:pt x="113" y="336"/>
                    </a:lnTo>
                    <a:lnTo>
                      <a:pt x="1" y="672"/>
                    </a:lnTo>
                    <a:lnTo>
                      <a:pt x="113" y="1008"/>
                    </a:lnTo>
                    <a:lnTo>
                      <a:pt x="113" y="1008"/>
                    </a:lnTo>
                    <a:lnTo>
                      <a:pt x="449" y="1456"/>
                    </a:lnTo>
                    <a:lnTo>
                      <a:pt x="784" y="1679"/>
                    </a:lnTo>
                    <a:lnTo>
                      <a:pt x="1232" y="1903"/>
                    </a:lnTo>
                    <a:lnTo>
                      <a:pt x="1232" y="1903"/>
                    </a:lnTo>
                    <a:lnTo>
                      <a:pt x="1344" y="336"/>
                    </a:lnTo>
                    <a:lnTo>
                      <a:pt x="1344" y="336"/>
                    </a:lnTo>
                    <a:lnTo>
                      <a:pt x="1344" y="336"/>
                    </a:lnTo>
                    <a:lnTo>
                      <a:pt x="1344" y="336"/>
                    </a:lnTo>
                    <a:lnTo>
                      <a:pt x="896" y="224"/>
                    </a:lnTo>
                    <a:lnTo>
                      <a:pt x="896" y="224"/>
                    </a:lnTo>
                    <a:lnTo>
                      <a:pt x="896" y="112"/>
                    </a:lnTo>
                    <a:lnTo>
                      <a:pt x="896" y="112"/>
                    </a:lnTo>
                    <a:lnTo>
                      <a:pt x="784" y="112"/>
                    </a:lnTo>
                    <a:lnTo>
                      <a:pt x="784" y="112"/>
                    </a:lnTo>
                    <a:lnTo>
                      <a:pt x="784" y="112"/>
                    </a:lnTo>
                    <a:lnTo>
                      <a:pt x="784" y="112"/>
                    </a:lnTo>
                    <a:lnTo>
                      <a:pt x="560" y="112"/>
                    </a:lnTo>
                    <a:lnTo>
                      <a:pt x="449" y="112"/>
                    </a:lnTo>
                    <a:lnTo>
                      <a:pt x="449" y="112"/>
                    </a:lnTo>
                    <a:lnTo>
                      <a:pt x="337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6" name="Google Shape;2006;p16">
                <a:extLst>
                  <a:ext uri="{FF2B5EF4-FFF2-40B4-BE49-F238E27FC236}">
                    <a16:creationId xmlns:a16="http://schemas.microsoft.com/office/drawing/2014/main" id="{4F481FD2-7DDA-2FDB-DE1A-CABAFD188B4B}"/>
                  </a:ext>
                </a:extLst>
              </p:cNvPr>
              <p:cNvSpPr/>
              <p:nvPr/>
            </p:nvSpPr>
            <p:spPr>
              <a:xfrm>
                <a:off x="1974200" y="2574850"/>
                <a:ext cx="296650" cy="618475"/>
              </a:xfrm>
              <a:custGeom>
                <a:avLst/>
                <a:gdLst/>
                <a:ahLst/>
                <a:cxnLst/>
                <a:rect l="l" t="t" r="r" b="b"/>
                <a:pathLst>
                  <a:path w="11866" h="24739" extrusionOk="0">
                    <a:moveTo>
                      <a:pt x="9627" y="0"/>
                    </a:moveTo>
                    <a:lnTo>
                      <a:pt x="9515" y="112"/>
                    </a:lnTo>
                    <a:lnTo>
                      <a:pt x="9533" y="148"/>
                    </a:lnTo>
                    <a:lnTo>
                      <a:pt x="9627" y="0"/>
                    </a:lnTo>
                    <a:close/>
                    <a:moveTo>
                      <a:pt x="9533" y="148"/>
                    </a:moveTo>
                    <a:lnTo>
                      <a:pt x="8843" y="1231"/>
                    </a:lnTo>
                    <a:lnTo>
                      <a:pt x="8172" y="2463"/>
                    </a:lnTo>
                    <a:lnTo>
                      <a:pt x="7724" y="3806"/>
                    </a:lnTo>
                    <a:lnTo>
                      <a:pt x="7276" y="5037"/>
                    </a:lnTo>
                    <a:lnTo>
                      <a:pt x="6605" y="7724"/>
                    </a:lnTo>
                    <a:lnTo>
                      <a:pt x="6045" y="10522"/>
                    </a:lnTo>
                    <a:lnTo>
                      <a:pt x="5261" y="13321"/>
                    </a:lnTo>
                    <a:lnTo>
                      <a:pt x="4813" y="14776"/>
                    </a:lnTo>
                    <a:lnTo>
                      <a:pt x="4142" y="16231"/>
                    </a:lnTo>
                    <a:lnTo>
                      <a:pt x="3470" y="17798"/>
                    </a:lnTo>
                    <a:lnTo>
                      <a:pt x="2463" y="19366"/>
                    </a:lnTo>
                    <a:lnTo>
                      <a:pt x="1343" y="20933"/>
                    </a:lnTo>
                    <a:lnTo>
                      <a:pt x="0" y="22500"/>
                    </a:lnTo>
                    <a:lnTo>
                      <a:pt x="224" y="22836"/>
                    </a:lnTo>
                    <a:lnTo>
                      <a:pt x="560" y="23060"/>
                    </a:lnTo>
                    <a:lnTo>
                      <a:pt x="1455" y="23395"/>
                    </a:lnTo>
                    <a:lnTo>
                      <a:pt x="2351" y="23507"/>
                    </a:lnTo>
                    <a:lnTo>
                      <a:pt x="3470" y="23619"/>
                    </a:lnTo>
                    <a:lnTo>
                      <a:pt x="5597" y="23731"/>
                    </a:lnTo>
                    <a:lnTo>
                      <a:pt x="6493" y="23955"/>
                    </a:lnTo>
                    <a:lnTo>
                      <a:pt x="7164" y="24179"/>
                    </a:lnTo>
                    <a:lnTo>
                      <a:pt x="7612" y="24515"/>
                    </a:lnTo>
                    <a:lnTo>
                      <a:pt x="8396" y="24739"/>
                    </a:lnTo>
                    <a:lnTo>
                      <a:pt x="8955" y="23507"/>
                    </a:lnTo>
                    <a:lnTo>
                      <a:pt x="9515" y="22164"/>
                    </a:lnTo>
                    <a:lnTo>
                      <a:pt x="9963" y="20821"/>
                    </a:lnTo>
                    <a:lnTo>
                      <a:pt x="10298" y="19366"/>
                    </a:lnTo>
                    <a:lnTo>
                      <a:pt x="10970" y="16231"/>
                    </a:lnTo>
                    <a:lnTo>
                      <a:pt x="11418" y="13097"/>
                    </a:lnTo>
                    <a:lnTo>
                      <a:pt x="11754" y="9963"/>
                    </a:lnTo>
                    <a:lnTo>
                      <a:pt x="11866" y="6828"/>
                    </a:lnTo>
                    <a:lnTo>
                      <a:pt x="11866" y="3694"/>
                    </a:lnTo>
                    <a:lnTo>
                      <a:pt x="11866" y="896"/>
                    </a:lnTo>
                    <a:lnTo>
                      <a:pt x="10858" y="672"/>
                    </a:lnTo>
                    <a:lnTo>
                      <a:pt x="10075" y="560"/>
                    </a:lnTo>
                    <a:lnTo>
                      <a:pt x="9627" y="336"/>
                    </a:lnTo>
                    <a:lnTo>
                      <a:pt x="9533" y="148"/>
                    </a:lnTo>
                    <a:close/>
                  </a:path>
                </a:pathLst>
              </a:custGeom>
              <a:solidFill>
                <a:srgbClr val="B5482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7" name="Google Shape;2007;p16">
                <a:extLst>
                  <a:ext uri="{FF2B5EF4-FFF2-40B4-BE49-F238E27FC236}">
                    <a16:creationId xmlns:a16="http://schemas.microsoft.com/office/drawing/2014/main" id="{6FD29752-9BA2-C224-A706-3C96CCE4C5DC}"/>
                  </a:ext>
                </a:extLst>
              </p:cNvPr>
              <p:cNvSpPr/>
              <p:nvPr/>
            </p:nvSpPr>
            <p:spPr>
              <a:xfrm>
                <a:off x="1974200" y="2574850"/>
                <a:ext cx="296650" cy="618475"/>
              </a:xfrm>
              <a:custGeom>
                <a:avLst/>
                <a:gdLst/>
                <a:ahLst/>
                <a:cxnLst/>
                <a:rect l="l" t="t" r="r" b="b"/>
                <a:pathLst>
                  <a:path w="11866" h="24739" fill="none" extrusionOk="0">
                    <a:moveTo>
                      <a:pt x="9627" y="0"/>
                    </a:moveTo>
                    <a:lnTo>
                      <a:pt x="9627" y="0"/>
                    </a:lnTo>
                    <a:lnTo>
                      <a:pt x="8843" y="1231"/>
                    </a:lnTo>
                    <a:lnTo>
                      <a:pt x="8172" y="2463"/>
                    </a:lnTo>
                    <a:lnTo>
                      <a:pt x="7724" y="3806"/>
                    </a:lnTo>
                    <a:lnTo>
                      <a:pt x="7276" y="5037"/>
                    </a:lnTo>
                    <a:lnTo>
                      <a:pt x="6605" y="7724"/>
                    </a:lnTo>
                    <a:lnTo>
                      <a:pt x="6045" y="10522"/>
                    </a:lnTo>
                    <a:lnTo>
                      <a:pt x="5261" y="13321"/>
                    </a:lnTo>
                    <a:lnTo>
                      <a:pt x="4813" y="14776"/>
                    </a:lnTo>
                    <a:lnTo>
                      <a:pt x="4142" y="16231"/>
                    </a:lnTo>
                    <a:lnTo>
                      <a:pt x="3470" y="17798"/>
                    </a:lnTo>
                    <a:lnTo>
                      <a:pt x="2463" y="19366"/>
                    </a:lnTo>
                    <a:lnTo>
                      <a:pt x="1343" y="20933"/>
                    </a:lnTo>
                    <a:lnTo>
                      <a:pt x="0" y="22500"/>
                    </a:lnTo>
                    <a:lnTo>
                      <a:pt x="0" y="22500"/>
                    </a:lnTo>
                    <a:lnTo>
                      <a:pt x="224" y="22836"/>
                    </a:lnTo>
                    <a:lnTo>
                      <a:pt x="560" y="23060"/>
                    </a:lnTo>
                    <a:lnTo>
                      <a:pt x="1455" y="23395"/>
                    </a:lnTo>
                    <a:lnTo>
                      <a:pt x="2351" y="23507"/>
                    </a:lnTo>
                    <a:lnTo>
                      <a:pt x="3470" y="23619"/>
                    </a:lnTo>
                    <a:lnTo>
                      <a:pt x="5597" y="23731"/>
                    </a:lnTo>
                    <a:lnTo>
                      <a:pt x="6493" y="23955"/>
                    </a:lnTo>
                    <a:lnTo>
                      <a:pt x="7164" y="24179"/>
                    </a:lnTo>
                    <a:lnTo>
                      <a:pt x="7164" y="24179"/>
                    </a:lnTo>
                    <a:lnTo>
                      <a:pt x="7612" y="24515"/>
                    </a:lnTo>
                    <a:lnTo>
                      <a:pt x="8396" y="24739"/>
                    </a:lnTo>
                    <a:lnTo>
                      <a:pt x="8396" y="24739"/>
                    </a:lnTo>
                    <a:lnTo>
                      <a:pt x="8955" y="23507"/>
                    </a:lnTo>
                    <a:lnTo>
                      <a:pt x="9515" y="22164"/>
                    </a:lnTo>
                    <a:lnTo>
                      <a:pt x="9963" y="20821"/>
                    </a:lnTo>
                    <a:lnTo>
                      <a:pt x="10298" y="19366"/>
                    </a:lnTo>
                    <a:lnTo>
                      <a:pt x="10970" y="16231"/>
                    </a:lnTo>
                    <a:lnTo>
                      <a:pt x="11418" y="13097"/>
                    </a:lnTo>
                    <a:lnTo>
                      <a:pt x="11754" y="9963"/>
                    </a:lnTo>
                    <a:lnTo>
                      <a:pt x="11866" y="6828"/>
                    </a:lnTo>
                    <a:lnTo>
                      <a:pt x="11866" y="3694"/>
                    </a:lnTo>
                    <a:lnTo>
                      <a:pt x="11866" y="896"/>
                    </a:lnTo>
                    <a:lnTo>
                      <a:pt x="11866" y="896"/>
                    </a:lnTo>
                    <a:lnTo>
                      <a:pt x="11866" y="896"/>
                    </a:lnTo>
                    <a:lnTo>
                      <a:pt x="10858" y="672"/>
                    </a:lnTo>
                    <a:lnTo>
                      <a:pt x="10075" y="560"/>
                    </a:lnTo>
                    <a:lnTo>
                      <a:pt x="9627" y="336"/>
                    </a:lnTo>
                    <a:lnTo>
                      <a:pt x="9515" y="112"/>
                    </a:lnTo>
                    <a:lnTo>
                      <a:pt x="9627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8" name="Google Shape;2008;p16">
                <a:extLst>
                  <a:ext uri="{FF2B5EF4-FFF2-40B4-BE49-F238E27FC236}">
                    <a16:creationId xmlns:a16="http://schemas.microsoft.com/office/drawing/2014/main" id="{1A13D219-3426-B898-9BB5-6CC7F8F86391}"/>
                  </a:ext>
                </a:extLst>
              </p:cNvPr>
              <p:cNvSpPr/>
              <p:nvPr/>
            </p:nvSpPr>
            <p:spPr>
              <a:xfrm>
                <a:off x="2212050" y="2462900"/>
                <a:ext cx="58800" cy="134350"/>
              </a:xfrm>
              <a:custGeom>
                <a:avLst/>
                <a:gdLst/>
                <a:ahLst/>
                <a:cxnLst/>
                <a:rect l="l" t="t" r="r" b="b"/>
                <a:pathLst>
                  <a:path w="2352" h="5374" extrusionOk="0">
                    <a:moveTo>
                      <a:pt x="1904" y="1"/>
                    </a:moveTo>
                    <a:lnTo>
                      <a:pt x="1792" y="560"/>
                    </a:lnTo>
                    <a:lnTo>
                      <a:pt x="1456" y="1680"/>
                    </a:lnTo>
                    <a:lnTo>
                      <a:pt x="1120" y="2687"/>
                    </a:lnTo>
                    <a:lnTo>
                      <a:pt x="673" y="3695"/>
                    </a:lnTo>
                    <a:lnTo>
                      <a:pt x="113" y="4478"/>
                    </a:lnTo>
                    <a:lnTo>
                      <a:pt x="1" y="4590"/>
                    </a:lnTo>
                    <a:lnTo>
                      <a:pt x="113" y="4814"/>
                    </a:lnTo>
                    <a:lnTo>
                      <a:pt x="561" y="5038"/>
                    </a:lnTo>
                    <a:lnTo>
                      <a:pt x="1344" y="5150"/>
                    </a:lnTo>
                    <a:lnTo>
                      <a:pt x="2352" y="5374"/>
                    </a:lnTo>
                    <a:lnTo>
                      <a:pt x="2352" y="5374"/>
                    </a:lnTo>
                    <a:lnTo>
                      <a:pt x="2128" y="3023"/>
                    </a:lnTo>
                    <a:lnTo>
                      <a:pt x="1904" y="1"/>
                    </a:lnTo>
                    <a:close/>
                  </a:path>
                </a:pathLst>
              </a:custGeom>
              <a:solidFill>
                <a:srgbClr val="B5482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9" name="Google Shape;2009;p16">
                <a:extLst>
                  <a:ext uri="{FF2B5EF4-FFF2-40B4-BE49-F238E27FC236}">
                    <a16:creationId xmlns:a16="http://schemas.microsoft.com/office/drawing/2014/main" id="{488F3050-09B5-B659-9C0F-FDC989A573DD}"/>
                  </a:ext>
                </a:extLst>
              </p:cNvPr>
              <p:cNvSpPr/>
              <p:nvPr/>
            </p:nvSpPr>
            <p:spPr>
              <a:xfrm>
                <a:off x="2212050" y="2462900"/>
                <a:ext cx="58800" cy="134350"/>
              </a:xfrm>
              <a:custGeom>
                <a:avLst/>
                <a:gdLst/>
                <a:ahLst/>
                <a:cxnLst/>
                <a:rect l="l" t="t" r="r" b="b"/>
                <a:pathLst>
                  <a:path w="2352" h="5374" fill="none" extrusionOk="0">
                    <a:moveTo>
                      <a:pt x="1904" y="1"/>
                    </a:moveTo>
                    <a:lnTo>
                      <a:pt x="1904" y="1"/>
                    </a:lnTo>
                    <a:lnTo>
                      <a:pt x="1904" y="1"/>
                    </a:lnTo>
                    <a:lnTo>
                      <a:pt x="1904" y="1"/>
                    </a:lnTo>
                    <a:lnTo>
                      <a:pt x="1792" y="560"/>
                    </a:lnTo>
                    <a:lnTo>
                      <a:pt x="1792" y="560"/>
                    </a:lnTo>
                    <a:lnTo>
                      <a:pt x="1792" y="560"/>
                    </a:lnTo>
                    <a:lnTo>
                      <a:pt x="1792" y="560"/>
                    </a:lnTo>
                    <a:lnTo>
                      <a:pt x="1456" y="1680"/>
                    </a:lnTo>
                    <a:lnTo>
                      <a:pt x="1120" y="2687"/>
                    </a:lnTo>
                    <a:lnTo>
                      <a:pt x="673" y="3695"/>
                    </a:lnTo>
                    <a:lnTo>
                      <a:pt x="113" y="4478"/>
                    </a:lnTo>
                    <a:lnTo>
                      <a:pt x="113" y="4478"/>
                    </a:lnTo>
                    <a:lnTo>
                      <a:pt x="113" y="4478"/>
                    </a:lnTo>
                    <a:lnTo>
                      <a:pt x="113" y="4478"/>
                    </a:lnTo>
                    <a:lnTo>
                      <a:pt x="113" y="4478"/>
                    </a:lnTo>
                    <a:lnTo>
                      <a:pt x="113" y="4478"/>
                    </a:lnTo>
                    <a:lnTo>
                      <a:pt x="1" y="4590"/>
                    </a:lnTo>
                    <a:lnTo>
                      <a:pt x="113" y="4814"/>
                    </a:lnTo>
                    <a:lnTo>
                      <a:pt x="561" y="5038"/>
                    </a:lnTo>
                    <a:lnTo>
                      <a:pt x="1344" y="5150"/>
                    </a:lnTo>
                    <a:lnTo>
                      <a:pt x="2352" y="5374"/>
                    </a:lnTo>
                    <a:lnTo>
                      <a:pt x="2352" y="5374"/>
                    </a:lnTo>
                    <a:lnTo>
                      <a:pt x="2352" y="5374"/>
                    </a:lnTo>
                    <a:lnTo>
                      <a:pt x="2352" y="5374"/>
                    </a:lnTo>
                    <a:lnTo>
                      <a:pt x="2128" y="3023"/>
                    </a:lnTo>
                    <a:lnTo>
                      <a:pt x="2128" y="3023"/>
                    </a:lnTo>
                    <a:lnTo>
                      <a:pt x="1904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0" name="Google Shape;2010;p16">
                <a:extLst>
                  <a:ext uri="{FF2B5EF4-FFF2-40B4-BE49-F238E27FC236}">
                    <a16:creationId xmlns:a16="http://schemas.microsoft.com/office/drawing/2014/main" id="{363A6749-6DEE-CEE2-360C-3B4D258E5E6E}"/>
                  </a:ext>
                </a:extLst>
              </p:cNvPr>
              <p:cNvSpPr/>
              <p:nvPr/>
            </p:nvSpPr>
            <p:spPr>
              <a:xfrm>
                <a:off x="2332400" y="1981575"/>
                <a:ext cx="103575" cy="117550"/>
              </a:xfrm>
              <a:custGeom>
                <a:avLst/>
                <a:gdLst/>
                <a:ahLst/>
                <a:cxnLst/>
                <a:rect l="l" t="t" r="r" b="b"/>
                <a:pathLst>
                  <a:path w="4143" h="4702" extrusionOk="0">
                    <a:moveTo>
                      <a:pt x="0" y="0"/>
                    </a:moveTo>
                    <a:lnTo>
                      <a:pt x="448" y="2351"/>
                    </a:lnTo>
                    <a:lnTo>
                      <a:pt x="560" y="2910"/>
                    </a:lnTo>
                    <a:lnTo>
                      <a:pt x="784" y="3358"/>
                    </a:lnTo>
                    <a:lnTo>
                      <a:pt x="1008" y="3694"/>
                    </a:lnTo>
                    <a:lnTo>
                      <a:pt x="1455" y="4030"/>
                    </a:lnTo>
                    <a:lnTo>
                      <a:pt x="1791" y="4254"/>
                    </a:lnTo>
                    <a:lnTo>
                      <a:pt x="2239" y="4478"/>
                    </a:lnTo>
                    <a:lnTo>
                      <a:pt x="3358" y="4702"/>
                    </a:lnTo>
                    <a:lnTo>
                      <a:pt x="3694" y="4702"/>
                    </a:lnTo>
                    <a:lnTo>
                      <a:pt x="4030" y="4478"/>
                    </a:lnTo>
                    <a:lnTo>
                      <a:pt x="4030" y="4030"/>
                    </a:lnTo>
                    <a:lnTo>
                      <a:pt x="4030" y="3582"/>
                    </a:lnTo>
                    <a:lnTo>
                      <a:pt x="3918" y="2575"/>
                    </a:lnTo>
                    <a:lnTo>
                      <a:pt x="3918" y="2239"/>
                    </a:lnTo>
                    <a:lnTo>
                      <a:pt x="4030" y="2015"/>
                    </a:lnTo>
                    <a:lnTo>
                      <a:pt x="4142" y="2015"/>
                    </a:lnTo>
                    <a:lnTo>
                      <a:pt x="4142" y="1903"/>
                    </a:lnTo>
                    <a:lnTo>
                      <a:pt x="4030" y="1455"/>
                    </a:lnTo>
                    <a:lnTo>
                      <a:pt x="3582" y="896"/>
                    </a:lnTo>
                    <a:lnTo>
                      <a:pt x="3135" y="0"/>
                    </a:lnTo>
                    <a:close/>
                  </a:path>
                </a:pathLst>
              </a:custGeom>
              <a:solidFill>
                <a:srgbClr val="F5B2B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1" name="Google Shape;2011;p16">
                <a:extLst>
                  <a:ext uri="{FF2B5EF4-FFF2-40B4-BE49-F238E27FC236}">
                    <a16:creationId xmlns:a16="http://schemas.microsoft.com/office/drawing/2014/main" id="{A22611B6-E287-E78A-5B9D-2C5D2140209C}"/>
                  </a:ext>
                </a:extLst>
              </p:cNvPr>
              <p:cNvSpPr/>
              <p:nvPr/>
            </p:nvSpPr>
            <p:spPr>
              <a:xfrm>
                <a:off x="2013375" y="1925600"/>
                <a:ext cx="405800" cy="246275"/>
              </a:xfrm>
              <a:custGeom>
                <a:avLst/>
                <a:gdLst/>
                <a:ahLst/>
                <a:cxnLst/>
                <a:rect l="l" t="t" r="r" b="b"/>
                <a:pathLst>
                  <a:path w="16232" h="9851" extrusionOk="0">
                    <a:moveTo>
                      <a:pt x="12649" y="0"/>
                    </a:moveTo>
                    <a:lnTo>
                      <a:pt x="12202" y="112"/>
                    </a:lnTo>
                    <a:lnTo>
                      <a:pt x="11866" y="336"/>
                    </a:lnTo>
                    <a:lnTo>
                      <a:pt x="11418" y="560"/>
                    </a:lnTo>
                    <a:lnTo>
                      <a:pt x="10858" y="1120"/>
                    </a:lnTo>
                    <a:lnTo>
                      <a:pt x="10299" y="1791"/>
                    </a:lnTo>
                    <a:lnTo>
                      <a:pt x="9403" y="3247"/>
                    </a:lnTo>
                    <a:lnTo>
                      <a:pt x="9067" y="3806"/>
                    </a:lnTo>
                    <a:lnTo>
                      <a:pt x="8731" y="4030"/>
                    </a:lnTo>
                    <a:lnTo>
                      <a:pt x="8284" y="4142"/>
                    </a:lnTo>
                    <a:lnTo>
                      <a:pt x="7836" y="4142"/>
                    </a:lnTo>
                    <a:lnTo>
                      <a:pt x="7052" y="4030"/>
                    </a:lnTo>
                    <a:lnTo>
                      <a:pt x="5709" y="3918"/>
                    </a:lnTo>
                    <a:lnTo>
                      <a:pt x="5038" y="4030"/>
                    </a:lnTo>
                    <a:lnTo>
                      <a:pt x="4590" y="4254"/>
                    </a:lnTo>
                    <a:lnTo>
                      <a:pt x="4366" y="4590"/>
                    </a:lnTo>
                    <a:lnTo>
                      <a:pt x="4254" y="4926"/>
                    </a:lnTo>
                    <a:lnTo>
                      <a:pt x="4030" y="5709"/>
                    </a:lnTo>
                    <a:lnTo>
                      <a:pt x="3918" y="5933"/>
                    </a:lnTo>
                    <a:lnTo>
                      <a:pt x="3694" y="6157"/>
                    </a:lnTo>
                    <a:lnTo>
                      <a:pt x="3358" y="6157"/>
                    </a:lnTo>
                    <a:lnTo>
                      <a:pt x="2911" y="6045"/>
                    </a:lnTo>
                    <a:lnTo>
                      <a:pt x="2463" y="5933"/>
                    </a:lnTo>
                    <a:lnTo>
                      <a:pt x="1903" y="6045"/>
                    </a:lnTo>
                    <a:lnTo>
                      <a:pt x="1232" y="6381"/>
                    </a:lnTo>
                    <a:lnTo>
                      <a:pt x="560" y="6717"/>
                    </a:lnTo>
                    <a:lnTo>
                      <a:pt x="112" y="7276"/>
                    </a:lnTo>
                    <a:lnTo>
                      <a:pt x="0" y="7500"/>
                    </a:lnTo>
                    <a:lnTo>
                      <a:pt x="0" y="7724"/>
                    </a:lnTo>
                    <a:lnTo>
                      <a:pt x="112" y="8060"/>
                    </a:lnTo>
                    <a:lnTo>
                      <a:pt x="336" y="8284"/>
                    </a:lnTo>
                    <a:lnTo>
                      <a:pt x="784" y="8620"/>
                    </a:lnTo>
                    <a:lnTo>
                      <a:pt x="1344" y="8843"/>
                    </a:lnTo>
                    <a:lnTo>
                      <a:pt x="2799" y="9403"/>
                    </a:lnTo>
                    <a:lnTo>
                      <a:pt x="4702" y="9739"/>
                    </a:lnTo>
                    <a:lnTo>
                      <a:pt x="5597" y="9739"/>
                    </a:lnTo>
                    <a:lnTo>
                      <a:pt x="6605" y="9851"/>
                    </a:lnTo>
                    <a:lnTo>
                      <a:pt x="7724" y="9739"/>
                    </a:lnTo>
                    <a:lnTo>
                      <a:pt x="8731" y="9627"/>
                    </a:lnTo>
                    <a:lnTo>
                      <a:pt x="10411" y="9179"/>
                    </a:lnTo>
                    <a:lnTo>
                      <a:pt x="11642" y="8620"/>
                    </a:lnTo>
                    <a:lnTo>
                      <a:pt x="12425" y="8060"/>
                    </a:lnTo>
                    <a:lnTo>
                      <a:pt x="12873" y="7500"/>
                    </a:lnTo>
                    <a:lnTo>
                      <a:pt x="13209" y="6941"/>
                    </a:lnTo>
                    <a:lnTo>
                      <a:pt x="13321" y="6381"/>
                    </a:lnTo>
                    <a:lnTo>
                      <a:pt x="13321" y="5933"/>
                    </a:lnTo>
                    <a:lnTo>
                      <a:pt x="13545" y="5485"/>
                    </a:lnTo>
                    <a:lnTo>
                      <a:pt x="13657" y="5149"/>
                    </a:lnTo>
                    <a:lnTo>
                      <a:pt x="13657" y="4926"/>
                    </a:lnTo>
                    <a:lnTo>
                      <a:pt x="13545" y="4702"/>
                    </a:lnTo>
                    <a:lnTo>
                      <a:pt x="13321" y="4142"/>
                    </a:lnTo>
                    <a:lnTo>
                      <a:pt x="13209" y="3918"/>
                    </a:lnTo>
                    <a:lnTo>
                      <a:pt x="13433" y="3694"/>
                    </a:lnTo>
                    <a:lnTo>
                      <a:pt x="13657" y="3582"/>
                    </a:lnTo>
                    <a:lnTo>
                      <a:pt x="13993" y="3582"/>
                    </a:lnTo>
                    <a:lnTo>
                      <a:pt x="14216" y="3806"/>
                    </a:lnTo>
                    <a:lnTo>
                      <a:pt x="14328" y="3918"/>
                    </a:lnTo>
                    <a:lnTo>
                      <a:pt x="14664" y="3918"/>
                    </a:lnTo>
                    <a:lnTo>
                      <a:pt x="14776" y="3806"/>
                    </a:lnTo>
                    <a:lnTo>
                      <a:pt x="15448" y="3358"/>
                    </a:lnTo>
                    <a:lnTo>
                      <a:pt x="15896" y="2911"/>
                    </a:lnTo>
                    <a:lnTo>
                      <a:pt x="16231" y="2463"/>
                    </a:lnTo>
                    <a:lnTo>
                      <a:pt x="16231" y="2239"/>
                    </a:lnTo>
                    <a:lnTo>
                      <a:pt x="16231" y="2015"/>
                    </a:lnTo>
                    <a:lnTo>
                      <a:pt x="16008" y="1455"/>
                    </a:lnTo>
                    <a:lnTo>
                      <a:pt x="15672" y="1008"/>
                    </a:lnTo>
                    <a:lnTo>
                      <a:pt x="15112" y="560"/>
                    </a:lnTo>
                    <a:lnTo>
                      <a:pt x="14328" y="224"/>
                    </a:lnTo>
                    <a:lnTo>
                      <a:pt x="13769" y="112"/>
                    </a:lnTo>
                    <a:lnTo>
                      <a:pt x="13209" y="0"/>
                    </a:lnTo>
                    <a:close/>
                  </a:path>
                </a:pathLst>
              </a:custGeom>
              <a:solidFill>
                <a:srgbClr val="8A3A1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2" name="Google Shape;2012;p16">
                <a:extLst>
                  <a:ext uri="{FF2B5EF4-FFF2-40B4-BE49-F238E27FC236}">
                    <a16:creationId xmlns:a16="http://schemas.microsoft.com/office/drawing/2014/main" id="{A3B5C2D7-9E37-8F8C-9EFB-34A60DD855E6}"/>
                  </a:ext>
                </a:extLst>
              </p:cNvPr>
              <p:cNvSpPr/>
              <p:nvPr/>
            </p:nvSpPr>
            <p:spPr>
              <a:xfrm>
                <a:off x="3893950" y="3156925"/>
                <a:ext cx="86775" cy="145550"/>
              </a:xfrm>
              <a:custGeom>
                <a:avLst/>
                <a:gdLst/>
                <a:ahLst/>
                <a:cxnLst/>
                <a:rect l="l" t="t" r="r" b="b"/>
                <a:pathLst>
                  <a:path w="3471" h="5822" extrusionOk="0">
                    <a:moveTo>
                      <a:pt x="3246" y="0"/>
                    </a:moveTo>
                    <a:lnTo>
                      <a:pt x="0" y="112"/>
                    </a:lnTo>
                    <a:lnTo>
                      <a:pt x="448" y="4590"/>
                    </a:lnTo>
                    <a:lnTo>
                      <a:pt x="2575" y="5821"/>
                    </a:lnTo>
                    <a:lnTo>
                      <a:pt x="3470" y="4142"/>
                    </a:lnTo>
                    <a:lnTo>
                      <a:pt x="3470" y="3023"/>
                    </a:lnTo>
                    <a:lnTo>
                      <a:pt x="3358" y="1568"/>
                    </a:lnTo>
                    <a:lnTo>
                      <a:pt x="3246" y="0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3" name="Google Shape;2013;p16">
                <a:extLst>
                  <a:ext uri="{FF2B5EF4-FFF2-40B4-BE49-F238E27FC236}">
                    <a16:creationId xmlns:a16="http://schemas.microsoft.com/office/drawing/2014/main" id="{E3845D26-164B-2F7F-C771-22FA959E928F}"/>
                  </a:ext>
                </a:extLst>
              </p:cNvPr>
              <p:cNvSpPr/>
              <p:nvPr/>
            </p:nvSpPr>
            <p:spPr>
              <a:xfrm>
                <a:off x="3893950" y="3246475"/>
                <a:ext cx="232300" cy="95175"/>
              </a:xfrm>
              <a:custGeom>
                <a:avLst/>
                <a:gdLst/>
                <a:ahLst/>
                <a:cxnLst/>
                <a:rect l="l" t="t" r="r" b="b"/>
                <a:pathLst>
                  <a:path w="9292" h="3807" extrusionOk="0">
                    <a:moveTo>
                      <a:pt x="3694" y="1"/>
                    </a:moveTo>
                    <a:lnTo>
                      <a:pt x="2687" y="224"/>
                    </a:lnTo>
                    <a:lnTo>
                      <a:pt x="1679" y="336"/>
                    </a:lnTo>
                    <a:lnTo>
                      <a:pt x="1008" y="336"/>
                    </a:lnTo>
                    <a:lnTo>
                      <a:pt x="336" y="448"/>
                    </a:lnTo>
                    <a:lnTo>
                      <a:pt x="224" y="560"/>
                    </a:lnTo>
                    <a:lnTo>
                      <a:pt x="112" y="784"/>
                    </a:lnTo>
                    <a:lnTo>
                      <a:pt x="0" y="1456"/>
                    </a:lnTo>
                    <a:lnTo>
                      <a:pt x="0" y="2351"/>
                    </a:lnTo>
                    <a:lnTo>
                      <a:pt x="112" y="3247"/>
                    </a:lnTo>
                    <a:lnTo>
                      <a:pt x="224" y="3471"/>
                    </a:lnTo>
                    <a:lnTo>
                      <a:pt x="336" y="3695"/>
                    </a:lnTo>
                    <a:lnTo>
                      <a:pt x="560" y="3806"/>
                    </a:lnTo>
                    <a:lnTo>
                      <a:pt x="784" y="3806"/>
                    </a:lnTo>
                    <a:lnTo>
                      <a:pt x="4478" y="3695"/>
                    </a:lnTo>
                    <a:lnTo>
                      <a:pt x="6717" y="3583"/>
                    </a:lnTo>
                    <a:lnTo>
                      <a:pt x="7612" y="3359"/>
                    </a:lnTo>
                    <a:lnTo>
                      <a:pt x="8508" y="3135"/>
                    </a:lnTo>
                    <a:lnTo>
                      <a:pt x="8955" y="2911"/>
                    </a:lnTo>
                    <a:lnTo>
                      <a:pt x="9179" y="2687"/>
                    </a:lnTo>
                    <a:lnTo>
                      <a:pt x="9291" y="2351"/>
                    </a:lnTo>
                    <a:lnTo>
                      <a:pt x="9291" y="2127"/>
                    </a:lnTo>
                    <a:lnTo>
                      <a:pt x="9179" y="1792"/>
                    </a:lnTo>
                    <a:lnTo>
                      <a:pt x="9067" y="1568"/>
                    </a:lnTo>
                    <a:lnTo>
                      <a:pt x="8731" y="1344"/>
                    </a:lnTo>
                    <a:lnTo>
                      <a:pt x="7724" y="1344"/>
                    </a:lnTo>
                    <a:lnTo>
                      <a:pt x="6157" y="1456"/>
                    </a:lnTo>
                    <a:lnTo>
                      <a:pt x="5485" y="1456"/>
                    </a:lnTo>
                    <a:lnTo>
                      <a:pt x="4702" y="1344"/>
                    </a:lnTo>
                    <a:lnTo>
                      <a:pt x="4254" y="1120"/>
                    </a:lnTo>
                    <a:lnTo>
                      <a:pt x="4030" y="1008"/>
                    </a:lnTo>
                    <a:lnTo>
                      <a:pt x="4030" y="784"/>
                    </a:lnTo>
                    <a:lnTo>
                      <a:pt x="3918" y="224"/>
                    </a:lnTo>
                    <a:lnTo>
                      <a:pt x="3806" y="112"/>
                    </a:lnTo>
                    <a:lnTo>
                      <a:pt x="3694" y="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4" name="Google Shape;2014;p16">
                <a:extLst>
                  <a:ext uri="{FF2B5EF4-FFF2-40B4-BE49-F238E27FC236}">
                    <a16:creationId xmlns:a16="http://schemas.microsoft.com/office/drawing/2014/main" id="{768F651B-B01D-C3FE-72C9-FD52716D0011}"/>
                  </a:ext>
                </a:extLst>
              </p:cNvPr>
              <p:cNvSpPr/>
              <p:nvPr/>
            </p:nvSpPr>
            <p:spPr>
              <a:xfrm>
                <a:off x="3062800" y="3005800"/>
                <a:ext cx="142750" cy="120375"/>
              </a:xfrm>
              <a:custGeom>
                <a:avLst/>
                <a:gdLst/>
                <a:ahLst/>
                <a:cxnLst/>
                <a:rect l="l" t="t" r="r" b="b"/>
                <a:pathLst>
                  <a:path w="5710" h="4815" extrusionOk="0">
                    <a:moveTo>
                      <a:pt x="4366" y="1"/>
                    </a:moveTo>
                    <a:lnTo>
                      <a:pt x="336" y="2351"/>
                    </a:lnTo>
                    <a:lnTo>
                      <a:pt x="0" y="4814"/>
                    </a:lnTo>
                    <a:lnTo>
                      <a:pt x="1903" y="4814"/>
                    </a:lnTo>
                    <a:lnTo>
                      <a:pt x="4254" y="3583"/>
                    </a:lnTo>
                    <a:lnTo>
                      <a:pt x="5709" y="2799"/>
                    </a:lnTo>
                    <a:lnTo>
                      <a:pt x="4366" y="1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5" name="Google Shape;2015;p16">
                <a:extLst>
                  <a:ext uri="{FF2B5EF4-FFF2-40B4-BE49-F238E27FC236}">
                    <a16:creationId xmlns:a16="http://schemas.microsoft.com/office/drawing/2014/main" id="{C85DC058-3883-72E4-E93E-0611AF5B97F4}"/>
                  </a:ext>
                </a:extLst>
              </p:cNvPr>
              <p:cNvSpPr/>
              <p:nvPr/>
            </p:nvSpPr>
            <p:spPr>
              <a:xfrm>
                <a:off x="3006825" y="3056175"/>
                <a:ext cx="131550" cy="232300"/>
              </a:xfrm>
              <a:custGeom>
                <a:avLst/>
                <a:gdLst/>
                <a:ahLst/>
                <a:cxnLst/>
                <a:rect l="l" t="t" r="r" b="b"/>
                <a:pathLst>
                  <a:path w="5262" h="9292" extrusionOk="0">
                    <a:moveTo>
                      <a:pt x="2687" y="1"/>
                    </a:moveTo>
                    <a:lnTo>
                      <a:pt x="1904" y="225"/>
                    </a:lnTo>
                    <a:lnTo>
                      <a:pt x="1120" y="672"/>
                    </a:lnTo>
                    <a:lnTo>
                      <a:pt x="336" y="1232"/>
                    </a:lnTo>
                    <a:lnTo>
                      <a:pt x="112" y="1344"/>
                    </a:lnTo>
                    <a:lnTo>
                      <a:pt x="112" y="1568"/>
                    </a:lnTo>
                    <a:lnTo>
                      <a:pt x="1" y="1792"/>
                    </a:lnTo>
                    <a:lnTo>
                      <a:pt x="112" y="2016"/>
                    </a:lnTo>
                    <a:lnTo>
                      <a:pt x="3359" y="8620"/>
                    </a:lnTo>
                    <a:lnTo>
                      <a:pt x="3583" y="8956"/>
                    </a:lnTo>
                    <a:lnTo>
                      <a:pt x="3918" y="9180"/>
                    </a:lnTo>
                    <a:lnTo>
                      <a:pt x="4254" y="9292"/>
                    </a:lnTo>
                    <a:lnTo>
                      <a:pt x="4590" y="9180"/>
                    </a:lnTo>
                    <a:lnTo>
                      <a:pt x="4926" y="8956"/>
                    </a:lnTo>
                    <a:lnTo>
                      <a:pt x="5150" y="8844"/>
                    </a:lnTo>
                    <a:lnTo>
                      <a:pt x="5262" y="8620"/>
                    </a:lnTo>
                    <a:lnTo>
                      <a:pt x="5262" y="8396"/>
                    </a:lnTo>
                    <a:lnTo>
                      <a:pt x="4926" y="7501"/>
                    </a:lnTo>
                    <a:lnTo>
                      <a:pt x="4366" y="5933"/>
                    </a:lnTo>
                    <a:lnTo>
                      <a:pt x="4142" y="5150"/>
                    </a:lnTo>
                    <a:lnTo>
                      <a:pt x="3918" y="4366"/>
                    </a:lnTo>
                    <a:lnTo>
                      <a:pt x="4030" y="3807"/>
                    </a:lnTo>
                    <a:lnTo>
                      <a:pt x="4030" y="3583"/>
                    </a:lnTo>
                    <a:lnTo>
                      <a:pt x="4254" y="3359"/>
                    </a:lnTo>
                    <a:lnTo>
                      <a:pt x="4702" y="3023"/>
                    </a:lnTo>
                    <a:lnTo>
                      <a:pt x="4814" y="2911"/>
                    </a:lnTo>
                    <a:lnTo>
                      <a:pt x="4702" y="2799"/>
                    </a:lnTo>
                    <a:lnTo>
                      <a:pt x="4142" y="1904"/>
                    </a:lnTo>
                    <a:lnTo>
                      <a:pt x="3695" y="1232"/>
                    </a:lnTo>
                    <a:lnTo>
                      <a:pt x="3359" y="560"/>
                    </a:lnTo>
                    <a:lnTo>
                      <a:pt x="3023" y="113"/>
                    </a:lnTo>
                    <a:lnTo>
                      <a:pt x="2911" y="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6" name="Google Shape;2016;p16">
                <a:extLst>
                  <a:ext uri="{FF2B5EF4-FFF2-40B4-BE49-F238E27FC236}">
                    <a16:creationId xmlns:a16="http://schemas.microsoft.com/office/drawing/2014/main" id="{1CD56871-E2E0-5D00-4186-2FE93FA8F76A}"/>
                  </a:ext>
                </a:extLst>
              </p:cNvPr>
              <p:cNvSpPr/>
              <p:nvPr/>
            </p:nvSpPr>
            <p:spPr>
              <a:xfrm>
                <a:off x="3101975" y="2272600"/>
                <a:ext cx="920725" cy="968300"/>
              </a:xfrm>
              <a:custGeom>
                <a:avLst/>
                <a:gdLst/>
                <a:ahLst/>
                <a:cxnLst/>
                <a:rect l="l" t="t" r="r" b="b"/>
                <a:pathLst>
                  <a:path w="36829" h="38732" extrusionOk="0">
                    <a:moveTo>
                      <a:pt x="15896" y="1"/>
                    </a:moveTo>
                    <a:lnTo>
                      <a:pt x="15112" y="113"/>
                    </a:lnTo>
                    <a:lnTo>
                      <a:pt x="14329" y="225"/>
                    </a:lnTo>
                    <a:lnTo>
                      <a:pt x="13769" y="448"/>
                    </a:lnTo>
                    <a:lnTo>
                      <a:pt x="13321" y="672"/>
                    </a:lnTo>
                    <a:lnTo>
                      <a:pt x="13209" y="1008"/>
                    </a:lnTo>
                    <a:lnTo>
                      <a:pt x="12873" y="2128"/>
                    </a:lnTo>
                    <a:lnTo>
                      <a:pt x="12762" y="2687"/>
                    </a:lnTo>
                    <a:lnTo>
                      <a:pt x="12762" y="3135"/>
                    </a:lnTo>
                    <a:lnTo>
                      <a:pt x="12762" y="3695"/>
                    </a:lnTo>
                    <a:lnTo>
                      <a:pt x="13769" y="8732"/>
                    </a:lnTo>
                    <a:lnTo>
                      <a:pt x="14441" y="11754"/>
                    </a:lnTo>
                    <a:lnTo>
                      <a:pt x="15000" y="14665"/>
                    </a:lnTo>
                    <a:lnTo>
                      <a:pt x="15112" y="16120"/>
                    </a:lnTo>
                    <a:lnTo>
                      <a:pt x="15224" y="17351"/>
                    </a:lnTo>
                    <a:lnTo>
                      <a:pt x="15112" y="18583"/>
                    </a:lnTo>
                    <a:lnTo>
                      <a:pt x="14888" y="19590"/>
                    </a:lnTo>
                    <a:lnTo>
                      <a:pt x="14664" y="19926"/>
                    </a:lnTo>
                    <a:lnTo>
                      <a:pt x="14217" y="20374"/>
                    </a:lnTo>
                    <a:lnTo>
                      <a:pt x="12650" y="21493"/>
                    </a:lnTo>
                    <a:lnTo>
                      <a:pt x="10523" y="22836"/>
                    </a:lnTo>
                    <a:lnTo>
                      <a:pt x="8060" y="24403"/>
                    </a:lnTo>
                    <a:lnTo>
                      <a:pt x="3135" y="27314"/>
                    </a:lnTo>
                    <a:lnTo>
                      <a:pt x="1232" y="28545"/>
                    </a:lnTo>
                    <a:lnTo>
                      <a:pt x="560" y="29105"/>
                    </a:lnTo>
                    <a:lnTo>
                      <a:pt x="0" y="29553"/>
                    </a:lnTo>
                    <a:lnTo>
                      <a:pt x="112" y="29888"/>
                    </a:lnTo>
                    <a:lnTo>
                      <a:pt x="336" y="30448"/>
                    </a:lnTo>
                    <a:lnTo>
                      <a:pt x="1120" y="32015"/>
                    </a:lnTo>
                    <a:lnTo>
                      <a:pt x="1568" y="32799"/>
                    </a:lnTo>
                    <a:lnTo>
                      <a:pt x="2127" y="33471"/>
                    </a:lnTo>
                    <a:lnTo>
                      <a:pt x="2687" y="33806"/>
                    </a:lnTo>
                    <a:lnTo>
                      <a:pt x="2911" y="33918"/>
                    </a:lnTo>
                    <a:lnTo>
                      <a:pt x="3135" y="33918"/>
                    </a:lnTo>
                    <a:lnTo>
                      <a:pt x="5709" y="32575"/>
                    </a:lnTo>
                    <a:lnTo>
                      <a:pt x="8284" y="31008"/>
                    </a:lnTo>
                    <a:lnTo>
                      <a:pt x="11418" y="29217"/>
                    </a:lnTo>
                    <a:lnTo>
                      <a:pt x="14553" y="27202"/>
                    </a:lnTo>
                    <a:lnTo>
                      <a:pt x="17351" y="25075"/>
                    </a:lnTo>
                    <a:lnTo>
                      <a:pt x="18582" y="24180"/>
                    </a:lnTo>
                    <a:lnTo>
                      <a:pt x="19478" y="23172"/>
                    </a:lnTo>
                    <a:lnTo>
                      <a:pt x="20261" y="22389"/>
                    </a:lnTo>
                    <a:lnTo>
                      <a:pt x="20709" y="21605"/>
                    </a:lnTo>
                    <a:lnTo>
                      <a:pt x="21045" y="20374"/>
                    </a:lnTo>
                    <a:lnTo>
                      <a:pt x="21381" y="19142"/>
                    </a:lnTo>
                    <a:lnTo>
                      <a:pt x="21605" y="17799"/>
                    </a:lnTo>
                    <a:lnTo>
                      <a:pt x="21717" y="16344"/>
                    </a:lnTo>
                    <a:lnTo>
                      <a:pt x="21829" y="13321"/>
                    </a:lnTo>
                    <a:lnTo>
                      <a:pt x="21717" y="10187"/>
                    </a:lnTo>
                    <a:lnTo>
                      <a:pt x="23172" y="11754"/>
                    </a:lnTo>
                    <a:lnTo>
                      <a:pt x="26194" y="15113"/>
                    </a:lnTo>
                    <a:lnTo>
                      <a:pt x="27537" y="16904"/>
                    </a:lnTo>
                    <a:lnTo>
                      <a:pt x="28881" y="18583"/>
                    </a:lnTo>
                    <a:lnTo>
                      <a:pt x="30000" y="20150"/>
                    </a:lnTo>
                    <a:lnTo>
                      <a:pt x="30784" y="21605"/>
                    </a:lnTo>
                    <a:lnTo>
                      <a:pt x="30896" y="22053"/>
                    </a:lnTo>
                    <a:lnTo>
                      <a:pt x="31008" y="22836"/>
                    </a:lnTo>
                    <a:lnTo>
                      <a:pt x="31119" y="24739"/>
                    </a:lnTo>
                    <a:lnTo>
                      <a:pt x="31119" y="27202"/>
                    </a:lnTo>
                    <a:lnTo>
                      <a:pt x="31008" y="30000"/>
                    </a:lnTo>
                    <a:lnTo>
                      <a:pt x="30896" y="35150"/>
                    </a:lnTo>
                    <a:lnTo>
                      <a:pt x="30896" y="37165"/>
                    </a:lnTo>
                    <a:lnTo>
                      <a:pt x="31008" y="38396"/>
                    </a:lnTo>
                    <a:lnTo>
                      <a:pt x="31343" y="38508"/>
                    </a:lnTo>
                    <a:lnTo>
                      <a:pt x="32351" y="38732"/>
                    </a:lnTo>
                    <a:lnTo>
                      <a:pt x="33918" y="38732"/>
                    </a:lnTo>
                    <a:lnTo>
                      <a:pt x="34925" y="38620"/>
                    </a:lnTo>
                    <a:lnTo>
                      <a:pt x="36045" y="38284"/>
                    </a:lnTo>
                    <a:lnTo>
                      <a:pt x="36604" y="29329"/>
                    </a:lnTo>
                    <a:lnTo>
                      <a:pt x="36828" y="23060"/>
                    </a:lnTo>
                    <a:lnTo>
                      <a:pt x="36828" y="20709"/>
                    </a:lnTo>
                    <a:lnTo>
                      <a:pt x="36716" y="19142"/>
                    </a:lnTo>
                    <a:lnTo>
                      <a:pt x="36493" y="18359"/>
                    </a:lnTo>
                    <a:lnTo>
                      <a:pt x="36157" y="17575"/>
                    </a:lnTo>
                    <a:lnTo>
                      <a:pt x="35261" y="15672"/>
                    </a:lnTo>
                    <a:lnTo>
                      <a:pt x="33918" y="13545"/>
                    </a:lnTo>
                    <a:lnTo>
                      <a:pt x="32351" y="11195"/>
                    </a:lnTo>
                    <a:lnTo>
                      <a:pt x="28769" y="5934"/>
                    </a:lnTo>
                    <a:lnTo>
                      <a:pt x="24851" y="560"/>
                    </a:lnTo>
                    <a:lnTo>
                      <a:pt x="24403" y="896"/>
                    </a:lnTo>
                    <a:lnTo>
                      <a:pt x="23843" y="1232"/>
                    </a:lnTo>
                    <a:lnTo>
                      <a:pt x="23060" y="1568"/>
                    </a:lnTo>
                    <a:lnTo>
                      <a:pt x="22164" y="1792"/>
                    </a:lnTo>
                    <a:lnTo>
                      <a:pt x="21045" y="1792"/>
                    </a:lnTo>
                    <a:lnTo>
                      <a:pt x="20485" y="1568"/>
                    </a:lnTo>
                    <a:lnTo>
                      <a:pt x="19814" y="1456"/>
                    </a:lnTo>
                    <a:lnTo>
                      <a:pt x="19142" y="1120"/>
                    </a:lnTo>
                    <a:lnTo>
                      <a:pt x="18358" y="672"/>
                    </a:lnTo>
                    <a:lnTo>
                      <a:pt x="17575" y="337"/>
                    </a:lnTo>
                    <a:lnTo>
                      <a:pt x="16791" y="113"/>
                    </a:lnTo>
                    <a:lnTo>
                      <a:pt x="15896" y="1"/>
                    </a:lnTo>
                    <a:close/>
                  </a:path>
                </a:pathLst>
              </a:custGeom>
              <a:solidFill>
                <a:srgbClr val="46464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7" name="Google Shape;2017;p16">
                <a:extLst>
                  <a:ext uri="{FF2B5EF4-FFF2-40B4-BE49-F238E27FC236}">
                    <a16:creationId xmlns:a16="http://schemas.microsoft.com/office/drawing/2014/main" id="{75BBFF71-B755-AB06-E890-850DAA7851F9}"/>
                  </a:ext>
                </a:extLst>
              </p:cNvPr>
              <p:cNvSpPr/>
              <p:nvPr/>
            </p:nvSpPr>
            <p:spPr>
              <a:xfrm>
                <a:off x="3101975" y="2272600"/>
                <a:ext cx="920725" cy="968300"/>
              </a:xfrm>
              <a:custGeom>
                <a:avLst/>
                <a:gdLst/>
                <a:ahLst/>
                <a:cxnLst/>
                <a:rect l="l" t="t" r="r" b="b"/>
                <a:pathLst>
                  <a:path w="36829" h="38732" fill="none" extrusionOk="0">
                    <a:moveTo>
                      <a:pt x="36045" y="38284"/>
                    </a:moveTo>
                    <a:lnTo>
                      <a:pt x="36045" y="38284"/>
                    </a:lnTo>
                    <a:lnTo>
                      <a:pt x="34925" y="38620"/>
                    </a:lnTo>
                    <a:lnTo>
                      <a:pt x="33918" y="38732"/>
                    </a:lnTo>
                    <a:lnTo>
                      <a:pt x="33022" y="38732"/>
                    </a:lnTo>
                    <a:lnTo>
                      <a:pt x="32351" y="38732"/>
                    </a:lnTo>
                    <a:lnTo>
                      <a:pt x="31343" y="38508"/>
                    </a:lnTo>
                    <a:lnTo>
                      <a:pt x="31008" y="38396"/>
                    </a:lnTo>
                    <a:lnTo>
                      <a:pt x="31008" y="38396"/>
                    </a:lnTo>
                    <a:lnTo>
                      <a:pt x="30896" y="37165"/>
                    </a:lnTo>
                    <a:lnTo>
                      <a:pt x="30896" y="35150"/>
                    </a:lnTo>
                    <a:lnTo>
                      <a:pt x="31008" y="30000"/>
                    </a:lnTo>
                    <a:lnTo>
                      <a:pt x="31119" y="27202"/>
                    </a:lnTo>
                    <a:lnTo>
                      <a:pt x="31119" y="24739"/>
                    </a:lnTo>
                    <a:lnTo>
                      <a:pt x="31008" y="22836"/>
                    </a:lnTo>
                    <a:lnTo>
                      <a:pt x="30896" y="22053"/>
                    </a:lnTo>
                    <a:lnTo>
                      <a:pt x="30784" y="21605"/>
                    </a:lnTo>
                    <a:lnTo>
                      <a:pt x="30784" y="21605"/>
                    </a:lnTo>
                    <a:lnTo>
                      <a:pt x="30000" y="20150"/>
                    </a:lnTo>
                    <a:lnTo>
                      <a:pt x="28881" y="18583"/>
                    </a:lnTo>
                    <a:lnTo>
                      <a:pt x="27537" y="16904"/>
                    </a:lnTo>
                    <a:lnTo>
                      <a:pt x="26194" y="15113"/>
                    </a:lnTo>
                    <a:lnTo>
                      <a:pt x="26194" y="15113"/>
                    </a:lnTo>
                    <a:lnTo>
                      <a:pt x="23172" y="11754"/>
                    </a:lnTo>
                    <a:lnTo>
                      <a:pt x="21717" y="10187"/>
                    </a:lnTo>
                    <a:lnTo>
                      <a:pt x="21717" y="10187"/>
                    </a:lnTo>
                    <a:lnTo>
                      <a:pt x="21717" y="10187"/>
                    </a:lnTo>
                    <a:lnTo>
                      <a:pt x="21829" y="13321"/>
                    </a:lnTo>
                    <a:lnTo>
                      <a:pt x="21717" y="16344"/>
                    </a:lnTo>
                    <a:lnTo>
                      <a:pt x="21605" y="17799"/>
                    </a:lnTo>
                    <a:lnTo>
                      <a:pt x="21381" y="19142"/>
                    </a:lnTo>
                    <a:lnTo>
                      <a:pt x="21045" y="20374"/>
                    </a:lnTo>
                    <a:lnTo>
                      <a:pt x="20709" y="21605"/>
                    </a:lnTo>
                    <a:lnTo>
                      <a:pt x="20709" y="21605"/>
                    </a:lnTo>
                    <a:lnTo>
                      <a:pt x="20261" y="22389"/>
                    </a:lnTo>
                    <a:lnTo>
                      <a:pt x="19478" y="23172"/>
                    </a:lnTo>
                    <a:lnTo>
                      <a:pt x="18582" y="24180"/>
                    </a:lnTo>
                    <a:lnTo>
                      <a:pt x="17351" y="25075"/>
                    </a:lnTo>
                    <a:lnTo>
                      <a:pt x="14553" y="27202"/>
                    </a:lnTo>
                    <a:lnTo>
                      <a:pt x="11418" y="29217"/>
                    </a:lnTo>
                    <a:lnTo>
                      <a:pt x="8284" y="31008"/>
                    </a:lnTo>
                    <a:lnTo>
                      <a:pt x="5709" y="32575"/>
                    </a:lnTo>
                    <a:lnTo>
                      <a:pt x="3135" y="33918"/>
                    </a:lnTo>
                    <a:lnTo>
                      <a:pt x="3135" y="33918"/>
                    </a:lnTo>
                    <a:lnTo>
                      <a:pt x="2911" y="33918"/>
                    </a:lnTo>
                    <a:lnTo>
                      <a:pt x="2687" y="33806"/>
                    </a:lnTo>
                    <a:lnTo>
                      <a:pt x="2127" y="33471"/>
                    </a:lnTo>
                    <a:lnTo>
                      <a:pt x="1568" y="32799"/>
                    </a:lnTo>
                    <a:lnTo>
                      <a:pt x="1120" y="32015"/>
                    </a:lnTo>
                    <a:lnTo>
                      <a:pt x="336" y="30448"/>
                    </a:lnTo>
                    <a:lnTo>
                      <a:pt x="112" y="29888"/>
                    </a:lnTo>
                    <a:lnTo>
                      <a:pt x="0" y="29553"/>
                    </a:lnTo>
                    <a:lnTo>
                      <a:pt x="0" y="29553"/>
                    </a:lnTo>
                    <a:lnTo>
                      <a:pt x="560" y="29105"/>
                    </a:lnTo>
                    <a:lnTo>
                      <a:pt x="1232" y="28545"/>
                    </a:lnTo>
                    <a:lnTo>
                      <a:pt x="3135" y="27314"/>
                    </a:lnTo>
                    <a:lnTo>
                      <a:pt x="8060" y="24403"/>
                    </a:lnTo>
                    <a:lnTo>
                      <a:pt x="10523" y="22836"/>
                    </a:lnTo>
                    <a:lnTo>
                      <a:pt x="12650" y="21493"/>
                    </a:lnTo>
                    <a:lnTo>
                      <a:pt x="14217" y="20374"/>
                    </a:lnTo>
                    <a:lnTo>
                      <a:pt x="14664" y="19926"/>
                    </a:lnTo>
                    <a:lnTo>
                      <a:pt x="14888" y="19590"/>
                    </a:lnTo>
                    <a:lnTo>
                      <a:pt x="14888" y="19590"/>
                    </a:lnTo>
                    <a:lnTo>
                      <a:pt x="15112" y="18583"/>
                    </a:lnTo>
                    <a:lnTo>
                      <a:pt x="15224" y="17351"/>
                    </a:lnTo>
                    <a:lnTo>
                      <a:pt x="15112" y="16120"/>
                    </a:lnTo>
                    <a:lnTo>
                      <a:pt x="15000" y="14665"/>
                    </a:lnTo>
                    <a:lnTo>
                      <a:pt x="14441" y="11754"/>
                    </a:lnTo>
                    <a:lnTo>
                      <a:pt x="13769" y="8732"/>
                    </a:lnTo>
                    <a:lnTo>
                      <a:pt x="13769" y="8732"/>
                    </a:lnTo>
                    <a:lnTo>
                      <a:pt x="12762" y="3695"/>
                    </a:lnTo>
                    <a:lnTo>
                      <a:pt x="12762" y="3695"/>
                    </a:lnTo>
                    <a:lnTo>
                      <a:pt x="12762" y="3135"/>
                    </a:lnTo>
                    <a:lnTo>
                      <a:pt x="12762" y="3135"/>
                    </a:lnTo>
                    <a:lnTo>
                      <a:pt x="12762" y="2687"/>
                    </a:lnTo>
                    <a:lnTo>
                      <a:pt x="12873" y="2128"/>
                    </a:lnTo>
                    <a:lnTo>
                      <a:pt x="13209" y="1008"/>
                    </a:lnTo>
                    <a:lnTo>
                      <a:pt x="13209" y="1008"/>
                    </a:lnTo>
                    <a:lnTo>
                      <a:pt x="13321" y="672"/>
                    </a:lnTo>
                    <a:lnTo>
                      <a:pt x="13769" y="448"/>
                    </a:lnTo>
                    <a:lnTo>
                      <a:pt x="14329" y="225"/>
                    </a:lnTo>
                    <a:lnTo>
                      <a:pt x="15112" y="113"/>
                    </a:lnTo>
                    <a:lnTo>
                      <a:pt x="15896" y="1"/>
                    </a:lnTo>
                    <a:lnTo>
                      <a:pt x="16791" y="113"/>
                    </a:lnTo>
                    <a:lnTo>
                      <a:pt x="17575" y="337"/>
                    </a:lnTo>
                    <a:lnTo>
                      <a:pt x="18358" y="672"/>
                    </a:lnTo>
                    <a:lnTo>
                      <a:pt x="18358" y="672"/>
                    </a:lnTo>
                    <a:lnTo>
                      <a:pt x="19142" y="1120"/>
                    </a:lnTo>
                    <a:lnTo>
                      <a:pt x="19814" y="1456"/>
                    </a:lnTo>
                    <a:lnTo>
                      <a:pt x="20485" y="1568"/>
                    </a:lnTo>
                    <a:lnTo>
                      <a:pt x="21045" y="1792"/>
                    </a:lnTo>
                    <a:lnTo>
                      <a:pt x="21605" y="1792"/>
                    </a:lnTo>
                    <a:lnTo>
                      <a:pt x="22164" y="1792"/>
                    </a:lnTo>
                    <a:lnTo>
                      <a:pt x="23060" y="1568"/>
                    </a:lnTo>
                    <a:lnTo>
                      <a:pt x="23843" y="1232"/>
                    </a:lnTo>
                    <a:lnTo>
                      <a:pt x="24403" y="896"/>
                    </a:lnTo>
                    <a:lnTo>
                      <a:pt x="24851" y="560"/>
                    </a:lnTo>
                    <a:lnTo>
                      <a:pt x="24851" y="560"/>
                    </a:lnTo>
                    <a:lnTo>
                      <a:pt x="28769" y="5934"/>
                    </a:lnTo>
                    <a:lnTo>
                      <a:pt x="32351" y="11195"/>
                    </a:lnTo>
                    <a:lnTo>
                      <a:pt x="33918" y="13545"/>
                    </a:lnTo>
                    <a:lnTo>
                      <a:pt x="35261" y="15672"/>
                    </a:lnTo>
                    <a:lnTo>
                      <a:pt x="36157" y="17575"/>
                    </a:lnTo>
                    <a:lnTo>
                      <a:pt x="36493" y="18359"/>
                    </a:lnTo>
                    <a:lnTo>
                      <a:pt x="36716" y="19142"/>
                    </a:lnTo>
                    <a:lnTo>
                      <a:pt x="36716" y="19142"/>
                    </a:lnTo>
                    <a:lnTo>
                      <a:pt x="36828" y="20709"/>
                    </a:lnTo>
                    <a:lnTo>
                      <a:pt x="36828" y="23060"/>
                    </a:lnTo>
                    <a:lnTo>
                      <a:pt x="36604" y="29329"/>
                    </a:lnTo>
                    <a:lnTo>
                      <a:pt x="36045" y="38284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8" name="Google Shape;2018;p16">
                <a:extLst>
                  <a:ext uri="{FF2B5EF4-FFF2-40B4-BE49-F238E27FC236}">
                    <a16:creationId xmlns:a16="http://schemas.microsoft.com/office/drawing/2014/main" id="{B424EC56-8472-5B8F-0AC8-E3AE1CEA4790}"/>
                  </a:ext>
                </a:extLst>
              </p:cNvPr>
              <p:cNvSpPr/>
              <p:nvPr/>
            </p:nvSpPr>
            <p:spPr>
              <a:xfrm>
                <a:off x="3429400" y="2395750"/>
                <a:ext cx="106350" cy="92375"/>
              </a:xfrm>
              <a:custGeom>
                <a:avLst/>
                <a:gdLst/>
                <a:ahLst/>
                <a:cxnLst/>
                <a:rect l="l" t="t" r="r" b="b"/>
                <a:pathLst>
                  <a:path w="4254" h="3695" extrusionOk="0">
                    <a:moveTo>
                      <a:pt x="4254" y="0"/>
                    </a:moveTo>
                    <a:lnTo>
                      <a:pt x="3694" y="336"/>
                    </a:lnTo>
                    <a:lnTo>
                      <a:pt x="3135" y="560"/>
                    </a:lnTo>
                    <a:lnTo>
                      <a:pt x="2575" y="672"/>
                    </a:lnTo>
                    <a:lnTo>
                      <a:pt x="2015" y="672"/>
                    </a:lnTo>
                    <a:lnTo>
                      <a:pt x="1008" y="560"/>
                    </a:lnTo>
                    <a:lnTo>
                      <a:pt x="0" y="224"/>
                    </a:lnTo>
                    <a:lnTo>
                      <a:pt x="0" y="224"/>
                    </a:lnTo>
                    <a:lnTo>
                      <a:pt x="672" y="3694"/>
                    </a:lnTo>
                    <a:lnTo>
                      <a:pt x="1456" y="3134"/>
                    </a:lnTo>
                    <a:lnTo>
                      <a:pt x="2463" y="2239"/>
                    </a:lnTo>
                    <a:lnTo>
                      <a:pt x="3358" y="1231"/>
                    </a:lnTo>
                    <a:lnTo>
                      <a:pt x="4254" y="0"/>
                    </a:ln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9" name="Google Shape;2019;p16">
                <a:extLst>
                  <a:ext uri="{FF2B5EF4-FFF2-40B4-BE49-F238E27FC236}">
                    <a16:creationId xmlns:a16="http://schemas.microsoft.com/office/drawing/2014/main" id="{3BA230A5-6128-2BD9-4037-3F79A77F0100}"/>
                  </a:ext>
                </a:extLst>
              </p:cNvPr>
              <p:cNvSpPr/>
              <p:nvPr/>
            </p:nvSpPr>
            <p:spPr>
              <a:xfrm>
                <a:off x="3429400" y="2395750"/>
                <a:ext cx="106350" cy="92375"/>
              </a:xfrm>
              <a:custGeom>
                <a:avLst/>
                <a:gdLst/>
                <a:ahLst/>
                <a:cxnLst/>
                <a:rect l="l" t="t" r="r" b="b"/>
                <a:pathLst>
                  <a:path w="4254" h="3695" fill="none" extrusionOk="0">
                    <a:moveTo>
                      <a:pt x="4254" y="0"/>
                    </a:moveTo>
                    <a:lnTo>
                      <a:pt x="4254" y="0"/>
                    </a:lnTo>
                    <a:lnTo>
                      <a:pt x="3694" y="336"/>
                    </a:lnTo>
                    <a:lnTo>
                      <a:pt x="3135" y="560"/>
                    </a:lnTo>
                    <a:lnTo>
                      <a:pt x="2575" y="672"/>
                    </a:lnTo>
                    <a:lnTo>
                      <a:pt x="2015" y="672"/>
                    </a:lnTo>
                    <a:lnTo>
                      <a:pt x="2015" y="672"/>
                    </a:lnTo>
                    <a:lnTo>
                      <a:pt x="1008" y="560"/>
                    </a:lnTo>
                    <a:lnTo>
                      <a:pt x="0" y="224"/>
                    </a:lnTo>
                    <a:lnTo>
                      <a:pt x="0" y="224"/>
                    </a:lnTo>
                    <a:lnTo>
                      <a:pt x="672" y="3694"/>
                    </a:lnTo>
                    <a:lnTo>
                      <a:pt x="672" y="3694"/>
                    </a:lnTo>
                    <a:lnTo>
                      <a:pt x="1456" y="3134"/>
                    </a:lnTo>
                    <a:lnTo>
                      <a:pt x="2463" y="2239"/>
                    </a:lnTo>
                    <a:lnTo>
                      <a:pt x="3358" y="1231"/>
                    </a:lnTo>
                    <a:lnTo>
                      <a:pt x="4254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60" name="Google Shape;2020;p16">
                <a:extLst>
                  <a:ext uri="{FF2B5EF4-FFF2-40B4-BE49-F238E27FC236}">
                    <a16:creationId xmlns:a16="http://schemas.microsoft.com/office/drawing/2014/main" id="{6985BFB4-53EA-0672-2CAA-05929A6260DA}"/>
                  </a:ext>
                </a:extLst>
              </p:cNvPr>
              <p:cNvSpPr/>
              <p:nvPr/>
            </p:nvSpPr>
            <p:spPr>
              <a:xfrm>
                <a:off x="3642075" y="2471300"/>
                <a:ext cx="114775" cy="176325"/>
              </a:xfrm>
              <a:custGeom>
                <a:avLst/>
                <a:gdLst/>
                <a:ahLst/>
                <a:cxnLst/>
                <a:rect l="l" t="t" r="r" b="b"/>
                <a:pathLst>
                  <a:path w="4591" h="7053" extrusionOk="0">
                    <a:moveTo>
                      <a:pt x="1" y="0"/>
                    </a:moveTo>
                    <a:lnTo>
                      <a:pt x="113" y="2127"/>
                    </a:lnTo>
                    <a:lnTo>
                      <a:pt x="1568" y="3582"/>
                    </a:lnTo>
                    <a:lnTo>
                      <a:pt x="4590" y="7053"/>
                    </a:lnTo>
                    <a:lnTo>
                      <a:pt x="3919" y="5709"/>
                    </a:lnTo>
                    <a:lnTo>
                      <a:pt x="3247" y="4478"/>
                    </a:lnTo>
                    <a:lnTo>
                      <a:pt x="1680" y="2127"/>
                    </a:lnTo>
                    <a:lnTo>
                      <a:pt x="448" y="56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61" name="Google Shape;2021;p16">
                <a:extLst>
                  <a:ext uri="{FF2B5EF4-FFF2-40B4-BE49-F238E27FC236}">
                    <a16:creationId xmlns:a16="http://schemas.microsoft.com/office/drawing/2014/main" id="{6F1A93E7-485B-BCE1-D59C-4C885747BBFA}"/>
                  </a:ext>
                </a:extLst>
              </p:cNvPr>
              <p:cNvSpPr/>
              <p:nvPr/>
            </p:nvSpPr>
            <p:spPr>
              <a:xfrm>
                <a:off x="3642075" y="2471300"/>
                <a:ext cx="114775" cy="176325"/>
              </a:xfrm>
              <a:custGeom>
                <a:avLst/>
                <a:gdLst/>
                <a:ahLst/>
                <a:cxnLst/>
                <a:rect l="l" t="t" r="r" b="b"/>
                <a:pathLst>
                  <a:path w="4591" h="7053" fill="none" extrusionOk="0">
                    <a:moveTo>
                      <a:pt x="1" y="0"/>
                    </a:moveTo>
                    <a:lnTo>
                      <a:pt x="113" y="2127"/>
                    </a:lnTo>
                    <a:lnTo>
                      <a:pt x="113" y="2127"/>
                    </a:lnTo>
                    <a:lnTo>
                      <a:pt x="113" y="2127"/>
                    </a:lnTo>
                    <a:lnTo>
                      <a:pt x="1568" y="3582"/>
                    </a:lnTo>
                    <a:lnTo>
                      <a:pt x="4590" y="7053"/>
                    </a:lnTo>
                    <a:lnTo>
                      <a:pt x="4590" y="7053"/>
                    </a:lnTo>
                    <a:lnTo>
                      <a:pt x="3919" y="5709"/>
                    </a:lnTo>
                    <a:lnTo>
                      <a:pt x="3247" y="4478"/>
                    </a:lnTo>
                    <a:lnTo>
                      <a:pt x="1680" y="2127"/>
                    </a:lnTo>
                    <a:lnTo>
                      <a:pt x="448" y="56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62" name="Google Shape;2022;p16">
                <a:extLst>
                  <a:ext uri="{FF2B5EF4-FFF2-40B4-BE49-F238E27FC236}">
                    <a16:creationId xmlns:a16="http://schemas.microsoft.com/office/drawing/2014/main" id="{7555CBBB-6544-CBD9-7120-679D903F9F73}"/>
                  </a:ext>
                </a:extLst>
              </p:cNvPr>
              <p:cNvSpPr/>
              <p:nvPr/>
            </p:nvSpPr>
            <p:spPr>
              <a:xfrm>
                <a:off x="3583300" y="1648550"/>
                <a:ext cx="120375" cy="190325"/>
              </a:xfrm>
              <a:custGeom>
                <a:avLst/>
                <a:gdLst/>
                <a:ahLst/>
                <a:cxnLst/>
                <a:rect l="l" t="t" r="r" b="b"/>
                <a:pathLst>
                  <a:path w="4815" h="7613" extrusionOk="0">
                    <a:moveTo>
                      <a:pt x="2687" y="0"/>
                    </a:moveTo>
                    <a:lnTo>
                      <a:pt x="2352" y="224"/>
                    </a:lnTo>
                    <a:lnTo>
                      <a:pt x="1792" y="672"/>
                    </a:lnTo>
                    <a:lnTo>
                      <a:pt x="1232" y="1344"/>
                    </a:lnTo>
                    <a:lnTo>
                      <a:pt x="1008" y="1791"/>
                    </a:lnTo>
                    <a:lnTo>
                      <a:pt x="896" y="2239"/>
                    </a:lnTo>
                    <a:lnTo>
                      <a:pt x="785" y="3247"/>
                    </a:lnTo>
                    <a:lnTo>
                      <a:pt x="449" y="4478"/>
                    </a:lnTo>
                    <a:lnTo>
                      <a:pt x="113" y="5821"/>
                    </a:lnTo>
                    <a:lnTo>
                      <a:pt x="113" y="6381"/>
                    </a:lnTo>
                    <a:lnTo>
                      <a:pt x="1" y="6941"/>
                    </a:lnTo>
                    <a:lnTo>
                      <a:pt x="2687" y="7388"/>
                    </a:lnTo>
                    <a:lnTo>
                      <a:pt x="3919" y="7612"/>
                    </a:lnTo>
                    <a:lnTo>
                      <a:pt x="4590" y="7612"/>
                    </a:lnTo>
                    <a:lnTo>
                      <a:pt x="4814" y="7500"/>
                    </a:lnTo>
                    <a:lnTo>
                      <a:pt x="4814" y="7276"/>
                    </a:lnTo>
                    <a:lnTo>
                      <a:pt x="4367" y="6829"/>
                    </a:lnTo>
                    <a:lnTo>
                      <a:pt x="4255" y="6269"/>
                    </a:lnTo>
                    <a:lnTo>
                      <a:pt x="4143" y="5709"/>
                    </a:lnTo>
                    <a:lnTo>
                      <a:pt x="4031" y="5373"/>
                    </a:lnTo>
                    <a:lnTo>
                      <a:pt x="3807" y="4814"/>
                    </a:lnTo>
                    <a:lnTo>
                      <a:pt x="3695" y="4142"/>
                    </a:lnTo>
                    <a:lnTo>
                      <a:pt x="3583" y="3023"/>
                    </a:lnTo>
                    <a:lnTo>
                      <a:pt x="3583" y="2463"/>
                    </a:lnTo>
                    <a:lnTo>
                      <a:pt x="3695" y="2351"/>
                    </a:lnTo>
                    <a:lnTo>
                      <a:pt x="3359" y="1679"/>
                    </a:lnTo>
                    <a:lnTo>
                      <a:pt x="2687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63" name="Google Shape;2023;p16">
                <a:extLst>
                  <a:ext uri="{FF2B5EF4-FFF2-40B4-BE49-F238E27FC236}">
                    <a16:creationId xmlns:a16="http://schemas.microsoft.com/office/drawing/2014/main" id="{BFB148C4-AF5A-1D8D-4478-818710C0A351}"/>
                  </a:ext>
                </a:extLst>
              </p:cNvPr>
              <p:cNvSpPr/>
              <p:nvPr/>
            </p:nvSpPr>
            <p:spPr>
              <a:xfrm>
                <a:off x="3583300" y="1648550"/>
                <a:ext cx="120375" cy="190325"/>
              </a:xfrm>
              <a:custGeom>
                <a:avLst/>
                <a:gdLst/>
                <a:ahLst/>
                <a:cxnLst/>
                <a:rect l="l" t="t" r="r" b="b"/>
                <a:pathLst>
                  <a:path w="4815" h="7613" fill="none" extrusionOk="0">
                    <a:moveTo>
                      <a:pt x="1" y="6941"/>
                    </a:moveTo>
                    <a:lnTo>
                      <a:pt x="2687" y="7388"/>
                    </a:lnTo>
                    <a:lnTo>
                      <a:pt x="2687" y="7388"/>
                    </a:lnTo>
                    <a:lnTo>
                      <a:pt x="3919" y="7612"/>
                    </a:lnTo>
                    <a:lnTo>
                      <a:pt x="4590" y="7612"/>
                    </a:lnTo>
                    <a:lnTo>
                      <a:pt x="4814" y="7500"/>
                    </a:lnTo>
                    <a:lnTo>
                      <a:pt x="4814" y="7276"/>
                    </a:lnTo>
                    <a:lnTo>
                      <a:pt x="4814" y="7276"/>
                    </a:lnTo>
                    <a:lnTo>
                      <a:pt x="4367" y="6829"/>
                    </a:lnTo>
                    <a:lnTo>
                      <a:pt x="4255" y="6269"/>
                    </a:lnTo>
                    <a:lnTo>
                      <a:pt x="4143" y="5709"/>
                    </a:lnTo>
                    <a:lnTo>
                      <a:pt x="4031" y="5373"/>
                    </a:lnTo>
                    <a:lnTo>
                      <a:pt x="4031" y="5373"/>
                    </a:lnTo>
                    <a:lnTo>
                      <a:pt x="3807" y="4814"/>
                    </a:lnTo>
                    <a:lnTo>
                      <a:pt x="3695" y="4142"/>
                    </a:lnTo>
                    <a:lnTo>
                      <a:pt x="3695" y="4142"/>
                    </a:lnTo>
                    <a:lnTo>
                      <a:pt x="3583" y="3023"/>
                    </a:lnTo>
                    <a:lnTo>
                      <a:pt x="3583" y="2463"/>
                    </a:lnTo>
                    <a:lnTo>
                      <a:pt x="3695" y="2351"/>
                    </a:lnTo>
                    <a:lnTo>
                      <a:pt x="3359" y="1679"/>
                    </a:lnTo>
                    <a:lnTo>
                      <a:pt x="2687" y="0"/>
                    </a:lnTo>
                    <a:lnTo>
                      <a:pt x="2687" y="0"/>
                    </a:lnTo>
                    <a:lnTo>
                      <a:pt x="2352" y="224"/>
                    </a:lnTo>
                    <a:lnTo>
                      <a:pt x="1792" y="672"/>
                    </a:lnTo>
                    <a:lnTo>
                      <a:pt x="1232" y="1344"/>
                    </a:lnTo>
                    <a:lnTo>
                      <a:pt x="1008" y="1791"/>
                    </a:lnTo>
                    <a:lnTo>
                      <a:pt x="896" y="2239"/>
                    </a:lnTo>
                    <a:lnTo>
                      <a:pt x="896" y="2239"/>
                    </a:lnTo>
                    <a:lnTo>
                      <a:pt x="785" y="3247"/>
                    </a:lnTo>
                    <a:lnTo>
                      <a:pt x="449" y="4478"/>
                    </a:lnTo>
                    <a:lnTo>
                      <a:pt x="113" y="5821"/>
                    </a:lnTo>
                    <a:lnTo>
                      <a:pt x="113" y="6381"/>
                    </a:lnTo>
                    <a:lnTo>
                      <a:pt x="1" y="694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64" name="Google Shape;2024;p16">
                <a:extLst>
                  <a:ext uri="{FF2B5EF4-FFF2-40B4-BE49-F238E27FC236}">
                    <a16:creationId xmlns:a16="http://schemas.microsoft.com/office/drawing/2014/main" id="{1FAF9F8F-0550-264A-87F1-4F67DFFB592C}"/>
                  </a:ext>
                </a:extLst>
              </p:cNvPr>
              <p:cNvSpPr/>
              <p:nvPr/>
            </p:nvSpPr>
            <p:spPr>
              <a:xfrm>
                <a:off x="3630875" y="1687725"/>
                <a:ext cx="44800" cy="64400"/>
              </a:xfrm>
              <a:custGeom>
                <a:avLst/>
                <a:gdLst/>
                <a:ahLst/>
                <a:cxnLst/>
                <a:rect l="l" t="t" r="r" b="b"/>
                <a:pathLst>
                  <a:path w="1792" h="2576" extrusionOk="0">
                    <a:moveTo>
                      <a:pt x="1232" y="0"/>
                    </a:moveTo>
                    <a:lnTo>
                      <a:pt x="784" y="448"/>
                    </a:lnTo>
                    <a:lnTo>
                      <a:pt x="113" y="1008"/>
                    </a:lnTo>
                    <a:lnTo>
                      <a:pt x="1" y="1232"/>
                    </a:lnTo>
                    <a:lnTo>
                      <a:pt x="1" y="1456"/>
                    </a:lnTo>
                    <a:lnTo>
                      <a:pt x="225" y="1903"/>
                    </a:lnTo>
                    <a:lnTo>
                      <a:pt x="449" y="2239"/>
                    </a:lnTo>
                    <a:lnTo>
                      <a:pt x="784" y="2351"/>
                    </a:lnTo>
                    <a:lnTo>
                      <a:pt x="1008" y="2575"/>
                    </a:lnTo>
                    <a:lnTo>
                      <a:pt x="1792" y="2575"/>
                    </a:lnTo>
                    <a:lnTo>
                      <a:pt x="1680" y="1232"/>
                    </a:lnTo>
                    <a:lnTo>
                      <a:pt x="1680" y="896"/>
                    </a:lnTo>
                    <a:lnTo>
                      <a:pt x="1792" y="784"/>
                    </a:lnTo>
                    <a:lnTo>
                      <a:pt x="1456" y="112"/>
                    </a:lnTo>
                    <a:lnTo>
                      <a:pt x="1232" y="0"/>
                    </a:lnTo>
                    <a:close/>
                  </a:path>
                </a:pathLst>
              </a:custGeom>
              <a:solidFill>
                <a:srgbClr val="C5909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65" name="Google Shape;2025;p16">
                <a:extLst>
                  <a:ext uri="{FF2B5EF4-FFF2-40B4-BE49-F238E27FC236}">
                    <a16:creationId xmlns:a16="http://schemas.microsoft.com/office/drawing/2014/main" id="{23532EB2-E61C-14EA-2FF8-A180D86915FE}"/>
                  </a:ext>
                </a:extLst>
              </p:cNvPr>
              <p:cNvSpPr/>
              <p:nvPr/>
            </p:nvSpPr>
            <p:spPr>
              <a:xfrm>
                <a:off x="3630875" y="1687725"/>
                <a:ext cx="44800" cy="64400"/>
              </a:xfrm>
              <a:custGeom>
                <a:avLst/>
                <a:gdLst/>
                <a:ahLst/>
                <a:cxnLst/>
                <a:rect l="l" t="t" r="r" b="b"/>
                <a:pathLst>
                  <a:path w="1792" h="2576" fill="none" extrusionOk="0">
                    <a:moveTo>
                      <a:pt x="1232" y="0"/>
                    </a:moveTo>
                    <a:lnTo>
                      <a:pt x="1232" y="0"/>
                    </a:lnTo>
                    <a:lnTo>
                      <a:pt x="784" y="448"/>
                    </a:lnTo>
                    <a:lnTo>
                      <a:pt x="113" y="1008"/>
                    </a:lnTo>
                    <a:lnTo>
                      <a:pt x="113" y="1008"/>
                    </a:lnTo>
                    <a:lnTo>
                      <a:pt x="1" y="1232"/>
                    </a:lnTo>
                    <a:lnTo>
                      <a:pt x="1" y="1456"/>
                    </a:lnTo>
                    <a:lnTo>
                      <a:pt x="225" y="1903"/>
                    </a:lnTo>
                    <a:lnTo>
                      <a:pt x="449" y="2239"/>
                    </a:lnTo>
                    <a:lnTo>
                      <a:pt x="784" y="2351"/>
                    </a:lnTo>
                    <a:lnTo>
                      <a:pt x="1008" y="2575"/>
                    </a:lnTo>
                    <a:lnTo>
                      <a:pt x="1456" y="2575"/>
                    </a:lnTo>
                    <a:lnTo>
                      <a:pt x="1456" y="2575"/>
                    </a:lnTo>
                    <a:lnTo>
                      <a:pt x="1792" y="2575"/>
                    </a:lnTo>
                    <a:lnTo>
                      <a:pt x="1792" y="2575"/>
                    </a:lnTo>
                    <a:lnTo>
                      <a:pt x="1680" y="1232"/>
                    </a:lnTo>
                    <a:lnTo>
                      <a:pt x="1680" y="1232"/>
                    </a:lnTo>
                    <a:lnTo>
                      <a:pt x="1680" y="896"/>
                    </a:lnTo>
                    <a:lnTo>
                      <a:pt x="1792" y="784"/>
                    </a:lnTo>
                    <a:lnTo>
                      <a:pt x="1456" y="112"/>
                    </a:lnTo>
                    <a:lnTo>
                      <a:pt x="123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66" name="Google Shape;2026;p16">
                <a:extLst>
                  <a:ext uri="{FF2B5EF4-FFF2-40B4-BE49-F238E27FC236}">
                    <a16:creationId xmlns:a16="http://schemas.microsoft.com/office/drawing/2014/main" id="{85F18E0F-846C-76D9-27EF-CA4FCEF54BE5}"/>
                  </a:ext>
                </a:extLst>
              </p:cNvPr>
              <p:cNvSpPr/>
              <p:nvPr/>
            </p:nvSpPr>
            <p:spPr>
              <a:xfrm>
                <a:off x="3448975" y="1754875"/>
                <a:ext cx="305075" cy="598900"/>
              </a:xfrm>
              <a:custGeom>
                <a:avLst/>
                <a:gdLst/>
                <a:ahLst/>
                <a:cxnLst/>
                <a:rect l="l" t="t" r="r" b="b"/>
                <a:pathLst>
                  <a:path w="12203" h="23956" extrusionOk="0">
                    <a:moveTo>
                      <a:pt x="5710" y="1"/>
                    </a:moveTo>
                    <a:lnTo>
                      <a:pt x="4367" y="1232"/>
                    </a:lnTo>
                    <a:lnTo>
                      <a:pt x="3247" y="2128"/>
                    </a:lnTo>
                    <a:lnTo>
                      <a:pt x="2016" y="2911"/>
                    </a:lnTo>
                    <a:lnTo>
                      <a:pt x="1" y="17911"/>
                    </a:lnTo>
                    <a:lnTo>
                      <a:pt x="1" y="19031"/>
                    </a:lnTo>
                    <a:lnTo>
                      <a:pt x="113" y="19926"/>
                    </a:lnTo>
                    <a:lnTo>
                      <a:pt x="337" y="20934"/>
                    </a:lnTo>
                    <a:lnTo>
                      <a:pt x="896" y="21829"/>
                    </a:lnTo>
                    <a:lnTo>
                      <a:pt x="1120" y="22277"/>
                    </a:lnTo>
                    <a:lnTo>
                      <a:pt x="1568" y="22725"/>
                    </a:lnTo>
                    <a:lnTo>
                      <a:pt x="2016" y="23060"/>
                    </a:lnTo>
                    <a:lnTo>
                      <a:pt x="2575" y="23396"/>
                    </a:lnTo>
                    <a:lnTo>
                      <a:pt x="3135" y="23620"/>
                    </a:lnTo>
                    <a:lnTo>
                      <a:pt x="3919" y="23844"/>
                    </a:lnTo>
                    <a:lnTo>
                      <a:pt x="5038" y="23956"/>
                    </a:lnTo>
                    <a:lnTo>
                      <a:pt x="6269" y="23844"/>
                    </a:lnTo>
                    <a:lnTo>
                      <a:pt x="7501" y="23620"/>
                    </a:lnTo>
                    <a:lnTo>
                      <a:pt x="8620" y="23284"/>
                    </a:lnTo>
                    <a:lnTo>
                      <a:pt x="9628" y="22837"/>
                    </a:lnTo>
                    <a:lnTo>
                      <a:pt x="10411" y="22389"/>
                    </a:lnTo>
                    <a:lnTo>
                      <a:pt x="10747" y="21941"/>
                    </a:lnTo>
                    <a:lnTo>
                      <a:pt x="10859" y="21829"/>
                    </a:lnTo>
                    <a:lnTo>
                      <a:pt x="10747" y="21605"/>
                    </a:lnTo>
                    <a:lnTo>
                      <a:pt x="10747" y="21269"/>
                    </a:lnTo>
                    <a:lnTo>
                      <a:pt x="10747" y="20710"/>
                    </a:lnTo>
                    <a:lnTo>
                      <a:pt x="11083" y="18695"/>
                    </a:lnTo>
                    <a:lnTo>
                      <a:pt x="11531" y="16008"/>
                    </a:lnTo>
                    <a:lnTo>
                      <a:pt x="11978" y="12874"/>
                    </a:lnTo>
                    <a:lnTo>
                      <a:pt x="12090" y="11195"/>
                    </a:lnTo>
                    <a:lnTo>
                      <a:pt x="12202" y="9516"/>
                    </a:lnTo>
                    <a:lnTo>
                      <a:pt x="12090" y="7837"/>
                    </a:lnTo>
                    <a:lnTo>
                      <a:pt x="11978" y="6270"/>
                    </a:lnTo>
                    <a:lnTo>
                      <a:pt x="11643" y="4702"/>
                    </a:lnTo>
                    <a:lnTo>
                      <a:pt x="11083" y="3247"/>
                    </a:lnTo>
                    <a:lnTo>
                      <a:pt x="10747" y="2576"/>
                    </a:lnTo>
                    <a:lnTo>
                      <a:pt x="10299" y="2016"/>
                    </a:lnTo>
                    <a:lnTo>
                      <a:pt x="9963" y="1456"/>
                    </a:lnTo>
                    <a:lnTo>
                      <a:pt x="9404" y="897"/>
                    </a:lnTo>
                    <a:lnTo>
                      <a:pt x="9180" y="785"/>
                    </a:lnTo>
                    <a:lnTo>
                      <a:pt x="9068" y="785"/>
                    </a:lnTo>
                    <a:lnTo>
                      <a:pt x="8844" y="1008"/>
                    </a:lnTo>
                    <a:lnTo>
                      <a:pt x="8620" y="1344"/>
                    </a:lnTo>
                    <a:lnTo>
                      <a:pt x="8396" y="1456"/>
                    </a:lnTo>
                    <a:lnTo>
                      <a:pt x="8060" y="1568"/>
                    </a:lnTo>
                    <a:lnTo>
                      <a:pt x="7725" y="1456"/>
                    </a:lnTo>
                    <a:lnTo>
                      <a:pt x="7389" y="1232"/>
                    </a:lnTo>
                    <a:lnTo>
                      <a:pt x="6829" y="673"/>
                    </a:lnTo>
                    <a:lnTo>
                      <a:pt x="6605" y="337"/>
                    </a:lnTo>
                    <a:lnTo>
                      <a:pt x="6381" y="113"/>
                    </a:lnTo>
                    <a:lnTo>
                      <a:pt x="6046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67" name="Google Shape;2027;p16">
                <a:extLst>
                  <a:ext uri="{FF2B5EF4-FFF2-40B4-BE49-F238E27FC236}">
                    <a16:creationId xmlns:a16="http://schemas.microsoft.com/office/drawing/2014/main" id="{DEFAF9E8-5EA6-9E00-C590-87253C57F2E4}"/>
                  </a:ext>
                </a:extLst>
              </p:cNvPr>
              <p:cNvSpPr/>
              <p:nvPr/>
            </p:nvSpPr>
            <p:spPr>
              <a:xfrm>
                <a:off x="3448975" y="1754875"/>
                <a:ext cx="305075" cy="598900"/>
              </a:xfrm>
              <a:custGeom>
                <a:avLst/>
                <a:gdLst/>
                <a:ahLst/>
                <a:cxnLst/>
                <a:rect l="l" t="t" r="r" b="b"/>
                <a:pathLst>
                  <a:path w="12203" h="23956" fill="none" extrusionOk="0">
                    <a:moveTo>
                      <a:pt x="5710" y="1"/>
                    </a:moveTo>
                    <a:lnTo>
                      <a:pt x="5710" y="1"/>
                    </a:lnTo>
                    <a:lnTo>
                      <a:pt x="6046" y="1"/>
                    </a:lnTo>
                    <a:lnTo>
                      <a:pt x="6381" y="113"/>
                    </a:lnTo>
                    <a:lnTo>
                      <a:pt x="6605" y="337"/>
                    </a:lnTo>
                    <a:lnTo>
                      <a:pt x="6829" y="673"/>
                    </a:lnTo>
                    <a:lnTo>
                      <a:pt x="7389" y="1232"/>
                    </a:lnTo>
                    <a:lnTo>
                      <a:pt x="7725" y="1456"/>
                    </a:lnTo>
                    <a:lnTo>
                      <a:pt x="8060" y="1568"/>
                    </a:lnTo>
                    <a:lnTo>
                      <a:pt x="8060" y="1568"/>
                    </a:lnTo>
                    <a:lnTo>
                      <a:pt x="8396" y="1456"/>
                    </a:lnTo>
                    <a:lnTo>
                      <a:pt x="8620" y="1344"/>
                    </a:lnTo>
                    <a:lnTo>
                      <a:pt x="8844" y="1008"/>
                    </a:lnTo>
                    <a:lnTo>
                      <a:pt x="8844" y="1008"/>
                    </a:lnTo>
                    <a:lnTo>
                      <a:pt x="9068" y="785"/>
                    </a:lnTo>
                    <a:lnTo>
                      <a:pt x="9180" y="785"/>
                    </a:lnTo>
                    <a:lnTo>
                      <a:pt x="9404" y="897"/>
                    </a:lnTo>
                    <a:lnTo>
                      <a:pt x="9404" y="897"/>
                    </a:lnTo>
                    <a:lnTo>
                      <a:pt x="9963" y="1456"/>
                    </a:lnTo>
                    <a:lnTo>
                      <a:pt x="10299" y="2016"/>
                    </a:lnTo>
                    <a:lnTo>
                      <a:pt x="10747" y="2576"/>
                    </a:lnTo>
                    <a:lnTo>
                      <a:pt x="11083" y="3247"/>
                    </a:lnTo>
                    <a:lnTo>
                      <a:pt x="11643" y="4702"/>
                    </a:lnTo>
                    <a:lnTo>
                      <a:pt x="11978" y="6270"/>
                    </a:lnTo>
                    <a:lnTo>
                      <a:pt x="12090" y="7837"/>
                    </a:lnTo>
                    <a:lnTo>
                      <a:pt x="12202" y="9516"/>
                    </a:lnTo>
                    <a:lnTo>
                      <a:pt x="12090" y="11195"/>
                    </a:lnTo>
                    <a:lnTo>
                      <a:pt x="11978" y="12874"/>
                    </a:lnTo>
                    <a:lnTo>
                      <a:pt x="11531" y="16008"/>
                    </a:lnTo>
                    <a:lnTo>
                      <a:pt x="11083" y="18695"/>
                    </a:lnTo>
                    <a:lnTo>
                      <a:pt x="10747" y="20710"/>
                    </a:lnTo>
                    <a:lnTo>
                      <a:pt x="10747" y="21269"/>
                    </a:lnTo>
                    <a:lnTo>
                      <a:pt x="10747" y="21605"/>
                    </a:lnTo>
                    <a:lnTo>
                      <a:pt x="10747" y="21605"/>
                    </a:lnTo>
                    <a:lnTo>
                      <a:pt x="10859" y="21829"/>
                    </a:lnTo>
                    <a:lnTo>
                      <a:pt x="10747" y="21941"/>
                    </a:lnTo>
                    <a:lnTo>
                      <a:pt x="10411" y="22389"/>
                    </a:lnTo>
                    <a:lnTo>
                      <a:pt x="9628" y="22837"/>
                    </a:lnTo>
                    <a:lnTo>
                      <a:pt x="8620" y="23284"/>
                    </a:lnTo>
                    <a:lnTo>
                      <a:pt x="7501" y="23620"/>
                    </a:lnTo>
                    <a:lnTo>
                      <a:pt x="6269" y="23844"/>
                    </a:lnTo>
                    <a:lnTo>
                      <a:pt x="5038" y="23956"/>
                    </a:lnTo>
                    <a:lnTo>
                      <a:pt x="3919" y="23844"/>
                    </a:lnTo>
                    <a:lnTo>
                      <a:pt x="3919" y="23844"/>
                    </a:lnTo>
                    <a:lnTo>
                      <a:pt x="3135" y="23620"/>
                    </a:lnTo>
                    <a:lnTo>
                      <a:pt x="2575" y="23396"/>
                    </a:lnTo>
                    <a:lnTo>
                      <a:pt x="2016" y="23060"/>
                    </a:lnTo>
                    <a:lnTo>
                      <a:pt x="1568" y="22725"/>
                    </a:lnTo>
                    <a:lnTo>
                      <a:pt x="1120" y="22277"/>
                    </a:lnTo>
                    <a:lnTo>
                      <a:pt x="896" y="21829"/>
                    </a:lnTo>
                    <a:lnTo>
                      <a:pt x="337" y="20934"/>
                    </a:lnTo>
                    <a:lnTo>
                      <a:pt x="113" y="19926"/>
                    </a:lnTo>
                    <a:lnTo>
                      <a:pt x="1" y="19031"/>
                    </a:lnTo>
                    <a:lnTo>
                      <a:pt x="1" y="17911"/>
                    </a:lnTo>
                    <a:lnTo>
                      <a:pt x="1" y="17911"/>
                    </a:lnTo>
                    <a:lnTo>
                      <a:pt x="2016" y="2911"/>
                    </a:lnTo>
                    <a:lnTo>
                      <a:pt x="2016" y="2911"/>
                    </a:lnTo>
                    <a:lnTo>
                      <a:pt x="3247" y="2128"/>
                    </a:lnTo>
                    <a:lnTo>
                      <a:pt x="4367" y="1232"/>
                    </a:lnTo>
                    <a:lnTo>
                      <a:pt x="571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68" name="Google Shape;2028;p16">
                <a:extLst>
                  <a:ext uri="{FF2B5EF4-FFF2-40B4-BE49-F238E27FC236}">
                    <a16:creationId xmlns:a16="http://schemas.microsoft.com/office/drawing/2014/main" id="{A672C417-B5F4-FD86-3BCB-145F9E4545A6}"/>
                  </a:ext>
                </a:extLst>
              </p:cNvPr>
              <p:cNvSpPr/>
              <p:nvPr/>
            </p:nvSpPr>
            <p:spPr>
              <a:xfrm>
                <a:off x="3672875" y="1684925"/>
                <a:ext cx="531725" cy="708050"/>
              </a:xfrm>
              <a:custGeom>
                <a:avLst/>
                <a:gdLst/>
                <a:ahLst/>
                <a:cxnLst/>
                <a:rect l="l" t="t" r="r" b="b"/>
                <a:pathLst>
                  <a:path w="21269" h="28322" extrusionOk="0">
                    <a:moveTo>
                      <a:pt x="19813" y="1"/>
                    </a:moveTo>
                    <a:lnTo>
                      <a:pt x="15671" y="1792"/>
                    </a:lnTo>
                    <a:lnTo>
                      <a:pt x="12985" y="2911"/>
                    </a:lnTo>
                    <a:lnTo>
                      <a:pt x="11866" y="3247"/>
                    </a:lnTo>
                    <a:lnTo>
                      <a:pt x="11194" y="3471"/>
                    </a:lnTo>
                    <a:lnTo>
                      <a:pt x="8731" y="3918"/>
                    </a:lnTo>
                    <a:lnTo>
                      <a:pt x="6381" y="4142"/>
                    </a:lnTo>
                    <a:lnTo>
                      <a:pt x="3806" y="4142"/>
                    </a:lnTo>
                    <a:lnTo>
                      <a:pt x="2239" y="3918"/>
                    </a:lnTo>
                    <a:lnTo>
                      <a:pt x="560" y="3695"/>
                    </a:lnTo>
                    <a:lnTo>
                      <a:pt x="560" y="4366"/>
                    </a:lnTo>
                    <a:lnTo>
                      <a:pt x="560" y="5486"/>
                    </a:lnTo>
                    <a:lnTo>
                      <a:pt x="784" y="7053"/>
                    </a:lnTo>
                    <a:lnTo>
                      <a:pt x="896" y="7724"/>
                    </a:lnTo>
                    <a:lnTo>
                      <a:pt x="896" y="8508"/>
                    </a:lnTo>
                    <a:lnTo>
                      <a:pt x="896" y="9068"/>
                    </a:lnTo>
                    <a:lnTo>
                      <a:pt x="896" y="9403"/>
                    </a:lnTo>
                    <a:lnTo>
                      <a:pt x="784" y="9627"/>
                    </a:lnTo>
                    <a:lnTo>
                      <a:pt x="672" y="10523"/>
                    </a:lnTo>
                    <a:lnTo>
                      <a:pt x="448" y="11866"/>
                    </a:lnTo>
                    <a:lnTo>
                      <a:pt x="112" y="13321"/>
                    </a:lnTo>
                    <a:lnTo>
                      <a:pt x="0" y="14776"/>
                    </a:lnTo>
                    <a:lnTo>
                      <a:pt x="0" y="15672"/>
                    </a:lnTo>
                    <a:lnTo>
                      <a:pt x="112" y="16568"/>
                    </a:lnTo>
                    <a:lnTo>
                      <a:pt x="224" y="18470"/>
                    </a:lnTo>
                    <a:lnTo>
                      <a:pt x="336" y="20261"/>
                    </a:lnTo>
                    <a:lnTo>
                      <a:pt x="336" y="23732"/>
                    </a:lnTo>
                    <a:lnTo>
                      <a:pt x="336" y="25187"/>
                    </a:lnTo>
                    <a:lnTo>
                      <a:pt x="336" y="26306"/>
                    </a:lnTo>
                    <a:lnTo>
                      <a:pt x="560" y="27314"/>
                    </a:lnTo>
                    <a:lnTo>
                      <a:pt x="784" y="27649"/>
                    </a:lnTo>
                    <a:lnTo>
                      <a:pt x="1007" y="27873"/>
                    </a:lnTo>
                    <a:lnTo>
                      <a:pt x="1231" y="28097"/>
                    </a:lnTo>
                    <a:lnTo>
                      <a:pt x="1567" y="28209"/>
                    </a:lnTo>
                    <a:lnTo>
                      <a:pt x="1903" y="28321"/>
                    </a:lnTo>
                    <a:lnTo>
                      <a:pt x="2239" y="28321"/>
                    </a:lnTo>
                    <a:lnTo>
                      <a:pt x="2687" y="28209"/>
                    </a:lnTo>
                    <a:lnTo>
                      <a:pt x="3022" y="27985"/>
                    </a:lnTo>
                    <a:lnTo>
                      <a:pt x="3470" y="27761"/>
                    </a:lnTo>
                    <a:lnTo>
                      <a:pt x="3918" y="27314"/>
                    </a:lnTo>
                    <a:lnTo>
                      <a:pt x="4254" y="26866"/>
                    </a:lnTo>
                    <a:lnTo>
                      <a:pt x="4478" y="26306"/>
                    </a:lnTo>
                    <a:lnTo>
                      <a:pt x="4589" y="25747"/>
                    </a:lnTo>
                    <a:lnTo>
                      <a:pt x="4701" y="25075"/>
                    </a:lnTo>
                    <a:lnTo>
                      <a:pt x="4813" y="23620"/>
                    </a:lnTo>
                    <a:lnTo>
                      <a:pt x="4701" y="22053"/>
                    </a:lnTo>
                    <a:lnTo>
                      <a:pt x="4589" y="20485"/>
                    </a:lnTo>
                    <a:lnTo>
                      <a:pt x="4366" y="19142"/>
                    </a:lnTo>
                    <a:lnTo>
                      <a:pt x="4030" y="17239"/>
                    </a:lnTo>
                    <a:lnTo>
                      <a:pt x="3582" y="15000"/>
                    </a:lnTo>
                    <a:lnTo>
                      <a:pt x="3582" y="14441"/>
                    </a:lnTo>
                    <a:lnTo>
                      <a:pt x="3582" y="13769"/>
                    </a:lnTo>
                    <a:lnTo>
                      <a:pt x="3918" y="12090"/>
                    </a:lnTo>
                    <a:lnTo>
                      <a:pt x="4254" y="10523"/>
                    </a:lnTo>
                    <a:lnTo>
                      <a:pt x="4589" y="9963"/>
                    </a:lnTo>
                    <a:lnTo>
                      <a:pt x="4813" y="9515"/>
                    </a:lnTo>
                    <a:lnTo>
                      <a:pt x="5485" y="9180"/>
                    </a:lnTo>
                    <a:lnTo>
                      <a:pt x="6269" y="8844"/>
                    </a:lnTo>
                    <a:lnTo>
                      <a:pt x="7164" y="8620"/>
                    </a:lnTo>
                    <a:lnTo>
                      <a:pt x="8060" y="8396"/>
                    </a:lnTo>
                    <a:lnTo>
                      <a:pt x="10075" y="8060"/>
                    </a:lnTo>
                    <a:lnTo>
                      <a:pt x="11977" y="7612"/>
                    </a:lnTo>
                    <a:lnTo>
                      <a:pt x="12985" y="7277"/>
                    </a:lnTo>
                    <a:lnTo>
                      <a:pt x="14328" y="6717"/>
                    </a:lnTo>
                    <a:lnTo>
                      <a:pt x="17127" y="5150"/>
                    </a:lnTo>
                    <a:lnTo>
                      <a:pt x="21045" y="2911"/>
                    </a:lnTo>
                    <a:lnTo>
                      <a:pt x="21156" y="2799"/>
                    </a:lnTo>
                    <a:lnTo>
                      <a:pt x="21268" y="2575"/>
                    </a:lnTo>
                    <a:lnTo>
                      <a:pt x="21268" y="2239"/>
                    </a:lnTo>
                    <a:lnTo>
                      <a:pt x="21156" y="1680"/>
                    </a:lnTo>
                    <a:lnTo>
                      <a:pt x="20933" y="1232"/>
                    </a:lnTo>
                    <a:lnTo>
                      <a:pt x="20261" y="336"/>
                    </a:lnTo>
                    <a:lnTo>
                      <a:pt x="20037" y="112"/>
                    </a:lnTo>
                    <a:lnTo>
                      <a:pt x="19813" y="1"/>
                    </a:lnTo>
                    <a:close/>
                  </a:path>
                </a:pathLst>
              </a:custGeom>
              <a:solidFill>
                <a:srgbClr val="DF332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69" name="Google Shape;2029;p16">
                <a:extLst>
                  <a:ext uri="{FF2B5EF4-FFF2-40B4-BE49-F238E27FC236}">
                    <a16:creationId xmlns:a16="http://schemas.microsoft.com/office/drawing/2014/main" id="{30EED8AA-374C-818A-0080-FF79067B80F6}"/>
                  </a:ext>
                </a:extLst>
              </p:cNvPr>
              <p:cNvSpPr/>
              <p:nvPr/>
            </p:nvSpPr>
            <p:spPr>
              <a:xfrm>
                <a:off x="3407000" y="1754875"/>
                <a:ext cx="218325" cy="657675"/>
              </a:xfrm>
              <a:custGeom>
                <a:avLst/>
                <a:gdLst/>
                <a:ahLst/>
                <a:cxnLst/>
                <a:rect l="l" t="t" r="r" b="b"/>
                <a:pathLst>
                  <a:path w="8733" h="26307" extrusionOk="0">
                    <a:moveTo>
                      <a:pt x="7389" y="1"/>
                    </a:moveTo>
                    <a:lnTo>
                      <a:pt x="6941" y="113"/>
                    </a:lnTo>
                    <a:lnTo>
                      <a:pt x="5710" y="449"/>
                    </a:lnTo>
                    <a:lnTo>
                      <a:pt x="4926" y="785"/>
                    </a:lnTo>
                    <a:lnTo>
                      <a:pt x="4143" y="1232"/>
                    </a:lnTo>
                    <a:lnTo>
                      <a:pt x="3247" y="1904"/>
                    </a:lnTo>
                    <a:lnTo>
                      <a:pt x="2463" y="2688"/>
                    </a:lnTo>
                    <a:lnTo>
                      <a:pt x="2128" y="3247"/>
                    </a:lnTo>
                    <a:lnTo>
                      <a:pt x="1792" y="3919"/>
                    </a:lnTo>
                    <a:lnTo>
                      <a:pt x="1344" y="5374"/>
                    </a:lnTo>
                    <a:lnTo>
                      <a:pt x="1120" y="7053"/>
                    </a:lnTo>
                    <a:lnTo>
                      <a:pt x="1008" y="8844"/>
                    </a:lnTo>
                    <a:lnTo>
                      <a:pt x="1008" y="9740"/>
                    </a:lnTo>
                    <a:lnTo>
                      <a:pt x="1008" y="10523"/>
                    </a:lnTo>
                    <a:lnTo>
                      <a:pt x="1120" y="12762"/>
                    </a:lnTo>
                    <a:lnTo>
                      <a:pt x="1232" y="13546"/>
                    </a:lnTo>
                    <a:lnTo>
                      <a:pt x="1232" y="13770"/>
                    </a:lnTo>
                    <a:lnTo>
                      <a:pt x="1344" y="14777"/>
                    </a:lnTo>
                    <a:lnTo>
                      <a:pt x="1344" y="15449"/>
                    </a:lnTo>
                    <a:lnTo>
                      <a:pt x="1232" y="16232"/>
                    </a:lnTo>
                    <a:lnTo>
                      <a:pt x="896" y="18247"/>
                    </a:lnTo>
                    <a:lnTo>
                      <a:pt x="449" y="20598"/>
                    </a:lnTo>
                    <a:lnTo>
                      <a:pt x="113" y="22949"/>
                    </a:lnTo>
                    <a:lnTo>
                      <a:pt x="1" y="23844"/>
                    </a:lnTo>
                    <a:lnTo>
                      <a:pt x="1" y="24740"/>
                    </a:lnTo>
                    <a:lnTo>
                      <a:pt x="113" y="25299"/>
                    </a:lnTo>
                    <a:lnTo>
                      <a:pt x="337" y="25523"/>
                    </a:lnTo>
                    <a:lnTo>
                      <a:pt x="449" y="25635"/>
                    </a:lnTo>
                    <a:lnTo>
                      <a:pt x="1120" y="25971"/>
                    </a:lnTo>
                    <a:lnTo>
                      <a:pt x="1904" y="26195"/>
                    </a:lnTo>
                    <a:lnTo>
                      <a:pt x="2575" y="26307"/>
                    </a:lnTo>
                    <a:lnTo>
                      <a:pt x="3359" y="26307"/>
                    </a:lnTo>
                    <a:lnTo>
                      <a:pt x="4143" y="26083"/>
                    </a:lnTo>
                    <a:lnTo>
                      <a:pt x="4814" y="25859"/>
                    </a:lnTo>
                    <a:lnTo>
                      <a:pt x="5486" y="25411"/>
                    </a:lnTo>
                    <a:lnTo>
                      <a:pt x="6046" y="24851"/>
                    </a:lnTo>
                    <a:lnTo>
                      <a:pt x="6717" y="24068"/>
                    </a:lnTo>
                    <a:lnTo>
                      <a:pt x="7165" y="23284"/>
                    </a:lnTo>
                    <a:lnTo>
                      <a:pt x="7501" y="22277"/>
                    </a:lnTo>
                    <a:lnTo>
                      <a:pt x="7725" y="20374"/>
                    </a:lnTo>
                    <a:lnTo>
                      <a:pt x="7725" y="19255"/>
                    </a:lnTo>
                    <a:lnTo>
                      <a:pt x="7613" y="18135"/>
                    </a:lnTo>
                    <a:lnTo>
                      <a:pt x="7501" y="16904"/>
                    </a:lnTo>
                    <a:lnTo>
                      <a:pt x="7501" y="15113"/>
                    </a:lnTo>
                    <a:lnTo>
                      <a:pt x="7613" y="13993"/>
                    </a:lnTo>
                    <a:lnTo>
                      <a:pt x="7725" y="12986"/>
                    </a:lnTo>
                    <a:lnTo>
                      <a:pt x="7948" y="11978"/>
                    </a:lnTo>
                    <a:lnTo>
                      <a:pt x="8172" y="10747"/>
                    </a:lnTo>
                    <a:lnTo>
                      <a:pt x="8396" y="9740"/>
                    </a:lnTo>
                    <a:lnTo>
                      <a:pt x="8620" y="8732"/>
                    </a:lnTo>
                    <a:lnTo>
                      <a:pt x="8732" y="7613"/>
                    </a:lnTo>
                    <a:lnTo>
                      <a:pt x="8620" y="6829"/>
                    </a:lnTo>
                    <a:lnTo>
                      <a:pt x="8396" y="6046"/>
                    </a:lnTo>
                    <a:lnTo>
                      <a:pt x="8172" y="5150"/>
                    </a:lnTo>
                    <a:lnTo>
                      <a:pt x="8060" y="4479"/>
                    </a:lnTo>
                    <a:lnTo>
                      <a:pt x="8060" y="2799"/>
                    </a:lnTo>
                    <a:lnTo>
                      <a:pt x="7837" y="1792"/>
                    </a:lnTo>
                    <a:lnTo>
                      <a:pt x="7725" y="1008"/>
                    </a:lnTo>
                    <a:lnTo>
                      <a:pt x="7389" y="1"/>
                    </a:lnTo>
                    <a:close/>
                  </a:path>
                </a:pathLst>
              </a:custGeom>
              <a:solidFill>
                <a:srgbClr val="DF332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70" name="Google Shape;2030;p16">
                <a:extLst>
                  <a:ext uri="{FF2B5EF4-FFF2-40B4-BE49-F238E27FC236}">
                    <a16:creationId xmlns:a16="http://schemas.microsoft.com/office/drawing/2014/main" id="{DC5CB817-EC0F-C6E0-3415-2226BC892EFE}"/>
                  </a:ext>
                </a:extLst>
              </p:cNvPr>
              <p:cNvSpPr/>
              <p:nvPr/>
            </p:nvSpPr>
            <p:spPr>
              <a:xfrm>
                <a:off x="3407000" y="1754875"/>
                <a:ext cx="218325" cy="657675"/>
              </a:xfrm>
              <a:custGeom>
                <a:avLst/>
                <a:gdLst/>
                <a:ahLst/>
                <a:cxnLst/>
                <a:rect l="l" t="t" r="r" b="b"/>
                <a:pathLst>
                  <a:path w="8733" h="26307" fill="none" extrusionOk="0">
                    <a:moveTo>
                      <a:pt x="6046" y="24851"/>
                    </a:moveTo>
                    <a:lnTo>
                      <a:pt x="6046" y="24851"/>
                    </a:lnTo>
                    <a:lnTo>
                      <a:pt x="5486" y="25411"/>
                    </a:lnTo>
                    <a:lnTo>
                      <a:pt x="4814" y="25859"/>
                    </a:lnTo>
                    <a:lnTo>
                      <a:pt x="4143" y="26083"/>
                    </a:lnTo>
                    <a:lnTo>
                      <a:pt x="3359" y="26307"/>
                    </a:lnTo>
                    <a:lnTo>
                      <a:pt x="2575" y="26307"/>
                    </a:lnTo>
                    <a:lnTo>
                      <a:pt x="1904" y="26195"/>
                    </a:lnTo>
                    <a:lnTo>
                      <a:pt x="1120" y="25971"/>
                    </a:lnTo>
                    <a:lnTo>
                      <a:pt x="449" y="25635"/>
                    </a:lnTo>
                    <a:lnTo>
                      <a:pt x="449" y="25635"/>
                    </a:lnTo>
                    <a:lnTo>
                      <a:pt x="337" y="25523"/>
                    </a:lnTo>
                    <a:lnTo>
                      <a:pt x="113" y="25299"/>
                    </a:lnTo>
                    <a:lnTo>
                      <a:pt x="1" y="24740"/>
                    </a:lnTo>
                    <a:lnTo>
                      <a:pt x="1" y="23844"/>
                    </a:lnTo>
                    <a:lnTo>
                      <a:pt x="113" y="22949"/>
                    </a:lnTo>
                    <a:lnTo>
                      <a:pt x="449" y="20598"/>
                    </a:lnTo>
                    <a:lnTo>
                      <a:pt x="896" y="18247"/>
                    </a:lnTo>
                    <a:lnTo>
                      <a:pt x="896" y="18247"/>
                    </a:lnTo>
                    <a:lnTo>
                      <a:pt x="896" y="18247"/>
                    </a:lnTo>
                    <a:lnTo>
                      <a:pt x="1232" y="16232"/>
                    </a:lnTo>
                    <a:lnTo>
                      <a:pt x="1344" y="15449"/>
                    </a:lnTo>
                    <a:lnTo>
                      <a:pt x="1344" y="14777"/>
                    </a:lnTo>
                    <a:lnTo>
                      <a:pt x="1344" y="14777"/>
                    </a:lnTo>
                    <a:lnTo>
                      <a:pt x="1232" y="13770"/>
                    </a:lnTo>
                    <a:lnTo>
                      <a:pt x="1232" y="13770"/>
                    </a:lnTo>
                    <a:lnTo>
                      <a:pt x="1232" y="13546"/>
                    </a:lnTo>
                    <a:lnTo>
                      <a:pt x="1232" y="13546"/>
                    </a:lnTo>
                    <a:lnTo>
                      <a:pt x="1232" y="13546"/>
                    </a:lnTo>
                    <a:lnTo>
                      <a:pt x="1120" y="12762"/>
                    </a:lnTo>
                    <a:lnTo>
                      <a:pt x="1120" y="12762"/>
                    </a:lnTo>
                    <a:lnTo>
                      <a:pt x="1008" y="10523"/>
                    </a:lnTo>
                    <a:lnTo>
                      <a:pt x="1008" y="10523"/>
                    </a:lnTo>
                    <a:lnTo>
                      <a:pt x="1008" y="9740"/>
                    </a:lnTo>
                    <a:lnTo>
                      <a:pt x="1008" y="9740"/>
                    </a:lnTo>
                    <a:lnTo>
                      <a:pt x="1008" y="8844"/>
                    </a:lnTo>
                    <a:lnTo>
                      <a:pt x="1008" y="8844"/>
                    </a:lnTo>
                    <a:lnTo>
                      <a:pt x="1120" y="7053"/>
                    </a:lnTo>
                    <a:lnTo>
                      <a:pt x="1344" y="5374"/>
                    </a:lnTo>
                    <a:lnTo>
                      <a:pt x="1344" y="5374"/>
                    </a:lnTo>
                    <a:lnTo>
                      <a:pt x="1792" y="3919"/>
                    </a:lnTo>
                    <a:lnTo>
                      <a:pt x="1792" y="3919"/>
                    </a:lnTo>
                    <a:lnTo>
                      <a:pt x="2128" y="3247"/>
                    </a:lnTo>
                    <a:lnTo>
                      <a:pt x="2463" y="2688"/>
                    </a:lnTo>
                    <a:lnTo>
                      <a:pt x="2463" y="2688"/>
                    </a:lnTo>
                    <a:lnTo>
                      <a:pt x="3247" y="1904"/>
                    </a:lnTo>
                    <a:lnTo>
                      <a:pt x="4143" y="1232"/>
                    </a:lnTo>
                    <a:lnTo>
                      <a:pt x="4926" y="785"/>
                    </a:lnTo>
                    <a:lnTo>
                      <a:pt x="5710" y="449"/>
                    </a:lnTo>
                    <a:lnTo>
                      <a:pt x="6941" y="113"/>
                    </a:lnTo>
                    <a:lnTo>
                      <a:pt x="7389" y="1"/>
                    </a:lnTo>
                    <a:lnTo>
                      <a:pt x="7389" y="1"/>
                    </a:lnTo>
                    <a:lnTo>
                      <a:pt x="7725" y="1008"/>
                    </a:lnTo>
                    <a:lnTo>
                      <a:pt x="7837" y="1792"/>
                    </a:lnTo>
                    <a:lnTo>
                      <a:pt x="8060" y="2799"/>
                    </a:lnTo>
                    <a:lnTo>
                      <a:pt x="8060" y="2799"/>
                    </a:lnTo>
                    <a:lnTo>
                      <a:pt x="8060" y="4479"/>
                    </a:lnTo>
                    <a:lnTo>
                      <a:pt x="8060" y="4479"/>
                    </a:lnTo>
                    <a:lnTo>
                      <a:pt x="8172" y="5150"/>
                    </a:lnTo>
                    <a:lnTo>
                      <a:pt x="8396" y="6046"/>
                    </a:lnTo>
                    <a:lnTo>
                      <a:pt x="8620" y="6829"/>
                    </a:lnTo>
                    <a:lnTo>
                      <a:pt x="8732" y="7613"/>
                    </a:lnTo>
                    <a:lnTo>
                      <a:pt x="8732" y="7613"/>
                    </a:lnTo>
                    <a:lnTo>
                      <a:pt x="8620" y="8732"/>
                    </a:lnTo>
                    <a:lnTo>
                      <a:pt x="8396" y="9740"/>
                    </a:lnTo>
                    <a:lnTo>
                      <a:pt x="8172" y="10747"/>
                    </a:lnTo>
                    <a:lnTo>
                      <a:pt x="7948" y="11978"/>
                    </a:lnTo>
                    <a:lnTo>
                      <a:pt x="7948" y="11978"/>
                    </a:lnTo>
                    <a:lnTo>
                      <a:pt x="7725" y="12986"/>
                    </a:lnTo>
                    <a:lnTo>
                      <a:pt x="7613" y="13993"/>
                    </a:lnTo>
                    <a:lnTo>
                      <a:pt x="7501" y="15113"/>
                    </a:lnTo>
                    <a:lnTo>
                      <a:pt x="7501" y="15113"/>
                    </a:lnTo>
                    <a:lnTo>
                      <a:pt x="7501" y="16904"/>
                    </a:lnTo>
                    <a:lnTo>
                      <a:pt x="7613" y="18135"/>
                    </a:lnTo>
                    <a:lnTo>
                      <a:pt x="7725" y="19255"/>
                    </a:lnTo>
                    <a:lnTo>
                      <a:pt x="7725" y="20374"/>
                    </a:lnTo>
                    <a:lnTo>
                      <a:pt x="7725" y="20374"/>
                    </a:lnTo>
                    <a:lnTo>
                      <a:pt x="7501" y="22277"/>
                    </a:lnTo>
                    <a:lnTo>
                      <a:pt x="7165" y="23284"/>
                    </a:lnTo>
                    <a:lnTo>
                      <a:pt x="6717" y="24068"/>
                    </a:lnTo>
                    <a:lnTo>
                      <a:pt x="6046" y="2485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71" name="Google Shape;2031;p16">
                <a:extLst>
                  <a:ext uri="{FF2B5EF4-FFF2-40B4-BE49-F238E27FC236}">
                    <a16:creationId xmlns:a16="http://schemas.microsoft.com/office/drawing/2014/main" id="{8BF3BA60-FC94-6E01-DD1F-E34D2A268070}"/>
                  </a:ext>
                </a:extLst>
              </p:cNvPr>
              <p:cNvSpPr/>
              <p:nvPr/>
            </p:nvSpPr>
            <p:spPr>
              <a:xfrm>
                <a:off x="2858500" y="2006750"/>
                <a:ext cx="153950" cy="100775"/>
              </a:xfrm>
              <a:custGeom>
                <a:avLst/>
                <a:gdLst/>
                <a:ahLst/>
                <a:cxnLst/>
                <a:rect l="l" t="t" r="r" b="b"/>
                <a:pathLst>
                  <a:path w="6158" h="4031" extrusionOk="0">
                    <a:moveTo>
                      <a:pt x="2240" y="1"/>
                    </a:moveTo>
                    <a:lnTo>
                      <a:pt x="2016" y="112"/>
                    </a:lnTo>
                    <a:lnTo>
                      <a:pt x="2016" y="224"/>
                    </a:lnTo>
                    <a:lnTo>
                      <a:pt x="2128" y="672"/>
                    </a:lnTo>
                    <a:lnTo>
                      <a:pt x="2240" y="896"/>
                    </a:lnTo>
                    <a:lnTo>
                      <a:pt x="2240" y="1008"/>
                    </a:lnTo>
                    <a:lnTo>
                      <a:pt x="2128" y="1008"/>
                    </a:lnTo>
                    <a:lnTo>
                      <a:pt x="1232" y="784"/>
                    </a:lnTo>
                    <a:lnTo>
                      <a:pt x="449" y="784"/>
                    </a:lnTo>
                    <a:lnTo>
                      <a:pt x="225" y="1008"/>
                    </a:lnTo>
                    <a:lnTo>
                      <a:pt x="113" y="1232"/>
                    </a:lnTo>
                    <a:lnTo>
                      <a:pt x="1" y="1568"/>
                    </a:lnTo>
                    <a:lnTo>
                      <a:pt x="1" y="2015"/>
                    </a:lnTo>
                    <a:lnTo>
                      <a:pt x="113" y="2351"/>
                    </a:lnTo>
                    <a:lnTo>
                      <a:pt x="337" y="2799"/>
                    </a:lnTo>
                    <a:lnTo>
                      <a:pt x="560" y="3247"/>
                    </a:lnTo>
                    <a:lnTo>
                      <a:pt x="1008" y="3695"/>
                    </a:lnTo>
                    <a:lnTo>
                      <a:pt x="1456" y="3918"/>
                    </a:lnTo>
                    <a:lnTo>
                      <a:pt x="2016" y="4030"/>
                    </a:lnTo>
                    <a:lnTo>
                      <a:pt x="2463" y="4030"/>
                    </a:lnTo>
                    <a:lnTo>
                      <a:pt x="3023" y="3918"/>
                    </a:lnTo>
                    <a:lnTo>
                      <a:pt x="4143" y="3583"/>
                    </a:lnTo>
                    <a:lnTo>
                      <a:pt x="4814" y="3471"/>
                    </a:lnTo>
                    <a:lnTo>
                      <a:pt x="5374" y="3359"/>
                    </a:lnTo>
                    <a:lnTo>
                      <a:pt x="5822" y="3247"/>
                    </a:lnTo>
                    <a:lnTo>
                      <a:pt x="6045" y="3023"/>
                    </a:lnTo>
                    <a:lnTo>
                      <a:pt x="6157" y="2687"/>
                    </a:lnTo>
                    <a:lnTo>
                      <a:pt x="6045" y="2239"/>
                    </a:lnTo>
                    <a:lnTo>
                      <a:pt x="5710" y="1568"/>
                    </a:lnTo>
                    <a:lnTo>
                      <a:pt x="5486" y="1232"/>
                    </a:lnTo>
                    <a:lnTo>
                      <a:pt x="4702" y="1120"/>
                    </a:lnTo>
                    <a:lnTo>
                      <a:pt x="4031" y="896"/>
                    </a:lnTo>
                    <a:lnTo>
                      <a:pt x="3583" y="672"/>
                    </a:lnTo>
                    <a:lnTo>
                      <a:pt x="3135" y="448"/>
                    </a:lnTo>
                    <a:lnTo>
                      <a:pt x="2575" y="112"/>
                    </a:lnTo>
                    <a:lnTo>
                      <a:pt x="2352" y="1"/>
                    </a:lnTo>
                    <a:close/>
                  </a:path>
                </a:pathLst>
              </a:custGeom>
              <a:solidFill>
                <a:srgbClr val="EEADA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72" name="Google Shape;2032;p16">
                <a:extLst>
                  <a:ext uri="{FF2B5EF4-FFF2-40B4-BE49-F238E27FC236}">
                    <a16:creationId xmlns:a16="http://schemas.microsoft.com/office/drawing/2014/main" id="{34DDBF50-3C5D-5DF7-9120-1F74F25C8B25}"/>
                  </a:ext>
                </a:extLst>
              </p:cNvPr>
              <p:cNvSpPr/>
              <p:nvPr/>
            </p:nvSpPr>
            <p:spPr>
              <a:xfrm>
                <a:off x="2976050" y="1777275"/>
                <a:ext cx="548525" cy="333050"/>
              </a:xfrm>
              <a:custGeom>
                <a:avLst/>
                <a:gdLst/>
                <a:ahLst/>
                <a:cxnLst/>
                <a:rect l="l" t="t" r="r" b="b"/>
                <a:pathLst>
                  <a:path w="21941" h="13322" extrusionOk="0">
                    <a:moveTo>
                      <a:pt x="21940" y="1"/>
                    </a:moveTo>
                    <a:lnTo>
                      <a:pt x="21157" y="336"/>
                    </a:lnTo>
                    <a:lnTo>
                      <a:pt x="20373" y="672"/>
                    </a:lnTo>
                    <a:lnTo>
                      <a:pt x="19590" y="1232"/>
                    </a:lnTo>
                    <a:lnTo>
                      <a:pt x="18806" y="1792"/>
                    </a:lnTo>
                    <a:lnTo>
                      <a:pt x="17239" y="3247"/>
                    </a:lnTo>
                    <a:lnTo>
                      <a:pt x="15672" y="4702"/>
                    </a:lnTo>
                    <a:lnTo>
                      <a:pt x="14216" y="6269"/>
                    </a:lnTo>
                    <a:lnTo>
                      <a:pt x="12985" y="7500"/>
                    </a:lnTo>
                    <a:lnTo>
                      <a:pt x="11754" y="8508"/>
                    </a:lnTo>
                    <a:lnTo>
                      <a:pt x="11194" y="8844"/>
                    </a:lnTo>
                    <a:lnTo>
                      <a:pt x="10746" y="9068"/>
                    </a:lnTo>
                    <a:lnTo>
                      <a:pt x="9627" y="9291"/>
                    </a:lnTo>
                    <a:lnTo>
                      <a:pt x="8284" y="9403"/>
                    </a:lnTo>
                    <a:lnTo>
                      <a:pt x="4926" y="9627"/>
                    </a:lnTo>
                    <a:lnTo>
                      <a:pt x="1791" y="9739"/>
                    </a:lnTo>
                    <a:lnTo>
                      <a:pt x="224" y="9739"/>
                    </a:lnTo>
                    <a:lnTo>
                      <a:pt x="112" y="9963"/>
                    </a:lnTo>
                    <a:lnTo>
                      <a:pt x="0" y="10299"/>
                    </a:lnTo>
                    <a:lnTo>
                      <a:pt x="112" y="11418"/>
                    </a:lnTo>
                    <a:lnTo>
                      <a:pt x="336" y="12538"/>
                    </a:lnTo>
                    <a:lnTo>
                      <a:pt x="448" y="12985"/>
                    </a:lnTo>
                    <a:lnTo>
                      <a:pt x="672" y="13097"/>
                    </a:lnTo>
                    <a:lnTo>
                      <a:pt x="1903" y="13097"/>
                    </a:lnTo>
                    <a:lnTo>
                      <a:pt x="4254" y="13209"/>
                    </a:lnTo>
                    <a:lnTo>
                      <a:pt x="8284" y="13321"/>
                    </a:lnTo>
                    <a:lnTo>
                      <a:pt x="10299" y="13321"/>
                    </a:lnTo>
                    <a:lnTo>
                      <a:pt x="12090" y="13209"/>
                    </a:lnTo>
                    <a:lnTo>
                      <a:pt x="12425" y="13097"/>
                    </a:lnTo>
                    <a:lnTo>
                      <a:pt x="12985" y="12874"/>
                    </a:lnTo>
                    <a:lnTo>
                      <a:pt x="14328" y="11978"/>
                    </a:lnTo>
                    <a:lnTo>
                      <a:pt x="15896" y="10747"/>
                    </a:lnTo>
                    <a:lnTo>
                      <a:pt x="17575" y="9291"/>
                    </a:lnTo>
                    <a:lnTo>
                      <a:pt x="20373" y="6717"/>
                    </a:lnTo>
                    <a:lnTo>
                      <a:pt x="21604" y="5597"/>
                    </a:lnTo>
                    <a:lnTo>
                      <a:pt x="21940" y="1"/>
                    </a:lnTo>
                    <a:close/>
                  </a:path>
                </a:pathLst>
              </a:custGeom>
              <a:solidFill>
                <a:srgbClr val="DF332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73" name="Google Shape;2033;p16">
                <a:extLst>
                  <a:ext uri="{FF2B5EF4-FFF2-40B4-BE49-F238E27FC236}">
                    <a16:creationId xmlns:a16="http://schemas.microsoft.com/office/drawing/2014/main" id="{74F47B4B-AAF2-F700-5659-C837B2C480D3}"/>
                  </a:ext>
                </a:extLst>
              </p:cNvPr>
              <p:cNvSpPr/>
              <p:nvPr/>
            </p:nvSpPr>
            <p:spPr>
              <a:xfrm>
                <a:off x="2976050" y="1777275"/>
                <a:ext cx="548525" cy="333050"/>
              </a:xfrm>
              <a:custGeom>
                <a:avLst/>
                <a:gdLst/>
                <a:ahLst/>
                <a:cxnLst/>
                <a:rect l="l" t="t" r="r" b="b"/>
                <a:pathLst>
                  <a:path w="21941" h="13322" fill="none" extrusionOk="0">
                    <a:moveTo>
                      <a:pt x="21940" y="1"/>
                    </a:moveTo>
                    <a:lnTo>
                      <a:pt x="21940" y="1"/>
                    </a:lnTo>
                    <a:lnTo>
                      <a:pt x="21157" y="336"/>
                    </a:lnTo>
                    <a:lnTo>
                      <a:pt x="20373" y="672"/>
                    </a:lnTo>
                    <a:lnTo>
                      <a:pt x="19590" y="1232"/>
                    </a:lnTo>
                    <a:lnTo>
                      <a:pt x="18806" y="1792"/>
                    </a:lnTo>
                    <a:lnTo>
                      <a:pt x="17239" y="3247"/>
                    </a:lnTo>
                    <a:lnTo>
                      <a:pt x="15672" y="4702"/>
                    </a:lnTo>
                    <a:lnTo>
                      <a:pt x="14216" y="6269"/>
                    </a:lnTo>
                    <a:lnTo>
                      <a:pt x="12985" y="7500"/>
                    </a:lnTo>
                    <a:lnTo>
                      <a:pt x="11754" y="8508"/>
                    </a:lnTo>
                    <a:lnTo>
                      <a:pt x="11194" y="8844"/>
                    </a:lnTo>
                    <a:lnTo>
                      <a:pt x="10746" y="9068"/>
                    </a:lnTo>
                    <a:lnTo>
                      <a:pt x="10746" y="9068"/>
                    </a:lnTo>
                    <a:lnTo>
                      <a:pt x="9627" y="9291"/>
                    </a:lnTo>
                    <a:lnTo>
                      <a:pt x="8284" y="9403"/>
                    </a:lnTo>
                    <a:lnTo>
                      <a:pt x="4926" y="9627"/>
                    </a:lnTo>
                    <a:lnTo>
                      <a:pt x="1791" y="9739"/>
                    </a:lnTo>
                    <a:lnTo>
                      <a:pt x="224" y="9739"/>
                    </a:lnTo>
                    <a:lnTo>
                      <a:pt x="224" y="9739"/>
                    </a:lnTo>
                    <a:lnTo>
                      <a:pt x="112" y="9963"/>
                    </a:lnTo>
                    <a:lnTo>
                      <a:pt x="0" y="10299"/>
                    </a:lnTo>
                    <a:lnTo>
                      <a:pt x="112" y="11418"/>
                    </a:lnTo>
                    <a:lnTo>
                      <a:pt x="336" y="12538"/>
                    </a:lnTo>
                    <a:lnTo>
                      <a:pt x="448" y="12985"/>
                    </a:lnTo>
                    <a:lnTo>
                      <a:pt x="672" y="13097"/>
                    </a:lnTo>
                    <a:lnTo>
                      <a:pt x="672" y="13097"/>
                    </a:lnTo>
                    <a:lnTo>
                      <a:pt x="1903" y="13097"/>
                    </a:lnTo>
                    <a:lnTo>
                      <a:pt x="4254" y="13209"/>
                    </a:lnTo>
                    <a:lnTo>
                      <a:pt x="4254" y="13209"/>
                    </a:lnTo>
                    <a:lnTo>
                      <a:pt x="8284" y="13321"/>
                    </a:lnTo>
                    <a:lnTo>
                      <a:pt x="10299" y="13321"/>
                    </a:lnTo>
                    <a:lnTo>
                      <a:pt x="12090" y="13209"/>
                    </a:lnTo>
                    <a:lnTo>
                      <a:pt x="12090" y="13209"/>
                    </a:lnTo>
                    <a:lnTo>
                      <a:pt x="12425" y="13097"/>
                    </a:lnTo>
                    <a:lnTo>
                      <a:pt x="12985" y="12874"/>
                    </a:lnTo>
                    <a:lnTo>
                      <a:pt x="14328" y="11978"/>
                    </a:lnTo>
                    <a:lnTo>
                      <a:pt x="15896" y="10747"/>
                    </a:lnTo>
                    <a:lnTo>
                      <a:pt x="17575" y="9291"/>
                    </a:lnTo>
                    <a:lnTo>
                      <a:pt x="20373" y="6717"/>
                    </a:lnTo>
                    <a:lnTo>
                      <a:pt x="21604" y="5597"/>
                    </a:lnTo>
                    <a:lnTo>
                      <a:pt x="2194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74" name="Google Shape;2034;p16">
                <a:extLst>
                  <a:ext uri="{FF2B5EF4-FFF2-40B4-BE49-F238E27FC236}">
                    <a16:creationId xmlns:a16="http://schemas.microsoft.com/office/drawing/2014/main" id="{0CB2E218-45FD-EB3E-5256-BB5D76A22645}"/>
                  </a:ext>
                </a:extLst>
              </p:cNvPr>
              <p:cNvSpPr/>
              <p:nvPr/>
            </p:nvSpPr>
            <p:spPr>
              <a:xfrm>
                <a:off x="3415400" y="1819250"/>
                <a:ext cx="33600" cy="28000"/>
              </a:xfrm>
              <a:custGeom>
                <a:avLst/>
                <a:gdLst/>
                <a:ahLst/>
                <a:cxnLst/>
                <a:rect l="l" t="t" r="r" b="b"/>
                <a:pathLst>
                  <a:path w="1344" h="1120" extrusionOk="0">
                    <a:moveTo>
                      <a:pt x="1344" y="1"/>
                    </a:moveTo>
                    <a:lnTo>
                      <a:pt x="784" y="336"/>
                    </a:lnTo>
                    <a:lnTo>
                      <a:pt x="523" y="685"/>
                    </a:lnTo>
                    <a:lnTo>
                      <a:pt x="1344" y="1"/>
                    </a:lnTo>
                    <a:close/>
                    <a:moveTo>
                      <a:pt x="523" y="685"/>
                    </a:moveTo>
                    <a:lnTo>
                      <a:pt x="1" y="1120"/>
                    </a:lnTo>
                    <a:lnTo>
                      <a:pt x="448" y="784"/>
                    </a:lnTo>
                    <a:lnTo>
                      <a:pt x="523" y="685"/>
                    </a:lnTo>
                    <a:close/>
                  </a:path>
                </a:pathLst>
              </a:custGeom>
              <a:solidFill>
                <a:srgbClr val="C0BDC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75" name="Google Shape;2035;p16">
                <a:extLst>
                  <a:ext uri="{FF2B5EF4-FFF2-40B4-BE49-F238E27FC236}">
                    <a16:creationId xmlns:a16="http://schemas.microsoft.com/office/drawing/2014/main" id="{3B93C459-905B-5CA4-946D-F68E5CE8F6B4}"/>
                  </a:ext>
                </a:extLst>
              </p:cNvPr>
              <p:cNvSpPr/>
              <p:nvPr/>
            </p:nvSpPr>
            <p:spPr>
              <a:xfrm>
                <a:off x="3415400" y="1819250"/>
                <a:ext cx="33600" cy="28000"/>
              </a:xfrm>
              <a:custGeom>
                <a:avLst/>
                <a:gdLst/>
                <a:ahLst/>
                <a:cxnLst/>
                <a:rect l="l" t="t" r="r" b="b"/>
                <a:pathLst>
                  <a:path w="1344" h="1120" fill="none" extrusionOk="0">
                    <a:moveTo>
                      <a:pt x="1344" y="1"/>
                    </a:moveTo>
                    <a:lnTo>
                      <a:pt x="1344" y="1"/>
                    </a:lnTo>
                    <a:lnTo>
                      <a:pt x="784" y="336"/>
                    </a:lnTo>
                    <a:lnTo>
                      <a:pt x="448" y="784"/>
                    </a:lnTo>
                    <a:lnTo>
                      <a:pt x="1" y="1120"/>
                    </a:lnTo>
                    <a:lnTo>
                      <a:pt x="1" y="1120"/>
                    </a:lnTo>
                    <a:lnTo>
                      <a:pt x="1" y="1120"/>
                    </a:lnTo>
                    <a:lnTo>
                      <a:pt x="1" y="1120"/>
                    </a:lnTo>
                    <a:lnTo>
                      <a:pt x="1344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76" name="Google Shape;2036;p16">
                <a:extLst>
                  <a:ext uri="{FF2B5EF4-FFF2-40B4-BE49-F238E27FC236}">
                    <a16:creationId xmlns:a16="http://schemas.microsoft.com/office/drawing/2014/main" id="{0E8CEEEC-1294-463A-B80C-F1929C971EC0}"/>
                  </a:ext>
                </a:extLst>
              </p:cNvPr>
              <p:cNvSpPr/>
              <p:nvPr/>
            </p:nvSpPr>
            <p:spPr>
              <a:xfrm>
                <a:off x="3605700" y="1796875"/>
                <a:ext cx="50400" cy="42000"/>
              </a:xfrm>
              <a:custGeom>
                <a:avLst/>
                <a:gdLst/>
                <a:ahLst/>
                <a:cxnLst/>
                <a:rect l="l" t="t" r="r" b="b"/>
                <a:pathLst>
                  <a:path w="2016" h="1680" extrusionOk="0">
                    <a:moveTo>
                      <a:pt x="1680" y="0"/>
                    </a:moveTo>
                    <a:lnTo>
                      <a:pt x="1456" y="112"/>
                    </a:lnTo>
                    <a:lnTo>
                      <a:pt x="1344" y="224"/>
                    </a:lnTo>
                    <a:lnTo>
                      <a:pt x="896" y="560"/>
                    </a:lnTo>
                    <a:lnTo>
                      <a:pt x="0" y="784"/>
                    </a:lnTo>
                    <a:lnTo>
                      <a:pt x="112" y="1119"/>
                    </a:lnTo>
                    <a:lnTo>
                      <a:pt x="112" y="1679"/>
                    </a:lnTo>
                    <a:lnTo>
                      <a:pt x="1008" y="1008"/>
                    </a:lnTo>
                    <a:lnTo>
                      <a:pt x="1456" y="672"/>
                    </a:lnTo>
                    <a:lnTo>
                      <a:pt x="1680" y="560"/>
                    </a:lnTo>
                    <a:lnTo>
                      <a:pt x="1903" y="448"/>
                    </a:lnTo>
                    <a:lnTo>
                      <a:pt x="2015" y="224"/>
                    </a:lnTo>
                    <a:lnTo>
                      <a:pt x="1903" y="112"/>
                    </a:lnTo>
                    <a:lnTo>
                      <a:pt x="1791" y="0"/>
                    </a:lnTo>
                    <a:close/>
                  </a:path>
                </a:pathLst>
              </a:custGeom>
              <a:solidFill>
                <a:srgbClr val="C0BDC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77" name="Google Shape;2037;p16">
                <a:extLst>
                  <a:ext uri="{FF2B5EF4-FFF2-40B4-BE49-F238E27FC236}">
                    <a16:creationId xmlns:a16="http://schemas.microsoft.com/office/drawing/2014/main" id="{C692986C-9071-ED47-07D4-3CD6542B9061}"/>
                  </a:ext>
                </a:extLst>
              </p:cNvPr>
              <p:cNvSpPr/>
              <p:nvPr/>
            </p:nvSpPr>
            <p:spPr>
              <a:xfrm>
                <a:off x="3605700" y="1796875"/>
                <a:ext cx="50400" cy="42000"/>
              </a:xfrm>
              <a:custGeom>
                <a:avLst/>
                <a:gdLst/>
                <a:ahLst/>
                <a:cxnLst/>
                <a:rect l="l" t="t" r="r" b="b"/>
                <a:pathLst>
                  <a:path w="2016" h="1680" fill="none" extrusionOk="0">
                    <a:moveTo>
                      <a:pt x="1680" y="0"/>
                    </a:moveTo>
                    <a:lnTo>
                      <a:pt x="1680" y="0"/>
                    </a:lnTo>
                    <a:lnTo>
                      <a:pt x="1456" y="112"/>
                    </a:lnTo>
                    <a:lnTo>
                      <a:pt x="1344" y="224"/>
                    </a:lnTo>
                    <a:lnTo>
                      <a:pt x="896" y="560"/>
                    </a:lnTo>
                    <a:lnTo>
                      <a:pt x="896" y="560"/>
                    </a:lnTo>
                    <a:lnTo>
                      <a:pt x="0" y="784"/>
                    </a:lnTo>
                    <a:lnTo>
                      <a:pt x="0" y="784"/>
                    </a:lnTo>
                    <a:lnTo>
                      <a:pt x="112" y="1119"/>
                    </a:lnTo>
                    <a:lnTo>
                      <a:pt x="112" y="1119"/>
                    </a:lnTo>
                    <a:lnTo>
                      <a:pt x="112" y="1679"/>
                    </a:lnTo>
                    <a:lnTo>
                      <a:pt x="112" y="1679"/>
                    </a:lnTo>
                    <a:lnTo>
                      <a:pt x="1008" y="1008"/>
                    </a:lnTo>
                    <a:lnTo>
                      <a:pt x="1456" y="672"/>
                    </a:lnTo>
                    <a:lnTo>
                      <a:pt x="1456" y="672"/>
                    </a:lnTo>
                    <a:lnTo>
                      <a:pt x="1456" y="672"/>
                    </a:lnTo>
                    <a:lnTo>
                      <a:pt x="1456" y="672"/>
                    </a:lnTo>
                    <a:lnTo>
                      <a:pt x="1456" y="672"/>
                    </a:lnTo>
                    <a:lnTo>
                      <a:pt x="1456" y="672"/>
                    </a:lnTo>
                    <a:lnTo>
                      <a:pt x="1680" y="560"/>
                    </a:lnTo>
                    <a:lnTo>
                      <a:pt x="1903" y="448"/>
                    </a:lnTo>
                    <a:lnTo>
                      <a:pt x="2015" y="224"/>
                    </a:lnTo>
                    <a:lnTo>
                      <a:pt x="1903" y="112"/>
                    </a:lnTo>
                    <a:lnTo>
                      <a:pt x="1791" y="0"/>
                    </a:lnTo>
                    <a:lnTo>
                      <a:pt x="1791" y="0"/>
                    </a:lnTo>
                    <a:lnTo>
                      <a:pt x="168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78" name="Google Shape;2038;p16">
                <a:extLst>
                  <a:ext uri="{FF2B5EF4-FFF2-40B4-BE49-F238E27FC236}">
                    <a16:creationId xmlns:a16="http://schemas.microsoft.com/office/drawing/2014/main" id="{3B975814-BE19-2546-867B-655072420482}"/>
                  </a:ext>
                </a:extLst>
              </p:cNvPr>
              <p:cNvSpPr/>
              <p:nvPr/>
            </p:nvSpPr>
            <p:spPr>
              <a:xfrm>
                <a:off x="3518950" y="1816450"/>
                <a:ext cx="89575" cy="53200"/>
              </a:xfrm>
              <a:custGeom>
                <a:avLst/>
                <a:gdLst/>
                <a:ahLst/>
                <a:cxnLst/>
                <a:rect l="l" t="t" r="r" b="b"/>
                <a:pathLst>
                  <a:path w="3583" h="2128" extrusionOk="0">
                    <a:moveTo>
                      <a:pt x="3470" y="1"/>
                    </a:moveTo>
                    <a:lnTo>
                      <a:pt x="2575" y="336"/>
                    </a:lnTo>
                    <a:lnTo>
                      <a:pt x="1456" y="560"/>
                    </a:lnTo>
                    <a:lnTo>
                      <a:pt x="560" y="672"/>
                    </a:lnTo>
                    <a:lnTo>
                      <a:pt x="112" y="672"/>
                    </a:lnTo>
                    <a:lnTo>
                      <a:pt x="0" y="2128"/>
                    </a:lnTo>
                    <a:lnTo>
                      <a:pt x="1008" y="2128"/>
                    </a:lnTo>
                    <a:lnTo>
                      <a:pt x="1679" y="1904"/>
                    </a:lnTo>
                    <a:lnTo>
                      <a:pt x="2351" y="1680"/>
                    </a:lnTo>
                    <a:lnTo>
                      <a:pt x="3582" y="896"/>
                    </a:lnTo>
                    <a:lnTo>
                      <a:pt x="3582" y="336"/>
                    </a:lnTo>
                    <a:lnTo>
                      <a:pt x="3470" y="1"/>
                    </a:lnTo>
                    <a:close/>
                  </a:path>
                </a:pathLst>
              </a:custGeom>
              <a:solidFill>
                <a:srgbClr val="B5352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79" name="Google Shape;2039;p16">
                <a:extLst>
                  <a:ext uri="{FF2B5EF4-FFF2-40B4-BE49-F238E27FC236}">
                    <a16:creationId xmlns:a16="http://schemas.microsoft.com/office/drawing/2014/main" id="{042431FC-5E0C-FFDA-31A4-8942767FF715}"/>
                  </a:ext>
                </a:extLst>
              </p:cNvPr>
              <p:cNvSpPr/>
              <p:nvPr/>
            </p:nvSpPr>
            <p:spPr>
              <a:xfrm>
                <a:off x="3518950" y="1816450"/>
                <a:ext cx="89575" cy="53200"/>
              </a:xfrm>
              <a:custGeom>
                <a:avLst/>
                <a:gdLst/>
                <a:ahLst/>
                <a:cxnLst/>
                <a:rect l="l" t="t" r="r" b="b"/>
                <a:pathLst>
                  <a:path w="3583" h="2128" fill="none" extrusionOk="0">
                    <a:moveTo>
                      <a:pt x="3470" y="1"/>
                    </a:moveTo>
                    <a:lnTo>
                      <a:pt x="3470" y="1"/>
                    </a:lnTo>
                    <a:lnTo>
                      <a:pt x="2575" y="336"/>
                    </a:lnTo>
                    <a:lnTo>
                      <a:pt x="1456" y="560"/>
                    </a:lnTo>
                    <a:lnTo>
                      <a:pt x="1456" y="560"/>
                    </a:lnTo>
                    <a:lnTo>
                      <a:pt x="560" y="672"/>
                    </a:lnTo>
                    <a:lnTo>
                      <a:pt x="560" y="672"/>
                    </a:lnTo>
                    <a:lnTo>
                      <a:pt x="112" y="672"/>
                    </a:lnTo>
                    <a:lnTo>
                      <a:pt x="0" y="2128"/>
                    </a:lnTo>
                    <a:lnTo>
                      <a:pt x="0" y="2128"/>
                    </a:lnTo>
                    <a:lnTo>
                      <a:pt x="224" y="2128"/>
                    </a:lnTo>
                    <a:lnTo>
                      <a:pt x="224" y="2128"/>
                    </a:lnTo>
                    <a:lnTo>
                      <a:pt x="1008" y="2128"/>
                    </a:lnTo>
                    <a:lnTo>
                      <a:pt x="1008" y="2128"/>
                    </a:lnTo>
                    <a:lnTo>
                      <a:pt x="1679" y="1904"/>
                    </a:lnTo>
                    <a:lnTo>
                      <a:pt x="2351" y="1680"/>
                    </a:lnTo>
                    <a:lnTo>
                      <a:pt x="3582" y="896"/>
                    </a:lnTo>
                    <a:lnTo>
                      <a:pt x="3582" y="896"/>
                    </a:lnTo>
                    <a:lnTo>
                      <a:pt x="3582" y="336"/>
                    </a:lnTo>
                    <a:lnTo>
                      <a:pt x="3582" y="336"/>
                    </a:lnTo>
                    <a:lnTo>
                      <a:pt x="347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0" name="Google Shape;2040;p16">
                <a:extLst>
                  <a:ext uri="{FF2B5EF4-FFF2-40B4-BE49-F238E27FC236}">
                    <a16:creationId xmlns:a16="http://schemas.microsoft.com/office/drawing/2014/main" id="{2770E9FE-240B-9EEB-CD8D-BA4FC2D7799F}"/>
                  </a:ext>
                </a:extLst>
              </p:cNvPr>
              <p:cNvSpPr/>
              <p:nvPr/>
            </p:nvSpPr>
            <p:spPr>
              <a:xfrm>
                <a:off x="3415400" y="1813650"/>
                <a:ext cx="106375" cy="56000"/>
              </a:xfrm>
              <a:custGeom>
                <a:avLst/>
                <a:gdLst/>
                <a:ahLst/>
                <a:cxnLst/>
                <a:rect l="l" t="t" r="r" b="b"/>
                <a:pathLst>
                  <a:path w="4255" h="2240" extrusionOk="0">
                    <a:moveTo>
                      <a:pt x="1904" y="1"/>
                    </a:moveTo>
                    <a:lnTo>
                      <a:pt x="1344" y="225"/>
                    </a:lnTo>
                    <a:lnTo>
                      <a:pt x="1" y="1344"/>
                    </a:lnTo>
                    <a:lnTo>
                      <a:pt x="3471" y="2240"/>
                    </a:lnTo>
                    <a:lnTo>
                      <a:pt x="4142" y="2240"/>
                    </a:lnTo>
                    <a:lnTo>
                      <a:pt x="4254" y="784"/>
                    </a:lnTo>
                    <a:lnTo>
                      <a:pt x="3807" y="672"/>
                    </a:lnTo>
                    <a:lnTo>
                      <a:pt x="3023" y="560"/>
                    </a:lnTo>
                    <a:lnTo>
                      <a:pt x="2575" y="448"/>
                    </a:lnTo>
                    <a:lnTo>
                      <a:pt x="1904" y="1"/>
                    </a:lnTo>
                    <a:close/>
                  </a:path>
                </a:pathLst>
              </a:custGeom>
              <a:solidFill>
                <a:srgbClr val="B5352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1" name="Google Shape;2041;p16">
                <a:extLst>
                  <a:ext uri="{FF2B5EF4-FFF2-40B4-BE49-F238E27FC236}">
                    <a16:creationId xmlns:a16="http://schemas.microsoft.com/office/drawing/2014/main" id="{70506A4D-4B3B-D857-AFF5-ED373A44741B}"/>
                  </a:ext>
                </a:extLst>
              </p:cNvPr>
              <p:cNvSpPr/>
              <p:nvPr/>
            </p:nvSpPr>
            <p:spPr>
              <a:xfrm>
                <a:off x="3415400" y="1813650"/>
                <a:ext cx="106375" cy="56000"/>
              </a:xfrm>
              <a:custGeom>
                <a:avLst/>
                <a:gdLst/>
                <a:ahLst/>
                <a:cxnLst/>
                <a:rect l="l" t="t" r="r" b="b"/>
                <a:pathLst>
                  <a:path w="4255" h="2240" fill="none" extrusionOk="0">
                    <a:moveTo>
                      <a:pt x="1904" y="1"/>
                    </a:moveTo>
                    <a:lnTo>
                      <a:pt x="1904" y="1"/>
                    </a:lnTo>
                    <a:lnTo>
                      <a:pt x="1344" y="225"/>
                    </a:lnTo>
                    <a:lnTo>
                      <a:pt x="1344" y="225"/>
                    </a:lnTo>
                    <a:lnTo>
                      <a:pt x="1" y="1344"/>
                    </a:lnTo>
                    <a:lnTo>
                      <a:pt x="1" y="1344"/>
                    </a:lnTo>
                    <a:lnTo>
                      <a:pt x="3471" y="2240"/>
                    </a:lnTo>
                    <a:lnTo>
                      <a:pt x="3471" y="2240"/>
                    </a:lnTo>
                    <a:lnTo>
                      <a:pt x="4142" y="2240"/>
                    </a:lnTo>
                    <a:lnTo>
                      <a:pt x="4254" y="784"/>
                    </a:lnTo>
                    <a:lnTo>
                      <a:pt x="4254" y="784"/>
                    </a:lnTo>
                    <a:lnTo>
                      <a:pt x="3807" y="672"/>
                    </a:lnTo>
                    <a:lnTo>
                      <a:pt x="3807" y="672"/>
                    </a:lnTo>
                    <a:lnTo>
                      <a:pt x="3023" y="560"/>
                    </a:lnTo>
                    <a:lnTo>
                      <a:pt x="2575" y="448"/>
                    </a:lnTo>
                    <a:lnTo>
                      <a:pt x="1904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2" name="Google Shape;2042;p16">
                <a:extLst>
                  <a:ext uri="{FF2B5EF4-FFF2-40B4-BE49-F238E27FC236}">
                    <a16:creationId xmlns:a16="http://schemas.microsoft.com/office/drawing/2014/main" id="{652D89FB-510A-90EC-13EF-1933ECFB754B}"/>
                  </a:ext>
                </a:extLst>
              </p:cNvPr>
              <p:cNvSpPr/>
              <p:nvPr/>
            </p:nvSpPr>
            <p:spPr>
              <a:xfrm>
                <a:off x="2922875" y="1684925"/>
                <a:ext cx="744425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29777" h="6605" extrusionOk="0">
                    <a:moveTo>
                      <a:pt x="560" y="1"/>
                    </a:moveTo>
                    <a:lnTo>
                      <a:pt x="224" y="224"/>
                    </a:lnTo>
                    <a:lnTo>
                      <a:pt x="0" y="448"/>
                    </a:lnTo>
                    <a:lnTo>
                      <a:pt x="0" y="784"/>
                    </a:lnTo>
                    <a:lnTo>
                      <a:pt x="224" y="1232"/>
                    </a:lnTo>
                    <a:lnTo>
                      <a:pt x="448" y="1680"/>
                    </a:lnTo>
                    <a:lnTo>
                      <a:pt x="896" y="2015"/>
                    </a:lnTo>
                    <a:lnTo>
                      <a:pt x="2239" y="2575"/>
                    </a:lnTo>
                    <a:lnTo>
                      <a:pt x="4590" y="3471"/>
                    </a:lnTo>
                    <a:lnTo>
                      <a:pt x="7276" y="4366"/>
                    </a:lnTo>
                    <a:lnTo>
                      <a:pt x="9179" y="4814"/>
                    </a:lnTo>
                    <a:lnTo>
                      <a:pt x="11306" y="4814"/>
                    </a:lnTo>
                    <a:lnTo>
                      <a:pt x="12314" y="4590"/>
                    </a:lnTo>
                    <a:lnTo>
                      <a:pt x="13321" y="4366"/>
                    </a:lnTo>
                    <a:lnTo>
                      <a:pt x="15224" y="3918"/>
                    </a:lnTo>
                    <a:lnTo>
                      <a:pt x="16008" y="3806"/>
                    </a:lnTo>
                    <a:lnTo>
                      <a:pt x="16679" y="3806"/>
                    </a:lnTo>
                    <a:lnTo>
                      <a:pt x="17463" y="4030"/>
                    </a:lnTo>
                    <a:lnTo>
                      <a:pt x="18246" y="4366"/>
                    </a:lnTo>
                    <a:lnTo>
                      <a:pt x="20149" y="5150"/>
                    </a:lnTo>
                    <a:lnTo>
                      <a:pt x="22052" y="5933"/>
                    </a:lnTo>
                    <a:lnTo>
                      <a:pt x="22948" y="6269"/>
                    </a:lnTo>
                    <a:lnTo>
                      <a:pt x="23843" y="6493"/>
                    </a:lnTo>
                    <a:lnTo>
                      <a:pt x="24627" y="6605"/>
                    </a:lnTo>
                    <a:lnTo>
                      <a:pt x="25522" y="6493"/>
                    </a:lnTo>
                    <a:lnTo>
                      <a:pt x="26306" y="6269"/>
                    </a:lnTo>
                    <a:lnTo>
                      <a:pt x="27090" y="5933"/>
                    </a:lnTo>
                    <a:lnTo>
                      <a:pt x="28321" y="5374"/>
                    </a:lnTo>
                    <a:lnTo>
                      <a:pt x="28769" y="5150"/>
                    </a:lnTo>
                    <a:lnTo>
                      <a:pt x="28993" y="5262"/>
                    </a:lnTo>
                    <a:lnTo>
                      <a:pt x="29328" y="5374"/>
                    </a:lnTo>
                    <a:lnTo>
                      <a:pt x="29440" y="5374"/>
                    </a:lnTo>
                    <a:lnTo>
                      <a:pt x="29552" y="5150"/>
                    </a:lnTo>
                    <a:lnTo>
                      <a:pt x="29664" y="4814"/>
                    </a:lnTo>
                    <a:lnTo>
                      <a:pt x="29776" y="4590"/>
                    </a:lnTo>
                    <a:lnTo>
                      <a:pt x="29664" y="4366"/>
                    </a:lnTo>
                    <a:lnTo>
                      <a:pt x="29552" y="4254"/>
                    </a:lnTo>
                    <a:lnTo>
                      <a:pt x="29216" y="4030"/>
                    </a:lnTo>
                    <a:lnTo>
                      <a:pt x="28993" y="4030"/>
                    </a:lnTo>
                    <a:lnTo>
                      <a:pt x="28881" y="4142"/>
                    </a:lnTo>
                    <a:lnTo>
                      <a:pt x="28433" y="4254"/>
                    </a:lnTo>
                    <a:lnTo>
                      <a:pt x="27537" y="4702"/>
                    </a:lnTo>
                    <a:lnTo>
                      <a:pt x="26418" y="5038"/>
                    </a:lnTo>
                    <a:lnTo>
                      <a:pt x="25299" y="5150"/>
                    </a:lnTo>
                    <a:lnTo>
                      <a:pt x="24627" y="5150"/>
                    </a:lnTo>
                    <a:lnTo>
                      <a:pt x="24067" y="5038"/>
                    </a:lnTo>
                    <a:lnTo>
                      <a:pt x="23396" y="4926"/>
                    </a:lnTo>
                    <a:lnTo>
                      <a:pt x="22612" y="4478"/>
                    </a:lnTo>
                    <a:lnTo>
                      <a:pt x="20821" y="3359"/>
                    </a:lnTo>
                    <a:lnTo>
                      <a:pt x="19926" y="2799"/>
                    </a:lnTo>
                    <a:lnTo>
                      <a:pt x="18918" y="2239"/>
                    </a:lnTo>
                    <a:lnTo>
                      <a:pt x="17911" y="1903"/>
                    </a:lnTo>
                    <a:lnTo>
                      <a:pt x="17015" y="1680"/>
                    </a:lnTo>
                    <a:lnTo>
                      <a:pt x="16120" y="1680"/>
                    </a:lnTo>
                    <a:lnTo>
                      <a:pt x="15224" y="1903"/>
                    </a:lnTo>
                    <a:lnTo>
                      <a:pt x="13657" y="2463"/>
                    </a:lnTo>
                    <a:lnTo>
                      <a:pt x="12873" y="2687"/>
                    </a:lnTo>
                    <a:lnTo>
                      <a:pt x="11866" y="2911"/>
                    </a:lnTo>
                    <a:lnTo>
                      <a:pt x="10858" y="3023"/>
                    </a:lnTo>
                    <a:lnTo>
                      <a:pt x="9627" y="2911"/>
                    </a:lnTo>
                    <a:lnTo>
                      <a:pt x="8284" y="2687"/>
                    </a:lnTo>
                    <a:lnTo>
                      <a:pt x="7053" y="2351"/>
                    </a:lnTo>
                    <a:lnTo>
                      <a:pt x="5933" y="1903"/>
                    </a:lnTo>
                    <a:lnTo>
                      <a:pt x="4814" y="1456"/>
                    </a:lnTo>
                    <a:lnTo>
                      <a:pt x="3023" y="560"/>
                    </a:lnTo>
                    <a:lnTo>
                      <a:pt x="2351" y="224"/>
                    </a:lnTo>
                    <a:lnTo>
                      <a:pt x="1791" y="112"/>
                    </a:lnTo>
                    <a:lnTo>
                      <a:pt x="1120" y="1"/>
                    </a:lnTo>
                    <a:close/>
                  </a:path>
                </a:pathLst>
              </a:custGeom>
              <a:solidFill>
                <a:srgbClr val="FDB61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3" name="Google Shape;2043;p16">
                <a:extLst>
                  <a:ext uri="{FF2B5EF4-FFF2-40B4-BE49-F238E27FC236}">
                    <a16:creationId xmlns:a16="http://schemas.microsoft.com/office/drawing/2014/main" id="{5AD04D58-9266-023C-1782-552FA1632BEC}"/>
                  </a:ext>
                </a:extLst>
              </p:cNvPr>
              <p:cNvSpPr/>
              <p:nvPr/>
            </p:nvSpPr>
            <p:spPr>
              <a:xfrm>
                <a:off x="3432200" y="1953575"/>
                <a:ext cx="47600" cy="145550"/>
              </a:xfrm>
              <a:custGeom>
                <a:avLst/>
                <a:gdLst/>
                <a:ahLst/>
                <a:cxnLst/>
                <a:rect l="l" t="t" r="r" b="b"/>
                <a:pathLst>
                  <a:path w="1904" h="5822" extrusionOk="0">
                    <a:moveTo>
                      <a:pt x="1903" y="1"/>
                    </a:moveTo>
                    <a:lnTo>
                      <a:pt x="1455" y="336"/>
                    </a:lnTo>
                    <a:lnTo>
                      <a:pt x="0" y="1792"/>
                    </a:lnTo>
                    <a:lnTo>
                      <a:pt x="0" y="2575"/>
                    </a:lnTo>
                    <a:lnTo>
                      <a:pt x="112" y="4814"/>
                    </a:lnTo>
                    <a:lnTo>
                      <a:pt x="224" y="5598"/>
                    </a:lnTo>
                    <a:lnTo>
                      <a:pt x="224" y="5822"/>
                    </a:lnTo>
                    <a:lnTo>
                      <a:pt x="784" y="4366"/>
                    </a:lnTo>
                    <a:lnTo>
                      <a:pt x="1232" y="2463"/>
                    </a:lnTo>
                    <a:lnTo>
                      <a:pt x="1903" y="1"/>
                    </a:lnTo>
                    <a:close/>
                  </a:path>
                </a:pathLst>
              </a:custGeom>
              <a:solidFill>
                <a:srgbClr val="9B3433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4" name="Google Shape;2044;p16">
                <a:extLst>
                  <a:ext uri="{FF2B5EF4-FFF2-40B4-BE49-F238E27FC236}">
                    <a16:creationId xmlns:a16="http://schemas.microsoft.com/office/drawing/2014/main" id="{DBE1AE76-73BC-48B6-CBB4-C23A01C1F519}"/>
                  </a:ext>
                </a:extLst>
              </p:cNvPr>
              <p:cNvSpPr/>
              <p:nvPr/>
            </p:nvSpPr>
            <p:spPr>
              <a:xfrm>
                <a:off x="3432200" y="1953575"/>
                <a:ext cx="47600" cy="145550"/>
              </a:xfrm>
              <a:custGeom>
                <a:avLst/>
                <a:gdLst/>
                <a:ahLst/>
                <a:cxnLst/>
                <a:rect l="l" t="t" r="r" b="b"/>
                <a:pathLst>
                  <a:path w="1904" h="5822" fill="none" extrusionOk="0">
                    <a:moveTo>
                      <a:pt x="1903" y="1"/>
                    </a:moveTo>
                    <a:lnTo>
                      <a:pt x="1903" y="1"/>
                    </a:lnTo>
                    <a:lnTo>
                      <a:pt x="1455" y="336"/>
                    </a:lnTo>
                    <a:lnTo>
                      <a:pt x="0" y="1792"/>
                    </a:lnTo>
                    <a:lnTo>
                      <a:pt x="0" y="1792"/>
                    </a:lnTo>
                    <a:lnTo>
                      <a:pt x="0" y="2575"/>
                    </a:lnTo>
                    <a:lnTo>
                      <a:pt x="0" y="2575"/>
                    </a:lnTo>
                    <a:lnTo>
                      <a:pt x="112" y="4814"/>
                    </a:lnTo>
                    <a:lnTo>
                      <a:pt x="112" y="4814"/>
                    </a:lnTo>
                    <a:lnTo>
                      <a:pt x="224" y="5598"/>
                    </a:lnTo>
                    <a:lnTo>
                      <a:pt x="224" y="5598"/>
                    </a:lnTo>
                    <a:lnTo>
                      <a:pt x="224" y="5598"/>
                    </a:lnTo>
                    <a:lnTo>
                      <a:pt x="224" y="5598"/>
                    </a:lnTo>
                    <a:lnTo>
                      <a:pt x="224" y="5598"/>
                    </a:lnTo>
                    <a:lnTo>
                      <a:pt x="224" y="5822"/>
                    </a:lnTo>
                    <a:lnTo>
                      <a:pt x="224" y="5822"/>
                    </a:lnTo>
                    <a:lnTo>
                      <a:pt x="784" y="4366"/>
                    </a:lnTo>
                    <a:lnTo>
                      <a:pt x="1232" y="2463"/>
                    </a:lnTo>
                    <a:lnTo>
                      <a:pt x="190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5" name="Google Shape;2045;p16">
                <a:extLst>
                  <a:ext uri="{FF2B5EF4-FFF2-40B4-BE49-F238E27FC236}">
                    <a16:creationId xmlns:a16="http://schemas.microsoft.com/office/drawing/2014/main" id="{9EFB6652-8F14-A774-047B-889E51379D80}"/>
                  </a:ext>
                </a:extLst>
              </p:cNvPr>
              <p:cNvSpPr/>
              <p:nvPr/>
            </p:nvSpPr>
            <p:spPr>
              <a:xfrm>
                <a:off x="3468575" y="1950775"/>
                <a:ext cx="11225" cy="11225"/>
              </a:xfrm>
              <a:custGeom>
                <a:avLst/>
                <a:gdLst/>
                <a:ahLst/>
                <a:cxnLst/>
                <a:rect l="l" t="t" r="r" b="b"/>
                <a:pathLst>
                  <a:path w="449" h="449" extrusionOk="0">
                    <a:moveTo>
                      <a:pt x="448" y="1"/>
                    </a:moveTo>
                    <a:lnTo>
                      <a:pt x="0" y="448"/>
                    </a:lnTo>
                    <a:lnTo>
                      <a:pt x="448" y="113"/>
                    </a:lnTo>
                    <a:lnTo>
                      <a:pt x="448" y="1"/>
                    </a:lnTo>
                    <a:close/>
                  </a:path>
                </a:pathLst>
              </a:custGeom>
              <a:solidFill>
                <a:srgbClr val="9B3433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6" name="Google Shape;2046;p16">
                <a:extLst>
                  <a:ext uri="{FF2B5EF4-FFF2-40B4-BE49-F238E27FC236}">
                    <a16:creationId xmlns:a16="http://schemas.microsoft.com/office/drawing/2014/main" id="{B75CEED7-BB41-CB17-D887-0EC48ED47A49}"/>
                  </a:ext>
                </a:extLst>
              </p:cNvPr>
              <p:cNvSpPr/>
              <p:nvPr/>
            </p:nvSpPr>
            <p:spPr>
              <a:xfrm>
                <a:off x="3468575" y="1950775"/>
                <a:ext cx="11225" cy="11225"/>
              </a:xfrm>
              <a:custGeom>
                <a:avLst/>
                <a:gdLst/>
                <a:ahLst/>
                <a:cxnLst/>
                <a:rect l="l" t="t" r="r" b="b"/>
                <a:pathLst>
                  <a:path w="449" h="449" fill="none" extrusionOk="0">
                    <a:moveTo>
                      <a:pt x="448" y="1"/>
                    </a:moveTo>
                    <a:lnTo>
                      <a:pt x="0" y="448"/>
                    </a:lnTo>
                    <a:lnTo>
                      <a:pt x="0" y="448"/>
                    </a:lnTo>
                    <a:lnTo>
                      <a:pt x="448" y="113"/>
                    </a:lnTo>
                    <a:lnTo>
                      <a:pt x="448" y="113"/>
                    </a:lnTo>
                    <a:lnTo>
                      <a:pt x="448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7" name="Google Shape;2047;p16">
                <a:extLst>
                  <a:ext uri="{FF2B5EF4-FFF2-40B4-BE49-F238E27FC236}">
                    <a16:creationId xmlns:a16="http://schemas.microsoft.com/office/drawing/2014/main" id="{631E6E7D-9D7C-EF9F-6C46-D88D740DABA9}"/>
                  </a:ext>
                </a:extLst>
              </p:cNvPr>
              <p:cNvSpPr/>
              <p:nvPr/>
            </p:nvSpPr>
            <p:spPr>
              <a:xfrm>
                <a:off x="3588900" y="1609375"/>
                <a:ext cx="134350" cy="120350"/>
              </a:xfrm>
              <a:custGeom>
                <a:avLst/>
                <a:gdLst/>
                <a:ahLst/>
                <a:cxnLst/>
                <a:rect l="l" t="t" r="r" b="b"/>
                <a:pathLst>
                  <a:path w="5374" h="4814" extrusionOk="0">
                    <a:moveTo>
                      <a:pt x="4031" y="0"/>
                    </a:moveTo>
                    <a:lnTo>
                      <a:pt x="1" y="1008"/>
                    </a:lnTo>
                    <a:lnTo>
                      <a:pt x="225" y="2127"/>
                    </a:lnTo>
                    <a:lnTo>
                      <a:pt x="449" y="3134"/>
                    </a:lnTo>
                    <a:lnTo>
                      <a:pt x="784" y="3918"/>
                    </a:lnTo>
                    <a:lnTo>
                      <a:pt x="1008" y="4142"/>
                    </a:lnTo>
                    <a:lnTo>
                      <a:pt x="1456" y="4366"/>
                    </a:lnTo>
                    <a:lnTo>
                      <a:pt x="1904" y="4590"/>
                    </a:lnTo>
                    <a:lnTo>
                      <a:pt x="2463" y="4702"/>
                    </a:lnTo>
                    <a:lnTo>
                      <a:pt x="3135" y="4814"/>
                    </a:lnTo>
                    <a:lnTo>
                      <a:pt x="4478" y="4814"/>
                    </a:lnTo>
                    <a:lnTo>
                      <a:pt x="5150" y="4702"/>
                    </a:lnTo>
                    <a:lnTo>
                      <a:pt x="5262" y="4590"/>
                    </a:lnTo>
                    <a:lnTo>
                      <a:pt x="5374" y="4254"/>
                    </a:lnTo>
                    <a:lnTo>
                      <a:pt x="5150" y="3582"/>
                    </a:lnTo>
                    <a:lnTo>
                      <a:pt x="4926" y="2911"/>
                    </a:lnTo>
                    <a:lnTo>
                      <a:pt x="5038" y="2687"/>
                    </a:lnTo>
                    <a:lnTo>
                      <a:pt x="5150" y="2575"/>
                    </a:lnTo>
                    <a:lnTo>
                      <a:pt x="5262" y="2463"/>
                    </a:lnTo>
                    <a:lnTo>
                      <a:pt x="5262" y="2239"/>
                    </a:lnTo>
                    <a:lnTo>
                      <a:pt x="4926" y="1567"/>
                    </a:lnTo>
                    <a:lnTo>
                      <a:pt x="4366" y="784"/>
                    </a:lnTo>
                    <a:lnTo>
                      <a:pt x="4031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8" name="Google Shape;2048;p16">
                <a:extLst>
                  <a:ext uri="{FF2B5EF4-FFF2-40B4-BE49-F238E27FC236}">
                    <a16:creationId xmlns:a16="http://schemas.microsoft.com/office/drawing/2014/main" id="{1BC24A6E-0321-8AF5-5AC6-5FBDF28FDE5E}"/>
                  </a:ext>
                </a:extLst>
              </p:cNvPr>
              <p:cNvSpPr/>
              <p:nvPr/>
            </p:nvSpPr>
            <p:spPr>
              <a:xfrm>
                <a:off x="3552525" y="1559000"/>
                <a:ext cx="167925" cy="170725"/>
              </a:xfrm>
              <a:custGeom>
                <a:avLst/>
                <a:gdLst/>
                <a:ahLst/>
                <a:cxnLst/>
                <a:rect l="l" t="t" r="r" b="b"/>
                <a:pathLst>
                  <a:path w="6717" h="6829" extrusionOk="0">
                    <a:moveTo>
                      <a:pt x="3359" y="0"/>
                    </a:moveTo>
                    <a:lnTo>
                      <a:pt x="3023" y="112"/>
                    </a:lnTo>
                    <a:lnTo>
                      <a:pt x="2687" y="336"/>
                    </a:lnTo>
                    <a:lnTo>
                      <a:pt x="2463" y="672"/>
                    </a:lnTo>
                    <a:lnTo>
                      <a:pt x="2127" y="896"/>
                    </a:lnTo>
                    <a:lnTo>
                      <a:pt x="1792" y="1008"/>
                    </a:lnTo>
                    <a:lnTo>
                      <a:pt x="1344" y="1120"/>
                    </a:lnTo>
                    <a:lnTo>
                      <a:pt x="896" y="1232"/>
                    </a:lnTo>
                    <a:lnTo>
                      <a:pt x="448" y="1455"/>
                    </a:lnTo>
                    <a:lnTo>
                      <a:pt x="225" y="1791"/>
                    </a:lnTo>
                    <a:lnTo>
                      <a:pt x="113" y="2127"/>
                    </a:lnTo>
                    <a:lnTo>
                      <a:pt x="113" y="2351"/>
                    </a:lnTo>
                    <a:lnTo>
                      <a:pt x="225" y="2575"/>
                    </a:lnTo>
                    <a:lnTo>
                      <a:pt x="336" y="3135"/>
                    </a:lnTo>
                    <a:lnTo>
                      <a:pt x="336" y="3358"/>
                    </a:lnTo>
                    <a:lnTo>
                      <a:pt x="113" y="3694"/>
                    </a:lnTo>
                    <a:lnTo>
                      <a:pt x="1" y="3918"/>
                    </a:lnTo>
                    <a:lnTo>
                      <a:pt x="1" y="4142"/>
                    </a:lnTo>
                    <a:lnTo>
                      <a:pt x="113" y="4590"/>
                    </a:lnTo>
                    <a:lnTo>
                      <a:pt x="448" y="5038"/>
                    </a:lnTo>
                    <a:lnTo>
                      <a:pt x="896" y="5373"/>
                    </a:lnTo>
                    <a:lnTo>
                      <a:pt x="1904" y="5933"/>
                    </a:lnTo>
                    <a:lnTo>
                      <a:pt x="2463" y="6157"/>
                    </a:lnTo>
                    <a:lnTo>
                      <a:pt x="2575" y="6045"/>
                    </a:lnTo>
                    <a:lnTo>
                      <a:pt x="2687" y="5933"/>
                    </a:lnTo>
                    <a:lnTo>
                      <a:pt x="2687" y="5709"/>
                    </a:lnTo>
                    <a:lnTo>
                      <a:pt x="2463" y="5373"/>
                    </a:lnTo>
                    <a:lnTo>
                      <a:pt x="2127" y="4926"/>
                    </a:lnTo>
                    <a:lnTo>
                      <a:pt x="2127" y="4702"/>
                    </a:lnTo>
                    <a:lnTo>
                      <a:pt x="2127" y="4478"/>
                    </a:lnTo>
                    <a:lnTo>
                      <a:pt x="2351" y="4254"/>
                    </a:lnTo>
                    <a:lnTo>
                      <a:pt x="2575" y="4030"/>
                    </a:lnTo>
                    <a:lnTo>
                      <a:pt x="2799" y="4030"/>
                    </a:lnTo>
                    <a:lnTo>
                      <a:pt x="2911" y="4142"/>
                    </a:lnTo>
                    <a:lnTo>
                      <a:pt x="3023" y="4254"/>
                    </a:lnTo>
                    <a:lnTo>
                      <a:pt x="3135" y="4814"/>
                    </a:lnTo>
                    <a:lnTo>
                      <a:pt x="3359" y="5597"/>
                    </a:lnTo>
                    <a:lnTo>
                      <a:pt x="3471" y="6269"/>
                    </a:lnTo>
                    <a:lnTo>
                      <a:pt x="3695" y="6605"/>
                    </a:lnTo>
                    <a:lnTo>
                      <a:pt x="4366" y="6829"/>
                    </a:lnTo>
                    <a:lnTo>
                      <a:pt x="5486" y="6829"/>
                    </a:lnTo>
                    <a:lnTo>
                      <a:pt x="6381" y="6717"/>
                    </a:lnTo>
                    <a:lnTo>
                      <a:pt x="6717" y="6605"/>
                    </a:lnTo>
                    <a:lnTo>
                      <a:pt x="6717" y="6381"/>
                    </a:lnTo>
                    <a:lnTo>
                      <a:pt x="6605" y="6157"/>
                    </a:lnTo>
                    <a:lnTo>
                      <a:pt x="6381" y="6157"/>
                    </a:lnTo>
                    <a:lnTo>
                      <a:pt x="5598" y="6269"/>
                    </a:lnTo>
                    <a:lnTo>
                      <a:pt x="4926" y="6269"/>
                    </a:lnTo>
                    <a:lnTo>
                      <a:pt x="4702" y="6157"/>
                    </a:lnTo>
                    <a:lnTo>
                      <a:pt x="4590" y="6045"/>
                    </a:lnTo>
                    <a:lnTo>
                      <a:pt x="4590" y="5821"/>
                    </a:lnTo>
                    <a:lnTo>
                      <a:pt x="4814" y="5597"/>
                    </a:lnTo>
                    <a:lnTo>
                      <a:pt x="5486" y="5485"/>
                    </a:lnTo>
                    <a:lnTo>
                      <a:pt x="6157" y="5261"/>
                    </a:lnTo>
                    <a:lnTo>
                      <a:pt x="6381" y="5149"/>
                    </a:lnTo>
                    <a:lnTo>
                      <a:pt x="6493" y="5038"/>
                    </a:lnTo>
                    <a:lnTo>
                      <a:pt x="6381" y="4926"/>
                    </a:lnTo>
                    <a:lnTo>
                      <a:pt x="6157" y="4814"/>
                    </a:lnTo>
                    <a:lnTo>
                      <a:pt x="5374" y="5038"/>
                    </a:lnTo>
                    <a:lnTo>
                      <a:pt x="4590" y="5261"/>
                    </a:lnTo>
                    <a:lnTo>
                      <a:pt x="4030" y="5261"/>
                    </a:lnTo>
                    <a:lnTo>
                      <a:pt x="3918" y="4702"/>
                    </a:lnTo>
                    <a:lnTo>
                      <a:pt x="3807" y="4142"/>
                    </a:lnTo>
                    <a:lnTo>
                      <a:pt x="3918" y="3694"/>
                    </a:lnTo>
                    <a:lnTo>
                      <a:pt x="4030" y="3470"/>
                    </a:lnTo>
                    <a:lnTo>
                      <a:pt x="4254" y="3358"/>
                    </a:lnTo>
                    <a:lnTo>
                      <a:pt x="4478" y="3246"/>
                    </a:lnTo>
                    <a:lnTo>
                      <a:pt x="4702" y="3246"/>
                    </a:lnTo>
                    <a:lnTo>
                      <a:pt x="4814" y="3135"/>
                    </a:lnTo>
                    <a:lnTo>
                      <a:pt x="4926" y="3023"/>
                    </a:lnTo>
                    <a:lnTo>
                      <a:pt x="4926" y="2911"/>
                    </a:lnTo>
                    <a:lnTo>
                      <a:pt x="4814" y="2687"/>
                    </a:lnTo>
                    <a:lnTo>
                      <a:pt x="4814" y="2463"/>
                    </a:lnTo>
                    <a:lnTo>
                      <a:pt x="4926" y="2351"/>
                    </a:lnTo>
                    <a:lnTo>
                      <a:pt x="5038" y="2239"/>
                    </a:lnTo>
                    <a:lnTo>
                      <a:pt x="5486" y="2015"/>
                    </a:lnTo>
                    <a:lnTo>
                      <a:pt x="5821" y="1791"/>
                    </a:lnTo>
                    <a:lnTo>
                      <a:pt x="5933" y="1455"/>
                    </a:lnTo>
                    <a:lnTo>
                      <a:pt x="5933" y="1008"/>
                    </a:lnTo>
                    <a:lnTo>
                      <a:pt x="5821" y="672"/>
                    </a:lnTo>
                    <a:lnTo>
                      <a:pt x="5486" y="448"/>
                    </a:lnTo>
                    <a:lnTo>
                      <a:pt x="5150" y="336"/>
                    </a:lnTo>
                    <a:lnTo>
                      <a:pt x="4702" y="336"/>
                    </a:lnTo>
                    <a:lnTo>
                      <a:pt x="4590" y="448"/>
                    </a:lnTo>
                    <a:lnTo>
                      <a:pt x="4478" y="336"/>
                    </a:lnTo>
                    <a:lnTo>
                      <a:pt x="4142" y="224"/>
                    </a:lnTo>
                    <a:lnTo>
                      <a:pt x="3918" y="0"/>
                    </a:lnTo>
                    <a:close/>
                  </a:path>
                </a:pathLst>
              </a:custGeom>
              <a:solidFill>
                <a:srgbClr val="201F39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9" name="Google Shape;2049;p16">
                <a:extLst>
                  <a:ext uri="{FF2B5EF4-FFF2-40B4-BE49-F238E27FC236}">
                    <a16:creationId xmlns:a16="http://schemas.microsoft.com/office/drawing/2014/main" id="{ED69B12D-952E-5AD7-A60D-3F39D68BF387}"/>
                  </a:ext>
                </a:extLst>
              </p:cNvPr>
              <p:cNvSpPr/>
              <p:nvPr/>
            </p:nvSpPr>
            <p:spPr>
              <a:xfrm>
                <a:off x="1643975" y="2286600"/>
                <a:ext cx="156725" cy="106375"/>
              </a:xfrm>
              <a:custGeom>
                <a:avLst/>
                <a:gdLst/>
                <a:ahLst/>
                <a:cxnLst/>
                <a:rect l="l" t="t" r="r" b="b"/>
                <a:pathLst>
                  <a:path w="6269" h="4255" extrusionOk="0">
                    <a:moveTo>
                      <a:pt x="3135" y="0"/>
                    </a:moveTo>
                    <a:lnTo>
                      <a:pt x="2911" y="112"/>
                    </a:lnTo>
                    <a:lnTo>
                      <a:pt x="2351" y="672"/>
                    </a:lnTo>
                    <a:lnTo>
                      <a:pt x="2015" y="1008"/>
                    </a:lnTo>
                    <a:lnTo>
                      <a:pt x="1567" y="1344"/>
                    </a:lnTo>
                    <a:lnTo>
                      <a:pt x="896" y="1680"/>
                    </a:lnTo>
                    <a:lnTo>
                      <a:pt x="0" y="2015"/>
                    </a:lnTo>
                    <a:lnTo>
                      <a:pt x="0" y="2463"/>
                    </a:lnTo>
                    <a:lnTo>
                      <a:pt x="0" y="3471"/>
                    </a:lnTo>
                    <a:lnTo>
                      <a:pt x="112" y="3918"/>
                    </a:lnTo>
                    <a:lnTo>
                      <a:pt x="336" y="4142"/>
                    </a:lnTo>
                    <a:lnTo>
                      <a:pt x="560" y="4254"/>
                    </a:lnTo>
                    <a:lnTo>
                      <a:pt x="784" y="4254"/>
                    </a:lnTo>
                    <a:lnTo>
                      <a:pt x="1456" y="3918"/>
                    </a:lnTo>
                    <a:lnTo>
                      <a:pt x="2127" y="3582"/>
                    </a:lnTo>
                    <a:lnTo>
                      <a:pt x="2799" y="3247"/>
                    </a:lnTo>
                    <a:lnTo>
                      <a:pt x="3358" y="3135"/>
                    </a:lnTo>
                    <a:lnTo>
                      <a:pt x="4926" y="3135"/>
                    </a:lnTo>
                    <a:lnTo>
                      <a:pt x="5373" y="3023"/>
                    </a:lnTo>
                    <a:lnTo>
                      <a:pt x="5709" y="2799"/>
                    </a:lnTo>
                    <a:lnTo>
                      <a:pt x="6045" y="2463"/>
                    </a:lnTo>
                    <a:lnTo>
                      <a:pt x="6157" y="2127"/>
                    </a:lnTo>
                    <a:lnTo>
                      <a:pt x="6269" y="1680"/>
                    </a:lnTo>
                    <a:lnTo>
                      <a:pt x="6269" y="1344"/>
                    </a:lnTo>
                    <a:lnTo>
                      <a:pt x="6157" y="1008"/>
                    </a:lnTo>
                    <a:lnTo>
                      <a:pt x="6045" y="672"/>
                    </a:lnTo>
                    <a:lnTo>
                      <a:pt x="5821" y="448"/>
                    </a:lnTo>
                    <a:lnTo>
                      <a:pt x="5597" y="336"/>
                    </a:lnTo>
                    <a:lnTo>
                      <a:pt x="5373" y="224"/>
                    </a:lnTo>
                    <a:lnTo>
                      <a:pt x="5150" y="224"/>
                    </a:lnTo>
                    <a:lnTo>
                      <a:pt x="4590" y="560"/>
                    </a:lnTo>
                    <a:lnTo>
                      <a:pt x="4030" y="896"/>
                    </a:lnTo>
                    <a:lnTo>
                      <a:pt x="3582" y="896"/>
                    </a:lnTo>
                    <a:lnTo>
                      <a:pt x="3470" y="784"/>
                    </a:lnTo>
                    <a:lnTo>
                      <a:pt x="3470" y="672"/>
                    </a:lnTo>
                    <a:lnTo>
                      <a:pt x="3582" y="448"/>
                    </a:lnTo>
                    <a:lnTo>
                      <a:pt x="3694" y="224"/>
                    </a:lnTo>
                    <a:lnTo>
                      <a:pt x="3694" y="112"/>
                    </a:lnTo>
                    <a:lnTo>
                      <a:pt x="3470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90" name="Google Shape;2050;p16">
                <a:extLst>
                  <a:ext uri="{FF2B5EF4-FFF2-40B4-BE49-F238E27FC236}">
                    <a16:creationId xmlns:a16="http://schemas.microsoft.com/office/drawing/2014/main" id="{2A5C6965-EFAC-9061-10AD-58A894224A91}"/>
                  </a:ext>
                </a:extLst>
              </p:cNvPr>
              <p:cNvSpPr/>
              <p:nvPr/>
            </p:nvSpPr>
            <p:spPr>
              <a:xfrm>
                <a:off x="1352925" y="3864950"/>
                <a:ext cx="89575" cy="148325"/>
              </a:xfrm>
              <a:custGeom>
                <a:avLst/>
                <a:gdLst/>
                <a:ahLst/>
                <a:cxnLst/>
                <a:rect l="l" t="t" r="r" b="b"/>
                <a:pathLst>
                  <a:path w="3583" h="5933" extrusionOk="0">
                    <a:moveTo>
                      <a:pt x="1" y="0"/>
                    </a:moveTo>
                    <a:lnTo>
                      <a:pt x="448" y="4590"/>
                    </a:lnTo>
                    <a:lnTo>
                      <a:pt x="2799" y="5933"/>
                    </a:lnTo>
                    <a:lnTo>
                      <a:pt x="3583" y="4254"/>
                    </a:lnTo>
                    <a:lnTo>
                      <a:pt x="3583" y="3022"/>
                    </a:lnTo>
                    <a:lnTo>
                      <a:pt x="3471" y="1679"/>
                    </a:lnTo>
                    <a:lnTo>
                      <a:pt x="3359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91" name="Google Shape;2051;p16">
                <a:extLst>
                  <a:ext uri="{FF2B5EF4-FFF2-40B4-BE49-F238E27FC236}">
                    <a16:creationId xmlns:a16="http://schemas.microsoft.com/office/drawing/2014/main" id="{6EE01A13-8AF2-122C-CEFD-A12665946A1A}"/>
                  </a:ext>
                </a:extLst>
              </p:cNvPr>
              <p:cNvSpPr/>
              <p:nvPr/>
            </p:nvSpPr>
            <p:spPr>
              <a:xfrm>
                <a:off x="1352925" y="3957300"/>
                <a:ext cx="249100" cy="95150"/>
              </a:xfrm>
              <a:custGeom>
                <a:avLst/>
                <a:gdLst/>
                <a:ahLst/>
                <a:cxnLst/>
                <a:rect l="l" t="t" r="r" b="b"/>
                <a:pathLst>
                  <a:path w="9964" h="3806" extrusionOk="0">
                    <a:moveTo>
                      <a:pt x="3807" y="0"/>
                    </a:moveTo>
                    <a:lnTo>
                      <a:pt x="2799" y="224"/>
                    </a:lnTo>
                    <a:lnTo>
                      <a:pt x="1792" y="224"/>
                    </a:lnTo>
                    <a:lnTo>
                      <a:pt x="1008" y="336"/>
                    </a:lnTo>
                    <a:lnTo>
                      <a:pt x="448" y="448"/>
                    </a:lnTo>
                    <a:lnTo>
                      <a:pt x="225" y="448"/>
                    </a:lnTo>
                    <a:lnTo>
                      <a:pt x="113" y="672"/>
                    </a:lnTo>
                    <a:lnTo>
                      <a:pt x="1" y="1455"/>
                    </a:lnTo>
                    <a:lnTo>
                      <a:pt x="1" y="2351"/>
                    </a:lnTo>
                    <a:lnTo>
                      <a:pt x="225" y="3358"/>
                    </a:lnTo>
                    <a:lnTo>
                      <a:pt x="337" y="3470"/>
                    </a:lnTo>
                    <a:lnTo>
                      <a:pt x="448" y="3694"/>
                    </a:lnTo>
                    <a:lnTo>
                      <a:pt x="672" y="3806"/>
                    </a:lnTo>
                    <a:lnTo>
                      <a:pt x="896" y="3806"/>
                    </a:lnTo>
                    <a:lnTo>
                      <a:pt x="8844" y="3694"/>
                    </a:lnTo>
                    <a:lnTo>
                      <a:pt x="9404" y="3694"/>
                    </a:lnTo>
                    <a:lnTo>
                      <a:pt x="9739" y="3470"/>
                    </a:lnTo>
                    <a:lnTo>
                      <a:pt x="9963" y="3246"/>
                    </a:lnTo>
                    <a:lnTo>
                      <a:pt x="9963" y="2910"/>
                    </a:lnTo>
                    <a:lnTo>
                      <a:pt x="9963" y="2575"/>
                    </a:lnTo>
                    <a:lnTo>
                      <a:pt x="9851" y="2239"/>
                    </a:lnTo>
                    <a:lnTo>
                      <a:pt x="9739" y="2127"/>
                    </a:lnTo>
                    <a:lnTo>
                      <a:pt x="9627" y="2015"/>
                    </a:lnTo>
                    <a:lnTo>
                      <a:pt x="8508" y="1903"/>
                    </a:lnTo>
                    <a:lnTo>
                      <a:pt x="6829" y="1791"/>
                    </a:lnTo>
                    <a:lnTo>
                      <a:pt x="5822" y="1679"/>
                    </a:lnTo>
                    <a:lnTo>
                      <a:pt x="5038" y="1455"/>
                    </a:lnTo>
                    <a:lnTo>
                      <a:pt x="4478" y="1119"/>
                    </a:lnTo>
                    <a:lnTo>
                      <a:pt x="4254" y="1008"/>
                    </a:lnTo>
                    <a:lnTo>
                      <a:pt x="4142" y="784"/>
                    </a:lnTo>
                    <a:lnTo>
                      <a:pt x="4142" y="224"/>
                    </a:lnTo>
                    <a:lnTo>
                      <a:pt x="403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92" name="Google Shape;2052;p16">
                <a:extLst>
                  <a:ext uri="{FF2B5EF4-FFF2-40B4-BE49-F238E27FC236}">
                    <a16:creationId xmlns:a16="http://schemas.microsoft.com/office/drawing/2014/main" id="{0327B580-0908-D91E-E911-C76CC5A15992}"/>
                  </a:ext>
                </a:extLst>
              </p:cNvPr>
              <p:cNvSpPr/>
              <p:nvPr/>
            </p:nvSpPr>
            <p:spPr>
              <a:xfrm>
                <a:off x="751250" y="3783775"/>
                <a:ext cx="128775" cy="156750"/>
              </a:xfrm>
              <a:custGeom>
                <a:avLst/>
                <a:gdLst/>
                <a:ahLst/>
                <a:cxnLst/>
                <a:rect l="l" t="t" r="r" b="b"/>
                <a:pathLst>
                  <a:path w="5151" h="6270" extrusionOk="0">
                    <a:moveTo>
                      <a:pt x="2352" y="1"/>
                    </a:moveTo>
                    <a:lnTo>
                      <a:pt x="1" y="3919"/>
                    </a:lnTo>
                    <a:lnTo>
                      <a:pt x="1120" y="6269"/>
                    </a:lnTo>
                    <a:lnTo>
                      <a:pt x="2799" y="5374"/>
                    </a:lnTo>
                    <a:lnTo>
                      <a:pt x="3471" y="4478"/>
                    </a:lnTo>
                    <a:lnTo>
                      <a:pt x="4255" y="3247"/>
                    </a:lnTo>
                    <a:lnTo>
                      <a:pt x="5150" y="1792"/>
                    </a:lnTo>
                    <a:lnTo>
                      <a:pt x="2352" y="1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93" name="Google Shape;2053;p16">
                <a:extLst>
                  <a:ext uri="{FF2B5EF4-FFF2-40B4-BE49-F238E27FC236}">
                    <a16:creationId xmlns:a16="http://schemas.microsoft.com/office/drawing/2014/main" id="{D9E12503-25E3-ED30-4E42-A7932CD9E194}"/>
                  </a:ext>
                </a:extLst>
              </p:cNvPr>
              <p:cNvSpPr/>
              <p:nvPr/>
            </p:nvSpPr>
            <p:spPr>
              <a:xfrm>
                <a:off x="709275" y="3870525"/>
                <a:ext cx="215525" cy="193125"/>
              </a:xfrm>
              <a:custGeom>
                <a:avLst/>
                <a:gdLst/>
                <a:ahLst/>
                <a:cxnLst/>
                <a:rect l="l" t="t" r="r" b="b"/>
                <a:pathLst>
                  <a:path w="8621" h="7725" extrusionOk="0">
                    <a:moveTo>
                      <a:pt x="1792" y="1"/>
                    </a:moveTo>
                    <a:lnTo>
                      <a:pt x="1568" y="113"/>
                    </a:lnTo>
                    <a:lnTo>
                      <a:pt x="1008" y="673"/>
                    </a:lnTo>
                    <a:lnTo>
                      <a:pt x="449" y="1344"/>
                    </a:lnTo>
                    <a:lnTo>
                      <a:pt x="113" y="2240"/>
                    </a:lnTo>
                    <a:lnTo>
                      <a:pt x="1" y="2464"/>
                    </a:lnTo>
                    <a:lnTo>
                      <a:pt x="113" y="2688"/>
                    </a:lnTo>
                    <a:lnTo>
                      <a:pt x="113" y="2911"/>
                    </a:lnTo>
                    <a:lnTo>
                      <a:pt x="337" y="3023"/>
                    </a:lnTo>
                    <a:lnTo>
                      <a:pt x="6829" y="7501"/>
                    </a:lnTo>
                    <a:lnTo>
                      <a:pt x="7389" y="7725"/>
                    </a:lnTo>
                    <a:lnTo>
                      <a:pt x="7725" y="7725"/>
                    </a:lnTo>
                    <a:lnTo>
                      <a:pt x="8060" y="7613"/>
                    </a:lnTo>
                    <a:lnTo>
                      <a:pt x="8284" y="7389"/>
                    </a:lnTo>
                    <a:lnTo>
                      <a:pt x="8508" y="7165"/>
                    </a:lnTo>
                    <a:lnTo>
                      <a:pt x="8620" y="6829"/>
                    </a:lnTo>
                    <a:lnTo>
                      <a:pt x="8620" y="6605"/>
                    </a:lnTo>
                    <a:lnTo>
                      <a:pt x="8508" y="6493"/>
                    </a:lnTo>
                    <a:lnTo>
                      <a:pt x="7725" y="5822"/>
                    </a:lnTo>
                    <a:lnTo>
                      <a:pt x="6381" y="4702"/>
                    </a:lnTo>
                    <a:lnTo>
                      <a:pt x="5710" y="4031"/>
                    </a:lnTo>
                    <a:lnTo>
                      <a:pt x="5150" y="3471"/>
                    </a:lnTo>
                    <a:lnTo>
                      <a:pt x="4814" y="2911"/>
                    </a:lnTo>
                    <a:lnTo>
                      <a:pt x="4814" y="2688"/>
                    </a:lnTo>
                    <a:lnTo>
                      <a:pt x="4814" y="2464"/>
                    </a:lnTo>
                    <a:lnTo>
                      <a:pt x="5150" y="1904"/>
                    </a:lnTo>
                    <a:lnTo>
                      <a:pt x="5150" y="1792"/>
                    </a:lnTo>
                    <a:lnTo>
                      <a:pt x="5038" y="1680"/>
                    </a:lnTo>
                    <a:lnTo>
                      <a:pt x="4031" y="1120"/>
                    </a:lnTo>
                    <a:lnTo>
                      <a:pt x="3247" y="673"/>
                    </a:lnTo>
                    <a:lnTo>
                      <a:pt x="2575" y="225"/>
                    </a:lnTo>
                    <a:lnTo>
                      <a:pt x="2016" y="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94" name="Google Shape;2054;p16">
                <a:extLst>
                  <a:ext uri="{FF2B5EF4-FFF2-40B4-BE49-F238E27FC236}">
                    <a16:creationId xmlns:a16="http://schemas.microsoft.com/office/drawing/2014/main" id="{9FC9BBC1-0B60-F648-5B6C-5B90A9E9D049}"/>
                  </a:ext>
                </a:extLst>
              </p:cNvPr>
              <p:cNvSpPr/>
              <p:nvPr/>
            </p:nvSpPr>
            <p:spPr>
              <a:xfrm>
                <a:off x="765250" y="2843500"/>
                <a:ext cx="694050" cy="1102625"/>
              </a:xfrm>
              <a:custGeom>
                <a:avLst/>
                <a:gdLst/>
                <a:ahLst/>
                <a:cxnLst/>
                <a:rect l="l" t="t" r="r" b="b"/>
                <a:pathLst>
                  <a:path w="27762" h="44105" extrusionOk="0">
                    <a:moveTo>
                      <a:pt x="16120" y="0"/>
                    </a:moveTo>
                    <a:lnTo>
                      <a:pt x="4702" y="784"/>
                    </a:lnTo>
                    <a:lnTo>
                      <a:pt x="5262" y="4142"/>
                    </a:lnTo>
                    <a:lnTo>
                      <a:pt x="6605" y="11754"/>
                    </a:lnTo>
                    <a:lnTo>
                      <a:pt x="7388" y="16008"/>
                    </a:lnTo>
                    <a:lnTo>
                      <a:pt x="7948" y="19925"/>
                    </a:lnTo>
                    <a:lnTo>
                      <a:pt x="8284" y="23060"/>
                    </a:lnTo>
                    <a:lnTo>
                      <a:pt x="8396" y="24179"/>
                    </a:lnTo>
                    <a:lnTo>
                      <a:pt x="8396" y="24963"/>
                    </a:lnTo>
                    <a:lnTo>
                      <a:pt x="8172" y="25522"/>
                    </a:lnTo>
                    <a:lnTo>
                      <a:pt x="7948" y="26306"/>
                    </a:lnTo>
                    <a:lnTo>
                      <a:pt x="7053" y="27985"/>
                    </a:lnTo>
                    <a:lnTo>
                      <a:pt x="5821" y="29888"/>
                    </a:lnTo>
                    <a:lnTo>
                      <a:pt x="4478" y="31903"/>
                    </a:lnTo>
                    <a:lnTo>
                      <a:pt x="1792" y="35933"/>
                    </a:lnTo>
                    <a:lnTo>
                      <a:pt x="672" y="37612"/>
                    </a:lnTo>
                    <a:lnTo>
                      <a:pt x="1" y="38955"/>
                    </a:lnTo>
                    <a:lnTo>
                      <a:pt x="1" y="39067"/>
                    </a:lnTo>
                    <a:lnTo>
                      <a:pt x="224" y="39403"/>
                    </a:lnTo>
                    <a:lnTo>
                      <a:pt x="560" y="39851"/>
                    </a:lnTo>
                    <a:lnTo>
                      <a:pt x="1120" y="40298"/>
                    </a:lnTo>
                    <a:lnTo>
                      <a:pt x="1792" y="40746"/>
                    </a:lnTo>
                    <a:lnTo>
                      <a:pt x="2463" y="41194"/>
                    </a:lnTo>
                    <a:lnTo>
                      <a:pt x="3247" y="41530"/>
                    </a:lnTo>
                    <a:lnTo>
                      <a:pt x="4030" y="41642"/>
                    </a:lnTo>
                    <a:lnTo>
                      <a:pt x="5374" y="39739"/>
                    </a:lnTo>
                    <a:lnTo>
                      <a:pt x="8396" y="35149"/>
                    </a:lnTo>
                    <a:lnTo>
                      <a:pt x="10187" y="32463"/>
                    </a:lnTo>
                    <a:lnTo>
                      <a:pt x="11754" y="29776"/>
                    </a:lnTo>
                    <a:lnTo>
                      <a:pt x="13097" y="27313"/>
                    </a:lnTo>
                    <a:lnTo>
                      <a:pt x="13993" y="25410"/>
                    </a:lnTo>
                    <a:lnTo>
                      <a:pt x="14217" y="25075"/>
                    </a:lnTo>
                    <a:lnTo>
                      <a:pt x="14217" y="24515"/>
                    </a:lnTo>
                    <a:lnTo>
                      <a:pt x="14329" y="23172"/>
                    </a:lnTo>
                    <a:lnTo>
                      <a:pt x="14217" y="21605"/>
                    </a:lnTo>
                    <a:lnTo>
                      <a:pt x="13993" y="19702"/>
                    </a:lnTo>
                    <a:lnTo>
                      <a:pt x="13321" y="15336"/>
                    </a:lnTo>
                    <a:lnTo>
                      <a:pt x="12762" y="10970"/>
                    </a:lnTo>
                    <a:lnTo>
                      <a:pt x="15336" y="16231"/>
                    </a:lnTo>
                    <a:lnTo>
                      <a:pt x="17463" y="20597"/>
                    </a:lnTo>
                    <a:lnTo>
                      <a:pt x="19254" y="24291"/>
                    </a:lnTo>
                    <a:lnTo>
                      <a:pt x="19478" y="25187"/>
                    </a:lnTo>
                    <a:lnTo>
                      <a:pt x="19814" y="26194"/>
                    </a:lnTo>
                    <a:lnTo>
                      <a:pt x="20373" y="28881"/>
                    </a:lnTo>
                    <a:lnTo>
                      <a:pt x="20933" y="32015"/>
                    </a:lnTo>
                    <a:lnTo>
                      <a:pt x="21493" y="35261"/>
                    </a:lnTo>
                    <a:lnTo>
                      <a:pt x="22164" y="40970"/>
                    </a:lnTo>
                    <a:lnTo>
                      <a:pt x="22500" y="42873"/>
                    </a:lnTo>
                    <a:lnTo>
                      <a:pt x="22612" y="43769"/>
                    </a:lnTo>
                    <a:lnTo>
                      <a:pt x="22724" y="43880"/>
                    </a:lnTo>
                    <a:lnTo>
                      <a:pt x="22948" y="43992"/>
                    </a:lnTo>
                    <a:lnTo>
                      <a:pt x="23508" y="44104"/>
                    </a:lnTo>
                    <a:lnTo>
                      <a:pt x="25299" y="44104"/>
                    </a:lnTo>
                    <a:lnTo>
                      <a:pt x="26194" y="43992"/>
                    </a:lnTo>
                    <a:lnTo>
                      <a:pt x="26978" y="43769"/>
                    </a:lnTo>
                    <a:lnTo>
                      <a:pt x="27537" y="43545"/>
                    </a:lnTo>
                    <a:lnTo>
                      <a:pt x="27761" y="43433"/>
                    </a:lnTo>
                    <a:lnTo>
                      <a:pt x="27761" y="43321"/>
                    </a:lnTo>
                    <a:lnTo>
                      <a:pt x="27761" y="42313"/>
                    </a:lnTo>
                    <a:lnTo>
                      <a:pt x="27426" y="40298"/>
                    </a:lnTo>
                    <a:lnTo>
                      <a:pt x="26418" y="34366"/>
                    </a:lnTo>
                    <a:lnTo>
                      <a:pt x="24515" y="23955"/>
                    </a:lnTo>
                    <a:lnTo>
                      <a:pt x="23844" y="20037"/>
                    </a:lnTo>
                    <a:lnTo>
                      <a:pt x="22388" y="13657"/>
                    </a:lnTo>
                    <a:lnTo>
                      <a:pt x="20597" y="6829"/>
                    </a:lnTo>
                    <a:lnTo>
                      <a:pt x="19702" y="3918"/>
                    </a:lnTo>
                    <a:lnTo>
                      <a:pt x="18918" y="1567"/>
                    </a:lnTo>
                    <a:lnTo>
                      <a:pt x="16120" y="0"/>
                    </a:lnTo>
                    <a:close/>
                  </a:path>
                </a:pathLst>
              </a:custGeom>
              <a:solidFill>
                <a:srgbClr val="2D2D2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95" name="Google Shape;2055;p16">
                <a:extLst>
                  <a:ext uri="{FF2B5EF4-FFF2-40B4-BE49-F238E27FC236}">
                    <a16:creationId xmlns:a16="http://schemas.microsoft.com/office/drawing/2014/main" id="{8E15F74C-0BDB-42BB-FF60-6751C82FA833}"/>
                  </a:ext>
                </a:extLst>
              </p:cNvPr>
              <p:cNvSpPr/>
              <p:nvPr/>
            </p:nvSpPr>
            <p:spPr>
              <a:xfrm>
                <a:off x="765250" y="2843500"/>
                <a:ext cx="694050" cy="1102625"/>
              </a:xfrm>
              <a:custGeom>
                <a:avLst/>
                <a:gdLst/>
                <a:ahLst/>
                <a:cxnLst/>
                <a:rect l="l" t="t" r="r" b="b"/>
                <a:pathLst>
                  <a:path w="27762" h="44105" fill="none" extrusionOk="0">
                    <a:moveTo>
                      <a:pt x="18918" y="1567"/>
                    </a:moveTo>
                    <a:lnTo>
                      <a:pt x="18918" y="1567"/>
                    </a:lnTo>
                    <a:lnTo>
                      <a:pt x="19702" y="3918"/>
                    </a:lnTo>
                    <a:lnTo>
                      <a:pt x="20597" y="6829"/>
                    </a:lnTo>
                    <a:lnTo>
                      <a:pt x="22388" y="13657"/>
                    </a:lnTo>
                    <a:lnTo>
                      <a:pt x="23844" y="20037"/>
                    </a:lnTo>
                    <a:lnTo>
                      <a:pt x="24515" y="23955"/>
                    </a:lnTo>
                    <a:lnTo>
                      <a:pt x="24515" y="23955"/>
                    </a:lnTo>
                    <a:lnTo>
                      <a:pt x="26418" y="34366"/>
                    </a:lnTo>
                    <a:lnTo>
                      <a:pt x="27426" y="40298"/>
                    </a:lnTo>
                    <a:lnTo>
                      <a:pt x="27761" y="42313"/>
                    </a:lnTo>
                    <a:lnTo>
                      <a:pt x="27761" y="43321"/>
                    </a:lnTo>
                    <a:lnTo>
                      <a:pt x="27761" y="43321"/>
                    </a:lnTo>
                    <a:lnTo>
                      <a:pt x="27761" y="43433"/>
                    </a:lnTo>
                    <a:lnTo>
                      <a:pt x="27537" y="43545"/>
                    </a:lnTo>
                    <a:lnTo>
                      <a:pt x="26978" y="43769"/>
                    </a:lnTo>
                    <a:lnTo>
                      <a:pt x="26194" y="43992"/>
                    </a:lnTo>
                    <a:lnTo>
                      <a:pt x="25299" y="44104"/>
                    </a:lnTo>
                    <a:lnTo>
                      <a:pt x="24403" y="44104"/>
                    </a:lnTo>
                    <a:lnTo>
                      <a:pt x="23508" y="44104"/>
                    </a:lnTo>
                    <a:lnTo>
                      <a:pt x="22948" y="43992"/>
                    </a:lnTo>
                    <a:lnTo>
                      <a:pt x="22724" y="43880"/>
                    </a:lnTo>
                    <a:lnTo>
                      <a:pt x="22612" y="43769"/>
                    </a:lnTo>
                    <a:lnTo>
                      <a:pt x="22612" y="43769"/>
                    </a:lnTo>
                    <a:lnTo>
                      <a:pt x="22500" y="42873"/>
                    </a:lnTo>
                    <a:lnTo>
                      <a:pt x="22164" y="40970"/>
                    </a:lnTo>
                    <a:lnTo>
                      <a:pt x="21493" y="35261"/>
                    </a:lnTo>
                    <a:lnTo>
                      <a:pt x="20933" y="32015"/>
                    </a:lnTo>
                    <a:lnTo>
                      <a:pt x="20373" y="28881"/>
                    </a:lnTo>
                    <a:lnTo>
                      <a:pt x="19814" y="26194"/>
                    </a:lnTo>
                    <a:lnTo>
                      <a:pt x="19478" y="25187"/>
                    </a:lnTo>
                    <a:lnTo>
                      <a:pt x="19254" y="24291"/>
                    </a:lnTo>
                    <a:lnTo>
                      <a:pt x="19254" y="24291"/>
                    </a:lnTo>
                    <a:lnTo>
                      <a:pt x="17463" y="20597"/>
                    </a:lnTo>
                    <a:lnTo>
                      <a:pt x="15336" y="16231"/>
                    </a:lnTo>
                    <a:lnTo>
                      <a:pt x="12762" y="10970"/>
                    </a:lnTo>
                    <a:lnTo>
                      <a:pt x="12762" y="10970"/>
                    </a:lnTo>
                    <a:lnTo>
                      <a:pt x="13321" y="15336"/>
                    </a:lnTo>
                    <a:lnTo>
                      <a:pt x="13993" y="19702"/>
                    </a:lnTo>
                    <a:lnTo>
                      <a:pt x="14217" y="21605"/>
                    </a:lnTo>
                    <a:lnTo>
                      <a:pt x="14329" y="23172"/>
                    </a:lnTo>
                    <a:lnTo>
                      <a:pt x="14217" y="24515"/>
                    </a:lnTo>
                    <a:lnTo>
                      <a:pt x="14217" y="25075"/>
                    </a:lnTo>
                    <a:lnTo>
                      <a:pt x="13993" y="25410"/>
                    </a:lnTo>
                    <a:lnTo>
                      <a:pt x="13993" y="25410"/>
                    </a:lnTo>
                    <a:lnTo>
                      <a:pt x="13097" y="27313"/>
                    </a:lnTo>
                    <a:lnTo>
                      <a:pt x="11754" y="29776"/>
                    </a:lnTo>
                    <a:lnTo>
                      <a:pt x="10187" y="32463"/>
                    </a:lnTo>
                    <a:lnTo>
                      <a:pt x="8396" y="35149"/>
                    </a:lnTo>
                    <a:lnTo>
                      <a:pt x="5374" y="39739"/>
                    </a:lnTo>
                    <a:lnTo>
                      <a:pt x="4030" y="41642"/>
                    </a:lnTo>
                    <a:lnTo>
                      <a:pt x="4030" y="41642"/>
                    </a:lnTo>
                    <a:lnTo>
                      <a:pt x="3247" y="41530"/>
                    </a:lnTo>
                    <a:lnTo>
                      <a:pt x="2463" y="41194"/>
                    </a:lnTo>
                    <a:lnTo>
                      <a:pt x="1792" y="40746"/>
                    </a:lnTo>
                    <a:lnTo>
                      <a:pt x="1120" y="40298"/>
                    </a:lnTo>
                    <a:lnTo>
                      <a:pt x="560" y="39851"/>
                    </a:lnTo>
                    <a:lnTo>
                      <a:pt x="224" y="39403"/>
                    </a:lnTo>
                    <a:lnTo>
                      <a:pt x="1" y="39067"/>
                    </a:lnTo>
                    <a:lnTo>
                      <a:pt x="1" y="38955"/>
                    </a:lnTo>
                    <a:lnTo>
                      <a:pt x="1" y="38955"/>
                    </a:lnTo>
                    <a:lnTo>
                      <a:pt x="672" y="37612"/>
                    </a:lnTo>
                    <a:lnTo>
                      <a:pt x="1792" y="35933"/>
                    </a:lnTo>
                    <a:lnTo>
                      <a:pt x="4478" y="31903"/>
                    </a:lnTo>
                    <a:lnTo>
                      <a:pt x="5821" y="29888"/>
                    </a:lnTo>
                    <a:lnTo>
                      <a:pt x="7053" y="27985"/>
                    </a:lnTo>
                    <a:lnTo>
                      <a:pt x="7948" y="26306"/>
                    </a:lnTo>
                    <a:lnTo>
                      <a:pt x="8172" y="25522"/>
                    </a:lnTo>
                    <a:lnTo>
                      <a:pt x="8396" y="24963"/>
                    </a:lnTo>
                    <a:lnTo>
                      <a:pt x="8396" y="24963"/>
                    </a:lnTo>
                    <a:lnTo>
                      <a:pt x="8396" y="24179"/>
                    </a:lnTo>
                    <a:lnTo>
                      <a:pt x="8284" y="23060"/>
                    </a:lnTo>
                    <a:lnTo>
                      <a:pt x="7948" y="19925"/>
                    </a:lnTo>
                    <a:lnTo>
                      <a:pt x="7388" y="16008"/>
                    </a:lnTo>
                    <a:lnTo>
                      <a:pt x="6605" y="11754"/>
                    </a:lnTo>
                    <a:lnTo>
                      <a:pt x="5262" y="4142"/>
                    </a:lnTo>
                    <a:lnTo>
                      <a:pt x="4702" y="784"/>
                    </a:lnTo>
                    <a:lnTo>
                      <a:pt x="16120" y="0"/>
                    </a:lnTo>
                    <a:lnTo>
                      <a:pt x="18918" y="1567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96" name="Google Shape;2056;p16">
                <a:extLst>
                  <a:ext uri="{FF2B5EF4-FFF2-40B4-BE49-F238E27FC236}">
                    <a16:creationId xmlns:a16="http://schemas.microsoft.com/office/drawing/2014/main" id="{B17AB301-00AF-A0F1-9C52-15AC8B2C7A03}"/>
                  </a:ext>
                </a:extLst>
              </p:cNvPr>
              <p:cNvSpPr/>
              <p:nvPr/>
            </p:nvSpPr>
            <p:spPr>
              <a:xfrm>
                <a:off x="1047900" y="3031000"/>
                <a:ext cx="53200" cy="218300"/>
              </a:xfrm>
              <a:custGeom>
                <a:avLst/>
                <a:gdLst/>
                <a:ahLst/>
                <a:cxnLst/>
                <a:rect l="l" t="t" r="r" b="b"/>
                <a:pathLst>
                  <a:path w="2128" h="8732" extrusionOk="0">
                    <a:moveTo>
                      <a:pt x="0" y="0"/>
                    </a:moveTo>
                    <a:lnTo>
                      <a:pt x="2127" y="8731"/>
                    </a:lnTo>
                    <a:lnTo>
                      <a:pt x="1791" y="5933"/>
                    </a:lnTo>
                    <a:lnTo>
                      <a:pt x="1456" y="3470"/>
                    </a:lnTo>
                    <a:lnTo>
                      <a:pt x="784" y="2127"/>
                    </a:lnTo>
                    <a:lnTo>
                      <a:pt x="336" y="100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6171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97" name="Google Shape;2057;p16">
                <a:extLst>
                  <a:ext uri="{FF2B5EF4-FFF2-40B4-BE49-F238E27FC236}">
                    <a16:creationId xmlns:a16="http://schemas.microsoft.com/office/drawing/2014/main" id="{89BF72E5-0974-F0C8-B813-75BE618B27AC}"/>
                  </a:ext>
                </a:extLst>
              </p:cNvPr>
              <p:cNvSpPr/>
              <p:nvPr/>
            </p:nvSpPr>
            <p:spPr>
              <a:xfrm>
                <a:off x="1047900" y="3031000"/>
                <a:ext cx="53200" cy="218300"/>
              </a:xfrm>
              <a:custGeom>
                <a:avLst/>
                <a:gdLst/>
                <a:ahLst/>
                <a:cxnLst/>
                <a:rect l="l" t="t" r="r" b="b"/>
                <a:pathLst>
                  <a:path w="2128" h="8732" fill="none" extrusionOk="0">
                    <a:moveTo>
                      <a:pt x="0" y="0"/>
                    </a:moveTo>
                    <a:lnTo>
                      <a:pt x="2127" y="8731"/>
                    </a:lnTo>
                    <a:lnTo>
                      <a:pt x="2127" y="8731"/>
                    </a:lnTo>
                    <a:lnTo>
                      <a:pt x="1791" y="5933"/>
                    </a:lnTo>
                    <a:lnTo>
                      <a:pt x="1456" y="3470"/>
                    </a:lnTo>
                    <a:lnTo>
                      <a:pt x="1456" y="3470"/>
                    </a:lnTo>
                    <a:lnTo>
                      <a:pt x="784" y="2127"/>
                    </a:lnTo>
                    <a:lnTo>
                      <a:pt x="336" y="1008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98" name="Google Shape;2058;p16">
                <a:extLst>
                  <a:ext uri="{FF2B5EF4-FFF2-40B4-BE49-F238E27FC236}">
                    <a16:creationId xmlns:a16="http://schemas.microsoft.com/office/drawing/2014/main" id="{5B797D73-825D-5F29-5EC4-B765D0FDA396}"/>
                  </a:ext>
                </a:extLst>
              </p:cNvPr>
              <p:cNvSpPr/>
              <p:nvPr/>
            </p:nvSpPr>
            <p:spPr>
              <a:xfrm>
                <a:off x="983525" y="2208250"/>
                <a:ext cx="151150" cy="235100"/>
              </a:xfrm>
              <a:custGeom>
                <a:avLst/>
                <a:gdLst/>
                <a:ahLst/>
                <a:cxnLst/>
                <a:rect l="l" t="t" r="r" b="b"/>
                <a:pathLst>
                  <a:path w="6046" h="9404" extrusionOk="0">
                    <a:moveTo>
                      <a:pt x="2687" y="0"/>
                    </a:moveTo>
                    <a:lnTo>
                      <a:pt x="2016" y="112"/>
                    </a:lnTo>
                    <a:lnTo>
                      <a:pt x="1456" y="224"/>
                    </a:lnTo>
                    <a:lnTo>
                      <a:pt x="896" y="448"/>
                    </a:lnTo>
                    <a:lnTo>
                      <a:pt x="449" y="784"/>
                    </a:lnTo>
                    <a:lnTo>
                      <a:pt x="113" y="1231"/>
                    </a:lnTo>
                    <a:lnTo>
                      <a:pt x="1" y="1567"/>
                    </a:lnTo>
                    <a:lnTo>
                      <a:pt x="1" y="1903"/>
                    </a:lnTo>
                    <a:lnTo>
                      <a:pt x="225" y="2911"/>
                    </a:lnTo>
                    <a:lnTo>
                      <a:pt x="672" y="3918"/>
                    </a:lnTo>
                    <a:lnTo>
                      <a:pt x="1120" y="5149"/>
                    </a:lnTo>
                    <a:lnTo>
                      <a:pt x="2240" y="7500"/>
                    </a:lnTo>
                    <a:lnTo>
                      <a:pt x="2575" y="8508"/>
                    </a:lnTo>
                    <a:lnTo>
                      <a:pt x="2687" y="9403"/>
                    </a:lnTo>
                    <a:lnTo>
                      <a:pt x="5486" y="8619"/>
                    </a:lnTo>
                    <a:lnTo>
                      <a:pt x="5150" y="6605"/>
                    </a:lnTo>
                    <a:lnTo>
                      <a:pt x="4478" y="5261"/>
                    </a:lnTo>
                    <a:lnTo>
                      <a:pt x="5150" y="5373"/>
                    </a:lnTo>
                    <a:lnTo>
                      <a:pt x="5598" y="5373"/>
                    </a:lnTo>
                    <a:lnTo>
                      <a:pt x="5934" y="5149"/>
                    </a:lnTo>
                    <a:lnTo>
                      <a:pt x="6045" y="4925"/>
                    </a:lnTo>
                    <a:lnTo>
                      <a:pt x="6045" y="4590"/>
                    </a:lnTo>
                    <a:lnTo>
                      <a:pt x="5934" y="4254"/>
                    </a:lnTo>
                    <a:lnTo>
                      <a:pt x="5598" y="3246"/>
                    </a:lnTo>
                    <a:lnTo>
                      <a:pt x="5262" y="2687"/>
                    </a:lnTo>
                    <a:lnTo>
                      <a:pt x="5374" y="2575"/>
                    </a:lnTo>
                    <a:lnTo>
                      <a:pt x="5486" y="2463"/>
                    </a:lnTo>
                    <a:lnTo>
                      <a:pt x="5038" y="1903"/>
                    </a:lnTo>
                    <a:lnTo>
                      <a:pt x="4590" y="1343"/>
                    </a:lnTo>
                    <a:lnTo>
                      <a:pt x="3807" y="336"/>
                    </a:lnTo>
                    <a:lnTo>
                      <a:pt x="3583" y="112"/>
                    </a:lnTo>
                    <a:lnTo>
                      <a:pt x="3247" y="0"/>
                    </a:lnTo>
                    <a:close/>
                  </a:path>
                </a:pathLst>
              </a:custGeom>
              <a:solidFill>
                <a:srgbClr val="EFAEA7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99" name="Google Shape;2059;p16">
                <a:extLst>
                  <a:ext uri="{FF2B5EF4-FFF2-40B4-BE49-F238E27FC236}">
                    <a16:creationId xmlns:a16="http://schemas.microsoft.com/office/drawing/2014/main" id="{D5F5FFBE-404A-0917-6A53-DAA6C322A50F}"/>
                  </a:ext>
                </a:extLst>
              </p:cNvPr>
              <p:cNvSpPr/>
              <p:nvPr/>
            </p:nvSpPr>
            <p:spPr>
              <a:xfrm>
                <a:off x="983525" y="2208250"/>
                <a:ext cx="151150" cy="235100"/>
              </a:xfrm>
              <a:custGeom>
                <a:avLst/>
                <a:gdLst/>
                <a:ahLst/>
                <a:cxnLst/>
                <a:rect l="l" t="t" r="r" b="b"/>
                <a:pathLst>
                  <a:path w="6046" h="9404" fill="none" extrusionOk="0">
                    <a:moveTo>
                      <a:pt x="3807" y="336"/>
                    </a:moveTo>
                    <a:lnTo>
                      <a:pt x="3807" y="336"/>
                    </a:lnTo>
                    <a:lnTo>
                      <a:pt x="4590" y="1343"/>
                    </a:lnTo>
                    <a:lnTo>
                      <a:pt x="5038" y="1903"/>
                    </a:lnTo>
                    <a:lnTo>
                      <a:pt x="5486" y="2463"/>
                    </a:lnTo>
                    <a:lnTo>
                      <a:pt x="5486" y="2463"/>
                    </a:lnTo>
                    <a:lnTo>
                      <a:pt x="5374" y="2575"/>
                    </a:lnTo>
                    <a:lnTo>
                      <a:pt x="5262" y="2687"/>
                    </a:lnTo>
                    <a:lnTo>
                      <a:pt x="5598" y="3246"/>
                    </a:lnTo>
                    <a:lnTo>
                      <a:pt x="5598" y="3246"/>
                    </a:lnTo>
                    <a:lnTo>
                      <a:pt x="5934" y="4254"/>
                    </a:lnTo>
                    <a:lnTo>
                      <a:pt x="6045" y="4590"/>
                    </a:lnTo>
                    <a:lnTo>
                      <a:pt x="6045" y="4925"/>
                    </a:lnTo>
                    <a:lnTo>
                      <a:pt x="5934" y="5149"/>
                    </a:lnTo>
                    <a:lnTo>
                      <a:pt x="5598" y="5373"/>
                    </a:lnTo>
                    <a:lnTo>
                      <a:pt x="5150" y="5373"/>
                    </a:lnTo>
                    <a:lnTo>
                      <a:pt x="4478" y="5261"/>
                    </a:lnTo>
                    <a:lnTo>
                      <a:pt x="4478" y="5261"/>
                    </a:lnTo>
                    <a:lnTo>
                      <a:pt x="5150" y="6605"/>
                    </a:lnTo>
                    <a:lnTo>
                      <a:pt x="5486" y="8619"/>
                    </a:lnTo>
                    <a:lnTo>
                      <a:pt x="2687" y="9403"/>
                    </a:lnTo>
                    <a:lnTo>
                      <a:pt x="2687" y="9403"/>
                    </a:lnTo>
                    <a:lnTo>
                      <a:pt x="2575" y="8508"/>
                    </a:lnTo>
                    <a:lnTo>
                      <a:pt x="2240" y="7500"/>
                    </a:lnTo>
                    <a:lnTo>
                      <a:pt x="1120" y="5149"/>
                    </a:lnTo>
                    <a:lnTo>
                      <a:pt x="672" y="3918"/>
                    </a:lnTo>
                    <a:lnTo>
                      <a:pt x="225" y="2911"/>
                    </a:lnTo>
                    <a:lnTo>
                      <a:pt x="1" y="1903"/>
                    </a:lnTo>
                    <a:lnTo>
                      <a:pt x="1" y="1567"/>
                    </a:lnTo>
                    <a:lnTo>
                      <a:pt x="113" y="1231"/>
                    </a:lnTo>
                    <a:lnTo>
                      <a:pt x="113" y="1231"/>
                    </a:lnTo>
                    <a:lnTo>
                      <a:pt x="449" y="784"/>
                    </a:lnTo>
                    <a:lnTo>
                      <a:pt x="896" y="448"/>
                    </a:lnTo>
                    <a:lnTo>
                      <a:pt x="1456" y="224"/>
                    </a:lnTo>
                    <a:lnTo>
                      <a:pt x="2016" y="112"/>
                    </a:lnTo>
                    <a:lnTo>
                      <a:pt x="2687" y="0"/>
                    </a:lnTo>
                    <a:lnTo>
                      <a:pt x="3247" y="0"/>
                    </a:lnTo>
                    <a:lnTo>
                      <a:pt x="3583" y="112"/>
                    </a:lnTo>
                    <a:lnTo>
                      <a:pt x="3807" y="336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00" name="Google Shape;2060;p16">
                <a:extLst>
                  <a:ext uri="{FF2B5EF4-FFF2-40B4-BE49-F238E27FC236}">
                    <a16:creationId xmlns:a16="http://schemas.microsoft.com/office/drawing/2014/main" id="{88070A19-3EB2-BE69-9764-A62B5711C6C0}"/>
                  </a:ext>
                </a:extLst>
              </p:cNvPr>
              <p:cNvSpPr/>
              <p:nvPr/>
            </p:nvSpPr>
            <p:spPr>
              <a:xfrm>
                <a:off x="958350" y="2166275"/>
                <a:ext cx="131550" cy="198700"/>
              </a:xfrm>
              <a:custGeom>
                <a:avLst/>
                <a:gdLst/>
                <a:ahLst/>
                <a:cxnLst/>
                <a:rect l="l" t="t" r="r" b="b"/>
                <a:pathLst>
                  <a:path w="5262" h="7948" extrusionOk="0">
                    <a:moveTo>
                      <a:pt x="4030" y="0"/>
                    </a:moveTo>
                    <a:lnTo>
                      <a:pt x="3582" y="112"/>
                    </a:lnTo>
                    <a:lnTo>
                      <a:pt x="3358" y="224"/>
                    </a:lnTo>
                    <a:lnTo>
                      <a:pt x="3247" y="336"/>
                    </a:lnTo>
                    <a:lnTo>
                      <a:pt x="2911" y="1007"/>
                    </a:lnTo>
                    <a:lnTo>
                      <a:pt x="2799" y="1119"/>
                    </a:lnTo>
                    <a:lnTo>
                      <a:pt x="2687" y="1119"/>
                    </a:lnTo>
                    <a:lnTo>
                      <a:pt x="2239" y="1007"/>
                    </a:lnTo>
                    <a:lnTo>
                      <a:pt x="1567" y="896"/>
                    </a:lnTo>
                    <a:lnTo>
                      <a:pt x="1232" y="896"/>
                    </a:lnTo>
                    <a:lnTo>
                      <a:pt x="1008" y="1007"/>
                    </a:lnTo>
                    <a:lnTo>
                      <a:pt x="784" y="1119"/>
                    </a:lnTo>
                    <a:lnTo>
                      <a:pt x="672" y="1343"/>
                    </a:lnTo>
                    <a:lnTo>
                      <a:pt x="560" y="1679"/>
                    </a:lnTo>
                    <a:lnTo>
                      <a:pt x="560" y="2015"/>
                    </a:lnTo>
                    <a:lnTo>
                      <a:pt x="560" y="2463"/>
                    </a:lnTo>
                    <a:lnTo>
                      <a:pt x="560" y="2687"/>
                    </a:lnTo>
                    <a:lnTo>
                      <a:pt x="336" y="2910"/>
                    </a:lnTo>
                    <a:lnTo>
                      <a:pt x="112" y="3134"/>
                    </a:lnTo>
                    <a:lnTo>
                      <a:pt x="0" y="3358"/>
                    </a:lnTo>
                    <a:lnTo>
                      <a:pt x="0" y="3694"/>
                    </a:lnTo>
                    <a:lnTo>
                      <a:pt x="112" y="4366"/>
                    </a:lnTo>
                    <a:lnTo>
                      <a:pt x="224" y="4813"/>
                    </a:lnTo>
                    <a:lnTo>
                      <a:pt x="448" y="5149"/>
                    </a:lnTo>
                    <a:lnTo>
                      <a:pt x="672" y="5373"/>
                    </a:lnTo>
                    <a:lnTo>
                      <a:pt x="1232" y="5709"/>
                    </a:lnTo>
                    <a:lnTo>
                      <a:pt x="1344" y="5933"/>
                    </a:lnTo>
                    <a:lnTo>
                      <a:pt x="1567" y="6269"/>
                    </a:lnTo>
                    <a:lnTo>
                      <a:pt x="1903" y="7052"/>
                    </a:lnTo>
                    <a:lnTo>
                      <a:pt x="2351" y="7612"/>
                    </a:lnTo>
                    <a:lnTo>
                      <a:pt x="2687" y="7836"/>
                    </a:lnTo>
                    <a:lnTo>
                      <a:pt x="2911" y="7948"/>
                    </a:lnTo>
                    <a:lnTo>
                      <a:pt x="3470" y="7948"/>
                    </a:lnTo>
                    <a:lnTo>
                      <a:pt x="3694" y="7724"/>
                    </a:lnTo>
                    <a:lnTo>
                      <a:pt x="3918" y="7500"/>
                    </a:lnTo>
                    <a:lnTo>
                      <a:pt x="4142" y="6828"/>
                    </a:lnTo>
                    <a:lnTo>
                      <a:pt x="4142" y="6157"/>
                    </a:lnTo>
                    <a:lnTo>
                      <a:pt x="4030" y="5597"/>
                    </a:lnTo>
                    <a:lnTo>
                      <a:pt x="3694" y="5485"/>
                    </a:lnTo>
                    <a:lnTo>
                      <a:pt x="3470" y="5261"/>
                    </a:lnTo>
                    <a:lnTo>
                      <a:pt x="3358" y="5037"/>
                    </a:lnTo>
                    <a:lnTo>
                      <a:pt x="3358" y="4813"/>
                    </a:lnTo>
                    <a:lnTo>
                      <a:pt x="3470" y="4590"/>
                    </a:lnTo>
                    <a:lnTo>
                      <a:pt x="3582" y="4478"/>
                    </a:lnTo>
                    <a:lnTo>
                      <a:pt x="4142" y="4478"/>
                    </a:lnTo>
                    <a:lnTo>
                      <a:pt x="4478" y="4366"/>
                    </a:lnTo>
                    <a:lnTo>
                      <a:pt x="4590" y="4142"/>
                    </a:lnTo>
                    <a:lnTo>
                      <a:pt x="4590" y="3918"/>
                    </a:lnTo>
                    <a:lnTo>
                      <a:pt x="4366" y="3582"/>
                    </a:lnTo>
                    <a:lnTo>
                      <a:pt x="4366" y="3358"/>
                    </a:lnTo>
                    <a:lnTo>
                      <a:pt x="4478" y="3134"/>
                    </a:lnTo>
                    <a:lnTo>
                      <a:pt x="4702" y="2910"/>
                    </a:lnTo>
                    <a:lnTo>
                      <a:pt x="4926" y="2575"/>
                    </a:lnTo>
                    <a:lnTo>
                      <a:pt x="5149" y="2127"/>
                    </a:lnTo>
                    <a:lnTo>
                      <a:pt x="5261" y="1679"/>
                    </a:lnTo>
                    <a:lnTo>
                      <a:pt x="5261" y="1343"/>
                    </a:lnTo>
                    <a:lnTo>
                      <a:pt x="5149" y="1231"/>
                    </a:lnTo>
                    <a:lnTo>
                      <a:pt x="4926" y="1007"/>
                    </a:lnTo>
                    <a:lnTo>
                      <a:pt x="4926" y="784"/>
                    </a:lnTo>
                    <a:lnTo>
                      <a:pt x="4926" y="560"/>
                    </a:lnTo>
                    <a:lnTo>
                      <a:pt x="4702" y="336"/>
                    </a:lnTo>
                    <a:lnTo>
                      <a:pt x="4366" y="112"/>
                    </a:lnTo>
                    <a:lnTo>
                      <a:pt x="4030" y="0"/>
                    </a:lnTo>
                    <a:close/>
                  </a:path>
                </a:pathLst>
              </a:custGeom>
              <a:solidFill>
                <a:srgbClr val="2D2D2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01" name="Google Shape;2061;p16">
                <a:extLst>
                  <a:ext uri="{FF2B5EF4-FFF2-40B4-BE49-F238E27FC236}">
                    <a16:creationId xmlns:a16="http://schemas.microsoft.com/office/drawing/2014/main" id="{79749583-43DD-C123-9CB9-D471D22A329F}"/>
                  </a:ext>
                </a:extLst>
              </p:cNvPr>
              <p:cNvSpPr/>
              <p:nvPr/>
            </p:nvSpPr>
            <p:spPr>
              <a:xfrm>
                <a:off x="1067475" y="2334175"/>
                <a:ext cx="44800" cy="50400"/>
              </a:xfrm>
              <a:custGeom>
                <a:avLst/>
                <a:gdLst/>
                <a:ahLst/>
                <a:cxnLst/>
                <a:rect l="l" t="t" r="r" b="b"/>
                <a:pathLst>
                  <a:path w="1792" h="2016" extrusionOk="0">
                    <a:moveTo>
                      <a:pt x="561" y="0"/>
                    </a:moveTo>
                    <a:lnTo>
                      <a:pt x="337" y="112"/>
                    </a:lnTo>
                    <a:lnTo>
                      <a:pt x="225" y="224"/>
                    </a:lnTo>
                    <a:lnTo>
                      <a:pt x="1" y="672"/>
                    </a:lnTo>
                    <a:lnTo>
                      <a:pt x="1" y="1120"/>
                    </a:lnTo>
                    <a:lnTo>
                      <a:pt x="113" y="1344"/>
                    </a:lnTo>
                    <a:lnTo>
                      <a:pt x="337" y="1456"/>
                    </a:lnTo>
                    <a:lnTo>
                      <a:pt x="896" y="1791"/>
                    </a:lnTo>
                    <a:lnTo>
                      <a:pt x="1456" y="2015"/>
                    </a:lnTo>
                    <a:lnTo>
                      <a:pt x="1792" y="2015"/>
                    </a:lnTo>
                    <a:lnTo>
                      <a:pt x="1792" y="1568"/>
                    </a:lnTo>
                    <a:lnTo>
                      <a:pt x="1680" y="1232"/>
                    </a:lnTo>
                    <a:lnTo>
                      <a:pt x="1120" y="224"/>
                    </a:lnTo>
                    <a:lnTo>
                      <a:pt x="784" y="112"/>
                    </a:lnTo>
                    <a:lnTo>
                      <a:pt x="561" y="0"/>
                    </a:lnTo>
                    <a:close/>
                  </a:path>
                </a:pathLst>
              </a:custGeom>
              <a:solidFill>
                <a:srgbClr val="C08C8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02" name="Google Shape;2062;p16">
                <a:extLst>
                  <a:ext uri="{FF2B5EF4-FFF2-40B4-BE49-F238E27FC236}">
                    <a16:creationId xmlns:a16="http://schemas.microsoft.com/office/drawing/2014/main" id="{3A31316B-7B14-4EB4-4C0D-B06EC5F9D4DF}"/>
                  </a:ext>
                </a:extLst>
              </p:cNvPr>
              <p:cNvSpPr/>
              <p:nvPr/>
            </p:nvSpPr>
            <p:spPr>
              <a:xfrm>
                <a:off x="1067475" y="2334175"/>
                <a:ext cx="44800" cy="50400"/>
              </a:xfrm>
              <a:custGeom>
                <a:avLst/>
                <a:gdLst/>
                <a:ahLst/>
                <a:cxnLst/>
                <a:rect l="l" t="t" r="r" b="b"/>
                <a:pathLst>
                  <a:path w="1792" h="2016" fill="none" extrusionOk="0">
                    <a:moveTo>
                      <a:pt x="561" y="0"/>
                    </a:moveTo>
                    <a:lnTo>
                      <a:pt x="561" y="0"/>
                    </a:lnTo>
                    <a:lnTo>
                      <a:pt x="337" y="112"/>
                    </a:lnTo>
                    <a:lnTo>
                      <a:pt x="225" y="224"/>
                    </a:lnTo>
                    <a:lnTo>
                      <a:pt x="225" y="224"/>
                    </a:lnTo>
                    <a:lnTo>
                      <a:pt x="1" y="672"/>
                    </a:lnTo>
                    <a:lnTo>
                      <a:pt x="1" y="1120"/>
                    </a:lnTo>
                    <a:lnTo>
                      <a:pt x="113" y="1344"/>
                    </a:lnTo>
                    <a:lnTo>
                      <a:pt x="337" y="1456"/>
                    </a:lnTo>
                    <a:lnTo>
                      <a:pt x="896" y="1791"/>
                    </a:lnTo>
                    <a:lnTo>
                      <a:pt x="1456" y="2015"/>
                    </a:lnTo>
                    <a:lnTo>
                      <a:pt x="1456" y="2015"/>
                    </a:lnTo>
                    <a:lnTo>
                      <a:pt x="1792" y="2015"/>
                    </a:lnTo>
                    <a:lnTo>
                      <a:pt x="1792" y="2015"/>
                    </a:lnTo>
                    <a:lnTo>
                      <a:pt x="1792" y="1568"/>
                    </a:lnTo>
                    <a:lnTo>
                      <a:pt x="1680" y="1232"/>
                    </a:lnTo>
                    <a:lnTo>
                      <a:pt x="1120" y="224"/>
                    </a:lnTo>
                    <a:lnTo>
                      <a:pt x="1120" y="224"/>
                    </a:lnTo>
                    <a:lnTo>
                      <a:pt x="1120" y="224"/>
                    </a:lnTo>
                    <a:lnTo>
                      <a:pt x="1120" y="224"/>
                    </a:lnTo>
                    <a:lnTo>
                      <a:pt x="784" y="112"/>
                    </a:lnTo>
                    <a:lnTo>
                      <a:pt x="56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03" name="Google Shape;2063;p16">
                <a:extLst>
                  <a:ext uri="{FF2B5EF4-FFF2-40B4-BE49-F238E27FC236}">
                    <a16:creationId xmlns:a16="http://schemas.microsoft.com/office/drawing/2014/main" id="{3F022528-CFA1-A6F1-787D-AC4FCF8371F6}"/>
                  </a:ext>
                </a:extLst>
              </p:cNvPr>
              <p:cNvSpPr/>
              <p:nvPr/>
            </p:nvSpPr>
            <p:spPr>
              <a:xfrm>
                <a:off x="868800" y="2297800"/>
                <a:ext cx="828375" cy="640875"/>
              </a:xfrm>
              <a:custGeom>
                <a:avLst/>
                <a:gdLst/>
                <a:ahLst/>
                <a:cxnLst/>
                <a:rect l="l" t="t" r="r" b="b"/>
                <a:pathLst>
                  <a:path w="33135" h="25635" extrusionOk="0">
                    <a:moveTo>
                      <a:pt x="31791" y="0"/>
                    </a:moveTo>
                    <a:lnTo>
                      <a:pt x="30672" y="784"/>
                    </a:lnTo>
                    <a:lnTo>
                      <a:pt x="27985" y="2239"/>
                    </a:lnTo>
                    <a:lnTo>
                      <a:pt x="26530" y="3134"/>
                    </a:lnTo>
                    <a:lnTo>
                      <a:pt x="24963" y="3806"/>
                    </a:lnTo>
                    <a:lnTo>
                      <a:pt x="23731" y="4366"/>
                    </a:lnTo>
                    <a:lnTo>
                      <a:pt x="22724" y="4702"/>
                    </a:lnTo>
                    <a:lnTo>
                      <a:pt x="21716" y="4702"/>
                    </a:lnTo>
                    <a:lnTo>
                      <a:pt x="20485" y="4590"/>
                    </a:lnTo>
                    <a:lnTo>
                      <a:pt x="17687" y="4366"/>
                    </a:lnTo>
                    <a:lnTo>
                      <a:pt x="14776" y="3918"/>
                    </a:lnTo>
                    <a:lnTo>
                      <a:pt x="12202" y="3694"/>
                    </a:lnTo>
                    <a:lnTo>
                      <a:pt x="8620" y="3470"/>
                    </a:lnTo>
                    <a:lnTo>
                      <a:pt x="6940" y="3358"/>
                    </a:lnTo>
                    <a:lnTo>
                      <a:pt x="5933" y="3470"/>
                    </a:lnTo>
                    <a:lnTo>
                      <a:pt x="4702" y="3918"/>
                    </a:lnTo>
                    <a:lnTo>
                      <a:pt x="4030" y="4254"/>
                    </a:lnTo>
                    <a:lnTo>
                      <a:pt x="3358" y="4702"/>
                    </a:lnTo>
                    <a:lnTo>
                      <a:pt x="2687" y="5261"/>
                    </a:lnTo>
                    <a:lnTo>
                      <a:pt x="2127" y="5821"/>
                    </a:lnTo>
                    <a:lnTo>
                      <a:pt x="1679" y="6381"/>
                    </a:lnTo>
                    <a:lnTo>
                      <a:pt x="1344" y="7052"/>
                    </a:lnTo>
                    <a:lnTo>
                      <a:pt x="1120" y="8172"/>
                    </a:lnTo>
                    <a:lnTo>
                      <a:pt x="896" y="9963"/>
                    </a:lnTo>
                    <a:lnTo>
                      <a:pt x="448" y="15112"/>
                    </a:lnTo>
                    <a:lnTo>
                      <a:pt x="112" y="20373"/>
                    </a:lnTo>
                    <a:lnTo>
                      <a:pt x="0" y="22388"/>
                    </a:lnTo>
                    <a:lnTo>
                      <a:pt x="112" y="23619"/>
                    </a:lnTo>
                    <a:lnTo>
                      <a:pt x="224" y="24067"/>
                    </a:lnTo>
                    <a:lnTo>
                      <a:pt x="672" y="24403"/>
                    </a:lnTo>
                    <a:lnTo>
                      <a:pt x="1232" y="24739"/>
                    </a:lnTo>
                    <a:lnTo>
                      <a:pt x="2015" y="24963"/>
                    </a:lnTo>
                    <a:lnTo>
                      <a:pt x="2799" y="25186"/>
                    </a:lnTo>
                    <a:lnTo>
                      <a:pt x="3806" y="25410"/>
                    </a:lnTo>
                    <a:lnTo>
                      <a:pt x="6045" y="25634"/>
                    </a:lnTo>
                    <a:lnTo>
                      <a:pt x="7276" y="25634"/>
                    </a:lnTo>
                    <a:lnTo>
                      <a:pt x="8508" y="25522"/>
                    </a:lnTo>
                    <a:lnTo>
                      <a:pt x="9739" y="25410"/>
                    </a:lnTo>
                    <a:lnTo>
                      <a:pt x="10858" y="25186"/>
                    </a:lnTo>
                    <a:lnTo>
                      <a:pt x="11978" y="24851"/>
                    </a:lnTo>
                    <a:lnTo>
                      <a:pt x="13097" y="24515"/>
                    </a:lnTo>
                    <a:lnTo>
                      <a:pt x="13993" y="23955"/>
                    </a:lnTo>
                    <a:lnTo>
                      <a:pt x="14776" y="23395"/>
                    </a:lnTo>
                    <a:lnTo>
                      <a:pt x="14328" y="21045"/>
                    </a:lnTo>
                    <a:lnTo>
                      <a:pt x="14105" y="19030"/>
                    </a:lnTo>
                    <a:lnTo>
                      <a:pt x="13993" y="17463"/>
                    </a:lnTo>
                    <a:lnTo>
                      <a:pt x="13993" y="16007"/>
                    </a:lnTo>
                    <a:lnTo>
                      <a:pt x="14105" y="13657"/>
                    </a:lnTo>
                    <a:lnTo>
                      <a:pt x="14216" y="11306"/>
                    </a:lnTo>
                    <a:lnTo>
                      <a:pt x="14328" y="11082"/>
                    </a:lnTo>
                    <a:lnTo>
                      <a:pt x="14552" y="10858"/>
                    </a:lnTo>
                    <a:lnTo>
                      <a:pt x="15224" y="10522"/>
                    </a:lnTo>
                    <a:lnTo>
                      <a:pt x="16231" y="10075"/>
                    </a:lnTo>
                    <a:lnTo>
                      <a:pt x="17463" y="9851"/>
                    </a:lnTo>
                    <a:lnTo>
                      <a:pt x="20261" y="9179"/>
                    </a:lnTo>
                    <a:lnTo>
                      <a:pt x="23060" y="8731"/>
                    </a:lnTo>
                    <a:lnTo>
                      <a:pt x="24179" y="8284"/>
                    </a:lnTo>
                    <a:lnTo>
                      <a:pt x="25634" y="7724"/>
                    </a:lnTo>
                    <a:lnTo>
                      <a:pt x="28880" y="6157"/>
                    </a:lnTo>
                    <a:lnTo>
                      <a:pt x="31903" y="4478"/>
                    </a:lnTo>
                    <a:lnTo>
                      <a:pt x="32798" y="3918"/>
                    </a:lnTo>
                    <a:lnTo>
                      <a:pt x="33134" y="3582"/>
                    </a:lnTo>
                    <a:lnTo>
                      <a:pt x="33022" y="2799"/>
                    </a:lnTo>
                    <a:lnTo>
                      <a:pt x="32686" y="1679"/>
                    </a:lnTo>
                    <a:lnTo>
                      <a:pt x="32239" y="560"/>
                    </a:lnTo>
                    <a:lnTo>
                      <a:pt x="32015" y="224"/>
                    </a:lnTo>
                    <a:lnTo>
                      <a:pt x="31791" y="0"/>
                    </a:lnTo>
                    <a:close/>
                  </a:path>
                </a:pathLst>
              </a:custGeom>
              <a:solidFill>
                <a:srgbClr val="EA8C23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04" name="Google Shape;2064;p16">
                <a:extLst>
                  <a:ext uri="{FF2B5EF4-FFF2-40B4-BE49-F238E27FC236}">
                    <a16:creationId xmlns:a16="http://schemas.microsoft.com/office/drawing/2014/main" id="{3A602E86-89FA-7431-2D2E-9D9976327C1A}"/>
                  </a:ext>
                </a:extLst>
              </p:cNvPr>
              <p:cNvSpPr/>
              <p:nvPr/>
            </p:nvSpPr>
            <p:spPr>
              <a:xfrm>
                <a:off x="868800" y="2297800"/>
                <a:ext cx="828375" cy="640875"/>
              </a:xfrm>
              <a:custGeom>
                <a:avLst/>
                <a:gdLst/>
                <a:ahLst/>
                <a:cxnLst/>
                <a:rect l="l" t="t" r="r" b="b"/>
                <a:pathLst>
                  <a:path w="33135" h="25635" fill="none" extrusionOk="0">
                    <a:moveTo>
                      <a:pt x="5933" y="3470"/>
                    </a:moveTo>
                    <a:lnTo>
                      <a:pt x="5933" y="3470"/>
                    </a:lnTo>
                    <a:lnTo>
                      <a:pt x="6940" y="3358"/>
                    </a:lnTo>
                    <a:lnTo>
                      <a:pt x="8620" y="3470"/>
                    </a:lnTo>
                    <a:lnTo>
                      <a:pt x="12202" y="3694"/>
                    </a:lnTo>
                    <a:lnTo>
                      <a:pt x="12202" y="3694"/>
                    </a:lnTo>
                    <a:lnTo>
                      <a:pt x="14776" y="3918"/>
                    </a:lnTo>
                    <a:lnTo>
                      <a:pt x="17687" y="4366"/>
                    </a:lnTo>
                    <a:lnTo>
                      <a:pt x="20485" y="4590"/>
                    </a:lnTo>
                    <a:lnTo>
                      <a:pt x="21716" y="4702"/>
                    </a:lnTo>
                    <a:lnTo>
                      <a:pt x="22724" y="4702"/>
                    </a:lnTo>
                    <a:lnTo>
                      <a:pt x="22724" y="4702"/>
                    </a:lnTo>
                    <a:lnTo>
                      <a:pt x="23731" y="4366"/>
                    </a:lnTo>
                    <a:lnTo>
                      <a:pt x="24963" y="3806"/>
                    </a:lnTo>
                    <a:lnTo>
                      <a:pt x="26530" y="3134"/>
                    </a:lnTo>
                    <a:lnTo>
                      <a:pt x="27985" y="2239"/>
                    </a:lnTo>
                    <a:lnTo>
                      <a:pt x="30672" y="784"/>
                    </a:lnTo>
                    <a:lnTo>
                      <a:pt x="31791" y="0"/>
                    </a:lnTo>
                    <a:lnTo>
                      <a:pt x="31791" y="0"/>
                    </a:lnTo>
                    <a:lnTo>
                      <a:pt x="32015" y="224"/>
                    </a:lnTo>
                    <a:lnTo>
                      <a:pt x="32239" y="560"/>
                    </a:lnTo>
                    <a:lnTo>
                      <a:pt x="32686" y="1679"/>
                    </a:lnTo>
                    <a:lnTo>
                      <a:pt x="33022" y="2799"/>
                    </a:lnTo>
                    <a:lnTo>
                      <a:pt x="33134" y="3582"/>
                    </a:lnTo>
                    <a:lnTo>
                      <a:pt x="33134" y="3582"/>
                    </a:lnTo>
                    <a:lnTo>
                      <a:pt x="32798" y="3918"/>
                    </a:lnTo>
                    <a:lnTo>
                      <a:pt x="31903" y="4478"/>
                    </a:lnTo>
                    <a:lnTo>
                      <a:pt x="28880" y="6157"/>
                    </a:lnTo>
                    <a:lnTo>
                      <a:pt x="25634" y="7724"/>
                    </a:lnTo>
                    <a:lnTo>
                      <a:pt x="24179" y="8284"/>
                    </a:lnTo>
                    <a:lnTo>
                      <a:pt x="23060" y="8731"/>
                    </a:lnTo>
                    <a:lnTo>
                      <a:pt x="23060" y="8731"/>
                    </a:lnTo>
                    <a:lnTo>
                      <a:pt x="20261" y="9179"/>
                    </a:lnTo>
                    <a:lnTo>
                      <a:pt x="17463" y="9851"/>
                    </a:lnTo>
                    <a:lnTo>
                      <a:pt x="16231" y="10075"/>
                    </a:lnTo>
                    <a:lnTo>
                      <a:pt x="15224" y="10522"/>
                    </a:lnTo>
                    <a:lnTo>
                      <a:pt x="14552" y="10858"/>
                    </a:lnTo>
                    <a:lnTo>
                      <a:pt x="14328" y="11082"/>
                    </a:lnTo>
                    <a:lnTo>
                      <a:pt x="14216" y="11306"/>
                    </a:lnTo>
                    <a:lnTo>
                      <a:pt x="14216" y="11306"/>
                    </a:lnTo>
                    <a:lnTo>
                      <a:pt x="14105" y="13657"/>
                    </a:lnTo>
                    <a:lnTo>
                      <a:pt x="13993" y="16007"/>
                    </a:lnTo>
                    <a:lnTo>
                      <a:pt x="13993" y="17463"/>
                    </a:lnTo>
                    <a:lnTo>
                      <a:pt x="14105" y="19030"/>
                    </a:lnTo>
                    <a:lnTo>
                      <a:pt x="14328" y="21045"/>
                    </a:lnTo>
                    <a:lnTo>
                      <a:pt x="14776" y="23395"/>
                    </a:lnTo>
                    <a:lnTo>
                      <a:pt x="14776" y="23395"/>
                    </a:lnTo>
                    <a:lnTo>
                      <a:pt x="13993" y="23955"/>
                    </a:lnTo>
                    <a:lnTo>
                      <a:pt x="13097" y="24515"/>
                    </a:lnTo>
                    <a:lnTo>
                      <a:pt x="11978" y="24851"/>
                    </a:lnTo>
                    <a:lnTo>
                      <a:pt x="10858" y="25186"/>
                    </a:lnTo>
                    <a:lnTo>
                      <a:pt x="9739" y="25410"/>
                    </a:lnTo>
                    <a:lnTo>
                      <a:pt x="8508" y="25522"/>
                    </a:lnTo>
                    <a:lnTo>
                      <a:pt x="7276" y="25634"/>
                    </a:lnTo>
                    <a:lnTo>
                      <a:pt x="6045" y="25634"/>
                    </a:lnTo>
                    <a:lnTo>
                      <a:pt x="3806" y="25410"/>
                    </a:lnTo>
                    <a:lnTo>
                      <a:pt x="2799" y="25186"/>
                    </a:lnTo>
                    <a:lnTo>
                      <a:pt x="2015" y="24963"/>
                    </a:lnTo>
                    <a:lnTo>
                      <a:pt x="1232" y="24739"/>
                    </a:lnTo>
                    <a:lnTo>
                      <a:pt x="672" y="24403"/>
                    </a:lnTo>
                    <a:lnTo>
                      <a:pt x="224" y="24067"/>
                    </a:lnTo>
                    <a:lnTo>
                      <a:pt x="112" y="23619"/>
                    </a:lnTo>
                    <a:lnTo>
                      <a:pt x="112" y="23619"/>
                    </a:lnTo>
                    <a:lnTo>
                      <a:pt x="0" y="22388"/>
                    </a:lnTo>
                    <a:lnTo>
                      <a:pt x="112" y="20373"/>
                    </a:lnTo>
                    <a:lnTo>
                      <a:pt x="448" y="15112"/>
                    </a:lnTo>
                    <a:lnTo>
                      <a:pt x="896" y="9963"/>
                    </a:lnTo>
                    <a:lnTo>
                      <a:pt x="1120" y="8172"/>
                    </a:lnTo>
                    <a:lnTo>
                      <a:pt x="1344" y="7052"/>
                    </a:lnTo>
                    <a:lnTo>
                      <a:pt x="1344" y="7052"/>
                    </a:lnTo>
                    <a:lnTo>
                      <a:pt x="1679" y="6381"/>
                    </a:lnTo>
                    <a:lnTo>
                      <a:pt x="2127" y="5821"/>
                    </a:lnTo>
                    <a:lnTo>
                      <a:pt x="2687" y="5261"/>
                    </a:lnTo>
                    <a:lnTo>
                      <a:pt x="3358" y="4702"/>
                    </a:lnTo>
                    <a:lnTo>
                      <a:pt x="4030" y="4254"/>
                    </a:lnTo>
                    <a:lnTo>
                      <a:pt x="4702" y="3918"/>
                    </a:lnTo>
                    <a:lnTo>
                      <a:pt x="5933" y="3470"/>
                    </a:lnTo>
                  </a:path>
                </a:pathLst>
              </a:custGeom>
              <a:solidFill>
                <a:srgbClr val="46464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05" name="Google Shape;2065;p16">
                <a:extLst>
                  <a:ext uri="{FF2B5EF4-FFF2-40B4-BE49-F238E27FC236}">
                    <a16:creationId xmlns:a16="http://schemas.microsoft.com/office/drawing/2014/main" id="{F519D625-9097-CFB6-E3D9-E7AAA16C919A}"/>
                  </a:ext>
                </a:extLst>
              </p:cNvPr>
              <p:cNvSpPr/>
              <p:nvPr/>
            </p:nvSpPr>
            <p:spPr>
              <a:xfrm>
                <a:off x="1227000" y="2574850"/>
                <a:ext cx="28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13" h="1" extrusionOk="0">
                    <a:moveTo>
                      <a:pt x="112" y="0"/>
                    </a:moveTo>
                    <a:lnTo>
                      <a:pt x="11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12" y="0"/>
                    </a:lnTo>
                    <a:close/>
                  </a:path>
                </a:pathLst>
              </a:custGeom>
              <a:solidFill>
                <a:srgbClr val="A7A2AE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06" name="Google Shape;2066;p16">
                <a:extLst>
                  <a:ext uri="{FF2B5EF4-FFF2-40B4-BE49-F238E27FC236}">
                    <a16:creationId xmlns:a16="http://schemas.microsoft.com/office/drawing/2014/main" id="{9CAA425D-1163-7A86-6FC7-F7FC5BBC71BC}"/>
                  </a:ext>
                </a:extLst>
              </p:cNvPr>
              <p:cNvSpPr/>
              <p:nvPr/>
            </p:nvSpPr>
            <p:spPr>
              <a:xfrm>
                <a:off x="1227000" y="2574850"/>
                <a:ext cx="282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113" h="1" fill="none" extrusionOk="0">
                    <a:moveTo>
                      <a:pt x="112" y="0"/>
                    </a:moveTo>
                    <a:lnTo>
                      <a:pt x="11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1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07" name="Google Shape;2067;p16">
                <a:extLst>
                  <a:ext uri="{FF2B5EF4-FFF2-40B4-BE49-F238E27FC236}">
                    <a16:creationId xmlns:a16="http://schemas.microsoft.com/office/drawing/2014/main" id="{979B327B-D9D7-036D-EF17-8E78DE3266BE}"/>
                  </a:ext>
                </a:extLst>
              </p:cNvPr>
              <p:cNvSpPr/>
              <p:nvPr/>
            </p:nvSpPr>
            <p:spPr>
              <a:xfrm>
                <a:off x="1173825" y="2574850"/>
                <a:ext cx="58800" cy="274275"/>
              </a:xfrm>
              <a:custGeom>
                <a:avLst/>
                <a:gdLst/>
                <a:ahLst/>
                <a:cxnLst/>
                <a:rect l="l" t="t" r="r" b="b"/>
                <a:pathLst>
                  <a:path w="2352" h="10971" extrusionOk="0">
                    <a:moveTo>
                      <a:pt x="2127" y="0"/>
                    </a:moveTo>
                    <a:lnTo>
                      <a:pt x="1232" y="336"/>
                    </a:lnTo>
                    <a:lnTo>
                      <a:pt x="672" y="672"/>
                    </a:lnTo>
                    <a:lnTo>
                      <a:pt x="336" y="1008"/>
                    </a:lnTo>
                    <a:lnTo>
                      <a:pt x="113" y="1343"/>
                    </a:lnTo>
                    <a:lnTo>
                      <a:pt x="1" y="1791"/>
                    </a:lnTo>
                    <a:lnTo>
                      <a:pt x="113" y="2687"/>
                    </a:lnTo>
                    <a:lnTo>
                      <a:pt x="448" y="5261"/>
                    </a:lnTo>
                    <a:lnTo>
                      <a:pt x="1008" y="7948"/>
                    </a:lnTo>
                    <a:lnTo>
                      <a:pt x="1344" y="9067"/>
                    </a:lnTo>
                    <a:lnTo>
                      <a:pt x="1680" y="9851"/>
                    </a:lnTo>
                    <a:lnTo>
                      <a:pt x="2015" y="10522"/>
                    </a:lnTo>
                    <a:lnTo>
                      <a:pt x="2239" y="10858"/>
                    </a:lnTo>
                    <a:lnTo>
                      <a:pt x="2351" y="10970"/>
                    </a:lnTo>
                    <a:lnTo>
                      <a:pt x="2015" y="9067"/>
                    </a:lnTo>
                    <a:lnTo>
                      <a:pt x="1792" y="7500"/>
                    </a:lnTo>
                    <a:lnTo>
                      <a:pt x="1680" y="6045"/>
                    </a:lnTo>
                    <a:lnTo>
                      <a:pt x="1680" y="4702"/>
                    </a:lnTo>
                    <a:lnTo>
                      <a:pt x="1904" y="2463"/>
                    </a:lnTo>
                    <a:lnTo>
                      <a:pt x="2015" y="224"/>
                    </a:lnTo>
                    <a:lnTo>
                      <a:pt x="2127" y="0"/>
                    </a:lnTo>
                    <a:close/>
                  </a:path>
                </a:pathLst>
              </a:custGeom>
              <a:solidFill>
                <a:srgbClr val="A36739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08" name="Google Shape;2068;p16">
                <a:extLst>
                  <a:ext uri="{FF2B5EF4-FFF2-40B4-BE49-F238E27FC236}">
                    <a16:creationId xmlns:a16="http://schemas.microsoft.com/office/drawing/2014/main" id="{42C4F9C6-CDC7-0F55-2455-0EAA9B38E839}"/>
                  </a:ext>
                </a:extLst>
              </p:cNvPr>
              <p:cNvSpPr/>
              <p:nvPr/>
            </p:nvSpPr>
            <p:spPr>
              <a:xfrm>
                <a:off x="1173825" y="2574850"/>
                <a:ext cx="58800" cy="274275"/>
              </a:xfrm>
              <a:custGeom>
                <a:avLst/>
                <a:gdLst/>
                <a:ahLst/>
                <a:cxnLst/>
                <a:rect l="l" t="t" r="r" b="b"/>
                <a:pathLst>
                  <a:path w="2352" h="10971" fill="none" extrusionOk="0">
                    <a:moveTo>
                      <a:pt x="2127" y="0"/>
                    </a:moveTo>
                    <a:lnTo>
                      <a:pt x="2127" y="0"/>
                    </a:lnTo>
                    <a:lnTo>
                      <a:pt x="1232" y="336"/>
                    </a:lnTo>
                    <a:lnTo>
                      <a:pt x="672" y="672"/>
                    </a:lnTo>
                    <a:lnTo>
                      <a:pt x="336" y="1008"/>
                    </a:lnTo>
                    <a:lnTo>
                      <a:pt x="113" y="1343"/>
                    </a:lnTo>
                    <a:lnTo>
                      <a:pt x="113" y="1343"/>
                    </a:lnTo>
                    <a:lnTo>
                      <a:pt x="1" y="1791"/>
                    </a:lnTo>
                    <a:lnTo>
                      <a:pt x="113" y="2687"/>
                    </a:lnTo>
                    <a:lnTo>
                      <a:pt x="448" y="5261"/>
                    </a:lnTo>
                    <a:lnTo>
                      <a:pt x="1008" y="7948"/>
                    </a:lnTo>
                    <a:lnTo>
                      <a:pt x="1344" y="9067"/>
                    </a:lnTo>
                    <a:lnTo>
                      <a:pt x="1680" y="9851"/>
                    </a:lnTo>
                    <a:lnTo>
                      <a:pt x="1680" y="9851"/>
                    </a:lnTo>
                    <a:lnTo>
                      <a:pt x="2015" y="10522"/>
                    </a:lnTo>
                    <a:lnTo>
                      <a:pt x="2239" y="10858"/>
                    </a:lnTo>
                    <a:lnTo>
                      <a:pt x="2351" y="10970"/>
                    </a:lnTo>
                    <a:lnTo>
                      <a:pt x="2351" y="10970"/>
                    </a:lnTo>
                    <a:lnTo>
                      <a:pt x="2015" y="9067"/>
                    </a:lnTo>
                    <a:lnTo>
                      <a:pt x="1792" y="7500"/>
                    </a:lnTo>
                    <a:lnTo>
                      <a:pt x="1680" y="6045"/>
                    </a:lnTo>
                    <a:lnTo>
                      <a:pt x="1680" y="4702"/>
                    </a:lnTo>
                    <a:lnTo>
                      <a:pt x="1904" y="2463"/>
                    </a:lnTo>
                    <a:lnTo>
                      <a:pt x="2015" y="224"/>
                    </a:lnTo>
                    <a:lnTo>
                      <a:pt x="2015" y="224"/>
                    </a:lnTo>
                    <a:lnTo>
                      <a:pt x="2127" y="0"/>
                    </a:lnTo>
                    <a:lnTo>
                      <a:pt x="2127" y="0"/>
                    </a:lnTo>
                    <a:lnTo>
                      <a:pt x="2127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400"/>
                </a:pPr>
                <a:endParaRPr sz="1867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3" name="Arrow: Chevron 2">
            <a:extLst>
              <a:ext uri="{FF2B5EF4-FFF2-40B4-BE49-F238E27FC236}">
                <a16:creationId xmlns:a16="http://schemas.microsoft.com/office/drawing/2014/main" id="{4CDC1234-CB40-8F50-5F1F-7047A4D08768}"/>
              </a:ext>
            </a:extLst>
          </p:cNvPr>
          <p:cNvSpPr/>
          <p:nvPr/>
        </p:nvSpPr>
        <p:spPr>
          <a:xfrm>
            <a:off x="3602470" y="27943"/>
            <a:ext cx="5014756" cy="312945"/>
          </a:xfrm>
          <a:prstGeom prst="chevron">
            <a:avLst/>
          </a:prstGeom>
          <a:solidFill>
            <a:srgbClr val="F3F3F3"/>
          </a:solidFill>
          <a:ln>
            <a:noFill/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100">
                <a:solidFill>
                  <a:schemeClr val="tx1"/>
                </a:solidFill>
              </a:rPr>
              <a:t>Hvordan sikrer vi at lokalsamfunnet blir hørt og inkludert i byutviklingen?  </a:t>
            </a:r>
            <a:endParaRPr lang="en-US" sz="11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7293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2" grpId="0" animBg="1"/>
      <p:bldP spid="13" grpId="0" animBg="1"/>
      <p:bldP spid="15" grpId="0" animBg="1"/>
      <p:bldP spid="18" grpId="0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3E9ED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DDAAF91-B88F-8CEF-7CD2-114A2AC337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9DF732F-1E7E-73D8-CBDC-7F08CB5FA6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6964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DF732F-1E7E-73D8-CBDC-7F08CB5FA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16D4096-724C-8E79-C92F-EA3717A497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Deltakerne peker på behov for samarbeid , regulering og helhetlige løsninger for å få bærekraftig kvalitetsturisme</a:t>
            </a: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186F5242-A45B-E4C4-A75E-011710E739CE}"/>
              </a:ext>
            </a:extLst>
          </p:cNvPr>
          <p:cNvSpPr/>
          <p:nvPr/>
        </p:nvSpPr>
        <p:spPr>
          <a:xfrm>
            <a:off x="-24505" y="20600"/>
            <a:ext cx="3722451" cy="312945"/>
          </a:xfrm>
          <a:prstGeom prst="homePlate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100"/>
              <a:t>3.  Byutvikling, for hvem?</a:t>
            </a:r>
          </a:p>
        </p:txBody>
      </p:sp>
      <p:sp>
        <p:nvSpPr>
          <p:cNvPr id="2" name="Google Shape;1439;p16">
            <a:extLst>
              <a:ext uri="{FF2B5EF4-FFF2-40B4-BE49-F238E27FC236}">
                <a16:creationId xmlns:a16="http://schemas.microsoft.com/office/drawing/2014/main" id="{E7D547BA-EC74-1E65-DA22-F30FE5FD5C0A}"/>
              </a:ext>
            </a:extLst>
          </p:cNvPr>
          <p:cNvSpPr/>
          <p:nvPr/>
        </p:nvSpPr>
        <p:spPr>
          <a:xfrm rot="5400000">
            <a:off x="1644800" y="3737548"/>
            <a:ext cx="3456800" cy="387200"/>
          </a:xfrm>
          <a:prstGeom prst="triangle">
            <a:avLst>
              <a:gd name="adj" fmla="val 49876"/>
            </a:avLst>
          </a:prstGeom>
          <a:solidFill>
            <a:srgbClr val="D04A02"/>
          </a:solidFill>
          <a:ln>
            <a:solidFill>
              <a:srgbClr val="D04A02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1867">
              <a:solidFill>
                <a:srgbClr val="D04A0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Google Shape;49526;p132">
            <a:extLst>
              <a:ext uri="{FF2B5EF4-FFF2-40B4-BE49-F238E27FC236}">
                <a16:creationId xmlns:a16="http://schemas.microsoft.com/office/drawing/2014/main" id="{AFED1811-4B4A-E85B-165D-A4A73D777600}"/>
              </a:ext>
            </a:extLst>
          </p:cNvPr>
          <p:cNvSpPr/>
          <p:nvPr/>
        </p:nvSpPr>
        <p:spPr>
          <a:xfrm>
            <a:off x="377603" y="2147622"/>
            <a:ext cx="2484867" cy="862525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18287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1"/>
                </a:solidFill>
              </a:rPr>
              <a:t>Kvalitet over kvantitet</a:t>
            </a:r>
            <a:endParaRPr>
              <a:solidFill>
                <a:schemeClr val="dk1"/>
              </a:solidFill>
            </a:endParaRPr>
          </a:p>
        </p:txBody>
      </p:sp>
      <p:sp>
        <p:nvSpPr>
          <p:cNvPr id="7" name="Google Shape;49580;p132">
            <a:extLst>
              <a:ext uri="{FF2B5EF4-FFF2-40B4-BE49-F238E27FC236}">
                <a16:creationId xmlns:a16="http://schemas.microsoft.com/office/drawing/2014/main" id="{5475D888-C958-86C2-9678-CE0C457EA9CF}"/>
              </a:ext>
            </a:extLst>
          </p:cNvPr>
          <p:cNvSpPr/>
          <p:nvPr/>
        </p:nvSpPr>
        <p:spPr>
          <a:xfrm>
            <a:off x="377603" y="3461822"/>
            <a:ext cx="2484867" cy="862525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18287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>
                <a:solidFill>
                  <a:schemeClr val="dk1"/>
                </a:solidFill>
              </a:rPr>
              <a:t>Ren arktisk natur</a:t>
            </a:r>
            <a:endParaRPr sz="1000" b="1">
              <a:solidFill>
                <a:srgbClr val="D04A02"/>
              </a:solidFill>
            </a:endParaRPr>
          </a:p>
        </p:txBody>
      </p:sp>
      <p:sp>
        <p:nvSpPr>
          <p:cNvPr id="15" name="Google Shape;49713;p132">
            <a:extLst>
              <a:ext uri="{FF2B5EF4-FFF2-40B4-BE49-F238E27FC236}">
                <a16:creationId xmlns:a16="http://schemas.microsoft.com/office/drawing/2014/main" id="{5FCFEFD5-707F-4BCE-BF21-94E1765DA3FB}"/>
              </a:ext>
            </a:extLst>
          </p:cNvPr>
          <p:cNvSpPr/>
          <p:nvPr/>
        </p:nvSpPr>
        <p:spPr>
          <a:xfrm>
            <a:off x="377603" y="4728751"/>
            <a:ext cx="2484867" cy="862525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18287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nb-NO">
                <a:solidFill>
                  <a:schemeClr val="dk1"/>
                </a:solidFill>
              </a:rPr>
              <a:t>U</a:t>
            </a:r>
            <a:r>
              <a:rPr lang="en">
                <a:solidFill>
                  <a:schemeClr val="dk1"/>
                </a:solidFill>
              </a:rPr>
              <a:t>nik lokal kultur</a:t>
            </a:r>
            <a:endParaRPr sz="1000" b="1">
              <a:solidFill>
                <a:srgbClr val="D04A02"/>
              </a:solidFill>
            </a:endParaRPr>
          </a:p>
        </p:txBody>
      </p:sp>
      <p:grpSp>
        <p:nvGrpSpPr>
          <p:cNvPr id="25" name="Google Shape;64679;p148">
            <a:extLst>
              <a:ext uri="{FF2B5EF4-FFF2-40B4-BE49-F238E27FC236}">
                <a16:creationId xmlns:a16="http://schemas.microsoft.com/office/drawing/2014/main" id="{92B98C67-CF1B-C204-85C3-F2427C068716}"/>
              </a:ext>
            </a:extLst>
          </p:cNvPr>
          <p:cNvGrpSpPr/>
          <p:nvPr/>
        </p:nvGrpSpPr>
        <p:grpSpPr>
          <a:xfrm>
            <a:off x="2086966" y="3851704"/>
            <a:ext cx="923530" cy="467164"/>
            <a:chOff x="8085403" y="6160572"/>
            <a:chExt cx="2316121" cy="1049626"/>
          </a:xfrm>
        </p:grpSpPr>
        <p:sp>
          <p:nvSpPr>
            <p:cNvPr id="27" name="Google Shape;64680;p148">
              <a:extLst>
                <a:ext uri="{FF2B5EF4-FFF2-40B4-BE49-F238E27FC236}">
                  <a16:creationId xmlns:a16="http://schemas.microsoft.com/office/drawing/2014/main" id="{E90B1B86-4E07-C8F0-BAD1-FCCD4A72BDEF}"/>
                </a:ext>
              </a:extLst>
            </p:cNvPr>
            <p:cNvSpPr/>
            <p:nvPr/>
          </p:nvSpPr>
          <p:spPr>
            <a:xfrm>
              <a:off x="8085403" y="6564013"/>
              <a:ext cx="2316104" cy="393882"/>
            </a:xfrm>
            <a:custGeom>
              <a:avLst/>
              <a:gdLst/>
              <a:ahLst/>
              <a:cxnLst/>
              <a:rect l="l" t="t" r="r" b="b"/>
              <a:pathLst>
                <a:path w="169244" h="28782" extrusionOk="0">
                  <a:moveTo>
                    <a:pt x="1551" y="0"/>
                  </a:moveTo>
                  <a:lnTo>
                    <a:pt x="517" y="173"/>
                  </a:lnTo>
                  <a:lnTo>
                    <a:pt x="172" y="345"/>
                  </a:lnTo>
                  <a:lnTo>
                    <a:pt x="0" y="517"/>
                  </a:lnTo>
                  <a:lnTo>
                    <a:pt x="0" y="862"/>
                  </a:lnTo>
                  <a:lnTo>
                    <a:pt x="172" y="1379"/>
                  </a:lnTo>
                  <a:lnTo>
                    <a:pt x="1034" y="2758"/>
                  </a:lnTo>
                  <a:lnTo>
                    <a:pt x="2758" y="4826"/>
                  </a:lnTo>
                  <a:lnTo>
                    <a:pt x="4481" y="6722"/>
                  </a:lnTo>
                  <a:lnTo>
                    <a:pt x="6894" y="8790"/>
                  </a:lnTo>
                  <a:lnTo>
                    <a:pt x="9824" y="11203"/>
                  </a:lnTo>
                  <a:lnTo>
                    <a:pt x="13615" y="13788"/>
                  </a:lnTo>
                  <a:lnTo>
                    <a:pt x="17924" y="16201"/>
                  </a:lnTo>
                  <a:lnTo>
                    <a:pt x="23094" y="18786"/>
                  </a:lnTo>
                  <a:lnTo>
                    <a:pt x="26024" y="20165"/>
                  </a:lnTo>
                  <a:lnTo>
                    <a:pt x="29127" y="21371"/>
                  </a:lnTo>
                  <a:lnTo>
                    <a:pt x="32401" y="22578"/>
                  </a:lnTo>
                  <a:lnTo>
                    <a:pt x="36020" y="23784"/>
                  </a:lnTo>
                  <a:lnTo>
                    <a:pt x="38433" y="24473"/>
                  </a:lnTo>
                  <a:lnTo>
                    <a:pt x="41191" y="25163"/>
                  </a:lnTo>
                  <a:lnTo>
                    <a:pt x="47051" y="26369"/>
                  </a:lnTo>
                  <a:lnTo>
                    <a:pt x="53427" y="27231"/>
                  </a:lnTo>
                  <a:lnTo>
                    <a:pt x="60321" y="27920"/>
                  </a:lnTo>
                  <a:lnTo>
                    <a:pt x="67387" y="28437"/>
                  </a:lnTo>
                  <a:lnTo>
                    <a:pt x="74798" y="28782"/>
                  </a:lnTo>
                  <a:lnTo>
                    <a:pt x="89792" y="28782"/>
                  </a:lnTo>
                  <a:lnTo>
                    <a:pt x="97376" y="28610"/>
                  </a:lnTo>
                  <a:lnTo>
                    <a:pt x="104787" y="28093"/>
                  </a:lnTo>
                  <a:lnTo>
                    <a:pt x="111853" y="27576"/>
                  </a:lnTo>
                  <a:lnTo>
                    <a:pt x="118574" y="27059"/>
                  </a:lnTo>
                  <a:lnTo>
                    <a:pt x="124951" y="26197"/>
                  </a:lnTo>
                  <a:lnTo>
                    <a:pt x="130811" y="25335"/>
                  </a:lnTo>
                  <a:lnTo>
                    <a:pt x="135981" y="24473"/>
                  </a:lnTo>
                  <a:lnTo>
                    <a:pt x="140462" y="23439"/>
                  </a:lnTo>
                  <a:lnTo>
                    <a:pt x="144426" y="22405"/>
                  </a:lnTo>
                  <a:lnTo>
                    <a:pt x="147873" y="21199"/>
                  </a:lnTo>
                  <a:lnTo>
                    <a:pt x="151148" y="19992"/>
                  </a:lnTo>
                  <a:lnTo>
                    <a:pt x="154250" y="18786"/>
                  </a:lnTo>
                  <a:lnTo>
                    <a:pt x="156835" y="17407"/>
                  </a:lnTo>
                  <a:lnTo>
                    <a:pt x="159248" y="16201"/>
                  </a:lnTo>
                  <a:lnTo>
                    <a:pt x="161316" y="14822"/>
                  </a:lnTo>
                  <a:lnTo>
                    <a:pt x="163212" y="13443"/>
                  </a:lnTo>
                  <a:lnTo>
                    <a:pt x="164763" y="12237"/>
                  </a:lnTo>
                  <a:lnTo>
                    <a:pt x="166142" y="11030"/>
                  </a:lnTo>
                  <a:lnTo>
                    <a:pt x="167176" y="9996"/>
                  </a:lnTo>
                  <a:lnTo>
                    <a:pt x="168038" y="8962"/>
                  </a:lnTo>
                  <a:lnTo>
                    <a:pt x="168727" y="8101"/>
                  </a:lnTo>
                  <a:lnTo>
                    <a:pt x="169072" y="7411"/>
                  </a:lnTo>
                  <a:lnTo>
                    <a:pt x="169244" y="6894"/>
                  </a:lnTo>
                  <a:lnTo>
                    <a:pt x="169244" y="6549"/>
                  </a:lnTo>
                  <a:lnTo>
                    <a:pt x="169244" y="6377"/>
                  </a:lnTo>
                  <a:lnTo>
                    <a:pt x="168727" y="6205"/>
                  </a:lnTo>
                  <a:lnTo>
                    <a:pt x="168038" y="6205"/>
                  </a:lnTo>
                  <a:lnTo>
                    <a:pt x="165797" y="6032"/>
                  </a:lnTo>
                  <a:lnTo>
                    <a:pt x="162350" y="6032"/>
                  </a:lnTo>
                  <a:lnTo>
                    <a:pt x="157869" y="6377"/>
                  </a:lnTo>
                  <a:lnTo>
                    <a:pt x="147184" y="6894"/>
                  </a:lnTo>
                  <a:lnTo>
                    <a:pt x="140979" y="7066"/>
                  </a:lnTo>
                  <a:lnTo>
                    <a:pt x="129777" y="7066"/>
                  </a:lnTo>
                  <a:lnTo>
                    <a:pt x="119264" y="6549"/>
                  </a:lnTo>
                  <a:lnTo>
                    <a:pt x="105648" y="5688"/>
                  </a:lnTo>
                  <a:lnTo>
                    <a:pt x="88586" y="4309"/>
                  </a:lnTo>
                  <a:lnTo>
                    <a:pt x="75660" y="3275"/>
                  </a:lnTo>
                  <a:lnTo>
                    <a:pt x="72041" y="2930"/>
                  </a:lnTo>
                  <a:lnTo>
                    <a:pt x="68249" y="2930"/>
                  </a:lnTo>
                  <a:lnTo>
                    <a:pt x="60494" y="3275"/>
                  </a:lnTo>
                  <a:lnTo>
                    <a:pt x="52393" y="3792"/>
                  </a:lnTo>
                  <a:lnTo>
                    <a:pt x="44982" y="4137"/>
                  </a:lnTo>
                  <a:lnTo>
                    <a:pt x="40846" y="4309"/>
                  </a:lnTo>
                  <a:lnTo>
                    <a:pt x="37054" y="4137"/>
                  </a:lnTo>
                  <a:lnTo>
                    <a:pt x="29127" y="3447"/>
                  </a:lnTo>
                  <a:lnTo>
                    <a:pt x="18441" y="2413"/>
                  </a:lnTo>
                  <a:lnTo>
                    <a:pt x="6549" y="1034"/>
                  </a:lnTo>
                  <a:lnTo>
                    <a:pt x="5343" y="690"/>
                  </a:lnTo>
                  <a:lnTo>
                    <a:pt x="2758" y="173"/>
                  </a:lnTo>
                  <a:lnTo>
                    <a:pt x="1551" y="0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64681;p148">
              <a:extLst>
                <a:ext uri="{FF2B5EF4-FFF2-40B4-BE49-F238E27FC236}">
                  <a16:creationId xmlns:a16="http://schemas.microsoft.com/office/drawing/2014/main" id="{65F44913-D9A8-A209-2950-E9B248C91987}"/>
                </a:ext>
              </a:extLst>
            </p:cNvPr>
            <p:cNvSpPr/>
            <p:nvPr/>
          </p:nvSpPr>
          <p:spPr>
            <a:xfrm>
              <a:off x="8285889" y="6597038"/>
              <a:ext cx="198131" cy="51894"/>
            </a:xfrm>
            <a:custGeom>
              <a:avLst/>
              <a:gdLst/>
              <a:ahLst/>
              <a:cxnLst/>
              <a:rect l="l" t="t" r="r" b="b"/>
              <a:pathLst>
                <a:path w="14478" h="3792" extrusionOk="0">
                  <a:moveTo>
                    <a:pt x="3792" y="0"/>
                  </a:moveTo>
                  <a:lnTo>
                    <a:pt x="1379" y="1034"/>
                  </a:lnTo>
                  <a:lnTo>
                    <a:pt x="518" y="1724"/>
                  </a:lnTo>
                  <a:lnTo>
                    <a:pt x="0" y="2241"/>
                  </a:lnTo>
                  <a:lnTo>
                    <a:pt x="0" y="2585"/>
                  </a:lnTo>
                  <a:lnTo>
                    <a:pt x="0" y="2758"/>
                  </a:lnTo>
                  <a:lnTo>
                    <a:pt x="173" y="3102"/>
                  </a:lnTo>
                  <a:lnTo>
                    <a:pt x="518" y="3275"/>
                  </a:lnTo>
                  <a:lnTo>
                    <a:pt x="1552" y="3619"/>
                  </a:lnTo>
                  <a:lnTo>
                    <a:pt x="3620" y="3792"/>
                  </a:lnTo>
                  <a:lnTo>
                    <a:pt x="5343" y="3792"/>
                  </a:lnTo>
                  <a:lnTo>
                    <a:pt x="7067" y="3619"/>
                  </a:lnTo>
                  <a:lnTo>
                    <a:pt x="8618" y="3447"/>
                  </a:lnTo>
                  <a:lnTo>
                    <a:pt x="9997" y="3102"/>
                  </a:lnTo>
                  <a:lnTo>
                    <a:pt x="12409" y="2241"/>
                  </a:lnTo>
                  <a:lnTo>
                    <a:pt x="14478" y="1034"/>
                  </a:lnTo>
                  <a:lnTo>
                    <a:pt x="3792" y="0"/>
                  </a:lnTo>
                  <a:close/>
                </a:path>
              </a:pathLst>
            </a:custGeom>
            <a:solidFill>
              <a:srgbClr val="936A0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64682;p148">
              <a:extLst>
                <a:ext uri="{FF2B5EF4-FFF2-40B4-BE49-F238E27FC236}">
                  <a16:creationId xmlns:a16="http://schemas.microsoft.com/office/drawing/2014/main" id="{473D13C2-6F33-BE29-C1CA-FCC6D37843AE}"/>
                </a:ext>
              </a:extLst>
            </p:cNvPr>
            <p:cNvSpPr/>
            <p:nvPr/>
          </p:nvSpPr>
          <p:spPr>
            <a:xfrm>
              <a:off x="8691597" y="6604113"/>
              <a:ext cx="839657" cy="103787"/>
            </a:xfrm>
            <a:custGeom>
              <a:avLst/>
              <a:gdLst/>
              <a:ahLst/>
              <a:cxnLst/>
              <a:rect l="l" t="t" r="r" b="b"/>
              <a:pathLst>
                <a:path w="61356" h="7584" extrusionOk="0">
                  <a:moveTo>
                    <a:pt x="23956" y="0"/>
                  </a:moveTo>
                  <a:lnTo>
                    <a:pt x="16201" y="345"/>
                  </a:lnTo>
                  <a:lnTo>
                    <a:pt x="8100" y="862"/>
                  </a:lnTo>
                  <a:lnTo>
                    <a:pt x="689" y="1207"/>
                  </a:lnTo>
                  <a:lnTo>
                    <a:pt x="172" y="1896"/>
                  </a:lnTo>
                  <a:lnTo>
                    <a:pt x="0" y="2068"/>
                  </a:lnTo>
                  <a:lnTo>
                    <a:pt x="0" y="2413"/>
                  </a:lnTo>
                  <a:lnTo>
                    <a:pt x="0" y="2758"/>
                  </a:lnTo>
                  <a:lnTo>
                    <a:pt x="172" y="2930"/>
                  </a:lnTo>
                  <a:lnTo>
                    <a:pt x="1034" y="3619"/>
                  </a:lnTo>
                  <a:lnTo>
                    <a:pt x="1896" y="3964"/>
                  </a:lnTo>
                  <a:lnTo>
                    <a:pt x="3102" y="4309"/>
                  </a:lnTo>
                  <a:lnTo>
                    <a:pt x="6377" y="5171"/>
                  </a:lnTo>
                  <a:lnTo>
                    <a:pt x="10685" y="5860"/>
                  </a:lnTo>
                  <a:lnTo>
                    <a:pt x="15684" y="6549"/>
                  </a:lnTo>
                  <a:lnTo>
                    <a:pt x="21371" y="7066"/>
                  </a:lnTo>
                  <a:lnTo>
                    <a:pt x="27231" y="7411"/>
                  </a:lnTo>
                  <a:lnTo>
                    <a:pt x="33263" y="7583"/>
                  </a:lnTo>
                  <a:lnTo>
                    <a:pt x="39123" y="7583"/>
                  </a:lnTo>
                  <a:lnTo>
                    <a:pt x="48602" y="7411"/>
                  </a:lnTo>
                  <a:lnTo>
                    <a:pt x="52566" y="7239"/>
                  </a:lnTo>
                  <a:lnTo>
                    <a:pt x="55840" y="6894"/>
                  </a:lnTo>
                  <a:lnTo>
                    <a:pt x="58425" y="6377"/>
                  </a:lnTo>
                  <a:lnTo>
                    <a:pt x="59459" y="6032"/>
                  </a:lnTo>
                  <a:lnTo>
                    <a:pt x="60149" y="5515"/>
                  </a:lnTo>
                  <a:lnTo>
                    <a:pt x="60838" y="4998"/>
                  </a:lnTo>
                  <a:lnTo>
                    <a:pt x="61183" y="4481"/>
                  </a:lnTo>
                  <a:lnTo>
                    <a:pt x="61355" y="3619"/>
                  </a:lnTo>
                  <a:lnTo>
                    <a:pt x="61355" y="2758"/>
                  </a:lnTo>
                  <a:lnTo>
                    <a:pt x="44293" y="1379"/>
                  </a:lnTo>
                  <a:lnTo>
                    <a:pt x="31367" y="345"/>
                  </a:lnTo>
                  <a:lnTo>
                    <a:pt x="27748" y="0"/>
                  </a:lnTo>
                  <a:close/>
                </a:path>
              </a:pathLst>
            </a:custGeom>
            <a:solidFill>
              <a:srgbClr val="936A0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64683;p148">
              <a:extLst>
                <a:ext uri="{FF2B5EF4-FFF2-40B4-BE49-F238E27FC236}">
                  <a16:creationId xmlns:a16="http://schemas.microsoft.com/office/drawing/2014/main" id="{FC39A2A2-2735-841F-D516-DAE82BAF454F}"/>
                </a:ext>
              </a:extLst>
            </p:cNvPr>
            <p:cNvSpPr/>
            <p:nvPr/>
          </p:nvSpPr>
          <p:spPr>
            <a:xfrm>
              <a:off x="9649232" y="6653643"/>
              <a:ext cx="212282" cy="66057"/>
            </a:xfrm>
            <a:custGeom>
              <a:avLst/>
              <a:gdLst/>
              <a:ahLst/>
              <a:cxnLst/>
              <a:rect l="l" t="t" r="r" b="b"/>
              <a:pathLst>
                <a:path w="15512" h="4827" extrusionOk="0">
                  <a:moveTo>
                    <a:pt x="4999" y="0"/>
                  </a:moveTo>
                  <a:lnTo>
                    <a:pt x="2930" y="1207"/>
                  </a:lnTo>
                  <a:lnTo>
                    <a:pt x="1207" y="2413"/>
                  </a:lnTo>
                  <a:lnTo>
                    <a:pt x="518" y="2930"/>
                  </a:lnTo>
                  <a:lnTo>
                    <a:pt x="173" y="3447"/>
                  </a:lnTo>
                  <a:lnTo>
                    <a:pt x="1" y="3964"/>
                  </a:lnTo>
                  <a:lnTo>
                    <a:pt x="173" y="4309"/>
                  </a:lnTo>
                  <a:lnTo>
                    <a:pt x="518" y="4654"/>
                  </a:lnTo>
                  <a:lnTo>
                    <a:pt x="1035" y="4654"/>
                  </a:lnTo>
                  <a:lnTo>
                    <a:pt x="2586" y="4826"/>
                  </a:lnTo>
                  <a:lnTo>
                    <a:pt x="4654" y="4481"/>
                  </a:lnTo>
                  <a:lnTo>
                    <a:pt x="7067" y="3964"/>
                  </a:lnTo>
                  <a:lnTo>
                    <a:pt x="9480" y="3275"/>
                  </a:lnTo>
                  <a:lnTo>
                    <a:pt x="11892" y="2413"/>
                  </a:lnTo>
                  <a:lnTo>
                    <a:pt x="13961" y="1379"/>
                  </a:lnTo>
                  <a:lnTo>
                    <a:pt x="15512" y="517"/>
                  </a:lnTo>
                  <a:lnTo>
                    <a:pt x="4999" y="0"/>
                  </a:lnTo>
                  <a:close/>
                </a:path>
              </a:pathLst>
            </a:custGeom>
            <a:solidFill>
              <a:srgbClr val="936A0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64684;p148">
              <a:extLst>
                <a:ext uri="{FF2B5EF4-FFF2-40B4-BE49-F238E27FC236}">
                  <a16:creationId xmlns:a16="http://schemas.microsoft.com/office/drawing/2014/main" id="{D5660EAB-CECC-C3D3-AA93-BE6E23E4BE0E}"/>
                </a:ext>
              </a:extLst>
            </p:cNvPr>
            <p:cNvSpPr/>
            <p:nvPr/>
          </p:nvSpPr>
          <p:spPr>
            <a:xfrm>
              <a:off x="8123136" y="6630048"/>
              <a:ext cx="2278388" cy="327852"/>
            </a:xfrm>
            <a:custGeom>
              <a:avLst/>
              <a:gdLst/>
              <a:ahLst/>
              <a:cxnLst/>
              <a:rect l="l" t="t" r="r" b="b"/>
              <a:pathLst>
                <a:path w="166488" h="23957" extrusionOk="0">
                  <a:moveTo>
                    <a:pt x="1" y="1"/>
                  </a:moveTo>
                  <a:lnTo>
                    <a:pt x="1379" y="1380"/>
                  </a:lnTo>
                  <a:lnTo>
                    <a:pt x="2930" y="2931"/>
                  </a:lnTo>
                  <a:lnTo>
                    <a:pt x="4999" y="4654"/>
                  </a:lnTo>
                  <a:lnTo>
                    <a:pt x="7239" y="6550"/>
                  </a:lnTo>
                  <a:lnTo>
                    <a:pt x="9997" y="8446"/>
                  </a:lnTo>
                  <a:lnTo>
                    <a:pt x="13271" y="10342"/>
                  </a:lnTo>
                  <a:lnTo>
                    <a:pt x="16718" y="12238"/>
                  </a:lnTo>
                  <a:lnTo>
                    <a:pt x="20854" y="14306"/>
                  </a:lnTo>
                  <a:lnTo>
                    <a:pt x="26542" y="16718"/>
                  </a:lnTo>
                  <a:lnTo>
                    <a:pt x="33263" y="18959"/>
                  </a:lnTo>
                  <a:lnTo>
                    <a:pt x="35676" y="19648"/>
                  </a:lnTo>
                  <a:lnTo>
                    <a:pt x="38434" y="20338"/>
                  </a:lnTo>
                  <a:lnTo>
                    <a:pt x="44294" y="21544"/>
                  </a:lnTo>
                  <a:lnTo>
                    <a:pt x="50670" y="22406"/>
                  </a:lnTo>
                  <a:lnTo>
                    <a:pt x="57564" y="23095"/>
                  </a:lnTo>
                  <a:lnTo>
                    <a:pt x="64630" y="23612"/>
                  </a:lnTo>
                  <a:lnTo>
                    <a:pt x="72041" y="23957"/>
                  </a:lnTo>
                  <a:lnTo>
                    <a:pt x="87035" y="23957"/>
                  </a:lnTo>
                  <a:lnTo>
                    <a:pt x="94619" y="23785"/>
                  </a:lnTo>
                  <a:lnTo>
                    <a:pt x="102030" y="23268"/>
                  </a:lnTo>
                  <a:lnTo>
                    <a:pt x="109096" y="22751"/>
                  </a:lnTo>
                  <a:lnTo>
                    <a:pt x="115817" y="22234"/>
                  </a:lnTo>
                  <a:lnTo>
                    <a:pt x="122194" y="21372"/>
                  </a:lnTo>
                  <a:lnTo>
                    <a:pt x="128054" y="20510"/>
                  </a:lnTo>
                  <a:lnTo>
                    <a:pt x="133224" y="19648"/>
                  </a:lnTo>
                  <a:lnTo>
                    <a:pt x="137705" y="18614"/>
                  </a:lnTo>
                  <a:lnTo>
                    <a:pt x="141497" y="17580"/>
                  </a:lnTo>
                  <a:lnTo>
                    <a:pt x="145116" y="16546"/>
                  </a:lnTo>
                  <a:lnTo>
                    <a:pt x="148391" y="15340"/>
                  </a:lnTo>
                  <a:lnTo>
                    <a:pt x="151321" y="13961"/>
                  </a:lnTo>
                  <a:lnTo>
                    <a:pt x="153561" y="12927"/>
                  </a:lnTo>
                  <a:lnTo>
                    <a:pt x="155802" y="11720"/>
                  </a:lnTo>
                  <a:lnTo>
                    <a:pt x="159248" y="9480"/>
                  </a:lnTo>
                  <a:lnTo>
                    <a:pt x="159421" y="9480"/>
                  </a:lnTo>
                  <a:lnTo>
                    <a:pt x="160283" y="8791"/>
                  </a:lnTo>
                  <a:lnTo>
                    <a:pt x="161834" y="7584"/>
                  </a:lnTo>
                  <a:lnTo>
                    <a:pt x="163212" y="6378"/>
                  </a:lnTo>
                  <a:lnTo>
                    <a:pt x="164419" y="5171"/>
                  </a:lnTo>
                  <a:lnTo>
                    <a:pt x="165281" y="4137"/>
                  </a:lnTo>
                  <a:lnTo>
                    <a:pt x="165970" y="3276"/>
                  </a:lnTo>
                  <a:lnTo>
                    <a:pt x="166315" y="2586"/>
                  </a:lnTo>
                  <a:lnTo>
                    <a:pt x="166487" y="2069"/>
                  </a:lnTo>
                  <a:lnTo>
                    <a:pt x="166487" y="1724"/>
                  </a:lnTo>
                  <a:lnTo>
                    <a:pt x="166487" y="1552"/>
                  </a:lnTo>
                  <a:lnTo>
                    <a:pt x="163212" y="2758"/>
                  </a:lnTo>
                  <a:lnTo>
                    <a:pt x="159421" y="3965"/>
                  </a:lnTo>
                  <a:lnTo>
                    <a:pt x="155112" y="4999"/>
                  </a:lnTo>
                  <a:lnTo>
                    <a:pt x="150286" y="6205"/>
                  </a:lnTo>
                  <a:lnTo>
                    <a:pt x="144944" y="7239"/>
                  </a:lnTo>
                  <a:lnTo>
                    <a:pt x="139256" y="8101"/>
                  </a:lnTo>
                  <a:lnTo>
                    <a:pt x="132879" y="8963"/>
                  </a:lnTo>
                  <a:lnTo>
                    <a:pt x="126330" y="9825"/>
                  </a:lnTo>
                  <a:lnTo>
                    <a:pt x="119092" y="10514"/>
                  </a:lnTo>
                  <a:lnTo>
                    <a:pt x="111509" y="11031"/>
                  </a:lnTo>
                  <a:lnTo>
                    <a:pt x="103581" y="11548"/>
                  </a:lnTo>
                  <a:lnTo>
                    <a:pt x="95136" y="11893"/>
                  </a:lnTo>
                  <a:lnTo>
                    <a:pt x="86346" y="12065"/>
                  </a:lnTo>
                  <a:lnTo>
                    <a:pt x="77212" y="12065"/>
                  </a:lnTo>
                  <a:lnTo>
                    <a:pt x="67733" y="11893"/>
                  </a:lnTo>
                  <a:lnTo>
                    <a:pt x="57909" y="11548"/>
                  </a:lnTo>
                  <a:lnTo>
                    <a:pt x="52049" y="11203"/>
                  </a:lnTo>
                  <a:lnTo>
                    <a:pt x="46706" y="10686"/>
                  </a:lnTo>
                  <a:lnTo>
                    <a:pt x="41536" y="10342"/>
                  </a:lnTo>
                  <a:lnTo>
                    <a:pt x="36710" y="9652"/>
                  </a:lnTo>
                  <a:lnTo>
                    <a:pt x="32229" y="9135"/>
                  </a:lnTo>
                  <a:lnTo>
                    <a:pt x="28093" y="8446"/>
                  </a:lnTo>
                  <a:lnTo>
                    <a:pt x="20510" y="6895"/>
                  </a:lnTo>
                  <a:lnTo>
                    <a:pt x="13961" y="5344"/>
                  </a:lnTo>
                  <a:lnTo>
                    <a:pt x="8446" y="3448"/>
                  </a:lnTo>
                  <a:lnTo>
                    <a:pt x="3792" y="172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B7840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64685;p148">
              <a:extLst>
                <a:ext uri="{FF2B5EF4-FFF2-40B4-BE49-F238E27FC236}">
                  <a16:creationId xmlns:a16="http://schemas.microsoft.com/office/drawing/2014/main" id="{F4D367F4-F159-E2AB-666F-DCEC0A2EC4C2}"/>
                </a:ext>
              </a:extLst>
            </p:cNvPr>
            <p:cNvSpPr/>
            <p:nvPr/>
          </p:nvSpPr>
          <p:spPr>
            <a:xfrm>
              <a:off x="8408543" y="6821104"/>
              <a:ext cx="1785441" cy="136809"/>
            </a:xfrm>
            <a:custGeom>
              <a:avLst/>
              <a:gdLst/>
              <a:ahLst/>
              <a:cxnLst/>
              <a:rect l="l" t="t" r="r" b="b"/>
              <a:pathLst>
                <a:path w="130467" h="9997" extrusionOk="0">
                  <a:moveTo>
                    <a:pt x="130467" y="1"/>
                  </a:moveTo>
                  <a:lnTo>
                    <a:pt x="128054" y="690"/>
                  </a:lnTo>
                  <a:lnTo>
                    <a:pt x="125124" y="1380"/>
                  </a:lnTo>
                  <a:lnTo>
                    <a:pt x="122022" y="2069"/>
                  </a:lnTo>
                  <a:lnTo>
                    <a:pt x="118747" y="2586"/>
                  </a:lnTo>
                  <a:lnTo>
                    <a:pt x="110819" y="3448"/>
                  </a:lnTo>
                  <a:lnTo>
                    <a:pt x="101512" y="4310"/>
                  </a:lnTo>
                  <a:lnTo>
                    <a:pt x="90827" y="4999"/>
                  </a:lnTo>
                  <a:lnTo>
                    <a:pt x="78590" y="5516"/>
                  </a:lnTo>
                  <a:lnTo>
                    <a:pt x="49119" y="6378"/>
                  </a:lnTo>
                  <a:lnTo>
                    <a:pt x="41364" y="6378"/>
                  </a:lnTo>
                  <a:lnTo>
                    <a:pt x="34125" y="6205"/>
                  </a:lnTo>
                  <a:lnTo>
                    <a:pt x="27404" y="5688"/>
                  </a:lnTo>
                  <a:lnTo>
                    <a:pt x="21027" y="4999"/>
                  </a:lnTo>
                  <a:lnTo>
                    <a:pt x="15167" y="3965"/>
                  </a:lnTo>
                  <a:lnTo>
                    <a:pt x="9652" y="2931"/>
                  </a:lnTo>
                  <a:lnTo>
                    <a:pt x="4654" y="1724"/>
                  </a:lnTo>
                  <a:lnTo>
                    <a:pt x="0" y="346"/>
                  </a:lnTo>
                  <a:lnTo>
                    <a:pt x="5688" y="2758"/>
                  </a:lnTo>
                  <a:lnTo>
                    <a:pt x="12409" y="4999"/>
                  </a:lnTo>
                  <a:lnTo>
                    <a:pt x="14822" y="5688"/>
                  </a:lnTo>
                  <a:lnTo>
                    <a:pt x="17580" y="6378"/>
                  </a:lnTo>
                  <a:lnTo>
                    <a:pt x="23440" y="7584"/>
                  </a:lnTo>
                  <a:lnTo>
                    <a:pt x="29816" y="8446"/>
                  </a:lnTo>
                  <a:lnTo>
                    <a:pt x="36710" y="9135"/>
                  </a:lnTo>
                  <a:lnTo>
                    <a:pt x="43776" y="9652"/>
                  </a:lnTo>
                  <a:lnTo>
                    <a:pt x="51187" y="9997"/>
                  </a:lnTo>
                  <a:lnTo>
                    <a:pt x="66181" y="9997"/>
                  </a:lnTo>
                  <a:lnTo>
                    <a:pt x="73765" y="9825"/>
                  </a:lnTo>
                  <a:lnTo>
                    <a:pt x="81176" y="9308"/>
                  </a:lnTo>
                  <a:lnTo>
                    <a:pt x="88242" y="8791"/>
                  </a:lnTo>
                  <a:lnTo>
                    <a:pt x="94963" y="8274"/>
                  </a:lnTo>
                  <a:lnTo>
                    <a:pt x="101340" y="7412"/>
                  </a:lnTo>
                  <a:lnTo>
                    <a:pt x="107200" y="6550"/>
                  </a:lnTo>
                  <a:lnTo>
                    <a:pt x="112370" y="5688"/>
                  </a:lnTo>
                  <a:lnTo>
                    <a:pt x="116851" y="4654"/>
                  </a:lnTo>
                  <a:lnTo>
                    <a:pt x="120643" y="3620"/>
                  </a:lnTo>
                  <a:lnTo>
                    <a:pt x="124262" y="2586"/>
                  </a:lnTo>
                  <a:lnTo>
                    <a:pt x="127537" y="1380"/>
                  </a:lnTo>
                  <a:lnTo>
                    <a:pt x="130467" y="1"/>
                  </a:lnTo>
                  <a:close/>
                </a:path>
              </a:pathLst>
            </a:custGeom>
            <a:solidFill>
              <a:srgbClr val="936A0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41" name="Google Shape;64686;p148">
              <a:extLst>
                <a:ext uri="{FF2B5EF4-FFF2-40B4-BE49-F238E27FC236}">
                  <a16:creationId xmlns:a16="http://schemas.microsoft.com/office/drawing/2014/main" id="{7685593D-F177-03F0-A749-3E5FB93AC81C}"/>
                </a:ext>
              </a:extLst>
            </p:cNvPr>
            <p:cNvGrpSpPr/>
            <p:nvPr/>
          </p:nvGrpSpPr>
          <p:grpSpPr>
            <a:xfrm rot="-1005203">
              <a:off x="8855994" y="6160572"/>
              <a:ext cx="1018972" cy="1049626"/>
              <a:chOff x="12545300" y="1287800"/>
              <a:chExt cx="1861350" cy="1917350"/>
            </a:xfrm>
          </p:grpSpPr>
          <p:sp>
            <p:nvSpPr>
              <p:cNvPr id="42" name="Google Shape;64687;p148">
                <a:extLst>
                  <a:ext uri="{FF2B5EF4-FFF2-40B4-BE49-F238E27FC236}">
                    <a16:creationId xmlns:a16="http://schemas.microsoft.com/office/drawing/2014/main" id="{50A63C03-8463-CCF9-D692-C5333364911F}"/>
                  </a:ext>
                </a:extLst>
              </p:cNvPr>
              <p:cNvSpPr/>
              <p:nvPr/>
            </p:nvSpPr>
            <p:spPr>
              <a:xfrm>
                <a:off x="12928750" y="1662650"/>
                <a:ext cx="1103050" cy="1154725"/>
              </a:xfrm>
              <a:custGeom>
                <a:avLst/>
                <a:gdLst/>
                <a:ahLst/>
                <a:cxnLst/>
                <a:rect l="l" t="t" r="r" b="b"/>
                <a:pathLst>
                  <a:path w="44122" h="46189" extrusionOk="0">
                    <a:moveTo>
                      <a:pt x="43088" y="0"/>
                    </a:moveTo>
                    <a:lnTo>
                      <a:pt x="1" y="45155"/>
                    </a:lnTo>
                    <a:lnTo>
                      <a:pt x="863" y="46189"/>
                    </a:lnTo>
                    <a:lnTo>
                      <a:pt x="44122" y="1034"/>
                    </a:lnTo>
                    <a:lnTo>
                      <a:pt x="43088" y="0"/>
                    </a:lnTo>
                    <a:close/>
                  </a:path>
                </a:pathLst>
              </a:custGeom>
              <a:solidFill>
                <a:srgbClr val="46464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" name="Google Shape;64688;p148">
                <a:extLst>
                  <a:ext uri="{FF2B5EF4-FFF2-40B4-BE49-F238E27FC236}">
                    <a16:creationId xmlns:a16="http://schemas.microsoft.com/office/drawing/2014/main" id="{3C254DA9-6EF2-3A06-2559-65DB3EE0903D}"/>
                  </a:ext>
                </a:extLst>
              </p:cNvPr>
              <p:cNvSpPr/>
              <p:nvPr/>
            </p:nvSpPr>
            <p:spPr>
              <a:xfrm>
                <a:off x="14005925" y="1287800"/>
                <a:ext cx="400725" cy="400725"/>
              </a:xfrm>
              <a:custGeom>
                <a:avLst/>
                <a:gdLst/>
                <a:ahLst/>
                <a:cxnLst/>
                <a:rect l="l" t="t" r="r" b="b"/>
                <a:pathLst>
                  <a:path w="16029" h="16029" extrusionOk="0">
                    <a:moveTo>
                      <a:pt x="10341" y="0"/>
                    </a:moveTo>
                    <a:lnTo>
                      <a:pt x="1207" y="8962"/>
                    </a:lnTo>
                    <a:lnTo>
                      <a:pt x="1035" y="9134"/>
                    </a:lnTo>
                    <a:lnTo>
                      <a:pt x="1" y="14994"/>
                    </a:lnTo>
                    <a:lnTo>
                      <a:pt x="1035" y="16028"/>
                    </a:lnTo>
                    <a:lnTo>
                      <a:pt x="6722" y="14477"/>
                    </a:lnTo>
                    <a:lnTo>
                      <a:pt x="15684" y="5170"/>
                    </a:lnTo>
                    <a:lnTo>
                      <a:pt x="16029" y="4998"/>
                    </a:lnTo>
                    <a:lnTo>
                      <a:pt x="15856" y="4826"/>
                    </a:lnTo>
                    <a:lnTo>
                      <a:pt x="14995" y="3964"/>
                    </a:lnTo>
                    <a:lnTo>
                      <a:pt x="10341" y="0"/>
                    </a:lnTo>
                    <a:close/>
                  </a:path>
                </a:pathLst>
              </a:custGeom>
              <a:solidFill>
                <a:srgbClr val="FFB6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64689;p148">
                <a:extLst>
                  <a:ext uri="{FF2B5EF4-FFF2-40B4-BE49-F238E27FC236}">
                    <a16:creationId xmlns:a16="http://schemas.microsoft.com/office/drawing/2014/main" id="{89ABAB7A-A172-A195-2074-148A6CD381F5}"/>
                  </a:ext>
                </a:extLst>
              </p:cNvPr>
              <p:cNvSpPr/>
              <p:nvPr/>
            </p:nvSpPr>
            <p:spPr>
              <a:xfrm>
                <a:off x="12545300" y="2791500"/>
                <a:ext cx="405025" cy="413650"/>
              </a:xfrm>
              <a:custGeom>
                <a:avLst/>
                <a:gdLst/>
                <a:ahLst/>
                <a:cxnLst/>
                <a:rect l="l" t="t" r="r" b="b"/>
                <a:pathLst>
                  <a:path w="16201" h="16546" extrusionOk="0">
                    <a:moveTo>
                      <a:pt x="15339" y="1"/>
                    </a:moveTo>
                    <a:lnTo>
                      <a:pt x="14822" y="173"/>
                    </a:lnTo>
                    <a:lnTo>
                      <a:pt x="9307" y="2069"/>
                    </a:lnTo>
                    <a:lnTo>
                      <a:pt x="1379" y="10169"/>
                    </a:lnTo>
                    <a:lnTo>
                      <a:pt x="0" y="11548"/>
                    </a:lnTo>
                    <a:lnTo>
                      <a:pt x="5688" y="16546"/>
                    </a:lnTo>
                    <a:lnTo>
                      <a:pt x="14994" y="7411"/>
                    </a:lnTo>
                    <a:lnTo>
                      <a:pt x="16201" y="1035"/>
                    </a:lnTo>
                    <a:lnTo>
                      <a:pt x="15339" y="1"/>
                    </a:lnTo>
                    <a:close/>
                  </a:path>
                </a:pathLst>
              </a:custGeom>
              <a:solidFill>
                <a:srgbClr val="FFB6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64690;p148">
                <a:extLst>
                  <a:ext uri="{FF2B5EF4-FFF2-40B4-BE49-F238E27FC236}">
                    <a16:creationId xmlns:a16="http://schemas.microsoft.com/office/drawing/2014/main" id="{284CC137-EF51-9824-B8BA-2231264D75D3}"/>
                  </a:ext>
                </a:extLst>
              </p:cNvPr>
              <p:cNvSpPr/>
              <p:nvPr/>
            </p:nvSpPr>
            <p:spPr>
              <a:xfrm>
                <a:off x="12545300" y="2791500"/>
                <a:ext cx="405025" cy="413650"/>
              </a:xfrm>
              <a:custGeom>
                <a:avLst/>
                <a:gdLst/>
                <a:ahLst/>
                <a:cxnLst/>
                <a:rect l="l" t="t" r="r" b="b"/>
                <a:pathLst>
                  <a:path w="16201" h="16546" extrusionOk="0">
                    <a:moveTo>
                      <a:pt x="15339" y="1"/>
                    </a:moveTo>
                    <a:lnTo>
                      <a:pt x="14822" y="173"/>
                    </a:lnTo>
                    <a:lnTo>
                      <a:pt x="14822" y="2069"/>
                    </a:lnTo>
                    <a:lnTo>
                      <a:pt x="14305" y="3620"/>
                    </a:lnTo>
                    <a:lnTo>
                      <a:pt x="13788" y="5171"/>
                    </a:lnTo>
                    <a:lnTo>
                      <a:pt x="12754" y="6377"/>
                    </a:lnTo>
                    <a:lnTo>
                      <a:pt x="11547" y="7584"/>
                    </a:lnTo>
                    <a:lnTo>
                      <a:pt x="10169" y="8790"/>
                    </a:lnTo>
                    <a:lnTo>
                      <a:pt x="6205" y="11203"/>
                    </a:lnTo>
                    <a:lnTo>
                      <a:pt x="5171" y="11720"/>
                    </a:lnTo>
                    <a:lnTo>
                      <a:pt x="4309" y="11892"/>
                    </a:lnTo>
                    <a:lnTo>
                      <a:pt x="3619" y="12065"/>
                    </a:lnTo>
                    <a:lnTo>
                      <a:pt x="2930" y="11892"/>
                    </a:lnTo>
                    <a:lnTo>
                      <a:pt x="2413" y="11720"/>
                    </a:lnTo>
                    <a:lnTo>
                      <a:pt x="2068" y="11375"/>
                    </a:lnTo>
                    <a:lnTo>
                      <a:pt x="1551" y="10858"/>
                    </a:lnTo>
                    <a:lnTo>
                      <a:pt x="1379" y="10169"/>
                    </a:lnTo>
                    <a:lnTo>
                      <a:pt x="0" y="11548"/>
                    </a:lnTo>
                    <a:lnTo>
                      <a:pt x="5688" y="16546"/>
                    </a:lnTo>
                    <a:lnTo>
                      <a:pt x="14994" y="7411"/>
                    </a:lnTo>
                    <a:lnTo>
                      <a:pt x="16201" y="1035"/>
                    </a:lnTo>
                    <a:lnTo>
                      <a:pt x="15339" y="1"/>
                    </a:lnTo>
                    <a:close/>
                  </a:path>
                </a:pathLst>
              </a:custGeom>
              <a:solidFill>
                <a:srgbClr val="B7840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" name="Google Shape;64691;p148">
                <a:extLst>
                  <a:ext uri="{FF2B5EF4-FFF2-40B4-BE49-F238E27FC236}">
                    <a16:creationId xmlns:a16="http://schemas.microsoft.com/office/drawing/2014/main" id="{DC24397A-23DC-4D38-409E-BD80AD48E37B}"/>
                  </a:ext>
                </a:extLst>
              </p:cNvPr>
              <p:cNvSpPr/>
              <p:nvPr/>
            </p:nvSpPr>
            <p:spPr>
              <a:xfrm>
                <a:off x="14005925" y="1386875"/>
                <a:ext cx="396425" cy="301650"/>
              </a:xfrm>
              <a:custGeom>
                <a:avLst/>
                <a:gdLst/>
                <a:ahLst/>
                <a:cxnLst/>
                <a:rect l="l" t="t" r="r" b="b"/>
                <a:pathLst>
                  <a:path w="15857" h="12066" extrusionOk="0">
                    <a:moveTo>
                      <a:pt x="14995" y="1"/>
                    </a:moveTo>
                    <a:lnTo>
                      <a:pt x="13271" y="1897"/>
                    </a:lnTo>
                    <a:lnTo>
                      <a:pt x="11203" y="3965"/>
                    </a:lnTo>
                    <a:lnTo>
                      <a:pt x="8790" y="6205"/>
                    </a:lnTo>
                    <a:lnTo>
                      <a:pt x="6205" y="8274"/>
                    </a:lnTo>
                    <a:lnTo>
                      <a:pt x="4999" y="8963"/>
                    </a:lnTo>
                    <a:lnTo>
                      <a:pt x="3965" y="9308"/>
                    </a:lnTo>
                    <a:lnTo>
                      <a:pt x="3103" y="9135"/>
                    </a:lnTo>
                    <a:lnTo>
                      <a:pt x="2413" y="8618"/>
                    </a:lnTo>
                    <a:lnTo>
                      <a:pt x="1896" y="7929"/>
                    </a:lnTo>
                    <a:lnTo>
                      <a:pt x="1552" y="7067"/>
                    </a:lnTo>
                    <a:lnTo>
                      <a:pt x="1379" y="6033"/>
                    </a:lnTo>
                    <a:lnTo>
                      <a:pt x="1207" y="4999"/>
                    </a:lnTo>
                    <a:lnTo>
                      <a:pt x="1035" y="5171"/>
                    </a:lnTo>
                    <a:lnTo>
                      <a:pt x="1" y="11031"/>
                    </a:lnTo>
                    <a:lnTo>
                      <a:pt x="1035" y="12065"/>
                    </a:lnTo>
                    <a:lnTo>
                      <a:pt x="6722" y="10514"/>
                    </a:lnTo>
                    <a:lnTo>
                      <a:pt x="15684" y="1207"/>
                    </a:lnTo>
                    <a:lnTo>
                      <a:pt x="15856" y="863"/>
                    </a:lnTo>
                    <a:lnTo>
                      <a:pt x="14995" y="1"/>
                    </a:lnTo>
                    <a:close/>
                  </a:path>
                </a:pathLst>
              </a:custGeom>
              <a:solidFill>
                <a:srgbClr val="B7840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pic>
        <p:nvPicPr>
          <p:cNvPr id="47" name="Google Shape;2353;p62">
            <a:extLst>
              <a:ext uri="{FF2B5EF4-FFF2-40B4-BE49-F238E27FC236}">
                <a16:creationId xmlns:a16="http://schemas.microsoft.com/office/drawing/2014/main" id="{BBBB8265-EA7A-2A9D-D6F4-13179732DD5B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2312520" y="4803806"/>
            <a:ext cx="367123" cy="85586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8" name="Google Shape;2274;p60">
            <a:extLst>
              <a:ext uri="{FF2B5EF4-FFF2-40B4-BE49-F238E27FC236}">
                <a16:creationId xmlns:a16="http://schemas.microsoft.com/office/drawing/2014/main" id="{C0F3AE5B-BE7A-D180-BCB6-DA51FFBCCE44}"/>
              </a:ext>
            </a:extLst>
          </p:cNvPr>
          <p:cNvGrpSpPr/>
          <p:nvPr/>
        </p:nvGrpSpPr>
        <p:grpSpPr>
          <a:xfrm>
            <a:off x="2415624" y="2606509"/>
            <a:ext cx="562881" cy="503466"/>
            <a:chOff x="1094650" y="238125"/>
            <a:chExt cx="5430700" cy="5238750"/>
          </a:xfrm>
        </p:grpSpPr>
        <p:sp>
          <p:nvSpPr>
            <p:cNvPr id="49" name="Google Shape;2275;p60">
              <a:extLst>
                <a:ext uri="{FF2B5EF4-FFF2-40B4-BE49-F238E27FC236}">
                  <a16:creationId xmlns:a16="http://schemas.microsoft.com/office/drawing/2014/main" id="{8CF77109-1C8F-EB56-F51E-41473E900826}"/>
                </a:ext>
              </a:extLst>
            </p:cNvPr>
            <p:cNvSpPr/>
            <p:nvPr/>
          </p:nvSpPr>
          <p:spPr>
            <a:xfrm>
              <a:off x="3474750" y="1701525"/>
              <a:ext cx="361700" cy="2839175"/>
            </a:xfrm>
            <a:custGeom>
              <a:avLst/>
              <a:gdLst/>
              <a:ahLst/>
              <a:cxnLst/>
              <a:rect l="l" t="t" r="r" b="b"/>
              <a:pathLst>
                <a:path w="14468" h="113567" extrusionOk="0">
                  <a:moveTo>
                    <a:pt x="10461" y="0"/>
                  </a:moveTo>
                  <a:lnTo>
                    <a:pt x="9292" y="4785"/>
                  </a:lnTo>
                  <a:lnTo>
                    <a:pt x="8625" y="7289"/>
                  </a:lnTo>
                  <a:lnTo>
                    <a:pt x="7846" y="10183"/>
                  </a:lnTo>
                  <a:lnTo>
                    <a:pt x="7067" y="13577"/>
                  </a:lnTo>
                  <a:lnTo>
                    <a:pt x="6622" y="15413"/>
                  </a:lnTo>
                  <a:lnTo>
                    <a:pt x="6232" y="17305"/>
                  </a:lnTo>
                  <a:lnTo>
                    <a:pt x="4452" y="25763"/>
                  </a:lnTo>
                  <a:lnTo>
                    <a:pt x="2894" y="35277"/>
                  </a:lnTo>
                  <a:lnTo>
                    <a:pt x="2504" y="37781"/>
                  </a:lnTo>
                  <a:lnTo>
                    <a:pt x="2170" y="40341"/>
                  </a:lnTo>
                  <a:lnTo>
                    <a:pt x="1558" y="45516"/>
                  </a:lnTo>
                  <a:lnTo>
                    <a:pt x="1224" y="48131"/>
                  </a:lnTo>
                  <a:lnTo>
                    <a:pt x="1002" y="50802"/>
                  </a:lnTo>
                  <a:lnTo>
                    <a:pt x="779" y="53473"/>
                  </a:lnTo>
                  <a:lnTo>
                    <a:pt x="557" y="56143"/>
                  </a:lnTo>
                  <a:lnTo>
                    <a:pt x="390" y="58814"/>
                  </a:lnTo>
                  <a:lnTo>
                    <a:pt x="278" y="61485"/>
                  </a:lnTo>
                  <a:lnTo>
                    <a:pt x="56" y="66827"/>
                  </a:lnTo>
                  <a:lnTo>
                    <a:pt x="0" y="72057"/>
                  </a:lnTo>
                  <a:lnTo>
                    <a:pt x="0" y="74672"/>
                  </a:lnTo>
                  <a:lnTo>
                    <a:pt x="56" y="77176"/>
                  </a:lnTo>
                  <a:lnTo>
                    <a:pt x="167" y="79680"/>
                  </a:lnTo>
                  <a:lnTo>
                    <a:pt x="278" y="82184"/>
                  </a:lnTo>
                  <a:lnTo>
                    <a:pt x="557" y="86914"/>
                  </a:lnTo>
                  <a:lnTo>
                    <a:pt x="1002" y="91421"/>
                  </a:lnTo>
                  <a:lnTo>
                    <a:pt x="1447" y="95594"/>
                  </a:lnTo>
                  <a:lnTo>
                    <a:pt x="2003" y="99489"/>
                  </a:lnTo>
                  <a:lnTo>
                    <a:pt x="2615" y="102939"/>
                  </a:lnTo>
                  <a:lnTo>
                    <a:pt x="3227" y="105999"/>
                  </a:lnTo>
                  <a:lnTo>
                    <a:pt x="3784" y="108614"/>
                  </a:lnTo>
                  <a:lnTo>
                    <a:pt x="4340" y="110673"/>
                  </a:lnTo>
                  <a:lnTo>
                    <a:pt x="4785" y="112287"/>
                  </a:lnTo>
                  <a:lnTo>
                    <a:pt x="5175" y="113567"/>
                  </a:lnTo>
                  <a:lnTo>
                    <a:pt x="12186" y="111118"/>
                  </a:lnTo>
                  <a:lnTo>
                    <a:pt x="11852" y="110005"/>
                  </a:lnTo>
                  <a:lnTo>
                    <a:pt x="11407" y="108670"/>
                  </a:lnTo>
                  <a:lnTo>
                    <a:pt x="10850" y="106778"/>
                  </a:lnTo>
                  <a:lnTo>
                    <a:pt x="10238" y="104386"/>
                  </a:lnTo>
                  <a:lnTo>
                    <a:pt x="9626" y="101548"/>
                  </a:lnTo>
                  <a:lnTo>
                    <a:pt x="8959" y="98265"/>
                  </a:lnTo>
                  <a:lnTo>
                    <a:pt x="8347" y="94592"/>
                  </a:lnTo>
                  <a:lnTo>
                    <a:pt x="7734" y="90586"/>
                  </a:lnTo>
                  <a:lnTo>
                    <a:pt x="7234" y="86302"/>
                  </a:lnTo>
                  <a:lnTo>
                    <a:pt x="6789" y="81739"/>
                  </a:lnTo>
                  <a:lnTo>
                    <a:pt x="6455" y="76954"/>
                  </a:lnTo>
                  <a:lnTo>
                    <a:pt x="6343" y="74450"/>
                  </a:lnTo>
                  <a:lnTo>
                    <a:pt x="6288" y="72002"/>
                  </a:lnTo>
                  <a:lnTo>
                    <a:pt x="6121" y="66882"/>
                  </a:lnTo>
                  <a:lnTo>
                    <a:pt x="6232" y="61708"/>
                  </a:lnTo>
                  <a:lnTo>
                    <a:pt x="6232" y="59092"/>
                  </a:lnTo>
                  <a:lnTo>
                    <a:pt x="6343" y="56477"/>
                  </a:lnTo>
                  <a:lnTo>
                    <a:pt x="6510" y="53862"/>
                  </a:lnTo>
                  <a:lnTo>
                    <a:pt x="6622" y="51247"/>
                  </a:lnTo>
                  <a:lnTo>
                    <a:pt x="6789" y="48632"/>
                  </a:lnTo>
                  <a:lnTo>
                    <a:pt x="7011" y="46072"/>
                  </a:lnTo>
                  <a:lnTo>
                    <a:pt x="7456" y="40953"/>
                  </a:lnTo>
                  <a:lnTo>
                    <a:pt x="7734" y="38449"/>
                  </a:lnTo>
                  <a:lnTo>
                    <a:pt x="8013" y="36001"/>
                  </a:lnTo>
                  <a:lnTo>
                    <a:pt x="9348" y="26597"/>
                  </a:lnTo>
                  <a:lnTo>
                    <a:pt x="10795" y="18251"/>
                  </a:lnTo>
                  <a:lnTo>
                    <a:pt x="11129" y="16359"/>
                  </a:lnTo>
                  <a:lnTo>
                    <a:pt x="11518" y="14523"/>
                  </a:lnTo>
                  <a:lnTo>
                    <a:pt x="12186" y="11184"/>
                  </a:lnTo>
                  <a:lnTo>
                    <a:pt x="12854" y="8291"/>
                  </a:lnTo>
                  <a:lnTo>
                    <a:pt x="13410" y="5787"/>
                  </a:lnTo>
                  <a:lnTo>
                    <a:pt x="14467" y="1057"/>
                  </a:lnTo>
                  <a:lnTo>
                    <a:pt x="10461" y="0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2276;p60">
              <a:extLst>
                <a:ext uri="{FF2B5EF4-FFF2-40B4-BE49-F238E27FC236}">
                  <a16:creationId xmlns:a16="http://schemas.microsoft.com/office/drawing/2014/main" id="{300D1D8F-1FB8-1D12-1E09-BE5FEBE28DC6}"/>
                </a:ext>
              </a:extLst>
            </p:cNvPr>
            <p:cNvSpPr/>
            <p:nvPr/>
          </p:nvSpPr>
          <p:spPr>
            <a:xfrm>
              <a:off x="3695925" y="242275"/>
              <a:ext cx="2825275" cy="1706875"/>
            </a:xfrm>
            <a:custGeom>
              <a:avLst/>
              <a:gdLst/>
              <a:ahLst/>
              <a:cxnLst/>
              <a:rect l="l" t="t" r="r" b="b"/>
              <a:pathLst>
                <a:path w="113011" h="68275" extrusionOk="0">
                  <a:moveTo>
                    <a:pt x="113010" y="1"/>
                  </a:moveTo>
                  <a:lnTo>
                    <a:pt x="112676" y="168"/>
                  </a:lnTo>
                  <a:lnTo>
                    <a:pt x="112175" y="390"/>
                  </a:lnTo>
                  <a:lnTo>
                    <a:pt x="111396" y="669"/>
                  </a:lnTo>
                  <a:lnTo>
                    <a:pt x="110395" y="947"/>
                  </a:lnTo>
                  <a:lnTo>
                    <a:pt x="109059" y="1281"/>
                  </a:lnTo>
                  <a:lnTo>
                    <a:pt x="107446" y="1559"/>
                  </a:lnTo>
                  <a:lnTo>
                    <a:pt x="105443" y="1893"/>
                  </a:lnTo>
                  <a:lnTo>
                    <a:pt x="103050" y="2171"/>
                  </a:lnTo>
                  <a:lnTo>
                    <a:pt x="100324" y="2394"/>
                  </a:lnTo>
                  <a:lnTo>
                    <a:pt x="97152" y="2560"/>
                  </a:lnTo>
                  <a:lnTo>
                    <a:pt x="93480" y="2616"/>
                  </a:lnTo>
                  <a:lnTo>
                    <a:pt x="89418" y="2560"/>
                  </a:lnTo>
                  <a:lnTo>
                    <a:pt x="84799" y="2449"/>
                  </a:lnTo>
                  <a:lnTo>
                    <a:pt x="79680" y="2171"/>
                  </a:lnTo>
                  <a:lnTo>
                    <a:pt x="74005" y="1726"/>
                  </a:lnTo>
                  <a:lnTo>
                    <a:pt x="70777" y="1503"/>
                  </a:lnTo>
                  <a:lnTo>
                    <a:pt x="67662" y="1392"/>
                  </a:lnTo>
                  <a:lnTo>
                    <a:pt x="64657" y="1392"/>
                  </a:lnTo>
                  <a:lnTo>
                    <a:pt x="61708" y="1448"/>
                  </a:lnTo>
                  <a:lnTo>
                    <a:pt x="58870" y="1670"/>
                  </a:lnTo>
                  <a:lnTo>
                    <a:pt x="56088" y="1948"/>
                  </a:lnTo>
                  <a:lnTo>
                    <a:pt x="53473" y="2338"/>
                  </a:lnTo>
                  <a:lnTo>
                    <a:pt x="50857" y="2839"/>
                  </a:lnTo>
                  <a:lnTo>
                    <a:pt x="48354" y="3395"/>
                  </a:lnTo>
                  <a:lnTo>
                    <a:pt x="45961" y="4063"/>
                  </a:lnTo>
                  <a:lnTo>
                    <a:pt x="43624" y="4786"/>
                  </a:lnTo>
                  <a:lnTo>
                    <a:pt x="41343" y="5621"/>
                  </a:lnTo>
                  <a:lnTo>
                    <a:pt x="39173" y="6511"/>
                  </a:lnTo>
                  <a:lnTo>
                    <a:pt x="37114" y="7457"/>
                  </a:lnTo>
                  <a:lnTo>
                    <a:pt x="35055" y="8459"/>
                  </a:lnTo>
                  <a:lnTo>
                    <a:pt x="33108" y="9571"/>
                  </a:lnTo>
                  <a:lnTo>
                    <a:pt x="31271" y="10684"/>
                  </a:lnTo>
                  <a:lnTo>
                    <a:pt x="29435" y="11908"/>
                  </a:lnTo>
                  <a:lnTo>
                    <a:pt x="27710" y="13188"/>
                  </a:lnTo>
                  <a:lnTo>
                    <a:pt x="26041" y="14468"/>
                  </a:lnTo>
                  <a:lnTo>
                    <a:pt x="24483" y="15803"/>
                  </a:lnTo>
                  <a:lnTo>
                    <a:pt x="22925" y="17194"/>
                  </a:lnTo>
                  <a:lnTo>
                    <a:pt x="21478" y="18641"/>
                  </a:lnTo>
                  <a:lnTo>
                    <a:pt x="20087" y="20088"/>
                  </a:lnTo>
                  <a:lnTo>
                    <a:pt x="18696" y="21590"/>
                  </a:lnTo>
                  <a:lnTo>
                    <a:pt x="17416" y="23148"/>
                  </a:lnTo>
                  <a:lnTo>
                    <a:pt x="16248" y="24706"/>
                  </a:lnTo>
                  <a:lnTo>
                    <a:pt x="15079" y="26264"/>
                  </a:lnTo>
                  <a:lnTo>
                    <a:pt x="13967" y="27878"/>
                  </a:lnTo>
                  <a:lnTo>
                    <a:pt x="12909" y="29492"/>
                  </a:lnTo>
                  <a:lnTo>
                    <a:pt x="11908" y="31105"/>
                  </a:lnTo>
                  <a:lnTo>
                    <a:pt x="10962" y="32719"/>
                  </a:lnTo>
                  <a:lnTo>
                    <a:pt x="10072" y="34332"/>
                  </a:lnTo>
                  <a:lnTo>
                    <a:pt x="9237" y="36002"/>
                  </a:lnTo>
                  <a:lnTo>
                    <a:pt x="8402" y="37615"/>
                  </a:lnTo>
                  <a:lnTo>
                    <a:pt x="7679" y="39229"/>
                  </a:lnTo>
                  <a:lnTo>
                    <a:pt x="6956" y="40843"/>
                  </a:lnTo>
                  <a:lnTo>
                    <a:pt x="6288" y="42456"/>
                  </a:lnTo>
                  <a:lnTo>
                    <a:pt x="5119" y="45628"/>
                  </a:lnTo>
                  <a:lnTo>
                    <a:pt x="4062" y="48688"/>
                  </a:lnTo>
                  <a:lnTo>
                    <a:pt x="3172" y="51582"/>
                  </a:lnTo>
                  <a:lnTo>
                    <a:pt x="2449" y="54364"/>
                  </a:lnTo>
                  <a:lnTo>
                    <a:pt x="1781" y="56979"/>
                  </a:lnTo>
                  <a:lnTo>
                    <a:pt x="1280" y="59427"/>
                  </a:lnTo>
                  <a:lnTo>
                    <a:pt x="891" y="61597"/>
                  </a:lnTo>
                  <a:lnTo>
                    <a:pt x="557" y="63489"/>
                  </a:lnTo>
                  <a:lnTo>
                    <a:pt x="334" y="65158"/>
                  </a:lnTo>
                  <a:lnTo>
                    <a:pt x="56" y="67440"/>
                  </a:lnTo>
                  <a:lnTo>
                    <a:pt x="0" y="68274"/>
                  </a:lnTo>
                  <a:lnTo>
                    <a:pt x="1892" y="67829"/>
                  </a:lnTo>
                  <a:lnTo>
                    <a:pt x="3728" y="67440"/>
                  </a:lnTo>
                  <a:lnTo>
                    <a:pt x="5565" y="67162"/>
                  </a:lnTo>
                  <a:lnTo>
                    <a:pt x="7345" y="66883"/>
                  </a:lnTo>
                  <a:lnTo>
                    <a:pt x="9126" y="66716"/>
                  </a:lnTo>
                  <a:lnTo>
                    <a:pt x="10851" y="66549"/>
                  </a:lnTo>
                  <a:lnTo>
                    <a:pt x="14412" y="66383"/>
                  </a:lnTo>
                  <a:lnTo>
                    <a:pt x="17917" y="66271"/>
                  </a:lnTo>
                  <a:lnTo>
                    <a:pt x="21534" y="66216"/>
                  </a:lnTo>
                  <a:lnTo>
                    <a:pt x="25262" y="66104"/>
                  </a:lnTo>
                  <a:lnTo>
                    <a:pt x="27154" y="65993"/>
                  </a:lnTo>
                  <a:lnTo>
                    <a:pt x="29157" y="65826"/>
                  </a:lnTo>
                  <a:lnTo>
                    <a:pt x="31160" y="65659"/>
                  </a:lnTo>
                  <a:lnTo>
                    <a:pt x="33219" y="65437"/>
                  </a:lnTo>
                  <a:lnTo>
                    <a:pt x="35333" y="65158"/>
                  </a:lnTo>
                  <a:lnTo>
                    <a:pt x="37559" y="64769"/>
                  </a:lnTo>
                  <a:lnTo>
                    <a:pt x="39785" y="64324"/>
                  </a:lnTo>
                  <a:lnTo>
                    <a:pt x="42177" y="63823"/>
                  </a:lnTo>
                  <a:lnTo>
                    <a:pt x="44570" y="63211"/>
                  </a:lnTo>
                  <a:lnTo>
                    <a:pt x="47129" y="62488"/>
                  </a:lnTo>
                  <a:lnTo>
                    <a:pt x="49745" y="61653"/>
                  </a:lnTo>
                  <a:lnTo>
                    <a:pt x="52471" y="60707"/>
                  </a:lnTo>
                  <a:lnTo>
                    <a:pt x="55253" y="59650"/>
                  </a:lnTo>
                  <a:lnTo>
                    <a:pt x="58202" y="58481"/>
                  </a:lnTo>
                  <a:lnTo>
                    <a:pt x="61263" y="57146"/>
                  </a:lnTo>
                  <a:lnTo>
                    <a:pt x="64434" y="55644"/>
                  </a:lnTo>
                  <a:lnTo>
                    <a:pt x="67773" y="53974"/>
                  </a:lnTo>
                  <a:lnTo>
                    <a:pt x="71223" y="52194"/>
                  </a:lnTo>
                  <a:lnTo>
                    <a:pt x="72113" y="51693"/>
                  </a:lnTo>
                  <a:lnTo>
                    <a:pt x="72948" y="51136"/>
                  </a:lnTo>
                  <a:lnTo>
                    <a:pt x="74728" y="49968"/>
                  </a:lnTo>
                  <a:lnTo>
                    <a:pt x="76509" y="48577"/>
                  </a:lnTo>
                  <a:lnTo>
                    <a:pt x="78345" y="47075"/>
                  </a:lnTo>
                  <a:lnTo>
                    <a:pt x="80125" y="45405"/>
                  </a:lnTo>
                  <a:lnTo>
                    <a:pt x="81962" y="43625"/>
                  </a:lnTo>
                  <a:lnTo>
                    <a:pt x="83742" y="41789"/>
                  </a:lnTo>
                  <a:lnTo>
                    <a:pt x="85578" y="39785"/>
                  </a:lnTo>
                  <a:lnTo>
                    <a:pt x="87359" y="37782"/>
                  </a:lnTo>
                  <a:lnTo>
                    <a:pt x="89139" y="35668"/>
                  </a:lnTo>
                  <a:lnTo>
                    <a:pt x="90864" y="33498"/>
                  </a:lnTo>
                  <a:lnTo>
                    <a:pt x="92589" y="31272"/>
                  </a:lnTo>
                  <a:lnTo>
                    <a:pt x="94259" y="29046"/>
                  </a:lnTo>
                  <a:lnTo>
                    <a:pt x="95928" y="26821"/>
                  </a:lnTo>
                  <a:lnTo>
                    <a:pt x="99099" y="22314"/>
                  </a:lnTo>
                  <a:lnTo>
                    <a:pt x="101993" y="17973"/>
                  </a:lnTo>
                  <a:lnTo>
                    <a:pt x="104664" y="13856"/>
                  </a:lnTo>
                  <a:lnTo>
                    <a:pt x="107056" y="10072"/>
                  </a:lnTo>
                  <a:lnTo>
                    <a:pt x="109115" y="6734"/>
                  </a:lnTo>
                  <a:lnTo>
                    <a:pt x="110784" y="3952"/>
                  </a:lnTo>
                  <a:lnTo>
                    <a:pt x="112009" y="1837"/>
                  </a:lnTo>
                  <a:lnTo>
                    <a:pt x="113010" y="1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2277;p60">
              <a:extLst>
                <a:ext uri="{FF2B5EF4-FFF2-40B4-BE49-F238E27FC236}">
                  <a16:creationId xmlns:a16="http://schemas.microsoft.com/office/drawing/2014/main" id="{BB71BCD8-EC60-D8F6-651C-8453871133CA}"/>
                </a:ext>
              </a:extLst>
            </p:cNvPr>
            <p:cNvSpPr/>
            <p:nvPr/>
          </p:nvSpPr>
          <p:spPr>
            <a:xfrm>
              <a:off x="1281050" y="345225"/>
              <a:ext cx="2359250" cy="1965600"/>
            </a:xfrm>
            <a:custGeom>
              <a:avLst/>
              <a:gdLst/>
              <a:ahLst/>
              <a:cxnLst/>
              <a:rect l="l" t="t" r="r" b="b"/>
              <a:pathLst>
                <a:path w="94370" h="78624" extrusionOk="0">
                  <a:moveTo>
                    <a:pt x="12074" y="0"/>
                  </a:moveTo>
                  <a:lnTo>
                    <a:pt x="8013" y="112"/>
                  </a:lnTo>
                  <a:lnTo>
                    <a:pt x="4674" y="334"/>
                  </a:lnTo>
                  <a:lnTo>
                    <a:pt x="2170" y="501"/>
                  </a:lnTo>
                  <a:lnTo>
                    <a:pt x="0" y="724"/>
                  </a:lnTo>
                  <a:lnTo>
                    <a:pt x="668" y="1447"/>
                  </a:lnTo>
                  <a:lnTo>
                    <a:pt x="2560" y="3673"/>
                  </a:lnTo>
                  <a:lnTo>
                    <a:pt x="3895" y="5231"/>
                  </a:lnTo>
                  <a:lnTo>
                    <a:pt x="5397" y="7178"/>
                  </a:lnTo>
                  <a:lnTo>
                    <a:pt x="7122" y="9348"/>
                  </a:lnTo>
                  <a:lnTo>
                    <a:pt x="9014" y="11852"/>
                  </a:lnTo>
                  <a:lnTo>
                    <a:pt x="11017" y="14579"/>
                  </a:lnTo>
                  <a:lnTo>
                    <a:pt x="13132" y="17528"/>
                  </a:lnTo>
                  <a:lnTo>
                    <a:pt x="15302" y="20755"/>
                  </a:lnTo>
                  <a:lnTo>
                    <a:pt x="17527" y="24205"/>
                  </a:lnTo>
                  <a:lnTo>
                    <a:pt x="19753" y="27822"/>
                  </a:lnTo>
                  <a:lnTo>
                    <a:pt x="21979" y="31661"/>
                  </a:lnTo>
                  <a:lnTo>
                    <a:pt x="24149" y="35612"/>
                  </a:lnTo>
                  <a:lnTo>
                    <a:pt x="25206" y="37671"/>
                  </a:lnTo>
                  <a:lnTo>
                    <a:pt x="26263" y="39785"/>
                  </a:lnTo>
                  <a:lnTo>
                    <a:pt x="26987" y="41232"/>
                  </a:lnTo>
                  <a:lnTo>
                    <a:pt x="27766" y="42623"/>
                  </a:lnTo>
                  <a:lnTo>
                    <a:pt x="28545" y="44069"/>
                  </a:lnTo>
                  <a:lnTo>
                    <a:pt x="29379" y="45460"/>
                  </a:lnTo>
                  <a:lnTo>
                    <a:pt x="30214" y="46796"/>
                  </a:lnTo>
                  <a:lnTo>
                    <a:pt x="31104" y="48131"/>
                  </a:lnTo>
                  <a:lnTo>
                    <a:pt x="31994" y="49467"/>
                  </a:lnTo>
                  <a:lnTo>
                    <a:pt x="32940" y="50802"/>
                  </a:lnTo>
                  <a:lnTo>
                    <a:pt x="33942" y="52082"/>
                  </a:lnTo>
                  <a:lnTo>
                    <a:pt x="34944" y="53306"/>
                  </a:lnTo>
                  <a:lnTo>
                    <a:pt x="36056" y="54530"/>
                  </a:lnTo>
                  <a:lnTo>
                    <a:pt x="37114" y="55754"/>
                  </a:lnTo>
                  <a:lnTo>
                    <a:pt x="38282" y="56923"/>
                  </a:lnTo>
                  <a:lnTo>
                    <a:pt x="39451" y="58036"/>
                  </a:lnTo>
                  <a:lnTo>
                    <a:pt x="40675" y="59149"/>
                  </a:lnTo>
                  <a:lnTo>
                    <a:pt x="41954" y="60261"/>
                  </a:lnTo>
                  <a:lnTo>
                    <a:pt x="43234" y="61319"/>
                  </a:lnTo>
                  <a:lnTo>
                    <a:pt x="44570" y="62320"/>
                  </a:lnTo>
                  <a:lnTo>
                    <a:pt x="45961" y="63322"/>
                  </a:lnTo>
                  <a:lnTo>
                    <a:pt x="47407" y="64268"/>
                  </a:lnTo>
                  <a:lnTo>
                    <a:pt x="48910" y="65214"/>
                  </a:lnTo>
                  <a:lnTo>
                    <a:pt x="50468" y="66104"/>
                  </a:lnTo>
                  <a:lnTo>
                    <a:pt x="52026" y="66939"/>
                  </a:lnTo>
                  <a:lnTo>
                    <a:pt x="53639" y="67773"/>
                  </a:lnTo>
                  <a:lnTo>
                    <a:pt x="55364" y="68552"/>
                  </a:lnTo>
                  <a:lnTo>
                    <a:pt x="57089" y="69276"/>
                  </a:lnTo>
                  <a:lnTo>
                    <a:pt x="58870" y="69999"/>
                  </a:lnTo>
                  <a:lnTo>
                    <a:pt x="60706" y="70667"/>
                  </a:lnTo>
                  <a:lnTo>
                    <a:pt x="62598" y="71279"/>
                  </a:lnTo>
                  <a:lnTo>
                    <a:pt x="64545" y="71891"/>
                  </a:lnTo>
                  <a:lnTo>
                    <a:pt x="66548" y="72447"/>
                  </a:lnTo>
                  <a:lnTo>
                    <a:pt x="68607" y="72948"/>
                  </a:lnTo>
                  <a:lnTo>
                    <a:pt x="71334" y="73504"/>
                  </a:lnTo>
                  <a:lnTo>
                    <a:pt x="73893" y="74005"/>
                  </a:lnTo>
                  <a:lnTo>
                    <a:pt x="76286" y="74395"/>
                  </a:lnTo>
                  <a:lnTo>
                    <a:pt x="78567" y="74728"/>
                  </a:lnTo>
                  <a:lnTo>
                    <a:pt x="82685" y="75174"/>
                  </a:lnTo>
                  <a:lnTo>
                    <a:pt x="86246" y="75507"/>
                  </a:lnTo>
                  <a:lnTo>
                    <a:pt x="87748" y="75730"/>
                  </a:lnTo>
                  <a:lnTo>
                    <a:pt x="89139" y="75953"/>
                  </a:lnTo>
                  <a:lnTo>
                    <a:pt x="90363" y="76175"/>
                  </a:lnTo>
                  <a:lnTo>
                    <a:pt x="91421" y="76509"/>
                  </a:lnTo>
                  <a:lnTo>
                    <a:pt x="91866" y="76676"/>
                  </a:lnTo>
                  <a:lnTo>
                    <a:pt x="92311" y="76899"/>
                  </a:lnTo>
                  <a:lnTo>
                    <a:pt x="92700" y="77121"/>
                  </a:lnTo>
                  <a:lnTo>
                    <a:pt x="93034" y="77344"/>
                  </a:lnTo>
                  <a:lnTo>
                    <a:pt x="93368" y="77622"/>
                  </a:lnTo>
                  <a:lnTo>
                    <a:pt x="93591" y="77956"/>
                  </a:lnTo>
                  <a:lnTo>
                    <a:pt x="93813" y="78290"/>
                  </a:lnTo>
                  <a:lnTo>
                    <a:pt x="94036" y="78623"/>
                  </a:lnTo>
                  <a:lnTo>
                    <a:pt x="94091" y="78401"/>
                  </a:lnTo>
                  <a:lnTo>
                    <a:pt x="94203" y="77622"/>
                  </a:lnTo>
                  <a:lnTo>
                    <a:pt x="94314" y="76342"/>
                  </a:lnTo>
                  <a:lnTo>
                    <a:pt x="94370" y="74562"/>
                  </a:lnTo>
                  <a:lnTo>
                    <a:pt x="94370" y="73504"/>
                  </a:lnTo>
                  <a:lnTo>
                    <a:pt x="94314" y="72280"/>
                  </a:lnTo>
                  <a:lnTo>
                    <a:pt x="94258" y="71000"/>
                  </a:lnTo>
                  <a:lnTo>
                    <a:pt x="94091" y="69554"/>
                  </a:lnTo>
                  <a:lnTo>
                    <a:pt x="93924" y="67996"/>
                  </a:lnTo>
                  <a:lnTo>
                    <a:pt x="93646" y="66326"/>
                  </a:lnTo>
                  <a:lnTo>
                    <a:pt x="93257" y="64546"/>
                  </a:lnTo>
                  <a:lnTo>
                    <a:pt x="92867" y="62654"/>
                  </a:lnTo>
                  <a:lnTo>
                    <a:pt x="92311" y="60651"/>
                  </a:lnTo>
                  <a:lnTo>
                    <a:pt x="91699" y="58536"/>
                  </a:lnTo>
                  <a:lnTo>
                    <a:pt x="90975" y="56311"/>
                  </a:lnTo>
                  <a:lnTo>
                    <a:pt x="90141" y="53974"/>
                  </a:lnTo>
                  <a:lnTo>
                    <a:pt x="89139" y="51526"/>
                  </a:lnTo>
                  <a:lnTo>
                    <a:pt x="88026" y="48966"/>
                  </a:lnTo>
                  <a:lnTo>
                    <a:pt x="86802" y="46295"/>
                  </a:lnTo>
                  <a:lnTo>
                    <a:pt x="85411" y="43513"/>
                  </a:lnTo>
                  <a:lnTo>
                    <a:pt x="83853" y="40620"/>
                  </a:lnTo>
                  <a:lnTo>
                    <a:pt x="82184" y="37671"/>
                  </a:lnTo>
                  <a:lnTo>
                    <a:pt x="80292" y="34555"/>
                  </a:lnTo>
                  <a:lnTo>
                    <a:pt x="78233" y="31383"/>
                  </a:lnTo>
                  <a:lnTo>
                    <a:pt x="76008" y="28100"/>
                  </a:lnTo>
                  <a:lnTo>
                    <a:pt x="73559" y="24706"/>
                  </a:lnTo>
                  <a:lnTo>
                    <a:pt x="70944" y="21200"/>
                  </a:lnTo>
                  <a:lnTo>
                    <a:pt x="68106" y="17639"/>
                  </a:lnTo>
                  <a:lnTo>
                    <a:pt x="67216" y="16582"/>
                  </a:lnTo>
                  <a:lnTo>
                    <a:pt x="66270" y="15580"/>
                  </a:lnTo>
                  <a:lnTo>
                    <a:pt x="65269" y="14634"/>
                  </a:lnTo>
                  <a:lnTo>
                    <a:pt x="64267" y="13689"/>
                  </a:lnTo>
                  <a:lnTo>
                    <a:pt x="63210" y="12798"/>
                  </a:lnTo>
                  <a:lnTo>
                    <a:pt x="62097" y="11964"/>
                  </a:lnTo>
                  <a:lnTo>
                    <a:pt x="60984" y="11129"/>
                  </a:lnTo>
                  <a:lnTo>
                    <a:pt x="59816" y="10350"/>
                  </a:lnTo>
                  <a:lnTo>
                    <a:pt x="58647" y="9627"/>
                  </a:lnTo>
                  <a:lnTo>
                    <a:pt x="57423" y="8903"/>
                  </a:lnTo>
                  <a:lnTo>
                    <a:pt x="56199" y="8236"/>
                  </a:lnTo>
                  <a:lnTo>
                    <a:pt x="54919" y="7568"/>
                  </a:lnTo>
                  <a:lnTo>
                    <a:pt x="53639" y="6956"/>
                  </a:lnTo>
                  <a:lnTo>
                    <a:pt x="52304" y="6399"/>
                  </a:lnTo>
                  <a:lnTo>
                    <a:pt x="50969" y="5843"/>
                  </a:lnTo>
                  <a:lnTo>
                    <a:pt x="49633" y="5342"/>
                  </a:lnTo>
                  <a:lnTo>
                    <a:pt x="46851" y="4396"/>
                  </a:lnTo>
                  <a:lnTo>
                    <a:pt x="44069" y="3562"/>
                  </a:lnTo>
                  <a:lnTo>
                    <a:pt x="41231" y="2838"/>
                  </a:lnTo>
                  <a:lnTo>
                    <a:pt x="38393" y="2226"/>
                  </a:lnTo>
                  <a:lnTo>
                    <a:pt x="35500" y="1725"/>
                  </a:lnTo>
                  <a:lnTo>
                    <a:pt x="32662" y="1280"/>
                  </a:lnTo>
                  <a:lnTo>
                    <a:pt x="29880" y="891"/>
                  </a:lnTo>
                  <a:lnTo>
                    <a:pt x="27098" y="613"/>
                  </a:lnTo>
                  <a:lnTo>
                    <a:pt x="24371" y="390"/>
                  </a:lnTo>
                  <a:lnTo>
                    <a:pt x="21701" y="223"/>
                  </a:lnTo>
                  <a:lnTo>
                    <a:pt x="19141" y="112"/>
                  </a:lnTo>
                  <a:lnTo>
                    <a:pt x="16637" y="56"/>
                  </a:lnTo>
                  <a:lnTo>
                    <a:pt x="14300" y="0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2278;p60">
              <a:extLst>
                <a:ext uri="{FF2B5EF4-FFF2-40B4-BE49-F238E27FC236}">
                  <a16:creationId xmlns:a16="http://schemas.microsoft.com/office/drawing/2014/main" id="{995983D9-F0A3-DEC5-3589-E6C07AAD7A65}"/>
                </a:ext>
              </a:extLst>
            </p:cNvPr>
            <p:cNvSpPr/>
            <p:nvPr/>
          </p:nvSpPr>
          <p:spPr>
            <a:xfrm>
              <a:off x="1279650" y="357750"/>
              <a:ext cx="2332825" cy="1912725"/>
            </a:xfrm>
            <a:custGeom>
              <a:avLst/>
              <a:gdLst/>
              <a:ahLst/>
              <a:cxnLst/>
              <a:rect l="l" t="t" r="r" b="b"/>
              <a:pathLst>
                <a:path w="93313" h="76509" extrusionOk="0">
                  <a:moveTo>
                    <a:pt x="112" y="0"/>
                  </a:moveTo>
                  <a:lnTo>
                    <a:pt x="0" y="390"/>
                  </a:lnTo>
                  <a:lnTo>
                    <a:pt x="1336" y="835"/>
                  </a:lnTo>
                  <a:lnTo>
                    <a:pt x="2894" y="1336"/>
                  </a:lnTo>
                  <a:lnTo>
                    <a:pt x="5064" y="2059"/>
                  </a:lnTo>
                  <a:lnTo>
                    <a:pt x="7679" y="3061"/>
                  </a:lnTo>
                  <a:lnTo>
                    <a:pt x="10684" y="4285"/>
                  </a:lnTo>
                  <a:lnTo>
                    <a:pt x="14134" y="5731"/>
                  </a:lnTo>
                  <a:lnTo>
                    <a:pt x="17917" y="7456"/>
                  </a:lnTo>
                  <a:lnTo>
                    <a:pt x="19920" y="8402"/>
                  </a:lnTo>
                  <a:lnTo>
                    <a:pt x="21924" y="9460"/>
                  </a:lnTo>
                  <a:lnTo>
                    <a:pt x="24038" y="10517"/>
                  </a:lnTo>
                  <a:lnTo>
                    <a:pt x="26208" y="11685"/>
                  </a:lnTo>
                  <a:lnTo>
                    <a:pt x="30604" y="14189"/>
                  </a:lnTo>
                  <a:lnTo>
                    <a:pt x="35166" y="16916"/>
                  </a:lnTo>
                  <a:lnTo>
                    <a:pt x="37448" y="18418"/>
                  </a:lnTo>
                  <a:lnTo>
                    <a:pt x="39785" y="19865"/>
                  </a:lnTo>
                  <a:lnTo>
                    <a:pt x="42066" y="21423"/>
                  </a:lnTo>
                  <a:lnTo>
                    <a:pt x="43235" y="22257"/>
                  </a:lnTo>
                  <a:lnTo>
                    <a:pt x="44347" y="23092"/>
                  </a:lnTo>
                  <a:lnTo>
                    <a:pt x="46629" y="24761"/>
                  </a:lnTo>
                  <a:lnTo>
                    <a:pt x="48910" y="26486"/>
                  </a:lnTo>
                  <a:lnTo>
                    <a:pt x="51191" y="28267"/>
                  </a:lnTo>
                  <a:lnTo>
                    <a:pt x="53362" y="30103"/>
                  </a:lnTo>
                  <a:lnTo>
                    <a:pt x="55532" y="31939"/>
                  </a:lnTo>
                  <a:lnTo>
                    <a:pt x="57646" y="33887"/>
                  </a:lnTo>
                  <a:lnTo>
                    <a:pt x="59705" y="35834"/>
                  </a:lnTo>
                  <a:lnTo>
                    <a:pt x="61764" y="37837"/>
                  </a:lnTo>
                  <a:lnTo>
                    <a:pt x="62765" y="38783"/>
                  </a:lnTo>
                  <a:lnTo>
                    <a:pt x="63767" y="39785"/>
                  </a:lnTo>
                  <a:lnTo>
                    <a:pt x="65658" y="41788"/>
                  </a:lnTo>
                  <a:lnTo>
                    <a:pt x="67495" y="43791"/>
                  </a:lnTo>
                  <a:lnTo>
                    <a:pt x="69331" y="45794"/>
                  </a:lnTo>
                  <a:lnTo>
                    <a:pt x="70277" y="46740"/>
                  </a:lnTo>
                  <a:lnTo>
                    <a:pt x="71167" y="47686"/>
                  </a:lnTo>
                  <a:lnTo>
                    <a:pt x="72892" y="49689"/>
                  </a:lnTo>
                  <a:lnTo>
                    <a:pt x="74506" y="51637"/>
                  </a:lnTo>
                  <a:lnTo>
                    <a:pt x="76119" y="53528"/>
                  </a:lnTo>
                  <a:lnTo>
                    <a:pt x="77733" y="55365"/>
                  </a:lnTo>
                  <a:lnTo>
                    <a:pt x="78512" y="56255"/>
                  </a:lnTo>
                  <a:lnTo>
                    <a:pt x="79235" y="57145"/>
                  </a:lnTo>
                  <a:lnTo>
                    <a:pt x="81850" y="60762"/>
                  </a:lnTo>
                  <a:lnTo>
                    <a:pt x="83130" y="62431"/>
                  </a:lnTo>
                  <a:lnTo>
                    <a:pt x="84354" y="64045"/>
                  </a:lnTo>
                  <a:lnTo>
                    <a:pt x="85523" y="65547"/>
                  </a:lnTo>
                  <a:lnTo>
                    <a:pt x="86580" y="67050"/>
                  </a:lnTo>
                  <a:lnTo>
                    <a:pt x="88361" y="69776"/>
                  </a:lnTo>
                  <a:lnTo>
                    <a:pt x="89919" y="72113"/>
                  </a:lnTo>
                  <a:lnTo>
                    <a:pt x="92144" y="75340"/>
                  </a:lnTo>
                  <a:lnTo>
                    <a:pt x="92923" y="76509"/>
                  </a:lnTo>
                  <a:lnTo>
                    <a:pt x="93313" y="76286"/>
                  </a:lnTo>
                  <a:lnTo>
                    <a:pt x="92756" y="75006"/>
                  </a:lnTo>
                  <a:lnTo>
                    <a:pt x="91198" y="71390"/>
                  </a:lnTo>
                  <a:lnTo>
                    <a:pt x="90030" y="68830"/>
                  </a:lnTo>
                  <a:lnTo>
                    <a:pt x="88583" y="65825"/>
                  </a:lnTo>
                  <a:lnTo>
                    <a:pt x="87749" y="64212"/>
                  </a:lnTo>
                  <a:lnTo>
                    <a:pt x="86747" y="62487"/>
                  </a:lnTo>
                  <a:lnTo>
                    <a:pt x="84577" y="58870"/>
                  </a:lnTo>
                  <a:lnTo>
                    <a:pt x="82129" y="55031"/>
                  </a:lnTo>
                  <a:lnTo>
                    <a:pt x="81461" y="54029"/>
                  </a:lnTo>
                  <a:lnTo>
                    <a:pt x="80738" y="53028"/>
                  </a:lnTo>
                  <a:lnTo>
                    <a:pt x="79235" y="51080"/>
                  </a:lnTo>
                  <a:lnTo>
                    <a:pt x="77677" y="49021"/>
                  </a:lnTo>
                  <a:lnTo>
                    <a:pt x="76119" y="46963"/>
                  </a:lnTo>
                  <a:lnTo>
                    <a:pt x="74394" y="44904"/>
                  </a:lnTo>
                  <a:lnTo>
                    <a:pt x="73448" y="43847"/>
                  </a:lnTo>
                  <a:lnTo>
                    <a:pt x="72558" y="42845"/>
                  </a:lnTo>
                  <a:lnTo>
                    <a:pt x="68663" y="38839"/>
                  </a:lnTo>
                  <a:lnTo>
                    <a:pt x="66604" y="36836"/>
                  </a:lnTo>
                  <a:lnTo>
                    <a:pt x="65547" y="35890"/>
                  </a:lnTo>
                  <a:lnTo>
                    <a:pt x="64434" y="34944"/>
                  </a:lnTo>
                  <a:lnTo>
                    <a:pt x="62264" y="33052"/>
                  </a:lnTo>
                  <a:lnTo>
                    <a:pt x="60039" y="31160"/>
                  </a:lnTo>
                  <a:lnTo>
                    <a:pt x="57757" y="29324"/>
                  </a:lnTo>
                  <a:lnTo>
                    <a:pt x="55420" y="27543"/>
                  </a:lnTo>
                  <a:lnTo>
                    <a:pt x="53139" y="25763"/>
                  </a:lnTo>
                  <a:lnTo>
                    <a:pt x="50746" y="24038"/>
                  </a:lnTo>
                  <a:lnTo>
                    <a:pt x="48354" y="22369"/>
                  </a:lnTo>
                  <a:lnTo>
                    <a:pt x="45961" y="20755"/>
                  </a:lnTo>
                  <a:lnTo>
                    <a:pt x="44793" y="19920"/>
                  </a:lnTo>
                  <a:lnTo>
                    <a:pt x="43624" y="19141"/>
                  </a:lnTo>
                  <a:lnTo>
                    <a:pt x="41176" y="17695"/>
                  </a:lnTo>
                  <a:lnTo>
                    <a:pt x="38783" y="16248"/>
                  </a:lnTo>
                  <a:lnTo>
                    <a:pt x="36391" y="14857"/>
                  </a:lnTo>
                  <a:lnTo>
                    <a:pt x="31661" y="12297"/>
                  </a:lnTo>
                  <a:lnTo>
                    <a:pt x="29380" y="11073"/>
                  </a:lnTo>
                  <a:lnTo>
                    <a:pt x="27098" y="9960"/>
                  </a:lnTo>
                  <a:lnTo>
                    <a:pt x="22647" y="7902"/>
                  </a:lnTo>
                  <a:lnTo>
                    <a:pt x="20532" y="7011"/>
                  </a:lnTo>
                  <a:lnTo>
                    <a:pt x="18474" y="6121"/>
                  </a:lnTo>
                  <a:lnTo>
                    <a:pt x="14579" y="4619"/>
                  </a:lnTo>
                  <a:lnTo>
                    <a:pt x="11073" y="3283"/>
                  </a:lnTo>
                  <a:lnTo>
                    <a:pt x="7957" y="2226"/>
                  </a:lnTo>
                  <a:lnTo>
                    <a:pt x="5286" y="1391"/>
                  </a:lnTo>
                  <a:lnTo>
                    <a:pt x="3061" y="779"/>
                  </a:lnTo>
                  <a:lnTo>
                    <a:pt x="1447" y="334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D7600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2279;p60">
              <a:extLst>
                <a:ext uri="{FF2B5EF4-FFF2-40B4-BE49-F238E27FC236}">
                  <a16:creationId xmlns:a16="http://schemas.microsoft.com/office/drawing/2014/main" id="{41D4C2EB-93A6-89A9-494F-9C33F7F30935}"/>
                </a:ext>
              </a:extLst>
            </p:cNvPr>
            <p:cNvSpPr/>
            <p:nvPr/>
          </p:nvSpPr>
          <p:spPr>
            <a:xfrm>
              <a:off x="3803025" y="238125"/>
              <a:ext cx="2722325" cy="1566350"/>
            </a:xfrm>
            <a:custGeom>
              <a:avLst/>
              <a:gdLst/>
              <a:ahLst/>
              <a:cxnLst/>
              <a:rect l="l" t="t" r="r" b="b"/>
              <a:pathLst>
                <a:path w="108893" h="62654" extrusionOk="0">
                  <a:moveTo>
                    <a:pt x="108615" y="0"/>
                  </a:moveTo>
                  <a:lnTo>
                    <a:pt x="104275" y="3394"/>
                  </a:lnTo>
                  <a:lnTo>
                    <a:pt x="103162" y="4229"/>
                  </a:lnTo>
                  <a:lnTo>
                    <a:pt x="101938" y="5119"/>
                  </a:lnTo>
                  <a:lnTo>
                    <a:pt x="99211" y="7067"/>
                  </a:lnTo>
                  <a:lnTo>
                    <a:pt x="97653" y="8124"/>
                  </a:lnTo>
                  <a:lnTo>
                    <a:pt x="95984" y="9237"/>
                  </a:lnTo>
                  <a:lnTo>
                    <a:pt x="94203" y="10350"/>
                  </a:lnTo>
                  <a:lnTo>
                    <a:pt x="92312" y="11462"/>
                  </a:lnTo>
                  <a:lnTo>
                    <a:pt x="90364" y="12631"/>
                  </a:lnTo>
                  <a:lnTo>
                    <a:pt x="88250" y="13688"/>
                  </a:lnTo>
                  <a:lnTo>
                    <a:pt x="86080" y="14745"/>
                  </a:lnTo>
                  <a:lnTo>
                    <a:pt x="83798" y="15747"/>
                  </a:lnTo>
                  <a:lnTo>
                    <a:pt x="81350" y="16637"/>
                  </a:lnTo>
                  <a:lnTo>
                    <a:pt x="80126" y="17082"/>
                  </a:lnTo>
                  <a:lnTo>
                    <a:pt x="78902" y="17472"/>
                  </a:lnTo>
                  <a:lnTo>
                    <a:pt x="77622" y="17806"/>
                  </a:lnTo>
                  <a:lnTo>
                    <a:pt x="76287" y="18139"/>
                  </a:lnTo>
                  <a:lnTo>
                    <a:pt x="74951" y="18418"/>
                  </a:lnTo>
                  <a:lnTo>
                    <a:pt x="73616" y="18696"/>
                  </a:lnTo>
                  <a:lnTo>
                    <a:pt x="70834" y="19141"/>
                  </a:lnTo>
                  <a:lnTo>
                    <a:pt x="68051" y="19531"/>
                  </a:lnTo>
                  <a:lnTo>
                    <a:pt x="65158" y="19920"/>
                  </a:lnTo>
                  <a:lnTo>
                    <a:pt x="62209" y="20310"/>
                  </a:lnTo>
                  <a:lnTo>
                    <a:pt x="59260" y="20810"/>
                  </a:lnTo>
                  <a:lnTo>
                    <a:pt x="56255" y="21367"/>
                  </a:lnTo>
                  <a:lnTo>
                    <a:pt x="53251" y="22090"/>
                  </a:lnTo>
                  <a:lnTo>
                    <a:pt x="51748" y="22480"/>
                  </a:lnTo>
                  <a:lnTo>
                    <a:pt x="50302" y="22869"/>
                  </a:lnTo>
                  <a:lnTo>
                    <a:pt x="48855" y="23314"/>
                  </a:lnTo>
                  <a:lnTo>
                    <a:pt x="47352" y="23759"/>
                  </a:lnTo>
                  <a:lnTo>
                    <a:pt x="45906" y="24316"/>
                  </a:lnTo>
                  <a:lnTo>
                    <a:pt x="44515" y="24872"/>
                  </a:lnTo>
                  <a:lnTo>
                    <a:pt x="41677" y="26096"/>
                  </a:lnTo>
                  <a:lnTo>
                    <a:pt x="38895" y="27376"/>
                  </a:lnTo>
                  <a:lnTo>
                    <a:pt x="36280" y="28823"/>
                  </a:lnTo>
                  <a:lnTo>
                    <a:pt x="33720" y="30325"/>
                  </a:lnTo>
                  <a:lnTo>
                    <a:pt x="31216" y="31939"/>
                  </a:lnTo>
                  <a:lnTo>
                    <a:pt x="28824" y="33552"/>
                  </a:lnTo>
                  <a:lnTo>
                    <a:pt x="26542" y="35222"/>
                  </a:lnTo>
                  <a:lnTo>
                    <a:pt x="24317" y="36891"/>
                  </a:lnTo>
                  <a:lnTo>
                    <a:pt x="22202" y="38616"/>
                  </a:lnTo>
                  <a:lnTo>
                    <a:pt x="20255" y="40397"/>
                  </a:lnTo>
                  <a:lnTo>
                    <a:pt x="18307" y="42066"/>
                  </a:lnTo>
                  <a:lnTo>
                    <a:pt x="16471" y="43791"/>
                  </a:lnTo>
                  <a:lnTo>
                    <a:pt x="13077" y="47074"/>
                  </a:lnTo>
                  <a:lnTo>
                    <a:pt x="11519" y="48632"/>
                  </a:lnTo>
                  <a:lnTo>
                    <a:pt x="10072" y="50190"/>
                  </a:lnTo>
                  <a:lnTo>
                    <a:pt x="7457" y="53083"/>
                  </a:lnTo>
                  <a:lnTo>
                    <a:pt x="5176" y="55698"/>
                  </a:lnTo>
                  <a:lnTo>
                    <a:pt x="3339" y="57980"/>
                  </a:lnTo>
                  <a:lnTo>
                    <a:pt x="1893" y="59816"/>
                  </a:lnTo>
                  <a:lnTo>
                    <a:pt x="835" y="61207"/>
                  </a:lnTo>
                  <a:lnTo>
                    <a:pt x="1" y="62375"/>
                  </a:lnTo>
                  <a:lnTo>
                    <a:pt x="279" y="62654"/>
                  </a:lnTo>
                  <a:lnTo>
                    <a:pt x="4397" y="58981"/>
                  </a:lnTo>
                  <a:lnTo>
                    <a:pt x="9126" y="54808"/>
                  </a:lnTo>
                  <a:lnTo>
                    <a:pt x="12075" y="52248"/>
                  </a:lnTo>
                  <a:lnTo>
                    <a:pt x="15302" y="49522"/>
                  </a:lnTo>
                  <a:lnTo>
                    <a:pt x="18864" y="46517"/>
                  </a:lnTo>
                  <a:lnTo>
                    <a:pt x="20811" y="44959"/>
                  </a:lnTo>
                  <a:lnTo>
                    <a:pt x="22759" y="43457"/>
                  </a:lnTo>
                  <a:lnTo>
                    <a:pt x="26932" y="40230"/>
                  </a:lnTo>
                  <a:lnTo>
                    <a:pt x="29102" y="38616"/>
                  </a:lnTo>
                  <a:lnTo>
                    <a:pt x="31327" y="37058"/>
                  </a:lnTo>
                  <a:lnTo>
                    <a:pt x="33553" y="35444"/>
                  </a:lnTo>
                  <a:lnTo>
                    <a:pt x="35946" y="33886"/>
                  </a:lnTo>
                  <a:lnTo>
                    <a:pt x="38338" y="32328"/>
                  </a:lnTo>
                  <a:lnTo>
                    <a:pt x="40787" y="30826"/>
                  </a:lnTo>
                  <a:lnTo>
                    <a:pt x="43291" y="29491"/>
                  </a:lnTo>
                  <a:lnTo>
                    <a:pt x="45906" y="28211"/>
                  </a:lnTo>
                  <a:lnTo>
                    <a:pt x="47241" y="27599"/>
                  </a:lnTo>
                  <a:lnTo>
                    <a:pt x="48577" y="27042"/>
                  </a:lnTo>
                  <a:lnTo>
                    <a:pt x="49912" y="26542"/>
                  </a:lnTo>
                  <a:lnTo>
                    <a:pt x="51303" y="26041"/>
                  </a:lnTo>
                  <a:lnTo>
                    <a:pt x="54141" y="25150"/>
                  </a:lnTo>
                  <a:lnTo>
                    <a:pt x="56979" y="24371"/>
                  </a:lnTo>
                  <a:lnTo>
                    <a:pt x="59816" y="23704"/>
                  </a:lnTo>
                  <a:lnTo>
                    <a:pt x="62654" y="23147"/>
                  </a:lnTo>
                  <a:lnTo>
                    <a:pt x="65548" y="22647"/>
                  </a:lnTo>
                  <a:lnTo>
                    <a:pt x="68441" y="22146"/>
                  </a:lnTo>
                  <a:lnTo>
                    <a:pt x="71279" y="21645"/>
                  </a:lnTo>
                  <a:lnTo>
                    <a:pt x="74116" y="21033"/>
                  </a:lnTo>
                  <a:lnTo>
                    <a:pt x="76843" y="20365"/>
                  </a:lnTo>
                  <a:lnTo>
                    <a:pt x="78234" y="19976"/>
                  </a:lnTo>
                  <a:lnTo>
                    <a:pt x="79514" y="19531"/>
                  </a:lnTo>
                  <a:lnTo>
                    <a:pt x="80849" y="19085"/>
                  </a:lnTo>
                  <a:lnTo>
                    <a:pt x="82129" y="18585"/>
                  </a:lnTo>
                  <a:lnTo>
                    <a:pt x="83353" y="18084"/>
                  </a:lnTo>
                  <a:lnTo>
                    <a:pt x="84522" y="17527"/>
                  </a:lnTo>
                  <a:lnTo>
                    <a:pt x="85746" y="16971"/>
                  </a:lnTo>
                  <a:lnTo>
                    <a:pt x="86859" y="16415"/>
                  </a:lnTo>
                  <a:lnTo>
                    <a:pt x="89084" y="15190"/>
                  </a:lnTo>
                  <a:lnTo>
                    <a:pt x="91143" y="13966"/>
                  </a:lnTo>
                  <a:lnTo>
                    <a:pt x="93091" y="12742"/>
                  </a:lnTo>
                  <a:lnTo>
                    <a:pt x="94927" y="11462"/>
                  </a:lnTo>
                  <a:lnTo>
                    <a:pt x="96652" y="10238"/>
                  </a:lnTo>
                  <a:lnTo>
                    <a:pt x="98265" y="9070"/>
                  </a:lnTo>
                  <a:lnTo>
                    <a:pt x="99768" y="7901"/>
                  </a:lnTo>
                  <a:lnTo>
                    <a:pt x="102494" y="5787"/>
                  </a:lnTo>
                  <a:lnTo>
                    <a:pt x="103663" y="4841"/>
                  </a:lnTo>
                  <a:lnTo>
                    <a:pt x="104720" y="3895"/>
                  </a:lnTo>
                  <a:lnTo>
                    <a:pt x="108893" y="334"/>
                  </a:lnTo>
                  <a:lnTo>
                    <a:pt x="108615" y="0"/>
                  </a:lnTo>
                  <a:close/>
                </a:path>
              </a:pathLst>
            </a:custGeom>
            <a:solidFill>
              <a:srgbClr val="D7600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2280;p60">
              <a:extLst>
                <a:ext uri="{FF2B5EF4-FFF2-40B4-BE49-F238E27FC236}">
                  <a16:creationId xmlns:a16="http://schemas.microsoft.com/office/drawing/2014/main" id="{79AC65CA-3622-7EF9-5183-728FC809DD9F}"/>
                </a:ext>
              </a:extLst>
            </p:cNvPr>
            <p:cNvSpPr/>
            <p:nvPr/>
          </p:nvSpPr>
          <p:spPr>
            <a:xfrm>
              <a:off x="1456325" y="3797850"/>
              <a:ext cx="1514875" cy="688600"/>
            </a:xfrm>
            <a:custGeom>
              <a:avLst/>
              <a:gdLst/>
              <a:ahLst/>
              <a:cxnLst/>
              <a:rect l="l" t="t" r="r" b="b"/>
              <a:pathLst>
                <a:path w="60595" h="27544" extrusionOk="0">
                  <a:moveTo>
                    <a:pt x="30047" y="0"/>
                  </a:moveTo>
                  <a:lnTo>
                    <a:pt x="27376" y="56"/>
                  </a:lnTo>
                  <a:lnTo>
                    <a:pt x="24761" y="279"/>
                  </a:lnTo>
                  <a:lnTo>
                    <a:pt x="22201" y="557"/>
                  </a:lnTo>
                  <a:lnTo>
                    <a:pt x="19753" y="1002"/>
                  </a:lnTo>
                  <a:lnTo>
                    <a:pt x="17416" y="1558"/>
                  </a:lnTo>
                  <a:lnTo>
                    <a:pt x="15135" y="2226"/>
                  </a:lnTo>
                  <a:lnTo>
                    <a:pt x="12965" y="2949"/>
                  </a:lnTo>
                  <a:lnTo>
                    <a:pt x="10962" y="3784"/>
                  </a:lnTo>
                  <a:lnTo>
                    <a:pt x="9960" y="4229"/>
                  </a:lnTo>
                  <a:lnTo>
                    <a:pt x="9014" y="4730"/>
                  </a:lnTo>
                  <a:lnTo>
                    <a:pt x="8124" y="5231"/>
                  </a:lnTo>
                  <a:lnTo>
                    <a:pt x="7234" y="5732"/>
                  </a:lnTo>
                  <a:lnTo>
                    <a:pt x="6399" y="6288"/>
                  </a:lnTo>
                  <a:lnTo>
                    <a:pt x="5620" y="6844"/>
                  </a:lnTo>
                  <a:lnTo>
                    <a:pt x="4841" y="7401"/>
                  </a:lnTo>
                  <a:lnTo>
                    <a:pt x="4173" y="8013"/>
                  </a:lnTo>
                  <a:lnTo>
                    <a:pt x="3450" y="8625"/>
                  </a:lnTo>
                  <a:lnTo>
                    <a:pt x="2838" y="9237"/>
                  </a:lnTo>
                  <a:lnTo>
                    <a:pt x="2226" y="9905"/>
                  </a:lnTo>
                  <a:lnTo>
                    <a:pt x="1725" y="10572"/>
                  </a:lnTo>
                  <a:lnTo>
                    <a:pt x="1224" y="11240"/>
                  </a:lnTo>
                  <a:lnTo>
                    <a:pt x="723" y="11908"/>
                  </a:lnTo>
                  <a:lnTo>
                    <a:pt x="334" y="12631"/>
                  </a:lnTo>
                  <a:lnTo>
                    <a:pt x="0" y="13355"/>
                  </a:lnTo>
                  <a:lnTo>
                    <a:pt x="223" y="13967"/>
                  </a:lnTo>
                  <a:lnTo>
                    <a:pt x="556" y="14579"/>
                  </a:lnTo>
                  <a:lnTo>
                    <a:pt x="890" y="15191"/>
                  </a:lnTo>
                  <a:lnTo>
                    <a:pt x="1280" y="15803"/>
                  </a:lnTo>
                  <a:lnTo>
                    <a:pt x="1669" y="16415"/>
                  </a:lnTo>
                  <a:lnTo>
                    <a:pt x="2114" y="17027"/>
                  </a:lnTo>
                  <a:lnTo>
                    <a:pt x="3172" y="18140"/>
                  </a:lnTo>
                  <a:lnTo>
                    <a:pt x="4284" y="19253"/>
                  </a:lnTo>
                  <a:lnTo>
                    <a:pt x="5564" y="20310"/>
                  </a:lnTo>
                  <a:lnTo>
                    <a:pt x="6955" y="21312"/>
                  </a:lnTo>
                  <a:lnTo>
                    <a:pt x="8458" y="22202"/>
                  </a:lnTo>
                  <a:lnTo>
                    <a:pt x="9515" y="22814"/>
                  </a:lnTo>
                  <a:lnTo>
                    <a:pt x="10683" y="23370"/>
                  </a:lnTo>
                  <a:lnTo>
                    <a:pt x="11852" y="23927"/>
                  </a:lnTo>
                  <a:lnTo>
                    <a:pt x="13076" y="24427"/>
                  </a:lnTo>
                  <a:lnTo>
                    <a:pt x="14356" y="24928"/>
                  </a:lnTo>
                  <a:lnTo>
                    <a:pt x="15636" y="25318"/>
                  </a:lnTo>
                  <a:lnTo>
                    <a:pt x="17027" y="25763"/>
                  </a:lnTo>
                  <a:lnTo>
                    <a:pt x="18418" y="26097"/>
                  </a:lnTo>
                  <a:lnTo>
                    <a:pt x="19809" y="26431"/>
                  </a:lnTo>
                  <a:lnTo>
                    <a:pt x="21255" y="26709"/>
                  </a:lnTo>
                  <a:lnTo>
                    <a:pt x="22758" y="26931"/>
                  </a:lnTo>
                  <a:lnTo>
                    <a:pt x="24260" y="27154"/>
                  </a:lnTo>
                  <a:lnTo>
                    <a:pt x="25818" y="27321"/>
                  </a:lnTo>
                  <a:lnTo>
                    <a:pt x="27376" y="27432"/>
                  </a:lnTo>
                  <a:lnTo>
                    <a:pt x="28934" y="27488"/>
                  </a:lnTo>
                  <a:lnTo>
                    <a:pt x="30548" y="27543"/>
                  </a:lnTo>
                  <a:lnTo>
                    <a:pt x="33219" y="27432"/>
                  </a:lnTo>
                  <a:lnTo>
                    <a:pt x="35834" y="27265"/>
                  </a:lnTo>
                  <a:lnTo>
                    <a:pt x="38338" y="26931"/>
                  </a:lnTo>
                  <a:lnTo>
                    <a:pt x="40842" y="26542"/>
                  </a:lnTo>
                  <a:lnTo>
                    <a:pt x="43179" y="25985"/>
                  </a:lnTo>
                  <a:lnTo>
                    <a:pt x="45460" y="25318"/>
                  </a:lnTo>
                  <a:lnTo>
                    <a:pt x="47574" y="24594"/>
                  </a:lnTo>
                  <a:lnTo>
                    <a:pt x="49633" y="23760"/>
                  </a:lnTo>
                  <a:lnTo>
                    <a:pt x="50579" y="23259"/>
                  </a:lnTo>
                  <a:lnTo>
                    <a:pt x="51525" y="22814"/>
                  </a:lnTo>
                  <a:lnTo>
                    <a:pt x="52471" y="22313"/>
                  </a:lnTo>
                  <a:lnTo>
                    <a:pt x="53305" y="21812"/>
                  </a:lnTo>
                  <a:lnTo>
                    <a:pt x="54140" y="21256"/>
                  </a:lnTo>
                  <a:lnTo>
                    <a:pt x="54975" y="20699"/>
                  </a:lnTo>
                  <a:lnTo>
                    <a:pt x="55698" y="20087"/>
                  </a:lnTo>
                  <a:lnTo>
                    <a:pt x="56421" y="19531"/>
                  </a:lnTo>
                  <a:lnTo>
                    <a:pt x="57089" y="18919"/>
                  </a:lnTo>
                  <a:lnTo>
                    <a:pt x="57757" y="18251"/>
                  </a:lnTo>
                  <a:lnTo>
                    <a:pt x="58313" y="17639"/>
                  </a:lnTo>
                  <a:lnTo>
                    <a:pt x="58870" y="16971"/>
                  </a:lnTo>
                  <a:lnTo>
                    <a:pt x="59370" y="16304"/>
                  </a:lnTo>
                  <a:lnTo>
                    <a:pt x="59816" y="15636"/>
                  </a:lnTo>
                  <a:lnTo>
                    <a:pt x="60261" y="14913"/>
                  </a:lnTo>
                  <a:lnTo>
                    <a:pt x="60595" y="14189"/>
                  </a:lnTo>
                  <a:lnTo>
                    <a:pt x="60316" y="13577"/>
                  </a:lnTo>
                  <a:lnTo>
                    <a:pt x="60038" y="12909"/>
                  </a:lnTo>
                  <a:lnTo>
                    <a:pt x="59704" y="12297"/>
                  </a:lnTo>
                  <a:lnTo>
                    <a:pt x="59315" y="11685"/>
                  </a:lnTo>
                  <a:lnTo>
                    <a:pt x="58870" y="11073"/>
                  </a:lnTo>
                  <a:lnTo>
                    <a:pt x="58425" y="10517"/>
                  </a:lnTo>
                  <a:lnTo>
                    <a:pt x="57423" y="9348"/>
                  </a:lnTo>
                  <a:lnTo>
                    <a:pt x="56310" y="8291"/>
                  </a:lnTo>
                  <a:lnTo>
                    <a:pt x="55030" y="7234"/>
                  </a:lnTo>
                  <a:lnTo>
                    <a:pt x="53639" y="6232"/>
                  </a:lnTo>
                  <a:lnTo>
                    <a:pt x="52137" y="5286"/>
                  </a:lnTo>
                  <a:lnTo>
                    <a:pt x="51024" y="4730"/>
                  </a:lnTo>
                  <a:lnTo>
                    <a:pt x="49911" y="4118"/>
                  </a:lnTo>
                  <a:lnTo>
                    <a:pt x="48743" y="3617"/>
                  </a:lnTo>
                  <a:lnTo>
                    <a:pt x="47519" y="3116"/>
                  </a:lnTo>
                  <a:lnTo>
                    <a:pt x="46239" y="2616"/>
                  </a:lnTo>
                  <a:lnTo>
                    <a:pt x="44903" y="2170"/>
                  </a:lnTo>
                  <a:lnTo>
                    <a:pt x="43568" y="1781"/>
                  </a:lnTo>
                  <a:lnTo>
                    <a:pt x="42177" y="1447"/>
                  </a:lnTo>
                  <a:lnTo>
                    <a:pt x="40786" y="1113"/>
                  </a:lnTo>
                  <a:lnTo>
                    <a:pt x="39339" y="835"/>
                  </a:lnTo>
                  <a:lnTo>
                    <a:pt x="37837" y="557"/>
                  </a:lnTo>
                  <a:lnTo>
                    <a:pt x="36335" y="390"/>
                  </a:lnTo>
                  <a:lnTo>
                    <a:pt x="34777" y="223"/>
                  </a:lnTo>
                  <a:lnTo>
                    <a:pt x="33219" y="112"/>
                  </a:lnTo>
                  <a:lnTo>
                    <a:pt x="31605" y="56"/>
                  </a:lnTo>
                  <a:lnTo>
                    <a:pt x="30047" y="0"/>
                  </a:ln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2281;p60">
              <a:extLst>
                <a:ext uri="{FF2B5EF4-FFF2-40B4-BE49-F238E27FC236}">
                  <a16:creationId xmlns:a16="http://schemas.microsoft.com/office/drawing/2014/main" id="{0A88676C-91FE-3E5B-D9CC-2D54DFED3810}"/>
                </a:ext>
              </a:extLst>
            </p:cNvPr>
            <p:cNvSpPr/>
            <p:nvPr/>
          </p:nvSpPr>
          <p:spPr>
            <a:xfrm>
              <a:off x="1456325" y="3797850"/>
              <a:ext cx="1514875" cy="688600"/>
            </a:xfrm>
            <a:custGeom>
              <a:avLst/>
              <a:gdLst/>
              <a:ahLst/>
              <a:cxnLst/>
              <a:rect l="l" t="t" r="r" b="b"/>
              <a:pathLst>
                <a:path w="60595" h="27544" fill="none" extrusionOk="0">
                  <a:moveTo>
                    <a:pt x="30047" y="0"/>
                  </a:moveTo>
                  <a:lnTo>
                    <a:pt x="30047" y="0"/>
                  </a:lnTo>
                  <a:lnTo>
                    <a:pt x="27376" y="56"/>
                  </a:lnTo>
                  <a:lnTo>
                    <a:pt x="24761" y="279"/>
                  </a:lnTo>
                  <a:lnTo>
                    <a:pt x="22201" y="557"/>
                  </a:lnTo>
                  <a:lnTo>
                    <a:pt x="19753" y="1002"/>
                  </a:lnTo>
                  <a:lnTo>
                    <a:pt x="17416" y="1558"/>
                  </a:lnTo>
                  <a:lnTo>
                    <a:pt x="15135" y="2226"/>
                  </a:lnTo>
                  <a:lnTo>
                    <a:pt x="12965" y="2949"/>
                  </a:lnTo>
                  <a:lnTo>
                    <a:pt x="10962" y="3784"/>
                  </a:lnTo>
                  <a:lnTo>
                    <a:pt x="9960" y="4229"/>
                  </a:lnTo>
                  <a:lnTo>
                    <a:pt x="9014" y="4730"/>
                  </a:lnTo>
                  <a:lnTo>
                    <a:pt x="8124" y="5231"/>
                  </a:lnTo>
                  <a:lnTo>
                    <a:pt x="7234" y="5732"/>
                  </a:lnTo>
                  <a:lnTo>
                    <a:pt x="6399" y="6288"/>
                  </a:lnTo>
                  <a:lnTo>
                    <a:pt x="5620" y="6844"/>
                  </a:lnTo>
                  <a:lnTo>
                    <a:pt x="4841" y="7401"/>
                  </a:lnTo>
                  <a:lnTo>
                    <a:pt x="4173" y="8013"/>
                  </a:lnTo>
                  <a:lnTo>
                    <a:pt x="3450" y="8625"/>
                  </a:lnTo>
                  <a:lnTo>
                    <a:pt x="2838" y="9237"/>
                  </a:lnTo>
                  <a:lnTo>
                    <a:pt x="2226" y="9905"/>
                  </a:lnTo>
                  <a:lnTo>
                    <a:pt x="1725" y="10572"/>
                  </a:lnTo>
                  <a:lnTo>
                    <a:pt x="1224" y="11240"/>
                  </a:lnTo>
                  <a:lnTo>
                    <a:pt x="723" y="11908"/>
                  </a:lnTo>
                  <a:lnTo>
                    <a:pt x="334" y="12631"/>
                  </a:lnTo>
                  <a:lnTo>
                    <a:pt x="0" y="13355"/>
                  </a:lnTo>
                  <a:lnTo>
                    <a:pt x="0" y="13355"/>
                  </a:lnTo>
                  <a:lnTo>
                    <a:pt x="223" y="13967"/>
                  </a:lnTo>
                  <a:lnTo>
                    <a:pt x="556" y="14579"/>
                  </a:lnTo>
                  <a:lnTo>
                    <a:pt x="890" y="15191"/>
                  </a:lnTo>
                  <a:lnTo>
                    <a:pt x="1280" y="15803"/>
                  </a:lnTo>
                  <a:lnTo>
                    <a:pt x="1669" y="16415"/>
                  </a:lnTo>
                  <a:lnTo>
                    <a:pt x="2114" y="17027"/>
                  </a:lnTo>
                  <a:lnTo>
                    <a:pt x="3172" y="18140"/>
                  </a:lnTo>
                  <a:lnTo>
                    <a:pt x="4284" y="19253"/>
                  </a:lnTo>
                  <a:lnTo>
                    <a:pt x="5564" y="20310"/>
                  </a:lnTo>
                  <a:lnTo>
                    <a:pt x="6955" y="21312"/>
                  </a:lnTo>
                  <a:lnTo>
                    <a:pt x="8458" y="22202"/>
                  </a:lnTo>
                  <a:lnTo>
                    <a:pt x="8458" y="22202"/>
                  </a:lnTo>
                  <a:lnTo>
                    <a:pt x="9515" y="22814"/>
                  </a:lnTo>
                  <a:lnTo>
                    <a:pt x="10683" y="23370"/>
                  </a:lnTo>
                  <a:lnTo>
                    <a:pt x="11852" y="23927"/>
                  </a:lnTo>
                  <a:lnTo>
                    <a:pt x="13076" y="24427"/>
                  </a:lnTo>
                  <a:lnTo>
                    <a:pt x="14356" y="24928"/>
                  </a:lnTo>
                  <a:lnTo>
                    <a:pt x="15636" y="25318"/>
                  </a:lnTo>
                  <a:lnTo>
                    <a:pt x="17027" y="25763"/>
                  </a:lnTo>
                  <a:lnTo>
                    <a:pt x="18418" y="26097"/>
                  </a:lnTo>
                  <a:lnTo>
                    <a:pt x="19809" y="26431"/>
                  </a:lnTo>
                  <a:lnTo>
                    <a:pt x="21255" y="26709"/>
                  </a:lnTo>
                  <a:lnTo>
                    <a:pt x="22758" y="26931"/>
                  </a:lnTo>
                  <a:lnTo>
                    <a:pt x="24260" y="27154"/>
                  </a:lnTo>
                  <a:lnTo>
                    <a:pt x="25818" y="27321"/>
                  </a:lnTo>
                  <a:lnTo>
                    <a:pt x="27376" y="27432"/>
                  </a:lnTo>
                  <a:lnTo>
                    <a:pt x="28934" y="27488"/>
                  </a:lnTo>
                  <a:lnTo>
                    <a:pt x="30548" y="27543"/>
                  </a:lnTo>
                  <a:lnTo>
                    <a:pt x="30548" y="27543"/>
                  </a:lnTo>
                  <a:lnTo>
                    <a:pt x="33219" y="27432"/>
                  </a:lnTo>
                  <a:lnTo>
                    <a:pt x="35834" y="27265"/>
                  </a:lnTo>
                  <a:lnTo>
                    <a:pt x="38338" y="26931"/>
                  </a:lnTo>
                  <a:lnTo>
                    <a:pt x="40842" y="26542"/>
                  </a:lnTo>
                  <a:lnTo>
                    <a:pt x="43179" y="25985"/>
                  </a:lnTo>
                  <a:lnTo>
                    <a:pt x="45460" y="25318"/>
                  </a:lnTo>
                  <a:lnTo>
                    <a:pt x="47574" y="24594"/>
                  </a:lnTo>
                  <a:lnTo>
                    <a:pt x="49633" y="23760"/>
                  </a:lnTo>
                  <a:lnTo>
                    <a:pt x="50579" y="23259"/>
                  </a:lnTo>
                  <a:lnTo>
                    <a:pt x="51525" y="22814"/>
                  </a:lnTo>
                  <a:lnTo>
                    <a:pt x="52471" y="22313"/>
                  </a:lnTo>
                  <a:lnTo>
                    <a:pt x="53305" y="21812"/>
                  </a:lnTo>
                  <a:lnTo>
                    <a:pt x="54140" y="21256"/>
                  </a:lnTo>
                  <a:lnTo>
                    <a:pt x="54975" y="20699"/>
                  </a:lnTo>
                  <a:lnTo>
                    <a:pt x="55698" y="20087"/>
                  </a:lnTo>
                  <a:lnTo>
                    <a:pt x="56421" y="19531"/>
                  </a:lnTo>
                  <a:lnTo>
                    <a:pt x="57089" y="18919"/>
                  </a:lnTo>
                  <a:lnTo>
                    <a:pt x="57757" y="18251"/>
                  </a:lnTo>
                  <a:lnTo>
                    <a:pt x="58313" y="17639"/>
                  </a:lnTo>
                  <a:lnTo>
                    <a:pt x="58870" y="16971"/>
                  </a:lnTo>
                  <a:lnTo>
                    <a:pt x="59370" y="16304"/>
                  </a:lnTo>
                  <a:lnTo>
                    <a:pt x="59816" y="15636"/>
                  </a:lnTo>
                  <a:lnTo>
                    <a:pt x="60261" y="14913"/>
                  </a:lnTo>
                  <a:lnTo>
                    <a:pt x="60595" y="14189"/>
                  </a:lnTo>
                  <a:lnTo>
                    <a:pt x="60595" y="14189"/>
                  </a:lnTo>
                  <a:lnTo>
                    <a:pt x="60316" y="13577"/>
                  </a:lnTo>
                  <a:lnTo>
                    <a:pt x="60038" y="12909"/>
                  </a:lnTo>
                  <a:lnTo>
                    <a:pt x="59704" y="12297"/>
                  </a:lnTo>
                  <a:lnTo>
                    <a:pt x="59315" y="11685"/>
                  </a:lnTo>
                  <a:lnTo>
                    <a:pt x="58870" y="11073"/>
                  </a:lnTo>
                  <a:lnTo>
                    <a:pt x="58425" y="10517"/>
                  </a:lnTo>
                  <a:lnTo>
                    <a:pt x="57423" y="9348"/>
                  </a:lnTo>
                  <a:lnTo>
                    <a:pt x="56310" y="8291"/>
                  </a:lnTo>
                  <a:lnTo>
                    <a:pt x="55030" y="7234"/>
                  </a:lnTo>
                  <a:lnTo>
                    <a:pt x="53639" y="6232"/>
                  </a:lnTo>
                  <a:lnTo>
                    <a:pt x="52137" y="5286"/>
                  </a:lnTo>
                  <a:lnTo>
                    <a:pt x="52137" y="5286"/>
                  </a:lnTo>
                  <a:lnTo>
                    <a:pt x="51024" y="4730"/>
                  </a:lnTo>
                  <a:lnTo>
                    <a:pt x="49911" y="4118"/>
                  </a:lnTo>
                  <a:lnTo>
                    <a:pt x="48743" y="3617"/>
                  </a:lnTo>
                  <a:lnTo>
                    <a:pt x="47519" y="3116"/>
                  </a:lnTo>
                  <a:lnTo>
                    <a:pt x="46239" y="2616"/>
                  </a:lnTo>
                  <a:lnTo>
                    <a:pt x="44903" y="2170"/>
                  </a:lnTo>
                  <a:lnTo>
                    <a:pt x="43568" y="1781"/>
                  </a:lnTo>
                  <a:lnTo>
                    <a:pt x="42177" y="1447"/>
                  </a:lnTo>
                  <a:lnTo>
                    <a:pt x="40786" y="1113"/>
                  </a:lnTo>
                  <a:lnTo>
                    <a:pt x="39339" y="835"/>
                  </a:lnTo>
                  <a:lnTo>
                    <a:pt x="37837" y="557"/>
                  </a:lnTo>
                  <a:lnTo>
                    <a:pt x="36335" y="390"/>
                  </a:lnTo>
                  <a:lnTo>
                    <a:pt x="34777" y="223"/>
                  </a:lnTo>
                  <a:lnTo>
                    <a:pt x="33219" y="112"/>
                  </a:lnTo>
                  <a:lnTo>
                    <a:pt x="31605" y="56"/>
                  </a:lnTo>
                  <a:lnTo>
                    <a:pt x="3004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2282;p60">
              <a:extLst>
                <a:ext uri="{FF2B5EF4-FFF2-40B4-BE49-F238E27FC236}">
                  <a16:creationId xmlns:a16="http://schemas.microsoft.com/office/drawing/2014/main" id="{954200C0-30A9-3E19-0AF4-F105BBEA2128}"/>
                </a:ext>
              </a:extLst>
            </p:cNvPr>
            <p:cNvSpPr/>
            <p:nvPr/>
          </p:nvSpPr>
          <p:spPr>
            <a:xfrm>
              <a:off x="1436850" y="3582225"/>
              <a:ext cx="1560775" cy="904225"/>
            </a:xfrm>
            <a:custGeom>
              <a:avLst/>
              <a:gdLst/>
              <a:ahLst/>
              <a:cxnLst/>
              <a:rect l="l" t="t" r="r" b="b"/>
              <a:pathLst>
                <a:path w="62431" h="36169" extrusionOk="0">
                  <a:moveTo>
                    <a:pt x="29546" y="1"/>
                  </a:moveTo>
                  <a:lnTo>
                    <a:pt x="27933" y="56"/>
                  </a:lnTo>
                  <a:lnTo>
                    <a:pt x="26375" y="168"/>
                  </a:lnTo>
                  <a:lnTo>
                    <a:pt x="24817" y="335"/>
                  </a:lnTo>
                  <a:lnTo>
                    <a:pt x="23314" y="557"/>
                  </a:lnTo>
                  <a:lnTo>
                    <a:pt x="21868" y="780"/>
                  </a:lnTo>
                  <a:lnTo>
                    <a:pt x="20421" y="1058"/>
                  </a:lnTo>
                  <a:lnTo>
                    <a:pt x="18974" y="1392"/>
                  </a:lnTo>
                  <a:lnTo>
                    <a:pt x="17583" y="1781"/>
                  </a:lnTo>
                  <a:lnTo>
                    <a:pt x="16248" y="2171"/>
                  </a:lnTo>
                  <a:lnTo>
                    <a:pt x="14968" y="2616"/>
                  </a:lnTo>
                  <a:lnTo>
                    <a:pt x="13688" y="3061"/>
                  </a:lnTo>
                  <a:lnTo>
                    <a:pt x="12464" y="3562"/>
                  </a:lnTo>
                  <a:lnTo>
                    <a:pt x="11295" y="4118"/>
                  </a:lnTo>
                  <a:lnTo>
                    <a:pt x="10183" y="4675"/>
                  </a:lnTo>
                  <a:lnTo>
                    <a:pt x="9070" y="5287"/>
                  </a:lnTo>
                  <a:lnTo>
                    <a:pt x="8068" y="5899"/>
                  </a:lnTo>
                  <a:lnTo>
                    <a:pt x="7067" y="6567"/>
                  </a:lnTo>
                  <a:lnTo>
                    <a:pt x="6176" y="7234"/>
                  </a:lnTo>
                  <a:lnTo>
                    <a:pt x="5286" y="7958"/>
                  </a:lnTo>
                  <a:lnTo>
                    <a:pt x="4451" y="8681"/>
                  </a:lnTo>
                  <a:lnTo>
                    <a:pt x="3728" y="9460"/>
                  </a:lnTo>
                  <a:lnTo>
                    <a:pt x="3060" y="10239"/>
                  </a:lnTo>
                  <a:lnTo>
                    <a:pt x="2393" y="11018"/>
                  </a:lnTo>
                  <a:lnTo>
                    <a:pt x="1892" y="11853"/>
                  </a:lnTo>
                  <a:lnTo>
                    <a:pt x="1391" y="12687"/>
                  </a:lnTo>
                  <a:lnTo>
                    <a:pt x="946" y="13522"/>
                  </a:lnTo>
                  <a:lnTo>
                    <a:pt x="612" y="14412"/>
                  </a:lnTo>
                  <a:lnTo>
                    <a:pt x="334" y="15303"/>
                  </a:lnTo>
                  <a:lnTo>
                    <a:pt x="167" y="16193"/>
                  </a:lnTo>
                  <a:lnTo>
                    <a:pt x="56" y="17139"/>
                  </a:lnTo>
                  <a:lnTo>
                    <a:pt x="0" y="18085"/>
                  </a:lnTo>
                  <a:lnTo>
                    <a:pt x="56" y="18975"/>
                  </a:lnTo>
                  <a:lnTo>
                    <a:pt x="167" y="19921"/>
                  </a:lnTo>
                  <a:lnTo>
                    <a:pt x="390" y="20811"/>
                  </a:lnTo>
                  <a:lnTo>
                    <a:pt x="668" y="21701"/>
                  </a:lnTo>
                  <a:lnTo>
                    <a:pt x="1002" y="22592"/>
                  </a:lnTo>
                  <a:lnTo>
                    <a:pt x="1447" y="23426"/>
                  </a:lnTo>
                  <a:lnTo>
                    <a:pt x="1948" y="24261"/>
                  </a:lnTo>
                  <a:lnTo>
                    <a:pt x="2504" y="25096"/>
                  </a:lnTo>
                  <a:lnTo>
                    <a:pt x="3116" y="25875"/>
                  </a:lnTo>
                  <a:lnTo>
                    <a:pt x="3839" y="26654"/>
                  </a:lnTo>
                  <a:lnTo>
                    <a:pt x="4563" y="27433"/>
                  </a:lnTo>
                  <a:lnTo>
                    <a:pt x="5397" y="28156"/>
                  </a:lnTo>
                  <a:lnTo>
                    <a:pt x="6288" y="28879"/>
                  </a:lnTo>
                  <a:lnTo>
                    <a:pt x="7178" y="29547"/>
                  </a:lnTo>
                  <a:lnTo>
                    <a:pt x="8179" y="30215"/>
                  </a:lnTo>
                  <a:lnTo>
                    <a:pt x="9237" y="30827"/>
                  </a:lnTo>
                  <a:lnTo>
                    <a:pt x="10294" y="31439"/>
                  </a:lnTo>
                  <a:lnTo>
                    <a:pt x="11462" y="31995"/>
                  </a:lnTo>
                  <a:lnTo>
                    <a:pt x="12631" y="32552"/>
                  </a:lnTo>
                  <a:lnTo>
                    <a:pt x="13855" y="33052"/>
                  </a:lnTo>
                  <a:lnTo>
                    <a:pt x="15135" y="33553"/>
                  </a:lnTo>
                  <a:lnTo>
                    <a:pt x="16415" y="33943"/>
                  </a:lnTo>
                  <a:lnTo>
                    <a:pt x="17806" y="34388"/>
                  </a:lnTo>
                  <a:lnTo>
                    <a:pt x="19197" y="34722"/>
                  </a:lnTo>
                  <a:lnTo>
                    <a:pt x="20588" y="35056"/>
                  </a:lnTo>
                  <a:lnTo>
                    <a:pt x="22034" y="35334"/>
                  </a:lnTo>
                  <a:lnTo>
                    <a:pt x="23537" y="35556"/>
                  </a:lnTo>
                  <a:lnTo>
                    <a:pt x="25039" y="35779"/>
                  </a:lnTo>
                  <a:lnTo>
                    <a:pt x="26597" y="35946"/>
                  </a:lnTo>
                  <a:lnTo>
                    <a:pt x="28155" y="36057"/>
                  </a:lnTo>
                  <a:lnTo>
                    <a:pt x="29713" y="36113"/>
                  </a:lnTo>
                  <a:lnTo>
                    <a:pt x="31327" y="36168"/>
                  </a:lnTo>
                  <a:lnTo>
                    <a:pt x="32940" y="36113"/>
                  </a:lnTo>
                  <a:lnTo>
                    <a:pt x="34498" y="36057"/>
                  </a:lnTo>
                  <a:lnTo>
                    <a:pt x="36056" y="35946"/>
                  </a:lnTo>
                  <a:lnTo>
                    <a:pt x="37614" y="35779"/>
                  </a:lnTo>
                  <a:lnTo>
                    <a:pt x="39117" y="35556"/>
                  </a:lnTo>
                  <a:lnTo>
                    <a:pt x="40619" y="35334"/>
                  </a:lnTo>
                  <a:lnTo>
                    <a:pt x="42066" y="35056"/>
                  </a:lnTo>
                  <a:lnTo>
                    <a:pt x="43457" y="34722"/>
                  </a:lnTo>
                  <a:lnTo>
                    <a:pt x="44848" y="34388"/>
                  </a:lnTo>
                  <a:lnTo>
                    <a:pt x="46183" y="33943"/>
                  </a:lnTo>
                  <a:lnTo>
                    <a:pt x="47519" y="33553"/>
                  </a:lnTo>
                  <a:lnTo>
                    <a:pt x="48743" y="33052"/>
                  </a:lnTo>
                  <a:lnTo>
                    <a:pt x="49967" y="32552"/>
                  </a:lnTo>
                  <a:lnTo>
                    <a:pt x="51135" y="31995"/>
                  </a:lnTo>
                  <a:lnTo>
                    <a:pt x="52304" y="31439"/>
                  </a:lnTo>
                  <a:lnTo>
                    <a:pt x="53361" y="30827"/>
                  </a:lnTo>
                  <a:lnTo>
                    <a:pt x="54418" y="30215"/>
                  </a:lnTo>
                  <a:lnTo>
                    <a:pt x="55364" y="29547"/>
                  </a:lnTo>
                  <a:lnTo>
                    <a:pt x="56310" y="28879"/>
                  </a:lnTo>
                  <a:lnTo>
                    <a:pt x="57145" y="28156"/>
                  </a:lnTo>
                  <a:lnTo>
                    <a:pt x="57979" y="27433"/>
                  </a:lnTo>
                  <a:lnTo>
                    <a:pt x="58703" y="26654"/>
                  </a:lnTo>
                  <a:lnTo>
                    <a:pt x="59426" y="25875"/>
                  </a:lnTo>
                  <a:lnTo>
                    <a:pt x="60038" y="25096"/>
                  </a:lnTo>
                  <a:lnTo>
                    <a:pt x="60595" y="24261"/>
                  </a:lnTo>
                  <a:lnTo>
                    <a:pt x="61095" y="23426"/>
                  </a:lnTo>
                  <a:lnTo>
                    <a:pt x="61485" y="22592"/>
                  </a:lnTo>
                  <a:lnTo>
                    <a:pt x="61819" y="21701"/>
                  </a:lnTo>
                  <a:lnTo>
                    <a:pt x="62097" y="20811"/>
                  </a:lnTo>
                  <a:lnTo>
                    <a:pt x="62320" y="19921"/>
                  </a:lnTo>
                  <a:lnTo>
                    <a:pt x="62431" y="18975"/>
                  </a:lnTo>
                  <a:lnTo>
                    <a:pt x="62431" y="18085"/>
                  </a:lnTo>
                  <a:lnTo>
                    <a:pt x="62375" y="17139"/>
                  </a:lnTo>
                  <a:lnTo>
                    <a:pt x="62264" y="16193"/>
                  </a:lnTo>
                  <a:lnTo>
                    <a:pt x="62097" y="15303"/>
                  </a:lnTo>
                  <a:lnTo>
                    <a:pt x="61819" y="14412"/>
                  </a:lnTo>
                  <a:lnTo>
                    <a:pt x="61429" y="13522"/>
                  </a:lnTo>
                  <a:lnTo>
                    <a:pt x="61040" y="12687"/>
                  </a:lnTo>
                  <a:lnTo>
                    <a:pt x="60539" y="11853"/>
                  </a:lnTo>
                  <a:lnTo>
                    <a:pt x="59927" y="11018"/>
                  </a:lnTo>
                  <a:lnTo>
                    <a:pt x="59315" y="10239"/>
                  </a:lnTo>
                  <a:lnTo>
                    <a:pt x="58647" y="9460"/>
                  </a:lnTo>
                  <a:lnTo>
                    <a:pt x="57868" y="8681"/>
                  </a:lnTo>
                  <a:lnTo>
                    <a:pt x="57034" y="7958"/>
                  </a:lnTo>
                  <a:lnTo>
                    <a:pt x="56199" y="7234"/>
                  </a:lnTo>
                  <a:lnTo>
                    <a:pt x="55253" y="6567"/>
                  </a:lnTo>
                  <a:lnTo>
                    <a:pt x="54251" y="5899"/>
                  </a:lnTo>
                  <a:lnTo>
                    <a:pt x="53250" y="5287"/>
                  </a:lnTo>
                  <a:lnTo>
                    <a:pt x="52137" y="4675"/>
                  </a:lnTo>
                  <a:lnTo>
                    <a:pt x="51024" y="4118"/>
                  </a:lnTo>
                  <a:lnTo>
                    <a:pt x="49800" y="3562"/>
                  </a:lnTo>
                  <a:lnTo>
                    <a:pt x="48576" y="3061"/>
                  </a:lnTo>
                  <a:lnTo>
                    <a:pt x="47352" y="2616"/>
                  </a:lnTo>
                  <a:lnTo>
                    <a:pt x="46016" y="2171"/>
                  </a:lnTo>
                  <a:lnTo>
                    <a:pt x="44681" y="1781"/>
                  </a:lnTo>
                  <a:lnTo>
                    <a:pt x="43290" y="1392"/>
                  </a:lnTo>
                  <a:lnTo>
                    <a:pt x="41843" y="1058"/>
                  </a:lnTo>
                  <a:lnTo>
                    <a:pt x="40396" y="780"/>
                  </a:lnTo>
                  <a:lnTo>
                    <a:pt x="38950" y="557"/>
                  </a:lnTo>
                  <a:lnTo>
                    <a:pt x="37392" y="335"/>
                  </a:lnTo>
                  <a:lnTo>
                    <a:pt x="35889" y="168"/>
                  </a:lnTo>
                  <a:lnTo>
                    <a:pt x="34331" y="56"/>
                  </a:lnTo>
                  <a:lnTo>
                    <a:pt x="32718" y="1"/>
                  </a:lnTo>
                  <a:close/>
                </a:path>
              </a:pathLst>
            </a:custGeom>
            <a:solidFill>
              <a:srgbClr val="DFEC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2283;p60">
              <a:extLst>
                <a:ext uri="{FF2B5EF4-FFF2-40B4-BE49-F238E27FC236}">
                  <a16:creationId xmlns:a16="http://schemas.microsoft.com/office/drawing/2014/main" id="{6A652943-9E10-5E22-73D4-542DB424D49D}"/>
                </a:ext>
              </a:extLst>
            </p:cNvPr>
            <p:cNvSpPr/>
            <p:nvPr/>
          </p:nvSpPr>
          <p:spPr>
            <a:xfrm>
              <a:off x="1235125" y="4034325"/>
              <a:ext cx="1964200" cy="709475"/>
            </a:xfrm>
            <a:custGeom>
              <a:avLst/>
              <a:gdLst/>
              <a:ahLst/>
              <a:cxnLst/>
              <a:rect l="l" t="t" r="r" b="b"/>
              <a:pathLst>
                <a:path w="78568" h="28379" extrusionOk="0">
                  <a:moveTo>
                    <a:pt x="1" y="1"/>
                  </a:moveTo>
                  <a:lnTo>
                    <a:pt x="1" y="5621"/>
                  </a:lnTo>
                  <a:lnTo>
                    <a:pt x="57" y="6789"/>
                  </a:lnTo>
                  <a:lnTo>
                    <a:pt x="223" y="7958"/>
                  </a:lnTo>
                  <a:lnTo>
                    <a:pt x="502" y="9070"/>
                  </a:lnTo>
                  <a:lnTo>
                    <a:pt x="836" y="10239"/>
                  </a:lnTo>
                  <a:lnTo>
                    <a:pt x="1281" y="11296"/>
                  </a:lnTo>
                  <a:lnTo>
                    <a:pt x="1781" y="12409"/>
                  </a:lnTo>
                  <a:lnTo>
                    <a:pt x="2449" y="13466"/>
                  </a:lnTo>
                  <a:lnTo>
                    <a:pt x="3117" y="14468"/>
                  </a:lnTo>
                  <a:lnTo>
                    <a:pt x="3951" y="15469"/>
                  </a:lnTo>
                  <a:lnTo>
                    <a:pt x="4786" y="16471"/>
                  </a:lnTo>
                  <a:lnTo>
                    <a:pt x="5732" y="17417"/>
                  </a:lnTo>
                  <a:lnTo>
                    <a:pt x="6789" y="18363"/>
                  </a:lnTo>
                  <a:lnTo>
                    <a:pt x="7902" y="19253"/>
                  </a:lnTo>
                  <a:lnTo>
                    <a:pt x="9071" y="20088"/>
                  </a:lnTo>
                  <a:lnTo>
                    <a:pt x="10295" y="20922"/>
                  </a:lnTo>
                  <a:lnTo>
                    <a:pt x="11575" y="21701"/>
                  </a:lnTo>
                  <a:lnTo>
                    <a:pt x="12966" y="22480"/>
                  </a:lnTo>
                  <a:lnTo>
                    <a:pt x="14412" y="23204"/>
                  </a:lnTo>
                  <a:lnTo>
                    <a:pt x="15859" y="23871"/>
                  </a:lnTo>
                  <a:lnTo>
                    <a:pt x="17417" y="24483"/>
                  </a:lnTo>
                  <a:lnTo>
                    <a:pt x="19031" y="25095"/>
                  </a:lnTo>
                  <a:lnTo>
                    <a:pt x="20644" y="25652"/>
                  </a:lnTo>
                  <a:lnTo>
                    <a:pt x="22369" y="26153"/>
                  </a:lnTo>
                  <a:lnTo>
                    <a:pt x="24094" y="26598"/>
                  </a:lnTo>
                  <a:lnTo>
                    <a:pt x="25875" y="26987"/>
                  </a:lnTo>
                  <a:lnTo>
                    <a:pt x="27711" y="27377"/>
                  </a:lnTo>
                  <a:lnTo>
                    <a:pt x="29603" y="27655"/>
                  </a:lnTo>
                  <a:lnTo>
                    <a:pt x="31494" y="27933"/>
                  </a:lnTo>
                  <a:lnTo>
                    <a:pt x="33442" y="28100"/>
                  </a:lnTo>
                  <a:lnTo>
                    <a:pt x="35389" y="28267"/>
                  </a:lnTo>
                  <a:lnTo>
                    <a:pt x="37393" y="28378"/>
                  </a:lnTo>
                  <a:lnTo>
                    <a:pt x="41454" y="28378"/>
                  </a:lnTo>
                  <a:lnTo>
                    <a:pt x="43402" y="28267"/>
                  </a:lnTo>
                  <a:lnTo>
                    <a:pt x="45405" y="28100"/>
                  </a:lnTo>
                  <a:lnTo>
                    <a:pt x="47297" y="27933"/>
                  </a:lnTo>
                  <a:lnTo>
                    <a:pt x="49244" y="27655"/>
                  </a:lnTo>
                  <a:lnTo>
                    <a:pt x="51081" y="27377"/>
                  </a:lnTo>
                  <a:lnTo>
                    <a:pt x="52917" y="26987"/>
                  </a:lnTo>
                  <a:lnTo>
                    <a:pt x="54697" y="26598"/>
                  </a:lnTo>
                  <a:lnTo>
                    <a:pt x="56422" y="26153"/>
                  </a:lnTo>
                  <a:lnTo>
                    <a:pt x="58092" y="25652"/>
                  </a:lnTo>
                  <a:lnTo>
                    <a:pt x="59761" y="25095"/>
                  </a:lnTo>
                  <a:lnTo>
                    <a:pt x="61374" y="24483"/>
                  </a:lnTo>
                  <a:lnTo>
                    <a:pt x="62877" y="23871"/>
                  </a:lnTo>
                  <a:lnTo>
                    <a:pt x="64379" y="23204"/>
                  </a:lnTo>
                  <a:lnTo>
                    <a:pt x="65770" y="22480"/>
                  </a:lnTo>
                  <a:lnTo>
                    <a:pt x="67161" y="21701"/>
                  </a:lnTo>
                  <a:lnTo>
                    <a:pt x="68441" y="20922"/>
                  </a:lnTo>
                  <a:lnTo>
                    <a:pt x="69665" y="20088"/>
                  </a:lnTo>
                  <a:lnTo>
                    <a:pt x="70834" y="19253"/>
                  </a:lnTo>
                  <a:lnTo>
                    <a:pt x="71947" y="18363"/>
                  </a:lnTo>
                  <a:lnTo>
                    <a:pt x="72948" y="17417"/>
                  </a:lnTo>
                  <a:lnTo>
                    <a:pt x="73894" y="16471"/>
                  </a:lnTo>
                  <a:lnTo>
                    <a:pt x="74729" y="15469"/>
                  </a:lnTo>
                  <a:lnTo>
                    <a:pt x="75508" y="14468"/>
                  </a:lnTo>
                  <a:lnTo>
                    <a:pt x="76231" y="13466"/>
                  </a:lnTo>
                  <a:lnTo>
                    <a:pt x="76843" y="12409"/>
                  </a:lnTo>
                  <a:lnTo>
                    <a:pt x="77344" y="11296"/>
                  </a:lnTo>
                  <a:lnTo>
                    <a:pt x="77789" y="10239"/>
                  </a:lnTo>
                  <a:lnTo>
                    <a:pt x="78123" y="9070"/>
                  </a:lnTo>
                  <a:lnTo>
                    <a:pt x="78345" y="7958"/>
                  </a:lnTo>
                  <a:lnTo>
                    <a:pt x="78512" y="6789"/>
                  </a:lnTo>
                  <a:lnTo>
                    <a:pt x="78568" y="5621"/>
                  </a:lnTo>
                  <a:lnTo>
                    <a:pt x="78568" y="1"/>
                  </a:lnTo>
                  <a:lnTo>
                    <a:pt x="78512" y="1169"/>
                  </a:lnTo>
                  <a:lnTo>
                    <a:pt x="78401" y="2282"/>
                  </a:lnTo>
                  <a:lnTo>
                    <a:pt x="78123" y="3450"/>
                  </a:lnTo>
                  <a:lnTo>
                    <a:pt x="77789" y="4563"/>
                  </a:lnTo>
                  <a:lnTo>
                    <a:pt x="77344" y="5676"/>
                  </a:lnTo>
                  <a:lnTo>
                    <a:pt x="76843" y="6733"/>
                  </a:lnTo>
                  <a:lnTo>
                    <a:pt x="76231" y="7791"/>
                  </a:lnTo>
                  <a:lnTo>
                    <a:pt x="75563" y="8848"/>
                  </a:lnTo>
                  <a:lnTo>
                    <a:pt x="74729" y="9849"/>
                  </a:lnTo>
                  <a:lnTo>
                    <a:pt x="73894" y="10795"/>
                  </a:lnTo>
                  <a:lnTo>
                    <a:pt x="72948" y="11797"/>
                  </a:lnTo>
                  <a:lnTo>
                    <a:pt x="71947" y="12687"/>
                  </a:lnTo>
                  <a:lnTo>
                    <a:pt x="70834" y="13577"/>
                  </a:lnTo>
                  <a:lnTo>
                    <a:pt x="69665" y="14468"/>
                  </a:lnTo>
                  <a:lnTo>
                    <a:pt x="68441" y="15302"/>
                  </a:lnTo>
                  <a:lnTo>
                    <a:pt x="67161" y="16081"/>
                  </a:lnTo>
                  <a:lnTo>
                    <a:pt x="65826" y="16805"/>
                  </a:lnTo>
                  <a:lnTo>
                    <a:pt x="64379" y="17528"/>
                  </a:lnTo>
                  <a:lnTo>
                    <a:pt x="62877" y="18196"/>
                  </a:lnTo>
                  <a:lnTo>
                    <a:pt x="61374" y="18863"/>
                  </a:lnTo>
                  <a:lnTo>
                    <a:pt x="59761" y="19420"/>
                  </a:lnTo>
                  <a:lnTo>
                    <a:pt x="58147" y="19976"/>
                  </a:lnTo>
                  <a:lnTo>
                    <a:pt x="56422" y="20477"/>
                  </a:lnTo>
                  <a:lnTo>
                    <a:pt x="54697" y="20922"/>
                  </a:lnTo>
                  <a:lnTo>
                    <a:pt x="52917" y="21367"/>
                  </a:lnTo>
                  <a:lnTo>
                    <a:pt x="51081" y="21701"/>
                  </a:lnTo>
                  <a:lnTo>
                    <a:pt x="49244" y="22035"/>
                  </a:lnTo>
                  <a:lnTo>
                    <a:pt x="47353" y="22258"/>
                  </a:lnTo>
                  <a:lnTo>
                    <a:pt x="45405" y="22480"/>
                  </a:lnTo>
                  <a:lnTo>
                    <a:pt x="43458" y="22592"/>
                  </a:lnTo>
                  <a:lnTo>
                    <a:pt x="41454" y="22703"/>
                  </a:lnTo>
                  <a:lnTo>
                    <a:pt x="37393" y="22703"/>
                  </a:lnTo>
                  <a:lnTo>
                    <a:pt x="35389" y="22592"/>
                  </a:lnTo>
                  <a:lnTo>
                    <a:pt x="33442" y="22480"/>
                  </a:lnTo>
                  <a:lnTo>
                    <a:pt x="31494" y="22258"/>
                  </a:lnTo>
                  <a:lnTo>
                    <a:pt x="29603" y="22035"/>
                  </a:lnTo>
                  <a:lnTo>
                    <a:pt x="27711" y="21701"/>
                  </a:lnTo>
                  <a:lnTo>
                    <a:pt x="25930" y="21367"/>
                  </a:lnTo>
                  <a:lnTo>
                    <a:pt x="24150" y="20922"/>
                  </a:lnTo>
                  <a:lnTo>
                    <a:pt x="22369" y="20477"/>
                  </a:lnTo>
                  <a:lnTo>
                    <a:pt x="20700" y="19976"/>
                  </a:lnTo>
                  <a:lnTo>
                    <a:pt x="19031" y="19420"/>
                  </a:lnTo>
                  <a:lnTo>
                    <a:pt x="17417" y="18863"/>
                  </a:lnTo>
                  <a:lnTo>
                    <a:pt x="15915" y="18196"/>
                  </a:lnTo>
                  <a:lnTo>
                    <a:pt x="14412" y="17528"/>
                  </a:lnTo>
                  <a:lnTo>
                    <a:pt x="12966" y="16805"/>
                  </a:lnTo>
                  <a:lnTo>
                    <a:pt x="11630" y="16081"/>
                  </a:lnTo>
                  <a:lnTo>
                    <a:pt x="10295" y="15302"/>
                  </a:lnTo>
                  <a:lnTo>
                    <a:pt x="9071" y="14468"/>
                  </a:lnTo>
                  <a:lnTo>
                    <a:pt x="7902" y="13577"/>
                  </a:lnTo>
                  <a:lnTo>
                    <a:pt x="6789" y="12687"/>
                  </a:lnTo>
                  <a:lnTo>
                    <a:pt x="5788" y="11797"/>
                  </a:lnTo>
                  <a:lnTo>
                    <a:pt x="4842" y="10851"/>
                  </a:lnTo>
                  <a:lnTo>
                    <a:pt x="3951" y="9849"/>
                  </a:lnTo>
                  <a:lnTo>
                    <a:pt x="3173" y="8848"/>
                  </a:lnTo>
                  <a:lnTo>
                    <a:pt x="2449" y="7791"/>
                  </a:lnTo>
                  <a:lnTo>
                    <a:pt x="1837" y="6733"/>
                  </a:lnTo>
                  <a:lnTo>
                    <a:pt x="1281" y="5676"/>
                  </a:lnTo>
                  <a:lnTo>
                    <a:pt x="836" y="4563"/>
                  </a:lnTo>
                  <a:lnTo>
                    <a:pt x="502" y="3450"/>
                  </a:lnTo>
                  <a:lnTo>
                    <a:pt x="223" y="2282"/>
                  </a:lnTo>
                  <a:lnTo>
                    <a:pt x="57" y="116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BF9D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2284;p60">
              <a:extLst>
                <a:ext uri="{FF2B5EF4-FFF2-40B4-BE49-F238E27FC236}">
                  <a16:creationId xmlns:a16="http://schemas.microsoft.com/office/drawing/2014/main" id="{962D0A5B-3289-7A1C-0452-53EC0E01B8CD}"/>
                </a:ext>
              </a:extLst>
            </p:cNvPr>
            <p:cNvSpPr/>
            <p:nvPr/>
          </p:nvSpPr>
          <p:spPr>
            <a:xfrm>
              <a:off x="1235125" y="4034325"/>
              <a:ext cx="1964200" cy="709475"/>
            </a:xfrm>
            <a:custGeom>
              <a:avLst/>
              <a:gdLst/>
              <a:ahLst/>
              <a:cxnLst/>
              <a:rect l="l" t="t" r="r" b="b"/>
              <a:pathLst>
                <a:path w="78568" h="28379" fill="none" extrusionOk="0">
                  <a:moveTo>
                    <a:pt x="39451" y="22703"/>
                  </a:moveTo>
                  <a:lnTo>
                    <a:pt x="39451" y="22703"/>
                  </a:lnTo>
                  <a:lnTo>
                    <a:pt x="37393" y="22703"/>
                  </a:lnTo>
                  <a:lnTo>
                    <a:pt x="35389" y="22592"/>
                  </a:lnTo>
                  <a:lnTo>
                    <a:pt x="33442" y="22480"/>
                  </a:lnTo>
                  <a:lnTo>
                    <a:pt x="31494" y="22258"/>
                  </a:lnTo>
                  <a:lnTo>
                    <a:pt x="29603" y="22035"/>
                  </a:lnTo>
                  <a:lnTo>
                    <a:pt x="27711" y="21701"/>
                  </a:lnTo>
                  <a:lnTo>
                    <a:pt x="25930" y="21367"/>
                  </a:lnTo>
                  <a:lnTo>
                    <a:pt x="24150" y="20922"/>
                  </a:lnTo>
                  <a:lnTo>
                    <a:pt x="22369" y="20477"/>
                  </a:lnTo>
                  <a:lnTo>
                    <a:pt x="20700" y="19976"/>
                  </a:lnTo>
                  <a:lnTo>
                    <a:pt x="19031" y="19420"/>
                  </a:lnTo>
                  <a:lnTo>
                    <a:pt x="17417" y="18863"/>
                  </a:lnTo>
                  <a:lnTo>
                    <a:pt x="15915" y="18196"/>
                  </a:lnTo>
                  <a:lnTo>
                    <a:pt x="14412" y="17528"/>
                  </a:lnTo>
                  <a:lnTo>
                    <a:pt x="12966" y="16805"/>
                  </a:lnTo>
                  <a:lnTo>
                    <a:pt x="11630" y="16081"/>
                  </a:lnTo>
                  <a:lnTo>
                    <a:pt x="11630" y="16081"/>
                  </a:lnTo>
                  <a:lnTo>
                    <a:pt x="10295" y="15302"/>
                  </a:lnTo>
                  <a:lnTo>
                    <a:pt x="9071" y="14468"/>
                  </a:lnTo>
                  <a:lnTo>
                    <a:pt x="7902" y="13577"/>
                  </a:lnTo>
                  <a:lnTo>
                    <a:pt x="6789" y="12687"/>
                  </a:lnTo>
                  <a:lnTo>
                    <a:pt x="5788" y="11797"/>
                  </a:lnTo>
                  <a:lnTo>
                    <a:pt x="4842" y="10851"/>
                  </a:lnTo>
                  <a:lnTo>
                    <a:pt x="3951" y="9849"/>
                  </a:lnTo>
                  <a:lnTo>
                    <a:pt x="3173" y="8848"/>
                  </a:lnTo>
                  <a:lnTo>
                    <a:pt x="2449" y="7791"/>
                  </a:lnTo>
                  <a:lnTo>
                    <a:pt x="1837" y="6733"/>
                  </a:lnTo>
                  <a:lnTo>
                    <a:pt x="1281" y="5676"/>
                  </a:lnTo>
                  <a:lnTo>
                    <a:pt x="836" y="4563"/>
                  </a:lnTo>
                  <a:lnTo>
                    <a:pt x="502" y="3450"/>
                  </a:lnTo>
                  <a:lnTo>
                    <a:pt x="223" y="2282"/>
                  </a:lnTo>
                  <a:lnTo>
                    <a:pt x="57" y="1169"/>
                  </a:lnTo>
                  <a:lnTo>
                    <a:pt x="1" y="1"/>
                  </a:lnTo>
                  <a:lnTo>
                    <a:pt x="1" y="5621"/>
                  </a:lnTo>
                  <a:lnTo>
                    <a:pt x="1" y="5621"/>
                  </a:lnTo>
                  <a:lnTo>
                    <a:pt x="57" y="6789"/>
                  </a:lnTo>
                  <a:lnTo>
                    <a:pt x="223" y="7958"/>
                  </a:lnTo>
                  <a:lnTo>
                    <a:pt x="502" y="9070"/>
                  </a:lnTo>
                  <a:lnTo>
                    <a:pt x="836" y="10239"/>
                  </a:lnTo>
                  <a:lnTo>
                    <a:pt x="1281" y="11296"/>
                  </a:lnTo>
                  <a:lnTo>
                    <a:pt x="1781" y="12409"/>
                  </a:lnTo>
                  <a:lnTo>
                    <a:pt x="2449" y="13466"/>
                  </a:lnTo>
                  <a:lnTo>
                    <a:pt x="3117" y="14468"/>
                  </a:lnTo>
                  <a:lnTo>
                    <a:pt x="3951" y="15469"/>
                  </a:lnTo>
                  <a:lnTo>
                    <a:pt x="4786" y="16471"/>
                  </a:lnTo>
                  <a:lnTo>
                    <a:pt x="5732" y="17417"/>
                  </a:lnTo>
                  <a:lnTo>
                    <a:pt x="6789" y="18363"/>
                  </a:lnTo>
                  <a:lnTo>
                    <a:pt x="7902" y="19253"/>
                  </a:lnTo>
                  <a:lnTo>
                    <a:pt x="9071" y="20088"/>
                  </a:lnTo>
                  <a:lnTo>
                    <a:pt x="10295" y="20922"/>
                  </a:lnTo>
                  <a:lnTo>
                    <a:pt x="11575" y="21701"/>
                  </a:lnTo>
                  <a:lnTo>
                    <a:pt x="11575" y="21701"/>
                  </a:lnTo>
                  <a:lnTo>
                    <a:pt x="12966" y="22480"/>
                  </a:lnTo>
                  <a:lnTo>
                    <a:pt x="14412" y="23204"/>
                  </a:lnTo>
                  <a:lnTo>
                    <a:pt x="15859" y="23871"/>
                  </a:lnTo>
                  <a:lnTo>
                    <a:pt x="17417" y="24483"/>
                  </a:lnTo>
                  <a:lnTo>
                    <a:pt x="19031" y="25095"/>
                  </a:lnTo>
                  <a:lnTo>
                    <a:pt x="20644" y="25652"/>
                  </a:lnTo>
                  <a:lnTo>
                    <a:pt x="22369" y="26153"/>
                  </a:lnTo>
                  <a:lnTo>
                    <a:pt x="24094" y="26598"/>
                  </a:lnTo>
                  <a:lnTo>
                    <a:pt x="25875" y="26987"/>
                  </a:lnTo>
                  <a:lnTo>
                    <a:pt x="27711" y="27377"/>
                  </a:lnTo>
                  <a:lnTo>
                    <a:pt x="29603" y="27655"/>
                  </a:lnTo>
                  <a:lnTo>
                    <a:pt x="31494" y="27933"/>
                  </a:lnTo>
                  <a:lnTo>
                    <a:pt x="33442" y="28100"/>
                  </a:lnTo>
                  <a:lnTo>
                    <a:pt x="35389" y="28267"/>
                  </a:lnTo>
                  <a:lnTo>
                    <a:pt x="37393" y="28378"/>
                  </a:lnTo>
                  <a:lnTo>
                    <a:pt x="39396" y="28378"/>
                  </a:lnTo>
                  <a:lnTo>
                    <a:pt x="39396" y="28378"/>
                  </a:lnTo>
                  <a:lnTo>
                    <a:pt x="41454" y="28378"/>
                  </a:lnTo>
                  <a:lnTo>
                    <a:pt x="43402" y="28267"/>
                  </a:lnTo>
                  <a:lnTo>
                    <a:pt x="45405" y="28100"/>
                  </a:lnTo>
                  <a:lnTo>
                    <a:pt x="47297" y="27933"/>
                  </a:lnTo>
                  <a:lnTo>
                    <a:pt x="49244" y="27655"/>
                  </a:lnTo>
                  <a:lnTo>
                    <a:pt x="51081" y="27377"/>
                  </a:lnTo>
                  <a:lnTo>
                    <a:pt x="52917" y="26987"/>
                  </a:lnTo>
                  <a:lnTo>
                    <a:pt x="54697" y="26598"/>
                  </a:lnTo>
                  <a:lnTo>
                    <a:pt x="56422" y="26153"/>
                  </a:lnTo>
                  <a:lnTo>
                    <a:pt x="58092" y="25652"/>
                  </a:lnTo>
                  <a:lnTo>
                    <a:pt x="59761" y="25095"/>
                  </a:lnTo>
                  <a:lnTo>
                    <a:pt x="61374" y="24483"/>
                  </a:lnTo>
                  <a:lnTo>
                    <a:pt x="62877" y="23871"/>
                  </a:lnTo>
                  <a:lnTo>
                    <a:pt x="64379" y="23204"/>
                  </a:lnTo>
                  <a:lnTo>
                    <a:pt x="65770" y="22480"/>
                  </a:lnTo>
                  <a:lnTo>
                    <a:pt x="67161" y="21701"/>
                  </a:lnTo>
                  <a:lnTo>
                    <a:pt x="68441" y="20922"/>
                  </a:lnTo>
                  <a:lnTo>
                    <a:pt x="69665" y="20088"/>
                  </a:lnTo>
                  <a:lnTo>
                    <a:pt x="70834" y="19253"/>
                  </a:lnTo>
                  <a:lnTo>
                    <a:pt x="71947" y="18363"/>
                  </a:lnTo>
                  <a:lnTo>
                    <a:pt x="72948" y="17417"/>
                  </a:lnTo>
                  <a:lnTo>
                    <a:pt x="73894" y="16471"/>
                  </a:lnTo>
                  <a:lnTo>
                    <a:pt x="74729" y="15469"/>
                  </a:lnTo>
                  <a:lnTo>
                    <a:pt x="75508" y="14468"/>
                  </a:lnTo>
                  <a:lnTo>
                    <a:pt x="76231" y="13466"/>
                  </a:lnTo>
                  <a:lnTo>
                    <a:pt x="76843" y="12409"/>
                  </a:lnTo>
                  <a:lnTo>
                    <a:pt x="77344" y="11296"/>
                  </a:lnTo>
                  <a:lnTo>
                    <a:pt x="77789" y="10239"/>
                  </a:lnTo>
                  <a:lnTo>
                    <a:pt x="78123" y="9070"/>
                  </a:lnTo>
                  <a:lnTo>
                    <a:pt x="78345" y="7958"/>
                  </a:lnTo>
                  <a:lnTo>
                    <a:pt x="78512" y="6789"/>
                  </a:lnTo>
                  <a:lnTo>
                    <a:pt x="78568" y="5621"/>
                  </a:lnTo>
                  <a:lnTo>
                    <a:pt x="78568" y="1"/>
                  </a:lnTo>
                  <a:lnTo>
                    <a:pt x="78568" y="1"/>
                  </a:lnTo>
                  <a:lnTo>
                    <a:pt x="78512" y="1169"/>
                  </a:lnTo>
                  <a:lnTo>
                    <a:pt x="78401" y="2282"/>
                  </a:lnTo>
                  <a:lnTo>
                    <a:pt x="78123" y="3450"/>
                  </a:lnTo>
                  <a:lnTo>
                    <a:pt x="77789" y="4563"/>
                  </a:lnTo>
                  <a:lnTo>
                    <a:pt x="77344" y="5676"/>
                  </a:lnTo>
                  <a:lnTo>
                    <a:pt x="76843" y="6733"/>
                  </a:lnTo>
                  <a:lnTo>
                    <a:pt x="76231" y="7791"/>
                  </a:lnTo>
                  <a:lnTo>
                    <a:pt x="75563" y="8848"/>
                  </a:lnTo>
                  <a:lnTo>
                    <a:pt x="74729" y="9849"/>
                  </a:lnTo>
                  <a:lnTo>
                    <a:pt x="73894" y="10795"/>
                  </a:lnTo>
                  <a:lnTo>
                    <a:pt x="72948" y="11797"/>
                  </a:lnTo>
                  <a:lnTo>
                    <a:pt x="71947" y="12687"/>
                  </a:lnTo>
                  <a:lnTo>
                    <a:pt x="70834" y="13577"/>
                  </a:lnTo>
                  <a:lnTo>
                    <a:pt x="69665" y="14468"/>
                  </a:lnTo>
                  <a:lnTo>
                    <a:pt x="68441" y="15302"/>
                  </a:lnTo>
                  <a:lnTo>
                    <a:pt x="67161" y="16081"/>
                  </a:lnTo>
                  <a:lnTo>
                    <a:pt x="65826" y="16805"/>
                  </a:lnTo>
                  <a:lnTo>
                    <a:pt x="64379" y="17528"/>
                  </a:lnTo>
                  <a:lnTo>
                    <a:pt x="62877" y="18196"/>
                  </a:lnTo>
                  <a:lnTo>
                    <a:pt x="61374" y="18863"/>
                  </a:lnTo>
                  <a:lnTo>
                    <a:pt x="59761" y="19420"/>
                  </a:lnTo>
                  <a:lnTo>
                    <a:pt x="58147" y="19976"/>
                  </a:lnTo>
                  <a:lnTo>
                    <a:pt x="56422" y="20477"/>
                  </a:lnTo>
                  <a:lnTo>
                    <a:pt x="54697" y="20922"/>
                  </a:lnTo>
                  <a:lnTo>
                    <a:pt x="52917" y="21367"/>
                  </a:lnTo>
                  <a:lnTo>
                    <a:pt x="51081" y="21701"/>
                  </a:lnTo>
                  <a:lnTo>
                    <a:pt x="49244" y="22035"/>
                  </a:lnTo>
                  <a:lnTo>
                    <a:pt x="47353" y="22258"/>
                  </a:lnTo>
                  <a:lnTo>
                    <a:pt x="45405" y="22480"/>
                  </a:lnTo>
                  <a:lnTo>
                    <a:pt x="43458" y="22592"/>
                  </a:lnTo>
                  <a:lnTo>
                    <a:pt x="41454" y="22703"/>
                  </a:lnTo>
                  <a:lnTo>
                    <a:pt x="39451" y="22703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2285;p60">
              <a:extLst>
                <a:ext uri="{FF2B5EF4-FFF2-40B4-BE49-F238E27FC236}">
                  <a16:creationId xmlns:a16="http://schemas.microsoft.com/office/drawing/2014/main" id="{5C663967-E7CB-09E5-31CB-BFCD6B34C211}"/>
                </a:ext>
              </a:extLst>
            </p:cNvPr>
            <p:cNvSpPr/>
            <p:nvPr/>
          </p:nvSpPr>
          <p:spPr>
            <a:xfrm>
              <a:off x="1235125" y="3465375"/>
              <a:ext cx="1964200" cy="1136525"/>
            </a:xfrm>
            <a:custGeom>
              <a:avLst/>
              <a:gdLst/>
              <a:ahLst/>
              <a:cxnLst/>
              <a:rect l="l" t="t" r="r" b="b"/>
              <a:pathLst>
                <a:path w="78568" h="45461" extrusionOk="0">
                  <a:moveTo>
                    <a:pt x="40787" y="4675"/>
                  </a:moveTo>
                  <a:lnTo>
                    <a:pt x="42400" y="4730"/>
                  </a:lnTo>
                  <a:lnTo>
                    <a:pt x="43958" y="4842"/>
                  </a:lnTo>
                  <a:lnTo>
                    <a:pt x="45461" y="5009"/>
                  </a:lnTo>
                  <a:lnTo>
                    <a:pt x="47019" y="5231"/>
                  </a:lnTo>
                  <a:lnTo>
                    <a:pt x="48465" y="5454"/>
                  </a:lnTo>
                  <a:lnTo>
                    <a:pt x="49912" y="5732"/>
                  </a:lnTo>
                  <a:lnTo>
                    <a:pt x="51359" y="6066"/>
                  </a:lnTo>
                  <a:lnTo>
                    <a:pt x="52750" y="6455"/>
                  </a:lnTo>
                  <a:lnTo>
                    <a:pt x="54085" y="6845"/>
                  </a:lnTo>
                  <a:lnTo>
                    <a:pt x="55421" y="7290"/>
                  </a:lnTo>
                  <a:lnTo>
                    <a:pt x="56645" y="7735"/>
                  </a:lnTo>
                  <a:lnTo>
                    <a:pt x="57869" y="8236"/>
                  </a:lnTo>
                  <a:lnTo>
                    <a:pt x="59093" y="8792"/>
                  </a:lnTo>
                  <a:lnTo>
                    <a:pt x="60206" y="9349"/>
                  </a:lnTo>
                  <a:lnTo>
                    <a:pt x="61319" y="9961"/>
                  </a:lnTo>
                  <a:lnTo>
                    <a:pt x="62320" y="10573"/>
                  </a:lnTo>
                  <a:lnTo>
                    <a:pt x="63322" y="11241"/>
                  </a:lnTo>
                  <a:lnTo>
                    <a:pt x="64268" y="11908"/>
                  </a:lnTo>
                  <a:lnTo>
                    <a:pt x="65103" y="12632"/>
                  </a:lnTo>
                  <a:lnTo>
                    <a:pt x="65937" y="13355"/>
                  </a:lnTo>
                  <a:lnTo>
                    <a:pt x="66716" y="14134"/>
                  </a:lnTo>
                  <a:lnTo>
                    <a:pt x="67384" y="14913"/>
                  </a:lnTo>
                  <a:lnTo>
                    <a:pt x="67996" y="15692"/>
                  </a:lnTo>
                  <a:lnTo>
                    <a:pt x="68608" y="16527"/>
                  </a:lnTo>
                  <a:lnTo>
                    <a:pt x="69109" y="17361"/>
                  </a:lnTo>
                  <a:lnTo>
                    <a:pt x="69498" y="18196"/>
                  </a:lnTo>
                  <a:lnTo>
                    <a:pt x="69888" y="19086"/>
                  </a:lnTo>
                  <a:lnTo>
                    <a:pt x="70166" y="19977"/>
                  </a:lnTo>
                  <a:lnTo>
                    <a:pt x="70333" y="20867"/>
                  </a:lnTo>
                  <a:lnTo>
                    <a:pt x="70444" y="21813"/>
                  </a:lnTo>
                  <a:lnTo>
                    <a:pt x="70500" y="22759"/>
                  </a:lnTo>
                  <a:lnTo>
                    <a:pt x="70500" y="23649"/>
                  </a:lnTo>
                  <a:lnTo>
                    <a:pt x="70389" y="24595"/>
                  </a:lnTo>
                  <a:lnTo>
                    <a:pt x="70166" y="25485"/>
                  </a:lnTo>
                  <a:lnTo>
                    <a:pt x="69888" y="26375"/>
                  </a:lnTo>
                  <a:lnTo>
                    <a:pt x="69554" y="27266"/>
                  </a:lnTo>
                  <a:lnTo>
                    <a:pt x="69164" y="28100"/>
                  </a:lnTo>
                  <a:lnTo>
                    <a:pt x="68664" y="28935"/>
                  </a:lnTo>
                  <a:lnTo>
                    <a:pt x="68107" y="29770"/>
                  </a:lnTo>
                  <a:lnTo>
                    <a:pt x="67495" y="30549"/>
                  </a:lnTo>
                  <a:lnTo>
                    <a:pt x="66772" y="31328"/>
                  </a:lnTo>
                  <a:lnTo>
                    <a:pt x="66048" y="32107"/>
                  </a:lnTo>
                  <a:lnTo>
                    <a:pt x="65214" y="32830"/>
                  </a:lnTo>
                  <a:lnTo>
                    <a:pt x="64379" y="33553"/>
                  </a:lnTo>
                  <a:lnTo>
                    <a:pt x="63433" y="34221"/>
                  </a:lnTo>
                  <a:lnTo>
                    <a:pt x="62487" y="34889"/>
                  </a:lnTo>
                  <a:lnTo>
                    <a:pt x="61430" y="35501"/>
                  </a:lnTo>
                  <a:lnTo>
                    <a:pt x="60373" y="36113"/>
                  </a:lnTo>
                  <a:lnTo>
                    <a:pt x="59204" y="36669"/>
                  </a:lnTo>
                  <a:lnTo>
                    <a:pt x="58036" y="37226"/>
                  </a:lnTo>
                  <a:lnTo>
                    <a:pt x="56812" y="37726"/>
                  </a:lnTo>
                  <a:lnTo>
                    <a:pt x="55588" y="38227"/>
                  </a:lnTo>
                  <a:lnTo>
                    <a:pt x="54252" y="38617"/>
                  </a:lnTo>
                  <a:lnTo>
                    <a:pt x="52917" y="39062"/>
                  </a:lnTo>
                  <a:lnTo>
                    <a:pt x="51526" y="39396"/>
                  </a:lnTo>
                  <a:lnTo>
                    <a:pt x="50135" y="39730"/>
                  </a:lnTo>
                  <a:lnTo>
                    <a:pt x="48688" y="40008"/>
                  </a:lnTo>
                  <a:lnTo>
                    <a:pt x="47186" y="40230"/>
                  </a:lnTo>
                  <a:lnTo>
                    <a:pt x="45683" y="40453"/>
                  </a:lnTo>
                  <a:lnTo>
                    <a:pt x="44125" y="40620"/>
                  </a:lnTo>
                  <a:lnTo>
                    <a:pt x="42567" y="40731"/>
                  </a:lnTo>
                  <a:lnTo>
                    <a:pt x="41009" y="40787"/>
                  </a:lnTo>
                  <a:lnTo>
                    <a:pt x="39396" y="40842"/>
                  </a:lnTo>
                  <a:lnTo>
                    <a:pt x="37782" y="40787"/>
                  </a:lnTo>
                  <a:lnTo>
                    <a:pt x="36224" y="40731"/>
                  </a:lnTo>
                  <a:lnTo>
                    <a:pt x="34666" y="40620"/>
                  </a:lnTo>
                  <a:lnTo>
                    <a:pt x="33108" y="40453"/>
                  </a:lnTo>
                  <a:lnTo>
                    <a:pt x="31606" y="40230"/>
                  </a:lnTo>
                  <a:lnTo>
                    <a:pt x="30103" y="40008"/>
                  </a:lnTo>
                  <a:lnTo>
                    <a:pt x="28657" y="39730"/>
                  </a:lnTo>
                  <a:lnTo>
                    <a:pt x="27266" y="39396"/>
                  </a:lnTo>
                  <a:lnTo>
                    <a:pt x="25875" y="39062"/>
                  </a:lnTo>
                  <a:lnTo>
                    <a:pt x="24484" y="38617"/>
                  </a:lnTo>
                  <a:lnTo>
                    <a:pt x="23204" y="38227"/>
                  </a:lnTo>
                  <a:lnTo>
                    <a:pt x="21924" y="37726"/>
                  </a:lnTo>
                  <a:lnTo>
                    <a:pt x="20700" y="37226"/>
                  </a:lnTo>
                  <a:lnTo>
                    <a:pt x="19531" y="36669"/>
                  </a:lnTo>
                  <a:lnTo>
                    <a:pt x="18363" y="36113"/>
                  </a:lnTo>
                  <a:lnTo>
                    <a:pt x="17306" y="35501"/>
                  </a:lnTo>
                  <a:lnTo>
                    <a:pt x="16248" y="34889"/>
                  </a:lnTo>
                  <a:lnTo>
                    <a:pt x="15247" y="34221"/>
                  </a:lnTo>
                  <a:lnTo>
                    <a:pt x="14357" y="33553"/>
                  </a:lnTo>
                  <a:lnTo>
                    <a:pt x="13466" y="32830"/>
                  </a:lnTo>
                  <a:lnTo>
                    <a:pt x="12632" y="32107"/>
                  </a:lnTo>
                  <a:lnTo>
                    <a:pt x="11908" y="31328"/>
                  </a:lnTo>
                  <a:lnTo>
                    <a:pt x="11185" y="30549"/>
                  </a:lnTo>
                  <a:lnTo>
                    <a:pt x="10573" y="29770"/>
                  </a:lnTo>
                  <a:lnTo>
                    <a:pt x="10017" y="28935"/>
                  </a:lnTo>
                  <a:lnTo>
                    <a:pt x="9516" y="28100"/>
                  </a:lnTo>
                  <a:lnTo>
                    <a:pt x="9071" y="27266"/>
                  </a:lnTo>
                  <a:lnTo>
                    <a:pt x="8737" y="26375"/>
                  </a:lnTo>
                  <a:lnTo>
                    <a:pt x="8459" y="25485"/>
                  </a:lnTo>
                  <a:lnTo>
                    <a:pt x="8236" y="24595"/>
                  </a:lnTo>
                  <a:lnTo>
                    <a:pt x="8125" y="23649"/>
                  </a:lnTo>
                  <a:lnTo>
                    <a:pt x="8069" y="22759"/>
                  </a:lnTo>
                  <a:lnTo>
                    <a:pt x="8125" y="21813"/>
                  </a:lnTo>
                  <a:lnTo>
                    <a:pt x="8236" y="20867"/>
                  </a:lnTo>
                  <a:lnTo>
                    <a:pt x="8403" y="19977"/>
                  </a:lnTo>
                  <a:lnTo>
                    <a:pt x="8681" y="19086"/>
                  </a:lnTo>
                  <a:lnTo>
                    <a:pt x="9015" y="18196"/>
                  </a:lnTo>
                  <a:lnTo>
                    <a:pt x="9460" y="17361"/>
                  </a:lnTo>
                  <a:lnTo>
                    <a:pt x="9961" y="16527"/>
                  </a:lnTo>
                  <a:lnTo>
                    <a:pt x="10462" y="15692"/>
                  </a:lnTo>
                  <a:lnTo>
                    <a:pt x="11129" y="14913"/>
                  </a:lnTo>
                  <a:lnTo>
                    <a:pt x="11797" y="14134"/>
                  </a:lnTo>
                  <a:lnTo>
                    <a:pt x="12520" y="13355"/>
                  </a:lnTo>
                  <a:lnTo>
                    <a:pt x="13355" y="12632"/>
                  </a:lnTo>
                  <a:lnTo>
                    <a:pt x="14245" y="11908"/>
                  </a:lnTo>
                  <a:lnTo>
                    <a:pt x="15136" y="11241"/>
                  </a:lnTo>
                  <a:lnTo>
                    <a:pt x="16137" y="10573"/>
                  </a:lnTo>
                  <a:lnTo>
                    <a:pt x="17139" y="9961"/>
                  </a:lnTo>
                  <a:lnTo>
                    <a:pt x="18252" y="9349"/>
                  </a:lnTo>
                  <a:lnTo>
                    <a:pt x="19364" y="8792"/>
                  </a:lnTo>
                  <a:lnTo>
                    <a:pt x="20533" y="8236"/>
                  </a:lnTo>
                  <a:lnTo>
                    <a:pt x="21757" y="7735"/>
                  </a:lnTo>
                  <a:lnTo>
                    <a:pt x="23037" y="7290"/>
                  </a:lnTo>
                  <a:lnTo>
                    <a:pt x="24317" y="6845"/>
                  </a:lnTo>
                  <a:lnTo>
                    <a:pt x="25652" y="6455"/>
                  </a:lnTo>
                  <a:lnTo>
                    <a:pt x="27043" y="6066"/>
                  </a:lnTo>
                  <a:lnTo>
                    <a:pt x="28490" y="5732"/>
                  </a:lnTo>
                  <a:lnTo>
                    <a:pt x="29937" y="5454"/>
                  </a:lnTo>
                  <a:lnTo>
                    <a:pt x="31383" y="5231"/>
                  </a:lnTo>
                  <a:lnTo>
                    <a:pt x="32886" y="5009"/>
                  </a:lnTo>
                  <a:lnTo>
                    <a:pt x="34444" y="4842"/>
                  </a:lnTo>
                  <a:lnTo>
                    <a:pt x="36002" y="4730"/>
                  </a:lnTo>
                  <a:lnTo>
                    <a:pt x="37615" y="4675"/>
                  </a:lnTo>
                  <a:close/>
                  <a:moveTo>
                    <a:pt x="37170" y="1"/>
                  </a:moveTo>
                  <a:lnTo>
                    <a:pt x="35167" y="112"/>
                  </a:lnTo>
                  <a:lnTo>
                    <a:pt x="33164" y="223"/>
                  </a:lnTo>
                  <a:lnTo>
                    <a:pt x="31272" y="446"/>
                  </a:lnTo>
                  <a:lnTo>
                    <a:pt x="29380" y="724"/>
                  </a:lnTo>
                  <a:lnTo>
                    <a:pt x="27488" y="1002"/>
                  </a:lnTo>
                  <a:lnTo>
                    <a:pt x="25652" y="1392"/>
                  </a:lnTo>
                  <a:lnTo>
                    <a:pt x="23871" y="1781"/>
                  </a:lnTo>
                  <a:lnTo>
                    <a:pt x="22147" y="2227"/>
                  </a:lnTo>
                  <a:lnTo>
                    <a:pt x="20477" y="2727"/>
                  </a:lnTo>
                  <a:lnTo>
                    <a:pt x="18808" y="3284"/>
                  </a:lnTo>
                  <a:lnTo>
                    <a:pt x="17250" y="3896"/>
                  </a:lnTo>
                  <a:lnTo>
                    <a:pt x="15692" y="4508"/>
                  </a:lnTo>
                  <a:lnTo>
                    <a:pt x="14190" y="5176"/>
                  </a:lnTo>
                  <a:lnTo>
                    <a:pt x="12799" y="5899"/>
                  </a:lnTo>
                  <a:lnTo>
                    <a:pt x="11408" y="6622"/>
                  </a:lnTo>
                  <a:lnTo>
                    <a:pt x="10128" y="7457"/>
                  </a:lnTo>
                  <a:lnTo>
                    <a:pt x="8904" y="8236"/>
                  </a:lnTo>
                  <a:lnTo>
                    <a:pt x="7735" y="9126"/>
                  </a:lnTo>
                  <a:lnTo>
                    <a:pt x="6678" y="10016"/>
                  </a:lnTo>
                  <a:lnTo>
                    <a:pt x="5621" y="10962"/>
                  </a:lnTo>
                  <a:lnTo>
                    <a:pt x="4675" y="11908"/>
                  </a:lnTo>
                  <a:lnTo>
                    <a:pt x="3840" y="12854"/>
                  </a:lnTo>
                  <a:lnTo>
                    <a:pt x="3061" y="13856"/>
                  </a:lnTo>
                  <a:lnTo>
                    <a:pt x="2338" y="14913"/>
                  </a:lnTo>
                  <a:lnTo>
                    <a:pt x="1726" y="15970"/>
                  </a:lnTo>
                  <a:lnTo>
                    <a:pt x="1225" y="17027"/>
                  </a:lnTo>
                  <a:lnTo>
                    <a:pt x="780" y="18140"/>
                  </a:lnTo>
                  <a:lnTo>
                    <a:pt x="446" y="19253"/>
                  </a:lnTo>
                  <a:lnTo>
                    <a:pt x="223" y="20422"/>
                  </a:lnTo>
                  <a:lnTo>
                    <a:pt x="57" y="21590"/>
                  </a:lnTo>
                  <a:lnTo>
                    <a:pt x="1" y="22759"/>
                  </a:lnTo>
                  <a:lnTo>
                    <a:pt x="57" y="23927"/>
                  </a:lnTo>
                  <a:lnTo>
                    <a:pt x="223" y="25040"/>
                  </a:lnTo>
                  <a:lnTo>
                    <a:pt x="502" y="26208"/>
                  </a:lnTo>
                  <a:lnTo>
                    <a:pt x="836" y="27321"/>
                  </a:lnTo>
                  <a:lnTo>
                    <a:pt x="1281" y="28434"/>
                  </a:lnTo>
                  <a:lnTo>
                    <a:pt x="1837" y="29491"/>
                  </a:lnTo>
                  <a:lnTo>
                    <a:pt x="2449" y="30549"/>
                  </a:lnTo>
                  <a:lnTo>
                    <a:pt x="3173" y="31606"/>
                  </a:lnTo>
                  <a:lnTo>
                    <a:pt x="3951" y="32607"/>
                  </a:lnTo>
                  <a:lnTo>
                    <a:pt x="4842" y="33609"/>
                  </a:lnTo>
                  <a:lnTo>
                    <a:pt x="5788" y="34555"/>
                  </a:lnTo>
                  <a:lnTo>
                    <a:pt x="6789" y="35445"/>
                  </a:lnTo>
                  <a:lnTo>
                    <a:pt x="7902" y="36335"/>
                  </a:lnTo>
                  <a:lnTo>
                    <a:pt x="9071" y="37226"/>
                  </a:lnTo>
                  <a:lnTo>
                    <a:pt x="10295" y="38060"/>
                  </a:lnTo>
                  <a:lnTo>
                    <a:pt x="11630" y="38839"/>
                  </a:lnTo>
                  <a:lnTo>
                    <a:pt x="12966" y="39563"/>
                  </a:lnTo>
                  <a:lnTo>
                    <a:pt x="14412" y="40286"/>
                  </a:lnTo>
                  <a:lnTo>
                    <a:pt x="15915" y="40954"/>
                  </a:lnTo>
                  <a:lnTo>
                    <a:pt x="17417" y="41621"/>
                  </a:lnTo>
                  <a:lnTo>
                    <a:pt x="19031" y="42178"/>
                  </a:lnTo>
                  <a:lnTo>
                    <a:pt x="20700" y="42734"/>
                  </a:lnTo>
                  <a:lnTo>
                    <a:pt x="22369" y="43235"/>
                  </a:lnTo>
                  <a:lnTo>
                    <a:pt x="24150" y="43680"/>
                  </a:lnTo>
                  <a:lnTo>
                    <a:pt x="25930" y="44125"/>
                  </a:lnTo>
                  <a:lnTo>
                    <a:pt x="27711" y="44459"/>
                  </a:lnTo>
                  <a:lnTo>
                    <a:pt x="29603" y="44793"/>
                  </a:lnTo>
                  <a:lnTo>
                    <a:pt x="31494" y="45016"/>
                  </a:lnTo>
                  <a:lnTo>
                    <a:pt x="33442" y="45238"/>
                  </a:lnTo>
                  <a:lnTo>
                    <a:pt x="35389" y="45350"/>
                  </a:lnTo>
                  <a:lnTo>
                    <a:pt x="37393" y="45461"/>
                  </a:lnTo>
                  <a:lnTo>
                    <a:pt x="41454" y="45461"/>
                  </a:lnTo>
                  <a:lnTo>
                    <a:pt x="43458" y="45350"/>
                  </a:lnTo>
                  <a:lnTo>
                    <a:pt x="45405" y="45238"/>
                  </a:lnTo>
                  <a:lnTo>
                    <a:pt x="47353" y="45016"/>
                  </a:lnTo>
                  <a:lnTo>
                    <a:pt x="49244" y="44793"/>
                  </a:lnTo>
                  <a:lnTo>
                    <a:pt x="51081" y="44459"/>
                  </a:lnTo>
                  <a:lnTo>
                    <a:pt x="52917" y="44125"/>
                  </a:lnTo>
                  <a:lnTo>
                    <a:pt x="54697" y="43680"/>
                  </a:lnTo>
                  <a:lnTo>
                    <a:pt x="56422" y="43235"/>
                  </a:lnTo>
                  <a:lnTo>
                    <a:pt x="58147" y="42734"/>
                  </a:lnTo>
                  <a:lnTo>
                    <a:pt x="59761" y="42178"/>
                  </a:lnTo>
                  <a:lnTo>
                    <a:pt x="61374" y="41621"/>
                  </a:lnTo>
                  <a:lnTo>
                    <a:pt x="62877" y="40954"/>
                  </a:lnTo>
                  <a:lnTo>
                    <a:pt x="64379" y="40286"/>
                  </a:lnTo>
                  <a:lnTo>
                    <a:pt x="65826" y="39563"/>
                  </a:lnTo>
                  <a:lnTo>
                    <a:pt x="67161" y="38839"/>
                  </a:lnTo>
                  <a:lnTo>
                    <a:pt x="68441" y="38060"/>
                  </a:lnTo>
                  <a:lnTo>
                    <a:pt x="69665" y="37226"/>
                  </a:lnTo>
                  <a:lnTo>
                    <a:pt x="70834" y="36335"/>
                  </a:lnTo>
                  <a:lnTo>
                    <a:pt x="71947" y="35445"/>
                  </a:lnTo>
                  <a:lnTo>
                    <a:pt x="72948" y="34555"/>
                  </a:lnTo>
                  <a:lnTo>
                    <a:pt x="73894" y="33553"/>
                  </a:lnTo>
                  <a:lnTo>
                    <a:pt x="74729" y="32607"/>
                  </a:lnTo>
                  <a:lnTo>
                    <a:pt x="75563" y="31606"/>
                  </a:lnTo>
                  <a:lnTo>
                    <a:pt x="76231" y="30549"/>
                  </a:lnTo>
                  <a:lnTo>
                    <a:pt x="76843" y="29491"/>
                  </a:lnTo>
                  <a:lnTo>
                    <a:pt x="77344" y="28434"/>
                  </a:lnTo>
                  <a:lnTo>
                    <a:pt x="77789" y="27321"/>
                  </a:lnTo>
                  <a:lnTo>
                    <a:pt x="78123" y="26208"/>
                  </a:lnTo>
                  <a:lnTo>
                    <a:pt x="78401" y="25040"/>
                  </a:lnTo>
                  <a:lnTo>
                    <a:pt x="78512" y="23927"/>
                  </a:lnTo>
                  <a:lnTo>
                    <a:pt x="78568" y="22759"/>
                  </a:lnTo>
                  <a:lnTo>
                    <a:pt x="78512" y="21590"/>
                  </a:lnTo>
                  <a:lnTo>
                    <a:pt x="78345" y="20422"/>
                  </a:lnTo>
                  <a:lnTo>
                    <a:pt x="78123" y="19253"/>
                  </a:lnTo>
                  <a:lnTo>
                    <a:pt x="77733" y="18140"/>
                  </a:lnTo>
                  <a:lnTo>
                    <a:pt x="77288" y="17027"/>
                  </a:lnTo>
                  <a:lnTo>
                    <a:pt x="76787" y="15970"/>
                  </a:lnTo>
                  <a:lnTo>
                    <a:pt x="76120" y="14913"/>
                  </a:lnTo>
                  <a:lnTo>
                    <a:pt x="75452" y="13856"/>
                  </a:lnTo>
                  <a:lnTo>
                    <a:pt x="74673" y="12854"/>
                  </a:lnTo>
                  <a:lnTo>
                    <a:pt x="73783" y="11908"/>
                  </a:lnTo>
                  <a:lnTo>
                    <a:pt x="72837" y="10962"/>
                  </a:lnTo>
                  <a:lnTo>
                    <a:pt x="71780" y="10016"/>
                  </a:lnTo>
                  <a:lnTo>
                    <a:pt x="70722" y="9126"/>
                  </a:lnTo>
                  <a:lnTo>
                    <a:pt x="69498" y="8236"/>
                  </a:lnTo>
                  <a:lnTo>
                    <a:pt x="68274" y="7457"/>
                  </a:lnTo>
                  <a:lnTo>
                    <a:pt x="66994" y="6622"/>
                  </a:lnTo>
                  <a:lnTo>
                    <a:pt x="65603" y="5899"/>
                  </a:lnTo>
                  <a:lnTo>
                    <a:pt x="64157" y="5176"/>
                  </a:lnTo>
                  <a:lnTo>
                    <a:pt x="62710" y="4508"/>
                  </a:lnTo>
                  <a:lnTo>
                    <a:pt x="61152" y="3896"/>
                  </a:lnTo>
                  <a:lnTo>
                    <a:pt x="59538" y="3284"/>
                  </a:lnTo>
                  <a:lnTo>
                    <a:pt x="57925" y="2727"/>
                  </a:lnTo>
                  <a:lnTo>
                    <a:pt x="56200" y="2227"/>
                  </a:lnTo>
                  <a:lnTo>
                    <a:pt x="54475" y="1781"/>
                  </a:lnTo>
                  <a:lnTo>
                    <a:pt x="52694" y="1392"/>
                  </a:lnTo>
                  <a:lnTo>
                    <a:pt x="50858" y="1002"/>
                  </a:lnTo>
                  <a:lnTo>
                    <a:pt x="48966" y="724"/>
                  </a:lnTo>
                  <a:lnTo>
                    <a:pt x="47074" y="446"/>
                  </a:lnTo>
                  <a:lnTo>
                    <a:pt x="45127" y="223"/>
                  </a:lnTo>
                  <a:lnTo>
                    <a:pt x="43179" y="112"/>
                  </a:lnTo>
                  <a:lnTo>
                    <a:pt x="41176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2286;p60">
              <a:extLst>
                <a:ext uri="{FF2B5EF4-FFF2-40B4-BE49-F238E27FC236}">
                  <a16:creationId xmlns:a16="http://schemas.microsoft.com/office/drawing/2014/main" id="{0E1939DE-581C-5265-C99F-43E6802B6AA1}"/>
                </a:ext>
              </a:extLst>
            </p:cNvPr>
            <p:cNvSpPr/>
            <p:nvPr/>
          </p:nvSpPr>
          <p:spPr>
            <a:xfrm>
              <a:off x="1235125" y="3465375"/>
              <a:ext cx="1964200" cy="1136525"/>
            </a:xfrm>
            <a:custGeom>
              <a:avLst/>
              <a:gdLst/>
              <a:ahLst/>
              <a:cxnLst/>
              <a:rect l="l" t="t" r="r" b="b"/>
              <a:pathLst>
                <a:path w="78568" h="45461" fill="none" extrusionOk="0">
                  <a:moveTo>
                    <a:pt x="66994" y="6622"/>
                  </a:moveTo>
                  <a:lnTo>
                    <a:pt x="66994" y="6622"/>
                  </a:lnTo>
                  <a:lnTo>
                    <a:pt x="65603" y="5899"/>
                  </a:lnTo>
                  <a:lnTo>
                    <a:pt x="64157" y="5176"/>
                  </a:lnTo>
                  <a:lnTo>
                    <a:pt x="62710" y="4508"/>
                  </a:lnTo>
                  <a:lnTo>
                    <a:pt x="61152" y="3896"/>
                  </a:lnTo>
                  <a:lnTo>
                    <a:pt x="59538" y="3284"/>
                  </a:lnTo>
                  <a:lnTo>
                    <a:pt x="57925" y="2727"/>
                  </a:lnTo>
                  <a:lnTo>
                    <a:pt x="56200" y="2227"/>
                  </a:lnTo>
                  <a:lnTo>
                    <a:pt x="54475" y="1781"/>
                  </a:lnTo>
                  <a:lnTo>
                    <a:pt x="52694" y="1392"/>
                  </a:lnTo>
                  <a:lnTo>
                    <a:pt x="50858" y="1002"/>
                  </a:lnTo>
                  <a:lnTo>
                    <a:pt x="48966" y="724"/>
                  </a:lnTo>
                  <a:lnTo>
                    <a:pt x="47074" y="446"/>
                  </a:lnTo>
                  <a:lnTo>
                    <a:pt x="45127" y="223"/>
                  </a:lnTo>
                  <a:lnTo>
                    <a:pt x="43179" y="112"/>
                  </a:lnTo>
                  <a:lnTo>
                    <a:pt x="41176" y="1"/>
                  </a:lnTo>
                  <a:lnTo>
                    <a:pt x="39173" y="1"/>
                  </a:lnTo>
                  <a:lnTo>
                    <a:pt x="39173" y="1"/>
                  </a:lnTo>
                  <a:lnTo>
                    <a:pt x="37170" y="1"/>
                  </a:lnTo>
                  <a:lnTo>
                    <a:pt x="35167" y="112"/>
                  </a:lnTo>
                  <a:lnTo>
                    <a:pt x="33164" y="223"/>
                  </a:lnTo>
                  <a:lnTo>
                    <a:pt x="31272" y="446"/>
                  </a:lnTo>
                  <a:lnTo>
                    <a:pt x="29380" y="724"/>
                  </a:lnTo>
                  <a:lnTo>
                    <a:pt x="27488" y="1002"/>
                  </a:lnTo>
                  <a:lnTo>
                    <a:pt x="25652" y="1392"/>
                  </a:lnTo>
                  <a:lnTo>
                    <a:pt x="23871" y="1781"/>
                  </a:lnTo>
                  <a:lnTo>
                    <a:pt x="22147" y="2227"/>
                  </a:lnTo>
                  <a:lnTo>
                    <a:pt x="20477" y="2727"/>
                  </a:lnTo>
                  <a:lnTo>
                    <a:pt x="18808" y="3284"/>
                  </a:lnTo>
                  <a:lnTo>
                    <a:pt x="17250" y="3896"/>
                  </a:lnTo>
                  <a:lnTo>
                    <a:pt x="15692" y="4508"/>
                  </a:lnTo>
                  <a:lnTo>
                    <a:pt x="14190" y="5176"/>
                  </a:lnTo>
                  <a:lnTo>
                    <a:pt x="12799" y="5899"/>
                  </a:lnTo>
                  <a:lnTo>
                    <a:pt x="11408" y="6622"/>
                  </a:lnTo>
                  <a:lnTo>
                    <a:pt x="10128" y="7457"/>
                  </a:lnTo>
                  <a:lnTo>
                    <a:pt x="8904" y="8236"/>
                  </a:lnTo>
                  <a:lnTo>
                    <a:pt x="7735" y="9126"/>
                  </a:lnTo>
                  <a:lnTo>
                    <a:pt x="6678" y="10016"/>
                  </a:lnTo>
                  <a:lnTo>
                    <a:pt x="5621" y="10962"/>
                  </a:lnTo>
                  <a:lnTo>
                    <a:pt x="4675" y="11908"/>
                  </a:lnTo>
                  <a:lnTo>
                    <a:pt x="3840" y="12854"/>
                  </a:lnTo>
                  <a:lnTo>
                    <a:pt x="3061" y="13856"/>
                  </a:lnTo>
                  <a:lnTo>
                    <a:pt x="2338" y="14913"/>
                  </a:lnTo>
                  <a:lnTo>
                    <a:pt x="1726" y="15970"/>
                  </a:lnTo>
                  <a:lnTo>
                    <a:pt x="1225" y="17027"/>
                  </a:lnTo>
                  <a:lnTo>
                    <a:pt x="780" y="18140"/>
                  </a:lnTo>
                  <a:lnTo>
                    <a:pt x="446" y="19253"/>
                  </a:lnTo>
                  <a:lnTo>
                    <a:pt x="223" y="20422"/>
                  </a:lnTo>
                  <a:lnTo>
                    <a:pt x="57" y="21590"/>
                  </a:lnTo>
                  <a:lnTo>
                    <a:pt x="1" y="22759"/>
                  </a:lnTo>
                  <a:lnTo>
                    <a:pt x="1" y="22759"/>
                  </a:lnTo>
                  <a:lnTo>
                    <a:pt x="57" y="23927"/>
                  </a:lnTo>
                  <a:lnTo>
                    <a:pt x="223" y="25040"/>
                  </a:lnTo>
                  <a:lnTo>
                    <a:pt x="502" y="26208"/>
                  </a:lnTo>
                  <a:lnTo>
                    <a:pt x="836" y="27321"/>
                  </a:lnTo>
                  <a:lnTo>
                    <a:pt x="1281" y="28434"/>
                  </a:lnTo>
                  <a:lnTo>
                    <a:pt x="1837" y="29491"/>
                  </a:lnTo>
                  <a:lnTo>
                    <a:pt x="2449" y="30549"/>
                  </a:lnTo>
                  <a:lnTo>
                    <a:pt x="3173" y="31606"/>
                  </a:lnTo>
                  <a:lnTo>
                    <a:pt x="3951" y="32607"/>
                  </a:lnTo>
                  <a:lnTo>
                    <a:pt x="4842" y="33609"/>
                  </a:lnTo>
                  <a:lnTo>
                    <a:pt x="5788" y="34555"/>
                  </a:lnTo>
                  <a:lnTo>
                    <a:pt x="6789" y="35445"/>
                  </a:lnTo>
                  <a:lnTo>
                    <a:pt x="7902" y="36335"/>
                  </a:lnTo>
                  <a:lnTo>
                    <a:pt x="9071" y="37226"/>
                  </a:lnTo>
                  <a:lnTo>
                    <a:pt x="10295" y="38060"/>
                  </a:lnTo>
                  <a:lnTo>
                    <a:pt x="11630" y="38839"/>
                  </a:lnTo>
                  <a:lnTo>
                    <a:pt x="11630" y="38839"/>
                  </a:lnTo>
                  <a:lnTo>
                    <a:pt x="12966" y="39563"/>
                  </a:lnTo>
                  <a:lnTo>
                    <a:pt x="14412" y="40286"/>
                  </a:lnTo>
                  <a:lnTo>
                    <a:pt x="15915" y="40954"/>
                  </a:lnTo>
                  <a:lnTo>
                    <a:pt x="17417" y="41621"/>
                  </a:lnTo>
                  <a:lnTo>
                    <a:pt x="19031" y="42178"/>
                  </a:lnTo>
                  <a:lnTo>
                    <a:pt x="20700" y="42734"/>
                  </a:lnTo>
                  <a:lnTo>
                    <a:pt x="22369" y="43235"/>
                  </a:lnTo>
                  <a:lnTo>
                    <a:pt x="24150" y="43680"/>
                  </a:lnTo>
                  <a:lnTo>
                    <a:pt x="25930" y="44125"/>
                  </a:lnTo>
                  <a:lnTo>
                    <a:pt x="27711" y="44459"/>
                  </a:lnTo>
                  <a:lnTo>
                    <a:pt x="29603" y="44793"/>
                  </a:lnTo>
                  <a:lnTo>
                    <a:pt x="31494" y="45016"/>
                  </a:lnTo>
                  <a:lnTo>
                    <a:pt x="33442" y="45238"/>
                  </a:lnTo>
                  <a:lnTo>
                    <a:pt x="35389" y="45350"/>
                  </a:lnTo>
                  <a:lnTo>
                    <a:pt x="37393" y="45461"/>
                  </a:lnTo>
                  <a:lnTo>
                    <a:pt x="39451" y="45461"/>
                  </a:lnTo>
                  <a:lnTo>
                    <a:pt x="39451" y="45461"/>
                  </a:lnTo>
                  <a:lnTo>
                    <a:pt x="41454" y="45461"/>
                  </a:lnTo>
                  <a:lnTo>
                    <a:pt x="43458" y="45350"/>
                  </a:lnTo>
                  <a:lnTo>
                    <a:pt x="45405" y="45238"/>
                  </a:lnTo>
                  <a:lnTo>
                    <a:pt x="47353" y="45016"/>
                  </a:lnTo>
                  <a:lnTo>
                    <a:pt x="49244" y="44793"/>
                  </a:lnTo>
                  <a:lnTo>
                    <a:pt x="51081" y="44459"/>
                  </a:lnTo>
                  <a:lnTo>
                    <a:pt x="52917" y="44125"/>
                  </a:lnTo>
                  <a:lnTo>
                    <a:pt x="54697" y="43680"/>
                  </a:lnTo>
                  <a:lnTo>
                    <a:pt x="56422" y="43235"/>
                  </a:lnTo>
                  <a:lnTo>
                    <a:pt x="58147" y="42734"/>
                  </a:lnTo>
                  <a:lnTo>
                    <a:pt x="59761" y="42178"/>
                  </a:lnTo>
                  <a:lnTo>
                    <a:pt x="61374" y="41621"/>
                  </a:lnTo>
                  <a:lnTo>
                    <a:pt x="62877" y="40954"/>
                  </a:lnTo>
                  <a:lnTo>
                    <a:pt x="64379" y="40286"/>
                  </a:lnTo>
                  <a:lnTo>
                    <a:pt x="65826" y="39563"/>
                  </a:lnTo>
                  <a:lnTo>
                    <a:pt x="67161" y="38839"/>
                  </a:lnTo>
                  <a:lnTo>
                    <a:pt x="68441" y="38060"/>
                  </a:lnTo>
                  <a:lnTo>
                    <a:pt x="69665" y="37226"/>
                  </a:lnTo>
                  <a:lnTo>
                    <a:pt x="70834" y="36335"/>
                  </a:lnTo>
                  <a:lnTo>
                    <a:pt x="71947" y="35445"/>
                  </a:lnTo>
                  <a:lnTo>
                    <a:pt x="72948" y="34555"/>
                  </a:lnTo>
                  <a:lnTo>
                    <a:pt x="73894" y="33553"/>
                  </a:lnTo>
                  <a:lnTo>
                    <a:pt x="74729" y="32607"/>
                  </a:lnTo>
                  <a:lnTo>
                    <a:pt x="75563" y="31606"/>
                  </a:lnTo>
                  <a:lnTo>
                    <a:pt x="76231" y="30549"/>
                  </a:lnTo>
                  <a:lnTo>
                    <a:pt x="76843" y="29491"/>
                  </a:lnTo>
                  <a:lnTo>
                    <a:pt x="77344" y="28434"/>
                  </a:lnTo>
                  <a:lnTo>
                    <a:pt x="77789" y="27321"/>
                  </a:lnTo>
                  <a:lnTo>
                    <a:pt x="78123" y="26208"/>
                  </a:lnTo>
                  <a:lnTo>
                    <a:pt x="78401" y="25040"/>
                  </a:lnTo>
                  <a:lnTo>
                    <a:pt x="78512" y="23927"/>
                  </a:lnTo>
                  <a:lnTo>
                    <a:pt x="78568" y="22759"/>
                  </a:lnTo>
                  <a:lnTo>
                    <a:pt x="78568" y="22759"/>
                  </a:lnTo>
                  <a:lnTo>
                    <a:pt x="78512" y="21590"/>
                  </a:lnTo>
                  <a:lnTo>
                    <a:pt x="78345" y="20422"/>
                  </a:lnTo>
                  <a:lnTo>
                    <a:pt x="78123" y="19253"/>
                  </a:lnTo>
                  <a:lnTo>
                    <a:pt x="77733" y="18140"/>
                  </a:lnTo>
                  <a:lnTo>
                    <a:pt x="77288" y="17027"/>
                  </a:lnTo>
                  <a:lnTo>
                    <a:pt x="76787" y="15970"/>
                  </a:lnTo>
                  <a:lnTo>
                    <a:pt x="76120" y="14913"/>
                  </a:lnTo>
                  <a:lnTo>
                    <a:pt x="75452" y="13856"/>
                  </a:lnTo>
                  <a:lnTo>
                    <a:pt x="74673" y="12854"/>
                  </a:lnTo>
                  <a:lnTo>
                    <a:pt x="73783" y="11908"/>
                  </a:lnTo>
                  <a:lnTo>
                    <a:pt x="72837" y="10962"/>
                  </a:lnTo>
                  <a:lnTo>
                    <a:pt x="71780" y="10016"/>
                  </a:lnTo>
                  <a:lnTo>
                    <a:pt x="70722" y="9126"/>
                  </a:lnTo>
                  <a:lnTo>
                    <a:pt x="69498" y="8236"/>
                  </a:lnTo>
                  <a:lnTo>
                    <a:pt x="68274" y="7457"/>
                  </a:lnTo>
                  <a:lnTo>
                    <a:pt x="66994" y="6622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2287;p60">
              <a:extLst>
                <a:ext uri="{FF2B5EF4-FFF2-40B4-BE49-F238E27FC236}">
                  <a16:creationId xmlns:a16="http://schemas.microsoft.com/office/drawing/2014/main" id="{BDB07117-92C8-3B4E-5938-60911C2E665B}"/>
                </a:ext>
              </a:extLst>
            </p:cNvPr>
            <p:cNvSpPr/>
            <p:nvPr/>
          </p:nvSpPr>
          <p:spPr>
            <a:xfrm>
              <a:off x="1436850" y="3582225"/>
              <a:ext cx="1560775" cy="904225"/>
            </a:xfrm>
            <a:custGeom>
              <a:avLst/>
              <a:gdLst/>
              <a:ahLst/>
              <a:cxnLst/>
              <a:rect l="l" t="t" r="r" b="b"/>
              <a:pathLst>
                <a:path w="62431" h="36169" fill="none" extrusionOk="0">
                  <a:moveTo>
                    <a:pt x="31327" y="36168"/>
                  </a:moveTo>
                  <a:lnTo>
                    <a:pt x="31327" y="36168"/>
                  </a:lnTo>
                  <a:lnTo>
                    <a:pt x="29713" y="36113"/>
                  </a:lnTo>
                  <a:lnTo>
                    <a:pt x="28155" y="36057"/>
                  </a:lnTo>
                  <a:lnTo>
                    <a:pt x="26597" y="35946"/>
                  </a:lnTo>
                  <a:lnTo>
                    <a:pt x="25039" y="35779"/>
                  </a:lnTo>
                  <a:lnTo>
                    <a:pt x="23537" y="35556"/>
                  </a:lnTo>
                  <a:lnTo>
                    <a:pt x="22034" y="35334"/>
                  </a:lnTo>
                  <a:lnTo>
                    <a:pt x="20588" y="35056"/>
                  </a:lnTo>
                  <a:lnTo>
                    <a:pt x="19197" y="34722"/>
                  </a:lnTo>
                  <a:lnTo>
                    <a:pt x="17806" y="34388"/>
                  </a:lnTo>
                  <a:lnTo>
                    <a:pt x="16415" y="33943"/>
                  </a:lnTo>
                  <a:lnTo>
                    <a:pt x="15135" y="33553"/>
                  </a:lnTo>
                  <a:lnTo>
                    <a:pt x="13855" y="33052"/>
                  </a:lnTo>
                  <a:lnTo>
                    <a:pt x="12631" y="32552"/>
                  </a:lnTo>
                  <a:lnTo>
                    <a:pt x="11462" y="31995"/>
                  </a:lnTo>
                  <a:lnTo>
                    <a:pt x="10294" y="31439"/>
                  </a:lnTo>
                  <a:lnTo>
                    <a:pt x="9237" y="30827"/>
                  </a:lnTo>
                  <a:lnTo>
                    <a:pt x="9237" y="30827"/>
                  </a:lnTo>
                  <a:lnTo>
                    <a:pt x="8179" y="30215"/>
                  </a:lnTo>
                  <a:lnTo>
                    <a:pt x="7178" y="29547"/>
                  </a:lnTo>
                  <a:lnTo>
                    <a:pt x="6288" y="28879"/>
                  </a:lnTo>
                  <a:lnTo>
                    <a:pt x="5397" y="28156"/>
                  </a:lnTo>
                  <a:lnTo>
                    <a:pt x="4563" y="27433"/>
                  </a:lnTo>
                  <a:lnTo>
                    <a:pt x="3839" y="26654"/>
                  </a:lnTo>
                  <a:lnTo>
                    <a:pt x="3116" y="25875"/>
                  </a:lnTo>
                  <a:lnTo>
                    <a:pt x="2504" y="25096"/>
                  </a:lnTo>
                  <a:lnTo>
                    <a:pt x="1948" y="24261"/>
                  </a:lnTo>
                  <a:lnTo>
                    <a:pt x="1447" y="23426"/>
                  </a:lnTo>
                  <a:lnTo>
                    <a:pt x="1002" y="22592"/>
                  </a:lnTo>
                  <a:lnTo>
                    <a:pt x="668" y="21701"/>
                  </a:lnTo>
                  <a:lnTo>
                    <a:pt x="390" y="20811"/>
                  </a:lnTo>
                  <a:lnTo>
                    <a:pt x="167" y="19921"/>
                  </a:lnTo>
                  <a:lnTo>
                    <a:pt x="56" y="18975"/>
                  </a:lnTo>
                  <a:lnTo>
                    <a:pt x="0" y="18085"/>
                  </a:lnTo>
                  <a:lnTo>
                    <a:pt x="0" y="18085"/>
                  </a:lnTo>
                  <a:lnTo>
                    <a:pt x="56" y="17139"/>
                  </a:lnTo>
                  <a:lnTo>
                    <a:pt x="167" y="16193"/>
                  </a:lnTo>
                  <a:lnTo>
                    <a:pt x="334" y="15303"/>
                  </a:lnTo>
                  <a:lnTo>
                    <a:pt x="612" y="14412"/>
                  </a:lnTo>
                  <a:lnTo>
                    <a:pt x="946" y="13522"/>
                  </a:lnTo>
                  <a:lnTo>
                    <a:pt x="1391" y="12687"/>
                  </a:lnTo>
                  <a:lnTo>
                    <a:pt x="1892" y="11853"/>
                  </a:lnTo>
                  <a:lnTo>
                    <a:pt x="2393" y="11018"/>
                  </a:lnTo>
                  <a:lnTo>
                    <a:pt x="3060" y="10239"/>
                  </a:lnTo>
                  <a:lnTo>
                    <a:pt x="3728" y="9460"/>
                  </a:lnTo>
                  <a:lnTo>
                    <a:pt x="4451" y="8681"/>
                  </a:lnTo>
                  <a:lnTo>
                    <a:pt x="5286" y="7958"/>
                  </a:lnTo>
                  <a:lnTo>
                    <a:pt x="6176" y="7234"/>
                  </a:lnTo>
                  <a:lnTo>
                    <a:pt x="7067" y="6567"/>
                  </a:lnTo>
                  <a:lnTo>
                    <a:pt x="8068" y="5899"/>
                  </a:lnTo>
                  <a:lnTo>
                    <a:pt x="9070" y="5287"/>
                  </a:lnTo>
                  <a:lnTo>
                    <a:pt x="10183" y="4675"/>
                  </a:lnTo>
                  <a:lnTo>
                    <a:pt x="11295" y="4118"/>
                  </a:lnTo>
                  <a:lnTo>
                    <a:pt x="12464" y="3562"/>
                  </a:lnTo>
                  <a:lnTo>
                    <a:pt x="13688" y="3061"/>
                  </a:lnTo>
                  <a:lnTo>
                    <a:pt x="14968" y="2616"/>
                  </a:lnTo>
                  <a:lnTo>
                    <a:pt x="16248" y="2171"/>
                  </a:lnTo>
                  <a:lnTo>
                    <a:pt x="17583" y="1781"/>
                  </a:lnTo>
                  <a:lnTo>
                    <a:pt x="18974" y="1392"/>
                  </a:lnTo>
                  <a:lnTo>
                    <a:pt x="20421" y="1058"/>
                  </a:lnTo>
                  <a:lnTo>
                    <a:pt x="21868" y="780"/>
                  </a:lnTo>
                  <a:lnTo>
                    <a:pt x="23314" y="557"/>
                  </a:lnTo>
                  <a:lnTo>
                    <a:pt x="24817" y="335"/>
                  </a:lnTo>
                  <a:lnTo>
                    <a:pt x="26375" y="168"/>
                  </a:lnTo>
                  <a:lnTo>
                    <a:pt x="27933" y="56"/>
                  </a:lnTo>
                  <a:lnTo>
                    <a:pt x="29546" y="1"/>
                  </a:lnTo>
                  <a:lnTo>
                    <a:pt x="31104" y="1"/>
                  </a:lnTo>
                  <a:lnTo>
                    <a:pt x="31104" y="1"/>
                  </a:lnTo>
                  <a:lnTo>
                    <a:pt x="32718" y="1"/>
                  </a:lnTo>
                  <a:lnTo>
                    <a:pt x="34331" y="56"/>
                  </a:lnTo>
                  <a:lnTo>
                    <a:pt x="35889" y="168"/>
                  </a:lnTo>
                  <a:lnTo>
                    <a:pt x="37392" y="335"/>
                  </a:lnTo>
                  <a:lnTo>
                    <a:pt x="38950" y="557"/>
                  </a:lnTo>
                  <a:lnTo>
                    <a:pt x="40396" y="780"/>
                  </a:lnTo>
                  <a:lnTo>
                    <a:pt x="41843" y="1058"/>
                  </a:lnTo>
                  <a:lnTo>
                    <a:pt x="43290" y="1392"/>
                  </a:lnTo>
                  <a:lnTo>
                    <a:pt x="44681" y="1781"/>
                  </a:lnTo>
                  <a:lnTo>
                    <a:pt x="46016" y="2171"/>
                  </a:lnTo>
                  <a:lnTo>
                    <a:pt x="47352" y="2616"/>
                  </a:lnTo>
                  <a:lnTo>
                    <a:pt x="48576" y="3061"/>
                  </a:lnTo>
                  <a:lnTo>
                    <a:pt x="49800" y="3562"/>
                  </a:lnTo>
                  <a:lnTo>
                    <a:pt x="51024" y="4118"/>
                  </a:lnTo>
                  <a:lnTo>
                    <a:pt x="52137" y="4675"/>
                  </a:lnTo>
                  <a:lnTo>
                    <a:pt x="53250" y="5287"/>
                  </a:lnTo>
                  <a:lnTo>
                    <a:pt x="53250" y="5287"/>
                  </a:lnTo>
                  <a:lnTo>
                    <a:pt x="54251" y="5899"/>
                  </a:lnTo>
                  <a:lnTo>
                    <a:pt x="55253" y="6567"/>
                  </a:lnTo>
                  <a:lnTo>
                    <a:pt x="56199" y="7234"/>
                  </a:lnTo>
                  <a:lnTo>
                    <a:pt x="57034" y="7958"/>
                  </a:lnTo>
                  <a:lnTo>
                    <a:pt x="57868" y="8681"/>
                  </a:lnTo>
                  <a:lnTo>
                    <a:pt x="58647" y="9460"/>
                  </a:lnTo>
                  <a:lnTo>
                    <a:pt x="59315" y="10239"/>
                  </a:lnTo>
                  <a:lnTo>
                    <a:pt x="59927" y="11018"/>
                  </a:lnTo>
                  <a:lnTo>
                    <a:pt x="60539" y="11853"/>
                  </a:lnTo>
                  <a:lnTo>
                    <a:pt x="61040" y="12687"/>
                  </a:lnTo>
                  <a:lnTo>
                    <a:pt x="61429" y="13522"/>
                  </a:lnTo>
                  <a:lnTo>
                    <a:pt x="61819" y="14412"/>
                  </a:lnTo>
                  <a:lnTo>
                    <a:pt x="62097" y="15303"/>
                  </a:lnTo>
                  <a:lnTo>
                    <a:pt x="62264" y="16193"/>
                  </a:lnTo>
                  <a:lnTo>
                    <a:pt x="62375" y="17139"/>
                  </a:lnTo>
                  <a:lnTo>
                    <a:pt x="62431" y="18085"/>
                  </a:lnTo>
                  <a:lnTo>
                    <a:pt x="62431" y="18085"/>
                  </a:lnTo>
                  <a:lnTo>
                    <a:pt x="62431" y="18975"/>
                  </a:lnTo>
                  <a:lnTo>
                    <a:pt x="62320" y="19921"/>
                  </a:lnTo>
                  <a:lnTo>
                    <a:pt x="62097" y="20811"/>
                  </a:lnTo>
                  <a:lnTo>
                    <a:pt x="61819" y="21701"/>
                  </a:lnTo>
                  <a:lnTo>
                    <a:pt x="61485" y="22592"/>
                  </a:lnTo>
                  <a:lnTo>
                    <a:pt x="61095" y="23426"/>
                  </a:lnTo>
                  <a:lnTo>
                    <a:pt x="60595" y="24261"/>
                  </a:lnTo>
                  <a:lnTo>
                    <a:pt x="60038" y="25096"/>
                  </a:lnTo>
                  <a:lnTo>
                    <a:pt x="59426" y="25875"/>
                  </a:lnTo>
                  <a:lnTo>
                    <a:pt x="58703" y="26654"/>
                  </a:lnTo>
                  <a:lnTo>
                    <a:pt x="57979" y="27433"/>
                  </a:lnTo>
                  <a:lnTo>
                    <a:pt x="57145" y="28156"/>
                  </a:lnTo>
                  <a:lnTo>
                    <a:pt x="56310" y="28879"/>
                  </a:lnTo>
                  <a:lnTo>
                    <a:pt x="55364" y="29547"/>
                  </a:lnTo>
                  <a:lnTo>
                    <a:pt x="54418" y="30215"/>
                  </a:lnTo>
                  <a:lnTo>
                    <a:pt x="53361" y="30827"/>
                  </a:lnTo>
                  <a:lnTo>
                    <a:pt x="52304" y="31439"/>
                  </a:lnTo>
                  <a:lnTo>
                    <a:pt x="51135" y="31995"/>
                  </a:lnTo>
                  <a:lnTo>
                    <a:pt x="49967" y="32552"/>
                  </a:lnTo>
                  <a:lnTo>
                    <a:pt x="48743" y="33052"/>
                  </a:lnTo>
                  <a:lnTo>
                    <a:pt x="47519" y="33553"/>
                  </a:lnTo>
                  <a:lnTo>
                    <a:pt x="46183" y="33943"/>
                  </a:lnTo>
                  <a:lnTo>
                    <a:pt x="44848" y="34388"/>
                  </a:lnTo>
                  <a:lnTo>
                    <a:pt x="43457" y="34722"/>
                  </a:lnTo>
                  <a:lnTo>
                    <a:pt x="42066" y="35056"/>
                  </a:lnTo>
                  <a:lnTo>
                    <a:pt x="40619" y="35334"/>
                  </a:lnTo>
                  <a:lnTo>
                    <a:pt x="39117" y="35556"/>
                  </a:lnTo>
                  <a:lnTo>
                    <a:pt x="37614" y="35779"/>
                  </a:lnTo>
                  <a:lnTo>
                    <a:pt x="36056" y="35946"/>
                  </a:lnTo>
                  <a:lnTo>
                    <a:pt x="34498" y="36057"/>
                  </a:lnTo>
                  <a:lnTo>
                    <a:pt x="32940" y="36113"/>
                  </a:lnTo>
                  <a:lnTo>
                    <a:pt x="31327" y="36168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2288;p60">
              <a:extLst>
                <a:ext uri="{FF2B5EF4-FFF2-40B4-BE49-F238E27FC236}">
                  <a16:creationId xmlns:a16="http://schemas.microsoft.com/office/drawing/2014/main" id="{10B9E14D-2BBC-74B3-E471-47DA43B03505}"/>
                </a:ext>
              </a:extLst>
            </p:cNvPr>
            <p:cNvSpPr/>
            <p:nvPr/>
          </p:nvSpPr>
          <p:spPr>
            <a:xfrm>
              <a:off x="1296350" y="3253950"/>
              <a:ext cx="1562175" cy="904200"/>
            </a:xfrm>
            <a:custGeom>
              <a:avLst/>
              <a:gdLst/>
              <a:ahLst/>
              <a:cxnLst/>
              <a:rect l="l" t="t" r="r" b="b"/>
              <a:pathLst>
                <a:path w="62487" h="36168" extrusionOk="0">
                  <a:moveTo>
                    <a:pt x="29546" y="0"/>
                  </a:moveTo>
                  <a:lnTo>
                    <a:pt x="27933" y="111"/>
                  </a:lnTo>
                  <a:lnTo>
                    <a:pt x="26375" y="223"/>
                  </a:lnTo>
                  <a:lnTo>
                    <a:pt x="24872" y="390"/>
                  </a:lnTo>
                  <a:lnTo>
                    <a:pt x="23370" y="557"/>
                  </a:lnTo>
                  <a:lnTo>
                    <a:pt x="21868" y="835"/>
                  </a:lnTo>
                  <a:lnTo>
                    <a:pt x="20421" y="1113"/>
                  </a:lnTo>
                  <a:lnTo>
                    <a:pt x="18974" y="1447"/>
                  </a:lnTo>
                  <a:lnTo>
                    <a:pt x="17639" y="1781"/>
                  </a:lnTo>
                  <a:lnTo>
                    <a:pt x="16248" y="2170"/>
                  </a:lnTo>
                  <a:lnTo>
                    <a:pt x="14968" y="2615"/>
                  </a:lnTo>
                  <a:lnTo>
                    <a:pt x="13688" y="3060"/>
                  </a:lnTo>
                  <a:lnTo>
                    <a:pt x="12464" y="3617"/>
                  </a:lnTo>
                  <a:lnTo>
                    <a:pt x="11296" y="4118"/>
                  </a:lnTo>
                  <a:lnTo>
                    <a:pt x="10183" y="4674"/>
                  </a:lnTo>
                  <a:lnTo>
                    <a:pt x="9070" y="5286"/>
                  </a:lnTo>
                  <a:lnTo>
                    <a:pt x="8068" y="5898"/>
                  </a:lnTo>
                  <a:lnTo>
                    <a:pt x="7067" y="6566"/>
                  </a:lnTo>
                  <a:lnTo>
                    <a:pt x="6176" y="7289"/>
                  </a:lnTo>
                  <a:lnTo>
                    <a:pt x="5286" y="7957"/>
                  </a:lnTo>
                  <a:lnTo>
                    <a:pt x="4507" y="8680"/>
                  </a:lnTo>
                  <a:lnTo>
                    <a:pt x="3728" y="9459"/>
                  </a:lnTo>
                  <a:lnTo>
                    <a:pt x="3060" y="10238"/>
                  </a:lnTo>
                  <a:lnTo>
                    <a:pt x="2448" y="11017"/>
                  </a:lnTo>
                  <a:lnTo>
                    <a:pt x="1892" y="11852"/>
                  </a:lnTo>
                  <a:lnTo>
                    <a:pt x="1391" y="12687"/>
                  </a:lnTo>
                  <a:lnTo>
                    <a:pt x="1002" y="13577"/>
                  </a:lnTo>
                  <a:lnTo>
                    <a:pt x="612" y="14412"/>
                  </a:lnTo>
                  <a:lnTo>
                    <a:pt x="390" y="15302"/>
                  </a:lnTo>
                  <a:lnTo>
                    <a:pt x="167" y="16248"/>
                  </a:lnTo>
                  <a:lnTo>
                    <a:pt x="56" y="17138"/>
                  </a:lnTo>
                  <a:lnTo>
                    <a:pt x="0" y="18084"/>
                  </a:lnTo>
                  <a:lnTo>
                    <a:pt x="56" y="19030"/>
                  </a:lnTo>
                  <a:lnTo>
                    <a:pt x="167" y="19920"/>
                  </a:lnTo>
                  <a:lnTo>
                    <a:pt x="390" y="20810"/>
                  </a:lnTo>
                  <a:lnTo>
                    <a:pt x="668" y="21701"/>
                  </a:lnTo>
                  <a:lnTo>
                    <a:pt x="1057" y="22591"/>
                  </a:lnTo>
                  <a:lnTo>
                    <a:pt x="1447" y="23481"/>
                  </a:lnTo>
                  <a:lnTo>
                    <a:pt x="1948" y="24316"/>
                  </a:lnTo>
                  <a:lnTo>
                    <a:pt x="2504" y="25095"/>
                  </a:lnTo>
                  <a:lnTo>
                    <a:pt x="3172" y="25930"/>
                  </a:lnTo>
                  <a:lnTo>
                    <a:pt x="3839" y="26709"/>
                  </a:lnTo>
                  <a:lnTo>
                    <a:pt x="4618" y="27432"/>
                  </a:lnTo>
                  <a:lnTo>
                    <a:pt x="5397" y="28211"/>
                  </a:lnTo>
                  <a:lnTo>
                    <a:pt x="6288" y="28879"/>
                  </a:lnTo>
                  <a:lnTo>
                    <a:pt x="7234" y="29602"/>
                  </a:lnTo>
                  <a:lnTo>
                    <a:pt x="8180" y="30214"/>
                  </a:lnTo>
                  <a:lnTo>
                    <a:pt x="9237" y="30882"/>
                  </a:lnTo>
                  <a:lnTo>
                    <a:pt x="10350" y="31494"/>
                  </a:lnTo>
                  <a:lnTo>
                    <a:pt x="11462" y="32050"/>
                  </a:lnTo>
                  <a:lnTo>
                    <a:pt x="12631" y="32551"/>
                  </a:lnTo>
                  <a:lnTo>
                    <a:pt x="13855" y="33052"/>
                  </a:lnTo>
                  <a:lnTo>
                    <a:pt x="15135" y="33553"/>
                  </a:lnTo>
                  <a:lnTo>
                    <a:pt x="16470" y="33998"/>
                  </a:lnTo>
                  <a:lnTo>
                    <a:pt x="17806" y="34387"/>
                  </a:lnTo>
                  <a:lnTo>
                    <a:pt x="19197" y="34721"/>
                  </a:lnTo>
                  <a:lnTo>
                    <a:pt x="20588" y="35055"/>
                  </a:lnTo>
                  <a:lnTo>
                    <a:pt x="22035" y="35333"/>
                  </a:lnTo>
                  <a:lnTo>
                    <a:pt x="23537" y="35611"/>
                  </a:lnTo>
                  <a:lnTo>
                    <a:pt x="25039" y="35778"/>
                  </a:lnTo>
                  <a:lnTo>
                    <a:pt x="26597" y="35945"/>
                  </a:lnTo>
                  <a:lnTo>
                    <a:pt x="28155" y="36057"/>
                  </a:lnTo>
                  <a:lnTo>
                    <a:pt x="29713" y="36168"/>
                  </a:lnTo>
                  <a:lnTo>
                    <a:pt x="32940" y="36168"/>
                  </a:lnTo>
                  <a:lnTo>
                    <a:pt x="34554" y="36057"/>
                  </a:lnTo>
                  <a:lnTo>
                    <a:pt x="36112" y="35945"/>
                  </a:lnTo>
                  <a:lnTo>
                    <a:pt x="37614" y="35778"/>
                  </a:lnTo>
                  <a:lnTo>
                    <a:pt x="39117" y="35611"/>
                  </a:lnTo>
                  <a:lnTo>
                    <a:pt x="40619" y="35333"/>
                  </a:lnTo>
                  <a:lnTo>
                    <a:pt x="42066" y="35055"/>
                  </a:lnTo>
                  <a:lnTo>
                    <a:pt x="43513" y="34721"/>
                  </a:lnTo>
                  <a:lnTo>
                    <a:pt x="44848" y="34387"/>
                  </a:lnTo>
                  <a:lnTo>
                    <a:pt x="46239" y="33998"/>
                  </a:lnTo>
                  <a:lnTo>
                    <a:pt x="47519" y="33553"/>
                  </a:lnTo>
                  <a:lnTo>
                    <a:pt x="48799" y="33052"/>
                  </a:lnTo>
                  <a:lnTo>
                    <a:pt x="50023" y="32551"/>
                  </a:lnTo>
                  <a:lnTo>
                    <a:pt x="51191" y="32050"/>
                  </a:lnTo>
                  <a:lnTo>
                    <a:pt x="52304" y="31494"/>
                  </a:lnTo>
                  <a:lnTo>
                    <a:pt x="53417" y="30882"/>
                  </a:lnTo>
                  <a:lnTo>
                    <a:pt x="54418" y="30214"/>
                  </a:lnTo>
                  <a:lnTo>
                    <a:pt x="55420" y="29602"/>
                  </a:lnTo>
                  <a:lnTo>
                    <a:pt x="56310" y="28879"/>
                  </a:lnTo>
                  <a:lnTo>
                    <a:pt x="57201" y="28211"/>
                  </a:lnTo>
                  <a:lnTo>
                    <a:pt x="57980" y="27432"/>
                  </a:lnTo>
                  <a:lnTo>
                    <a:pt x="58759" y="26709"/>
                  </a:lnTo>
                  <a:lnTo>
                    <a:pt x="59426" y="25930"/>
                  </a:lnTo>
                  <a:lnTo>
                    <a:pt x="60038" y="25095"/>
                  </a:lnTo>
                  <a:lnTo>
                    <a:pt x="60595" y="24316"/>
                  </a:lnTo>
                  <a:lnTo>
                    <a:pt x="61096" y="23481"/>
                  </a:lnTo>
                  <a:lnTo>
                    <a:pt x="61485" y="22591"/>
                  </a:lnTo>
                  <a:lnTo>
                    <a:pt x="61875" y="21701"/>
                  </a:lnTo>
                  <a:lnTo>
                    <a:pt x="62097" y="20810"/>
                  </a:lnTo>
                  <a:lnTo>
                    <a:pt x="62320" y="19920"/>
                  </a:lnTo>
                  <a:lnTo>
                    <a:pt x="62431" y="19030"/>
                  </a:lnTo>
                  <a:lnTo>
                    <a:pt x="62487" y="18084"/>
                  </a:lnTo>
                  <a:lnTo>
                    <a:pt x="62431" y="17138"/>
                  </a:lnTo>
                  <a:lnTo>
                    <a:pt x="62320" y="16248"/>
                  </a:lnTo>
                  <a:lnTo>
                    <a:pt x="62097" y="15302"/>
                  </a:lnTo>
                  <a:lnTo>
                    <a:pt x="61819" y="14412"/>
                  </a:lnTo>
                  <a:lnTo>
                    <a:pt x="61429" y="13577"/>
                  </a:lnTo>
                  <a:lnTo>
                    <a:pt x="61040" y="12687"/>
                  </a:lnTo>
                  <a:lnTo>
                    <a:pt x="60539" y="11852"/>
                  </a:lnTo>
                  <a:lnTo>
                    <a:pt x="59983" y="11017"/>
                  </a:lnTo>
                  <a:lnTo>
                    <a:pt x="59315" y="10238"/>
                  </a:lnTo>
                  <a:lnTo>
                    <a:pt x="58647" y="9459"/>
                  </a:lnTo>
                  <a:lnTo>
                    <a:pt x="57868" y="8680"/>
                  </a:lnTo>
                  <a:lnTo>
                    <a:pt x="57089" y="7957"/>
                  </a:lnTo>
                  <a:lnTo>
                    <a:pt x="56199" y="7289"/>
                  </a:lnTo>
                  <a:lnTo>
                    <a:pt x="55253" y="6566"/>
                  </a:lnTo>
                  <a:lnTo>
                    <a:pt x="54307" y="5898"/>
                  </a:lnTo>
                  <a:lnTo>
                    <a:pt x="53250" y="5286"/>
                  </a:lnTo>
                  <a:lnTo>
                    <a:pt x="52137" y="4674"/>
                  </a:lnTo>
                  <a:lnTo>
                    <a:pt x="51024" y="4118"/>
                  </a:lnTo>
                  <a:lnTo>
                    <a:pt x="49856" y="3617"/>
                  </a:lnTo>
                  <a:lnTo>
                    <a:pt x="48632" y="3060"/>
                  </a:lnTo>
                  <a:lnTo>
                    <a:pt x="47352" y="2615"/>
                  </a:lnTo>
                  <a:lnTo>
                    <a:pt x="46016" y="2170"/>
                  </a:lnTo>
                  <a:lnTo>
                    <a:pt x="44681" y="1781"/>
                  </a:lnTo>
                  <a:lnTo>
                    <a:pt x="43290" y="1447"/>
                  </a:lnTo>
                  <a:lnTo>
                    <a:pt x="41899" y="1113"/>
                  </a:lnTo>
                  <a:lnTo>
                    <a:pt x="40452" y="835"/>
                  </a:lnTo>
                  <a:lnTo>
                    <a:pt x="38950" y="557"/>
                  </a:lnTo>
                  <a:lnTo>
                    <a:pt x="37448" y="390"/>
                  </a:lnTo>
                  <a:lnTo>
                    <a:pt x="35890" y="223"/>
                  </a:lnTo>
                  <a:lnTo>
                    <a:pt x="34332" y="111"/>
                  </a:lnTo>
                  <a:lnTo>
                    <a:pt x="32774" y="0"/>
                  </a:lnTo>
                  <a:close/>
                </a:path>
              </a:pathLst>
            </a:custGeom>
            <a:solidFill>
              <a:srgbClr val="DFEC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2289;p60">
              <a:extLst>
                <a:ext uri="{FF2B5EF4-FFF2-40B4-BE49-F238E27FC236}">
                  <a16:creationId xmlns:a16="http://schemas.microsoft.com/office/drawing/2014/main" id="{C536D4AD-3160-C3AF-4DC7-121975457F6B}"/>
                </a:ext>
              </a:extLst>
            </p:cNvPr>
            <p:cNvSpPr/>
            <p:nvPr/>
          </p:nvSpPr>
          <p:spPr>
            <a:xfrm>
              <a:off x="1094650" y="3706025"/>
              <a:ext cx="1964200" cy="709475"/>
            </a:xfrm>
            <a:custGeom>
              <a:avLst/>
              <a:gdLst/>
              <a:ahLst/>
              <a:cxnLst/>
              <a:rect l="l" t="t" r="r" b="b"/>
              <a:pathLst>
                <a:path w="78568" h="28379" extrusionOk="0">
                  <a:moveTo>
                    <a:pt x="56" y="1"/>
                  </a:moveTo>
                  <a:lnTo>
                    <a:pt x="0" y="5677"/>
                  </a:lnTo>
                  <a:lnTo>
                    <a:pt x="56" y="6845"/>
                  </a:lnTo>
                  <a:lnTo>
                    <a:pt x="223" y="7958"/>
                  </a:lnTo>
                  <a:lnTo>
                    <a:pt x="501" y="9126"/>
                  </a:lnTo>
                  <a:lnTo>
                    <a:pt x="835" y="10239"/>
                  </a:lnTo>
                  <a:lnTo>
                    <a:pt x="1280" y="11352"/>
                  </a:lnTo>
                  <a:lnTo>
                    <a:pt x="1836" y="12409"/>
                  </a:lnTo>
                  <a:lnTo>
                    <a:pt x="2448" y="13466"/>
                  </a:lnTo>
                  <a:lnTo>
                    <a:pt x="3172" y="14524"/>
                  </a:lnTo>
                  <a:lnTo>
                    <a:pt x="3951" y="15525"/>
                  </a:lnTo>
                  <a:lnTo>
                    <a:pt x="4841" y="16527"/>
                  </a:lnTo>
                  <a:lnTo>
                    <a:pt x="5787" y="17473"/>
                  </a:lnTo>
                  <a:lnTo>
                    <a:pt x="6788" y="18363"/>
                  </a:lnTo>
                  <a:lnTo>
                    <a:pt x="7901" y="19253"/>
                  </a:lnTo>
                  <a:lnTo>
                    <a:pt x="9070" y="20144"/>
                  </a:lnTo>
                  <a:lnTo>
                    <a:pt x="10294" y="20978"/>
                  </a:lnTo>
                  <a:lnTo>
                    <a:pt x="11629" y="21757"/>
                  </a:lnTo>
                  <a:lnTo>
                    <a:pt x="12965" y="22481"/>
                  </a:lnTo>
                  <a:lnTo>
                    <a:pt x="14411" y="23204"/>
                  </a:lnTo>
                  <a:lnTo>
                    <a:pt x="15914" y="23872"/>
                  </a:lnTo>
                  <a:lnTo>
                    <a:pt x="17416" y="24539"/>
                  </a:lnTo>
                  <a:lnTo>
                    <a:pt x="19030" y="25096"/>
                  </a:lnTo>
                  <a:lnTo>
                    <a:pt x="20699" y="25652"/>
                  </a:lnTo>
                  <a:lnTo>
                    <a:pt x="22368" y="26153"/>
                  </a:lnTo>
                  <a:lnTo>
                    <a:pt x="24149" y="26598"/>
                  </a:lnTo>
                  <a:lnTo>
                    <a:pt x="25929" y="27043"/>
                  </a:lnTo>
                  <a:lnTo>
                    <a:pt x="27710" y="27377"/>
                  </a:lnTo>
                  <a:lnTo>
                    <a:pt x="29602" y="27711"/>
                  </a:lnTo>
                  <a:lnTo>
                    <a:pt x="31494" y="27934"/>
                  </a:lnTo>
                  <a:lnTo>
                    <a:pt x="33441" y="28156"/>
                  </a:lnTo>
                  <a:lnTo>
                    <a:pt x="35389" y="28267"/>
                  </a:lnTo>
                  <a:lnTo>
                    <a:pt x="37392" y="28379"/>
                  </a:lnTo>
                  <a:lnTo>
                    <a:pt x="41454" y="28379"/>
                  </a:lnTo>
                  <a:lnTo>
                    <a:pt x="43457" y="28267"/>
                  </a:lnTo>
                  <a:lnTo>
                    <a:pt x="45404" y="28156"/>
                  </a:lnTo>
                  <a:lnTo>
                    <a:pt x="47352" y="27934"/>
                  </a:lnTo>
                  <a:lnTo>
                    <a:pt x="49244" y="27711"/>
                  </a:lnTo>
                  <a:lnTo>
                    <a:pt x="51080" y="27377"/>
                  </a:lnTo>
                  <a:lnTo>
                    <a:pt x="52916" y="27043"/>
                  </a:lnTo>
                  <a:lnTo>
                    <a:pt x="54697" y="26598"/>
                  </a:lnTo>
                  <a:lnTo>
                    <a:pt x="56421" y="26153"/>
                  </a:lnTo>
                  <a:lnTo>
                    <a:pt x="58146" y="25652"/>
                  </a:lnTo>
                  <a:lnTo>
                    <a:pt x="59760" y="25096"/>
                  </a:lnTo>
                  <a:lnTo>
                    <a:pt x="61374" y="24539"/>
                  </a:lnTo>
                  <a:lnTo>
                    <a:pt x="62876" y="23872"/>
                  </a:lnTo>
                  <a:lnTo>
                    <a:pt x="64378" y="23204"/>
                  </a:lnTo>
                  <a:lnTo>
                    <a:pt x="65825" y="22481"/>
                  </a:lnTo>
                  <a:lnTo>
                    <a:pt x="67160" y="21757"/>
                  </a:lnTo>
                  <a:lnTo>
                    <a:pt x="68440" y="20978"/>
                  </a:lnTo>
                  <a:lnTo>
                    <a:pt x="69664" y="20144"/>
                  </a:lnTo>
                  <a:lnTo>
                    <a:pt x="70833" y="19253"/>
                  </a:lnTo>
                  <a:lnTo>
                    <a:pt x="71946" y="18363"/>
                  </a:lnTo>
                  <a:lnTo>
                    <a:pt x="72947" y="17473"/>
                  </a:lnTo>
                  <a:lnTo>
                    <a:pt x="73893" y="16527"/>
                  </a:lnTo>
                  <a:lnTo>
                    <a:pt x="74783" y="15525"/>
                  </a:lnTo>
                  <a:lnTo>
                    <a:pt x="75562" y="14524"/>
                  </a:lnTo>
                  <a:lnTo>
                    <a:pt x="76230" y="13466"/>
                  </a:lnTo>
                  <a:lnTo>
                    <a:pt x="76842" y="12409"/>
                  </a:lnTo>
                  <a:lnTo>
                    <a:pt x="77343" y="11352"/>
                  </a:lnTo>
                  <a:lnTo>
                    <a:pt x="77788" y="10239"/>
                  </a:lnTo>
                  <a:lnTo>
                    <a:pt x="78122" y="9126"/>
                  </a:lnTo>
                  <a:lnTo>
                    <a:pt x="78400" y="7958"/>
                  </a:lnTo>
                  <a:lnTo>
                    <a:pt x="78511" y="6845"/>
                  </a:lnTo>
                  <a:lnTo>
                    <a:pt x="78567" y="5677"/>
                  </a:lnTo>
                  <a:lnTo>
                    <a:pt x="78567" y="1169"/>
                  </a:lnTo>
                  <a:lnTo>
                    <a:pt x="78400" y="2338"/>
                  </a:lnTo>
                  <a:lnTo>
                    <a:pt x="78178" y="3451"/>
                  </a:lnTo>
                  <a:lnTo>
                    <a:pt x="77844" y="4564"/>
                  </a:lnTo>
                  <a:lnTo>
                    <a:pt x="77399" y="5677"/>
                  </a:lnTo>
                  <a:lnTo>
                    <a:pt x="76842" y="6789"/>
                  </a:lnTo>
                  <a:lnTo>
                    <a:pt x="76230" y="7847"/>
                  </a:lnTo>
                  <a:lnTo>
                    <a:pt x="75562" y="8848"/>
                  </a:lnTo>
                  <a:lnTo>
                    <a:pt x="74783" y="9850"/>
                  </a:lnTo>
                  <a:lnTo>
                    <a:pt x="73893" y="10851"/>
                  </a:lnTo>
                  <a:lnTo>
                    <a:pt x="72947" y="11797"/>
                  </a:lnTo>
                  <a:lnTo>
                    <a:pt x="71946" y="12743"/>
                  </a:lnTo>
                  <a:lnTo>
                    <a:pt x="70888" y="13633"/>
                  </a:lnTo>
                  <a:lnTo>
                    <a:pt x="69720" y="14468"/>
                  </a:lnTo>
                  <a:lnTo>
                    <a:pt x="68496" y="15303"/>
                  </a:lnTo>
                  <a:lnTo>
                    <a:pt x="67160" y="16082"/>
                  </a:lnTo>
                  <a:lnTo>
                    <a:pt x="65825" y="16861"/>
                  </a:lnTo>
                  <a:lnTo>
                    <a:pt x="64378" y="17528"/>
                  </a:lnTo>
                  <a:lnTo>
                    <a:pt x="62932" y="18252"/>
                  </a:lnTo>
                  <a:lnTo>
                    <a:pt x="61374" y="18864"/>
                  </a:lnTo>
                  <a:lnTo>
                    <a:pt x="59816" y="19476"/>
                  </a:lnTo>
                  <a:lnTo>
                    <a:pt x="58146" y="20032"/>
                  </a:lnTo>
                  <a:lnTo>
                    <a:pt x="56477" y="20533"/>
                  </a:lnTo>
                  <a:lnTo>
                    <a:pt x="54697" y="20978"/>
                  </a:lnTo>
                  <a:lnTo>
                    <a:pt x="52916" y="21368"/>
                  </a:lnTo>
                  <a:lnTo>
                    <a:pt x="51135" y="21702"/>
                  </a:lnTo>
                  <a:lnTo>
                    <a:pt x="49244" y="22035"/>
                  </a:lnTo>
                  <a:lnTo>
                    <a:pt x="47352" y="22314"/>
                  </a:lnTo>
                  <a:lnTo>
                    <a:pt x="45404" y="22481"/>
                  </a:lnTo>
                  <a:lnTo>
                    <a:pt x="43457" y="22648"/>
                  </a:lnTo>
                  <a:lnTo>
                    <a:pt x="41454" y="22703"/>
                  </a:lnTo>
                  <a:lnTo>
                    <a:pt x="39450" y="22759"/>
                  </a:lnTo>
                  <a:lnTo>
                    <a:pt x="37392" y="22703"/>
                  </a:lnTo>
                  <a:lnTo>
                    <a:pt x="35444" y="22648"/>
                  </a:lnTo>
                  <a:lnTo>
                    <a:pt x="33441" y="22481"/>
                  </a:lnTo>
                  <a:lnTo>
                    <a:pt x="31494" y="22314"/>
                  </a:lnTo>
                  <a:lnTo>
                    <a:pt x="29602" y="22035"/>
                  </a:lnTo>
                  <a:lnTo>
                    <a:pt x="27766" y="21702"/>
                  </a:lnTo>
                  <a:lnTo>
                    <a:pt x="25929" y="21368"/>
                  </a:lnTo>
                  <a:lnTo>
                    <a:pt x="24149" y="20978"/>
                  </a:lnTo>
                  <a:lnTo>
                    <a:pt x="22424" y="20533"/>
                  </a:lnTo>
                  <a:lnTo>
                    <a:pt x="20699" y="20032"/>
                  </a:lnTo>
                  <a:lnTo>
                    <a:pt x="19030" y="19476"/>
                  </a:lnTo>
                  <a:lnTo>
                    <a:pt x="17472" y="18864"/>
                  </a:lnTo>
                  <a:lnTo>
                    <a:pt x="15914" y="18252"/>
                  </a:lnTo>
                  <a:lnTo>
                    <a:pt x="14411" y="17584"/>
                  </a:lnTo>
                  <a:lnTo>
                    <a:pt x="13020" y="16861"/>
                  </a:lnTo>
                  <a:lnTo>
                    <a:pt x="11629" y="16082"/>
                  </a:lnTo>
                  <a:lnTo>
                    <a:pt x="10349" y="15303"/>
                  </a:lnTo>
                  <a:lnTo>
                    <a:pt x="9070" y="14468"/>
                  </a:lnTo>
                  <a:lnTo>
                    <a:pt x="7901" y="13633"/>
                  </a:lnTo>
                  <a:lnTo>
                    <a:pt x="6788" y="12743"/>
                  </a:lnTo>
                  <a:lnTo>
                    <a:pt x="5787" y="11797"/>
                  </a:lnTo>
                  <a:lnTo>
                    <a:pt x="4841" y="10851"/>
                  </a:lnTo>
                  <a:lnTo>
                    <a:pt x="3951" y="9850"/>
                  </a:lnTo>
                  <a:lnTo>
                    <a:pt x="3172" y="8848"/>
                  </a:lnTo>
                  <a:lnTo>
                    <a:pt x="2448" y="7847"/>
                  </a:lnTo>
                  <a:lnTo>
                    <a:pt x="1836" y="6789"/>
                  </a:lnTo>
                  <a:lnTo>
                    <a:pt x="1280" y="5677"/>
                  </a:lnTo>
                  <a:lnTo>
                    <a:pt x="835" y="4564"/>
                  </a:lnTo>
                  <a:lnTo>
                    <a:pt x="501" y="3451"/>
                  </a:lnTo>
                  <a:lnTo>
                    <a:pt x="223" y="2338"/>
                  </a:lnTo>
                  <a:lnTo>
                    <a:pt x="111" y="1169"/>
                  </a:lnTo>
                  <a:lnTo>
                    <a:pt x="56" y="1"/>
                  </a:lnTo>
                  <a:close/>
                </a:path>
              </a:pathLst>
            </a:custGeom>
            <a:solidFill>
              <a:srgbClr val="BF9D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2290;p60">
              <a:extLst>
                <a:ext uri="{FF2B5EF4-FFF2-40B4-BE49-F238E27FC236}">
                  <a16:creationId xmlns:a16="http://schemas.microsoft.com/office/drawing/2014/main" id="{00A078EC-67A6-403B-808A-A0B6F86E67B4}"/>
                </a:ext>
              </a:extLst>
            </p:cNvPr>
            <p:cNvSpPr/>
            <p:nvPr/>
          </p:nvSpPr>
          <p:spPr>
            <a:xfrm>
              <a:off x="1096025" y="3137100"/>
              <a:ext cx="1962825" cy="1137900"/>
            </a:xfrm>
            <a:custGeom>
              <a:avLst/>
              <a:gdLst/>
              <a:ahLst/>
              <a:cxnLst/>
              <a:rect l="l" t="t" r="r" b="b"/>
              <a:pathLst>
                <a:path w="78513" h="45516" extrusionOk="0">
                  <a:moveTo>
                    <a:pt x="40787" y="4674"/>
                  </a:moveTo>
                  <a:lnTo>
                    <a:pt x="42345" y="4785"/>
                  </a:lnTo>
                  <a:lnTo>
                    <a:pt x="43903" y="4897"/>
                  </a:lnTo>
                  <a:lnTo>
                    <a:pt x="45461" y="5064"/>
                  </a:lnTo>
                  <a:lnTo>
                    <a:pt x="46963" y="5231"/>
                  </a:lnTo>
                  <a:lnTo>
                    <a:pt x="48465" y="5509"/>
                  </a:lnTo>
                  <a:lnTo>
                    <a:pt x="49912" y="5787"/>
                  </a:lnTo>
                  <a:lnTo>
                    <a:pt x="51303" y="6121"/>
                  </a:lnTo>
                  <a:lnTo>
                    <a:pt x="52694" y="6455"/>
                  </a:lnTo>
                  <a:lnTo>
                    <a:pt x="54029" y="6844"/>
                  </a:lnTo>
                  <a:lnTo>
                    <a:pt x="55365" y="7289"/>
                  </a:lnTo>
                  <a:lnTo>
                    <a:pt x="56645" y="7734"/>
                  </a:lnTo>
                  <a:lnTo>
                    <a:pt x="57869" y="8291"/>
                  </a:lnTo>
                  <a:lnTo>
                    <a:pt x="59037" y="8792"/>
                  </a:lnTo>
                  <a:lnTo>
                    <a:pt x="60150" y="9348"/>
                  </a:lnTo>
                  <a:lnTo>
                    <a:pt x="61263" y="9960"/>
                  </a:lnTo>
                  <a:lnTo>
                    <a:pt x="62320" y="10572"/>
                  </a:lnTo>
                  <a:lnTo>
                    <a:pt x="63266" y="11240"/>
                  </a:lnTo>
                  <a:lnTo>
                    <a:pt x="64212" y="11963"/>
                  </a:lnTo>
                  <a:lnTo>
                    <a:pt x="65102" y="12631"/>
                  </a:lnTo>
                  <a:lnTo>
                    <a:pt x="65881" y="13354"/>
                  </a:lnTo>
                  <a:lnTo>
                    <a:pt x="66660" y="14133"/>
                  </a:lnTo>
                  <a:lnTo>
                    <a:pt x="67328" y="14912"/>
                  </a:lnTo>
                  <a:lnTo>
                    <a:pt x="67996" y="15691"/>
                  </a:lnTo>
                  <a:lnTo>
                    <a:pt x="68552" y="16526"/>
                  </a:lnTo>
                  <a:lnTo>
                    <a:pt x="69053" y="17361"/>
                  </a:lnTo>
                  <a:lnTo>
                    <a:pt x="69442" y="18251"/>
                  </a:lnTo>
                  <a:lnTo>
                    <a:pt x="69832" y="19086"/>
                  </a:lnTo>
                  <a:lnTo>
                    <a:pt x="70110" y="19976"/>
                  </a:lnTo>
                  <a:lnTo>
                    <a:pt x="70333" y="20922"/>
                  </a:lnTo>
                  <a:lnTo>
                    <a:pt x="70444" y="21812"/>
                  </a:lnTo>
                  <a:lnTo>
                    <a:pt x="70500" y="22758"/>
                  </a:lnTo>
                  <a:lnTo>
                    <a:pt x="70444" y="23704"/>
                  </a:lnTo>
                  <a:lnTo>
                    <a:pt x="70333" y="24594"/>
                  </a:lnTo>
                  <a:lnTo>
                    <a:pt x="70110" y="25484"/>
                  </a:lnTo>
                  <a:lnTo>
                    <a:pt x="69888" y="26375"/>
                  </a:lnTo>
                  <a:lnTo>
                    <a:pt x="69498" y="27265"/>
                  </a:lnTo>
                  <a:lnTo>
                    <a:pt x="69109" y="28155"/>
                  </a:lnTo>
                  <a:lnTo>
                    <a:pt x="68608" y="28990"/>
                  </a:lnTo>
                  <a:lnTo>
                    <a:pt x="68051" y="29769"/>
                  </a:lnTo>
                  <a:lnTo>
                    <a:pt x="67439" y="30604"/>
                  </a:lnTo>
                  <a:lnTo>
                    <a:pt x="66772" y="31383"/>
                  </a:lnTo>
                  <a:lnTo>
                    <a:pt x="65993" y="32106"/>
                  </a:lnTo>
                  <a:lnTo>
                    <a:pt x="65214" y="32885"/>
                  </a:lnTo>
                  <a:lnTo>
                    <a:pt x="64323" y="33553"/>
                  </a:lnTo>
                  <a:lnTo>
                    <a:pt x="63433" y="34276"/>
                  </a:lnTo>
                  <a:lnTo>
                    <a:pt x="62431" y="34888"/>
                  </a:lnTo>
                  <a:lnTo>
                    <a:pt x="61430" y="35556"/>
                  </a:lnTo>
                  <a:lnTo>
                    <a:pt x="60317" y="36168"/>
                  </a:lnTo>
                  <a:lnTo>
                    <a:pt x="59204" y="36724"/>
                  </a:lnTo>
                  <a:lnTo>
                    <a:pt x="58036" y="37225"/>
                  </a:lnTo>
                  <a:lnTo>
                    <a:pt x="56812" y="37726"/>
                  </a:lnTo>
                  <a:lnTo>
                    <a:pt x="55532" y="38227"/>
                  </a:lnTo>
                  <a:lnTo>
                    <a:pt x="54252" y="38672"/>
                  </a:lnTo>
                  <a:lnTo>
                    <a:pt x="52861" y="39061"/>
                  </a:lnTo>
                  <a:lnTo>
                    <a:pt x="51526" y="39395"/>
                  </a:lnTo>
                  <a:lnTo>
                    <a:pt x="50079" y="39729"/>
                  </a:lnTo>
                  <a:lnTo>
                    <a:pt x="48632" y="40007"/>
                  </a:lnTo>
                  <a:lnTo>
                    <a:pt x="47130" y="40285"/>
                  </a:lnTo>
                  <a:lnTo>
                    <a:pt x="45627" y="40452"/>
                  </a:lnTo>
                  <a:lnTo>
                    <a:pt x="44125" y="40619"/>
                  </a:lnTo>
                  <a:lnTo>
                    <a:pt x="42567" y="40731"/>
                  </a:lnTo>
                  <a:lnTo>
                    <a:pt x="40953" y="40842"/>
                  </a:lnTo>
                  <a:lnTo>
                    <a:pt x="37726" y="40842"/>
                  </a:lnTo>
                  <a:lnTo>
                    <a:pt x="36168" y="40731"/>
                  </a:lnTo>
                  <a:lnTo>
                    <a:pt x="34610" y="40619"/>
                  </a:lnTo>
                  <a:lnTo>
                    <a:pt x="33052" y="40452"/>
                  </a:lnTo>
                  <a:lnTo>
                    <a:pt x="31550" y="40285"/>
                  </a:lnTo>
                  <a:lnTo>
                    <a:pt x="30048" y="40007"/>
                  </a:lnTo>
                  <a:lnTo>
                    <a:pt x="28601" y="39729"/>
                  </a:lnTo>
                  <a:lnTo>
                    <a:pt x="27210" y="39395"/>
                  </a:lnTo>
                  <a:lnTo>
                    <a:pt x="25819" y="39061"/>
                  </a:lnTo>
                  <a:lnTo>
                    <a:pt x="24483" y="38672"/>
                  </a:lnTo>
                  <a:lnTo>
                    <a:pt x="23148" y="38227"/>
                  </a:lnTo>
                  <a:lnTo>
                    <a:pt x="21868" y="37726"/>
                  </a:lnTo>
                  <a:lnTo>
                    <a:pt x="20644" y="37225"/>
                  </a:lnTo>
                  <a:lnTo>
                    <a:pt x="19475" y="36724"/>
                  </a:lnTo>
                  <a:lnTo>
                    <a:pt x="18363" y="36168"/>
                  </a:lnTo>
                  <a:lnTo>
                    <a:pt x="17250" y="35556"/>
                  </a:lnTo>
                  <a:lnTo>
                    <a:pt x="16193" y="34888"/>
                  </a:lnTo>
                  <a:lnTo>
                    <a:pt x="15247" y="34276"/>
                  </a:lnTo>
                  <a:lnTo>
                    <a:pt x="14301" y="33553"/>
                  </a:lnTo>
                  <a:lnTo>
                    <a:pt x="13410" y="32885"/>
                  </a:lnTo>
                  <a:lnTo>
                    <a:pt x="12631" y="32106"/>
                  </a:lnTo>
                  <a:lnTo>
                    <a:pt x="11852" y="31383"/>
                  </a:lnTo>
                  <a:lnTo>
                    <a:pt x="11185" y="30604"/>
                  </a:lnTo>
                  <a:lnTo>
                    <a:pt x="10517" y="29769"/>
                  </a:lnTo>
                  <a:lnTo>
                    <a:pt x="9961" y="28990"/>
                  </a:lnTo>
                  <a:lnTo>
                    <a:pt x="9460" y="28155"/>
                  </a:lnTo>
                  <a:lnTo>
                    <a:pt x="9070" y="27265"/>
                  </a:lnTo>
                  <a:lnTo>
                    <a:pt x="8681" y="26375"/>
                  </a:lnTo>
                  <a:lnTo>
                    <a:pt x="8403" y="25484"/>
                  </a:lnTo>
                  <a:lnTo>
                    <a:pt x="8180" y="24594"/>
                  </a:lnTo>
                  <a:lnTo>
                    <a:pt x="8069" y="23704"/>
                  </a:lnTo>
                  <a:lnTo>
                    <a:pt x="8013" y="22758"/>
                  </a:lnTo>
                  <a:lnTo>
                    <a:pt x="8069" y="21812"/>
                  </a:lnTo>
                  <a:lnTo>
                    <a:pt x="8180" y="20922"/>
                  </a:lnTo>
                  <a:lnTo>
                    <a:pt x="8403" y="19976"/>
                  </a:lnTo>
                  <a:lnTo>
                    <a:pt x="8625" y="19086"/>
                  </a:lnTo>
                  <a:lnTo>
                    <a:pt x="9015" y="18251"/>
                  </a:lnTo>
                  <a:lnTo>
                    <a:pt x="9404" y="17361"/>
                  </a:lnTo>
                  <a:lnTo>
                    <a:pt x="9905" y="16526"/>
                  </a:lnTo>
                  <a:lnTo>
                    <a:pt x="10461" y="15691"/>
                  </a:lnTo>
                  <a:lnTo>
                    <a:pt x="11073" y="14912"/>
                  </a:lnTo>
                  <a:lnTo>
                    <a:pt x="11741" y="14133"/>
                  </a:lnTo>
                  <a:lnTo>
                    <a:pt x="12520" y="13354"/>
                  </a:lnTo>
                  <a:lnTo>
                    <a:pt x="13299" y="12631"/>
                  </a:lnTo>
                  <a:lnTo>
                    <a:pt x="14189" y="11963"/>
                  </a:lnTo>
                  <a:lnTo>
                    <a:pt x="15080" y="11240"/>
                  </a:lnTo>
                  <a:lnTo>
                    <a:pt x="16081" y="10572"/>
                  </a:lnTo>
                  <a:lnTo>
                    <a:pt x="17083" y="9960"/>
                  </a:lnTo>
                  <a:lnTo>
                    <a:pt x="18196" y="9348"/>
                  </a:lnTo>
                  <a:lnTo>
                    <a:pt x="19309" y="8792"/>
                  </a:lnTo>
                  <a:lnTo>
                    <a:pt x="20477" y="8291"/>
                  </a:lnTo>
                  <a:lnTo>
                    <a:pt x="21701" y="7734"/>
                  </a:lnTo>
                  <a:lnTo>
                    <a:pt x="22981" y="7289"/>
                  </a:lnTo>
                  <a:lnTo>
                    <a:pt x="24261" y="6844"/>
                  </a:lnTo>
                  <a:lnTo>
                    <a:pt x="25652" y="6455"/>
                  </a:lnTo>
                  <a:lnTo>
                    <a:pt x="26987" y="6121"/>
                  </a:lnTo>
                  <a:lnTo>
                    <a:pt x="28434" y="5787"/>
                  </a:lnTo>
                  <a:lnTo>
                    <a:pt x="29881" y="5509"/>
                  </a:lnTo>
                  <a:lnTo>
                    <a:pt x="31383" y="5231"/>
                  </a:lnTo>
                  <a:lnTo>
                    <a:pt x="32885" y="5064"/>
                  </a:lnTo>
                  <a:lnTo>
                    <a:pt x="34388" y="4897"/>
                  </a:lnTo>
                  <a:lnTo>
                    <a:pt x="35946" y="4785"/>
                  </a:lnTo>
                  <a:lnTo>
                    <a:pt x="37559" y="4674"/>
                  </a:lnTo>
                  <a:close/>
                  <a:moveTo>
                    <a:pt x="39117" y="0"/>
                  </a:moveTo>
                  <a:lnTo>
                    <a:pt x="37114" y="56"/>
                  </a:lnTo>
                  <a:lnTo>
                    <a:pt x="35111" y="111"/>
                  </a:lnTo>
                  <a:lnTo>
                    <a:pt x="33164" y="278"/>
                  </a:lnTo>
                  <a:lnTo>
                    <a:pt x="31216" y="445"/>
                  </a:lnTo>
                  <a:lnTo>
                    <a:pt x="29324" y="724"/>
                  </a:lnTo>
                  <a:lnTo>
                    <a:pt x="27432" y="1002"/>
                  </a:lnTo>
                  <a:lnTo>
                    <a:pt x="25652" y="1391"/>
                  </a:lnTo>
                  <a:lnTo>
                    <a:pt x="23871" y="1781"/>
                  </a:lnTo>
                  <a:lnTo>
                    <a:pt x="22091" y="2226"/>
                  </a:lnTo>
                  <a:lnTo>
                    <a:pt x="20421" y="2727"/>
                  </a:lnTo>
                  <a:lnTo>
                    <a:pt x="18752" y="3283"/>
                  </a:lnTo>
                  <a:lnTo>
                    <a:pt x="17194" y="3895"/>
                  </a:lnTo>
                  <a:lnTo>
                    <a:pt x="15636" y="4507"/>
                  </a:lnTo>
                  <a:lnTo>
                    <a:pt x="14189" y="5175"/>
                  </a:lnTo>
                  <a:lnTo>
                    <a:pt x="12743" y="5898"/>
                  </a:lnTo>
                  <a:lnTo>
                    <a:pt x="11407" y="6677"/>
                  </a:lnTo>
                  <a:lnTo>
                    <a:pt x="10072" y="7456"/>
                  </a:lnTo>
                  <a:lnTo>
                    <a:pt x="8848" y="8291"/>
                  </a:lnTo>
                  <a:lnTo>
                    <a:pt x="7679" y="9126"/>
                  </a:lnTo>
                  <a:lnTo>
                    <a:pt x="6622" y="10016"/>
                  </a:lnTo>
                  <a:lnTo>
                    <a:pt x="5621" y="10962"/>
                  </a:lnTo>
                  <a:lnTo>
                    <a:pt x="4675" y="11908"/>
                  </a:lnTo>
                  <a:lnTo>
                    <a:pt x="3784" y="12909"/>
                  </a:lnTo>
                  <a:lnTo>
                    <a:pt x="3005" y="13911"/>
                  </a:lnTo>
                  <a:lnTo>
                    <a:pt x="2338" y="14912"/>
                  </a:lnTo>
                  <a:lnTo>
                    <a:pt x="1726" y="15970"/>
                  </a:lnTo>
                  <a:lnTo>
                    <a:pt x="1169" y="17082"/>
                  </a:lnTo>
                  <a:lnTo>
                    <a:pt x="724" y="18195"/>
                  </a:lnTo>
                  <a:lnTo>
                    <a:pt x="390" y="19308"/>
                  </a:lnTo>
                  <a:lnTo>
                    <a:pt x="168" y="20421"/>
                  </a:lnTo>
                  <a:lnTo>
                    <a:pt x="1" y="21589"/>
                  </a:lnTo>
                  <a:lnTo>
                    <a:pt x="1" y="22758"/>
                  </a:lnTo>
                  <a:lnTo>
                    <a:pt x="56" y="23926"/>
                  </a:lnTo>
                  <a:lnTo>
                    <a:pt x="168" y="25095"/>
                  </a:lnTo>
                  <a:lnTo>
                    <a:pt x="446" y="26208"/>
                  </a:lnTo>
                  <a:lnTo>
                    <a:pt x="780" y="27321"/>
                  </a:lnTo>
                  <a:lnTo>
                    <a:pt x="1225" y="28434"/>
                  </a:lnTo>
                  <a:lnTo>
                    <a:pt x="1781" y="29546"/>
                  </a:lnTo>
                  <a:lnTo>
                    <a:pt x="2393" y="30604"/>
                  </a:lnTo>
                  <a:lnTo>
                    <a:pt x="3117" y="31605"/>
                  </a:lnTo>
                  <a:lnTo>
                    <a:pt x="3896" y="32607"/>
                  </a:lnTo>
                  <a:lnTo>
                    <a:pt x="4786" y="33608"/>
                  </a:lnTo>
                  <a:lnTo>
                    <a:pt x="5732" y="34554"/>
                  </a:lnTo>
                  <a:lnTo>
                    <a:pt x="6733" y="35500"/>
                  </a:lnTo>
                  <a:lnTo>
                    <a:pt x="7846" y="36390"/>
                  </a:lnTo>
                  <a:lnTo>
                    <a:pt x="9015" y="37225"/>
                  </a:lnTo>
                  <a:lnTo>
                    <a:pt x="10294" y="38060"/>
                  </a:lnTo>
                  <a:lnTo>
                    <a:pt x="11574" y="38839"/>
                  </a:lnTo>
                  <a:lnTo>
                    <a:pt x="12965" y="39618"/>
                  </a:lnTo>
                  <a:lnTo>
                    <a:pt x="14356" y="40341"/>
                  </a:lnTo>
                  <a:lnTo>
                    <a:pt x="15859" y="41009"/>
                  </a:lnTo>
                  <a:lnTo>
                    <a:pt x="17417" y="41621"/>
                  </a:lnTo>
                  <a:lnTo>
                    <a:pt x="18975" y="42233"/>
                  </a:lnTo>
                  <a:lnTo>
                    <a:pt x="20644" y="42789"/>
                  </a:lnTo>
                  <a:lnTo>
                    <a:pt x="22369" y="43290"/>
                  </a:lnTo>
                  <a:lnTo>
                    <a:pt x="24094" y="43735"/>
                  </a:lnTo>
                  <a:lnTo>
                    <a:pt x="25874" y="44125"/>
                  </a:lnTo>
                  <a:lnTo>
                    <a:pt x="27711" y="44459"/>
                  </a:lnTo>
                  <a:lnTo>
                    <a:pt x="29547" y="44792"/>
                  </a:lnTo>
                  <a:lnTo>
                    <a:pt x="31439" y="45071"/>
                  </a:lnTo>
                  <a:lnTo>
                    <a:pt x="33386" y="45238"/>
                  </a:lnTo>
                  <a:lnTo>
                    <a:pt x="35389" y="45405"/>
                  </a:lnTo>
                  <a:lnTo>
                    <a:pt x="37337" y="45460"/>
                  </a:lnTo>
                  <a:lnTo>
                    <a:pt x="39395" y="45516"/>
                  </a:lnTo>
                  <a:lnTo>
                    <a:pt x="41399" y="45460"/>
                  </a:lnTo>
                  <a:lnTo>
                    <a:pt x="43402" y="45405"/>
                  </a:lnTo>
                  <a:lnTo>
                    <a:pt x="45349" y="45238"/>
                  </a:lnTo>
                  <a:lnTo>
                    <a:pt x="47297" y="45071"/>
                  </a:lnTo>
                  <a:lnTo>
                    <a:pt x="49189" y="44792"/>
                  </a:lnTo>
                  <a:lnTo>
                    <a:pt x="51080" y="44459"/>
                  </a:lnTo>
                  <a:lnTo>
                    <a:pt x="52861" y="44125"/>
                  </a:lnTo>
                  <a:lnTo>
                    <a:pt x="54642" y="43735"/>
                  </a:lnTo>
                  <a:lnTo>
                    <a:pt x="56422" y="43290"/>
                  </a:lnTo>
                  <a:lnTo>
                    <a:pt x="58091" y="42789"/>
                  </a:lnTo>
                  <a:lnTo>
                    <a:pt x="59761" y="42233"/>
                  </a:lnTo>
                  <a:lnTo>
                    <a:pt x="61319" y="41621"/>
                  </a:lnTo>
                  <a:lnTo>
                    <a:pt x="62877" y="41009"/>
                  </a:lnTo>
                  <a:lnTo>
                    <a:pt x="64323" y="40285"/>
                  </a:lnTo>
                  <a:lnTo>
                    <a:pt x="65770" y="39618"/>
                  </a:lnTo>
                  <a:lnTo>
                    <a:pt x="67105" y="38839"/>
                  </a:lnTo>
                  <a:lnTo>
                    <a:pt x="68441" y="38060"/>
                  </a:lnTo>
                  <a:lnTo>
                    <a:pt x="69665" y="37225"/>
                  </a:lnTo>
                  <a:lnTo>
                    <a:pt x="70833" y="36390"/>
                  </a:lnTo>
                  <a:lnTo>
                    <a:pt x="71891" y="35500"/>
                  </a:lnTo>
                  <a:lnTo>
                    <a:pt x="72892" y="34554"/>
                  </a:lnTo>
                  <a:lnTo>
                    <a:pt x="73838" y="33608"/>
                  </a:lnTo>
                  <a:lnTo>
                    <a:pt x="74728" y="32607"/>
                  </a:lnTo>
                  <a:lnTo>
                    <a:pt x="75507" y="31605"/>
                  </a:lnTo>
                  <a:lnTo>
                    <a:pt x="76175" y="30604"/>
                  </a:lnTo>
                  <a:lnTo>
                    <a:pt x="76787" y="29546"/>
                  </a:lnTo>
                  <a:lnTo>
                    <a:pt x="77344" y="28434"/>
                  </a:lnTo>
                  <a:lnTo>
                    <a:pt x="77789" y="27321"/>
                  </a:lnTo>
                  <a:lnTo>
                    <a:pt x="78123" y="26208"/>
                  </a:lnTo>
                  <a:lnTo>
                    <a:pt x="78345" y="25095"/>
                  </a:lnTo>
                  <a:lnTo>
                    <a:pt x="78512" y="23926"/>
                  </a:lnTo>
                  <a:lnTo>
                    <a:pt x="78512" y="22758"/>
                  </a:lnTo>
                  <a:lnTo>
                    <a:pt x="78456" y="21589"/>
                  </a:lnTo>
                  <a:lnTo>
                    <a:pt x="78345" y="20421"/>
                  </a:lnTo>
                  <a:lnTo>
                    <a:pt x="78067" y="19308"/>
                  </a:lnTo>
                  <a:lnTo>
                    <a:pt x="77733" y="18195"/>
                  </a:lnTo>
                  <a:lnTo>
                    <a:pt x="77288" y="17082"/>
                  </a:lnTo>
                  <a:lnTo>
                    <a:pt x="76732" y="15970"/>
                  </a:lnTo>
                  <a:lnTo>
                    <a:pt x="76119" y="14912"/>
                  </a:lnTo>
                  <a:lnTo>
                    <a:pt x="75396" y="13911"/>
                  </a:lnTo>
                  <a:lnTo>
                    <a:pt x="74617" y="12909"/>
                  </a:lnTo>
                  <a:lnTo>
                    <a:pt x="73727" y="11908"/>
                  </a:lnTo>
                  <a:lnTo>
                    <a:pt x="72781" y="10962"/>
                  </a:lnTo>
                  <a:lnTo>
                    <a:pt x="71779" y="10016"/>
                  </a:lnTo>
                  <a:lnTo>
                    <a:pt x="70667" y="9126"/>
                  </a:lnTo>
                  <a:lnTo>
                    <a:pt x="69498" y="8291"/>
                  </a:lnTo>
                  <a:lnTo>
                    <a:pt x="68218" y="7456"/>
                  </a:lnTo>
                  <a:lnTo>
                    <a:pt x="66938" y="6677"/>
                  </a:lnTo>
                  <a:lnTo>
                    <a:pt x="65547" y="5898"/>
                  </a:lnTo>
                  <a:lnTo>
                    <a:pt x="64156" y="5175"/>
                  </a:lnTo>
                  <a:lnTo>
                    <a:pt x="62654" y="4507"/>
                  </a:lnTo>
                  <a:lnTo>
                    <a:pt x="61096" y="3895"/>
                  </a:lnTo>
                  <a:lnTo>
                    <a:pt x="59538" y="3283"/>
                  </a:lnTo>
                  <a:lnTo>
                    <a:pt x="57869" y="2727"/>
                  </a:lnTo>
                  <a:lnTo>
                    <a:pt x="56144" y="2226"/>
                  </a:lnTo>
                  <a:lnTo>
                    <a:pt x="54419" y="1781"/>
                  </a:lnTo>
                  <a:lnTo>
                    <a:pt x="52638" y="1391"/>
                  </a:lnTo>
                  <a:lnTo>
                    <a:pt x="50802" y="1002"/>
                  </a:lnTo>
                  <a:lnTo>
                    <a:pt x="48966" y="724"/>
                  </a:lnTo>
                  <a:lnTo>
                    <a:pt x="47074" y="445"/>
                  </a:lnTo>
                  <a:lnTo>
                    <a:pt x="45127" y="278"/>
                  </a:lnTo>
                  <a:lnTo>
                    <a:pt x="43124" y="111"/>
                  </a:lnTo>
                  <a:lnTo>
                    <a:pt x="41176" y="56"/>
                  </a:lnTo>
                  <a:lnTo>
                    <a:pt x="39117" y="0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2291;p60">
              <a:extLst>
                <a:ext uri="{FF2B5EF4-FFF2-40B4-BE49-F238E27FC236}">
                  <a16:creationId xmlns:a16="http://schemas.microsoft.com/office/drawing/2014/main" id="{23968068-D4C2-2D44-1533-A74C5B26CED9}"/>
                </a:ext>
              </a:extLst>
            </p:cNvPr>
            <p:cNvSpPr/>
            <p:nvPr/>
          </p:nvSpPr>
          <p:spPr>
            <a:xfrm>
              <a:off x="1303300" y="3082850"/>
              <a:ext cx="1560800" cy="904200"/>
            </a:xfrm>
            <a:custGeom>
              <a:avLst/>
              <a:gdLst/>
              <a:ahLst/>
              <a:cxnLst/>
              <a:rect l="l" t="t" r="r" b="b"/>
              <a:pathLst>
                <a:path w="62432" h="36168" extrusionOk="0">
                  <a:moveTo>
                    <a:pt x="31104" y="0"/>
                  </a:moveTo>
                  <a:lnTo>
                    <a:pt x="29491" y="56"/>
                  </a:lnTo>
                  <a:lnTo>
                    <a:pt x="27933" y="111"/>
                  </a:lnTo>
                  <a:lnTo>
                    <a:pt x="26375" y="223"/>
                  </a:lnTo>
                  <a:lnTo>
                    <a:pt x="24817" y="390"/>
                  </a:lnTo>
                  <a:lnTo>
                    <a:pt x="23315" y="612"/>
                  </a:lnTo>
                  <a:lnTo>
                    <a:pt x="21812" y="835"/>
                  </a:lnTo>
                  <a:lnTo>
                    <a:pt x="20365" y="1113"/>
                  </a:lnTo>
                  <a:lnTo>
                    <a:pt x="18974" y="1447"/>
                  </a:lnTo>
                  <a:lnTo>
                    <a:pt x="17583" y="1781"/>
                  </a:lnTo>
                  <a:lnTo>
                    <a:pt x="16248" y="2226"/>
                  </a:lnTo>
                  <a:lnTo>
                    <a:pt x="14913" y="2615"/>
                  </a:lnTo>
                  <a:lnTo>
                    <a:pt x="13688" y="3116"/>
                  </a:lnTo>
                  <a:lnTo>
                    <a:pt x="12464" y="3617"/>
                  </a:lnTo>
                  <a:lnTo>
                    <a:pt x="11240" y="4173"/>
                  </a:lnTo>
                  <a:lnTo>
                    <a:pt x="10127" y="4730"/>
                  </a:lnTo>
                  <a:lnTo>
                    <a:pt x="9070" y="5342"/>
                  </a:lnTo>
                  <a:lnTo>
                    <a:pt x="8013" y="5954"/>
                  </a:lnTo>
                  <a:lnTo>
                    <a:pt x="7067" y="6622"/>
                  </a:lnTo>
                  <a:lnTo>
                    <a:pt x="6121" y="7289"/>
                  </a:lnTo>
                  <a:lnTo>
                    <a:pt x="5231" y="8013"/>
                  </a:lnTo>
                  <a:lnTo>
                    <a:pt x="4452" y="8736"/>
                  </a:lnTo>
                  <a:lnTo>
                    <a:pt x="3728" y="9515"/>
                  </a:lnTo>
                  <a:lnTo>
                    <a:pt x="3005" y="10294"/>
                  </a:lnTo>
                  <a:lnTo>
                    <a:pt x="2393" y="11073"/>
                  </a:lnTo>
                  <a:lnTo>
                    <a:pt x="1837" y="11908"/>
                  </a:lnTo>
                  <a:lnTo>
                    <a:pt x="1336" y="12742"/>
                  </a:lnTo>
                  <a:lnTo>
                    <a:pt x="946" y="13577"/>
                  </a:lnTo>
                  <a:lnTo>
                    <a:pt x="612" y="14467"/>
                  </a:lnTo>
                  <a:lnTo>
                    <a:pt x="334" y="15357"/>
                  </a:lnTo>
                  <a:lnTo>
                    <a:pt x="112" y="16248"/>
                  </a:lnTo>
                  <a:lnTo>
                    <a:pt x="0" y="17194"/>
                  </a:lnTo>
                  <a:lnTo>
                    <a:pt x="0" y="18084"/>
                  </a:lnTo>
                  <a:lnTo>
                    <a:pt x="0" y="19030"/>
                  </a:lnTo>
                  <a:lnTo>
                    <a:pt x="167" y="19976"/>
                  </a:lnTo>
                  <a:lnTo>
                    <a:pt x="334" y="20866"/>
                  </a:lnTo>
                  <a:lnTo>
                    <a:pt x="612" y="21756"/>
                  </a:lnTo>
                  <a:lnTo>
                    <a:pt x="1002" y="22647"/>
                  </a:lnTo>
                  <a:lnTo>
                    <a:pt x="1391" y="23481"/>
                  </a:lnTo>
                  <a:lnTo>
                    <a:pt x="1892" y="24316"/>
                  </a:lnTo>
                  <a:lnTo>
                    <a:pt x="2449" y="25151"/>
                  </a:lnTo>
                  <a:lnTo>
                    <a:pt x="3116" y="25930"/>
                  </a:lnTo>
                  <a:lnTo>
                    <a:pt x="3784" y="26709"/>
                  </a:lnTo>
                  <a:lnTo>
                    <a:pt x="4563" y="27488"/>
                  </a:lnTo>
                  <a:lnTo>
                    <a:pt x="5398" y="28211"/>
                  </a:lnTo>
                  <a:lnTo>
                    <a:pt x="6232" y="28934"/>
                  </a:lnTo>
                  <a:lnTo>
                    <a:pt x="7178" y="29602"/>
                  </a:lnTo>
                  <a:lnTo>
                    <a:pt x="8180" y="30270"/>
                  </a:lnTo>
                  <a:lnTo>
                    <a:pt x="9181" y="30882"/>
                  </a:lnTo>
                  <a:lnTo>
                    <a:pt x="10294" y="31494"/>
                  </a:lnTo>
                  <a:lnTo>
                    <a:pt x="11407" y="32050"/>
                  </a:lnTo>
                  <a:lnTo>
                    <a:pt x="12631" y="32607"/>
                  </a:lnTo>
                  <a:lnTo>
                    <a:pt x="13855" y="33107"/>
                  </a:lnTo>
                  <a:lnTo>
                    <a:pt x="15079" y="33553"/>
                  </a:lnTo>
                  <a:lnTo>
                    <a:pt x="16415" y="33998"/>
                  </a:lnTo>
                  <a:lnTo>
                    <a:pt x="17750" y="34387"/>
                  </a:lnTo>
                  <a:lnTo>
                    <a:pt x="19141" y="34777"/>
                  </a:lnTo>
                  <a:lnTo>
                    <a:pt x="20588" y="35111"/>
                  </a:lnTo>
                  <a:lnTo>
                    <a:pt x="22035" y="35389"/>
                  </a:lnTo>
                  <a:lnTo>
                    <a:pt x="23481" y="35611"/>
                  </a:lnTo>
                  <a:lnTo>
                    <a:pt x="25039" y="35834"/>
                  </a:lnTo>
                  <a:lnTo>
                    <a:pt x="26542" y="36001"/>
                  </a:lnTo>
                  <a:lnTo>
                    <a:pt x="28100" y="36112"/>
                  </a:lnTo>
                  <a:lnTo>
                    <a:pt x="29713" y="36168"/>
                  </a:lnTo>
                  <a:lnTo>
                    <a:pt x="32885" y="36168"/>
                  </a:lnTo>
                  <a:lnTo>
                    <a:pt x="34499" y="36112"/>
                  </a:lnTo>
                  <a:lnTo>
                    <a:pt x="36057" y="36001"/>
                  </a:lnTo>
                  <a:lnTo>
                    <a:pt x="37615" y="35834"/>
                  </a:lnTo>
                  <a:lnTo>
                    <a:pt x="39117" y="35611"/>
                  </a:lnTo>
                  <a:lnTo>
                    <a:pt x="40564" y="35389"/>
                  </a:lnTo>
                  <a:lnTo>
                    <a:pt x="42010" y="35111"/>
                  </a:lnTo>
                  <a:lnTo>
                    <a:pt x="43457" y="34777"/>
                  </a:lnTo>
                  <a:lnTo>
                    <a:pt x="44848" y="34387"/>
                  </a:lnTo>
                  <a:lnTo>
                    <a:pt x="46184" y="33998"/>
                  </a:lnTo>
                  <a:lnTo>
                    <a:pt x="47463" y="33553"/>
                  </a:lnTo>
                  <a:lnTo>
                    <a:pt x="48743" y="33107"/>
                  </a:lnTo>
                  <a:lnTo>
                    <a:pt x="49967" y="32607"/>
                  </a:lnTo>
                  <a:lnTo>
                    <a:pt x="51136" y="32050"/>
                  </a:lnTo>
                  <a:lnTo>
                    <a:pt x="52249" y="31494"/>
                  </a:lnTo>
                  <a:lnTo>
                    <a:pt x="53361" y="30882"/>
                  </a:lnTo>
                  <a:lnTo>
                    <a:pt x="54363" y="30270"/>
                  </a:lnTo>
                  <a:lnTo>
                    <a:pt x="55365" y="29602"/>
                  </a:lnTo>
                  <a:lnTo>
                    <a:pt x="56255" y="28934"/>
                  </a:lnTo>
                  <a:lnTo>
                    <a:pt x="57145" y="28211"/>
                  </a:lnTo>
                  <a:lnTo>
                    <a:pt x="57980" y="27488"/>
                  </a:lnTo>
                  <a:lnTo>
                    <a:pt x="58703" y="26709"/>
                  </a:lnTo>
                  <a:lnTo>
                    <a:pt x="59371" y="25930"/>
                  </a:lnTo>
                  <a:lnTo>
                    <a:pt x="59983" y="25151"/>
                  </a:lnTo>
                  <a:lnTo>
                    <a:pt x="60539" y="24316"/>
                  </a:lnTo>
                  <a:lnTo>
                    <a:pt x="61040" y="23481"/>
                  </a:lnTo>
                  <a:lnTo>
                    <a:pt x="61485" y="22647"/>
                  </a:lnTo>
                  <a:lnTo>
                    <a:pt x="61819" y="21756"/>
                  </a:lnTo>
                  <a:lnTo>
                    <a:pt x="62097" y="20866"/>
                  </a:lnTo>
                  <a:lnTo>
                    <a:pt x="62264" y="19976"/>
                  </a:lnTo>
                  <a:lnTo>
                    <a:pt x="62376" y="19030"/>
                  </a:lnTo>
                  <a:lnTo>
                    <a:pt x="62431" y="18084"/>
                  </a:lnTo>
                  <a:lnTo>
                    <a:pt x="62376" y="17194"/>
                  </a:lnTo>
                  <a:lnTo>
                    <a:pt x="62264" y="16248"/>
                  </a:lnTo>
                  <a:lnTo>
                    <a:pt x="62042" y="15357"/>
                  </a:lnTo>
                  <a:lnTo>
                    <a:pt x="61763" y="14467"/>
                  </a:lnTo>
                  <a:lnTo>
                    <a:pt x="61430" y="13577"/>
                  </a:lnTo>
                  <a:lnTo>
                    <a:pt x="60984" y="12742"/>
                  </a:lnTo>
                  <a:lnTo>
                    <a:pt x="60484" y="11908"/>
                  </a:lnTo>
                  <a:lnTo>
                    <a:pt x="59927" y="11073"/>
                  </a:lnTo>
                  <a:lnTo>
                    <a:pt x="59315" y="10294"/>
                  </a:lnTo>
                  <a:lnTo>
                    <a:pt x="58592" y="9515"/>
                  </a:lnTo>
                  <a:lnTo>
                    <a:pt x="57868" y="8736"/>
                  </a:lnTo>
                  <a:lnTo>
                    <a:pt x="57034" y="8013"/>
                  </a:lnTo>
                  <a:lnTo>
                    <a:pt x="56144" y="7289"/>
                  </a:lnTo>
                  <a:lnTo>
                    <a:pt x="55253" y="6622"/>
                  </a:lnTo>
                  <a:lnTo>
                    <a:pt x="54252" y="5954"/>
                  </a:lnTo>
                  <a:lnTo>
                    <a:pt x="53195" y="5342"/>
                  </a:lnTo>
                  <a:lnTo>
                    <a:pt x="52137" y="4730"/>
                  </a:lnTo>
                  <a:lnTo>
                    <a:pt x="50969" y="4173"/>
                  </a:lnTo>
                  <a:lnTo>
                    <a:pt x="49800" y="3617"/>
                  </a:lnTo>
                  <a:lnTo>
                    <a:pt x="48576" y="3116"/>
                  </a:lnTo>
                  <a:lnTo>
                    <a:pt x="47296" y="2615"/>
                  </a:lnTo>
                  <a:lnTo>
                    <a:pt x="46017" y="2226"/>
                  </a:lnTo>
                  <a:lnTo>
                    <a:pt x="44626" y="1781"/>
                  </a:lnTo>
                  <a:lnTo>
                    <a:pt x="43235" y="1447"/>
                  </a:lnTo>
                  <a:lnTo>
                    <a:pt x="41843" y="1113"/>
                  </a:lnTo>
                  <a:lnTo>
                    <a:pt x="40397" y="835"/>
                  </a:lnTo>
                  <a:lnTo>
                    <a:pt x="38894" y="612"/>
                  </a:lnTo>
                  <a:lnTo>
                    <a:pt x="37392" y="390"/>
                  </a:lnTo>
                  <a:lnTo>
                    <a:pt x="35834" y="223"/>
                  </a:lnTo>
                  <a:lnTo>
                    <a:pt x="34276" y="111"/>
                  </a:lnTo>
                  <a:lnTo>
                    <a:pt x="32718" y="56"/>
                  </a:lnTo>
                  <a:lnTo>
                    <a:pt x="31104" y="0"/>
                  </a:lnTo>
                  <a:close/>
                </a:path>
              </a:pathLst>
            </a:custGeom>
            <a:solidFill>
              <a:srgbClr val="DFEC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2292;p60">
              <a:extLst>
                <a:ext uri="{FF2B5EF4-FFF2-40B4-BE49-F238E27FC236}">
                  <a16:creationId xmlns:a16="http://schemas.microsoft.com/office/drawing/2014/main" id="{7B8D5359-C2D6-E3FE-37F3-272F83438E0E}"/>
                </a:ext>
              </a:extLst>
            </p:cNvPr>
            <p:cNvSpPr/>
            <p:nvPr/>
          </p:nvSpPr>
          <p:spPr>
            <a:xfrm>
              <a:off x="1101600" y="3534925"/>
              <a:ext cx="1964200" cy="710875"/>
            </a:xfrm>
            <a:custGeom>
              <a:avLst/>
              <a:gdLst/>
              <a:ahLst/>
              <a:cxnLst/>
              <a:rect l="l" t="t" r="r" b="b"/>
              <a:pathLst>
                <a:path w="78568" h="28435" extrusionOk="0">
                  <a:moveTo>
                    <a:pt x="0" y="1"/>
                  </a:moveTo>
                  <a:lnTo>
                    <a:pt x="0" y="5676"/>
                  </a:lnTo>
                  <a:lnTo>
                    <a:pt x="56" y="6845"/>
                  </a:lnTo>
                  <a:lnTo>
                    <a:pt x="167" y="8013"/>
                  </a:lnTo>
                  <a:lnTo>
                    <a:pt x="445" y="9126"/>
                  </a:lnTo>
                  <a:lnTo>
                    <a:pt x="779" y="10239"/>
                  </a:lnTo>
                  <a:lnTo>
                    <a:pt x="1224" y="11352"/>
                  </a:lnTo>
                  <a:lnTo>
                    <a:pt x="1781" y="12465"/>
                  </a:lnTo>
                  <a:lnTo>
                    <a:pt x="2393" y="13522"/>
                  </a:lnTo>
                  <a:lnTo>
                    <a:pt x="3116" y="14524"/>
                  </a:lnTo>
                  <a:lnTo>
                    <a:pt x="3895" y="15525"/>
                  </a:lnTo>
                  <a:lnTo>
                    <a:pt x="4785" y="16527"/>
                  </a:lnTo>
                  <a:lnTo>
                    <a:pt x="5731" y="17473"/>
                  </a:lnTo>
                  <a:lnTo>
                    <a:pt x="6733" y="18419"/>
                  </a:lnTo>
                  <a:lnTo>
                    <a:pt x="7846" y="19309"/>
                  </a:lnTo>
                  <a:lnTo>
                    <a:pt x="9014" y="20144"/>
                  </a:lnTo>
                  <a:lnTo>
                    <a:pt x="10238" y="20978"/>
                  </a:lnTo>
                  <a:lnTo>
                    <a:pt x="11574" y="21757"/>
                  </a:lnTo>
                  <a:lnTo>
                    <a:pt x="12965" y="22536"/>
                  </a:lnTo>
                  <a:lnTo>
                    <a:pt x="14356" y="23260"/>
                  </a:lnTo>
                  <a:lnTo>
                    <a:pt x="15858" y="23927"/>
                  </a:lnTo>
                  <a:lnTo>
                    <a:pt x="17416" y="24539"/>
                  </a:lnTo>
                  <a:lnTo>
                    <a:pt x="18974" y="25151"/>
                  </a:lnTo>
                  <a:lnTo>
                    <a:pt x="20644" y="25708"/>
                  </a:lnTo>
                  <a:lnTo>
                    <a:pt x="22313" y="26209"/>
                  </a:lnTo>
                  <a:lnTo>
                    <a:pt x="24093" y="26654"/>
                  </a:lnTo>
                  <a:lnTo>
                    <a:pt x="25874" y="27043"/>
                  </a:lnTo>
                  <a:lnTo>
                    <a:pt x="27710" y="27433"/>
                  </a:lnTo>
                  <a:lnTo>
                    <a:pt x="29546" y="27711"/>
                  </a:lnTo>
                  <a:lnTo>
                    <a:pt x="31438" y="27989"/>
                  </a:lnTo>
                  <a:lnTo>
                    <a:pt x="33386" y="28156"/>
                  </a:lnTo>
                  <a:lnTo>
                    <a:pt x="35389" y="28323"/>
                  </a:lnTo>
                  <a:lnTo>
                    <a:pt x="37336" y="28379"/>
                  </a:lnTo>
                  <a:lnTo>
                    <a:pt x="39395" y="28434"/>
                  </a:lnTo>
                  <a:lnTo>
                    <a:pt x="41398" y="28379"/>
                  </a:lnTo>
                  <a:lnTo>
                    <a:pt x="43401" y="28323"/>
                  </a:lnTo>
                  <a:lnTo>
                    <a:pt x="45349" y="28156"/>
                  </a:lnTo>
                  <a:lnTo>
                    <a:pt x="47296" y="27989"/>
                  </a:lnTo>
                  <a:lnTo>
                    <a:pt x="49188" y="27711"/>
                  </a:lnTo>
                  <a:lnTo>
                    <a:pt x="51080" y="27433"/>
                  </a:lnTo>
                  <a:lnTo>
                    <a:pt x="52861" y="27043"/>
                  </a:lnTo>
                  <a:lnTo>
                    <a:pt x="54641" y="26654"/>
                  </a:lnTo>
                  <a:lnTo>
                    <a:pt x="56422" y="26209"/>
                  </a:lnTo>
                  <a:lnTo>
                    <a:pt x="58091" y="25708"/>
                  </a:lnTo>
                  <a:lnTo>
                    <a:pt x="59760" y="25151"/>
                  </a:lnTo>
                  <a:lnTo>
                    <a:pt x="61318" y="24539"/>
                  </a:lnTo>
                  <a:lnTo>
                    <a:pt x="62876" y="23927"/>
                  </a:lnTo>
                  <a:lnTo>
                    <a:pt x="64323" y="23260"/>
                  </a:lnTo>
                  <a:lnTo>
                    <a:pt x="65770" y="22536"/>
                  </a:lnTo>
                  <a:lnTo>
                    <a:pt x="67105" y="21757"/>
                  </a:lnTo>
                  <a:lnTo>
                    <a:pt x="68440" y="20978"/>
                  </a:lnTo>
                  <a:lnTo>
                    <a:pt x="69665" y="20144"/>
                  </a:lnTo>
                  <a:lnTo>
                    <a:pt x="70833" y="19309"/>
                  </a:lnTo>
                  <a:lnTo>
                    <a:pt x="71890" y="18419"/>
                  </a:lnTo>
                  <a:lnTo>
                    <a:pt x="72892" y="17473"/>
                  </a:lnTo>
                  <a:lnTo>
                    <a:pt x="73838" y="16527"/>
                  </a:lnTo>
                  <a:lnTo>
                    <a:pt x="74728" y="15525"/>
                  </a:lnTo>
                  <a:lnTo>
                    <a:pt x="75507" y="14524"/>
                  </a:lnTo>
                  <a:lnTo>
                    <a:pt x="76175" y="13522"/>
                  </a:lnTo>
                  <a:lnTo>
                    <a:pt x="76787" y="12465"/>
                  </a:lnTo>
                  <a:lnTo>
                    <a:pt x="77343" y="11352"/>
                  </a:lnTo>
                  <a:lnTo>
                    <a:pt x="77733" y="10239"/>
                  </a:lnTo>
                  <a:lnTo>
                    <a:pt x="78122" y="9126"/>
                  </a:lnTo>
                  <a:lnTo>
                    <a:pt x="78345" y="8013"/>
                  </a:lnTo>
                  <a:lnTo>
                    <a:pt x="78512" y="6845"/>
                  </a:lnTo>
                  <a:lnTo>
                    <a:pt x="78512" y="5676"/>
                  </a:lnTo>
                  <a:lnTo>
                    <a:pt x="78567" y="1"/>
                  </a:lnTo>
                  <a:lnTo>
                    <a:pt x="78512" y="1169"/>
                  </a:lnTo>
                  <a:lnTo>
                    <a:pt x="78345" y="2338"/>
                  </a:lnTo>
                  <a:lnTo>
                    <a:pt x="78122" y="3506"/>
                  </a:lnTo>
                  <a:lnTo>
                    <a:pt x="77788" y="4619"/>
                  </a:lnTo>
                  <a:lnTo>
                    <a:pt x="77343" y="5732"/>
                  </a:lnTo>
                  <a:lnTo>
                    <a:pt x="76842" y="6789"/>
                  </a:lnTo>
                  <a:lnTo>
                    <a:pt x="76230" y="7847"/>
                  </a:lnTo>
                  <a:lnTo>
                    <a:pt x="75507" y="8904"/>
                  </a:lnTo>
                  <a:lnTo>
                    <a:pt x="74728" y="9905"/>
                  </a:lnTo>
                  <a:lnTo>
                    <a:pt x="73893" y="10851"/>
                  </a:lnTo>
                  <a:lnTo>
                    <a:pt x="72947" y="11797"/>
                  </a:lnTo>
                  <a:lnTo>
                    <a:pt x="71890" y="12743"/>
                  </a:lnTo>
                  <a:lnTo>
                    <a:pt x="70833" y="13633"/>
                  </a:lnTo>
                  <a:lnTo>
                    <a:pt x="69665" y="14524"/>
                  </a:lnTo>
                  <a:lnTo>
                    <a:pt x="68440" y="15303"/>
                  </a:lnTo>
                  <a:lnTo>
                    <a:pt x="67161" y="16137"/>
                  </a:lnTo>
                  <a:lnTo>
                    <a:pt x="65770" y="16861"/>
                  </a:lnTo>
                  <a:lnTo>
                    <a:pt x="64378" y="17584"/>
                  </a:lnTo>
                  <a:lnTo>
                    <a:pt x="62876" y="18252"/>
                  </a:lnTo>
                  <a:lnTo>
                    <a:pt x="61318" y="18864"/>
                  </a:lnTo>
                  <a:lnTo>
                    <a:pt x="59760" y="19476"/>
                  </a:lnTo>
                  <a:lnTo>
                    <a:pt x="58091" y="20032"/>
                  </a:lnTo>
                  <a:lnTo>
                    <a:pt x="56422" y="20533"/>
                  </a:lnTo>
                  <a:lnTo>
                    <a:pt x="54697" y="20978"/>
                  </a:lnTo>
                  <a:lnTo>
                    <a:pt x="52916" y="21368"/>
                  </a:lnTo>
                  <a:lnTo>
                    <a:pt x="51080" y="21757"/>
                  </a:lnTo>
                  <a:lnTo>
                    <a:pt x="49188" y="22035"/>
                  </a:lnTo>
                  <a:lnTo>
                    <a:pt x="47296" y="22314"/>
                  </a:lnTo>
                  <a:lnTo>
                    <a:pt x="45404" y="22536"/>
                  </a:lnTo>
                  <a:lnTo>
                    <a:pt x="43401" y="22647"/>
                  </a:lnTo>
                  <a:lnTo>
                    <a:pt x="41398" y="22759"/>
                  </a:lnTo>
                  <a:lnTo>
                    <a:pt x="37392" y="22759"/>
                  </a:lnTo>
                  <a:lnTo>
                    <a:pt x="35389" y="22647"/>
                  </a:lnTo>
                  <a:lnTo>
                    <a:pt x="33441" y="22536"/>
                  </a:lnTo>
                  <a:lnTo>
                    <a:pt x="31494" y="22314"/>
                  </a:lnTo>
                  <a:lnTo>
                    <a:pt x="29602" y="22035"/>
                  </a:lnTo>
                  <a:lnTo>
                    <a:pt x="27710" y="21757"/>
                  </a:lnTo>
                  <a:lnTo>
                    <a:pt x="25874" y="21368"/>
                  </a:lnTo>
                  <a:lnTo>
                    <a:pt x="24093" y="20978"/>
                  </a:lnTo>
                  <a:lnTo>
                    <a:pt x="22368" y="20533"/>
                  </a:lnTo>
                  <a:lnTo>
                    <a:pt x="20644" y="20032"/>
                  </a:lnTo>
                  <a:lnTo>
                    <a:pt x="19030" y="19476"/>
                  </a:lnTo>
                  <a:lnTo>
                    <a:pt x="17416" y="18864"/>
                  </a:lnTo>
                  <a:lnTo>
                    <a:pt x="15858" y="18252"/>
                  </a:lnTo>
                  <a:lnTo>
                    <a:pt x="14356" y="17584"/>
                  </a:lnTo>
                  <a:lnTo>
                    <a:pt x="12965" y="16861"/>
                  </a:lnTo>
                  <a:lnTo>
                    <a:pt x="11574" y="16137"/>
                  </a:lnTo>
                  <a:lnTo>
                    <a:pt x="10294" y="15303"/>
                  </a:lnTo>
                  <a:lnTo>
                    <a:pt x="9070" y="14524"/>
                  </a:lnTo>
                  <a:lnTo>
                    <a:pt x="7846" y="13633"/>
                  </a:lnTo>
                  <a:lnTo>
                    <a:pt x="6789" y="12743"/>
                  </a:lnTo>
                  <a:lnTo>
                    <a:pt x="5731" y="11797"/>
                  </a:lnTo>
                  <a:lnTo>
                    <a:pt x="4785" y="10851"/>
                  </a:lnTo>
                  <a:lnTo>
                    <a:pt x="3895" y="9905"/>
                  </a:lnTo>
                  <a:lnTo>
                    <a:pt x="3116" y="8904"/>
                  </a:lnTo>
                  <a:lnTo>
                    <a:pt x="2393" y="7847"/>
                  </a:lnTo>
                  <a:lnTo>
                    <a:pt x="1781" y="6789"/>
                  </a:lnTo>
                  <a:lnTo>
                    <a:pt x="1280" y="5732"/>
                  </a:lnTo>
                  <a:lnTo>
                    <a:pt x="835" y="4619"/>
                  </a:lnTo>
                  <a:lnTo>
                    <a:pt x="445" y="3506"/>
                  </a:lnTo>
                  <a:lnTo>
                    <a:pt x="223" y="2338"/>
                  </a:lnTo>
                  <a:lnTo>
                    <a:pt x="56" y="116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BF9D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2293;p60">
              <a:extLst>
                <a:ext uri="{FF2B5EF4-FFF2-40B4-BE49-F238E27FC236}">
                  <a16:creationId xmlns:a16="http://schemas.microsoft.com/office/drawing/2014/main" id="{26233ADD-811B-2175-8A96-0F00B3AE4577}"/>
                </a:ext>
              </a:extLst>
            </p:cNvPr>
            <p:cNvSpPr/>
            <p:nvPr/>
          </p:nvSpPr>
          <p:spPr>
            <a:xfrm>
              <a:off x="1101600" y="2967375"/>
              <a:ext cx="1964200" cy="1136525"/>
            </a:xfrm>
            <a:custGeom>
              <a:avLst/>
              <a:gdLst/>
              <a:ahLst/>
              <a:cxnLst/>
              <a:rect l="l" t="t" r="r" b="b"/>
              <a:pathLst>
                <a:path w="78568" h="45461" extrusionOk="0">
                  <a:moveTo>
                    <a:pt x="39172" y="4619"/>
                  </a:moveTo>
                  <a:lnTo>
                    <a:pt x="40786" y="4675"/>
                  </a:lnTo>
                  <a:lnTo>
                    <a:pt x="42344" y="4730"/>
                  </a:lnTo>
                  <a:lnTo>
                    <a:pt x="43902" y="4842"/>
                  </a:lnTo>
                  <a:lnTo>
                    <a:pt x="45460" y="5009"/>
                  </a:lnTo>
                  <a:lnTo>
                    <a:pt x="46962" y="5231"/>
                  </a:lnTo>
                  <a:lnTo>
                    <a:pt x="48465" y="5454"/>
                  </a:lnTo>
                  <a:lnTo>
                    <a:pt x="49911" y="5732"/>
                  </a:lnTo>
                  <a:lnTo>
                    <a:pt x="51303" y="6066"/>
                  </a:lnTo>
                  <a:lnTo>
                    <a:pt x="52694" y="6400"/>
                  </a:lnTo>
                  <a:lnTo>
                    <a:pt x="54085" y="6845"/>
                  </a:lnTo>
                  <a:lnTo>
                    <a:pt x="55364" y="7234"/>
                  </a:lnTo>
                  <a:lnTo>
                    <a:pt x="56644" y="7735"/>
                  </a:lnTo>
                  <a:lnTo>
                    <a:pt x="57868" y="8236"/>
                  </a:lnTo>
                  <a:lnTo>
                    <a:pt x="59037" y="8792"/>
                  </a:lnTo>
                  <a:lnTo>
                    <a:pt x="60205" y="9349"/>
                  </a:lnTo>
                  <a:lnTo>
                    <a:pt x="61263" y="9961"/>
                  </a:lnTo>
                  <a:lnTo>
                    <a:pt x="62320" y="10573"/>
                  </a:lnTo>
                  <a:lnTo>
                    <a:pt x="63321" y="11241"/>
                  </a:lnTo>
                  <a:lnTo>
                    <a:pt x="64212" y="11908"/>
                  </a:lnTo>
                  <a:lnTo>
                    <a:pt x="65102" y="12632"/>
                  </a:lnTo>
                  <a:lnTo>
                    <a:pt x="65936" y="13355"/>
                  </a:lnTo>
                  <a:lnTo>
                    <a:pt x="66660" y="14134"/>
                  </a:lnTo>
                  <a:lnTo>
                    <a:pt x="67383" y="14913"/>
                  </a:lnTo>
                  <a:lnTo>
                    <a:pt x="67995" y="15692"/>
                  </a:lnTo>
                  <a:lnTo>
                    <a:pt x="68552" y="16527"/>
                  </a:lnTo>
                  <a:lnTo>
                    <a:pt x="69052" y="17361"/>
                  </a:lnTo>
                  <a:lnTo>
                    <a:pt x="69498" y="18196"/>
                  </a:lnTo>
                  <a:lnTo>
                    <a:pt x="69831" y="19086"/>
                  </a:lnTo>
                  <a:lnTo>
                    <a:pt x="70110" y="19976"/>
                  </a:lnTo>
                  <a:lnTo>
                    <a:pt x="70332" y="20867"/>
                  </a:lnTo>
                  <a:lnTo>
                    <a:pt x="70444" y="21813"/>
                  </a:lnTo>
                  <a:lnTo>
                    <a:pt x="70499" y="22703"/>
                  </a:lnTo>
                  <a:lnTo>
                    <a:pt x="70444" y="23649"/>
                  </a:lnTo>
                  <a:lnTo>
                    <a:pt x="70332" y="24595"/>
                  </a:lnTo>
                  <a:lnTo>
                    <a:pt x="70165" y="25485"/>
                  </a:lnTo>
                  <a:lnTo>
                    <a:pt x="69887" y="26375"/>
                  </a:lnTo>
                  <a:lnTo>
                    <a:pt x="69553" y="27266"/>
                  </a:lnTo>
                  <a:lnTo>
                    <a:pt x="69108" y="28100"/>
                  </a:lnTo>
                  <a:lnTo>
                    <a:pt x="68607" y="28935"/>
                  </a:lnTo>
                  <a:lnTo>
                    <a:pt x="68051" y="29770"/>
                  </a:lnTo>
                  <a:lnTo>
                    <a:pt x="67439" y="30549"/>
                  </a:lnTo>
                  <a:lnTo>
                    <a:pt x="66771" y="31328"/>
                  </a:lnTo>
                  <a:lnTo>
                    <a:pt x="66048" y="32107"/>
                  </a:lnTo>
                  <a:lnTo>
                    <a:pt x="65213" y="32830"/>
                  </a:lnTo>
                  <a:lnTo>
                    <a:pt x="64323" y="33553"/>
                  </a:lnTo>
                  <a:lnTo>
                    <a:pt x="63433" y="34221"/>
                  </a:lnTo>
                  <a:lnTo>
                    <a:pt x="62431" y="34889"/>
                  </a:lnTo>
                  <a:lnTo>
                    <a:pt x="61429" y="35501"/>
                  </a:lnTo>
                  <a:lnTo>
                    <a:pt x="60317" y="36113"/>
                  </a:lnTo>
                  <a:lnTo>
                    <a:pt x="59204" y="36669"/>
                  </a:lnTo>
                  <a:lnTo>
                    <a:pt x="58035" y="37226"/>
                  </a:lnTo>
                  <a:lnTo>
                    <a:pt x="56811" y="37726"/>
                  </a:lnTo>
                  <a:lnTo>
                    <a:pt x="55531" y="38172"/>
                  </a:lnTo>
                  <a:lnTo>
                    <a:pt x="54252" y="38617"/>
                  </a:lnTo>
                  <a:lnTo>
                    <a:pt x="52916" y="39006"/>
                  </a:lnTo>
                  <a:lnTo>
                    <a:pt x="51525" y="39396"/>
                  </a:lnTo>
                  <a:lnTo>
                    <a:pt x="50078" y="39730"/>
                  </a:lnTo>
                  <a:lnTo>
                    <a:pt x="48632" y="40008"/>
                  </a:lnTo>
                  <a:lnTo>
                    <a:pt x="47185" y="40230"/>
                  </a:lnTo>
                  <a:lnTo>
                    <a:pt x="45683" y="40453"/>
                  </a:lnTo>
                  <a:lnTo>
                    <a:pt x="44125" y="40620"/>
                  </a:lnTo>
                  <a:lnTo>
                    <a:pt x="42567" y="40731"/>
                  </a:lnTo>
                  <a:lnTo>
                    <a:pt x="40953" y="40787"/>
                  </a:lnTo>
                  <a:lnTo>
                    <a:pt x="37781" y="40787"/>
                  </a:lnTo>
                  <a:lnTo>
                    <a:pt x="36168" y="40731"/>
                  </a:lnTo>
                  <a:lnTo>
                    <a:pt x="34610" y="40620"/>
                  </a:lnTo>
                  <a:lnTo>
                    <a:pt x="33107" y="40453"/>
                  </a:lnTo>
                  <a:lnTo>
                    <a:pt x="31549" y="40230"/>
                  </a:lnTo>
                  <a:lnTo>
                    <a:pt x="30103" y="40008"/>
                  </a:lnTo>
                  <a:lnTo>
                    <a:pt x="28656" y="39730"/>
                  </a:lnTo>
                  <a:lnTo>
                    <a:pt x="27209" y="39396"/>
                  </a:lnTo>
                  <a:lnTo>
                    <a:pt x="25818" y="39006"/>
                  </a:lnTo>
                  <a:lnTo>
                    <a:pt x="24483" y="38617"/>
                  </a:lnTo>
                  <a:lnTo>
                    <a:pt x="23147" y="38172"/>
                  </a:lnTo>
                  <a:lnTo>
                    <a:pt x="21923" y="37726"/>
                  </a:lnTo>
                  <a:lnTo>
                    <a:pt x="20699" y="37226"/>
                  </a:lnTo>
                  <a:lnTo>
                    <a:pt x="19475" y="36669"/>
                  </a:lnTo>
                  <a:lnTo>
                    <a:pt x="18362" y="36113"/>
                  </a:lnTo>
                  <a:lnTo>
                    <a:pt x="17249" y="35501"/>
                  </a:lnTo>
                  <a:lnTo>
                    <a:pt x="16248" y="34889"/>
                  </a:lnTo>
                  <a:lnTo>
                    <a:pt x="15246" y="34221"/>
                  </a:lnTo>
                  <a:lnTo>
                    <a:pt x="14300" y="33553"/>
                  </a:lnTo>
                  <a:lnTo>
                    <a:pt x="13466" y="32830"/>
                  </a:lnTo>
                  <a:lnTo>
                    <a:pt x="12631" y="32107"/>
                  </a:lnTo>
                  <a:lnTo>
                    <a:pt x="11852" y="31328"/>
                  </a:lnTo>
                  <a:lnTo>
                    <a:pt x="11184" y="30549"/>
                  </a:lnTo>
                  <a:lnTo>
                    <a:pt x="10517" y="29770"/>
                  </a:lnTo>
                  <a:lnTo>
                    <a:pt x="9960" y="28935"/>
                  </a:lnTo>
                  <a:lnTo>
                    <a:pt x="9459" y="28100"/>
                  </a:lnTo>
                  <a:lnTo>
                    <a:pt x="9070" y="27266"/>
                  </a:lnTo>
                  <a:lnTo>
                    <a:pt x="8680" y="26375"/>
                  </a:lnTo>
                  <a:lnTo>
                    <a:pt x="8402" y="25485"/>
                  </a:lnTo>
                  <a:lnTo>
                    <a:pt x="8235" y="24595"/>
                  </a:lnTo>
                  <a:lnTo>
                    <a:pt x="8068" y="23649"/>
                  </a:lnTo>
                  <a:lnTo>
                    <a:pt x="8068" y="22703"/>
                  </a:lnTo>
                  <a:lnTo>
                    <a:pt x="8068" y="21813"/>
                  </a:lnTo>
                  <a:lnTo>
                    <a:pt x="8180" y="20867"/>
                  </a:lnTo>
                  <a:lnTo>
                    <a:pt x="8402" y="19976"/>
                  </a:lnTo>
                  <a:lnTo>
                    <a:pt x="8680" y="19086"/>
                  </a:lnTo>
                  <a:lnTo>
                    <a:pt x="9014" y="18196"/>
                  </a:lnTo>
                  <a:lnTo>
                    <a:pt x="9404" y="17361"/>
                  </a:lnTo>
                  <a:lnTo>
                    <a:pt x="9905" y="16527"/>
                  </a:lnTo>
                  <a:lnTo>
                    <a:pt x="10461" y="15692"/>
                  </a:lnTo>
                  <a:lnTo>
                    <a:pt x="11073" y="14913"/>
                  </a:lnTo>
                  <a:lnTo>
                    <a:pt x="11796" y="14134"/>
                  </a:lnTo>
                  <a:lnTo>
                    <a:pt x="12520" y="13355"/>
                  </a:lnTo>
                  <a:lnTo>
                    <a:pt x="13299" y="12632"/>
                  </a:lnTo>
                  <a:lnTo>
                    <a:pt x="14189" y="11908"/>
                  </a:lnTo>
                  <a:lnTo>
                    <a:pt x="15135" y="11241"/>
                  </a:lnTo>
                  <a:lnTo>
                    <a:pt x="16081" y="10573"/>
                  </a:lnTo>
                  <a:lnTo>
                    <a:pt x="17138" y="9961"/>
                  </a:lnTo>
                  <a:lnTo>
                    <a:pt x="18195" y="9349"/>
                  </a:lnTo>
                  <a:lnTo>
                    <a:pt x="19308" y="8792"/>
                  </a:lnTo>
                  <a:lnTo>
                    <a:pt x="20532" y="8236"/>
                  </a:lnTo>
                  <a:lnTo>
                    <a:pt x="21756" y="7735"/>
                  </a:lnTo>
                  <a:lnTo>
                    <a:pt x="22981" y="7234"/>
                  </a:lnTo>
                  <a:lnTo>
                    <a:pt x="24316" y="6845"/>
                  </a:lnTo>
                  <a:lnTo>
                    <a:pt x="25651" y="6400"/>
                  </a:lnTo>
                  <a:lnTo>
                    <a:pt x="27042" y="6066"/>
                  </a:lnTo>
                  <a:lnTo>
                    <a:pt x="28433" y="5732"/>
                  </a:lnTo>
                  <a:lnTo>
                    <a:pt x="29880" y="5454"/>
                  </a:lnTo>
                  <a:lnTo>
                    <a:pt x="31383" y="5231"/>
                  </a:lnTo>
                  <a:lnTo>
                    <a:pt x="32885" y="5009"/>
                  </a:lnTo>
                  <a:lnTo>
                    <a:pt x="34443" y="4842"/>
                  </a:lnTo>
                  <a:lnTo>
                    <a:pt x="36001" y="4730"/>
                  </a:lnTo>
                  <a:lnTo>
                    <a:pt x="37559" y="4675"/>
                  </a:lnTo>
                  <a:lnTo>
                    <a:pt x="39172" y="4619"/>
                  </a:lnTo>
                  <a:close/>
                  <a:moveTo>
                    <a:pt x="37114" y="1"/>
                  </a:moveTo>
                  <a:lnTo>
                    <a:pt x="35111" y="112"/>
                  </a:lnTo>
                  <a:lnTo>
                    <a:pt x="33163" y="223"/>
                  </a:lnTo>
                  <a:lnTo>
                    <a:pt x="31216" y="446"/>
                  </a:lnTo>
                  <a:lnTo>
                    <a:pt x="29324" y="668"/>
                  </a:lnTo>
                  <a:lnTo>
                    <a:pt x="27488" y="1002"/>
                  </a:lnTo>
                  <a:lnTo>
                    <a:pt x="25651" y="1336"/>
                  </a:lnTo>
                  <a:lnTo>
                    <a:pt x="23871" y="1781"/>
                  </a:lnTo>
                  <a:lnTo>
                    <a:pt x="22146" y="2226"/>
                  </a:lnTo>
                  <a:lnTo>
                    <a:pt x="20421" y="2727"/>
                  </a:lnTo>
                  <a:lnTo>
                    <a:pt x="18807" y="3284"/>
                  </a:lnTo>
                  <a:lnTo>
                    <a:pt x="17194" y="3840"/>
                  </a:lnTo>
                  <a:lnTo>
                    <a:pt x="15691" y="4508"/>
                  </a:lnTo>
                  <a:lnTo>
                    <a:pt x="14189" y="5176"/>
                  </a:lnTo>
                  <a:lnTo>
                    <a:pt x="12742" y="5899"/>
                  </a:lnTo>
                  <a:lnTo>
                    <a:pt x="11407" y="6622"/>
                  </a:lnTo>
                  <a:lnTo>
                    <a:pt x="10127" y="7401"/>
                  </a:lnTo>
                  <a:lnTo>
                    <a:pt x="8903" y="8236"/>
                  </a:lnTo>
                  <a:lnTo>
                    <a:pt x="7735" y="9126"/>
                  </a:lnTo>
                  <a:lnTo>
                    <a:pt x="6622" y="10016"/>
                  </a:lnTo>
                  <a:lnTo>
                    <a:pt x="5620" y="10907"/>
                  </a:lnTo>
                  <a:lnTo>
                    <a:pt x="4674" y="11853"/>
                  </a:lnTo>
                  <a:lnTo>
                    <a:pt x="3784" y="12854"/>
                  </a:lnTo>
                  <a:lnTo>
                    <a:pt x="3005" y="13856"/>
                  </a:lnTo>
                  <a:lnTo>
                    <a:pt x="2337" y="14913"/>
                  </a:lnTo>
                  <a:lnTo>
                    <a:pt x="1725" y="15970"/>
                  </a:lnTo>
                  <a:lnTo>
                    <a:pt x="1224" y="17027"/>
                  </a:lnTo>
                  <a:lnTo>
                    <a:pt x="779" y="18140"/>
                  </a:lnTo>
                  <a:lnTo>
                    <a:pt x="445" y="19253"/>
                  </a:lnTo>
                  <a:lnTo>
                    <a:pt x="167" y="20422"/>
                  </a:lnTo>
                  <a:lnTo>
                    <a:pt x="56" y="21534"/>
                  </a:lnTo>
                  <a:lnTo>
                    <a:pt x="0" y="22703"/>
                  </a:lnTo>
                  <a:lnTo>
                    <a:pt x="56" y="23871"/>
                  </a:lnTo>
                  <a:lnTo>
                    <a:pt x="223" y="25040"/>
                  </a:lnTo>
                  <a:lnTo>
                    <a:pt x="445" y="26208"/>
                  </a:lnTo>
                  <a:lnTo>
                    <a:pt x="835" y="27321"/>
                  </a:lnTo>
                  <a:lnTo>
                    <a:pt x="1280" y="28434"/>
                  </a:lnTo>
                  <a:lnTo>
                    <a:pt x="1781" y="29491"/>
                  </a:lnTo>
                  <a:lnTo>
                    <a:pt x="2393" y="30549"/>
                  </a:lnTo>
                  <a:lnTo>
                    <a:pt x="3116" y="31606"/>
                  </a:lnTo>
                  <a:lnTo>
                    <a:pt x="3895" y="32607"/>
                  </a:lnTo>
                  <a:lnTo>
                    <a:pt x="4785" y="33553"/>
                  </a:lnTo>
                  <a:lnTo>
                    <a:pt x="5731" y="34499"/>
                  </a:lnTo>
                  <a:lnTo>
                    <a:pt x="6789" y="35445"/>
                  </a:lnTo>
                  <a:lnTo>
                    <a:pt x="7846" y="36335"/>
                  </a:lnTo>
                  <a:lnTo>
                    <a:pt x="9070" y="37226"/>
                  </a:lnTo>
                  <a:lnTo>
                    <a:pt x="10294" y="38005"/>
                  </a:lnTo>
                  <a:lnTo>
                    <a:pt x="11574" y="38839"/>
                  </a:lnTo>
                  <a:lnTo>
                    <a:pt x="12965" y="39563"/>
                  </a:lnTo>
                  <a:lnTo>
                    <a:pt x="14356" y="40286"/>
                  </a:lnTo>
                  <a:lnTo>
                    <a:pt x="15858" y="40954"/>
                  </a:lnTo>
                  <a:lnTo>
                    <a:pt x="17416" y="41566"/>
                  </a:lnTo>
                  <a:lnTo>
                    <a:pt x="19030" y="42178"/>
                  </a:lnTo>
                  <a:lnTo>
                    <a:pt x="20644" y="42734"/>
                  </a:lnTo>
                  <a:lnTo>
                    <a:pt x="22368" y="43235"/>
                  </a:lnTo>
                  <a:lnTo>
                    <a:pt x="24093" y="43680"/>
                  </a:lnTo>
                  <a:lnTo>
                    <a:pt x="25874" y="44070"/>
                  </a:lnTo>
                  <a:lnTo>
                    <a:pt x="27710" y="44459"/>
                  </a:lnTo>
                  <a:lnTo>
                    <a:pt x="29602" y="44737"/>
                  </a:lnTo>
                  <a:lnTo>
                    <a:pt x="31494" y="45016"/>
                  </a:lnTo>
                  <a:lnTo>
                    <a:pt x="33441" y="45238"/>
                  </a:lnTo>
                  <a:lnTo>
                    <a:pt x="35389" y="45349"/>
                  </a:lnTo>
                  <a:lnTo>
                    <a:pt x="37392" y="45461"/>
                  </a:lnTo>
                  <a:lnTo>
                    <a:pt x="41398" y="45461"/>
                  </a:lnTo>
                  <a:lnTo>
                    <a:pt x="43401" y="45349"/>
                  </a:lnTo>
                  <a:lnTo>
                    <a:pt x="45404" y="45238"/>
                  </a:lnTo>
                  <a:lnTo>
                    <a:pt x="47296" y="45016"/>
                  </a:lnTo>
                  <a:lnTo>
                    <a:pt x="49188" y="44737"/>
                  </a:lnTo>
                  <a:lnTo>
                    <a:pt x="51080" y="44459"/>
                  </a:lnTo>
                  <a:lnTo>
                    <a:pt x="52916" y="44070"/>
                  </a:lnTo>
                  <a:lnTo>
                    <a:pt x="54697" y="43680"/>
                  </a:lnTo>
                  <a:lnTo>
                    <a:pt x="56422" y="43235"/>
                  </a:lnTo>
                  <a:lnTo>
                    <a:pt x="58091" y="42734"/>
                  </a:lnTo>
                  <a:lnTo>
                    <a:pt x="59760" y="42178"/>
                  </a:lnTo>
                  <a:lnTo>
                    <a:pt x="61318" y="41566"/>
                  </a:lnTo>
                  <a:lnTo>
                    <a:pt x="62876" y="40954"/>
                  </a:lnTo>
                  <a:lnTo>
                    <a:pt x="64378" y="40286"/>
                  </a:lnTo>
                  <a:lnTo>
                    <a:pt x="65770" y="39563"/>
                  </a:lnTo>
                  <a:lnTo>
                    <a:pt x="67161" y="38839"/>
                  </a:lnTo>
                  <a:lnTo>
                    <a:pt x="68440" y="38005"/>
                  </a:lnTo>
                  <a:lnTo>
                    <a:pt x="69665" y="37226"/>
                  </a:lnTo>
                  <a:lnTo>
                    <a:pt x="70833" y="36335"/>
                  </a:lnTo>
                  <a:lnTo>
                    <a:pt x="71890" y="35445"/>
                  </a:lnTo>
                  <a:lnTo>
                    <a:pt x="72947" y="34499"/>
                  </a:lnTo>
                  <a:lnTo>
                    <a:pt x="73893" y="33553"/>
                  </a:lnTo>
                  <a:lnTo>
                    <a:pt x="74728" y="32607"/>
                  </a:lnTo>
                  <a:lnTo>
                    <a:pt x="75507" y="31606"/>
                  </a:lnTo>
                  <a:lnTo>
                    <a:pt x="76230" y="30549"/>
                  </a:lnTo>
                  <a:lnTo>
                    <a:pt x="76842" y="29491"/>
                  </a:lnTo>
                  <a:lnTo>
                    <a:pt x="77343" y="28434"/>
                  </a:lnTo>
                  <a:lnTo>
                    <a:pt x="77788" y="27321"/>
                  </a:lnTo>
                  <a:lnTo>
                    <a:pt x="78122" y="26208"/>
                  </a:lnTo>
                  <a:lnTo>
                    <a:pt x="78345" y="25040"/>
                  </a:lnTo>
                  <a:lnTo>
                    <a:pt x="78512" y="23871"/>
                  </a:lnTo>
                  <a:lnTo>
                    <a:pt x="78567" y="22703"/>
                  </a:lnTo>
                  <a:lnTo>
                    <a:pt x="78512" y="21534"/>
                  </a:lnTo>
                  <a:lnTo>
                    <a:pt x="78345" y="20422"/>
                  </a:lnTo>
                  <a:lnTo>
                    <a:pt x="78067" y="19253"/>
                  </a:lnTo>
                  <a:lnTo>
                    <a:pt x="77733" y="18140"/>
                  </a:lnTo>
                  <a:lnTo>
                    <a:pt x="77288" y="17027"/>
                  </a:lnTo>
                  <a:lnTo>
                    <a:pt x="76731" y="15970"/>
                  </a:lnTo>
                  <a:lnTo>
                    <a:pt x="76119" y="14913"/>
                  </a:lnTo>
                  <a:lnTo>
                    <a:pt x="75396" y="13856"/>
                  </a:lnTo>
                  <a:lnTo>
                    <a:pt x="74617" y="12854"/>
                  </a:lnTo>
                  <a:lnTo>
                    <a:pt x="73726" y="11853"/>
                  </a:lnTo>
                  <a:lnTo>
                    <a:pt x="72780" y="10907"/>
                  </a:lnTo>
                  <a:lnTo>
                    <a:pt x="71779" y="10016"/>
                  </a:lnTo>
                  <a:lnTo>
                    <a:pt x="70666" y="9126"/>
                  </a:lnTo>
                  <a:lnTo>
                    <a:pt x="69498" y="8236"/>
                  </a:lnTo>
                  <a:lnTo>
                    <a:pt x="68273" y="7401"/>
                  </a:lnTo>
                  <a:lnTo>
                    <a:pt x="66938" y="6622"/>
                  </a:lnTo>
                  <a:lnTo>
                    <a:pt x="65603" y="5899"/>
                  </a:lnTo>
                  <a:lnTo>
                    <a:pt x="64156" y="5176"/>
                  </a:lnTo>
                  <a:lnTo>
                    <a:pt x="62654" y="4508"/>
                  </a:lnTo>
                  <a:lnTo>
                    <a:pt x="61151" y="3840"/>
                  </a:lnTo>
                  <a:lnTo>
                    <a:pt x="59538" y="3284"/>
                  </a:lnTo>
                  <a:lnTo>
                    <a:pt x="57868" y="2727"/>
                  </a:lnTo>
                  <a:lnTo>
                    <a:pt x="56199" y="2226"/>
                  </a:lnTo>
                  <a:lnTo>
                    <a:pt x="54419" y="1781"/>
                  </a:lnTo>
                  <a:lnTo>
                    <a:pt x="52638" y="1336"/>
                  </a:lnTo>
                  <a:lnTo>
                    <a:pt x="50857" y="1002"/>
                  </a:lnTo>
                  <a:lnTo>
                    <a:pt x="48966" y="668"/>
                  </a:lnTo>
                  <a:lnTo>
                    <a:pt x="47074" y="446"/>
                  </a:lnTo>
                  <a:lnTo>
                    <a:pt x="45126" y="223"/>
                  </a:lnTo>
                  <a:lnTo>
                    <a:pt x="43179" y="112"/>
                  </a:lnTo>
                  <a:lnTo>
                    <a:pt x="41176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2294;p60">
              <a:extLst>
                <a:ext uri="{FF2B5EF4-FFF2-40B4-BE49-F238E27FC236}">
                  <a16:creationId xmlns:a16="http://schemas.microsoft.com/office/drawing/2014/main" id="{FB6EDFF7-24DF-EF41-C810-067A9295DA4B}"/>
                </a:ext>
              </a:extLst>
            </p:cNvPr>
            <p:cNvSpPr/>
            <p:nvPr/>
          </p:nvSpPr>
          <p:spPr>
            <a:xfrm>
              <a:off x="1349200" y="2886700"/>
              <a:ext cx="1560800" cy="904225"/>
            </a:xfrm>
            <a:custGeom>
              <a:avLst/>
              <a:gdLst/>
              <a:ahLst/>
              <a:cxnLst/>
              <a:rect l="l" t="t" r="r" b="b"/>
              <a:pathLst>
                <a:path w="62432" h="36169" extrusionOk="0">
                  <a:moveTo>
                    <a:pt x="31105" y="0"/>
                  </a:moveTo>
                  <a:lnTo>
                    <a:pt x="29491" y="56"/>
                  </a:lnTo>
                  <a:lnTo>
                    <a:pt x="27933" y="112"/>
                  </a:lnTo>
                  <a:lnTo>
                    <a:pt x="26375" y="223"/>
                  </a:lnTo>
                  <a:lnTo>
                    <a:pt x="24817" y="390"/>
                  </a:lnTo>
                  <a:lnTo>
                    <a:pt x="23315" y="557"/>
                  </a:lnTo>
                  <a:lnTo>
                    <a:pt x="21868" y="835"/>
                  </a:lnTo>
                  <a:lnTo>
                    <a:pt x="20421" y="1113"/>
                  </a:lnTo>
                  <a:lnTo>
                    <a:pt x="18975" y="1447"/>
                  </a:lnTo>
                  <a:lnTo>
                    <a:pt x="17584" y="1781"/>
                  </a:lnTo>
                  <a:lnTo>
                    <a:pt x="16248" y="2171"/>
                  </a:lnTo>
                  <a:lnTo>
                    <a:pt x="14968" y="2616"/>
                  </a:lnTo>
                  <a:lnTo>
                    <a:pt x="13689" y="3116"/>
                  </a:lnTo>
                  <a:lnTo>
                    <a:pt x="12464" y="3617"/>
                  </a:lnTo>
                  <a:lnTo>
                    <a:pt x="11296" y="4118"/>
                  </a:lnTo>
                  <a:lnTo>
                    <a:pt x="10183" y="4730"/>
                  </a:lnTo>
                  <a:lnTo>
                    <a:pt x="9070" y="5287"/>
                  </a:lnTo>
                  <a:lnTo>
                    <a:pt x="8069" y="5954"/>
                  </a:lnTo>
                  <a:lnTo>
                    <a:pt x="7067" y="6566"/>
                  </a:lnTo>
                  <a:lnTo>
                    <a:pt x="6121" y="7290"/>
                  </a:lnTo>
                  <a:lnTo>
                    <a:pt x="5287" y="8013"/>
                  </a:lnTo>
                  <a:lnTo>
                    <a:pt x="4452" y="8736"/>
                  </a:lnTo>
                  <a:lnTo>
                    <a:pt x="3729" y="9460"/>
                  </a:lnTo>
                  <a:lnTo>
                    <a:pt x="3061" y="10239"/>
                  </a:lnTo>
                  <a:lnTo>
                    <a:pt x="2393" y="11073"/>
                  </a:lnTo>
                  <a:lnTo>
                    <a:pt x="1837" y="11852"/>
                  </a:lnTo>
                  <a:lnTo>
                    <a:pt x="1392" y="12743"/>
                  </a:lnTo>
                  <a:lnTo>
                    <a:pt x="946" y="13577"/>
                  </a:lnTo>
                  <a:lnTo>
                    <a:pt x="613" y="14468"/>
                  </a:lnTo>
                  <a:lnTo>
                    <a:pt x="334" y="15358"/>
                  </a:lnTo>
                  <a:lnTo>
                    <a:pt x="167" y="16248"/>
                  </a:lnTo>
                  <a:lnTo>
                    <a:pt x="56" y="17138"/>
                  </a:lnTo>
                  <a:lnTo>
                    <a:pt x="1" y="18084"/>
                  </a:lnTo>
                  <a:lnTo>
                    <a:pt x="56" y="19030"/>
                  </a:lnTo>
                  <a:lnTo>
                    <a:pt x="167" y="19921"/>
                  </a:lnTo>
                  <a:lnTo>
                    <a:pt x="390" y="20866"/>
                  </a:lnTo>
                  <a:lnTo>
                    <a:pt x="668" y="21757"/>
                  </a:lnTo>
                  <a:lnTo>
                    <a:pt x="1002" y="22591"/>
                  </a:lnTo>
                  <a:lnTo>
                    <a:pt x="1447" y="23482"/>
                  </a:lnTo>
                  <a:lnTo>
                    <a:pt x="1948" y="24316"/>
                  </a:lnTo>
                  <a:lnTo>
                    <a:pt x="2504" y="25151"/>
                  </a:lnTo>
                  <a:lnTo>
                    <a:pt x="3117" y="25930"/>
                  </a:lnTo>
                  <a:lnTo>
                    <a:pt x="3840" y="26709"/>
                  </a:lnTo>
                  <a:lnTo>
                    <a:pt x="4563" y="27488"/>
                  </a:lnTo>
                  <a:lnTo>
                    <a:pt x="5398" y="28211"/>
                  </a:lnTo>
                  <a:lnTo>
                    <a:pt x="6288" y="28935"/>
                  </a:lnTo>
                  <a:lnTo>
                    <a:pt x="7178" y="29602"/>
                  </a:lnTo>
                  <a:lnTo>
                    <a:pt x="8180" y="30270"/>
                  </a:lnTo>
                  <a:lnTo>
                    <a:pt x="9237" y="30882"/>
                  </a:lnTo>
                  <a:lnTo>
                    <a:pt x="10294" y="31494"/>
                  </a:lnTo>
                  <a:lnTo>
                    <a:pt x="11463" y="32051"/>
                  </a:lnTo>
                  <a:lnTo>
                    <a:pt x="12631" y="32607"/>
                  </a:lnTo>
                  <a:lnTo>
                    <a:pt x="13856" y="33108"/>
                  </a:lnTo>
                  <a:lnTo>
                    <a:pt x="15135" y="33553"/>
                  </a:lnTo>
                  <a:lnTo>
                    <a:pt x="16415" y="33998"/>
                  </a:lnTo>
                  <a:lnTo>
                    <a:pt x="17806" y="34388"/>
                  </a:lnTo>
                  <a:lnTo>
                    <a:pt x="19142" y="34777"/>
                  </a:lnTo>
                  <a:lnTo>
                    <a:pt x="20588" y="35055"/>
                  </a:lnTo>
                  <a:lnTo>
                    <a:pt x="22035" y="35389"/>
                  </a:lnTo>
                  <a:lnTo>
                    <a:pt x="23537" y="35612"/>
                  </a:lnTo>
                  <a:lnTo>
                    <a:pt x="25040" y="35834"/>
                  </a:lnTo>
                  <a:lnTo>
                    <a:pt x="26542" y="35946"/>
                  </a:lnTo>
                  <a:lnTo>
                    <a:pt x="28156" y="36113"/>
                  </a:lnTo>
                  <a:lnTo>
                    <a:pt x="29714" y="36168"/>
                  </a:lnTo>
                  <a:lnTo>
                    <a:pt x="32941" y="36168"/>
                  </a:lnTo>
                  <a:lnTo>
                    <a:pt x="34499" y="36113"/>
                  </a:lnTo>
                  <a:lnTo>
                    <a:pt x="36057" y="35946"/>
                  </a:lnTo>
                  <a:lnTo>
                    <a:pt x="37615" y="35834"/>
                  </a:lnTo>
                  <a:lnTo>
                    <a:pt x="39117" y="35612"/>
                  </a:lnTo>
                  <a:lnTo>
                    <a:pt x="40620" y="35389"/>
                  </a:lnTo>
                  <a:lnTo>
                    <a:pt x="42066" y="35055"/>
                  </a:lnTo>
                  <a:lnTo>
                    <a:pt x="43457" y="34777"/>
                  </a:lnTo>
                  <a:lnTo>
                    <a:pt x="44848" y="34388"/>
                  </a:lnTo>
                  <a:lnTo>
                    <a:pt x="46184" y="33998"/>
                  </a:lnTo>
                  <a:lnTo>
                    <a:pt x="47519" y="33553"/>
                  </a:lnTo>
                  <a:lnTo>
                    <a:pt x="48743" y="33108"/>
                  </a:lnTo>
                  <a:lnTo>
                    <a:pt x="49967" y="32607"/>
                  </a:lnTo>
                  <a:lnTo>
                    <a:pt x="51136" y="32051"/>
                  </a:lnTo>
                  <a:lnTo>
                    <a:pt x="52304" y="31494"/>
                  </a:lnTo>
                  <a:lnTo>
                    <a:pt x="53362" y="30882"/>
                  </a:lnTo>
                  <a:lnTo>
                    <a:pt x="54419" y="30270"/>
                  </a:lnTo>
                  <a:lnTo>
                    <a:pt x="55365" y="29602"/>
                  </a:lnTo>
                  <a:lnTo>
                    <a:pt x="56311" y="28935"/>
                  </a:lnTo>
                  <a:lnTo>
                    <a:pt x="57145" y="28211"/>
                  </a:lnTo>
                  <a:lnTo>
                    <a:pt x="57980" y="27488"/>
                  </a:lnTo>
                  <a:lnTo>
                    <a:pt x="58703" y="26709"/>
                  </a:lnTo>
                  <a:lnTo>
                    <a:pt x="59427" y="25930"/>
                  </a:lnTo>
                  <a:lnTo>
                    <a:pt x="60039" y="25151"/>
                  </a:lnTo>
                  <a:lnTo>
                    <a:pt x="60595" y="24316"/>
                  </a:lnTo>
                  <a:lnTo>
                    <a:pt x="61096" y="23482"/>
                  </a:lnTo>
                  <a:lnTo>
                    <a:pt x="61485" y="22591"/>
                  </a:lnTo>
                  <a:lnTo>
                    <a:pt x="61819" y="21757"/>
                  </a:lnTo>
                  <a:lnTo>
                    <a:pt x="62098" y="20866"/>
                  </a:lnTo>
                  <a:lnTo>
                    <a:pt x="62264" y="19921"/>
                  </a:lnTo>
                  <a:lnTo>
                    <a:pt x="62431" y="19030"/>
                  </a:lnTo>
                  <a:lnTo>
                    <a:pt x="62431" y="18084"/>
                  </a:lnTo>
                  <a:lnTo>
                    <a:pt x="62376" y="17138"/>
                  </a:lnTo>
                  <a:lnTo>
                    <a:pt x="62264" y="16248"/>
                  </a:lnTo>
                  <a:lnTo>
                    <a:pt x="62042" y="15358"/>
                  </a:lnTo>
                  <a:lnTo>
                    <a:pt x="61764" y="14468"/>
                  </a:lnTo>
                  <a:lnTo>
                    <a:pt x="61430" y="13577"/>
                  </a:lnTo>
                  <a:lnTo>
                    <a:pt x="60985" y="12743"/>
                  </a:lnTo>
                  <a:lnTo>
                    <a:pt x="60540" y="11852"/>
                  </a:lnTo>
                  <a:lnTo>
                    <a:pt x="59927" y="11073"/>
                  </a:lnTo>
                  <a:lnTo>
                    <a:pt x="59315" y="10239"/>
                  </a:lnTo>
                  <a:lnTo>
                    <a:pt x="58648" y="9460"/>
                  </a:lnTo>
                  <a:lnTo>
                    <a:pt x="57869" y="8736"/>
                  </a:lnTo>
                  <a:lnTo>
                    <a:pt x="57034" y="7957"/>
                  </a:lnTo>
                  <a:lnTo>
                    <a:pt x="56199" y="7290"/>
                  </a:lnTo>
                  <a:lnTo>
                    <a:pt x="55253" y="6566"/>
                  </a:lnTo>
                  <a:lnTo>
                    <a:pt x="54252" y="5954"/>
                  </a:lnTo>
                  <a:lnTo>
                    <a:pt x="53250" y="5287"/>
                  </a:lnTo>
                  <a:lnTo>
                    <a:pt x="52138" y="4730"/>
                  </a:lnTo>
                  <a:lnTo>
                    <a:pt x="51025" y="4118"/>
                  </a:lnTo>
                  <a:lnTo>
                    <a:pt x="49801" y="3617"/>
                  </a:lnTo>
                  <a:lnTo>
                    <a:pt x="48576" y="3116"/>
                  </a:lnTo>
                  <a:lnTo>
                    <a:pt x="47297" y="2616"/>
                  </a:lnTo>
                  <a:lnTo>
                    <a:pt x="46017" y="2171"/>
                  </a:lnTo>
                  <a:lnTo>
                    <a:pt x="44681" y="1781"/>
                  </a:lnTo>
                  <a:lnTo>
                    <a:pt x="43290" y="1447"/>
                  </a:lnTo>
                  <a:lnTo>
                    <a:pt x="41844" y="1113"/>
                  </a:lnTo>
                  <a:lnTo>
                    <a:pt x="40397" y="835"/>
                  </a:lnTo>
                  <a:lnTo>
                    <a:pt x="38950" y="557"/>
                  </a:lnTo>
                  <a:lnTo>
                    <a:pt x="37392" y="390"/>
                  </a:lnTo>
                  <a:lnTo>
                    <a:pt x="35890" y="223"/>
                  </a:lnTo>
                  <a:lnTo>
                    <a:pt x="34332" y="112"/>
                  </a:lnTo>
                  <a:lnTo>
                    <a:pt x="32718" y="56"/>
                  </a:lnTo>
                  <a:lnTo>
                    <a:pt x="3110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2295;p60">
              <a:extLst>
                <a:ext uri="{FF2B5EF4-FFF2-40B4-BE49-F238E27FC236}">
                  <a16:creationId xmlns:a16="http://schemas.microsoft.com/office/drawing/2014/main" id="{85DF15F4-CB5F-6D41-795F-5CD634B3E3CD}"/>
                </a:ext>
              </a:extLst>
            </p:cNvPr>
            <p:cNvSpPr/>
            <p:nvPr/>
          </p:nvSpPr>
          <p:spPr>
            <a:xfrm>
              <a:off x="1147500" y="3338800"/>
              <a:ext cx="1964200" cy="710850"/>
            </a:xfrm>
            <a:custGeom>
              <a:avLst/>
              <a:gdLst/>
              <a:ahLst/>
              <a:cxnLst/>
              <a:rect l="l" t="t" r="r" b="b"/>
              <a:pathLst>
                <a:path w="78568" h="28434" extrusionOk="0">
                  <a:moveTo>
                    <a:pt x="0" y="0"/>
                  </a:moveTo>
                  <a:lnTo>
                    <a:pt x="0" y="5676"/>
                  </a:lnTo>
                  <a:lnTo>
                    <a:pt x="56" y="6844"/>
                  </a:lnTo>
                  <a:lnTo>
                    <a:pt x="223" y="8013"/>
                  </a:lnTo>
                  <a:lnTo>
                    <a:pt x="446" y="9126"/>
                  </a:lnTo>
                  <a:lnTo>
                    <a:pt x="835" y="10239"/>
                  </a:lnTo>
                  <a:lnTo>
                    <a:pt x="1280" y="11351"/>
                  </a:lnTo>
                  <a:lnTo>
                    <a:pt x="1781" y="12409"/>
                  </a:lnTo>
                  <a:lnTo>
                    <a:pt x="2449" y="13466"/>
                  </a:lnTo>
                  <a:lnTo>
                    <a:pt x="3116" y="14523"/>
                  </a:lnTo>
                  <a:lnTo>
                    <a:pt x="3951" y="15525"/>
                  </a:lnTo>
                  <a:lnTo>
                    <a:pt x="4786" y="16526"/>
                  </a:lnTo>
                  <a:lnTo>
                    <a:pt x="5732" y="17472"/>
                  </a:lnTo>
                  <a:lnTo>
                    <a:pt x="6789" y="18362"/>
                  </a:lnTo>
                  <a:lnTo>
                    <a:pt x="7902" y="19253"/>
                  </a:lnTo>
                  <a:lnTo>
                    <a:pt x="9070" y="20143"/>
                  </a:lnTo>
                  <a:lnTo>
                    <a:pt x="10294" y="20978"/>
                  </a:lnTo>
                  <a:lnTo>
                    <a:pt x="11574" y="21757"/>
                  </a:lnTo>
                  <a:lnTo>
                    <a:pt x="12965" y="22480"/>
                  </a:lnTo>
                  <a:lnTo>
                    <a:pt x="14412" y="23203"/>
                  </a:lnTo>
                  <a:lnTo>
                    <a:pt x="15859" y="23871"/>
                  </a:lnTo>
                  <a:lnTo>
                    <a:pt x="17416" y="24539"/>
                  </a:lnTo>
                  <a:lnTo>
                    <a:pt x="19030" y="25151"/>
                  </a:lnTo>
                  <a:lnTo>
                    <a:pt x="20644" y="25652"/>
                  </a:lnTo>
                  <a:lnTo>
                    <a:pt x="22369" y="26152"/>
                  </a:lnTo>
                  <a:lnTo>
                    <a:pt x="24094" y="26653"/>
                  </a:lnTo>
                  <a:lnTo>
                    <a:pt x="25874" y="27043"/>
                  </a:lnTo>
                  <a:lnTo>
                    <a:pt x="27710" y="27376"/>
                  </a:lnTo>
                  <a:lnTo>
                    <a:pt x="29602" y="27710"/>
                  </a:lnTo>
                  <a:lnTo>
                    <a:pt x="31494" y="27933"/>
                  </a:lnTo>
                  <a:lnTo>
                    <a:pt x="33442" y="28155"/>
                  </a:lnTo>
                  <a:lnTo>
                    <a:pt x="35389" y="28322"/>
                  </a:lnTo>
                  <a:lnTo>
                    <a:pt x="37392" y="28378"/>
                  </a:lnTo>
                  <a:lnTo>
                    <a:pt x="39395" y="28434"/>
                  </a:lnTo>
                  <a:lnTo>
                    <a:pt x="41398" y="28378"/>
                  </a:lnTo>
                  <a:lnTo>
                    <a:pt x="43402" y="28322"/>
                  </a:lnTo>
                  <a:lnTo>
                    <a:pt x="45405" y="28155"/>
                  </a:lnTo>
                  <a:lnTo>
                    <a:pt x="47296" y="27933"/>
                  </a:lnTo>
                  <a:lnTo>
                    <a:pt x="49188" y="27710"/>
                  </a:lnTo>
                  <a:lnTo>
                    <a:pt x="51080" y="27376"/>
                  </a:lnTo>
                  <a:lnTo>
                    <a:pt x="52916" y="27043"/>
                  </a:lnTo>
                  <a:lnTo>
                    <a:pt x="54697" y="26653"/>
                  </a:lnTo>
                  <a:lnTo>
                    <a:pt x="56422" y="26152"/>
                  </a:lnTo>
                  <a:lnTo>
                    <a:pt x="58091" y="25652"/>
                  </a:lnTo>
                  <a:lnTo>
                    <a:pt x="59760" y="25151"/>
                  </a:lnTo>
                  <a:lnTo>
                    <a:pt x="61318" y="24539"/>
                  </a:lnTo>
                  <a:lnTo>
                    <a:pt x="62876" y="23871"/>
                  </a:lnTo>
                  <a:lnTo>
                    <a:pt x="64379" y="23203"/>
                  </a:lnTo>
                  <a:lnTo>
                    <a:pt x="65770" y="22480"/>
                  </a:lnTo>
                  <a:lnTo>
                    <a:pt x="67161" y="21757"/>
                  </a:lnTo>
                  <a:lnTo>
                    <a:pt x="68441" y="20978"/>
                  </a:lnTo>
                  <a:lnTo>
                    <a:pt x="69665" y="20143"/>
                  </a:lnTo>
                  <a:lnTo>
                    <a:pt x="70833" y="19253"/>
                  </a:lnTo>
                  <a:lnTo>
                    <a:pt x="71890" y="18362"/>
                  </a:lnTo>
                  <a:lnTo>
                    <a:pt x="72948" y="17472"/>
                  </a:lnTo>
                  <a:lnTo>
                    <a:pt x="73894" y="16526"/>
                  </a:lnTo>
                  <a:lnTo>
                    <a:pt x="74728" y="15525"/>
                  </a:lnTo>
                  <a:lnTo>
                    <a:pt x="75507" y="14523"/>
                  </a:lnTo>
                  <a:lnTo>
                    <a:pt x="76231" y="13466"/>
                  </a:lnTo>
                  <a:lnTo>
                    <a:pt x="76843" y="12409"/>
                  </a:lnTo>
                  <a:lnTo>
                    <a:pt x="77343" y="11351"/>
                  </a:lnTo>
                  <a:lnTo>
                    <a:pt x="77789" y="10239"/>
                  </a:lnTo>
                  <a:lnTo>
                    <a:pt x="78122" y="9126"/>
                  </a:lnTo>
                  <a:lnTo>
                    <a:pt x="78345" y="8013"/>
                  </a:lnTo>
                  <a:lnTo>
                    <a:pt x="78512" y="6844"/>
                  </a:lnTo>
                  <a:lnTo>
                    <a:pt x="78568" y="5676"/>
                  </a:lnTo>
                  <a:lnTo>
                    <a:pt x="78568" y="0"/>
                  </a:lnTo>
                  <a:lnTo>
                    <a:pt x="78512" y="1169"/>
                  </a:lnTo>
                  <a:lnTo>
                    <a:pt x="78401" y="2337"/>
                  </a:lnTo>
                  <a:lnTo>
                    <a:pt x="78122" y="3450"/>
                  </a:lnTo>
                  <a:lnTo>
                    <a:pt x="77789" y="4619"/>
                  </a:lnTo>
                  <a:lnTo>
                    <a:pt x="77343" y="5676"/>
                  </a:lnTo>
                  <a:lnTo>
                    <a:pt x="76843" y="6789"/>
                  </a:lnTo>
                  <a:lnTo>
                    <a:pt x="76231" y="7846"/>
                  </a:lnTo>
                  <a:lnTo>
                    <a:pt x="75507" y="8848"/>
                  </a:lnTo>
                  <a:lnTo>
                    <a:pt x="74728" y="9849"/>
                  </a:lnTo>
                  <a:lnTo>
                    <a:pt x="73894" y="10851"/>
                  </a:lnTo>
                  <a:lnTo>
                    <a:pt x="72948" y="11797"/>
                  </a:lnTo>
                  <a:lnTo>
                    <a:pt x="71946" y="12742"/>
                  </a:lnTo>
                  <a:lnTo>
                    <a:pt x="70833" y="13633"/>
                  </a:lnTo>
                  <a:lnTo>
                    <a:pt x="69665" y="14467"/>
                  </a:lnTo>
                  <a:lnTo>
                    <a:pt x="68441" y="15302"/>
                  </a:lnTo>
                  <a:lnTo>
                    <a:pt x="67161" y="16081"/>
                  </a:lnTo>
                  <a:lnTo>
                    <a:pt x="65770" y="16860"/>
                  </a:lnTo>
                  <a:lnTo>
                    <a:pt x="64379" y="17583"/>
                  </a:lnTo>
                  <a:lnTo>
                    <a:pt x="62876" y="18251"/>
                  </a:lnTo>
                  <a:lnTo>
                    <a:pt x="61374" y="18863"/>
                  </a:lnTo>
                  <a:lnTo>
                    <a:pt x="59760" y="19475"/>
                  </a:lnTo>
                  <a:lnTo>
                    <a:pt x="58147" y="20032"/>
                  </a:lnTo>
                  <a:lnTo>
                    <a:pt x="56422" y="20532"/>
                  </a:lnTo>
                  <a:lnTo>
                    <a:pt x="54697" y="20978"/>
                  </a:lnTo>
                  <a:lnTo>
                    <a:pt x="52916" y="21367"/>
                  </a:lnTo>
                  <a:lnTo>
                    <a:pt x="51080" y="21757"/>
                  </a:lnTo>
                  <a:lnTo>
                    <a:pt x="49244" y="22035"/>
                  </a:lnTo>
                  <a:lnTo>
                    <a:pt x="47352" y="22313"/>
                  </a:lnTo>
                  <a:lnTo>
                    <a:pt x="45405" y="22480"/>
                  </a:lnTo>
                  <a:lnTo>
                    <a:pt x="43457" y="22647"/>
                  </a:lnTo>
                  <a:lnTo>
                    <a:pt x="41454" y="22758"/>
                  </a:lnTo>
                  <a:lnTo>
                    <a:pt x="37392" y="22758"/>
                  </a:lnTo>
                  <a:lnTo>
                    <a:pt x="35389" y="22647"/>
                  </a:lnTo>
                  <a:lnTo>
                    <a:pt x="33442" y="22480"/>
                  </a:lnTo>
                  <a:lnTo>
                    <a:pt x="31494" y="22313"/>
                  </a:lnTo>
                  <a:lnTo>
                    <a:pt x="29602" y="22035"/>
                  </a:lnTo>
                  <a:lnTo>
                    <a:pt x="27710" y="21757"/>
                  </a:lnTo>
                  <a:lnTo>
                    <a:pt x="25930" y="21367"/>
                  </a:lnTo>
                  <a:lnTo>
                    <a:pt x="24094" y="20978"/>
                  </a:lnTo>
                  <a:lnTo>
                    <a:pt x="22369" y="20532"/>
                  </a:lnTo>
                  <a:lnTo>
                    <a:pt x="20699" y="20032"/>
                  </a:lnTo>
                  <a:lnTo>
                    <a:pt x="19030" y="19475"/>
                  </a:lnTo>
                  <a:lnTo>
                    <a:pt x="17416" y="18863"/>
                  </a:lnTo>
                  <a:lnTo>
                    <a:pt x="15914" y="18251"/>
                  </a:lnTo>
                  <a:lnTo>
                    <a:pt x="14412" y="17583"/>
                  </a:lnTo>
                  <a:lnTo>
                    <a:pt x="12965" y="16860"/>
                  </a:lnTo>
                  <a:lnTo>
                    <a:pt x="11630" y="16081"/>
                  </a:lnTo>
                  <a:lnTo>
                    <a:pt x="10294" y="15302"/>
                  </a:lnTo>
                  <a:lnTo>
                    <a:pt x="9070" y="14467"/>
                  </a:lnTo>
                  <a:lnTo>
                    <a:pt x="7902" y="13633"/>
                  </a:lnTo>
                  <a:lnTo>
                    <a:pt x="6789" y="12742"/>
                  </a:lnTo>
                  <a:lnTo>
                    <a:pt x="5787" y="11797"/>
                  </a:lnTo>
                  <a:lnTo>
                    <a:pt x="4786" y="10851"/>
                  </a:lnTo>
                  <a:lnTo>
                    <a:pt x="3951" y="9849"/>
                  </a:lnTo>
                  <a:lnTo>
                    <a:pt x="3172" y="8848"/>
                  </a:lnTo>
                  <a:lnTo>
                    <a:pt x="2449" y="7846"/>
                  </a:lnTo>
                  <a:lnTo>
                    <a:pt x="1837" y="6789"/>
                  </a:lnTo>
                  <a:lnTo>
                    <a:pt x="1280" y="5676"/>
                  </a:lnTo>
                  <a:lnTo>
                    <a:pt x="835" y="4619"/>
                  </a:lnTo>
                  <a:lnTo>
                    <a:pt x="501" y="3450"/>
                  </a:lnTo>
                  <a:lnTo>
                    <a:pt x="223" y="2337"/>
                  </a:lnTo>
                  <a:lnTo>
                    <a:pt x="56" y="11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9D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2296;p60">
              <a:extLst>
                <a:ext uri="{FF2B5EF4-FFF2-40B4-BE49-F238E27FC236}">
                  <a16:creationId xmlns:a16="http://schemas.microsoft.com/office/drawing/2014/main" id="{ED509470-4614-9B70-33D8-F00B6E50D1C4}"/>
                </a:ext>
              </a:extLst>
            </p:cNvPr>
            <p:cNvSpPr/>
            <p:nvPr/>
          </p:nvSpPr>
          <p:spPr>
            <a:xfrm>
              <a:off x="1147500" y="2769850"/>
              <a:ext cx="1964200" cy="1137925"/>
            </a:xfrm>
            <a:custGeom>
              <a:avLst/>
              <a:gdLst/>
              <a:ahLst/>
              <a:cxnLst/>
              <a:rect l="l" t="t" r="r" b="b"/>
              <a:pathLst>
                <a:path w="78568" h="45517" extrusionOk="0">
                  <a:moveTo>
                    <a:pt x="39173" y="4674"/>
                  </a:moveTo>
                  <a:lnTo>
                    <a:pt x="40786" y="4730"/>
                  </a:lnTo>
                  <a:lnTo>
                    <a:pt x="42400" y="4786"/>
                  </a:lnTo>
                  <a:lnTo>
                    <a:pt x="43958" y="4897"/>
                  </a:lnTo>
                  <a:lnTo>
                    <a:pt x="45460" y="5064"/>
                  </a:lnTo>
                  <a:lnTo>
                    <a:pt x="47018" y="5231"/>
                  </a:lnTo>
                  <a:lnTo>
                    <a:pt x="48465" y="5509"/>
                  </a:lnTo>
                  <a:lnTo>
                    <a:pt x="49912" y="5787"/>
                  </a:lnTo>
                  <a:lnTo>
                    <a:pt x="51358" y="6121"/>
                  </a:lnTo>
                  <a:lnTo>
                    <a:pt x="52749" y="6455"/>
                  </a:lnTo>
                  <a:lnTo>
                    <a:pt x="54085" y="6845"/>
                  </a:lnTo>
                  <a:lnTo>
                    <a:pt x="55365" y="7290"/>
                  </a:lnTo>
                  <a:lnTo>
                    <a:pt x="56644" y="7790"/>
                  </a:lnTo>
                  <a:lnTo>
                    <a:pt x="57869" y="8291"/>
                  </a:lnTo>
                  <a:lnTo>
                    <a:pt x="59093" y="8792"/>
                  </a:lnTo>
                  <a:lnTo>
                    <a:pt x="60206" y="9404"/>
                  </a:lnTo>
                  <a:lnTo>
                    <a:pt x="61318" y="9961"/>
                  </a:lnTo>
                  <a:lnTo>
                    <a:pt x="62320" y="10628"/>
                  </a:lnTo>
                  <a:lnTo>
                    <a:pt x="63321" y="11240"/>
                  </a:lnTo>
                  <a:lnTo>
                    <a:pt x="64267" y="11964"/>
                  </a:lnTo>
                  <a:lnTo>
                    <a:pt x="65102" y="12631"/>
                  </a:lnTo>
                  <a:lnTo>
                    <a:pt x="65937" y="13410"/>
                  </a:lnTo>
                  <a:lnTo>
                    <a:pt x="66716" y="14134"/>
                  </a:lnTo>
                  <a:lnTo>
                    <a:pt x="67383" y="14913"/>
                  </a:lnTo>
                  <a:lnTo>
                    <a:pt x="67995" y="15747"/>
                  </a:lnTo>
                  <a:lnTo>
                    <a:pt x="68608" y="16526"/>
                  </a:lnTo>
                  <a:lnTo>
                    <a:pt x="69053" y="17417"/>
                  </a:lnTo>
                  <a:lnTo>
                    <a:pt x="69498" y="18251"/>
                  </a:lnTo>
                  <a:lnTo>
                    <a:pt x="69832" y="19142"/>
                  </a:lnTo>
                  <a:lnTo>
                    <a:pt x="70110" y="20032"/>
                  </a:lnTo>
                  <a:lnTo>
                    <a:pt x="70332" y="20922"/>
                  </a:lnTo>
                  <a:lnTo>
                    <a:pt x="70444" y="21812"/>
                  </a:lnTo>
                  <a:lnTo>
                    <a:pt x="70499" y="22758"/>
                  </a:lnTo>
                  <a:lnTo>
                    <a:pt x="70499" y="23704"/>
                  </a:lnTo>
                  <a:lnTo>
                    <a:pt x="70332" y="24595"/>
                  </a:lnTo>
                  <a:lnTo>
                    <a:pt x="70166" y="25540"/>
                  </a:lnTo>
                  <a:lnTo>
                    <a:pt x="69887" y="26431"/>
                  </a:lnTo>
                  <a:lnTo>
                    <a:pt x="69553" y="27265"/>
                  </a:lnTo>
                  <a:lnTo>
                    <a:pt x="69164" y="28156"/>
                  </a:lnTo>
                  <a:lnTo>
                    <a:pt x="68663" y="28990"/>
                  </a:lnTo>
                  <a:lnTo>
                    <a:pt x="68107" y="29825"/>
                  </a:lnTo>
                  <a:lnTo>
                    <a:pt x="67495" y="30604"/>
                  </a:lnTo>
                  <a:lnTo>
                    <a:pt x="66771" y="31383"/>
                  </a:lnTo>
                  <a:lnTo>
                    <a:pt x="66048" y="32162"/>
                  </a:lnTo>
                  <a:lnTo>
                    <a:pt x="65213" y="32885"/>
                  </a:lnTo>
                  <a:lnTo>
                    <a:pt x="64379" y="33609"/>
                  </a:lnTo>
                  <a:lnTo>
                    <a:pt x="63433" y="34276"/>
                  </a:lnTo>
                  <a:lnTo>
                    <a:pt x="62487" y="34944"/>
                  </a:lnTo>
                  <a:lnTo>
                    <a:pt x="61430" y="35556"/>
                  </a:lnTo>
                  <a:lnTo>
                    <a:pt x="60372" y="36168"/>
                  </a:lnTo>
                  <a:lnTo>
                    <a:pt x="59204" y="36725"/>
                  </a:lnTo>
                  <a:lnTo>
                    <a:pt x="58035" y="37281"/>
                  </a:lnTo>
                  <a:lnTo>
                    <a:pt x="56811" y="37782"/>
                  </a:lnTo>
                  <a:lnTo>
                    <a:pt x="55587" y="38227"/>
                  </a:lnTo>
                  <a:lnTo>
                    <a:pt x="54252" y="38672"/>
                  </a:lnTo>
                  <a:lnTo>
                    <a:pt x="52916" y="39062"/>
                  </a:lnTo>
                  <a:lnTo>
                    <a:pt x="51525" y="39451"/>
                  </a:lnTo>
                  <a:lnTo>
                    <a:pt x="50134" y="39729"/>
                  </a:lnTo>
                  <a:lnTo>
                    <a:pt x="48688" y="40063"/>
                  </a:lnTo>
                  <a:lnTo>
                    <a:pt x="47185" y="40286"/>
                  </a:lnTo>
                  <a:lnTo>
                    <a:pt x="45683" y="40508"/>
                  </a:lnTo>
                  <a:lnTo>
                    <a:pt x="44125" y="40620"/>
                  </a:lnTo>
                  <a:lnTo>
                    <a:pt x="42567" y="40787"/>
                  </a:lnTo>
                  <a:lnTo>
                    <a:pt x="41009" y="40842"/>
                  </a:lnTo>
                  <a:lnTo>
                    <a:pt x="37782" y="40842"/>
                  </a:lnTo>
                  <a:lnTo>
                    <a:pt x="36224" y="40787"/>
                  </a:lnTo>
                  <a:lnTo>
                    <a:pt x="34610" y="40620"/>
                  </a:lnTo>
                  <a:lnTo>
                    <a:pt x="33108" y="40508"/>
                  </a:lnTo>
                  <a:lnTo>
                    <a:pt x="31605" y="40286"/>
                  </a:lnTo>
                  <a:lnTo>
                    <a:pt x="30103" y="40063"/>
                  </a:lnTo>
                  <a:lnTo>
                    <a:pt x="28656" y="39729"/>
                  </a:lnTo>
                  <a:lnTo>
                    <a:pt x="27210" y="39451"/>
                  </a:lnTo>
                  <a:lnTo>
                    <a:pt x="25874" y="39062"/>
                  </a:lnTo>
                  <a:lnTo>
                    <a:pt x="24483" y="38672"/>
                  </a:lnTo>
                  <a:lnTo>
                    <a:pt x="23203" y="38227"/>
                  </a:lnTo>
                  <a:lnTo>
                    <a:pt x="21924" y="37782"/>
                  </a:lnTo>
                  <a:lnTo>
                    <a:pt x="20699" y="37281"/>
                  </a:lnTo>
                  <a:lnTo>
                    <a:pt x="19531" y="36725"/>
                  </a:lnTo>
                  <a:lnTo>
                    <a:pt x="18362" y="36168"/>
                  </a:lnTo>
                  <a:lnTo>
                    <a:pt x="17305" y="35556"/>
                  </a:lnTo>
                  <a:lnTo>
                    <a:pt x="16248" y="34944"/>
                  </a:lnTo>
                  <a:lnTo>
                    <a:pt x="15246" y="34276"/>
                  </a:lnTo>
                  <a:lnTo>
                    <a:pt x="14356" y="33609"/>
                  </a:lnTo>
                  <a:lnTo>
                    <a:pt x="13466" y="32885"/>
                  </a:lnTo>
                  <a:lnTo>
                    <a:pt x="12631" y="32162"/>
                  </a:lnTo>
                  <a:lnTo>
                    <a:pt x="11908" y="31383"/>
                  </a:lnTo>
                  <a:lnTo>
                    <a:pt x="11185" y="30604"/>
                  </a:lnTo>
                  <a:lnTo>
                    <a:pt x="10572" y="29825"/>
                  </a:lnTo>
                  <a:lnTo>
                    <a:pt x="10016" y="28990"/>
                  </a:lnTo>
                  <a:lnTo>
                    <a:pt x="9515" y="28156"/>
                  </a:lnTo>
                  <a:lnTo>
                    <a:pt x="9070" y="27265"/>
                  </a:lnTo>
                  <a:lnTo>
                    <a:pt x="8736" y="26431"/>
                  </a:lnTo>
                  <a:lnTo>
                    <a:pt x="8458" y="25540"/>
                  </a:lnTo>
                  <a:lnTo>
                    <a:pt x="8235" y="24595"/>
                  </a:lnTo>
                  <a:lnTo>
                    <a:pt x="8124" y="23704"/>
                  </a:lnTo>
                  <a:lnTo>
                    <a:pt x="8069" y="22758"/>
                  </a:lnTo>
                  <a:lnTo>
                    <a:pt x="8124" y="21812"/>
                  </a:lnTo>
                  <a:lnTo>
                    <a:pt x="8235" y="20922"/>
                  </a:lnTo>
                  <a:lnTo>
                    <a:pt x="8402" y="20032"/>
                  </a:lnTo>
                  <a:lnTo>
                    <a:pt x="8681" y="19142"/>
                  </a:lnTo>
                  <a:lnTo>
                    <a:pt x="9014" y="18251"/>
                  </a:lnTo>
                  <a:lnTo>
                    <a:pt x="9460" y="17417"/>
                  </a:lnTo>
                  <a:lnTo>
                    <a:pt x="9905" y="16526"/>
                  </a:lnTo>
                  <a:lnTo>
                    <a:pt x="10461" y="15747"/>
                  </a:lnTo>
                  <a:lnTo>
                    <a:pt x="11129" y="14913"/>
                  </a:lnTo>
                  <a:lnTo>
                    <a:pt x="11797" y="14134"/>
                  </a:lnTo>
                  <a:lnTo>
                    <a:pt x="12520" y="13410"/>
                  </a:lnTo>
                  <a:lnTo>
                    <a:pt x="13355" y="12687"/>
                  </a:lnTo>
                  <a:lnTo>
                    <a:pt x="14189" y="11964"/>
                  </a:lnTo>
                  <a:lnTo>
                    <a:pt x="15135" y="11240"/>
                  </a:lnTo>
                  <a:lnTo>
                    <a:pt x="16137" y="10628"/>
                  </a:lnTo>
                  <a:lnTo>
                    <a:pt x="17138" y="9961"/>
                  </a:lnTo>
                  <a:lnTo>
                    <a:pt x="18251" y="9404"/>
                  </a:lnTo>
                  <a:lnTo>
                    <a:pt x="19364" y="8792"/>
                  </a:lnTo>
                  <a:lnTo>
                    <a:pt x="20532" y="8291"/>
                  </a:lnTo>
                  <a:lnTo>
                    <a:pt x="21757" y="7790"/>
                  </a:lnTo>
                  <a:lnTo>
                    <a:pt x="23036" y="7290"/>
                  </a:lnTo>
                  <a:lnTo>
                    <a:pt x="24316" y="6845"/>
                  </a:lnTo>
                  <a:lnTo>
                    <a:pt x="25652" y="6455"/>
                  </a:lnTo>
                  <a:lnTo>
                    <a:pt x="27043" y="6121"/>
                  </a:lnTo>
                  <a:lnTo>
                    <a:pt x="28489" y="5787"/>
                  </a:lnTo>
                  <a:lnTo>
                    <a:pt x="29936" y="5509"/>
                  </a:lnTo>
                  <a:lnTo>
                    <a:pt x="31383" y="5231"/>
                  </a:lnTo>
                  <a:lnTo>
                    <a:pt x="32885" y="5064"/>
                  </a:lnTo>
                  <a:lnTo>
                    <a:pt x="34443" y="4897"/>
                  </a:lnTo>
                  <a:lnTo>
                    <a:pt x="36001" y="4786"/>
                  </a:lnTo>
                  <a:lnTo>
                    <a:pt x="37559" y="4730"/>
                  </a:lnTo>
                  <a:lnTo>
                    <a:pt x="39173" y="4674"/>
                  </a:lnTo>
                  <a:close/>
                  <a:moveTo>
                    <a:pt x="39173" y="1"/>
                  </a:moveTo>
                  <a:lnTo>
                    <a:pt x="37114" y="56"/>
                  </a:lnTo>
                  <a:lnTo>
                    <a:pt x="35166" y="112"/>
                  </a:lnTo>
                  <a:lnTo>
                    <a:pt x="33163" y="279"/>
                  </a:lnTo>
                  <a:lnTo>
                    <a:pt x="31271" y="501"/>
                  </a:lnTo>
                  <a:lnTo>
                    <a:pt x="29324" y="724"/>
                  </a:lnTo>
                  <a:lnTo>
                    <a:pt x="27488" y="1058"/>
                  </a:lnTo>
                  <a:lnTo>
                    <a:pt x="25652" y="1392"/>
                  </a:lnTo>
                  <a:lnTo>
                    <a:pt x="23871" y="1781"/>
                  </a:lnTo>
                  <a:lnTo>
                    <a:pt x="22146" y="2282"/>
                  </a:lnTo>
                  <a:lnTo>
                    <a:pt x="20477" y="2783"/>
                  </a:lnTo>
                  <a:lnTo>
                    <a:pt x="18808" y="3339"/>
                  </a:lnTo>
                  <a:lnTo>
                    <a:pt x="17194" y="3896"/>
                  </a:lnTo>
                  <a:lnTo>
                    <a:pt x="15692" y="4563"/>
                  </a:lnTo>
                  <a:lnTo>
                    <a:pt x="14189" y="5231"/>
                  </a:lnTo>
                  <a:lnTo>
                    <a:pt x="12798" y="5954"/>
                  </a:lnTo>
                  <a:lnTo>
                    <a:pt x="11407" y="6678"/>
                  </a:lnTo>
                  <a:lnTo>
                    <a:pt x="10127" y="7457"/>
                  </a:lnTo>
                  <a:lnTo>
                    <a:pt x="8903" y="8291"/>
                  </a:lnTo>
                  <a:lnTo>
                    <a:pt x="7735" y="9182"/>
                  </a:lnTo>
                  <a:lnTo>
                    <a:pt x="6622" y="10072"/>
                  </a:lnTo>
                  <a:lnTo>
                    <a:pt x="5620" y="10962"/>
                  </a:lnTo>
                  <a:lnTo>
                    <a:pt x="4674" y="11908"/>
                  </a:lnTo>
                  <a:lnTo>
                    <a:pt x="3840" y="12910"/>
                  </a:lnTo>
                  <a:lnTo>
                    <a:pt x="3061" y="13911"/>
                  </a:lnTo>
                  <a:lnTo>
                    <a:pt x="2337" y="14968"/>
                  </a:lnTo>
                  <a:lnTo>
                    <a:pt x="1725" y="16026"/>
                  </a:lnTo>
                  <a:lnTo>
                    <a:pt x="1225" y="17083"/>
                  </a:lnTo>
                  <a:lnTo>
                    <a:pt x="779" y="18196"/>
                  </a:lnTo>
                  <a:lnTo>
                    <a:pt x="446" y="19308"/>
                  </a:lnTo>
                  <a:lnTo>
                    <a:pt x="223" y="20421"/>
                  </a:lnTo>
                  <a:lnTo>
                    <a:pt x="56" y="21590"/>
                  </a:lnTo>
                  <a:lnTo>
                    <a:pt x="0" y="22758"/>
                  </a:lnTo>
                  <a:lnTo>
                    <a:pt x="56" y="23927"/>
                  </a:lnTo>
                  <a:lnTo>
                    <a:pt x="223" y="25095"/>
                  </a:lnTo>
                  <a:lnTo>
                    <a:pt x="501" y="26208"/>
                  </a:lnTo>
                  <a:lnTo>
                    <a:pt x="835" y="27377"/>
                  </a:lnTo>
                  <a:lnTo>
                    <a:pt x="1280" y="28434"/>
                  </a:lnTo>
                  <a:lnTo>
                    <a:pt x="1837" y="29547"/>
                  </a:lnTo>
                  <a:lnTo>
                    <a:pt x="2449" y="30604"/>
                  </a:lnTo>
                  <a:lnTo>
                    <a:pt x="3172" y="31606"/>
                  </a:lnTo>
                  <a:lnTo>
                    <a:pt x="3951" y="32607"/>
                  </a:lnTo>
                  <a:lnTo>
                    <a:pt x="4786" y="33609"/>
                  </a:lnTo>
                  <a:lnTo>
                    <a:pt x="5787" y="34555"/>
                  </a:lnTo>
                  <a:lnTo>
                    <a:pt x="6789" y="35500"/>
                  </a:lnTo>
                  <a:lnTo>
                    <a:pt x="7902" y="36391"/>
                  </a:lnTo>
                  <a:lnTo>
                    <a:pt x="9070" y="37225"/>
                  </a:lnTo>
                  <a:lnTo>
                    <a:pt x="10294" y="38060"/>
                  </a:lnTo>
                  <a:lnTo>
                    <a:pt x="11630" y="38839"/>
                  </a:lnTo>
                  <a:lnTo>
                    <a:pt x="12965" y="39618"/>
                  </a:lnTo>
                  <a:lnTo>
                    <a:pt x="14412" y="40341"/>
                  </a:lnTo>
                  <a:lnTo>
                    <a:pt x="15914" y="41009"/>
                  </a:lnTo>
                  <a:lnTo>
                    <a:pt x="17416" y="41621"/>
                  </a:lnTo>
                  <a:lnTo>
                    <a:pt x="19030" y="42233"/>
                  </a:lnTo>
                  <a:lnTo>
                    <a:pt x="20699" y="42790"/>
                  </a:lnTo>
                  <a:lnTo>
                    <a:pt x="22369" y="43290"/>
                  </a:lnTo>
                  <a:lnTo>
                    <a:pt x="24094" y="43736"/>
                  </a:lnTo>
                  <a:lnTo>
                    <a:pt x="25930" y="44125"/>
                  </a:lnTo>
                  <a:lnTo>
                    <a:pt x="27710" y="44515"/>
                  </a:lnTo>
                  <a:lnTo>
                    <a:pt x="29602" y="44793"/>
                  </a:lnTo>
                  <a:lnTo>
                    <a:pt x="31494" y="45071"/>
                  </a:lnTo>
                  <a:lnTo>
                    <a:pt x="33442" y="45238"/>
                  </a:lnTo>
                  <a:lnTo>
                    <a:pt x="35389" y="45405"/>
                  </a:lnTo>
                  <a:lnTo>
                    <a:pt x="37392" y="45516"/>
                  </a:lnTo>
                  <a:lnTo>
                    <a:pt x="41454" y="45516"/>
                  </a:lnTo>
                  <a:lnTo>
                    <a:pt x="43457" y="45405"/>
                  </a:lnTo>
                  <a:lnTo>
                    <a:pt x="45405" y="45238"/>
                  </a:lnTo>
                  <a:lnTo>
                    <a:pt x="47352" y="45071"/>
                  </a:lnTo>
                  <a:lnTo>
                    <a:pt x="49244" y="44793"/>
                  </a:lnTo>
                  <a:lnTo>
                    <a:pt x="51080" y="44515"/>
                  </a:lnTo>
                  <a:lnTo>
                    <a:pt x="52916" y="44125"/>
                  </a:lnTo>
                  <a:lnTo>
                    <a:pt x="54697" y="43736"/>
                  </a:lnTo>
                  <a:lnTo>
                    <a:pt x="56422" y="43290"/>
                  </a:lnTo>
                  <a:lnTo>
                    <a:pt x="58147" y="42790"/>
                  </a:lnTo>
                  <a:lnTo>
                    <a:pt x="59760" y="42233"/>
                  </a:lnTo>
                  <a:lnTo>
                    <a:pt x="61374" y="41621"/>
                  </a:lnTo>
                  <a:lnTo>
                    <a:pt x="62876" y="41009"/>
                  </a:lnTo>
                  <a:lnTo>
                    <a:pt x="64379" y="40341"/>
                  </a:lnTo>
                  <a:lnTo>
                    <a:pt x="65770" y="39618"/>
                  </a:lnTo>
                  <a:lnTo>
                    <a:pt x="67161" y="38839"/>
                  </a:lnTo>
                  <a:lnTo>
                    <a:pt x="68441" y="38060"/>
                  </a:lnTo>
                  <a:lnTo>
                    <a:pt x="69665" y="37225"/>
                  </a:lnTo>
                  <a:lnTo>
                    <a:pt x="70833" y="36391"/>
                  </a:lnTo>
                  <a:lnTo>
                    <a:pt x="71946" y="35500"/>
                  </a:lnTo>
                  <a:lnTo>
                    <a:pt x="72948" y="34555"/>
                  </a:lnTo>
                  <a:lnTo>
                    <a:pt x="73894" y="33609"/>
                  </a:lnTo>
                  <a:lnTo>
                    <a:pt x="74728" y="32607"/>
                  </a:lnTo>
                  <a:lnTo>
                    <a:pt x="75507" y="31606"/>
                  </a:lnTo>
                  <a:lnTo>
                    <a:pt x="76231" y="30604"/>
                  </a:lnTo>
                  <a:lnTo>
                    <a:pt x="76843" y="29547"/>
                  </a:lnTo>
                  <a:lnTo>
                    <a:pt x="77343" y="28434"/>
                  </a:lnTo>
                  <a:lnTo>
                    <a:pt x="77789" y="27377"/>
                  </a:lnTo>
                  <a:lnTo>
                    <a:pt x="78122" y="26208"/>
                  </a:lnTo>
                  <a:lnTo>
                    <a:pt x="78401" y="25095"/>
                  </a:lnTo>
                  <a:lnTo>
                    <a:pt x="78512" y="23927"/>
                  </a:lnTo>
                  <a:lnTo>
                    <a:pt x="78568" y="22758"/>
                  </a:lnTo>
                  <a:lnTo>
                    <a:pt x="78512" y="21590"/>
                  </a:lnTo>
                  <a:lnTo>
                    <a:pt x="78345" y="20421"/>
                  </a:lnTo>
                  <a:lnTo>
                    <a:pt x="78122" y="19308"/>
                  </a:lnTo>
                  <a:lnTo>
                    <a:pt x="77733" y="18196"/>
                  </a:lnTo>
                  <a:lnTo>
                    <a:pt x="77288" y="17083"/>
                  </a:lnTo>
                  <a:lnTo>
                    <a:pt x="76787" y="16026"/>
                  </a:lnTo>
                  <a:lnTo>
                    <a:pt x="76119" y="14968"/>
                  </a:lnTo>
                  <a:lnTo>
                    <a:pt x="75452" y="13911"/>
                  </a:lnTo>
                  <a:lnTo>
                    <a:pt x="74617" y="12910"/>
                  </a:lnTo>
                  <a:lnTo>
                    <a:pt x="73782" y="11908"/>
                  </a:lnTo>
                  <a:lnTo>
                    <a:pt x="72836" y="10962"/>
                  </a:lnTo>
                  <a:lnTo>
                    <a:pt x="71779" y="10072"/>
                  </a:lnTo>
                  <a:lnTo>
                    <a:pt x="70666" y="9182"/>
                  </a:lnTo>
                  <a:lnTo>
                    <a:pt x="69498" y="8291"/>
                  </a:lnTo>
                  <a:lnTo>
                    <a:pt x="68274" y="7457"/>
                  </a:lnTo>
                  <a:lnTo>
                    <a:pt x="66994" y="6678"/>
                  </a:lnTo>
                  <a:lnTo>
                    <a:pt x="65603" y="5954"/>
                  </a:lnTo>
                  <a:lnTo>
                    <a:pt x="64156" y="5231"/>
                  </a:lnTo>
                  <a:lnTo>
                    <a:pt x="62709" y="4563"/>
                  </a:lnTo>
                  <a:lnTo>
                    <a:pt x="61151" y="3896"/>
                  </a:lnTo>
                  <a:lnTo>
                    <a:pt x="59538" y="3339"/>
                  </a:lnTo>
                  <a:lnTo>
                    <a:pt x="57924" y="2783"/>
                  </a:lnTo>
                  <a:lnTo>
                    <a:pt x="56199" y="2282"/>
                  </a:lnTo>
                  <a:lnTo>
                    <a:pt x="54474" y="1781"/>
                  </a:lnTo>
                  <a:lnTo>
                    <a:pt x="52694" y="1392"/>
                  </a:lnTo>
                  <a:lnTo>
                    <a:pt x="50858" y="1058"/>
                  </a:lnTo>
                  <a:lnTo>
                    <a:pt x="48966" y="724"/>
                  </a:lnTo>
                  <a:lnTo>
                    <a:pt x="47074" y="501"/>
                  </a:lnTo>
                  <a:lnTo>
                    <a:pt x="45126" y="279"/>
                  </a:lnTo>
                  <a:lnTo>
                    <a:pt x="43179" y="112"/>
                  </a:lnTo>
                  <a:lnTo>
                    <a:pt x="41176" y="56"/>
                  </a:lnTo>
                  <a:lnTo>
                    <a:pt x="39173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2297;p60">
              <a:extLst>
                <a:ext uri="{FF2B5EF4-FFF2-40B4-BE49-F238E27FC236}">
                  <a16:creationId xmlns:a16="http://schemas.microsoft.com/office/drawing/2014/main" id="{5C941039-4278-680C-3C4E-304D4123D928}"/>
                </a:ext>
              </a:extLst>
            </p:cNvPr>
            <p:cNvSpPr/>
            <p:nvPr/>
          </p:nvSpPr>
          <p:spPr>
            <a:xfrm>
              <a:off x="1306075" y="2653000"/>
              <a:ext cx="1560800" cy="904225"/>
            </a:xfrm>
            <a:custGeom>
              <a:avLst/>
              <a:gdLst/>
              <a:ahLst/>
              <a:cxnLst/>
              <a:rect l="l" t="t" r="r" b="b"/>
              <a:pathLst>
                <a:path w="62432" h="36169" extrusionOk="0">
                  <a:moveTo>
                    <a:pt x="31105" y="1"/>
                  </a:moveTo>
                  <a:lnTo>
                    <a:pt x="29491" y="56"/>
                  </a:lnTo>
                  <a:lnTo>
                    <a:pt x="27933" y="112"/>
                  </a:lnTo>
                  <a:lnTo>
                    <a:pt x="26375" y="223"/>
                  </a:lnTo>
                  <a:lnTo>
                    <a:pt x="24817" y="390"/>
                  </a:lnTo>
                  <a:lnTo>
                    <a:pt x="23315" y="613"/>
                  </a:lnTo>
                  <a:lnTo>
                    <a:pt x="21812" y="835"/>
                  </a:lnTo>
                  <a:lnTo>
                    <a:pt x="20366" y="1113"/>
                  </a:lnTo>
                  <a:lnTo>
                    <a:pt x="18975" y="1447"/>
                  </a:lnTo>
                  <a:lnTo>
                    <a:pt x="17584" y="1837"/>
                  </a:lnTo>
                  <a:lnTo>
                    <a:pt x="16248" y="2226"/>
                  </a:lnTo>
                  <a:lnTo>
                    <a:pt x="14968" y="2671"/>
                  </a:lnTo>
                  <a:lnTo>
                    <a:pt x="13689" y="3117"/>
                  </a:lnTo>
                  <a:lnTo>
                    <a:pt x="12465" y="3617"/>
                  </a:lnTo>
                  <a:lnTo>
                    <a:pt x="11296" y="4174"/>
                  </a:lnTo>
                  <a:lnTo>
                    <a:pt x="10128" y="4730"/>
                  </a:lnTo>
                  <a:lnTo>
                    <a:pt x="9070" y="5342"/>
                  </a:lnTo>
                  <a:lnTo>
                    <a:pt x="8069" y="5954"/>
                  </a:lnTo>
                  <a:lnTo>
                    <a:pt x="7067" y="6622"/>
                  </a:lnTo>
                  <a:lnTo>
                    <a:pt x="6121" y="7290"/>
                  </a:lnTo>
                  <a:lnTo>
                    <a:pt x="5287" y="8013"/>
                  </a:lnTo>
                  <a:lnTo>
                    <a:pt x="4452" y="8736"/>
                  </a:lnTo>
                  <a:lnTo>
                    <a:pt x="3729" y="9515"/>
                  </a:lnTo>
                  <a:lnTo>
                    <a:pt x="3005" y="10294"/>
                  </a:lnTo>
                  <a:lnTo>
                    <a:pt x="2393" y="11073"/>
                  </a:lnTo>
                  <a:lnTo>
                    <a:pt x="1837" y="11908"/>
                  </a:lnTo>
                  <a:lnTo>
                    <a:pt x="1392" y="12743"/>
                  </a:lnTo>
                  <a:lnTo>
                    <a:pt x="947" y="13577"/>
                  </a:lnTo>
                  <a:lnTo>
                    <a:pt x="613" y="14468"/>
                  </a:lnTo>
                  <a:lnTo>
                    <a:pt x="335" y="15358"/>
                  </a:lnTo>
                  <a:lnTo>
                    <a:pt x="168" y="16248"/>
                  </a:lnTo>
                  <a:lnTo>
                    <a:pt x="56" y="17194"/>
                  </a:lnTo>
                  <a:lnTo>
                    <a:pt x="1" y="18084"/>
                  </a:lnTo>
                  <a:lnTo>
                    <a:pt x="56" y="19030"/>
                  </a:lnTo>
                  <a:lnTo>
                    <a:pt x="168" y="19976"/>
                  </a:lnTo>
                  <a:lnTo>
                    <a:pt x="390" y="20867"/>
                  </a:lnTo>
                  <a:lnTo>
                    <a:pt x="668" y="21757"/>
                  </a:lnTo>
                  <a:lnTo>
                    <a:pt x="1002" y="22647"/>
                  </a:lnTo>
                  <a:lnTo>
                    <a:pt x="1447" y="23482"/>
                  </a:lnTo>
                  <a:lnTo>
                    <a:pt x="1948" y="24316"/>
                  </a:lnTo>
                  <a:lnTo>
                    <a:pt x="2505" y="25151"/>
                  </a:lnTo>
                  <a:lnTo>
                    <a:pt x="3117" y="25930"/>
                  </a:lnTo>
                  <a:lnTo>
                    <a:pt x="3840" y="26709"/>
                  </a:lnTo>
                  <a:lnTo>
                    <a:pt x="4563" y="27488"/>
                  </a:lnTo>
                  <a:lnTo>
                    <a:pt x="5398" y="28211"/>
                  </a:lnTo>
                  <a:lnTo>
                    <a:pt x="6288" y="28935"/>
                  </a:lnTo>
                  <a:lnTo>
                    <a:pt x="7179" y="29602"/>
                  </a:lnTo>
                  <a:lnTo>
                    <a:pt x="8180" y="30270"/>
                  </a:lnTo>
                  <a:lnTo>
                    <a:pt x="9237" y="30882"/>
                  </a:lnTo>
                  <a:lnTo>
                    <a:pt x="10294" y="31494"/>
                  </a:lnTo>
                  <a:lnTo>
                    <a:pt x="11463" y="32051"/>
                  </a:lnTo>
                  <a:lnTo>
                    <a:pt x="12631" y="32607"/>
                  </a:lnTo>
                  <a:lnTo>
                    <a:pt x="13856" y="33108"/>
                  </a:lnTo>
                  <a:lnTo>
                    <a:pt x="15135" y="33553"/>
                  </a:lnTo>
                  <a:lnTo>
                    <a:pt x="16415" y="33998"/>
                  </a:lnTo>
                  <a:lnTo>
                    <a:pt x="17751" y="34388"/>
                  </a:lnTo>
                  <a:lnTo>
                    <a:pt x="19142" y="34777"/>
                  </a:lnTo>
                  <a:lnTo>
                    <a:pt x="20588" y="35111"/>
                  </a:lnTo>
                  <a:lnTo>
                    <a:pt x="22035" y="35389"/>
                  </a:lnTo>
                  <a:lnTo>
                    <a:pt x="23537" y="35612"/>
                  </a:lnTo>
                  <a:lnTo>
                    <a:pt x="25040" y="35834"/>
                  </a:lnTo>
                  <a:lnTo>
                    <a:pt x="26542" y="36001"/>
                  </a:lnTo>
                  <a:lnTo>
                    <a:pt x="28156" y="36113"/>
                  </a:lnTo>
                  <a:lnTo>
                    <a:pt x="29714" y="36168"/>
                  </a:lnTo>
                  <a:lnTo>
                    <a:pt x="32941" y="36168"/>
                  </a:lnTo>
                  <a:lnTo>
                    <a:pt x="34499" y="36113"/>
                  </a:lnTo>
                  <a:lnTo>
                    <a:pt x="36057" y="36001"/>
                  </a:lnTo>
                  <a:lnTo>
                    <a:pt x="37615" y="35834"/>
                  </a:lnTo>
                  <a:lnTo>
                    <a:pt x="39117" y="35612"/>
                  </a:lnTo>
                  <a:lnTo>
                    <a:pt x="40620" y="35389"/>
                  </a:lnTo>
                  <a:lnTo>
                    <a:pt x="42066" y="35111"/>
                  </a:lnTo>
                  <a:lnTo>
                    <a:pt x="43457" y="34777"/>
                  </a:lnTo>
                  <a:lnTo>
                    <a:pt x="44848" y="34388"/>
                  </a:lnTo>
                  <a:lnTo>
                    <a:pt x="46184" y="33998"/>
                  </a:lnTo>
                  <a:lnTo>
                    <a:pt x="47519" y="33553"/>
                  </a:lnTo>
                  <a:lnTo>
                    <a:pt x="48743" y="33108"/>
                  </a:lnTo>
                  <a:lnTo>
                    <a:pt x="49968" y="32607"/>
                  </a:lnTo>
                  <a:lnTo>
                    <a:pt x="51136" y="32051"/>
                  </a:lnTo>
                  <a:lnTo>
                    <a:pt x="52305" y="31494"/>
                  </a:lnTo>
                  <a:lnTo>
                    <a:pt x="53362" y="30882"/>
                  </a:lnTo>
                  <a:lnTo>
                    <a:pt x="54419" y="30270"/>
                  </a:lnTo>
                  <a:lnTo>
                    <a:pt x="55365" y="29602"/>
                  </a:lnTo>
                  <a:lnTo>
                    <a:pt x="56311" y="28935"/>
                  </a:lnTo>
                  <a:lnTo>
                    <a:pt x="57145" y="28211"/>
                  </a:lnTo>
                  <a:lnTo>
                    <a:pt x="57980" y="27488"/>
                  </a:lnTo>
                  <a:lnTo>
                    <a:pt x="58703" y="26709"/>
                  </a:lnTo>
                  <a:lnTo>
                    <a:pt x="59427" y="25930"/>
                  </a:lnTo>
                  <a:lnTo>
                    <a:pt x="60039" y="25151"/>
                  </a:lnTo>
                  <a:lnTo>
                    <a:pt x="60595" y="24316"/>
                  </a:lnTo>
                  <a:lnTo>
                    <a:pt x="61040" y="23482"/>
                  </a:lnTo>
                  <a:lnTo>
                    <a:pt x="61486" y="22647"/>
                  </a:lnTo>
                  <a:lnTo>
                    <a:pt x="61819" y="21757"/>
                  </a:lnTo>
                  <a:lnTo>
                    <a:pt x="62098" y="20867"/>
                  </a:lnTo>
                  <a:lnTo>
                    <a:pt x="62265" y="19976"/>
                  </a:lnTo>
                  <a:lnTo>
                    <a:pt x="62431" y="19030"/>
                  </a:lnTo>
                  <a:lnTo>
                    <a:pt x="62431" y="18084"/>
                  </a:lnTo>
                  <a:lnTo>
                    <a:pt x="62376" y="17194"/>
                  </a:lnTo>
                  <a:lnTo>
                    <a:pt x="62265" y="16248"/>
                  </a:lnTo>
                  <a:lnTo>
                    <a:pt x="62042" y="15358"/>
                  </a:lnTo>
                  <a:lnTo>
                    <a:pt x="61764" y="14468"/>
                  </a:lnTo>
                  <a:lnTo>
                    <a:pt x="61430" y="13577"/>
                  </a:lnTo>
                  <a:lnTo>
                    <a:pt x="60985" y="12743"/>
                  </a:lnTo>
                  <a:lnTo>
                    <a:pt x="60484" y="11908"/>
                  </a:lnTo>
                  <a:lnTo>
                    <a:pt x="59928" y="11073"/>
                  </a:lnTo>
                  <a:lnTo>
                    <a:pt x="59315" y="10294"/>
                  </a:lnTo>
                  <a:lnTo>
                    <a:pt x="58648" y="9515"/>
                  </a:lnTo>
                  <a:lnTo>
                    <a:pt x="57869" y="8736"/>
                  </a:lnTo>
                  <a:lnTo>
                    <a:pt x="57034" y="8013"/>
                  </a:lnTo>
                  <a:lnTo>
                    <a:pt x="56199" y="7290"/>
                  </a:lnTo>
                  <a:lnTo>
                    <a:pt x="55254" y="6622"/>
                  </a:lnTo>
                  <a:lnTo>
                    <a:pt x="54252" y="5954"/>
                  </a:lnTo>
                  <a:lnTo>
                    <a:pt x="53195" y="5342"/>
                  </a:lnTo>
                  <a:lnTo>
                    <a:pt x="52138" y="4730"/>
                  </a:lnTo>
                  <a:lnTo>
                    <a:pt x="51025" y="4174"/>
                  </a:lnTo>
                  <a:lnTo>
                    <a:pt x="49801" y="3617"/>
                  </a:lnTo>
                  <a:lnTo>
                    <a:pt x="48576" y="3117"/>
                  </a:lnTo>
                  <a:lnTo>
                    <a:pt x="47297" y="2671"/>
                  </a:lnTo>
                  <a:lnTo>
                    <a:pt x="46017" y="2226"/>
                  </a:lnTo>
                  <a:lnTo>
                    <a:pt x="44682" y="1837"/>
                  </a:lnTo>
                  <a:lnTo>
                    <a:pt x="43290" y="1447"/>
                  </a:lnTo>
                  <a:lnTo>
                    <a:pt x="41844" y="1113"/>
                  </a:lnTo>
                  <a:lnTo>
                    <a:pt x="40397" y="835"/>
                  </a:lnTo>
                  <a:lnTo>
                    <a:pt x="38895" y="613"/>
                  </a:lnTo>
                  <a:lnTo>
                    <a:pt x="37392" y="390"/>
                  </a:lnTo>
                  <a:lnTo>
                    <a:pt x="35890" y="223"/>
                  </a:lnTo>
                  <a:lnTo>
                    <a:pt x="34332" y="112"/>
                  </a:lnTo>
                  <a:lnTo>
                    <a:pt x="32718" y="56"/>
                  </a:lnTo>
                  <a:lnTo>
                    <a:pt x="3110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2298;p60">
              <a:extLst>
                <a:ext uri="{FF2B5EF4-FFF2-40B4-BE49-F238E27FC236}">
                  <a16:creationId xmlns:a16="http://schemas.microsoft.com/office/drawing/2014/main" id="{FCB91F5F-7E41-5563-FADB-53EFE32A82B5}"/>
                </a:ext>
              </a:extLst>
            </p:cNvPr>
            <p:cNvSpPr/>
            <p:nvPr/>
          </p:nvSpPr>
          <p:spPr>
            <a:xfrm>
              <a:off x="1104375" y="3105100"/>
              <a:ext cx="1964200" cy="710850"/>
            </a:xfrm>
            <a:custGeom>
              <a:avLst/>
              <a:gdLst/>
              <a:ahLst/>
              <a:cxnLst/>
              <a:rect l="l" t="t" r="r" b="b"/>
              <a:pathLst>
                <a:path w="78568" h="28434" extrusionOk="0">
                  <a:moveTo>
                    <a:pt x="0" y="0"/>
                  </a:moveTo>
                  <a:lnTo>
                    <a:pt x="0" y="5676"/>
                  </a:lnTo>
                  <a:lnTo>
                    <a:pt x="56" y="6844"/>
                  </a:lnTo>
                  <a:lnTo>
                    <a:pt x="223" y="8013"/>
                  </a:lnTo>
                  <a:lnTo>
                    <a:pt x="446" y="9126"/>
                  </a:lnTo>
                  <a:lnTo>
                    <a:pt x="835" y="10294"/>
                  </a:lnTo>
                  <a:lnTo>
                    <a:pt x="1280" y="11351"/>
                  </a:lnTo>
                  <a:lnTo>
                    <a:pt x="1781" y="12464"/>
                  </a:lnTo>
                  <a:lnTo>
                    <a:pt x="2393" y="13522"/>
                  </a:lnTo>
                  <a:lnTo>
                    <a:pt x="3116" y="14523"/>
                  </a:lnTo>
                  <a:lnTo>
                    <a:pt x="3895" y="15525"/>
                  </a:lnTo>
                  <a:lnTo>
                    <a:pt x="4786" y="16526"/>
                  </a:lnTo>
                  <a:lnTo>
                    <a:pt x="5732" y="17472"/>
                  </a:lnTo>
                  <a:lnTo>
                    <a:pt x="6789" y="18418"/>
                  </a:lnTo>
                  <a:lnTo>
                    <a:pt x="7846" y="19308"/>
                  </a:lnTo>
                  <a:lnTo>
                    <a:pt x="9015" y="20143"/>
                  </a:lnTo>
                  <a:lnTo>
                    <a:pt x="10294" y="20978"/>
                  </a:lnTo>
                  <a:lnTo>
                    <a:pt x="11574" y="21757"/>
                  </a:lnTo>
                  <a:lnTo>
                    <a:pt x="12965" y="22536"/>
                  </a:lnTo>
                  <a:lnTo>
                    <a:pt x="14356" y="23259"/>
                  </a:lnTo>
                  <a:lnTo>
                    <a:pt x="15859" y="23927"/>
                  </a:lnTo>
                  <a:lnTo>
                    <a:pt x="17417" y="24539"/>
                  </a:lnTo>
                  <a:lnTo>
                    <a:pt x="19030" y="25151"/>
                  </a:lnTo>
                  <a:lnTo>
                    <a:pt x="20644" y="25707"/>
                  </a:lnTo>
                  <a:lnTo>
                    <a:pt x="22369" y="26208"/>
                  </a:lnTo>
                  <a:lnTo>
                    <a:pt x="24094" y="26653"/>
                  </a:lnTo>
                  <a:lnTo>
                    <a:pt x="25874" y="27043"/>
                  </a:lnTo>
                  <a:lnTo>
                    <a:pt x="27710" y="27432"/>
                  </a:lnTo>
                  <a:lnTo>
                    <a:pt x="29602" y="27710"/>
                  </a:lnTo>
                  <a:lnTo>
                    <a:pt x="31494" y="27989"/>
                  </a:lnTo>
                  <a:lnTo>
                    <a:pt x="33442" y="28156"/>
                  </a:lnTo>
                  <a:lnTo>
                    <a:pt x="35389" y="28322"/>
                  </a:lnTo>
                  <a:lnTo>
                    <a:pt x="37392" y="28378"/>
                  </a:lnTo>
                  <a:lnTo>
                    <a:pt x="39395" y="28434"/>
                  </a:lnTo>
                  <a:lnTo>
                    <a:pt x="41398" y="28378"/>
                  </a:lnTo>
                  <a:lnTo>
                    <a:pt x="43402" y="28322"/>
                  </a:lnTo>
                  <a:lnTo>
                    <a:pt x="45405" y="28156"/>
                  </a:lnTo>
                  <a:lnTo>
                    <a:pt x="47297" y="27989"/>
                  </a:lnTo>
                  <a:lnTo>
                    <a:pt x="49188" y="27710"/>
                  </a:lnTo>
                  <a:lnTo>
                    <a:pt x="51080" y="27432"/>
                  </a:lnTo>
                  <a:lnTo>
                    <a:pt x="52916" y="27043"/>
                  </a:lnTo>
                  <a:lnTo>
                    <a:pt x="54697" y="26653"/>
                  </a:lnTo>
                  <a:lnTo>
                    <a:pt x="56422" y="26208"/>
                  </a:lnTo>
                  <a:lnTo>
                    <a:pt x="58091" y="25707"/>
                  </a:lnTo>
                  <a:lnTo>
                    <a:pt x="59760" y="25151"/>
                  </a:lnTo>
                  <a:lnTo>
                    <a:pt x="61318" y="24539"/>
                  </a:lnTo>
                  <a:lnTo>
                    <a:pt x="62876" y="23927"/>
                  </a:lnTo>
                  <a:lnTo>
                    <a:pt x="64379" y="23259"/>
                  </a:lnTo>
                  <a:lnTo>
                    <a:pt x="65770" y="22536"/>
                  </a:lnTo>
                  <a:lnTo>
                    <a:pt x="67161" y="21757"/>
                  </a:lnTo>
                  <a:lnTo>
                    <a:pt x="68441" y="20978"/>
                  </a:lnTo>
                  <a:lnTo>
                    <a:pt x="69665" y="20143"/>
                  </a:lnTo>
                  <a:lnTo>
                    <a:pt x="70833" y="19308"/>
                  </a:lnTo>
                  <a:lnTo>
                    <a:pt x="71891" y="18418"/>
                  </a:lnTo>
                  <a:lnTo>
                    <a:pt x="72948" y="17472"/>
                  </a:lnTo>
                  <a:lnTo>
                    <a:pt x="73894" y="16526"/>
                  </a:lnTo>
                  <a:lnTo>
                    <a:pt x="74728" y="15525"/>
                  </a:lnTo>
                  <a:lnTo>
                    <a:pt x="75507" y="14523"/>
                  </a:lnTo>
                  <a:lnTo>
                    <a:pt x="76231" y="13522"/>
                  </a:lnTo>
                  <a:lnTo>
                    <a:pt x="76843" y="12464"/>
                  </a:lnTo>
                  <a:lnTo>
                    <a:pt x="77343" y="11351"/>
                  </a:lnTo>
                  <a:lnTo>
                    <a:pt x="77789" y="10294"/>
                  </a:lnTo>
                  <a:lnTo>
                    <a:pt x="78122" y="9126"/>
                  </a:lnTo>
                  <a:lnTo>
                    <a:pt x="78345" y="8013"/>
                  </a:lnTo>
                  <a:lnTo>
                    <a:pt x="78512" y="6844"/>
                  </a:lnTo>
                  <a:lnTo>
                    <a:pt x="78568" y="5676"/>
                  </a:lnTo>
                  <a:lnTo>
                    <a:pt x="78568" y="0"/>
                  </a:lnTo>
                  <a:lnTo>
                    <a:pt x="78512" y="1225"/>
                  </a:lnTo>
                  <a:lnTo>
                    <a:pt x="78401" y="2337"/>
                  </a:lnTo>
                  <a:lnTo>
                    <a:pt x="78122" y="3506"/>
                  </a:lnTo>
                  <a:lnTo>
                    <a:pt x="77789" y="4619"/>
                  </a:lnTo>
                  <a:lnTo>
                    <a:pt x="77343" y="5732"/>
                  </a:lnTo>
                  <a:lnTo>
                    <a:pt x="76843" y="6789"/>
                  </a:lnTo>
                  <a:lnTo>
                    <a:pt x="76231" y="7846"/>
                  </a:lnTo>
                  <a:lnTo>
                    <a:pt x="75507" y="8903"/>
                  </a:lnTo>
                  <a:lnTo>
                    <a:pt x="74728" y="9905"/>
                  </a:lnTo>
                  <a:lnTo>
                    <a:pt x="73894" y="10851"/>
                  </a:lnTo>
                  <a:lnTo>
                    <a:pt x="72948" y="11852"/>
                  </a:lnTo>
                  <a:lnTo>
                    <a:pt x="71946" y="12743"/>
                  </a:lnTo>
                  <a:lnTo>
                    <a:pt x="70833" y="13633"/>
                  </a:lnTo>
                  <a:lnTo>
                    <a:pt x="69665" y="14523"/>
                  </a:lnTo>
                  <a:lnTo>
                    <a:pt x="68441" y="15302"/>
                  </a:lnTo>
                  <a:lnTo>
                    <a:pt x="67161" y="16137"/>
                  </a:lnTo>
                  <a:lnTo>
                    <a:pt x="65770" y="16860"/>
                  </a:lnTo>
                  <a:lnTo>
                    <a:pt x="64379" y="17583"/>
                  </a:lnTo>
                  <a:lnTo>
                    <a:pt x="62876" y="18251"/>
                  </a:lnTo>
                  <a:lnTo>
                    <a:pt x="61374" y="18919"/>
                  </a:lnTo>
                  <a:lnTo>
                    <a:pt x="59760" y="19475"/>
                  </a:lnTo>
                  <a:lnTo>
                    <a:pt x="58147" y="20032"/>
                  </a:lnTo>
                  <a:lnTo>
                    <a:pt x="56422" y="20533"/>
                  </a:lnTo>
                  <a:lnTo>
                    <a:pt x="54697" y="20978"/>
                  </a:lnTo>
                  <a:lnTo>
                    <a:pt x="52916" y="21423"/>
                  </a:lnTo>
                  <a:lnTo>
                    <a:pt x="51080" y="21757"/>
                  </a:lnTo>
                  <a:lnTo>
                    <a:pt x="49244" y="22035"/>
                  </a:lnTo>
                  <a:lnTo>
                    <a:pt x="47352" y="22313"/>
                  </a:lnTo>
                  <a:lnTo>
                    <a:pt x="45405" y="22536"/>
                  </a:lnTo>
                  <a:lnTo>
                    <a:pt x="43457" y="22647"/>
                  </a:lnTo>
                  <a:lnTo>
                    <a:pt x="41454" y="22758"/>
                  </a:lnTo>
                  <a:lnTo>
                    <a:pt x="37392" y="22758"/>
                  </a:lnTo>
                  <a:lnTo>
                    <a:pt x="35389" y="22647"/>
                  </a:lnTo>
                  <a:lnTo>
                    <a:pt x="33442" y="22536"/>
                  </a:lnTo>
                  <a:lnTo>
                    <a:pt x="31494" y="22313"/>
                  </a:lnTo>
                  <a:lnTo>
                    <a:pt x="29602" y="22035"/>
                  </a:lnTo>
                  <a:lnTo>
                    <a:pt x="27710" y="21757"/>
                  </a:lnTo>
                  <a:lnTo>
                    <a:pt x="25874" y="21423"/>
                  </a:lnTo>
                  <a:lnTo>
                    <a:pt x="24094" y="20978"/>
                  </a:lnTo>
                  <a:lnTo>
                    <a:pt x="22369" y="20533"/>
                  </a:lnTo>
                  <a:lnTo>
                    <a:pt x="20699" y="20032"/>
                  </a:lnTo>
                  <a:lnTo>
                    <a:pt x="19030" y="19475"/>
                  </a:lnTo>
                  <a:lnTo>
                    <a:pt x="17417" y="18919"/>
                  </a:lnTo>
                  <a:lnTo>
                    <a:pt x="15914" y="18251"/>
                  </a:lnTo>
                  <a:lnTo>
                    <a:pt x="14412" y="17583"/>
                  </a:lnTo>
                  <a:lnTo>
                    <a:pt x="12965" y="16860"/>
                  </a:lnTo>
                  <a:lnTo>
                    <a:pt x="11630" y="16137"/>
                  </a:lnTo>
                  <a:lnTo>
                    <a:pt x="10294" y="15302"/>
                  </a:lnTo>
                  <a:lnTo>
                    <a:pt x="9070" y="14523"/>
                  </a:lnTo>
                  <a:lnTo>
                    <a:pt x="7902" y="13633"/>
                  </a:lnTo>
                  <a:lnTo>
                    <a:pt x="6789" y="12743"/>
                  </a:lnTo>
                  <a:lnTo>
                    <a:pt x="5787" y="11852"/>
                  </a:lnTo>
                  <a:lnTo>
                    <a:pt x="4786" y="10851"/>
                  </a:lnTo>
                  <a:lnTo>
                    <a:pt x="3951" y="9905"/>
                  </a:lnTo>
                  <a:lnTo>
                    <a:pt x="3172" y="8903"/>
                  </a:lnTo>
                  <a:lnTo>
                    <a:pt x="2449" y="7846"/>
                  </a:lnTo>
                  <a:lnTo>
                    <a:pt x="1837" y="6789"/>
                  </a:lnTo>
                  <a:lnTo>
                    <a:pt x="1280" y="5732"/>
                  </a:lnTo>
                  <a:lnTo>
                    <a:pt x="835" y="4619"/>
                  </a:lnTo>
                  <a:lnTo>
                    <a:pt x="501" y="3506"/>
                  </a:lnTo>
                  <a:lnTo>
                    <a:pt x="223" y="2337"/>
                  </a:lnTo>
                  <a:lnTo>
                    <a:pt x="56" y="12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9D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2299;p60">
              <a:extLst>
                <a:ext uri="{FF2B5EF4-FFF2-40B4-BE49-F238E27FC236}">
                  <a16:creationId xmlns:a16="http://schemas.microsoft.com/office/drawing/2014/main" id="{CEB9BAF8-5D48-24C5-1E99-021F9FAECF6F}"/>
                </a:ext>
              </a:extLst>
            </p:cNvPr>
            <p:cNvSpPr/>
            <p:nvPr/>
          </p:nvSpPr>
          <p:spPr>
            <a:xfrm>
              <a:off x="1104375" y="2537550"/>
              <a:ext cx="1964200" cy="1136525"/>
            </a:xfrm>
            <a:custGeom>
              <a:avLst/>
              <a:gdLst/>
              <a:ahLst/>
              <a:cxnLst/>
              <a:rect l="l" t="t" r="r" b="b"/>
              <a:pathLst>
                <a:path w="78568" h="45461" extrusionOk="0">
                  <a:moveTo>
                    <a:pt x="39173" y="4619"/>
                  </a:moveTo>
                  <a:lnTo>
                    <a:pt x="40786" y="4674"/>
                  </a:lnTo>
                  <a:lnTo>
                    <a:pt x="42400" y="4730"/>
                  </a:lnTo>
                  <a:lnTo>
                    <a:pt x="43958" y="4841"/>
                  </a:lnTo>
                  <a:lnTo>
                    <a:pt x="45460" y="5008"/>
                  </a:lnTo>
                  <a:lnTo>
                    <a:pt x="46963" y="5231"/>
                  </a:lnTo>
                  <a:lnTo>
                    <a:pt x="48465" y="5453"/>
                  </a:lnTo>
                  <a:lnTo>
                    <a:pt x="49912" y="5731"/>
                  </a:lnTo>
                  <a:lnTo>
                    <a:pt x="51358" y="6065"/>
                  </a:lnTo>
                  <a:lnTo>
                    <a:pt x="52750" y="6455"/>
                  </a:lnTo>
                  <a:lnTo>
                    <a:pt x="54085" y="6844"/>
                  </a:lnTo>
                  <a:lnTo>
                    <a:pt x="55365" y="7289"/>
                  </a:lnTo>
                  <a:lnTo>
                    <a:pt x="56644" y="7735"/>
                  </a:lnTo>
                  <a:lnTo>
                    <a:pt x="57869" y="8235"/>
                  </a:lnTo>
                  <a:lnTo>
                    <a:pt x="59093" y="8792"/>
                  </a:lnTo>
                  <a:lnTo>
                    <a:pt x="60206" y="9348"/>
                  </a:lnTo>
                  <a:lnTo>
                    <a:pt x="61263" y="9960"/>
                  </a:lnTo>
                  <a:lnTo>
                    <a:pt x="62320" y="10572"/>
                  </a:lnTo>
                  <a:lnTo>
                    <a:pt x="63322" y="11240"/>
                  </a:lnTo>
                  <a:lnTo>
                    <a:pt x="64267" y="11908"/>
                  </a:lnTo>
                  <a:lnTo>
                    <a:pt x="65102" y="12631"/>
                  </a:lnTo>
                  <a:lnTo>
                    <a:pt x="65937" y="13354"/>
                  </a:lnTo>
                  <a:lnTo>
                    <a:pt x="66716" y="14133"/>
                  </a:lnTo>
                  <a:lnTo>
                    <a:pt x="67383" y="14912"/>
                  </a:lnTo>
                  <a:lnTo>
                    <a:pt x="67996" y="15691"/>
                  </a:lnTo>
                  <a:lnTo>
                    <a:pt x="68552" y="16526"/>
                  </a:lnTo>
                  <a:lnTo>
                    <a:pt x="69053" y="17361"/>
                  </a:lnTo>
                  <a:lnTo>
                    <a:pt x="69498" y="18195"/>
                  </a:lnTo>
                  <a:lnTo>
                    <a:pt x="69832" y="19086"/>
                  </a:lnTo>
                  <a:lnTo>
                    <a:pt x="70110" y="19976"/>
                  </a:lnTo>
                  <a:lnTo>
                    <a:pt x="70333" y="20866"/>
                  </a:lnTo>
                  <a:lnTo>
                    <a:pt x="70444" y="21812"/>
                  </a:lnTo>
                  <a:lnTo>
                    <a:pt x="70499" y="22702"/>
                  </a:lnTo>
                  <a:lnTo>
                    <a:pt x="70499" y="23648"/>
                  </a:lnTo>
                  <a:lnTo>
                    <a:pt x="70333" y="24594"/>
                  </a:lnTo>
                  <a:lnTo>
                    <a:pt x="70166" y="25485"/>
                  </a:lnTo>
                  <a:lnTo>
                    <a:pt x="69887" y="26375"/>
                  </a:lnTo>
                  <a:lnTo>
                    <a:pt x="69554" y="27265"/>
                  </a:lnTo>
                  <a:lnTo>
                    <a:pt x="69108" y="28100"/>
                  </a:lnTo>
                  <a:lnTo>
                    <a:pt x="68663" y="28934"/>
                  </a:lnTo>
                  <a:lnTo>
                    <a:pt x="68107" y="29769"/>
                  </a:lnTo>
                  <a:lnTo>
                    <a:pt x="67495" y="30548"/>
                  </a:lnTo>
                  <a:lnTo>
                    <a:pt x="66771" y="31327"/>
                  </a:lnTo>
                  <a:lnTo>
                    <a:pt x="66048" y="32106"/>
                  </a:lnTo>
                  <a:lnTo>
                    <a:pt x="65213" y="32829"/>
                  </a:lnTo>
                  <a:lnTo>
                    <a:pt x="64379" y="33553"/>
                  </a:lnTo>
                  <a:lnTo>
                    <a:pt x="63433" y="34220"/>
                  </a:lnTo>
                  <a:lnTo>
                    <a:pt x="62487" y="34888"/>
                  </a:lnTo>
                  <a:lnTo>
                    <a:pt x="61430" y="35500"/>
                  </a:lnTo>
                  <a:lnTo>
                    <a:pt x="60373" y="36112"/>
                  </a:lnTo>
                  <a:lnTo>
                    <a:pt x="59204" y="36669"/>
                  </a:lnTo>
                  <a:lnTo>
                    <a:pt x="58036" y="37225"/>
                  </a:lnTo>
                  <a:lnTo>
                    <a:pt x="56811" y="37726"/>
                  </a:lnTo>
                  <a:lnTo>
                    <a:pt x="55587" y="38171"/>
                  </a:lnTo>
                  <a:lnTo>
                    <a:pt x="54252" y="38616"/>
                  </a:lnTo>
                  <a:lnTo>
                    <a:pt x="52916" y="39006"/>
                  </a:lnTo>
                  <a:lnTo>
                    <a:pt x="51525" y="39395"/>
                  </a:lnTo>
                  <a:lnTo>
                    <a:pt x="50134" y="39729"/>
                  </a:lnTo>
                  <a:lnTo>
                    <a:pt x="48688" y="40007"/>
                  </a:lnTo>
                  <a:lnTo>
                    <a:pt x="47185" y="40230"/>
                  </a:lnTo>
                  <a:lnTo>
                    <a:pt x="45683" y="40452"/>
                  </a:lnTo>
                  <a:lnTo>
                    <a:pt x="44125" y="40619"/>
                  </a:lnTo>
                  <a:lnTo>
                    <a:pt x="42567" y="40731"/>
                  </a:lnTo>
                  <a:lnTo>
                    <a:pt x="41009" y="40786"/>
                  </a:lnTo>
                  <a:lnTo>
                    <a:pt x="37782" y="40786"/>
                  </a:lnTo>
                  <a:lnTo>
                    <a:pt x="36224" y="40731"/>
                  </a:lnTo>
                  <a:lnTo>
                    <a:pt x="34610" y="40619"/>
                  </a:lnTo>
                  <a:lnTo>
                    <a:pt x="33108" y="40452"/>
                  </a:lnTo>
                  <a:lnTo>
                    <a:pt x="31605" y="40230"/>
                  </a:lnTo>
                  <a:lnTo>
                    <a:pt x="30103" y="40007"/>
                  </a:lnTo>
                  <a:lnTo>
                    <a:pt x="28656" y="39729"/>
                  </a:lnTo>
                  <a:lnTo>
                    <a:pt x="27210" y="39395"/>
                  </a:lnTo>
                  <a:lnTo>
                    <a:pt x="25819" y="39006"/>
                  </a:lnTo>
                  <a:lnTo>
                    <a:pt x="24483" y="38616"/>
                  </a:lnTo>
                  <a:lnTo>
                    <a:pt x="23203" y="38171"/>
                  </a:lnTo>
                  <a:lnTo>
                    <a:pt x="21924" y="37726"/>
                  </a:lnTo>
                  <a:lnTo>
                    <a:pt x="20699" y="37225"/>
                  </a:lnTo>
                  <a:lnTo>
                    <a:pt x="19531" y="36669"/>
                  </a:lnTo>
                  <a:lnTo>
                    <a:pt x="18362" y="36112"/>
                  </a:lnTo>
                  <a:lnTo>
                    <a:pt x="17305" y="35500"/>
                  </a:lnTo>
                  <a:lnTo>
                    <a:pt x="16248" y="34888"/>
                  </a:lnTo>
                  <a:lnTo>
                    <a:pt x="15247" y="34220"/>
                  </a:lnTo>
                  <a:lnTo>
                    <a:pt x="14356" y="33553"/>
                  </a:lnTo>
                  <a:lnTo>
                    <a:pt x="13466" y="32829"/>
                  </a:lnTo>
                  <a:lnTo>
                    <a:pt x="12631" y="32106"/>
                  </a:lnTo>
                  <a:lnTo>
                    <a:pt x="11908" y="31327"/>
                  </a:lnTo>
                  <a:lnTo>
                    <a:pt x="11185" y="30548"/>
                  </a:lnTo>
                  <a:lnTo>
                    <a:pt x="10573" y="29769"/>
                  </a:lnTo>
                  <a:lnTo>
                    <a:pt x="10016" y="28934"/>
                  </a:lnTo>
                  <a:lnTo>
                    <a:pt x="9515" y="28100"/>
                  </a:lnTo>
                  <a:lnTo>
                    <a:pt x="9070" y="27265"/>
                  </a:lnTo>
                  <a:lnTo>
                    <a:pt x="8736" y="26375"/>
                  </a:lnTo>
                  <a:lnTo>
                    <a:pt x="8458" y="25485"/>
                  </a:lnTo>
                  <a:lnTo>
                    <a:pt x="8236" y="24594"/>
                  </a:lnTo>
                  <a:lnTo>
                    <a:pt x="8124" y="23648"/>
                  </a:lnTo>
                  <a:lnTo>
                    <a:pt x="8069" y="22702"/>
                  </a:lnTo>
                  <a:lnTo>
                    <a:pt x="8124" y="21812"/>
                  </a:lnTo>
                  <a:lnTo>
                    <a:pt x="8236" y="20866"/>
                  </a:lnTo>
                  <a:lnTo>
                    <a:pt x="8403" y="19976"/>
                  </a:lnTo>
                  <a:lnTo>
                    <a:pt x="8681" y="19086"/>
                  </a:lnTo>
                  <a:lnTo>
                    <a:pt x="9015" y="18195"/>
                  </a:lnTo>
                  <a:lnTo>
                    <a:pt x="9460" y="17361"/>
                  </a:lnTo>
                  <a:lnTo>
                    <a:pt x="9905" y="16526"/>
                  </a:lnTo>
                  <a:lnTo>
                    <a:pt x="10461" y="15691"/>
                  </a:lnTo>
                  <a:lnTo>
                    <a:pt x="11073" y="14912"/>
                  </a:lnTo>
                  <a:lnTo>
                    <a:pt x="11797" y="14133"/>
                  </a:lnTo>
                  <a:lnTo>
                    <a:pt x="12520" y="13354"/>
                  </a:lnTo>
                  <a:lnTo>
                    <a:pt x="13355" y="12631"/>
                  </a:lnTo>
                  <a:lnTo>
                    <a:pt x="14189" y="11908"/>
                  </a:lnTo>
                  <a:lnTo>
                    <a:pt x="15135" y="11240"/>
                  </a:lnTo>
                  <a:lnTo>
                    <a:pt x="16137" y="10572"/>
                  </a:lnTo>
                  <a:lnTo>
                    <a:pt x="17138" y="9960"/>
                  </a:lnTo>
                  <a:lnTo>
                    <a:pt x="18196" y="9348"/>
                  </a:lnTo>
                  <a:lnTo>
                    <a:pt x="19364" y="8792"/>
                  </a:lnTo>
                  <a:lnTo>
                    <a:pt x="20533" y="8235"/>
                  </a:lnTo>
                  <a:lnTo>
                    <a:pt x="21757" y="7735"/>
                  </a:lnTo>
                  <a:lnTo>
                    <a:pt x="23036" y="7289"/>
                  </a:lnTo>
                  <a:lnTo>
                    <a:pt x="24316" y="6844"/>
                  </a:lnTo>
                  <a:lnTo>
                    <a:pt x="25652" y="6455"/>
                  </a:lnTo>
                  <a:lnTo>
                    <a:pt x="27043" y="6065"/>
                  </a:lnTo>
                  <a:lnTo>
                    <a:pt x="28434" y="5731"/>
                  </a:lnTo>
                  <a:lnTo>
                    <a:pt x="29880" y="5453"/>
                  </a:lnTo>
                  <a:lnTo>
                    <a:pt x="31383" y="5231"/>
                  </a:lnTo>
                  <a:lnTo>
                    <a:pt x="32885" y="5008"/>
                  </a:lnTo>
                  <a:lnTo>
                    <a:pt x="34443" y="4841"/>
                  </a:lnTo>
                  <a:lnTo>
                    <a:pt x="36001" y="4730"/>
                  </a:lnTo>
                  <a:lnTo>
                    <a:pt x="37559" y="4674"/>
                  </a:lnTo>
                  <a:lnTo>
                    <a:pt x="39173" y="4619"/>
                  </a:lnTo>
                  <a:close/>
                  <a:moveTo>
                    <a:pt x="37114" y="0"/>
                  </a:moveTo>
                  <a:lnTo>
                    <a:pt x="35167" y="111"/>
                  </a:lnTo>
                  <a:lnTo>
                    <a:pt x="33163" y="223"/>
                  </a:lnTo>
                  <a:lnTo>
                    <a:pt x="31272" y="445"/>
                  </a:lnTo>
                  <a:lnTo>
                    <a:pt x="29324" y="668"/>
                  </a:lnTo>
                  <a:lnTo>
                    <a:pt x="27488" y="1002"/>
                  </a:lnTo>
                  <a:lnTo>
                    <a:pt x="25652" y="1336"/>
                  </a:lnTo>
                  <a:lnTo>
                    <a:pt x="23871" y="1781"/>
                  </a:lnTo>
                  <a:lnTo>
                    <a:pt x="22146" y="2226"/>
                  </a:lnTo>
                  <a:lnTo>
                    <a:pt x="20477" y="2727"/>
                  </a:lnTo>
                  <a:lnTo>
                    <a:pt x="18808" y="3283"/>
                  </a:lnTo>
                  <a:lnTo>
                    <a:pt x="17194" y="3840"/>
                  </a:lnTo>
                  <a:lnTo>
                    <a:pt x="15692" y="4507"/>
                  </a:lnTo>
                  <a:lnTo>
                    <a:pt x="14189" y="5175"/>
                  </a:lnTo>
                  <a:lnTo>
                    <a:pt x="12798" y="5898"/>
                  </a:lnTo>
                  <a:lnTo>
                    <a:pt x="11407" y="6622"/>
                  </a:lnTo>
                  <a:lnTo>
                    <a:pt x="10127" y="7456"/>
                  </a:lnTo>
                  <a:lnTo>
                    <a:pt x="8903" y="8235"/>
                  </a:lnTo>
                  <a:lnTo>
                    <a:pt x="7735" y="9126"/>
                  </a:lnTo>
                  <a:lnTo>
                    <a:pt x="6622" y="10016"/>
                  </a:lnTo>
                  <a:lnTo>
                    <a:pt x="5620" y="10906"/>
                  </a:lnTo>
                  <a:lnTo>
                    <a:pt x="4674" y="11908"/>
                  </a:lnTo>
                  <a:lnTo>
                    <a:pt x="3840" y="12854"/>
                  </a:lnTo>
                  <a:lnTo>
                    <a:pt x="3061" y="13855"/>
                  </a:lnTo>
                  <a:lnTo>
                    <a:pt x="2337" y="14912"/>
                  </a:lnTo>
                  <a:lnTo>
                    <a:pt x="1725" y="15970"/>
                  </a:lnTo>
                  <a:lnTo>
                    <a:pt x="1225" y="17027"/>
                  </a:lnTo>
                  <a:lnTo>
                    <a:pt x="779" y="18140"/>
                  </a:lnTo>
                  <a:lnTo>
                    <a:pt x="446" y="19253"/>
                  </a:lnTo>
                  <a:lnTo>
                    <a:pt x="223" y="20421"/>
                  </a:lnTo>
                  <a:lnTo>
                    <a:pt x="56" y="21534"/>
                  </a:lnTo>
                  <a:lnTo>
                    <a:pt x="0" y="22702"/>
                  </a:lnTo>
                  <a:lnTo>
                    <a:pt x="56" y="23927"/>
                  </a:lnTo>
                  <a:lnTo>
                    <a:pt x="223" y="25039"/>
                  </a:lnTo>
                  <a:lnTo>
                    <a:pt x="501" y="26208"/>
                  </a:lnTo>
                  <a:lnTo>
                    <a:pt x="835" y="27321"/>
                  </a:lnTo>
                  <a:lnTo>
                    <a:pt x="1280" y="28434"/>
                  </a:lnTo>
                  <a:lnTo>
                    <a:pt x="1837" y="29491"/>
                  </a:lnTo>
                  <a:lnTo>
                    <a:pt x="2449" y="30548"/>
                  </a:lnTo>
                  <a:lnTo>
                    <a:pt x="3172" y="31605"/>
                  </a:lnTo>
                  <a:lnTo>
                    <a:pt x="3951" y="32607"/>
                  </a:lnTo>
                  <a:lnTo>
                    <a:pt x="4786" y="33553"/>
                  </a:lnTo>
                  <a:lnTo>
                    <a:pt x="5787" y="34554"/>
                  </a:lnTo>
                  <a:lnTo>
                    <a:pt x="6789" y="35445"/>
                  </a:lnTo>
                  <a:lnTo>
                    <a:pt x="7902" y="36335"/>
                  </a:lnTo>
                  <a:lnTo>
                    <a:pt x="9070" y="37225"/>
                  </a:lnTo>
                  <a:lnTo>
                    <a:pt x="10294" y="38004"/>
                  </a:lnTo>
                  <a:lnTo>
                    <a:pt x="11630" y="38839"/>
                  </a:lnTo>
                  <a:lnTo>
                    <a:pt x="12965" y="39562"/>
                  </a:lnTo>
                  <a:lnTo>
                    <a:pt x="14412" y="40285"/>
                  </a:lnTo>
                  <a:lnTo>
                    <a:pt x="15914" y="40953"/>
                  </a:lnTo>
                  <a:lnTo>
                    <a:pt x="17417" y="41621"/>
                  </a:lnTo>
                  <a:lnTo>
                    <a:pt x="19030" y="42177"/>
                  </a:lnTo>
                  <a:lnTo>
                    <a:pt x="20699" y="42734"/>
                  </a:lnTo>
                  <a:lnTo>
                    <a:pt x="22369" y="43235"/>
                  </a:lnTo>
                  <a:lnTo>
                    <a:pt x="24094" y="43680"/>
                  </a:lnTo>
                  <a:lnTo>
                    <a:pt x="25874" y="44125"/>
                  </a:lnTo>
                  <a:lnTo>
                    <a:pt x="27710" y="44459"/>
                  </a:lnTo>
                  <a:lnTo>
                    <a:pt x="29602" y="44737"/>
                  </a:lnTo>
                  <a:lnTo>
                    <a:pt x="31494" y="45015"/>
                  </a:lnTo>
                  <a:lnTo>
                    <a:pt x="33442" y="45238"/>
                  </a:lnTo>
                  <a:lnTo>
                    <a:pt x="35389" y="45349"/>
                  </a:lnTo>
                  <a:lnTo>
                    <a:pt x="37392" y="45460"/>
                  </a:lnTo>
                  <a:lnTo>
                    <a:pt x="41454" y="45460"/>
                  </a:lnTo>
                  <a:lnTo>
                    <a:pt x="43457" y="45349"/>
                  </a:lnTo>
                  <a:lnTo>
                    <a:pt x="45405" y="45238"/>
                  </a:lnTo>
                  <a:lnTo>
                    <a:pt x="47352" y="45015"/>
                  </a:lnTo>
                  <a:lnTo>
                    <a:pt x="49244" y="44737"/>
                  </a:lnTo>
                  <a:lnTo>
                    <a:pt x="51080" y="44459"/>
                  </a:lnTo>
                  <a:lnTo>
                    <a:pt x="52916" y="44125"/>
                  </a:lnTo>
                  <a:lnTo>
                    <a:pt x="54697" y="43680"/>
                  </a:lnTo>
                  <a:lnTo>
                    <a:pt x="56422" y="43235"/>
                  </a:lnTo>
                  <a:lnTo>
                    <a:pt x="58147" y="42734"/>
                  </a:lnTo>
                  <a:lnTo>
                    <a:pt x="59760" y="42177"/>
                  </a:lnTo>
                  <a:lnTo>
                    <a:pt x="61374" y="41621"/>
                  </a:lnTo>
                  <a:lnTo>
                    <a:pt x="62876" y="40953"/>
                  </a:lnTo>
                  <a:lnTo>
                    <a:pt x="64379" y="40285"/>
                  </a:lnTo>
                  <a:lnTo>
                    <a:pt x="65770" y="39562"/>
                  </a:lnTo>
                  <a:lnTo>
                    <a:pt x="67161" y="38839"/>
                  </a:lnTo>
                  <a:lnTo>
                    <a:pt x="68441" y="38004"/>
                  </a:lnTo>
                  <a:lnTo>
                    <a:pt x="69665" y="37225"/>
                  </a:lnTo>
                  <a:lnTo>
                    <a:pt x="70833" y="36335"/>
                  </a:lnTo>
                  <a:lnTo>
                    <a:pt x="71946" y="35445"/>
                  </a:lnTo>
                  <a:lnTo>
                    <a:pt x="72948" y="34554"/>
                  </a:lnTo>
                  <a:lnTo>
                    <a:pt x="73894" y="33553"/>
                  </a:lnTo>
                  <a:lnTo>
                    <a:pt x="74728" y="32607"/>
                  </a:lnTo>
                  <a:lnTo>
                    <a:pt x="75507" y="31605"/>
                  </a:lnTo>
                  <a:lnTo>
                    <a:pt x="76231" y="30548"/>
                  </a:lnTo>
                  <a:lnTo>
                    <a:pt x="76843" y="29491"/>
                  </a:lnTo>
                  <a:lnTo>
                    <a:pt x="77343" y="28434"/>
                  </a:lnTo>
                  <a:lnTo>
                    <a:pt x="77789" y="27321"/>
                  </a:lnTo>
                  <a:lnTo>
                    <a:pt x="78122" y="26208"/>
                  </a:lnTo>
                  <a:lnTo>
                    <a:pt x="78401" y="25039"/>
                  </a:lnTo>
                  <a:lnTo>
                    <a:pt x="78512" y="23927"/>
                  </a:lnTo>
                  <a:lnTo>
                    <a:pt x="78568" y="22702"/>
                  </a:lnTo>
                  <a:lnTo>
                    <a:pt x="78512" y="21534"/>
                  </a:lnTo>
                  <a:lnTo>
                    <a:pt x="78345" y="20421"/>
                  </a:lnTo>
                  <a:lnTo>
                    <a:pt x="78067" y="19253"/>
                  </a:lnTo>
                  <a:lnTo>
                    <a:pt x="77733" y="18140"/>
                  </a:lnTo>
                  <a:lnTo>
                    <a:pt x="77288" y="17027"/>
                  </a:lnTo>
                  <a:lnTo>
                    <a:pt x="76787" y="15970"/>
                  </a:lnTo>
                  <a:lnTo>
                    <a:pt x="76119" y="14912"/>
                  </a:lnTo>
                  <a:lnTo>
                    <a:pt x="75452" y="13855"/>
                  </a:lnTo>
                  <a:lnTo>
                    <a:pt x="74617" y="12854"/>
                  </a:lnTo>
                  <a:lnTo>
                    <a:pt x="73782" y="11908"/>
                  </a:lnTo>
                  <a:lnTo>
                    <a:pt x="72836" y="10906"/>
                  </a:lnTo>
                  <a:lnTo>
                    <a:pt x="71779" y="10016"/>
                  </a:lnTo>
                  <a:lnTo>
                    <a:pt x="70666" y="9126"/>
                  </a:lnTo>
                  <a:lnTo>
                    <a:pt x="69498" y="8235"/>
                  </a:lnTo>
                  <a:lnTo>
                    <a:pt x="68274" y="7456"/>
                  </a:lnTo>
                  <a:lnTo>
                    <a:pt x="66994" y="6622"/>
                  </a:lnTo>
                  <a:lnTo>
                    <a:pt x="65603" y="5898"/>
                  </a:lnTo>
                  <a:lnTo>
                    <a:pt x="64156" y="5175"/>
                  </a:lnTo>
                  <a:lnTo>
                    <a:pt x="62710" y="4507"/>
                  </a:lnTo>
                  <a:lnTo>
                    <a:pt x="61152" y="3840"/>
                  </a:lnTo>
                  <a:lnTo>
                    <a:pt x="59538" y="3283"/>
                  </a:lnTo>
                  <a:lnTo>
                    <a:pt x="57924" y="2727"/>
                  </a:lnTo>
                  <a:lnTo>
                    <a:pt x="56199" y="2226"/>
                  </a:lnTo>
                  <a:lnTo>
                    <a:pt x="54474" y="1781"/>
                  </a:lnTo>
                  <a:lnTo>
                    <a:pt x="52694" y="1336"/>
                  </a:lnTo>
                  <a:lnTo>
                    <a:pt x="50858" y="1002"/>
                  </a:lnTo>
                  <a:lnTo>
                    <a:pt x="48966" y="668"/>
                  </a:lnTo>
                  <a:lnTo>
                    <a:pt x="47074" y="445"/>
                  </a:lnTo>
                  <a:lnTo>
                    <a:pt x="45127" y="223"/>
                  </a:lnTo>
                  <a:lnTo>
                    <a:pt x="43179" y="111"/>
                  </a:lnTo>
                  <a:lnTo>
                    <a:pt x="41176" y="0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2300;p60">
              <a:extLst>
                <a:ext uri="{FF2B5EF4-FFF2-40B4-BE49-F238E27FC236}">
                  <a16:creationId xmlns:a16="http://schemas.microsoft.com/office/drawing/2014/main" id="{D1F820E6-10C1-6164-6D2E-D45FF38362EE}"/>
                </a:ext>
              </a:extLst>
            </p:cNvPr>
            <p:cNvSpPr/>
            <p:nvPr/>
          </p:nvSpPr>
          <p:spPr>
            <a:xfrm>
              <a:off x="1409025" y="2385925"/>
              <a:ext cx="1562175" cy="904200"/>
            </a:xfrm>
            <a:custGeom>
              <a:avLst/>
              <a:gdLst/>
              <a:ahLst/>
              <a:cxnLst/>
              <a:rect l="l" t="t" r="r" b="b"/>
              <a:pathLst>
                <a:path w="62487" h="36168" extrusionOk="0">
                  <a:moveTo>
                    <a:pt x="29546" y="0"/>
                  </a:moveTo>
                  <a:lnTo>
                    <a:pt x="27933" y="111"/>
                  </a:lnTo>
                  <a:lnTo>
                    <a:pt x="26375" y="223"/>
                  </a:lnTo>
                  <a:lnTo>
                    <a:pt x="24872" y="390"/>
                  </a:lnTo>
                  <a:lnTo>
                    <a:pt x="23370" y="557"/>
                  </a:lnTo>
                  <a:lnTo>
                    <a:pt x="21868" y="835"/>
                  </a:lnTo>
                  <a:lnTo>
                    <a:pt x="20421" y="1113"/>
                  </a:lnTo>
                  <a:lnTo>
                    <a:pt x="19030" y="1391"/>
                  </a:lnTo>
                  <a:lnTo>
                    <a:pt x="17639" y="1781"/>
                  </a:lnTo>
                  <a:lnTo>
                    <a:pt x="16303" y="2170"/>
                  </a:lnTo>
                  <a:lnTo>
                    <a:pt x="14968" y="2615"/>
                  </a:lnTo>
                  <a:lnTo>
                    <a:pt x="13688" y="3061"/>
                  </a:lnTo>
                  <a:lnTo>
                    <a:pt x="12464" y="3561"/>
                  </a:lnTo>
                  <a:lnTo>
                    <a:pt x="11296" y="4118"/>
                  </a:lnTo>
                  <a:lnTo>
                    <a:pt x="10183" y="4674"/>
                  </a:lnTo>
                  <a:lnTo>
                    <a:pt x="9126" y="5286"/>
                  </a:lnTo>
                  <a:lnTo>
                    <a:pt x="8068" y="5898"/>
                  </a:lnTo>
                  <a:lnTo>
                    <a:pt x="7067" y="6566"/>
                  </a:lnTo>
                  <a:lnTo>
                    <a:pt x="6176" y="7234"/>
                  </a:lnTo>
                  <a:lnTo>
                    <a:pt x="5286" y="7957"/>
                  </a:lnTo>
                  <a:lnTo>
                    <a:pt x="4507" y="8680"/>
                  </a:lnTo>
                  <a:lnTo>
                    <a:pt x="3728" y="9459"/>
                  </a:lnTo>
                  <a:lnTo>
                    <a:pt x="3061" y="10238"/>
                  </a:lnTo>
                  <a:lnTo>
                    <a:pt x="2448" y="11017"/>
                  </a:lnTo>
                  <a:lnTo>
                    <a:pt x="1892" y="11852"/>
                  </a:lnTo>
                  <a:lnTo>
                    <a:pt x="1391" y="12687"/>
                  </a:lnTo>
                  <a:lnTo>
                    <a:pt x="1002" y="13577"/>
                  </a:lnTo>
                  <a:lnTo>
                    <a:pt x="668" y="14412"/>
                  </a:lnTo>
                  <a:lnTo>
                    <a:pt x="390" y="15302"/>
                  </a:lnTo>
                  <a:lnTo>
                    <a:pt x="167" y="16248"/>
                  </a:lnTo>
                  <a:lnTo>
                    <a:pt x="56" y="17138"/>
                  </a:lnTo>
                  <a:lnTo>
                    <a:pt x="0" y="18084"/>
                  </a:lnTo>
                  <a:lnTo>
                    <a:pt x="56" y="19030"/>
                  </a:lnTo>
                  <a:lnTo>
                    <a:pt x="223" y="19920"/>
                  </a:lnTo>
                  <a:lnTo>
                    <a:pt x="390" y="20810"/>
                  </a:lnTo>
                  <a:lnTo>
                    <a:pt x="668" y="21701"/>
                  </a:lnTo>
                  <a:lnTo>
                    <a:pt x="1057" y="22591"/>
                  </a:lnTo>
                  <a:lnTo>
                    <a:pt x="1447" y="23481"/>
                  </a:lnTo>
                  <a:lnTo>
                    <a:pt x="1948" y="24316"/>
                  </a:lnTo>
                  <a:lnTo>
                    <a:pt x="2504" y="25095"/>
                  </a:lnTo>
                  <a:lnTo>
                    <a:pt x="3172" y="25930"/>
                  </a:lnTo>
                  <a:lnTo>
                    <a:pt x="3840" y="26709"/>
                  </a:lnTo>
                  <a:lnTo>
                    <a:pt x="4619" y="27432"/>
                  </a:lnTo>
                  <a:lnTo>
                    <a:pt x="5398" y="28211"/>
                  </a:lnTo>
                  <a:lnTo>
                    <a:pt x="6288" y="28879"/>
                  </a:lnTo>
                  <a:lnTo>
                    <a:pt x="7234" y="29602"/>
                  </a:lnTo>
                  <a:lnTo>
                    <a:pt x="8235" y="30214"/>
                  </a:lnTo>
                  <a:lnTo>
                    <a:pt x="9237" y="30882"/>
                  </a:lnTo>
                  <a:lnTo>
                    <a:pt x="10350" y="31438"/>
                  </a:lnTo>
                  <a:lnTo>
                    <a:pt x="11463" y="32050"/>
                  </a:lnTo>
                  <a:lnTo>
                    <a:pt x="12631" y="32551"/>
                  </a:lnTo>
                  <a:lnTo>
                    <a:pt x="13855" y="33052"/>
                  </a:lnTo>
                  <a:lnTo>
                    <a:pt x="15135" y="33553"/>
                  </a:lnTo>
                  <a:lnTo>
                    <a:pt x="16470" y="33998"/>
                  </a:lnTo>
                  <a:lnTo>
                    <a:pt x="17806" y="34387"/>
                  </a:lnTo>
                  <a:lnTo>
                    <a:pt x="19197" y="34721"/>
                  </a:lnTo>
                  <a:lnTo>
                    <a:pt x="20588" y="35055"/>
                  </a:lnTo>
                  <a:lnTo>
                    <a:pt x="22090" y="35333"/>
                  </a:lnTo>
                  <a:lnTo>
                    <a:pt x="23537" y="35611"/>
                  </a:lnTo>
                  <a:lnTo>
                    <a:pt x="25039" y="35778"/>
                  </a:lnTo>
                  <a:lnTo>
                    <a:pt x="26597" y="35945"/>
                  </a:lnTo>
                  <a:lnTo>
                    <a:pt x="28155" y="36057"/>
                  </a:lnTo>
                  <a:lnTo>
                    <a:pt x="29769" y="36168"/>
                  </a:lnTo>
                  <a:lnTo>
                    <a:pt x="32941" y="36168"/>
                  </a:lnTo>
                  <a:lnTo>
                    <a:pt x="34554" y="36057"/>
                  </a:lnTo>
                  <a:lnTo>
                    <a:pt x="36112" y="35945"/>
                  </a:lnTo>
                  <a:lnTo>
                    <a:pt x="37614" y="35778"/>
                  </a:lnTo>
                  <a:lnTo>
                    <a:pt x="39172" y="35611"/>
                  </a:lnTo>
                  <a:lnTo>
                    <a:pt x="40619" y="35333"/>
                  </a:lnTo>
                  <a:lnTo>
                    <a:pt x="42066" y="35055"/>
                  </a:lnTo>
                  <a:lnTo>
                    <a:pt x="43513" y="34721"/>
                  </a:lnTo>
                  <a:lnTo>
                    <a:pt x="44848" y="34387"/>
                  </a:lnTo>
                  <a:lnTo>
                    <a:pt x="46239" y="33998"/>
                  </a:lnTo>
                  <a:lnTo>
                    <a:pt x="47519" y="33553"/>
                  </a:lnTo>
                  <a:lnTo>
                    <a:pt x="48799" y="33052"/>
                  </a:lnTo>
                  <a:lnTo>
                    <a:pt x="50023" y="32551"/>
                  </a:lnTo>
                  <a:lnTo>
                    <a:pt x="51191" y="32050"/>
                  </a:lnTo>
                  <a:lnTo>
                    <a:pt x="52304" y="31438"/>
                  </a:lnTo>
                  <a:lnTo>
                    <a:pt x="53417" y="30882"/>
                  </a:lnTo>
                  <a:lnTo>
                    <a:pt x="54418" y="30214"/>
                  </a:lnTo>
                  <a:lnTo>
                    <a:pt x="55420" y="29602"/>
                  </a:lnTo>
                  <a:lnTo>
                    <a:pt x="56310" y="28879"/>
                  </a:lnTo>
                  <a:lnTo>
                    <a:pt x="57201" y="28211"/>
                  </a:lnTo>
                  <a:lnTo>
                    <a:pt x="57980" y="27432"/>
                  </a:lnTo>
                  <a:lnTo>
                    <a:pt x="58759" y="26709"/>
                  </a:lnTo>
                  <a:lnTo>
                    <a:pt x="59426" y="25930"/>
                  </a:lnTo>
                  <a:lnTo>
                    <a:pt x="60038" y="25095"/>
                  </a:lnTo>
                  <a:lnTo>
                    <a:pt x="60595" y="24316"/>
                  </a:lnTo>
                  <a:lnTo>
                    <a:pt x="61096" y="23481"/>
                  </a:lnTo>
                  <a:lnTo>
                    <a:pt x="61485" y="22591"/>
                  </a:lnTo>
                  <a:lnTo>
                    <a:pt x="61875" y="21701"/>
                  </a:lnTo>
                  <a:lnTo>
                    <a:pt x="62097" y="20810"/>
                  </a:lnTo>
                  <a:lnTo>
                    <a:pt x="62320" y="19920"/>
                  </a:lnTo>
                  <a:lnTo>
                    <a:pt x="62431" y="19030"/>
                  </a:lnTo>
                  <a:lnTo>
                    <a:pt x="62487" y="18084"/>
                  </a:lnTo>
                  <a:lnTo>
                    <a:pt x="62431" y="17138"/>
                  </a:lnTo>
                  <a:lnTo>
                    <a:pt x="62320" y="16248"/>
                  </a:lnTo>
                  <a:lnTo>
                    <a:pt x="62097" y="15302"/>
                  </a:lnTo>
                  <a:lnTo>
                    <a:pt x="61819" y="14412"/>
                  </a:lnTo>
                  <a:lnTo>
                    <a:pt x="61485" y="13577"/>
                  </a:lnTo>
                  <a:lnTo>
                    <a:pt x="61040" y="12687"/>
                  </a:lnTo>
                  <a:lnTo>
                    <a:pt x="60539" y="11852"/>
                  </a:lnTo>
                  <a:lnTo>
                    <a:pt x="59983" y="11017"/>
                  </a:lnTo>
                  <a:lnTo>
                    <a:pt x="59371" y="10238"/>
                  </a:lnTo>
                  <a:lnTo>
                    <a:pt x="58647" y="9459"/>
                  </a:lnTo>
                  <a:lnTo>
                    <a:pt x="57868" y="8680"/>
                  </a:lnTo>
                  <a:lnTo>
                    <a:pt x="57089" y="7957"/>
                  </a:lnTo>
                  <a:lnTo>
                    <a:pt x="56199" y="7234"/>
                  </a:lnTo>
                  <a:lnTo>
                    <a:pt x="55253" y="6566"/>
                  </a:lnTo>
                  <a:lnTo>
                    <a:pt x="54307" y="5898"/>
                  </a:lnTo>
                  <a:lnTo>
                    <a:pt x="53250" y="5286"/>
                  </a:lnTo>
                  <a:lnTo>
                    <a:pt x="52137" y="4674"/>
                  </a:lnTo>
                  <a:lnTo>
                    <a:pt x="51024" y="4118"/>
                  </a:lnTo>
                  <a:lnTo>
                    <a:pt x="49856" y="3561"/>
                  </a:lnTo>
                  <a:lnTo>
                    <a:pt x="48632" y="3061"/>
                  </a:lnTo>
                  <a:lnTo>
                    <a:pt x="47352" y="2615"/>
                  </a:lnTo>
                  <a:lnTo>
                    <a:pt x="46016" y="2170"/>
                  </a:lnTo>
                  <a:lnTo>
                    <a:pt x="44681" y="1781"/>
                  </a:lnTo>
                  <a:lnTo>
                    <a:pt x="43290" y="1391"/>
                  </a:lnTo>
                  <a:lnTo>
                    <a:pt x="41899" y="1113"/>
                  </a:lnTo>
                  <a:lnTo>
                    <a:pt x="40452" y="835"/>
                  </a:lnTo>
                  <a:lnTo>
                    <a:pt x="38950" y="557"/>
                  </a:lnTo>
                  <a:lnTo>
                    <a:pt x="37448" y="390"/>
                  </a:lnTo>
                  <a:lnTo>
                    <a:pt x="35890" y="223"/>
                  </a:lnTo>
                  <a:lnTo>
                    <a:pt x="34332" y="111"/>
                  </a:lnTo>
                  <a:lnTo>
                    <a:pt x="32774" y="0"/>
                  </a:lnTo>
                  <a:close/>
                </a:path>
              </a:pathLst>
            </a:custGeom>
            <a:solidFill>
              <a:srgbClr val="FFF3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2301;p60">
              <a:extLst>
                <a:ext uri="{FF2B5EF4-FFF2-40B4-BE49-F238E27FC236}">
                  <a16:creationId xmlns:a16="http://schemas.microsoft.com/office/drawing/2014/main" id="{EA41CB54-0697-11ED-7B51-07EB48B142DE}"/>
                </a:ext>
              </a:extLst>
            </p:cNvPr>
            <p:cNvSpPr/>
            <p:nvPr/>
          </p:nvSpPr>
          <p:spPr>
            <a:xfrm>
              <a:off x="1207325" y="2838025"/>
              <a:ext cx="1964200" cy="709450"/>
            </a:xfrm>
            <a:custGeom>
              <a:avLst/>
              <a:gdLst/>
              <a:ahLst/>
              <a:cxnLst/>
              <a:rect l="l" t="t" r="r" b="b"/>
              <a:pathLst>
                <a:path w="78568" h="28378" extrusionOk="0">
                  <a:moveTo>
                    <a:pt x="56" y="0"/>
                  </a:moveTo>
                  <a:lnTo>
                    <a:pt x="0" y="5676"/>
                  </a:lnTo>
                  <a:lnTo>
                    <a:pt x="56" y="6844"/>
                  </a:lnTo>
                  <a:lnTo>
                    <a:pt x="223" y="7957"/>
                  </a:lnTo>
                  <a:lnTo>
                    <a:pt x="501" y="9125"/>
                  </a:lnTo>
                  <a:lnTo>
                    <a:pt x="835" y="10238"/>
                  </a:lnTo>
                  <a:lnTo>
                    <a:pt x="1280" y="11351"/>
                  </a:lnTo>
                  <a:lnTo>
                    <a:pt x="1836" y="12408"/>
                  </a:lnTo>
                  <a:lnTo>
                    <a:pt x="2448" y="13466"/>
                  </a:lnTo>
                  <a:lnTo>
                    <a:pt x="3172" y="14523"/>
                  </a:lnTo>
                  <a:lnTo>
                    <a:pt x="3951" y="15524"/>
                  </a:lnTo>
                  <a:lnTo>
                    <a:pt x="4841" y="16470"/>
                  </a:lnTo>
                  <a:lnTo>
                    <a:pt x="5787" y="17472"/>
                  </a:lnTo>
                  <a:lnTo>
                    <a:pt x="6788" y="18362"/>
                  </a:lnTo>
                  <a:lnTo>
                    <a:pt x="7901" y="19252"/>
                  </a:lnTo>
                  <a:lnTo>
                    <a:pt x="9070" y="20143"/>
                  </a:lnTo>
                  <a:lnTo>
                    <a:pt x="10294" y="20922"/>
                  </a:lnTo>
                  <a:lnTo>
                    <a:pt x="11629" y="21756"/>
                  </a:lnTo>
                  <a:lnTo>
                    <a:pt x="12965" y="22480"/>
                  </a:lnTo>
                  <a:lnTo>
                    <a:pt x="14411" y="23203"/>
                  </a:lnTo>
                  <a:lnTo>
                    <a:pt x="15914" y="23871"/>
                  </a:lnTo>
                  <a:lnTo>
                    <a:pt x="17472" y="24538"/>
                  </a:lnTo>
                  <a:lnTo>
                    <a:pt x="19030" y="25095"/>
                  </a:lnTo>
                  <a:lnTo>
                    <a:pt x="20699" y="25651"/>
                  </a:lnTo>
                  <a:lnTo>
                    <a:pt x="22368" y="26152"/>
                  </a:lnTo>
                  <a:lnTo>
                    <a:pt x="24149" y="26597"/>
                  </a:lnTo>
                  <a:lnTo>
                    <a:pt x="25929" y="27042"/>
                  </a:lnTo>
                  <a:lnTo>
                    <a:pt x="27766" y="27376"/>
                  </a:lnTo>
                  <a:lnTo>
                    <a:pt x="29602" y="27710"/>
                  </a:lnTo>
                  <a:lnTo>
                    <a:pt x="31494" y="27933"/>
                  </a:lnTo>
                  <a:lnTo>
                    <a:pt x="33441" y="28155"/>
                  </a:lnTo>
                  <a:lnTo>
                    <a:pt x="35389" y="28266"/>
                  </a:lnTo>
                  <a:lnTo>
                    <a:pt x="37392" y="28378"/>
                  </a:lnTo>
                  <a:lnTo>
                    <a:pt x="41454" y="28378"/>
                  </a:lnTo>
                  <a:lnTo>
                    <a:pt x="43457" y="28266"/>
                  </a:lnTo>
                  <a:lnTo>
                    <a:pt x="45404" y="28155"/>
                  </a:lnTo>
                  <a:lnTo>
                    <a:pt x="47352" y="27933"/>
                  </a:lnTo>
                  <a:lnTo>
                    <a:pt x="49244" y="27710"/>
                  </a:lnTo>
                  <a:lnTo>
                    <a:pt x="51080" y="27376"/>
                  </a:lnTo>
                  <a:lnTo>
                    <a:pt x="52916" y="27042"/>
                  </a:lnTo>
                  <a:lnTo>
                    <a:pt x="54697" y="26597"/>
                  </a:lnTo>
                  <a:lnTo>
                    <a:pt x="56421" y="26152"/>
                  </a:lnTo>
                  <a:lnTo>
                    <a:pt x="58146" y="25651"/>
                  </a:lnTo>
                  <a:lnTo>
                    <a:pt x="59760" y="25095"/>
                  </a:lnTo>
                  <a:lnTo>
                    <a:pt x="61374" y="24538"/>
                  </a:lnTo>
                  <a:lnTo>
                    <a:pt x="62932" y="23871"/>
                  </a:lnTo>
                  <a:lnTo>
                    <a:pt x="64378" y="23203"/>
                  </a:lnTo>
                  <a:lnTo>
                    <a:pt x="65825" y="22480"/>
                  </a:lnTo>
                  <a:lnTo>
                    <a:pt x="67160" y="21756"/>
                  </a:lnTo>
                  <a:lnTo>
                    <a:pt x="68440" y="20922"/>
                  </a:lnTo>
                  <a:lnTo>
                    <a:pt x="69664" y="20143"/>
                  </a:lnTo>
                  <a:lnTo>
                    <a:pt x="70833" y="19252"/>
                  </a:lnTo>
                  <a:lnTo>
                    <a:pt x="71946" y="18362"/>
                  </a:lnTo>
                  <a:lnTo>
                    <a:pt x="72947" y="17472"/>
                  </a:lnTo>
                  <a:lnTo>
                    <a:pt x="73893" y="16470"/>
                  </a:lnTo>
                  <a:lnTo>
                    <a:pt x="74783" y="15524"/>
                  </a:lnTo>
                  <a:lnTo>
                    <a:pt x="75562" y="14523"/>
                  </a:lnTo>
                  <a:lnTo>
                    <a:pt x="76230" y="13466"/>
                  </a:lnTo>
                  <a:lnTo>
                    <a:pt x="76842" y="12408"/>
                  </a:lnTo>
                  <a:lnTo>
                    <a:pt x="77399" y="11351"/>
                  </a:lnTo>
                  <a:lnTo>
                    <a:pt x="77788" y="10238"/>
                  </a:lnTo>
                  <a:lnTo>
                    <a:pt x="78122" y="9125"/>
                  </a:lnTo>
                  <a:lnTo>
                    <a:pt x="78400" y="7957"/>
                  </a:lnTo>
                  <a:lnTo>
                    <a:pt x="78511" y="6844"/>
                  </a:lnTo>
                  <a:lnTo>
                    <a:pt x="78567" y="5676"/>
                  </a:lnTo>
                  <a:lnTo>
                    <a:pt x="78567" y="1169"/>
                  </a:lnTo>
                  <a:lnTo>
                    <a:pt x="78400" y="2337"/>
                  </a:lnTo>
                  <a:lnTo>
                    <a:pt x="78178" y="3450"/>
                  </a:lnTo>
                  <a:lnTo>
                    <a:pt x="77844" y="4563"/>
                  </a:lnTo>
                  <a:lnTo>
                    <a:pt x="77399" y="5676"/>
                  </a:lnTo>
                  <a:lnTo>
                    <a:pt x="76842" y="6788"/>
                  </a:lnTo>
                  <a:lnTo>
                    <a:pt x="76230" y="7846"/>
                  </a:lnTo>
                  <a:lnTo>
                    <a:pt x="75562" y="8847"/>
                  </a:lnTo>
                  <a:lnTo>
                    <a:pt x="74783" y="9849"/>
                  </a:lnTo>
                  <a:lnTo>
                    <a:pt x="73893" y="10850"/>
                  </a:lnTo>
                  <a:lnTo>
                    <a:pt x="72947" y="11796"/>
                  </a:lnTo>
                  <a:lnTo>
                    <a:pt x="71946" y="12742"/>
                  </a:lnTo>
                  <a:lnTo>
                    <a:pt x="70888" y="13632"/>
                  </a:lnTo>
                  <a:lnTo>
                    <a:pt x="69720" y="14467"/>
                  </a:lnTo>
                  <a:lnTo>
                    <a:pt x="68496" y="15302"/>
                  </a:lnTo>
                  <a:lnTo>
                    <a:pt x="67160" y="16081"/>
                  </a:lnTo>
                  <a:lnTo>
                    <a:pt x="65825" y="16860"/>
                  </a:lnTo>
                  <a:lnTo>
                    <a:pt x="64378" y="17527"/>
                  </a:lnTo>
                  <a:lnTo>
                    <a:pt x="62932" y="18251"/>
                  </a:lnTo>
                  <a:lnTo>
                    <a:pt x="61374" y="18863"/>
                  </a:lnTo>
                  <a:lnTo>
                    <a:pt x="59816" y="19475"/>
                  </a:lnTo>
                  <a:lnTo>
                    <a:pt x="58146" y="19976"/>
                  </a:lnTo>
                  <a:lnTo>
                    <a:pt x="56477" y="20476"/>
                  </a:lnTo>
                  <a:lnTo>
                    <a:pt x="54752" y="20977"/>
                  </a:lnTo>
                  <a:lnTo>
                    <a:pt x="52916" y="21367"/>
                  </a:lnTo>
                  <a:lnTo>
                    <a:pt x="51135" y="21701"/>
                  </a:lnTo>
                  <a:lnTo>
                    <a:pt x="49244" y="22034"/>
                  </a:lnTo>
                  <a:lnTo>
                    <a:pt x="47352" y="22257"/>
                  </a:lnTo>
                  <a:lnTo>
                    <a:pt x="45404" y="22480"/>
                  </a:lnTo>
                  <a:lnTo>
                    <a:pt x="43457" y="22647"/>
                  </a:lnTo>
                  <a:lnTo>
                    <a:pt x="41454" y="22702"/>
                  </a:lnTo>
                  <a:lnTo>
                    <a:pt x="39451" y="22758"/>
                  </a:lnTo>
                  <a:lnTo>
                    <a:pt x="37447" y="22702"/>
                  </a:lnTo>
                  <a:lnTo>
                    <a:pt x="35444" y="22647"/>
                  </a:lnTo>
                  <a:lnTo>
                    <a:pt x="33441" y="22480"/>
                  </a:lnTo>
                  <a:lnTo>
                    <a:pt x="31549" y="22257"/>
                  </a:lnTo>
                  <a:lnTo>
                    <a:pt x="29602" y="22034"/>
                  </a:lnTo>
                  <a:lnTo>
                    <a:pt x="27766" y="21701"/>
                  </a:lnTo>
                  <a:lnTo>
                    <a:pt x="25929" y="21367"/>
                  </a:lnTo>
                  <a:lnTo>
                    <a:pt x="24149" y="20977"/>
                  </a:lnTo>
                  <a:lnTo>
                    <a:pt x="22424" y="20476"/>
                  </a:lnTo>
                  <a:lnTo>
                    <a:pt x="20699" y="19976"/>
                  </a:lnTo>
                  <a:lnTo>
                    <a:pt x="19030" y="19475"/>
                  </a:lnTo>
                  <a:lnTo>
                    <a:pt x="17472" y="18863"/>
                  </a:lnTo>
                  <a:lnTo>
                    <a:pt x="15914" y="18251"/>
                  </a:lnTo>
                  <a:lnTo>
                    <a:pt x="14411" y="17527"/>
                  </a:lnTo>
                  <a:lnTo>
                    <a:pt x="13020" y="16860"/>
                  </a:lnTo>
                  <a:lnTo>
                    <a:pt x="11629" y="16081"/>
                  </a:lnTo>
                  <a:lnTo>
                    <a:pt x="10350" y="15302"/>
                  </a:lnTo>
                  <a:lnTo>
                    <a:pt x="9070" y="14467"/>
                  </a:lnTo>
                  <a:lnTo>
                    <a:pt x="7901" y="13632"/>
                  </a:lnTo>
                  <a:lnTo>
                    <a:pt x="6844" y="12742"/>
                  </a:lnTo>
                  <a:lnTo>
                    <a:pt x="5787" y="11796"/>
                  </a:lnTo>
                  <a:lnTo>
                    <a:pt x="4841" y="10850"/>
                  </a:lnTo>
                  <a:lnTo>
                    <a:pt x="3951" y="9849"/>
                  </a:lnTo>
                  <a:lnTo>
                    <a:pt x="3172" y="8847"/>
                  </a:lnTo>
                  <a:lnTo>
                    <a:pt x="2448" y="7846"/>
                  </a:lnTo>
                  <a:lnTo>
                    <a:pt x="1836" y="6788"/>
                  </a:lnTo>
                  <a:lnTo>
                    <a:pt x="1280" y="5676"/>
                  </a:lnTo>
                  <a:lnTo>
                    <a:pt x="890" y="4563"/>
                  </a:lnTo>
                  <a:lnTo>
                    <a:pt x="501" y="3450"/>
                  </a:lnTo>
                  <a:lnTo>
                    <a:pt x="278" y="2337"/>
                  </a:lnTo>
                  <a:lnTo>
                    <a:pt x="111" y="1169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BF9D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" name="Google Shape;2302;p60">
              <a:extLst>
                <a:ext uri="{FF2B5EF4-FFF2-40B4-BE49-F238E27FC236}">
                  <a16:creationId xmlns:a16="http://schemas.microsoft.com/office/drawing/2014/main" id="{70F72931-73EF-2B4F-EA9A-11B79DBFB205}"/>
                </a:ext>
              </a:extLst>
            </p:cNvPr>
            <p:cNvSpPr/>
            <p:nvPr/>
          </p:nvSpPr>
          <p:spPr>
            <a:xfrm>
              <a:off x="1208700" y="2269075"/>
              <a:ext cx="1962825" cy="1137900"/>
            </a:xfrm>
            <a:custGeom>
              <a:avLst/>
              <a:gdLst/>
              <a:ahLst/>
              <a:cxnLst/>
              <a:rect l="l" t="t" r="r" b="b"/>
              <a:pathLst>
                <a:path w="78513" h="45516" extrusionOk="0">
                  <a:moveTo>
                    <a:pt x="40787" y="4674"/>
                  </a:moveTo>
                  <a:lnTo>
                    <a:pt x="42345" y="4785"/>
                  </a:lnTo>
                  <a:lnTo>
                    <a:pt x="43903" y="4897"/>
                  </a:lnTo>
                  <a:lnTo>
                    <a:pt x="45461" y="5064"/>
                  </a:lnTo>
                  <a:lnTo>
                    <a:pt x="46963" y="5231"/>
                  </a:lnTo>
                  <a:lnTo>
                    <a:pt x="48465" y="5509"/>
                  </a:lnTo>
                  <a:lnTo>
                    <a:pt x="49912" y="5787"/>
                  </a:lnTo>
                  <a:lnTo>
                    <a:pt x="51303" y="6065"/>
                  </a:lnTo>
                  <a:lnTo>
                    <a:pt x="52694" y="6455"/>
                  </a:lnTo>
                  <a:lnTo>
                    <a:pt x="54029" y="6844"/>
                  </a:lnTo>
                  <a:lnTo>
                    <a:pt x="55365" y="7289"/>
                  </a:lnTo>
                  <a:lnTo>
                    <a:pt x="56645" y="7735"/>
                  </a:lnTo>
                  <a:lnTo>
                    <a:pt x="57869" y="8235"/>
                  </a:lnTo>
                  <a:lnTo>
                    <a:pt x="59037" y="8792"/>
                  </a:lnTo>
                  <a:lnTo>
                    <a:pt x="60150" y="9348"/>
                  </a:lnTo>
                  <a:lnTo>
                    <a:pt x="61263" y="9960"/>
                  </a:lnTo>
                  <a:lnTo>
                    <a:pt x="62320" y="10572"/>
                  </a:lnTo>
                  <a:lnTo>
                    <a:pt x="63266" y="11240"/>
                  </a:lnTo>
                  <a:lnTo>
                    <a:pt x="64212" y="11908"/>
                  </a:lnTo>
                  <a:lnTo>
                    <a:pt x="65102" y="12631"/>
                  </a:lnTo>
                  <a:lnTo>
                    <a:pt x="65881" y="13354"/>
                  </a:lnTo>
                  <a:lnTo>
                    <a:pt x="66660" y="14133"/>
                  </a:lnTo>
                  <a:lnTo>
                    <a:pt x="67384" y="14912"/>
                  </a:lnTo>
                  <a:lnTo>
                    <a:pt x="67996" y="15691"/>
                  </a:lnTo>
                  <a:lnTo>
                    <a:pt x="68552" y="16526"/>
                  </a:lnTo>
                  <a:lnTo>
                    <a:pt x="69053" y="17361"/>
                  </a:lnTo>
                  <a:lnTo>
                    <a:pt x="69498" y="18251"/>
                  </a:lnTo>
                  <a:lnTo>
                    <a:pt x="69832" y="19086"/>
                  </a:lnTo>
                  <a:lnTo>
                    <a:pt x="70110" y="19976"/>
                  </a:lnTo>
                  <a:lnTo>
                    <a:pt x="70333" y="20922"/>
                  </a:lnTo>
                  <a:lnTo>
                    <a:pt x="70444" y="21812"/>
                  </a:lnTo>
                  <a:lnTo>
                    <a:pt x="70500" y="22758"/>
                  </a:lnTo>
                  <a:lnTo>
                    <a:pt x="70444" y="23704"/>
                  </a:lnTo>
                  <a:lnTo>
                    <a:pt x="70333" y="24594"/>
                  </a:lnTo>
                  <a:lnTo>
                    <a:pt x="70110" y="25484"/>
                  </a:lnTo>
                  <a:lnTo>
                    <a:pt x="69888" y="26375"/>
                  </a:lnTo>
                  <a:lnTo>
                    <a:pt x="69498" y="27265"/>
                  </a:lnTo>
                  <a:lnTo>
                    <a:pt x="69109" y="28155"/>
                  </a:lnTo>
                  <a:lnTo>
                    <a:pt x="68608" y="28990"/>
                  </a:lnTo>
                  <a:lnTo>
                    <a:pt x="68051" y="29769"/>
                  </a:lnTo>
                  <a:lnTo>
                    <a:pt x="67439" y="30604"/>
                  </a:lnTo>
                  <a:lnTo>
                    <a:pt x="66772" y="31383"/>
                  </a:lnTo>
                  <a:lnTo>
                    <a:pt x="65993" y="32106"/>
                  </a:lnTo>
                  <a:lnTo>
                    <a:pt x="65214" y="32885"/>
                  </a:lnTo>
                  <a:lnTo>
                    <a:pt x="64323" y="33553"/>
                  </a:lnTo>
                  <a:lnTo>
                    <a:pt x="63433" y="34276"/>
                  </a:lnTo>
                  <a:lnTo>
                    <a:pt x="62431" y="34888"/>
                  </a:lnTo>
                  <a:lnTo>
                    <a:pt x="61430" y="35556"/>
                  </a:lnTo>
                  <a:lnTo>
                    <a:pt x="60317" y="36112"/>
                  </a:lnTo>
                  <a:lnTo>
                    <a:pt x="59204" y="36724"/>
                  </a:lnTo>
                  <a:lnTo>
                    <a:pt x="58036" y="37225"/>
                  </a:lnTo>
                  <a:lnTo>
                    <a:pt x="56812" y="37726"/>
                  </a:lnTo>
                  <a:lnTo>
                    <a:pt x="55532" y="38227"/>
                  </a:lnTo>
                  <a:lnTo>
                    <a:pt x="54252" y="38672"/>
                  </a:lnTo>
                  <a:lnTo>
                    <a:pt x="52861" y="39061"/>
                  </a:lnTo>
                  <a:lnTo>
                    <a:pt x="51526" y="39395"/>
                  </a:lnTo>
                  <a:lnTo>
                    <a:pt x="50079" y="39729"/>
                  </a:lnTo>
                  <a:lnTo>
                    <a:pt x="48632" y="40007"/>
                  </a:lnTo>
                  <a:lnTo>
                    <a:pt x="47185" y="40285"/>
                  </a:lnTo>
                  <a:lnTo>
                    <a:pt x="45627" y="40452"/>
                  </a:lnTo>
                  <a:lnTo>
                    <a:pt x="44125" y="40619"/>
                  </a:lnTo>
                  <a:lnTo>
                    <a:pt x="42567" y="40731"/>
                  </a:lnTo>
                  <a:lnTo>
                    <a:pt x="40954" y="40842"/>
                  </a:lnTo>
                  <a:lnTo>
                    <a:pt x="37782" y="40842"/>
                  </a:lnTo>
                  <a:lnTo>
                    <a:pt x="36168" y="40731"/>
                  </a:lnTo>
                  <a:lnTo>
                    <a:pt x="34610" y="40619"/>
                  </a:lnTo>
                  <a:lnTo>
                    <a:pt x="33052" y="40452"/>
                  </a:lnTo>
                  <a:lnTo>
                    <a:pt x="31550" y="40285"/>
                  </a:lnTo>
                  <a:lnTo>
                    <a:pt x="30103" y="40007"/>
                  </a:lnTo>
                  <a:lnTo>
                    <a:pt x="28601" y="39729"/>
                  </a:lnTo>
                  <a:lnTo>
                    <a:pt x="27210" y="39395"/>
                  </a:lnTo>
                  <a:lnTo>
                    <a:pt x="25819" y="39061"/>
                  </a:lnTo>
                  <a:lnTo>
                    <a:pt x="24483" y="38672"/>
                  </a:lnTo>
                  <a:lnTo>
                    <a:pt x="23148" y="38227"/>
                  </a:lnTo>
                  <a:lnTo>
                    <a:pt x="21868" y="37726"/>
                  </a:lnTo>
                  <a:lnTo>
                    <a:pt x="20644" y="37225"/>
                  </a:lnTo>
                  <a:lnTo>
                    <a:pt x="19476" y="36724"/>
                  </a:lnTo>
                  <a:lnTo>
                    <a:pt x="18363" y="36112"/>
                  </a:lnTo>
                  <a:lnTo>
                    <a:pt x="17250" y="35556"/>
                  </a:lnTo>
                  <a:lnTo>
                    <a:pt x="16248" y="34888"/>
                  </a:lnTo>
                  <a:lnTo>
                    <a:pt x="15247" y="34276"/>
                  </a:lnTo>
                  <a:lnTo>
                    <a:pt x="14301" y="33553"/>
                  </a:lnTo>
                  <a:lnTo>
                    <a:pt x="13411" y="32885"/>
                  </a:lnTo>
                  <a:lnTo>
                    <a:pt x="12632" y="32106"/>
                  </a:lnTo>
                  <a:lnTo>
                    <a:pt x="11853" y="31383"/>
                  </a:lnTo>
                  <a:lnTo>
                    <a:pt x="11185" y="30604"/>
                  </a:lnTo>
                  <a:lnTo>
                    <a:pt x="10517" y="29769"/>
                  </a:lnTo>
                  <a:lnTo>
                    <a:pt x="9961" y="28990"/>
                  </a:lnTo>
                  <a:lnTo>
                    <a:pt x="9460" y="28155"/>
                  </a:lnTo>
                  <a:lnTo>
                    <a:pt x="9070" y="27265"/>
                  </a:lnTo>
                  <a:lnTo>
                    <a:pt x="8681" y="26375"/>
                  </a:lnTo>
                  <a:lnTo>
                    <a:pt x="8403" y="25484"/>
                  </a:lnTo>
                  <a:lnTo>
                    <a:pt x="8236" y="24594"/>
                  </a:lnTo>
                  <a:lnTo>
                    <a:pt x="8069" y="23704"/>
                  </a:lnTo>
                  <a:lnTo>
                    <a:pt x="8013" y="22758"/>
                  </a:lnTo>
                  <a:lnTo>
                    <a:pt x="8069" y="21812"/>
                  </a:lnTo>
                  <a:lnTo>
                    <a:pt x="8180" y="20922"/>
                  </a:lnTo>
                  <a:lnTo>
                    <a:pt x="8403" y="19976"/>
                  </a:lnTo>
                  <a:lnTo>
                    <a:pt x="8681" y="19086"/>
                  </a:lnTo>
                  <a:lnTo>
                    <a:pt x="9015" y="18251"/>
                  </a:lnTo>
                  <a:lnTo>
                    <a:pt x="9404" y="17361"/>
                  </a:lnTo>
                  <a:lnTo>
                    <a:pt x="9905" y="16526"/>
                  </a:lnTo>
                  <a:lnTo>
                    <a:pt x="10461" y="15691"/>
                  </a:lnTo>
                  <a:lnTo>
                    <a:pt x="11074" y="14912"/>
                  </a:lnTo>
                  <a:lnTo>
                    <a:pt x="11741" y="14133"/>
                  </a:lnTo>
                  <a:lnTo>
                    <a:pt x="12520" y="13354"/>
                  </a:lnTo>
                  <a:lnTo>
                    <a:pt x="13299" y="12631"/>
                  </a:lnTo>
                  <a:lnTo>
                    <a:pt x="14189" y="11908"/>
                  </a:lnTo>
                  <a:lnTo>
                    <a:pt x="15080" y="11240"/>
                  </a:lnTo>
                  <a:lnTo>
                    <a:pt x="16081" y="10572"/>
                  </a:lnTo>
                  <a:lnTo>
                    <a:pt x="17139" y="9960"/>
                  </a:lnTo>
                  <a:lnTo>
                    <a:pt x="18196" y="9348"/>
                  </a:lnTo>
                  <a:lnTo>
                    <a:pt x="19309" y="8792"/>
                  </a:lnTo>
                  <a:lnTo>
                    <a:pt x="20477" y="8235"/>
                  </a:lnTo>
                  <a:lnTo>
                    <a:pt x="21701" y="7735"/>
                  </a:lnTo>
                  <a:lnTo>
                    <a:pt x="22981" y="7289"/>
                  </a:lnTo>
                  <a:lnTo>
                    <a:pt x="24316" y="6844"/>
                  </a:lnTo>
                  <a:lnTo>
                    <a:pt x="25652" y="6455"/>
                  </a:lnTo>
                  <a:lnTo>
                    <a:pt x="27043" y="6065"/>
                  </a:lnTo>
                  <a:lnTo>
                    <a:pt x="28434" y="5787"/>
                  </a:lnTo>
                  <a:lnTo>
                    <a:pt x="29881" y="5509"/>
                  </a:lnTo>
                  <a:lnTo>
                    <a:pt x="31383" y="5231"/>
                  </a:lnTo>
                  <a:lnTo>
                    <a:pt x="32885" y="5064"/>
                  </a:lnTo>
                  <a:lnTo>
                    <a:pt x="34388" y="4897"/>
                  </a:lnTo>
                  <a:lnTo>
                    <a:pt x="35946" y="4785"/>
                  </a:lnTo>
                  <a:lnTo>
                    <a:pt x="37559" y="4674"/>
                  </a:lnTo>
                  <a:close/>
                  <a:moveTo>
                    <a:pt x="39117" y="0"/>
                  </a:moveTo>
                  <a:lnTo>
                    <a:pt x="37114" y="56"/>
                  </a:lnTo>
                  <a:lnTo>
                    <a:pt x="35111" y="111"/>
                  </a:lnTo>
                  <a:lnTo>
                    <a:pt x="33164" y="278"/>
                  </a:lnTo>
                  <a:lnTo>
                    <a:pt x="31216" y="445"/>
                  </a:lnTo>
                  <a:lnTo>
                    <a:pt x="29324" y="724"/>
                  </a:lnTo>
                  <a:lnTo>
                    <a:pt x="27432" y="1002"/>
                  </a:lnTo>
                  <a:lnTo>
                    <a:pt x="25652" y="1391"/>
                  </a:lnTo>
                  <a:lnTo>
                    <a:pt x="23871" y="1781"/>
                  </a:lnTo>
                  <a:lnTo>
                    <a:pt x="22091" y="2226"/>
                  </a:lnTo>
                  <a:lnTo>
                    <a:pt x="20421" y="2727"/>
                  </a:lnTo>
                  <a:lnTo>
                    <a:pt x="18808" y="3283"/>
                  </a:lnTo>
                  <a:lnTo>
                    <a:pt x="17194" y="3895"/>
                  </a:lnTo>
                  <a:lnTo>
                    <a:pt x="15636" y="4507"/>
                  </a:lnTo>
                  <a:lnTo>
                    <a:pt x="14189" y="5175"/>
                  </a:lnTo>
                  <a:lnTo>
                    <a:pt x="12743" y="5898"/>
                  </a:lnTo>
                  <a:lnTo>
                    <a:pt x="11407" y="6677"/>
                  </a:lnTo>
                  <a:lnTo>
                    <a:pt x="10128" y="7456"/>
                  </a:lnTo>
                  <a:lnTo>
                    <a:pt x="8848" y="8291"/>
                  </a:lnTo>
                  <a:lnTo>
                    <a:pt x="7735" y="9126"/>
                  </a:lnTo>
                  <a:lnTo>
                    <a:pt x="6622" y="10016"/>
                  </a:lnTo>
                  <a:lnTo>
                    <a:pt x="5621" y="10962"/>
                  </a:lnTo>
                  <a:lnTo>
                    <a:pt x="4675" y="11908"/>
                  </a:lnTo>
                  <a:lnTo>
                    <a:pt x="3784" y="12909"/>
                  </a:lnTo>
                  <a:lnTo>
                    <a:pt x="3005" y="13911"/>
                  </a:lnTo>
                  <a:lnTo>
                    <a:pt x="2338" y="14912"/>
                  </a:lnTo>
                  <a:lnTo>
                    <a:pt x="1726" y="15970"/>
                  </a:lnTo>
                  <a:lnTo>
                    <a:pt x="1169" y="17082"/>
                  </a:lnTo>
                  <a:lnTo>
                    <a:pt x="780" y="18195"/>
                  </a:lnTo>
                  <a:lnTo>
                    <a:pt x="390" y="19308"/>
                  </a:lnTo>
                  <a:lnTo>
                    <a:pt x="168" y="20421"/>
                  </a:lnTo>
                  <a:lnTo>
                    <a:pt x="1" y="21590"/>
                  </a:lnTo>
                  <a:lnTo>
                    <a:pt x="1" y="22758"/>
                  </a:lnTo>
                  <a:lnTo>
                    <a:pt x="56" y="23927"/>
                  </a:lnTo>
                  <a:lnTo>
                    <a:pt x="223" y="25095"/>
                  </a:lnTo>
                  <a:lnTo>
                    <a:pt x="446" y="26208"/>
                  </a:lnTo>
                  <a:lnTo>
                    <a:pt x="835" y="27321"/>
                  </a:lnTo>
                  <a:lnTo>
                    <a:pt x="1225" y="28434"/>
                  </a:lnTo>
                  <a:lnTo>
                    <a:pt x="1781" y="29546"/>
                  </a:lnTo>
                  <a:lnTo>
                    <a:pt x="2393" y="30604"/>
                  </a:lnTo>
                  <a:lnTo>
                    <a:pt x="3117" y="31605"/>
                  </a:lnTo>
                  <a:lnTo>
                    <a:pt x="3896" y="32607"/>
                  </a:lnTo>
                  <a:lnTo>
                    <a:pt x="4786" y="33608"/>
                  </a:lnTo>
                  <a:lnTo>
                    <a:pt x="5732" y="34554"/>
                  </a:lnTo>
                  <a:lnTo>
                    <a:pt x="6789" y="35500"/>
                  </a:lnTo>
                  <a:lnTo>
                    <a:pt x="7846" y="36390"/>
                  </a:lnTo>
                  <a:lnTo>
                    <a:pt x="9015" y="37225"/>
                  </a:lnTo>
                  <a:lnTo>
                    <a:pt x="10295" y="38060"/>
                  </a:lnTo>
                  <a:lnTo>
                    <a:pt x="11574" y="38839"/>
                  </a:lnTo>
                  <a:lnTo>
                    <a:pt x="12965" y="39618"/>
                  </a:lnTo>
                  <a:lnTo>
                    <a:pt x="14356" y="40285"/>
                  </a:lnTo>
                  <a:lnTo>
                    <a:pt x="15859" y="41009"/>
                  </a:lnTo>
                  <a:lnTo>
                    <a:pt x="17417" y="41621"/>
                  </a:lnTo>
                  <a:lnTo>
                    <a:pt x="18975" y="42233"/>
                  </a:lnTo>
                  <a:lnTo>
                    <a:pt x="20644" y="42734"/>
                  </a:lnTo>
                  <a:lnTo>
                    <a:pt x="22369" y="43234"/>
                  </a:lnTo>
                  <a:lnTo>
                    <a:pt x="24094" y="43735"/>
                  </a:lnTo>
                  <a:lnTo>
                    <a:pt x="25874" y="44125"/>
                  </a:lnTo>
                  <a:lnTo>
                    <a:pt x="27711" y="44459"/>
                  </a:lnTo>
                  <a:lnTo>
                    <a:pt x="29547" y="44792"/>
                  </a:lnTo>
                  <a:lnTo>
                    <a:pt x="31494" y="45015"/>
                  </a:lnTo>
                  <a:lnTo>
                    <a:pt x="33386" y="45238"/>
                  </a:lnTo>
                  <a:lnTo>
                    <a:pt x="35389" y="45405"/>
                  </a:lnTo>
                  <a:lnTo>
                    <a:pt x="37392" y="45460"/>
                  </a:lnTo>
                  <a:lnTo>
                    <a:pt x="39396" y="45516"/>
                  </a:lnTo>
                  <a:lnTo>
                    <a:pt x="41399" y="45460"/>
                  </a:lnTo>
                  <a:lnTo>
                    <a:pt x="43402" y="45405"/>
                  </a:lnTo>
                  <a:lnTo>
                    <a:pt x="45349" y="45238"/>
                  </a:lnTo>
                  <a:lnTo>
                    <a:pt x="47297" y="45015"/>
                  </a:lnTo>
                  <a:lnTo>
                    <a:pt x="49189" y="44792"/>
                  </a:lnTo>
                  <a:lnTo>
                    <a:pt x="51080" y="44459"/>
                  </a:lnTo>
                  <a:lnTo>
                    <a:pt x="52861" y="44125"/>
                  </a:lnTo>
                  <a:lnTo>
                    <a:pt x="54697" y="43735"/>
                  </a:lnTo>
                  <a:lnTo>
                    <a:pt x="56422" y="43234"/>
                  </a:lnTo>
                  <a:lnTo>
                    <a:pt x="58091" y="42734"/>
                  </a:lnTo>
                  <a:lnTo>
                    <a:pt x="59761" y="42233"/>
                  </a:lnTo>
                  <a:lnTo>
                    <a:pt x="61319" y="41621"/>
                  </a:lnTo>
                  <a:lnTo>
                    <a:pt x="62877" y="41009"/>
                  </a:lnTo>
                  <a:lnTo>
                    <a:pt x="64323" y="40285"/>
                  </a:lnTo>
                  <a:lnTo>
                    <a:pt x="65770" y="39618"/>
                  </a:lnTo>
                  <a:lnTo>
                    <a:pt x="67105" y="38839"/>
                  </a:lnTo>
                  <a:lnTo>
                    <a:pt x="68441" y="38060"/>
                  </a:lnTo>
                  <a:lnTo>
                    <a:pt x="69665" y="37225"/>
                  </a:lnTo>
                  <a:lnTo>
                    <a:pt x="70833" y="36390"/>
                  </a:lnTo>
                  <a:lnTo>
                    <a:pt x="71891" y="35500"/>
                  </a:lnTo>
                  <a:lnTo>
                    <a:pt x="72892" y="34554"/>
                  </a:lnTo>
                  <a:lnTo>
                    <a:pt x="73838" y="33608"/>
                  </a:lnTo>
                  <a:lnTo>
                    <a:pt x="74728" y="32607"/>
                  </a:lnTo>
                  <a:lnTo>
                    <a:pt x="75507" y="31605"/>
                  </a:lnTo>
                  <a:lnTo>
                    <a:pt x="76175" y="30604"/>
                  </a:lnTo>
                  <a:lnTo>
                    <a:pt x="76787" y="29546"/>
                  </a:lnTo>
                  <a:lnTo>
                    <a:pt x="77344" y="28434"/>
                  </a:lnTo>
                  <a:lnTo>
                    <a:pt x="77789" y="27321"/>
                  </a:lnTo>
                  <a:lnTo>
                    <a:pt x="78123" y="26208"/>
                  </a:lnTo>
                  <a:lnTo>
                    <a:pt x="78345" y="25095"/>
                  </a:lnTo>
                  <a:lnTo>
                    <a:pt x="78512" y="23927"/>
                  </a:lnTo>
                  <a:lnTo>
                    <a:pt x="78512" y="22758"/>
                  </a:lnTo>
                  <a:lnTo>
                    <a:pt x="78456" y="21590"/>
                  </a:lnTo>
                  <a:lnTo>
                    <a:pt x="78345" y="20421"/>
                  </a:lnTo>
                  <a:lnTo>
                    <a:pt x="78067" y="19308"/>
                  </a:lnTo>
                  <a:lnTo>
                    <a:pt x="77733" y="18140"/>
                  </a:lnTo>
                  <a:lnTo>
                    <a:pt x="77288" y="17082"/>
                  </a:lnTo>
                  <a:lnTo>
                    <a:pt x="76732" y="15970"/>
                  </a:lnTo>
                  <a:lnTo>
                    <a:pt x="76120" y="14912"/>
                  </a:lnTo>
                  <a:lnTo>
                    <a:pt x="75396" y="13911"/>
                  </a:lnTo>
                  <a:lnTo>
                    <a:pt x="74617" y="12909"/>
                  </a:lnTo>
                  <a:lnTo>
                    <a:pt x="73727" y="11908"/>
                  </a:lnTo>
                  <a:lnTo>
                    <a:pt x="72781" y="10962"/>
                  </a:lnTo>
                  <a:lnTo>
                    <a:pt x="71779" y="10016"/>
                  </a:lnTo>
                  <a:lnTo>
                    <a:pt x="70667" y="9126"/>
                  </a:lnTo>
                  <a:lnTo>
                    <a:pt x="69498" y="8291"/>
                  </a:lnTo>
                  <a:lnTo>
                    <a:pt x="68274" y="7456"/>
                  </a:lnTo>
                  <a:lnTo>
                    <a:pt x="66939" y="6677"/>
                  </a:lnTo>
                  <a:lnTo>
                    <a:pt x="65603" y="5898"/>
                  </a:lnTo>
                  <a:lnTo>
                    <a:pt x="64156" y="5175"/>
                  </a:lnTo>
                  <a:lnTo>
                    <a:pt x="62654" y="4507"/>
                  </a:lnTo>
                  <a:lnTo>
                    <a:pt x="61096" y="3895"/>
                  </a:lnTo>
                  <a:lnTo>
                    <a:pt x="59538" y="3283"/>
                  </a:lnTo>
                  <a:lnTo>
                    <a:pt x="57869" y="2727"/>
                  </a:lnTo>
                  <a:lnTo>
                    <a:pt x="56200" y="2226"/>
                  </a:lnTo>
                  <a:lnTo>
                    <a:pt x="54419" y="1781"/>
                  </a:lnTo>
                  <a:lnTo>
                    <a:pt x="52638" y="1391"/>
                  </a:lnTo>
                  <a:lnTo>
                    <a:pt x="50802" y="1002"/>
                  </a:lnTo>
                  <a:lnTo>
                    <a:pt x="48966" y="724"/>
                  </a:lnTo>
                  <a:lnTo>
                    <a:pt x="47074" y="445"/>
                  </a:lnTo>
                  <a:lnTo>
                    <a:pt x="45127" y="278"/>
                  </a:lnTo>
                  <a:lnTo>
                    <a:pt x="43124" y="111"/>
                  </a:lnTo>
                  <a:lnTo>
                    <a:pt x="41176" y="56"/>
                  </a:lnTo>
                  <a:lnTo>
                    <a:pt x="39117" y="0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Google Shape;2303;p60">
              <a:extLst>
                <a:ext uri="{FF2B5EF4-FFF2-40B4-BE49-F238E27FC236}">
                  <a16:creationId xmlns:a16="http://schemas.microsoft.com/office/drawing/2014/main" id="{6ED1EBFC-BE35-6928-465F-8B2689607F1A}"/>
                </a:ext>
              </a:extLst>
            </p:cNvPr>
            <p:cNvSpPr/>
            <p:nvPr/>
          </p:nvSpPr>
          <p:spPr>
            <a:xfrm>
              <a:off x="4096550" y="3591975"/>
              <a:ext cx="1560800" cy="904200"/>
            </a:xfrm>
            <a:custGeom>
              <a:avLst/>
              <a:gdLst/>
              <a:ahLst/>
              <a:cxnLst/>
              <a:rect l="l" t="t" r="r" b="b"/>
              <a:pathLst>
                <a:path w="62432" h="36168" extrusionOk="0">
                  <a:moveTo>
                    <a:pt x="29491" y="0"/>
                  </a:moveTo>
                  <a:lnTo>
                    <a:pt x="27933" y="56"/>
                  </a:lnTo>
                  <a:lnTo>
                    <a:pt x="26319" y="223"/>
                  </a:lnTo>
                  <a:lnTo>
                    <a:pt x="24817" y="334"/>
                  </a:lnTo>
                  <a:lnTo>
                    <a:pt x="23315" y="557"/>
                  </a:lnTo>
                  <a:lnTo>
                    <a:pt x="21812" y="779"/>
                  </a:lnTo>
                  <a:lnTo>
                    <a:pt x="20365" y="1113"/>
                  </a:lnTo>
                  <a:lnTo>
                    <a:pt x="18974" y="1391"/>
                  </a:lnTo>
                  <a:lnTo>
                    <a:pt x="17583" y="1781"/>
                  </a:lnTo>
                  <a:lnTo>
                    <a:pt x="16248" y="2170"/>
                  </a:lnTo>
                  <a:lnTo>
                    <a:pt x="14913" y="2615"/>
                  </a:lnTo>
                  <a:lnTo>
                    <a:pt x="13633" y="3061"/>
                  </a:lnTo>
                  <a:lnTo>
                    <a:pt x="12464" y="3561"/>
                  </a:lnTo>
                  <a:lnTo>
                    <a:pt x="11240" y="4118"/>
                  </a:lnTo>
                  <a:lnTo>
                    <a:pt x="10127" y="4674"/>
                  </a:lnTo>
                  <a:lnTo>
                    <a:pt x="9070" y="5286"/>
                  </a:lnTo>
                  <a:lnTo>
                    <a:pt x="8013" y="5898"/>
                  </a:lnTo>
                  <a:lnTo>
                    <a:pt x="7067" y="6566"/>
                  </a:lnTo>
                  <a:lnTo>
                    <a:pt x="6121" y="7234"/>
                  </a:lnTo>
                  <a:lnTo>
                    <a:pt x="5231" y="7957"/>
                  </a:lnTo>
                  <a:lnTo>
                    <a:pt x="4452" y="8681"/>
                  </a:lnTo>
                  <a:lnTo>
                    <a:pt x="3673" y="9460"/>
                  </a:lnTo>
                  <a:lnTo>
                    <a:pt x="3005" y="10239"/>
                  </a:lnTo>
                  <a:lnTo>
                    <a:pt x="2393" y="11018"/>
                  </a:lnTo>
                  <a:lnTo>
                    <a:pt x="1837" y="11852"/>
                  </a:lnTo>
                  <a:lnTo>
                    <a:pt x="1336" y="12687"/>
                  </a:lnTo>
                  <a:lnTo>
                    <a:pt x="946" y="13577"/>
                  </a:lnTo>
                  <a:lnTo>
                    <a:pt x="612" y="14412"/>
                  </a:lnTo>
                  <a:lnTo>
                    <a:pt x="334" y="15302"/>
                  </a:lnTo>
                  <a:lnTo>
                    <a:pt x="112" y="16248"/>
                  </a:lnTo>
                  <a:lnTo>
                    <a:pt x="0" y="17138"/>
                  </a:lnTo>
                  <a:lnTo>
                    <a:pt x="0" y="18084"/>
                  </a:lnTo>
                  <a:lnTo>
                    <a:pt x="0" y="19030"/>
                  </a:lnTo>
                  <a:lnTo>
                    <a:pt x="167" y="19920"/>
                  </a:lnTo>
                  <a:lnTo>
                    <a:pt x="334" y="20811"/>
                  </a:lnTo>
                  <a:lnTo>
                    <a:pt x="612" y="21701"/>
                  </a:lnTo>
                  <a:lnTo>
                    <a:pt x="1002" y="22591"/>
                  </a:lnTo>
                  <a:lnTo>
                    <a:pt x="1391" y="23426"/>
                  </a:lnTo>
                  <a:lnTo>
                    <a:pt x="1892" y="24316"/>
                  </a:lnTo>
                  <a:lnTo>
                    <a:pt x="2449" y="25095"/>
                  </a:lnTo>
                  <a:lnTo>
                    <a:pt x="3116" y="25930"/>
                  </a:lnTo>
                  <a:lnTo>
                    <a:pt x="3784" y="26709"/>
                  </a:lnTo>
                  <a:lnTo>
                    <a:pt x="4563" y="27432"/>
                  </a:lnTo>
                  <a:lnTo>
                    <a:pt x="5342" y="28155"/>
                  </a:lnTo>
                  <a:lnTo>
                    <a:pt x="6232" y="28879"/>
                  </a:lnTo>
                  <a:lnTo>
                    <a:pt x="7178" y="29602"/>
                  </a:lnTo>
                  <a:lnTo>
                    <a:pt x="8180" y="30214"/>
                  </a:lnTo>
                  <a:lnTo>
                    <a:pt x="9181" y="30882"/>
                  </a:lnTo>
                  <a:lnTo>
                    <a:pt x="10294" y="31438"/>
                  </a:lnTo>
                  <a:lnTo>
                    <a:pt x="11407" y="32050"/>
                  </a:lnTo>
                  <a:lnTo>
                    <a:pt x="12576" y="32551"/>
                  </a:lnTo>
                  <a:lnTo>
                    <a:pt x="13855" y="33052"/>
                  </a:lnTo>
                  <a:lnTo>
                    <a:pt x="15079" y="33553"/>
                  </a:lnTo>
                  <a:lnTo>
                    <a:pt x="16415" y="33998"/>
                  </a:lnTo>
                  <a:lnTo>
                    <a:pt x="17750" y="34387"/>
                  </a:lnTo>
                  <a:lnTo>
                    <a:pt x="19141" y="34721"/>
                  </a:lnTo>
                  <a:lnTo>
                    <a:pt x="20588" y="35055"/>
                  </a:lnTo>
                  <a:lnTo>
                    <a:pt x="22035" y="35333"/>
                  </a:lnTo>
                  <a:lnTo>
                    <a:pt x="23481" y="35612"/>
                  </a:lnTo>
                  <a:lnTo>
                    <a:pt x="24984" y="35778"/>
                  </a:lnTo>
                  <a:lnTo>
                    <a:pt x="26542" y="35945"/>
                  </a:lnTo>
                  <a:lnTo>
                    <a:pt x="28100" y="36057"/>
                  </a:lnTo>
                  <a:lnTo>
                    <a:pt x="29713" y="36112"/>
                  </a:lnTo>
                  <a:lnTo>
                    <a:pt x="31327" y="36168"/>
                  </a:lnTo>
                  <a:lnTo>
                    <a:pt x="32885" y="36112"/>
                  </a:lnTo>
                  <a:lnTo>
                    <a:pt x="34499" y="36057"/>
                  </a:lnTo>
                  <a:lnTo>
                    <a:pt x="36057" y="35945"/>
                  </a:lnTo>
                  <a:lnTo>
                    <a:pt x="37615" y="35778"/>
                  </a:lnTo>
                  <a:lnTo>
                    <a:pt x="39117" y="35612"/>
                  </a:lnTo>
                  <a:lnTo>
                    <a:pt x="40564" y="35333"/>
                  </a:lnTo>
                  <a:lnTo>
                    <a:pt x="42010" y="35055"/>
                  </a:lnTo>
                  <a:lnTo>
                    <a:pt x="43457" y="34721"/>
                  </a:lnTo>
                  <a:lnTo>
                    <a:pt x="44848" y="34387"/>
                  </a:lnTo>
                  <a:lnTo>
                    <a:pt x="46184" y="33998"/>
                  </a:lnTo>
                  <a:lnTo>
                    <a:pt x="47463" y="33553"/>
                  </a:lnTo>
                  <a:lnTo>
                    <a:pt x="48743" y="33052"/>
                  </a:lnTo>
                  <a:lnTo>
                    <a:pt x="49967" y="32551"/>
                  </a:lnTo>
                  <a:lnTo>
                    <a:pt x="51136" y="32050"/>
                  </a:lnTo>
                  <a:lnTo>
                    <a:pt x="52249" y="31438"/>
                  </a:lnTo>
                  <a:lnTo>
                    <a:pt x="53361" y="30882"/>
                  </a:lnTo>
                  <a:lnTo>
                    <a:pt x="54363" y="30214"/>
                  </a:lnTo>
                  <a:lnTo>
                    <a:pt x="55365" y="29547"/>
                  </a:lnTo>
                  <a:lnTo>
                    <a:pt x="56255" y="28879"/>
                  </a:lnTo>
                  <a:lnTo>
                    <a:pt x="57145" y="28155"/>
                  </a:lnTo>
                  <a:lnTo>
                    <a:pt x="57924" y="27432"/>
                  </a:lnTo>
                  <a:lnTo>
                    <a:pt x="58703" y="26709"/>
                  </a:lnTo>
                  <a:lnTo>
                    <a:pt x="59371" y="25930"/>
                  </a:lnTo>
                  <a:lnTo>
                    <a:pt x="59983" y="25095"/>
                  </a:lnTo>
                  <a:lnTo>
                    <a:pt x="60539" y="24316"/>
                  </a:lnTo>
                  <a:lnTo>
                    <a:pt x="61040" y="23426"/>
                  </a:lnTo>
                  <a:lnTo>
                    <a:pt x="61485" y="22591"/>
                  </a:lnTo>
                  <a:lnTo>
                    <a:pt x="61819" y="21701"/>
                  </a:lnTo>
                  <a:lnTo>
                    <a:pt x="62097" y="20811"/>
                  </a:lnTo>
                  <a:lnTo>
                    <a:pt x="62264" y="19920"/>
                  </a:lnTo>
                  <a:lnTo>
                    <a:pt x="62375" y="18974"/>
                  </a:lnTo>
                  <a:lnTo>
                    <a:pt x="62431" y="18084"/>
                  </a:lnTo>
                  <a:lnTo>
                    <a:pt x="62375" y="17138"/>
                  </a:lnTo>
                  <a:lnTo>
                    <a:pt x="62264" y="16248"/>
                  </a:lnTo>
                  <a:lnTo>
                    <a:pt x="62042" y="15302"/>
                  </a:lnTo>
                  <a:lnTo>
                    <a:pt x="61763" y="14412"/>
                  </a:lnTo>
                  <a:lnTo>
                    <a:pt x="61430" y="13577"/>
                  </a:lnTo>
                  <a:lnTo>
                    <a:pt x="60984" y="12687"/>
                  </a:lnTo>
                  <a:lnTo>
                    <a:pt x="60484" y="11852"/>
                  </a:lnTo>
                  <a:lnTo>
                    <a:pt x="59927" y="11018"/>
                  </a:lnTo>
                  <a:lnTo>
                    <a:pt x="59315" y="10239"/>
                  </a:lnTo>
                  <a:lnTo>
                    <a:pt x="58592" y="9460"/>
                  </a:lnTo>
                  <a:lnTo>
                    <a:pt x="57868" y="8681"/>
                  </a:lnTo>
                  <a:lnTo>
                    <a:pt x="57034" y="7957"/>
                  </a:lnTo>
                  <a:lnTo>
                    <a:pt x="56144" y="7234"/>
                  </a:lnTo>
                  <a:lnTo>
                    <a:pt x="55198" y="6566"/>
                  </a:lnTo>
                  <a:lnTo>
                    <a:pt x="54252" y="5898"/>
                  </a:lnTo>
                  <a:lnTo>
                    <a:pt x="53194" y="5286"/>
                  </a:lnTo>
                  <a:lnTo>
                    <a:pt x="52137" y="4674"/>
                  </a:lnTo>
                  <a:lnTo>
                    <a:pt x="50969" y="4118"/>
                  </a:lnTo>
                  <a:lnTo>
                    <a:pt x="49800" y="3561"/>
                  </a:lnTo>
                  <a:lnTo>
                    <a:pt x="48576" y="3061"/>
                  </a:lnTo>
                  <a:lnTo>
                    <a:pt x="47296" y="2615"/>
                  </a:lnTo>
                  <a:lnTo>
                    <a:pt x="45961" y="2170"/>
                  </a:lnTo>
                  <a:lnTo>
                    <a:pt x="44626" y="1781"/>
                  </a:lnTo>
                  <a:lnTo>
                    <a:pt x="43235" y="1391"/>
                  </a:lnTo>
                  <a:lnTo>
                    <a:pt x="41843" y="1058"/>
                  </a:lnTo>
                  <a:lnTo>
                    <a:pt x="40397" y="779"/>
                  </a:lnTo>
                  <a:lnTo>
                    <a:pt x="38894" y="557"/>
                  </a:lnTo>
                  <a:lnTo>
                    <a:pt x="37392" y="334"/>
                  </a:lnTo>
                  <a:lnTo>
                    <a:pt x="35834" y="223"/>
                  </a:lnTo>
                  <a:lnTo>
                    <a:pt x="34276" y="56"/>
                  </a:lnTo>
                  <a:lnTo>
                    <a:pt x="32718" y="0"/>
                  </a:ln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Google Shape;2304;p60">
              <a:extLst>
                <a:ext uri="{FF2B5EF4-FFF2-40B4-BE49-F238E27FC236}">
                  <a16:creationId xmlns:a16="http://schemas.microsoft.com/office/drawing/2014/main" id="{A9B64297-F7A7-98D2-1C65-710C66574667}"/>
                </a:ext>
              </a:extLst>
            </p:cNvPr>
            <p:cNvSpPr/>
            <p:nvPr/>
          </p:nvSpPr>
          <p:spPr>
            <a:xfrm>
              <a:off x="4096550" y="3591975"/>
              <a:ext cx="1560800" cy="904200"/>
            </a:xfrm>
            <a:custGeom>
              <a:avLst/>
              <a:gdLst/>
              <a:ahLst/>
              <a:cxnLst/>
              <a:rect l="l" t="t" r="r" b="b"/>
              <a:pathLst>
                <a:path w="62432" h="36168" fill="none" extrusionOk="0">
                  <a:moveTo>
                    <a:pt x="31104" y="0"/>
                  </a:moveTo>
                  <a:lnTo>
                    <a:pt x="31104" y="0"/>
                  </a:lnTo>
                  <a:lnTo>
                    <a:pt x="29491" y="0"/>
                  </a:lnTo>
                  <a:lnTo>
                    <a:pt x="27933" y="56"/>
                  </a:lnTo>
                  <a:lnTo>
                    <a:pt x="26319" y="223"/>
                  </a:lnTo>
                  <a:lnTo>
                    <a:pt x="24817" y="334"/>
                  </a:lnTo>
                  <a:lnTo>
                    <a:pt x="23315" y="557"/>
                  </a:lnTo>
                  <a:lnTo>
                    <a:pt x="21812" y="779"/>
                  </a:lnTo>
                  <a:lnTo>
                    <a:pt x="20365" y="1113"/>
                  </a:lnTo>
                  <a:lnTo>
                    <a:pt x="18974" y="1391"/>
                  </a:lnTo>
                  <a:lnTo>
                    <a:pt x="17583" y="1781"/>
                  </a:lnTo>
                  <a:lnTo>
                    <a:pt x="16248" y="2170"/>
                  </a:lnTo>
                  <a:lnTo>
                    <a:pt x="14913" y="2615"/>
                  </a:lnTo>
                  <a:lnTo>
                    <a:pt x="13633" y="3061"/>
                  </a:lnTo>
                  <a:lnTo>
                    <a:pt x="12464" y="3561"/>
                  </a:lnTo>
                  <a:lnTo>
                    <a:pt x="11240" y="4118"/>
                  </a:lnTo>
                  <a:lnTo>
                    <a:pt x="10127" y="4674"/>
                  </a:lnTo>
                  <a:lnTo>
                    <a:pt x="9070" y="5286"/>
                  </a:lnTo>
                  <a:lnTo>
                    <a:pt x="8013" y="5898"/>
                  </a:lnTo>
                  <a:lnTo>
                    <a:pt x="7067" y="6566"/>
                  </a:lnTo>
                  <a:lnTo>
                    <a:pt x="6121" y="7234"/>
                  </a:lnTo>
                  <a:lnTo>
                    <a:pt x="5231" y="7957"/>
                  </a:lnTo>
                  <a:lnTo>
                    <a:pt x="4452" y="8681"/>
                  </a:lnTo>
                  <a:lnTo>
                    <a:pt x="3673" y="9460"/>
                  </a:lnTo>
                  <a:lnTo>
                    <a:pt x="3005" y="10239"/>
                  </a:lnTo>
                  <a:lnTo>
                    <a:pt x="2393" y="11018"/>
                  </a:lnTo>
                  <a:lnTo>
                    <a:pt x="1837" y="11852"/>
                  </a:lnTo>
                  <a:lnTo>
                    <a:pt x="1336" y="12687"/>
                  </a:lnTo>
                  <a:lnTo>
                    <a:pt x="946" y="13577"/>
                  </a:lnTo>
                  <a:lnTo>
                    <a:pt x="612" y="14412"/>
                  </a:lnTo>
                  <a:lnTo>
                    <a:pt x="334" y="15302"/>
                  </a:lnTo>
                  <a:lnTo>
                    <a:pt x="112" y="16248"/>
                  </a:lnTo>
                  <a:lnTo>
                    <a:pt x="0" y="17138"/>
                  </a:lnTo>
                  <a:lnTo>
                    <a:pt x="0" y="18084"/>
                  </a:lnTo>
                  <a:lnTo>
                    <a:pt x="0" y="18084"/>
                  </a:lnTo>
                  <a:lnTo>
                    <a:pt x="0" y="19030"/>
                  </a:lnTo>
                  <a:lnTo>
                    <a:pt x="167" y="19920"/>
                  </a:lnTo>
                  <a:lnTo>
                    <a:pt x="334" y="20811"/>
                  </a:lnTo>
                  <a:lnTo>
                    <a:pt x="612" y="21701"/>
                  </a:lnTo>
                  <a:lnTo>
                    <a:pt x="1002" y="22591"/>
                  </a:lnTo>
                  <a:lnTo>
                    <a:pt x="1391" y="23426"/>
                  </a:lnTo>
                  <a:lnTo>
                    <a:pt x="1892" y="24316"/>
                  </a:lnTo>
                  <a:lnTo>
                    <a:pt x="2449" y="25095"/>
                  </a:lnTo>
                  <a:lnTo>
                    <a:pt x="3116" y="25930"/>
                  </a:lnTo>
                  <a:lnTo>
                    <a:pt x="3784" y="26709"/>
                  </a:lnTo>
                  <a:lnTo>
                    <a:pt x="4563" y="27432"/>
                  </a:lnTo>
                  <a:lnTo>
                    <a:pt x="5342" y="28155"/>
                  </a:lnTo>
                  <a:lnTo>
                    <a:pt x="6232" y="28879"/>
                  </a:lnTo>
                  <a:lnTo>
                    <a:pt x="7178" y="29602"/>
                  </a:lnTo>
                  <a:lnTo>
                    <a:pt x="8180" y="30214"/>
                  </a:lnTo>
                  <a:lnTo>
                    <a:pt x="9181" y="30882"/>
                  </a:lnTo>
                  <a:lnTo>
                    <a:pt x="9181" y="30882"/>
                  </a:lnTo>
                  <a:lnTo>
                    <a:pt x="10294" y="31438"/>
                  </a:lnTo>
                  <a:lnTo>
                    <a:pt x="11407" y="32050"/>
                  </a:lnTo>
                  <a:lnTo>
                    <a:pt x="12576" y="32551"/>
                  </a:lnTo>
                  <a:lnTo>
                    <a:pt x="13855" y="33052"/>
                  </a:lnTo>
                  <a:lnTo>
                    <a:pt x="15079" y="33553"/>
                  </a:lnTo>
                  <a:lnTo>
                    <a:pt x="16415" y="33998"/>
                  </a:lnTo>
                  <a:lnTo>
                    <a:pt x="17750" y="34387"/>
                  </a:lnTo>
                  <a:lnTo>
                    <a:pt x="19141" y="34721"/>
                  </a:lnTo>
                  <a:lnTo>
                    <a:pt x="20588" y="35055"/>
                  </a:lnTo>
                  <a:lnTo>
                    <a:pt x="22035" y="35333"/>
                  </a:lnTo>
                  <a:lnTo>
                    <a:pt x="23481" y="35612"/>
                  </a:lnTo>
                  <a:lnTo>
                    <a:pt x="24984" y="35778"/>
                  </a:lnTo>
                  <a:lnTo>
                    <a:pt x="26542" y="35945"/>
                  </a:lnTo>
                  <a:lnTo>
                    <a:pt x="28100" y="36057"/>
                  </a:lnTo>
                  <a:lnTo>
                    <a:pt x="29713" y="36112"/>
                  </a:lnTo>
                  <a:lnTo>
                    <a:pt x="31327" y="36168"/>
                  </a:lnTo>
                  <a:lnTo>
                    <a:pt x="31327" y="36168"/>
                  </a:lnTo>
                  <a:lnTo>
                    <a:pt x="32885" y="36112"/>
                  </a:lnTo>
                  <a:lnTo>
                    <a:pt x="34499" y="36057"/>
                  </a:lnTo>
                  <a:lnTo>
                    <a:pt x="36057" y="35945"/>
                  </a:lnTo>
                  <a:lnTo>
                    <a:pt x="37615" y="35778"/>
                  </a:lnTo>
                  <a:lnTo>
                    <a:pt x="39117" y="35612"/>
                  </a:lnTo>
                  <a:lnTo>
                    <a:pt x="40564" y="35333"/>
                  </a:lnTo>
                  <a:lnTo>
                    <a:pt x="42010" y="35055"/>
                  </a:lnTo>
                  <a:lnTo>
                    <a:pt x="43457" y="34721"/>
                  </a:lnTo>
                  <a:lnTo>
                    <a:pt x="44848" y="34387"/>
                  </a:lnTo>
                  <a:lnTo>
                    <a:pt x="46184" y="33998"/>
                  </a:lnTo>
                  <a:lnTo>
                    <a:pt x="47463" y="33553"/>
                  </a:lnTo>
                  <a:lnTo>
                    <a:pt x="48743" y="33052"/>
                  </a:lnTo>
                  <a:lnTo>
                    <a:pt x="49967" y="32551"/>
                  </a:lnTo>
                  <a:lnTo>
                    <a:pt x="51136" y="32050"/>
                  </a:lnTo>
                  <a:lnTo>
                    <a:pt x="52249" y="31438"/>
                  </a:lnTo>
                  <a:lnTo>
                    <a:pt x="53361" y="30882"/>
                  </a:lnTo>
                  <a:lnTo>
                    <a:pt x="54363" y="30214"/>
                  </a:lnTo>
                  <a:lnTo>
                    <a:pt x="55365" y="29547"/>
                  </a:lnTo>
                  <a:lnTo>
                    <a:pt x="56255" y="28879"/>
                  </a:lnTo>
                  <a:lnTo>
                    <a:pt x="57145" y="28155"/>
                  </a:lnTo>
                  <a:lnTo>
                    <a:pt x="57924" y="27432"/>
                  </a:lnTo>
                  <a:lnTo>
                    <a:pt x="58703" y="26709"/>
                  </a:lnTo>
                  <a:lnTo>
                    <a:pt x="59371" y="25930"/>
                  </a:lnTo>
                  <a:lnTo>
                    <a:pt x="59983" y="25095"/>
                  </a:lnTo>
                  <a:lnTo>
                    <a:pt x="60539" y="24316"/>
                  </a:lnTo>
                  <a:lnTo>
                    <a:pt x="61040" y="23426"/>
                  </a:lnTo>
                  <a:lnTo>
                    <a:pt x="61485" y="22591"/>
                  </a:lnTo>
                  <a:lnTo>
                    <a:pt x="61819" y="21701"/>
                  </a:lnTo>
                  <a:lnTo>
                    <a:pt x="62097" y="20811"/>
                  </a:lnTo>
                  <a:lnTo>
                    <a:pt x="62264" y="19920"/>
                  </a:lnTo>
                  <a:lnTo>
                    <a:pt x="62375" y="18974"/>
                  </a:lnTo>
                  <a:lnTo>
                    <a:pt x="62431" y="18084"/>
                  </a:lnTo>
                  <a:lnTo>
                    <a:pt x="62431" y="18084"/>
                  </a:lnTo>
                  <a:lnTo>
                    <a:pt x="62375" y="17138"/>
                  </a:lnTo>
                  <a:lnTo>
                    <a:pt x="62264" y="16248"/>
                  </a:lnTo>
                  <a:lnTo>
                    <a:pt x="62042" y="15302"/>
                  </a:lnTo>
                  <a:lnTo>
                    <a:pt x="61763" y="14412"/>
                  </a:lnTo>
                  <a:lnTo>
                    <a:pt x="61430" y="13577"/>
                  </a:lnTo>
                  <a:lnTo>
                    <a:pt x="60984" y="12687"/>
                  </a:lnTo>
                  <a:lnTo>
                    <a:pt x="60484" y="11852"/>
                  </a:lnTo>
                  <a:lnTo>
                    <a:pt x="59927" y="11018"/>
                  </a:lnTo>
                  <a:lnTo>
                    <a:pt x="59315" y="10239"/>
                  </a:lnTo>
                  <a:lnTo>
                    <a:pt x="58592" y="9460"/>
                  </a:lnTo>
                  <a:lnTo>
                    <a:pt x="57868" y="8681"/>
                  </a:lnTo>
                  <a:lnTo>
                    <a:pt x="57034" y="7957"/>
                  </a:lnTo>
                  <a:lnTo>
                    <a:pt x="56144" y="7234"/>
                  </a:lnTo>
                  <a:lnTo>
                    <a:pt x="55198" y="6566"/>
                  </a:lnTo>
                  <a:lnTo>
                    <a:pt x="54252" y="5898"/>
                  </a:lnTo>
                  <a:lnTo>
                    <a:pt x="53194" y="5286"/>
                  </a:lnTo>
                  <a:lnTo>
                    <a:pt x="53194" y="5286"/>
                  </a:lnTo>
                  <a:lnTo>
                    <a:pt x="52137" y="4674"/>
                  </a:lnTo>
                  <a:lnTo>
                    <a:pt x="50969" y="4118"/>
                  </a:lnTo>
                  <a:lnTo>
                    <a:pt x="49800" y="3561"/>
                  </a:lnTo>
                  <a:lnTo>
                    <a:pt x="48576" y="3061"/>
                  </a:lnTo>
                  <a:lnTo>
                    <a:pt x="47296" y="2615"/>
                  </a:lnTo>
                  <a:lnTo>
                    <a:pt x="45961" y="2170"/>
                  </a:lnTo>
                  <a:lnTo>
                    <a:pt x="44626" y="1781"/>
                  </a:lnTo>
                  <a:lnTo>
                    <a:pt x="43235" y="1391"/>
                  </a:lnTo>
                  <a:lnTo>
                    <a:pt x="41843" y="1058"/>
                  </a:lnTo>
                  <a:lnTo>
                    <a:pt x="40397" y="779"/>
                  </a:lnTo>
                  <a:lnTo>
                    <a:pt x="38894" y="557"/>
                  </a:lnTo>
                  <a:lnTo>
                    <a:pt x="37392" y="334"/>
                  </a:lnTo>
                  <a:lnTo>
                    <a:pt x="35834" y="223"/>
                  </a:lnTo>
                  <a:lnTo>
                    <a:pt x="34276" y="56"/>
                  </a:lnTo>
                  <a:lnTo>
                    <a:pt x="32718" y="0"/>
                  </a:lnTo>
                  <a:lnTo>
                    <a:pt x="3110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2305;p60">
              <a:extLst>
                <a:ext uri="{FF2B5EF4-FFF2-40B4-BE49-F238E27FC236}">
                  <a16:creationId xmlns:a16="http://schemas.microsoft.com/office/drawing/2014/main" id="{288946DC-F701-9E3C-2BD2-F5D446E073CC}"/>
                </a:ext>
              </a:extLst>
            </p:cNvPr>
            <p:cNvSpPr/>
            <p:nvPr/>
          </p:nvSpPr>
          <p:spPr>
            <a:xfrm>
              <a:off x="4103500" y="3374975"/>
              <a:ext cx="1562175" cy="904200"/>
            </a:xfrm>
            <a:custGeom>
              <a:avLst/>
              <a:gdLst/>
              <a:ahLst/>
              <a:cxnLst/>
              <a:rect l="l" t="t" r="r" b="b"/>
              <a:pathLst>
                <a:path w="62487" h="36168" extrusionOk="0">
                  <a:moveTo>
                    <a:pt x="31160" y="0"/>
                  </a:moveTo>
                  <a:lnTo>
                    <a:pt x="29547" y="56"/>
                  </a:lnTo>
                  <a:lnTo>
                    <a:pt x="27933" y="111"/>
                  </a:lnTo>
                  <a:lnTo>
                    <a:pt x="26375" y="223"/>
                  </a:lnTo>
                  <a:lnTo>
                    <a:pt x="24873" y="390"/>
                  </a:lnTo>
                  <a:lnTo>
                    <a:pt x="23315" y="556"/>
                  </a:lnTo>
                  <a:lnTo>
                    <a:pt x="21868" y="835"/>
                  </a:lnTo>
                  <a:lnTo>
                    <a:pt x="20421" y="1113"/>
                  </a:lnTo>
                  <a:lnTo>
                    <a:pt x="18975" y="1447"/>
                  </a:lnTo>
                  <a:lnTo>
                    <a:pt x="17639" y="1781"/>
                  </a:lnTo>
                  <a:lnTo>
                    <a:pt x="16248" y="2170"/>
                  </a:lnTo>
                  <a:lnTo>
                    <a:pt x="14968" y="2615"/>
                  </a:lnTo>
                  <a:lnTo>
                    <a:pt x="13689" y="3116"/>
                  </a:lnTo>
                  <a:lnTo>
                    <a:pt x="12464" y="3617"/>
                  </a:lnTo>
                  <a:lnTo>
                    <a:pt x="11296" y="4118"/>
                  </a:lnTo>
                  <a:lnTo>
                    <a:pt x="10183" y="4730"/>
                  </a:lnTo>
                  <a:lnTo>
                    <a:pt x="9070" y="5286"/>
                  </a:lnTo>
                  <a:lnTo>
                    <a:pt x="8069" y="5954"/>
                  </a:lnTo>
                  <a:lnTo>
                    <a:pt x="7067" y="6622"/>
                  </a:lnTo>
                  <a:lnTo>
                    <a:pt x="6177" y="7289"/>
                  </a:lnTo>
                  <a:lnTo>
                    <a:pt x="5287" y="8013"/>
                  </a:lnTo>
                  <a:lnTo>
                    <a:pt x="4508" y="8736"/>
                  </a:lnTo>
                  <a:lnTo>
                    <a:pt x="3729" y="9459"/>
                  </a:lnTo>
                  <a:lnTo>
                    <a:pt x="3061" y="10238"/>
                  </a:lnTo>
                  <a:lnTo>
                    <a:pt x="2449" y="11073"/>
                  </a:lnTo>
                  <a:lnTo>
                    <a:pt x="1892" y="11908"/>
                  </a:lnTo>
                  <a:lnTo>
                    <a:pt x="1392" y="12742"/>
                  </a:lnTo>
                  <a:lnTo>
                    <a:pt x="1002" y="13577"/>
                  </a:lnTo>
                  <a:lnTo>
                    <a:pt x="613" y="14467"/>
                  </a:lnTo>
                  <a:lnTo>
                    <a:pt x="390" y="15357"/>
                  </a:lnTo>
                  <a:lnTo>
                    <a:pt x="167" y="16248"/>
                  </a:lnTo>
                  <a:lnTo>
                    <a:pt x="56" y="17194"/>
                  </a:lnTo>
                  <a:lnTo>
                    <a:pt x="1" y="18084"/>
                  </a:lnTo>
                  <a:lnTo>
                    <a:pt x="56" y="19030"/>
                  </a:lnTo>
                  <a:lnTo>
                    <a:pt x="167" y="19920"/>
                  </a:lnTo>
                  <a:lnTo>
                    <a:pt x="390" y="20866"/>
                  </a:lnTo>
                  <a:lnTo>
                    <a:pt x="668" y="21756"/>
                  </a:lnTo>
                  <a:lnTo>
                    <a:pt x="1002" y="22591"/>
                  </a:lnTo>
                  <a:lnTo>
                    <a:pt x="1447" y="23481"/>
                  </a:lnTo>
                  <a:lnTo>
                    <a:pt x="1948" y="24316"/>
                  </a:lnTo>
                  <a:lnTo>
                    <a:pt x="2504" y="25151"/>
                  </a:lnTo>
                  <a:lnTo>
                    <a:pt x="3117" y="25929"/>
                  </a:lnTo>
                  <a:lnTo>
                    <a:pt x="3840" y="26708"/>
                  </a:lnTo>
                  <a:lnTo>
                    <a:pt x="4619" y="27487"/>
                  </a:lnTo>
                  <a:lnTo>
                    <a:pt x="5398" y="28211"/>
                  </a:lnTo>
                  <a:lnTo>
                    <a:pt x="6288" y="28934"/>
                  </a:lnTo>
                  <a:lnTo>
                    <a:pt x="7234" y="29602"/>
                  </a:lnTo>
                  <a:lnTo>
                    <a:pt x="8180" y="30270"/>
                  </a:lnTo>
                  <a:lnTo>
                    <a:pt x="9237" y="30882"/>
                  </a:lnTo>
                  <a:lnTo>
                    <a:pt x="10350" y="31494"/>
                  </a:lnTo>
                  <a:lnTo>
                    <a:pt x="11463" y="32050"/>
                  </a:lnTo>
                  <a:lnTo>
                    <a:pt x="12631" y="32607"/>
                  </a:lnTo>
                  <a:lnTo>
                    <a:pt x="13856" y="33107"/>
                  </a:lnTo>
                  <a:lnTo>
                    <a:pt x="15135" y="33553"/>
                  </a:lnTo>
                  <a:lnTo>
                    <a:pt x="16471" y="33998"/>
                  </a:lnTo>
                  <a:lnTo>
                    <a:pt x="17806" y="34387"/>
                  </a:lnTo>
                  <a:lnTo>
                    <a:pt x="19197" y="34777"/>
                  </a:lnTo>
                  <a:lnTo>
                    <a:pt x="20588" y="35111"/>
                  </a:lnTo>
                  <a:lnTo>
                    <a:pt x="22035" y="35389"/>
                  </a:lnTo>
                  <a:lnTo>
                    <a:pt x="23537" y="35611"/>
                  </a:lnTo>
                  <a:lnTo>
                    <a:pt x="25040" y="35834"/>
                  </a:lnTo>
                  <a:lnTo>
                    <a:pt x="26598" y="35945"/>
                  </a:lnTo>
                  <a:lnTo>
                    <a:pt x="28156" y="36112"/>
                  </a:lnTo>
                  <a:lnTo>
                    <a:pt x="29714" y="36168"/>
                  </a:lnTo>
                  <a:lnTo>
                    <a:pt x="32941" y="36168"/>
                  </a:lnTo>
                  <a:lnTo>
                    <a:pt x="34554" y="36112"/>
                  </a:lnTo>
                  <a:lnTo>
                    <a:pt x="36112" y="35945"/>
                  </a:lnTo>
                  <a:lnTo>
                    <a:pt x="37615" y="35834"/>
                  </a:lnTo>
                  <a:lnTo>
                    <a:pt x="39117" y="35611"/>
                  </a:lnTo>
                  <a:lnTo>
                    <a:pt x="40620" y="35389"/>
                  </a:lnTo>
                  <a:lnTo>
                    <a:pt x="42066" y="35111"/>
                  </a:lnTo>
                  <a:lnTo>
                    <a:pt x="43457" y="34777"/>
                  </a:lnTo>
                  <a:lnTo>
                    <a:pt x="44848" y="34387"/>
                  </a:lnTo>
                  <a:lnTo>
                    <a:pt x="46184" y="33998"/>
                  </a:lnTo>
                  <a:lnTo>
                    <a:pt x="47519" y="33553"/>
                  </a:lnTo>
                  <a:lnTo>
                    <a:pt x="48799" y="33107"/>
                  </a:lnTo>
                  <a:lnTo>
                    <a:pt x="50023" y="32607"/>
                  </a:lnTo>
                  <a:lnTo>
                    <a:pt x="51192" y="32050"/>
                  </a:lnTo>
                  <a:lnTo>
                    <a:pt x="52304" y="31494"/>
                  </a:lnTo>
                  <a:lnTo>
                    <a:pt x="53362" y="30882"/>
                  </a:lnTo>
                  <a:lnTo>
                    <a:pt x="54419" y="30270"/>
                  </a:lnTo>
                  <a:lnTo>
                    <a:pt x="55420" y="29602"/>
                  </a:lnTo>
                  <a:lnTo>
                    <a:pt x="56311" y="28934"/>
                  </a:lnTo>
                  <a:lnTo>
                    <a:pt x="57201" y="28211"/>
                  </a:lnTo>
                  <a:lnTo>
                    <a:pt x="57980" y="27487"/>
                  </a:lnTo>
                  <a:lnTo>
                    <a:pt x="58759" y="26708"/>
                  </a:lnTo>
                  <a:lnTo>
                    <a:pt x="59427" y="25929"/>
                  </a:lnTo>
                  <a:lnTo>
                    <a:pt x="60039" y="25151"/>
                  </a:lnTo>
                  <a:lnTo>
                    <a:pt x="60595" y="24316"/>
                  </a:lnTo>
                  <a:lnTo>
                    <a:pt x="61096" y="23481"/>
                  </a:lnTo>
                  <a:lnTo>
                    <a:pt x="61485" y="22591"/>
                  </a:lnTo>
                  <a:lnTo>
                    <a:pt x="61875" y="21756"/>
                  </a:lnTo>
                  <a:lnTo>
                    <a:pt x="62097" y="20866"/>
                  </a:lnTo>
                  <a:lnTo>
                    <a:pt x="62320" y="19920"/>
                  </a:lnTo>
                  <a:lnTo>
                    <a:pt x="62431" y="19030"/>
                  </a:lnTo>
                  <a:lnTo>
                    <a:pt x="62487" y="18084"/>
                  </a:lnTo>
                  <a:lnTo>
                    <a:pt x="62431" y="17194"/>
                  </a:lnTo>
                  <a:lnTo>
                    <a:pt x="62264" y="16248"/>
                  </a:lnTo>
                  <a:lnTo>
                    <a:pt x="62097" y="15357"/>
                  </a:lnTo>
                  <a:lnTo>
                    <a:pt x="61819" y="14467"/>
                  </a:lnTo>
                  <a:lnTo>
                    <a:pt x="61430" y="13577"/>
                  </a:lnTo>
                  <a:lnTo>
                    <a:pt x="61040" y="12742"/>
                  </a:lnTo>
                  <a:lnTo>
                    <a:pt x="60540" y="11852"/>
                  </a:lnTo>
                  <a:lnTo>
                    <a:pt x="59983" y="11073"/>
                  </a:lnTo>
                  <a:lnTo>
                    <a:pt x="59315" y="10238"/>
                  </a:lnTo>
                  <a:lnTo>
                    <a:pt x="58648" y="9459"/>
                  </a:lnTo>
                  <a:lnTo>
                    <a:pt x="57869" y="8736"/>
                  </a:lnTo>
                  <a:lnTo>
                    <a:pt x="57090" y="8013"/>
                  </a:lnTo>
                  <a:lnTo>
                    <a:pt x="56199" y="7289"/>
                  </a:lnTo>
                  <a:lnTo>
                    <a:pt x="55253" y="6622"/>
                  </a:lnTo>
                  <a:lnTo>
                    <a:pt x="54308" y="5954"/>
                  </a:lnTo>
                  <a:lnTo>
                    <a:pt x="53250" y="5286"/>
                  </a:lnTo>
                  <a:lnTo>
                    <a:pt x="52138" y="4730"/>
                  </a:lnTo>
                  <a:lnTo>
                    <a:pt x="51025" y="4118"/>
                  </a:lnTo>
                  <a:lnTo>
                    <a:pt x="49856" y="3617"/>
                  </a:lnTo>
                  <a:lnTo>
                    <a:pt x="48632" y="3116"/>
                  </a:lnTo>
                  <a:lnTo>
                    <a:pt x="47352" y="2615"/>
                  </a:lnTo>
                  <a:lnTo>
                    <a:pt x="46017" y="2170"/>
                  </a:lnTo>
                  <a:lnTo>
                    <a:pt x="44681" y="1781"/>
                  </a:lnTo>
                  <a:lnTo>
                    <a:pt x="43290" y="1447"/>
                  </a:lnTo>
                  <a:lnTo>
                    <a:pt x="41899" y="1113"/>
                  </a:lnTo>
                  <a:lnTo>
                    <a:pt x="40453" y="835"/>
                  </a:lnTo>
                  <a:lnTo>
                    <a:pt x="38950" y="556"/>
                  </a:lnTo>
                  <a:lnTo>
                    <a:pt x="37448" y="390"/>
                  </a:lnTo>
                  <a:lnTo>
                    <a:pt x="35890" y="223"/>
                  </a:lnTo>
                  <a:lnTo>
                    <a:pt x="34332" y="111"/>
                  </a:lnTo>
                  <a:lnTo>
                    <a:pt x="32718" y="56"/>
                  </a:lnTo>
                  <a:lnTo>
                    <a:pt x="31160" y="0"/>
                  </a:lnTo>
                  <a:close/>
                </a:path>
              </a:pathLst>
            </a:custGeom>
            <a:solidFill>
              <a:srgbClr val="DFEC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Google Shape;2306;p60">
              <a:extLst>
                <a:ext uri="{FF2B5EF4-FFF2-40B4-BE49-F238E27FC236}">
                  <a16:creationId xmlns:a16="http://schemas.microsoft.com/office/drawing/2014/main" id="{5291C0E2-E9A9-107B-6641-BED9E410EBDD}"/>
                </a:ext>
              </a:extLst>
            </p:cNvPr>
            <p:cNvSpPr/>
            <p:nvPr/>
          </p:nvSpPr>
          <p:spPr>
            <a:xfrm>
              <a:off x="3901800" y="3827050"/>
              <a:ext cx="1964200" cy="710875"/>
            </a:xfrm>
            <a:custGeom>
              <a:avLst/>
              <a:gdLst/>
              <a:ahLst/>
              <a:cxnLst/>
              <a:rect l="l" t="t" r="r" b="b"/>
              <a:pathLst>
                <a:path w="78568" h="28435" extrusionOk="0">
                  <a:moveTo>
                    <a:pt x="56" y="1"/>
                  </a:moveTo>
                  <a:lnTo>
                    <a:pt x="0" y="5676"/>
                  </a:lnTo>
                  <a:lnTo>
                    <a:pt x="56" y="6845"/>
                  </a:lnTo>
                  <a:lnTo>
                    <a:pt x="223" y="8013"/>
                  </a:lnTo>
                  <a:lnTo>
                    <a:pt x="501" y="9126"/>
                  </a:lnTo>
                  <a:lnTo>
                    <a:pt x="835" y="10239"/>
                  </a:lnTo>
                  <a:lnTo>
                    <a:pt x="1280" y="11352"/>
                  </a:lnTo>
                  <a:lnTo>
                    <a:pt x="1837" y="12409"/>
                  </a:lnTo>
                  <a:lnTo>
                    <a:pt x="2449" y="13466"/>
                  </a:lnTo>
                  <a:lnTo>
                    <a:pt x="3172" y="14524"/>
                  </a:lnTo>
                  <a:lnTo>
                    <a:pt x="3951" y="15525"/>
                  </a:lnTo>
                  <a:lnTo>
                    <a:pt x="4841" y="16527"/>
                  </a:lnTo>
                  <a:lnTo>
                    <a:pt x="5787" y="17473"/>
                  </a:lnTo>
                  <a:lnTo>
                    <a:pt x="6789" y="18363"/>
                  </a:lnTo>
                  <a:lnTo>
                    <a:pt x="7902" y="19309"/>
                  </a:lnTo>
                  <a:lnTo>
                    <a:pt x="9070" y="20144"/>
                  </a:lnTo>
                  <a:lnTo>
                    <a:pt x="10294" y="20978"/>
                  </a:lnTo>
                  <a:lnTo>
                    <a:pt x="11630" y="21757"/>
                  </a:lnTo>
                  <a:lnTo>
                    <a:pt x="12965" y="22536"/>
                  </a:lnTo>
                  <a:lnTo>
                    <a:pt x="14412" y="23204"/>
                  </a:lnTo>
                  <a:lnTo>
                    <a:pt x="15914" y="23927"/>
                  </a:lnTo>
                  <a:lnTo>
                    <a:pt x="17416" y="24539"/>
                  </a:lnTo>
                  <a:lnTo>
                    <a:pt x="19030" y="25151"/>
                  </a:lnTo>
                  <a:lnTo>
                    <a:pt x="20699" y="25652"/>
                  </a:lnTo>
                  <a:lnTo>
                    <a:pt x="22369" y="26153"/>
                  </a:lnTo>
                  <a:lnTo>
                    <a:pt x="24094" y="26654"/>
                  </a:lnTo>
                  <a:lnTo>
                    <a:pt x="25930" y="27043"/>
                  </a:lnTo>
                  <a:lnTo>
                    <a:pt x="27710" y="27377"/>
                  </a:lnTo>
                  <a:lnTo>
                    <a:pt x="29602" y="27711"/>
                  </a:lnTo>
                  <a:lnTo>
                    <a:pt x="31494" y="27933"/>
                  </a:lnTo>
                  <a:lnTo>
                    <a:pt x="33442" y="28156"/>
                  </a:lnTo>
                  <a:lnTo>
                    <a:pt x="35389" y="28323"/>
                  </a:lnTo>
                  <a:lnTo>
                    <a:pt x="37392" y="28379"/>
                  </a:lnTo>
                  <a:lnTo>
                    <a:pt x="39395" y="28434"/>
                  </a:lnTo>
                  <a:lnTo>
                    <a:pt x="41454" y="28379"/>
                  </a:lnTo>
                  <a:lnTo>
                    <a:pt x="43457" y="28323"/>
                  </a:lnTo>
                  <a:lnTo>
                    <a:pt x="45405" y="28156"/>
                  </a:lnTo>
                  <a:lnTo>
                    <a:pt x="47352" y="27933"/>
                  </a:lnTo>
                  <a:lnTo>
                    <a:pt x="49244" y="27711"/>
                  </a:lnTo>
                  <a:lnTo>
                    <a:pt x="51080" y="27377"/>
                  </a:lnTo>
                  <a:lnTo>
                    <a:pt x="52916" y="27043"/>
                  </a:lnTo>
                  <a:lnTo>
                    <a:pt x="54697" y="26654"/>
                  </a:lnTo>
                  <a:lnTo>
                    <a:pt x="56422" y="26153"/>
                  </a:lnTo>
                  <a:lnTo>
                    <a:pt x="58147" y="25652"/>
                  </a:lnTo>
                  <a:lnTo>
                    <a:pt x="59760" y="25151"/>
                  </a:lnTo>
                  <a:lnTo>
                    <a:pt x="61374" y="24539"/>
                  </a:lnTo>
                  <a:lnTo>
                    <a:pt x="62876" y="23927"/>
                  </a:lnTo>
                  <a:lnTo>
                    <a:pt x="64379" y="23204"/>
                  </a:lnTo>
                  <a:lnTo>
                    <a:pt x="65825" y="22536"/>
                  </a:lnTo>
                  <a:lnTo>
                    <a:pt x="67161" y="21757"/>
                  </a:lnTo>
                  <a:lnTo>
                    <a:pt x="68441" y="20978"/>
                  </a:lnTo>
                  <a:lnTo>
                    <a:pt x="69665" y="20144"/>
                  </a:lnTo>
                  <a:lnTo>
                    <a:pt x="70833" y="19309"/>
                  </a:lnTo>
                  <a:lnTo>
                    <a:pt x="71946" y="18363"/>
                  </a:lnTo>
                  <a:lnTo>
                    <a:pt x="72948" y="17473"/>
                  </a:lnTo>
                  <a:lnTo>
                    <a:pt x="73894" y="16527"/>
                  </a:lnTo>
                  <a:lnTo>
                    <a:pt x="74728" y="15525"/>
                  </a:lnTo>
                  <a:lnTo>
                    <a:pt x="75507" y="14524"/>
                  </a:lnTo>
                  <a:lnTo>
                    <a:pt x="76231" y="13466"/>
                  </a:lnTo>
                  <a:lnTo>
                    <a:pt x="76843" y="12409"/>
                  </a:lnTo>
                  <a:lnTo>
                    <a:pt x="77343" y="11352"/>
                  </a:lnTo>
                  <a:lnTo>
                    <a:pt x="77789" y="10239"/>
                  </a:lnTo>
                  <a:lnTo>
                    <a:pt x="78122" y="9126"/>
                  </a:lnTo>
                  <a:lnTo>
                    <a:pt x="78401" y="8013"/>
                  </a:lnTo>
                  <a:lnTo>
                    <a:pt x="78512" y="6845"/>
                  </a:lnTo>
                  <a:lnTo>
                    <a:pt x="78568" y="5676"/>
                  </a:lnTo>
                  <a:lnTo>
                    <a:pt x="78568" y="1169"/>
                  </a:lnTo>
                  <a:lnTo>
                    <a:pt x="78401" y="2338"/>
                  </a:lnTo>
                  <a:lnTo>
                    <a:pt x="78178" y="3506"/>
                  </a:lnTo>
                  <a:lnTo>
                    <a:pt x="77789" y="4619"/>
                  </a:lnTo>
                  <a:lnTo>
                    <a:pt x="77399" y="5676"/>
                  </a:lnTo>
                  <a:lnTo>
                    <a:pt x="76843" y="6789"/>
                  </a:lnTo>
                  <a:lnTo>
                    <a:pt x="76231" y="7846"/>
                  </a:lnTo>
                  <a:lnTo>
                    <a:pt x="75563" y="8848"/>
                  </a:lnTo>
                  <a:lnTo>
                    <a:pt x="74784" y="9905"/>
                  </a:lnTo>
                  <a:lnTo>
                    <a:pt x="73894" y="10851"/>
                  </a:lnTo>
                  <a:lnTo>
                    <a:pt x="72948" y="11797"/>
                  </a:lnTo>
                  <a:lnTo>
                    <a:pt x="71946" y="12743"/>
                  </a:lnTo>
                  <a:lnTo>
                    <a:pt x="70833" y="13633"/>
                  </a:lnTo>
                  <a:lnTo>
                    <a:pt x="69720" y="14468"/>
                  </a:lnTo>
                  <a:lnTo>
                    <a:pt x="68496" y="15303"/>
                  </a:lnTo>
                  <a:lnTo>
                    <a:pt x="67161" y="16082"/>
                  </a:lnTo>
                  <a:lnTo>
                    <a:pt x="65825" y="16861"/>
                  </a:lnTo>
                  <a:lnTo>
                    <a:pt x="64379" y="17584"/>
                  </a:lnTo>
                  <a:lnTo>
                    <a:pt x="62932" y="18252"/>
                  </a:lnTo>
                  <a:lnTo>
                    <a:pt x="61374" y="18864"/>
                  </a:lnTo>
                  <a:lnTo>
                    <a:pt x="59760" y="19476"/>
                  </a:lnTo>
                  <a:lnTo>
                    <a:pt x="58147" y="20032"/>
                  </a:lnTo>
                  <a:lnTo>
                    <a:pt x="56477" y="20533"/>
                  </a:lnTo>
                  <a:lnTo>
                    <a:pt x="54697" y="20978"/>
                  </a:lnTo>
                  <a:lnTo>
                    <a:pt x="52916" y="21368"/>
                  </a:lnTo>
                  <a:lnTo>
                    <a:pt x="51136" y="21757"/>
                  </a:lnTo>
                  <a:lnTo>
                    <a:pt x="49244" y="22035"/>
                  </a:lnTo>
                  <a:lnTo>
                    <a:pt x="47352" y="22314"/>
                  </a:lnTo>
                  <a:lnTo>
                    <a:pt x="45405" y="22481"/>
                  </a:lnTo>
                  <a:lnTo>
                    <a:pt x="43457" y="22647"/>
                  </a:lnTo>
                  <a:lnTo>
                    <a:pt x="41454" y="22759"/>
                  </a:lnTo>
                  <a:lnTo>
                    <a:pt x="37392" y="22759"/>
                  </a:lnTo>
                  <a:lnTo>
                    <a:pt x="35445" y="22647"/>
                  </a:lnTo>
                  <a:lnTo>
                    <a:pt x="33442" y="22481"/>
                  </a:lnTo>
                  <a:lnTo>
                    <a:pt x="31494" y="22314"/>
                  </a:lnTo>
                  <a:lnTo>
                    <a:pt x="29602" y="22035"/>
                  </a:lnTo>
                  <a:lnTo>
                    <a:pt x="27766" y="21757"/>
                  </a:lnTo>
                  <a:lnTo>
                    <a:pt x="25930" y="21368"/>
                  </a:lnTo>
                  <a:lnTo>
                    <a:pt x="24149" y="20978"/>
                  </a:lnTo>
                  <a:lnTo>
                    <a:pt x="22369" y="20533"/>
                  </a:lnTo>
                  <a:lnTo>
                    <a:pt x="20699" y="20032"/>
                  </a:lnTo>
                  <a:lnTo>
                    <a:pt x="19030" y="19476"/>
                  </a:lnTo>
                  <a:lnTo>
                    <a:pt x="17472" y="18864"/>
                  </a:lnTo>
                  <a:lnTo>
                    <a:pt x="15914" y="18252"/>
                  </a:lnTo>
                  <a:lnTo>
                    <a:pt x="14412" y="17584"/>
                  </a:lnTo>
                  <a:lnTo>
                    <a:pt x="12965" y="16861"/>
                  </a:lnTo>
                  <a:lnTo>
                    <a:pt x="11630" y="16082"/>
                  </a:lnTo>
                  <a:lnTo>
                    <a:pt x="10294" y="15303"/>
                  </a:lnTo>
                  <a:lnTo>
                    <a:pt x="9070" y="14468"/>
                  </a:lnTo>
                  <a:lnTo>
                    <a:pt x="7902" y="13633"/>
                  </a:lnTo>
                  <a:lnTo>
                    <a:pt x="6789" y="12743"/>
                  </a:lnTo>
                  <a:lnTo>
                    <a:pt x="5787" y="11797"/>
                  </a:lnTo>
                  <a:lnTo>
                    <a:pt x="4841" y="10851"/>
                  </a:lnTo>
                  <a:lnTo>
                    <a:pt x="3951" y="9905"/>
                  </a:lnTo>
                  <a:lnTo>
                    <a:pt x="3172" y="8848"/>
                  </a:lnTo>
                  <a:lnTo>
                    <a:pt x="2449" y="7846"/>
                  </a:lnTo>
                  <a:lnTo>
                    <a:pt x="1837" y="6789"/>
                  </a:lnTo>
                  <a:lnTo>
                    <a:pt x="1280" y="5676"/>
                  </a:lnTo>
                  <a:lnTo>
                    <a:pt x="835" y="4619"/>
                  </a:lnTo>
                  <a:lnTo>
                    <a:pt x="501" y="3506"/>
                  </a:lnTo>
                  <a:lnTo>
                    <a:pt x="223" y="2338"/>
                  </a:lnTo>
                  <a:lnTo>
                    <a:pt x="112" y="1169"/>
                  </a:lnTo>
                  <a:lnTo>
                    <a:pt x="56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2307;p60">
              <a:extLst>
                <a:ext uri="{FF2B5EF4-FFF2-40B4-BE49-F238E27FC236}">
                  <a16:creationId xmlns:a16="http://schemas.microsoft.com/office/drawing/2014/main" id="{D1615504-4270-5ADF-6516-BDD167A5F4C4}"/>
                </a:ext>
              </a:extLst>
            </p:cNvPr>
            <p:cNvSpPr/>
            <p:nvPr/>
          </p:nvSpPr>
          <p:spPr>
            <a:xfrm>
              <a:off x="3903200" y="3258125"/>
              <a:ext cx="1962800" cy="1137900"/>
            </a:xfrm>
            <a:custGeom>
              <a:avLst/>
              <a:gdLst/>
              <a:ahLst/>
              <a:cxnLst/>
              <a:rect l="l" t="t" r="r" b="b"/>
              <a:pathLst>
                <a:path w="78512" h="45516" extrusionOk="0">
                  <a:moveTo>
                    <a:pt x="39172" y="4674"/>
                  </a:moveTo>
                  <a:lnTo>
                    <a:pt x="40730" y="4730"/>
                  </a:lnTo>
                  <a:lnTo>
                    <a:pt x="42344" y="4785"/>
                  </a:lnTo>
                  <a:lnTo>
                    <a:pt x="43902" y="4897"/>
                  </a:lnTo>
                  <a:lnTo>
                    <a:pt x="45460" y="5064"/>
                  </a:lnTo>
                  <a:lnTo>
                    <a:pt x="46962" y="5230"/>
                  </a:lnTo>
                  <a:lnTo>
                    <a:pt x="48465" y="5509"/>
                  </a:lnTo>
                  <a:lnTo>
                    <a:pt x="49911" y="5787"/>
                  </a:lnTo>
                  <a:lnTo>
                    <a:pt x="51302" y="6121"/>
                  </a:lnTo>
                  <a:lnTo>
                    <a:pt x="52693" y="6455"/>
                  </a:lnTo>
                  <a:lnTo>
                    <a:pt x="54029" y="6844"/>
                  </a:lnTo>
                  <a:lnTo>
                    <a:pt x="55364" y="7289"/>
                  </a:lnTo>
                  <a:lnTo>
                    <a:pt x="56644" y="7790"/>
                  </a:lnTo>
                  <a:lnTo>
                    <a:pt x="57868" y="8291"/>
                  </a:lnTo>
                  <a:lnTo>
                    <a:pt x="59037" y="8792"/>
                  </a:lnTo>
                  <a:lnTo>
                    <a:pt x="60150" y="9404"/>
                  </a:lnTo>
                  <a:lnTo>
                    <a:pt x="61262" y="9960"/>
                  </a:lnTo>
                  <a:lnTo>
                    <a:pt x="62320" y="10628"/>
                  </a:lnTo>
                  <a:lnTo>
                    <a:pt x="63265" y="11296"/>
                  </a:lnTo>
                  <a:lnTo>
                    <a:pt x="64211" y="11963"/>
                  </a:lnTo>
                  <a:lnTo>
                    <a:pt x="65102" y="12687"/>
                  </a:lnTo>
                  <a:lnTo>
                    <a:pt x="65881" y="13410"/>
                  </a:lnTo>
                  <a:lnTo>
                    <a:pt x="66660" y="14133"/>
                  </a:lnTo>
                  <a:lnTo>
                    <a:pt x="67327" y="14912"/>
                  </a:lnTo>
                  <a:lnTo>
                    <a:pt x="67995" y="15747"/>
                  </a:lnTo>
                  <a:lnTo>
                    <a:pt x="68552" y="16526"/>
                  </a:lnTo>
                  <a:lnTo>
                    <a:pt x="69052" y="17416"/>
                  </a:lnTo>
                  <a:lnTo>
                    <a:pt x="69442" y="18251"/>
                  </a:lnTo>
                  <a:lnTo>
                    <a:pt x="69831" y="19141"/>
                  </a:lnTo>
                  <a:lnTo>
                    <a:pt x="70109" y="20031"/>
                  </a:lnTo>
                  <a:lnTo>
                    <a:pt x="70276" y="20922"/>
                  </a:lnTo>
                  <a:lnTo>
                    <a:pt x="70443" y="21868"/>
                  </a:lnTo>
                  <a:lnTo>
                    <a:pt x="70499" y="22758"/>
                  </a:lnTo>
                  <a:lnTo>
                    <a:pt x="70443" y="23704"/>
                  </a:lnTo>
                  <a:lnTo>
                    <a:pt x="70332" y="24594"/>
                  </a:lnTo>
                  <a:lnTo>
                    <a:pt x="70109" y="25540"/>
                  </a:lnTo>
                  <a:lnTo>
                    <a:pt x="69887" y="26430"/>
                  </a:lnTo>
                  <a:lnTo>
                    <a:pt x="69497" y="27265"/>
                  </a:lnTo>
                  <a:lnTo>
                    <a:pt x="69108" y="28155"/>
                  </a:lnTo>
                  <a:lnTo>
                    <a:pt x="68607" y="28990"/>
                  </a:lnTo>
                  <a:lnTo>
                    <a:pt x="68051" y="29825"/>
                  </a:lnTo>
                  <a:lnTo>
                    <a:pt x="67439" y="30603"/>
                  </a:lnTo>
                  <a:lnTo>
                    <a:pt x="66771" y="31382"/>
                  </a:lnTo>
                  <a:lnTo>
                    <a:pt x="65992" y="32161"/>
                  </a:lnTo>
                  <a:lnTo>
                    <a:pt x="65213" y="32885"/>
                  </a:lnTo>
                  <a:lnTo>
                    <a:pt x="64323" y="33608"/>
                  </a:lnTo>
                  <a:lnTo>
                    <a:pt x="63432" y="34276"/>
                  </a:lnTo>
                  <a:lnTo>
                    <a:pt x="62431" y="34944"/>
                  </a:lnTo>
                  <a:lnTo>
                    <a:pt x="61374" y="35556"/>
                  </a:lnTo>
                  <a:lnTo>
                    <a:pt x="60316" y="36168"/>
                  </a:lnTo>
                  <a:lnTo>
                    <a:pt x="59204" y="36724"/>
                  </a:lnTo>
                  <a:lnTo>
                    <a:pt x="58035" y="37281"/>
                  </a:lnTo>
                  <a:lnTo>
                    <a:pt x="56811" y="37781"/>
                  </a:lnTo>
                  <a:lnTo>
                    <a:pt x="55531" y="38227"/>
                  </a:lnTo>
                  <a:lnTo>
                    <a:pt x="54196" y="38672"/>
                  </a:lnTo>
                  <a:lnTo>
                    <a:pt x="52860" y="39061"/>
                  </a:lnTo>
                  <a:lnTo>
                    <a:pt x="51469" y="39451"/>
                  </a:lnTo>
                  <a:lnTo>
                    <a:pt x="50078" y="39785"/>
                  </a:lnTo>
                  <a:lnTo>
                    <a:pt x="48632" y="40063"/>
                  </a:lnTo>
                  <a:lnTo>
                    <a:pt x="47129" y="40285"/>
                  </a:lnTo>
                  <a:lnTo>
                    <a:pt x="45627" y="40508"/>
                  </a:lnTo>
                  <a:lnTo>
                    <a:pt x="44124" y="40619"/>
                  </a:lnTo>
                  <a:lnTo>
                    <a:pt x="42566" y="40786"/>
                  </a:lnTo>
                  <a:lnTo>
                    <a:pt x="40953" y="40842"/>
                  </a:lnTo>
                  <a:lnTo>
                    <a:pt x="37726" y="40842"/>
                  </a:lnTo>
                  <a:lnTo>
                    <a:pt x="36168" y="40786"/>
                  </a:lnTo>
                  <a:lnTo>
                    <a:pt x="34610" y="40619"/>
                  </a:lnTo>
                  <a:lnTo>
                    <a:pt x="33052" y="40508"/>
                  </a:lnTo>
                  <a:lnTo>
                    <a:pt x="31549" y="40285"/>
                  </a:lnTo>
                  <a:lnTo>
                    <a:pt x="30047" y="40063"/>
                  </a:lnTo>
                  <a:lnTo>
                    <a:pt x="28600" y="39785"/>
                  </a:lnTo>
                  <a:lnTo>
                    <a:pt x="27209" y="39451"/>
                  </a:lnTo>
                  <a:lnTo>
                    <a:pt x="25818" y="39061"/>
                  </a:lnTo>
                  <a:lnTo>
                    <a:pt x="24483" y="38672"/>
                  </a:lnTo>
                  <a:lnTo>
                    <a:pt x="23147" y="38227"/>
                  </a:lnTo>
                  <a:lnTo>
                    <a:pt x="21868" y="37781"/>
                  </a:lnTo>
                  <a:lnTo>
                    <a:pt x="20643" y="37281"/>
                  </a:lnTo>
                  <a:lnTo>
                    <a:pt x="19475" y="36724"/>
                  </a:lnTo>
                  <a:lnTo>
                    <a:pt x="18362" y="36168"/>
                  </a:lnTo>
                  <a:lnTo>
                    <a:pt x="17249" y="35556"/>
                  </a:lnTo>
                  <a:lnTo>
                    <a:pt x="16192" y="34944"/>
                  </a:lnTo>
                  <a:lnTo>
                    <a:pt x="15246" y="34276"/>
                  </a:lnTo>
                  <a:lnTo>
                    <a:pt x="14300" y="33608"/>
                  </a:lnTo>
                  <a:lnTo>
                    <a:pt x="13410" y="32885"/>
                  </a:lnTo>
                  <a:lnTo>
                    <a:pt x="12631" y="32161"/>
                  </a:lnTo>
                  <a:lnTo>
                    <a:pt x="11852" y="31382"/>
                  </a:lnTo>
                  <a:lnTo>
                    <a:pt x="11129" y="30603"/>
                  </a:lnTo>
                  <a:lnTo>
                    <a:pt x="10516" y="29825"/>
                  </a:lnTo>
                  <a:lnTo>
                    <a:pt x="9960" y="28990"/>
                  </a:lnTo>
                  <a:lnTo>
                    <a:pt x="9459" y="28155"/>
                  </a:lnTo>
                  <a:lnTo>
                    <a:pt x="9014" y="27265"/>
                  </a:lnTo>
                  <a:lnTo>
                    <a:pt x="8680" y="26430"/>
                  </a:lnTo>
                  <a:lnTo>
                    <a:pt x="8402" y="25540"/>
                  </a:lnTo>
                  <a:lnTo>
                    <a:pt x="8179" y="24594"/>
                  </a:lnTo>
                  <a:lnTo>
                    <a:pt x="8068" y="23704"/>
                  </a:lnTo>
                  <a:lnTo>
                    <a:pt x="8013" y="22758"/>
                  </a:lnTo>
                  <a:lnTo>
                    <a:pt x="8068" y="21868"/>
                  </a:lnTo>
                  <a:lnTo>
                    <a:pt x="8179" y="20922"/>
                  </a:lnTo>
                  <a:lnTo>
                    <a:pt x="8402" y="20031"/>
                  </a:lnTo>
                  <a:lnTo>
                    <a:pt x="8625" y="19141"/>
                  </a:lnTo>
                  <a:lnTo>
                    <a:pt x="9014" y="18251"/>
                  </a:lnTo>
                  <a:lnTo>
                    <a:pt x="9404" y="17416"/>
                  </a:lnTo>
                  <a:lnTo>
                    <a:pt x="9904" y="16582"/>
                  </a:lnTo>
                  <a:lnTo>
                    <a:pt x="10461" y="15747"/>
                  </a:lnTo>
                  <a:lnTo>
                    <a:pt x="11073" y="14912"/>
                  </a:lnTo>
                  <a:lnTo>
                    <a:pt x="11741" y="14133"/>
                  </a:lnTo>
                  <a:lnTo>
                    <a:pt x="12520" y="13410"/>
                  </a:lnTo>
                  <a:lnTo>
                    <a:pt x="13299" y="12687"/>
                  </a:lnTo>
                  <a:lnTo>
                    <a:pt x="14189" y="11963"/>
                  </a:lnTo>
                  <a:lnTo>
                    <a:pt x="15079" y="11296"/>
                  </a:lnTo>
                  <a:lnTo>
                    <a:pt x="16081" y="10628"/>
                  </a:lnTo>
                  <a:lnTo>
                    <a:pt x="17082" y="9960"/>
                  </a:lnTo>
                  <a:lnTo>
                    <a:pt x="18195" y="9404"/>
                  </a:lnTo>
                  <a:lnTo>
                    <a:pt x="19308" y="8792"/>
                  </a:lnTo>
                  <a:lnTo>
                    <a:pt x="20476" y="8291"/>
                  </a:lnTo>
                  <a:lnTo>
                    <a:pt x="21701" y="7790"/>
                  </a:lnTo>
                  <a:lnTo>
                    <a:pt x="22980" y="7289"/>
                  </a:lnTo>
                  <a:lnTo>
                    <a:pt x="24260" y="6844"/>
                  </a:lnTo>
                  <a:lnTo>
                    <a:pt x="25651" y="6455"/>
                  </a:lnTo>
                  <a:lnTo>
                    <a:pt x="26987" y="6121"/>
                  </a:lnTo>
                  <a:lnTo>
                    <a:pt x="28433" y="5787"/>
                  </a:lnTo>
                  <a:lnTo>
                    <a:pt x="29880" y="5509"/>
                  </a:lnTo>
                  <a:lnTo>
                    <a:pt x="31327" y="5230"/>
                  </a:lnTo>
                  <a:lnTo>
                    <a:pt x="32885" y="5064"/>
                  </a:lnTo>
                  <a:lnTo>
                    <a:pt x="34387" y="4897"/>
                  </a:lnTo>
                  <a:lnTo>
                    <a:pt x="35945" y="4785"/>
                  </a:lnTo>
                  <a:lnTo>
                    <a:pt x="37559" y="4730"/>
                  </a:lnTo>
                  <a:lnTo>
                    <a:pt x="39172" y="4674"/>
                  </a:lnTo>
                  <a:close/>
                  <a:moveTo>
                    <a:pt x="39117" y="0"/>
                  </a:moveTo>
                  <a:lnTo>
                    <a:pt x="37114" y="56"/>
                  </a:lnTo>
                  <a:lnTo>
                    <a:pt x="35110" y="111"/>
                  </a:lnTo>
                  <a:lnTo>
                    <a:pt x="33163" y="278"/>
                  </a:lnTo>
                  <a:lnTo>
                    <a:pt x="31215" y="501"/>
                  </a:lnTo>
                  <a:lnTo>
                    <a:pt x="29324" y="723"/>
                  </a:lnTo>
                  <a:lnTo>
                    <a:pt x="27432" y="1057"/>
                  </a:lnTo>
                  <a:lnTo>
                    <a:pt x="25651" y="1391"/>
                  </a:lnTo>
                  <a:lnTo>
                    <a:pt x="23871" y="1781"/>
                  </a:lnTo>
                  <a:lnTo>
                    <a:pt x="22090" y="2281"/>
                  </a:lnTo>
                  <a:lnTo>
                    <a:pt x="20421" y="2782"/>
                  </a:lnTo>
                  <a:lnTo>
                    <a:pt x="18752" y="3339"/>
                  </a:lnTo>
                  <a:lnTo>
                    <a:pt x="17194" y="3895"/>
                  </a:lnTo>
                  <a:lnTo>
                    <a:pt x="15636" y="4563"/>
                  </a:lnTo>
                  <a:lnTo>
                    <a:pt x="14189" y="5230"/>
                  </a:lnTo>
                  <a:lnTo>
                    <a:pt x="12742" y="5954"/>
                  </a:lnTo>
                  <a:lnTo>
                    <a:pt x="11407" y="6677"/>
                  </a:lnTo>
                  <a:lnTo>
                    <a:pt x="10071" y="7456"/>
                  </a:lnTo>
                  <a:lnTo>
                    <a:pt x="8847" y="8291"/>
                  </a:lnTo>
                  <a:lnTo>
                    <a:pt x="7679" y="9181"/>
                  </a:lnTo>
                  <a:lnTo>
                    <a:pt x="6621" y="10071"/>
                  </a:lnTo>
                  <a:lnTo>
                    <a:pt x="5620" y="10962"/>
                  </a:lnTo>
                  <a:lnTo>
                    <a:pt x="4674" y="11908"/>
                  </a:lnTo>
                  <a:lnTo>
                    <a:pt x="3784" y="12909"/>
                  </a:lnTo>
                  <a:lnTo>
                    <a:pt x="3005" y="13911"/>
                  </a:lnTo>
                  <a:lnTo>
                    <a:pt x="2337" y="14968"/>
                  </a:lnTo>
                  <a:lnTo>
                    <a:pt x="1725" y="16025"/>
                  </a:lnTo>
                  <a:lnTo>
                    <a:pt x="1169" y="17082"/>
                  </a:lnTo>
                  <a:lnTo>
                    <a:pt x="723" y="18195"/>
                  </a:lnTo>
                  <a:lnTo>
                    <a:pt x="390" y="19308"/>
                  </a:lnTo>
                  <a:lnTo>
                    <a:pt x="167" y="20421"/>
                  </a:lnTo>
                  <a:lnTo>
                    <a:pt x="0" y="21589"/>
                  </a:lnTo>
                  <a:lnTo>
                    <a:pt x="0" y="22758"/>
                  </a:lnTo>
                  <a:lnTo>
                    <a:pt x="56" y="23926"/>
                  </a:lnTo>
                  <a:lnTo>
                    <a:pt x="167" y="25095"/>
                  </a:lnTo>
                  <a:lnTo>
                    <a:pt x="445" y="26263"/>
                  </a:lnTo>
                  <a:lnTo>
                    <a:pt x="779" y="27376"/>
                  </a:lnTo>
                  <a:lnTo>
                    <a:pt x="1224" y="28433"/>
                  </a:lnTo>
                  <a:lnTo>
                    <a:pt x="1781" y="29546"/>
                  </a:lnTo>
                  <a:lnTo>
                    <a:pt x="2393" y="30603"/>
                  </a:lnTo>
                  <a:lnTo>
                    <a:pt x="3116" y="31605"/>
                  </a:lnTo>
                  <a:lnTo>
                    <a:pt x="3895" y="32662"/>
                  </a:lnTo>
                  <a:lnTo>
                    <a:pt x="4785" y="33608"/>
                  </a:lnTo>
                  <a:lnTo>
                    <a:pt x="5731" y="34554"/>
                  </a:lnTo>
                  <a:lnTo>
                    <a:pt x="6733" y="35500"/>
                  </a:lnTo>
                  <a:lnTo>
                    <a:pt x="7846" y="36390"/>
                  </a:lnTo>
                  <a:lnTo>
                    <a:pt x="9014" y="37225"/>
                  </a:lnTo>
                  <a:lnTo>
                    <a:pt x="10238" y="38060"/>
                  </a:lnTo>
                  <a:lnTo>
                    <a:pt x="11574" y="38839"/>
                  </a:lnTo>
                  <a:lnTo>
                    <a:pt x="12909" y="39618"/>
                  </a:lnTo>
                  <a:lnTo>
                    <a:pt x="14356" y="40341"/>
                  </a:lnTo>
                  <a:lnTo>
                    <a:pt x="15858" y="41009"/>
                  </a:lnTo>
                  <a:lnTo>
                    <a:pt x="17416" y="41621"/>
                  </a:lnTo>
                  <a:lnTo>
                    <a:pt x="18974" y="42233"/>
                  </a:lnTo>
                  <a:lnTo>
                    <a:pt x="20643" y="42789"/>
                  </a:lnTo>
                  <a:lnTo>
                    <a:pt x="22313" y="43290"/>
                  </a:lnTo>
                  <a:lnTo>
                    <a:pt x="24093" y="43735"/>
                  </a:lnTo>
                  <a:lnTo>
                    <a:pt x="25874" y="44125"/>
                  </a:lnTo>
                  <a:lnTo>
                    <a:pt x="27710" y="44514"/>
                  </a:lnTo>
                  <a:lnTo>
                    <a:pt x="29546" y="44792"/>
                  </a:lnTo>
                  <a:lnTo>
                    <a:pt x="31438" y="45071"/>
                  </a:lnTo>
                  <a:lnTo>
                    <a:pt x="33386" y="45238"/>
                  </a:lnTo>
                  <a:lnTo>
                    <a:pt x="35389" y="45404"/>
                  </a:lnTo>
                  <a:lnTo>
                    <a:pt x="37336" y="45516"/>
                  </a:lnTo>
                  <a:lnTo>
                    <a:pt x="41398" y="45516"/>
                  </a:lnTo>
                  <a:lnTo>
                    <a:pt x="43401" y="45404"/>
                  </a:lnTo>
                  <a:lnTo>
                    <a:pt x="45349" y="45238"/>
                  </a:lnTo>
                  <a:lnTo>
                    <a:pt x="47296" y="45071"/>
                  </a:lnTo>
                  <a:lnTo>
                    <a:pt x="49188" y="44792"/>
                  </a:lnTo>
                  <a:lnTo>
                    <a:pt x="51080" y="44514"/>
                  </a:lnTo>
                  <a:lnTo>
                    <a:pt x="52860" y="44125"/>
                  </a:lnTo>
                  <a:lnTo>
                    <a:pt x="54641" y="43735"/>
                  </a:lnTo>
                  <a:lnTo>
                    <a:pt x="56421" y="43290"/>
                  </a:lnTo>
                  <a:lnTo>
                    <a:pt x="58091" y="42789"/>
                  </a:lnTo>
                  <a:lnTo>
                    <a:pt x="59704" y="42233"/>
                  </a:lnTo>
                  <a:lnTo>
                    <a:pt x="61318" y="41621"/>
                  </a:lnTo>
                  <a:lnTo>
                    <a:pt x="62876" y="41009"/>
                  </a:lnTo>
                  <a:lnTo>
                    <a:pt x="64323" y="40341"/>
                  </a:lnTo>
                  <a:lnTo>
                    <a:pt x="65769" y="39618"/>
                  </a:lnTo>
                  <a:lnTo>
                    <a:pt x="67105" y="38839"/>
                  </a:lnTo>
                  <a:lnTo>
                    <a:pt x="68440" y="38060"/>
                  </a:lnTo>
                  <a:lnTo>
                    <a:pt x="69664" y="37225"/>
                  </a:lnTo>
                  <a:lnTo>
                    <a:pt x="70777" y="36390"/>
                  </a:lnTo>
                  <a:lnTo>
                    <a:pt x="71890" y="35500"/>
                  </a:lnTo>
                  <a:lnTo>
                    <a:pt x="72892" y="34554"/>
                  </a:lnTo>
                  <a:lnTo>
                    <a:pt x="73838" y="33608"/>
                  </a:lnTo>
                  <a:lnTo>
                    <a:pt x="74728" y="32662"/>
                  </a:lnTo>
                  <a:lnTo>
                    <a:pt x="75507" y="31605"/>
                  </a:lnTo>
                  <a:lnTo>
                    <a:pt x="76175" y="30603"/>
                  </a:lnTo>
                  <a:lnTo>
                    <a:pt x="76787" y="29546"/>
                  </a:lnTo>
                  <a:lnTo>
                    <a:pt x="77343" y="28433"/>
                  </a:lnTo>
                  <a:lnTo>
                    <a:pt x="77733" y="27376"/>
                  </a:lnTo>
                  <a:lnTo>
                    <a:pt x="78122" y="26263"/>
                  </a:lnTo>
                  <a:lnTo>
                    <a:pt x="78345" y="25095"/>
                  </a:lnTo>
                  <a:lnTo>
                    <a:pt x="78512" y="23926"/>
                  </a:lnTo>
                  <a:lnTo>
                    <a:pt x="78512" y="22758"/>
                  </a:lnTo>
                  <a:lnTo>
                    <a:pt x="78456" y="21589"/>
                  </a:lnTo>
                  <a:lnTo>
                    <a:pt x="78289" y="20421"/>
                  </a:lnTo>
                  <a:lnTo>
                    <a:pt x="78066" y="19308"/>
                  </a:lnTo>
                  <a:lnTo>
                    <a:pt x="77733" y="18195"/>
                  </a:lnTo>
                  <a:lnTo>
                    <a:pt x="77287" y="17082"/>
                  </a:lnTo>
                  <a:lnTo>
                    <a:pt x="76731" y="16025"/>
                  </a:lnTo>
                  <a:lnTo>
                    <a:pt x="76119" y="14968"/>
                  </a:lnTo>
                  <a:lnTo>
                    <a:pt x="75396" y="13911"/>
                  </a:lnTo>
                  <a:lnTo>
                    <a:pt x="74617" y="12909"/>
                  </a:lnTo>
                  <a:lnTo>
                    <a:pt x="73726" y="11908"/>
                  </a:lnTo>
                  <a:lnTo>
                    <a:pt x="72780" y="10962"/>
                  </a:lnTo>
                  <a:lnTo>
                    <a:pt x="71779" y="10071"/>
                  </a:lnTo>
                  <a:lnTo>
                    <a:pt x="70666" y="9181"/>
                  </a:lnTo>
                  <a:lnTo>
                    <a:pt x="69497" y="8291"/>
                  </a:lnTo>
                  <a:lnTo>
                    <a:pt x="68218" y="7456"/>
                  </a:lnTo>
                  <a:lnTo>
                    <a:pt x="66938" y="6677"/>
                  </a:lnTo>
                  <a:lnTo>
                    <a:pt x="65547" y="5954"/>
                  </a:lnTo>
                  <a:lnTo>
                    <a:pt x="64156" y="5230"/>
                  </a:lnTo>
                  <a:lnTo>
                    <a:pt x="62653" y="4563"/>
                  </a:lnTo>
                  <a:lnTo>
                    <a:pt x="61095" y="3895"/>
                  </a:lnTo>
                  <a:lnTo>
                    <a:pt x="59537" y="3339"/>
                  </a:lnTo>
                  <a:lnTo>
                    <a:pt x="57868" y="2782"/>
                  </a:lnTo>
                  <a:lnTo>
                    <a:pt x="56143" y="2281"/>
                  </a:lnTo>
                  <a:lnTo>
                    <a:pt x="54418" y="1781"/>
                  </a:lnTo>
                  <a:lnTo>
                    <a:pt x="52638" y="1391"/>
                  </a:lnTo>
                  <a:lnTo>
                    <a:pt x="50802" y="1057"/>
                  </a:lnTo>
                  <a:lnTo>
                    <a:pt x="48965" y="723"/>
                  </a:lnTo>
                  <a:lnTo>
                    <a:pt x="47018" y="501"/>
                  </a:lnTo>
                  <a:lnTo>
                    <a:pt x="45126" y="278"/>
                  </a:lnTo>
                  <a:lnTo>
                    <a:pt x="43123" y="111"/>
                  </a:lnTo>
                  <a:lnTo>
                    <a:pt x="41120" y="56"/>
                  </a:lnTo>
                  <a:lnTo>
                    <a:pt x="39117" y="0"/>
                  </a:lnTo>
                  <a:close/>
                </a:path>
              </a:pathLst>
            </a:custGeom>
            <a:solidFill>
              <a:srgbClr val="D7600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2308;p60">
              <a:extLst>
                <a:ext uri="{FF2B5EF4-FFF2-40B4-BE49-F238E27FC236}">
                  <a16:creationId xmlns:a16="http://schemas.microsoft.com/office/drawing/2014/main" id="{C525EAA0-6328-A644-9618-1950AFD93484}"/>
                </a:ext>
              </a:extLst>
            </p:cNvPr>
            <p:cNvSpPr/>
            <p:nvPr/>
          </p:nvSpPr>
          <p:spPr>
            <a:xfrm>
              <a:off x="4082625" y="3162125"/>
              <a:ext cx="1560800" cy="904225"/>
            </a:xfrm>
            <a:custGeom>
              <a:avLst/>
              <a:gdLst/>
              <a:ahLst/>
              <a:cxnLst/>
              <a:rect l="l" t="t" r="r" b="b"/>
              <a:pathLst>
                <a:path w="62432" h="36169" extrusionOk="0">
                  <a:moveTo>
                    <a:pt x="29491" y="1"/>
                  </a:moveTo>
                  <a:lnTo>
                    <a:pt x="27933" y="56"/>
                  </a:lnTo>
                  <a:lnTo>
                    <a:pt x="26375" y="168"/>
                  </a:lnTo>
                  <a:lnTo>
                    <a:pt x="24817" y="335"/>
                  </a:lnTo>
                  <a:lnTo>
                    <a:pt x="23315" y="557"/>
                  </a:lnTo>
                  <a:lnTo>
                    <a:pt x="21868" y="780"/>
                  </a:lnTo>
                  <a:lnTo>
                    <a:pt x="20366" y="1058"/>
                  </a:lnTo>
                  <a:lnTo>
                    <a:pt x="18975" y="1392"/>
                  </a:lnTo>
                  <a:lnTo>
                    <a:pt x="17584" y="1781"/>
                  </a:lnTo>
                  <a:lnTo>
                    <a:pt x="16249" y="2171"/>
                  </a:lnTo>
                  <a:lnTo>
                    <a:pt x="14969" y="2616"/>
                  </a:lnTo>
                  <a:lnTo>
                    <a:pt x="13689" y="3061"/>
                  </a:lnTo>
                  <a:lnTo>
                    <a:pt x="12465" y="3562"/>
                  </a:lnTo>
                  <a:lnTo>
                    <a:pt x="11296" y="4118"/>
                  </a:lnTo>
                  <a:lnTo>
                    <a:pt x="10128" y="4675"/>
                  </a:lnTo>
                  <a:lnTo>
                    <a:pt x="9071" y="5287"/>
                  </a:lnTo>
                  <a:lnTo>
                    <a:pt x="8069" y="5899"/>
                  </a:lnTo>
                  <a:lnTo>
                    <a:pt x="7068" y="6567"/>
                  </a:lnTo>
                  <a:lnTo>
                    <a:pt x="6122" y="7234"/>
                  </a:lnTo>
                  <a:lnTo>
                    <a:pt x="5287" y="7958"/>
                  </a:lnTo>
                  <a:lnTo>
                    <a:pt x="4452" y="8681"/>
                  </a:lnTo>
                  <a:lnTo>
                    <a:pt x="3729" y="9460"/>
                  </a:lnTo>
                  <a:lnTo>
                    <a:pt x="3061" y="10239"/>
                  </a:lnTo>
                  <a:lnTo>
                    <a:pt x="2394" y="11018"/>
                  </a:lnTo>
                  <a:lnTo>
                    <a:pt x="1837" y="11853"/>
                  </a:lnTo>
                  <a:lnTo>
                    <a:pt x="1392" y="12687"/>
                  </a:lnTo>
                  <a:lnTo>
                    <a:pt x="947" y="13522"/>
                  </a:lnTo>
                  <a:lnTo>
                    <a:pt x="613" y="14412"/>
                  </a:lnTo>
                  <a:lnTo>
                    <a:pt x="335" y="15302"/>
                  </a:lnTo>
                  <a:lnTo>
                    <a:pt x="168" y="16193"/>
                  </a:lnTo>
                  <a:lnTo>
                    <a:pt x="57" y="17139"/>
                  </a:lnTo>
                  <a:lnTo>
                    <a:pt x="1" y="18085"/>
                  </a:lnTo>
                  <a:lnTo>
                    <a:pt x="57" y="18975"/>
                  </a:lnTo>
                  <a:lnTo>
                    <a:pt x="168" y="19921"/>
                  </a:lnTo>
                  <a:lnTo>
                    <a:pt x="390" y="20811"/>
                  </a:lnTo>
                  <a:lnTo>
                    <a:pt x="669" y="21701"/>
                  </a:lnTo>
                  <a:lnTo>
                    <a:pt x="1002" y="22592"/>
                  </a:lnTo>
                  <a:lnTo>
                    <a:pt x="1448" y="23426"/>
                  </a:lnTo>
                  <a:lnTo>
                    <a:pt x="1948" y="24261"/>
                  </a:lnTo>
                  <a:lnTo>
                    <a:pt x="2505" y="25096"/>
                  </a:lnTo>
                  <a:lnTo>
                    <a:pt x="3117" y="25875"/>
                  </a:lnTo>
                  <a:lnTo>
                    <a:pt x="3840" y="26709"/>
                  </a:lnTo>
                  <a:lnTo>
                    <a:pt x="4564" y="27433"/>
                  </a:lnTo>
                  <a:lnTo>
                    <a:pt x="5398" y="28156"/>
                  </a:lnTo>
                  <a:lnTo>
                    <a:pt x="6289" y="28879"/>
                  </a:lnTo>
                  <a:lnTo>
                    <a:pt x="7179" y="29547"/>
                  </a:lnTo>
                  <a:lnTo>
                    <a:pt x="8180" y="30215"/>
                  </a:lnTo>
                  <a:lnTo>
                    <a:pt x="9238" y="30827"/>
                  </a:lnTo>
                  <a:lnTo>
                    <a:pt x="10295" y="31439"/>
                  </a:lnTo>
                  <a:lnTo>
                    <a:pt x="11463" y="31995"/>
                  </a:lnTo>
                  <a:lnTo>
                    <a:pt x="12632" y="32552"/>
                  </a:lnTo>
                  <a:lnTo>
                    <a:pt x="13856" y="33052"/>
                  </a:lnTo>
                  <a:lnTo>
                    <a:pt x="15136" y="33553"/>
                  </a:lnTo>
                  <a:lnTo>
                    <a:pt x="16415" y="33943"/>
                  </a:lnTo>
                  <a:lnTo>
                    <a:pt x="17806" y="34388"/>
                  </a:lnTo>
                  <a:lnTo>
                    <a:pt x="19142" y="34722"/>
                  </a:lnTo>
                  <a:lnTo>
                    <a:pt x="20589" y="35056"/>
                  </a:lnTo>
                  <a:lnTo>
                    <a:pt x="22035" y="35334"/>
                  </a:lnTo>
                  <a:lnTo>
                    <a:pt x="23538" y="35556"/>
                  </a:lnTo>
                  <a:lnTo>
                    <a:pt x="25040" y="35779"/>
                  </a:lnTo>
                  <a:lnTo>
                    <a:pt x="26542" y="35946"/>
                  </a:lnTo>
                  <a:lnTo>
                    <a:pt x="28156" y="36057"/>
                  </a:lnTo>
                  <a:lnTo>
                    <a:pt x="29714" y="36113"/>
                  </a:lnTo>
                  <a:lnTo>
                    <a:pt x="31328" y="36168"/>
                  </a:lnTo>
                  <a:lnTo>
                    <a:pt x="32941" y="36113"/>
                  </a:lnTo>
                  <a:lnTo>
                    <a:pt x="34499" y="36057"/>
                  </a:lnTo>
                  <a:lnTo>
                    <a:pt x="36057" y="35946"/>
                  </a:lnTo>
                  <a:lnTo>
                    <a:pt x="37615" y="35779"/>
                  </a:lnTo>
                  <a:lnTo>
                    <a:pt x="39118" y="35556"/>
                  </a:lnTo>
                  <a:lnTo>
                    <a:pt x="40620" y="35334"/>
                  </a:lnTo>
                  <a:lnTo>
                    <a:pt x="42067" y="35056"/>
                  </a:lnTo>
                  <a:lnTo>
                    <a:pt x="43458" y="34722"/>
                  </a:lnTo>
                  <a:lnTo>
                    <a:pt x="44849" y="34388"/>
                  </a:lnTo>
                  <a:lnTo>
                    <a:pt x="46184" y="33943"/>
                  </a:lnTo>
                  <a:lnTo>
                    <a:pt x="47520" y="33553"/>
                  </a:lnTo>
                  <a:lnTo>
                    <a:pt x="48744" y="33052"/>
                  </a:lnTo>
                  <a:lnTo>
                    <a:pt x="49968" y="32552"/>
                  </a:lnTo>
                  <a:lnTo>
                    <a:pt x="51136" y="31995"/>
                  </a:lnTo>
                  <a:lnTo>
                    <a:pt x="52305" y="31439"/>
                  </a:lnTo>
                  <a:lnTo>
                    <a:pt x="53362" y="30827"/>
                  </a:lnTo>
                  <a:lnTo>
                    <a:pt x="54419" y="30215"/>
                  </a:lnTo>
                  <a:lnTo>
                    <a:pt x="55365" y="29547"/>
                  </a:lnTo>
                  <a:lnTo>
                    <a:pt x="56311" y="28879"/>
                  </a:lnTo>
                  <a:lnTo>
                    <a:pt x="57146" y="28156"/>
                  </a:lnTo>
                  <a:lnTo>
                    <a:pt x="57980" y="27433"/>
                  </a:lnTo>
                  <a:lnTo>
                    <a:pt x="58704" y="26654"/>
                  </a:lnTo>
                  <a:lnTo>
                    <a:pt x="59427" y="25875"/>
                  </a:lnTo>
                  <a:lnTo>
                    <a:pt x="60039" y="25096"/>
                  </a:lnTo>
                  <a:lnTo>
                    <a:pt x="60596" y="24261"/>
                  </a:lnTo>
                  <a:lnTo>
                    <a:pt x="61041" y="23426"/>
                  </a:lnTo>
                  <a:lnTo>
                    <a:pt x="61486" y="22592"/>
                  </a:lnTo>
                  <a:lnTo>
                    <a:pt x="61820" y="21701"/>
                  </a:lnTo>
                  <a:lnTo>
                    <a:pt x="62098" y="20811"/>
                  </a:lnTo>
                  <a:lnTo>
                    <a:pt x="62265" y="19921"/>
                  </a:lnTo>
                  <a:lnTo>
                    <a:pt x="62432" y="18975"/>
                  </a:lnTo>
                  <a:lnTo>
                    <a:pt x="62432" y="18085"/>
                  </a:lnTo>
                  <a:lnTo>
                    <a:pt x="62376" y="17139"/>
                  </a:lnTo>
                  <a:lnTo>
                    <a:pt x="62265" y="16193"/>
                  </a:lnTo>
                  <a:lnTo>
                    <a:pt x="62042" y="15302"/>
                  </a:lnTo>
                  <a:lnTo>
                    <a:pt x="61764" y="14412"/>
                  </a:lnTo>
                  <a:lnTo>
                    <a:pt x="61430" y="13522"/>
                  </a:lnTo>
                  <a:lnTo>
                    <a:pt x="60985" y="12687"/>
                  </a:lnTo>
                  <a:lnTo>
                    <a:pt x="60484" y="11853"/>
                  </a:lnTo>
                  <a:lnTo>
                    <a:pt x="59928" y="11018"/>
                  </a:lnTo>
                  <a:lnTo>
                    <a:pt x="59316" y="10239"/>
                  </a:lnTo>
                  <a:lnTo>
                    <a:pt x="58648" y="9460"/>
                  </a:lnTo>
                  <a:lnTo>
                    <a:pt x="57869" y="8681"/>
                  </a:lnTo>
                  <a:lnTo>
                    <a:pt x="57034" y="7958"/>
                  </a:lnTo>
                  <a:lnTo>
                    <a:pt x="56200" y="7234"/>
                  </a:lnTo>
                  <a:lnTo>
                    <a:pt x="55254" y="6567"/>
                  </a:lnTo>
                  <a:lnTo>
                    <a:pt x="54252" y="5899"/>
                  </a:lnTo>
                  <a:lnTo>
                    <a:pt x="53251" y="5287"/>
                  </a:lnTo>
                  <a:lnTo>
                    <a:pt x="52138" y="4675"/>
                  </a:lnTo>
                  <a:lnTo>
                    <a:pt x="51025" y="4118"/>
                  </a:lnTo>
                  <a:lnTo>
                    <a:pt x="49801" y="3562"/>
                  </a:lnTo>
                  <a:lnTo>
                    <a:pt x="48577" y="3061"/>
                  </a:lnTo>
                  <a:lnTo>
                    <a:pt x="47297" y="2616"/>
                  </a:lnTo>
                  <a:lnTo>
                    <a:pt x="46017" y="2171"/>
                  </a:lnTo>
                  <a:lnTo>
                    <a:pt x="44682" y="1781"/>
                  </a:lnTo>
                  <a:lnTo>
                    <a:pt x="43291" y="1392"/>
                  </a:lnTo>
                  <a:lnTo>
                    <a:pt x="41844" y="1058"/>
                  </a:lnTo>
                  <a:lnTo>
                    <a:pt x="40397" y="780"/>
                  </a:lnTo>
                  <a:lnTo>
                    <a:pt x="38951" y="557"/>
                  </a:lnTo>
                  <a:lnTo>
                    <a:pt x="37393" y="335"/>
                  </a:lnTo>
                  <a:lnTo>
                    <a:pt x="35890" y="168"/>
                  </a:lnTo>
                  <a:lnTo>
                    <a:pt x="34332" y="56"/>
                  </a:lnTo>
                  <a:lnTo>
                    <a:pt x="32719" y="1"/>
                  </a:lnTo>
                  <a:close/>
                </a:path>
              </a:pathLst>
            </a:custGeom>
            <a:solidFill>
              <a:srgbClr val="DFEC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2309;p60">
              <a:extLst>
                <a:ext uri="{FF2B5EF4-FFF2-40B4-BE49-F238E27FC236}">
                  <a16:creationId xmlns:a16="http://schemas.microsoft.com/office/drawing/2014/main" id="{4C2B0399-5AFD-4828-F080-1A3B79EAB332}"/>
                </a:ext>
              </a:extLst>
            </p:cNvPr>
            <p:cNvSpPr/>
            <p:nvPr/>
          </p:nvSpPr>
          <p:spPr>
            <a:xfrm>
              <a:off x="3880925" y="3614225"/>
              <a:ext cx="1964200" cy="709475"/>
            </a:xfrm>
            <a:custGeom>
              <a:avLst/>
              <a:gdLst/>
              <a:ahLst/>
              <a:cxnLst/>
              <a:rect l="l" t="t" r="r" b="b"/>
              <a:pathLst>
                <a:path w="78568" h="28379" extrusionOk="0">
                  <a:moveTo>
                    <a:pt x="1" y="1"/>
                  </a:moveTo>
                  <a:lnTo>
                    <a:pt x="1" y="5620"/>
                  </a:lnTo>
                  <a:lnTo>
                    <a:pt x="56" y="6789"/>
                  </a:lnTo>
                  <a:lnTo>
                    <a:pt x="223" y="7957"/>
                  </a:lnTo>
                  <a:lnTo>
                    <a:pt x="446" y="9126"/>
                  </a:lnTo>
                  <a:lnTo>
                    <a:pt x="835" y="10239"/>
                  </a:lnTo>
                  <a:lnTo>
                    <a:pt x="1281" y="11296"/>
                  </a:lnTo>
                  <a:lnTo>
                    <a:pt x="1781" y="12409"/>
                  </a:lnTo>
                  <a:lnTo>
                    <a:pt x="2449" y="13466"/>
                  </a:lnTo>
                  <a:lnTo>
                    <a:pt x="3117" y="14468"/>
                  </a:lnTo>
                  <a:lnTo>
                    <a:pt x="3896" y="15525"/>
                  </a:lnTo>
                  <a:lnTo>
                    <a:pt x="4786" y="16471"/>
                  </a:lnTo>
                  <a:lnTo>
                    <a:pt x="5732" y="17417"/>
                  </a:lnTo>
                  <a:lnTo>
                    <a:pt x="6789" y="18363"/>
                  </a:lnTo>
                  <a:lnTo>
                    <a:pt x="7846" y="19253"/>
                  </a:lnTo>
                  <a:lnTo>
                    <a:pt x="9070" y="20088"/>
                  </a:lnTo>
                  <a:lnTo>
                    <a:pt x="10295" y="20922"/>
                  </a:lnTo>
                  <a:lnTo>
                    <a:pt x="11574" y="21701"/>
                  </a:lnTo>
                  <a:lnTo>
                    <a:pt x="12965" y="22480"/>
                  </a:lnTo>
                  <a:lnTo>
                    <a:pt x="14412" y="23204"/>
                  </a:lnTo>
                  <a:lnTo>
                    <a:pt x="15859" y="23871"/>
                  </a:lnTo>
                  <a:lnTo>
                    <a:pt x="17417" y="24483"/>
                  </a:lnTo>
                  <a:lnTo>
                    <a:pt x="19030" y="25095"/>
                  </a:lnTo>
                  <a:lnTo>
                    <a:pt x="20644" y="25652"/>
                  </a:lnTo>
                  <a:lnTo>
                    <a:pt x="22369" y="26153"/>
                  </a:lnTo>
                  <a:lnTo>
                    <a:pt x="24094" y="26598"/>
                  </a:lnTo>
                  <a:lnTo>
                    <a:pt x="25874" y="26987"/>
                  </a:lnTo>
                  <a:lnTo>
                    <a:pt x="27711" y="27377"/>
                  </a:lnTo>
                  <a:lnTo>
                    <a:pt x="29603" y="27655"/>
                  </a:lnTo>
                  <a:lnTo>
                    <a:pt x="31494" y="27933"/>
                  </a:lnTo>
                  <a:lnTo>
                    <a:pt x="33442" y="28100"/>
                  </a:lnTo>
                  <a:lnTo>
                    <a:pt x="35389" y="28267"/>
                  </a:lnTo>
                  <a:lnTo>
                    <a:pt x="37392" y="28378"/>
                  </a:lnTo>
                  <a:lnTo>
                    <a:pt x="41399" y="28378"/>
                  </a:lnTo>
                  <a:lnTo>
                    <a:pt x="43402" y="28267"/>
                  </a:lnTo>
                  <a:lnTo>
                    <a:pt x="45405" y="28100"/>
                  </a:lnTo>
                  <a:lnTo>
                    <a:pt x="47297" y="27933"/>
                  </a:lnTo>
                  <a:lnTo>
                    <a:pt x="49189" y="27655"/>
                  </a:lnTo>
                  <a:lnTo>
                    <a:pt x="51081" y="27377"/>
                  </a:lnTo>
                  <a:lnTo>
                    <a:pt x="52917" y="26987"/>
                  </a:lnTo>
                  <a:lnTo>
                    <a:pt x="54697" y="26598"/>
                  </a:lnTo>
                  <a:lnTo>
                    <a:pt x="56422" y="26153"/>
                  </a:lnTo>
                  <a:lnTo>
                    <a:pt x="58091" y="25652"/>
                  </a:lnTo>
                  <a:lnTo>
                    <a:pt x="59761" y="25095"/>
                  </a:lnTo>
                  <a:lnTo>
                    <a:pt x="61319" y="24483"/>
                  </a:lnTo>
                  <a:lnTo>
                    <a:pt x="62877" y="23871"/>
                  </a:lnTo>
                  <a:lnTo>
                    <a:pt x="64379" y="23204"/>
                  </a:lnTo>
                  <a:lnTo>
                    <a:pt x="65770" y="22480"/>
                  </a:lnTo>
                  <a:lnTo>
                    <a:pt x="67161" y="21701"/>
                  </a:lnTo>
                  <a:lnTo>
                    <a:pt x="68441" y="20922"/>
                  </a:lnTo>
                  <a:lnTo>
                    <a:pt x="69665" y="20088"/>
                  </a:lnTo>
                  <a:lnTo>
                    <a:pt x="70834" y="19253"/>
                  </a:lnTo>
                  <a:lnTo>
                    <a:pt x="71891" y="18363"/>
                  </a:lnTo>
                  <a:lnTo>
                    <a:pt x="72948" y="17417"/>
                  </a:lnTo>
                  <a:lnTo>
                    <a:pt x="73894" y="16471"/>
                  </a:lnTo>
                  <a:lnTo>
                    <a:pt x="74729" y="15525"/>
                  </a:lnTo>
                  <a:lnTo>
                    <a:pt x="75508" y="14468"/>
                  </a:lnTo>
                  <a:lnTo>
                    <a:pt x="76231" y="13466"/>
                  </a:lnTo>
                  <a:lnTo>
                    <a:pt x="76843" y="12409"/>
                  </a:lnTo>
                  <a:lnTo>
                    <a:pt x="77344" y="11296"/>
                  </a:lnTo>
                  <a:lnTo>
                    <a:pt x="77789" y="10239"/>
                  </a:lnTo>
                  <a:lnTo>
                    <a:pt x="78123" y="9126"/>
                  </a:lnTo>
                  <a:lnTo>
                    <a:pt x="78345" y="7957"/>
                  </a:lnTo>
                  <a:lnTo>
                    <a:pt x="78512" y="6789"/>
                  </a:lnTo>
                  <a:lnTo>
                    <a:pt x="78568" y="5620"/>
                  </a:lnTo>
                  <a:lnTo>
                    <a:pt x="78568" y="1"/>
                  </a:lnTo>
                  <a:lnTo>
                    <a:pt x="78512" y="1169"/>
                  </a:lnTo>
                  <a:lnTo>
                    <a:pt x="78401" y="2282"/>
                  </a:lnTo>
                  <a:lnTo>
                    <a:pt x="78123" y="3450"/>
                  </a:lnTo>
                  <a:lnTo>
                    <a:pt x="77789" y="4563"/>
                  </a:lnTo>
                  <a:lnTo>
                    <a:pt x="77344" y="5676"/>
                  </a:lnTo>
                  <a:lnTo>
                    <a:pt x="76843" y="6733"/>
                  </a:lnTo>
                  <a:lnTo>
                    <a:pt x="76231" y="7791"/>
                  </a:lnTo>
                  <a:lnTo>
                    <a:pt x="75508" y="8848"/>
                  </a:lnTo>
                  <a:lnTo>
                    <a:pt x="74729" y="9849"/>
                  </a:lnTo>
                  <a:lnTo>
                    <a:pt x="73894" y="10851"/>
                  </a:lnTo>
                  <a:lnTo>
                    <a:pt x="72948" y="11797"/>
                  </a:lnTo>
                  <a:lnTo>
                    <a:pt x="71946" y="12687"/>
                  </a:lnTo>
                  <a:lnTo>
                    <a:pt x="70834" y="13577"/>
                  </a:lnTo>
                  <a:lnTo>
                    <a:pt x="69665" y="14468"/>
                  </a:lnTo>
                  <a:lnTo>
                    <a:pt x="68441" y="15302"/>
                  </a:lnTo>
                  <a:lnTo>
                    <a:pt x="67161" y="16081"/>
                  </a:lnTo>
                  <a:lnTo>
                    <a:pt x="65770" y="16805"/>
                  </a:lnTo>
                  <a:lnTo>
                    <a:pt x="64379" y="17528"/>
                  </a:lnTo>
                  <a:lnTo>
                    <a:pt x="62877" y="18196"/>
                  </a:lnTo>
                  <a:lnTo>
                    <a:pt x="61374" y="18863"/>
                  </a:lnTo>
                  <a:lnTo>
                    <a:pt x="59761" y="19420"/>
                  </a:lnTo>
                  <a:lnTo>
                    <a:pt x="58147" y="19976"/>
                  </a:lnTo>
                  <a:lnTo>
                    <a:pt x="56422" y="20477"/>
                  </a:lnTo>
                  <a:lnTo>
                    <a:pt x="54697" y="20922"/>
                  </a:lnTo>
                  <a:lnTo>
                    <a:pt x="52917" y="21367"/>
                  </a:lnTo>
                  <a:lnTo>
                    <a:pt x="51081" y="21701"/>
                  </a:lnTo>
                  <a:lnTo>
                    <a:pt x="49244" y="22035"/>
                  </a:lnTo>
                  <a:lnTo>
                    <a:pt x="47352" y="22258"/>
                  </a:lnTo>
                  <a:lnTo>
                    <a:pt x="45405" y="22480"/>
                  </a:lnTo>
                  <a:lnTo>
                    <a:pt x="43457" y="22591"/>
                  </a:lnTo>
                  <a:lnTo>
                    <a:pt x="41454" y="22703"/>
                  </a:lnTo>
                  <a:lnTo>
                    <a:pt x="37392" y="22703"/>
                  </a:lnTo>
                  <a:lnTo>
                    <a:pt x="35389" y="22591"/>
                  </a:lnTo>
                  <a:lnTo>
                    <a:pt x="33442" y="22480"/>
                  </a:lnTo>
                  <a:lnTo>
                    <a:pt x="31494" y="22258"/>
                  </a:lnTo>
                  <a:lnTo>
                    <a:pt x="29603" y="22035"/>
                  </a:lnTo>
                  <a:lnTo>
                    <a:pt x="27711" y="21701"/>
                  </a:lnTo>
                  <a:lnTo>
                    <a:pt x="25874" y="21367"/>
                  </a:lnTo>
                  <a:lnTo>
                    <a:pt x="24094" y="20922"/>
                  </a:lnTo>
                  <a:lnTo>
                    <a:pt x="22369" y="20477"/>
                  </a:lnTo>
                  <a:lnTo>
                    <a:pt x="20700" y="19976"/>
                  </a:lnTo>
                  <a:lnTo>
                    <a:pt x="19030" y="19420"/>
                  </a:lnTo>
                  <a:lnTo>
                    <a:pt x="17417" y="18863"/>
                  </a:lnTo>
                  <a:lnTo>
                    <a:pt x="15915" y="18196"/>
                  </a:lnTo>
                  <a:lnTo>
                    <a:pt x="14412" y="17528"/>
                  </a:lnTo>
                  <a:lnTo>
                    <a:pt x="12965" y="16805"/>
                  </a:lnTo>
                  <a:lnTo>
                    <a:pt x="11630" y="16081"/>
                  </a:lnTo>
                  <a:lnTo>
                    <a:pt x="10295" y="15302"/>
                  </a:lnTo>
                  <a:lnTo>
                    <a:pt x="9070" y="14468"/>
                  </a:lnTo>
                  <a:lnTo>
                    <a:pt x="7902" y="13577"/>
                  </a:lnTo>
                  <a:lnTo>
                    <a:pt x="6789" y="12687"/>
                  </a:lnTo>
                  <a:lnTo>
                    <a:pt x="5788" y="11797"/>
                  </a:lnTo>
                  <a:lnTo>
                    <a:pt x="4786" y="10851"/>
                  </a:lnTo>
                  <a:lnTo>
                    <a:pt x="3951" y="9849"/>
                  </a:lnTo>
                  <a:lnTo>
                    <a:pt x="3172" y="8848"/>
                  </a:lnTo>
                  <a:lnTo>
                    <a:pt x="2449" y="7791"/>
                  </a:lnTo>
                  <a:lnTo>
                    <a:pt x="1837" y="6733"/>
                  </a:lnTo>
                  <a:lnTo>
                    <a:pt x="1281" y="5676"/>
                  </a:lnTo>
                  <a:lnTo>
                    <a:pt x="835" y="4563"/>
                  </a:lnTo>
                  <a:lnTo>
                    <a:pt x="502" y="3450"/>
                  </a:lnTo>
                  <a:lnTo>
                    <a:pt x="223" y="2282"/>
                  </a:lnTo>
                  <a:lnTo>
                    <a:pt x="56" y="116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2310;p60">
              <a:extLst>
                <a:ext uri="{FF2B5EF4-FFF2-40B4-BE49-F238E27FC236}">
                  <a16:creationId xmlns:a16="http://schemas.microsoft.com/office/drawing/2014/main" id="{F3C1C90D-FE75-334D-2CD5-2A6D59A71E10}"/>
                </a:ext>
              </a:extLst>
            </p:cNvPr>
            <p:cNvSpPr/>
            <p:nvPr/>
          </p:nvSpPr>
          <p:spPr>
            <a:xfrm>
              <a:off x="3880925" y="3045275"/>
              <a:ext cx="1964200" cy="1136525"/>
            </a:xfrm>
            <a:custGeom>
              <a:avLst/>
              <a:gdLst/>
              <a:ahLst/>
              <a:cxnLst/>
              <a:rect l="l" t="t" r="r" b="b"/>
              <a:pathLst>
                <a:path w="78568" h="45461" extrusionOk="0">
                  <a:moveTo>
                    <a:pt x="40787" y="4675"/>
                  </a:moveTo>
                  <a:lnTo>
                    <a:pt x="42400" y="4730"/>
                  </a:lnTo>
                  <a:lnTo>
                    <a:pt x="43958" y="4842"/>
                  </a:lnTo>
                  <a:lnTo>
                    <a:pt x="45461" y="5009"/>
                  </a:lnTo>
                  <a:lnTo>
                    <a:pt x="47019" y="5231"/>
                  </a:lnTo>
                  <a:lnTo>
                    <a:pt x="48465" y="5454"/>
                  </a:lnTo>
                  <a:lnTo>
                    <a:pt x="49912" y="5732"/>
                  </a:lnTo>
                  <a:lnTo>
                    <a:pt x="51359" y="6066"/>
                  </a:lnTo>
                  <a:lnTo>
                    <a:pt x="52750" y="6455"/>
                  </a:lnTo>
                  <a:lnTo>
                    <a:pt x="54085" y="6845"/>
                  </a:lnTo>
                  <a:lnTo>
                    <a:pt x="55365" y="7290"/>
                  </a:lnTo>
                  <a:lnTo>
                    <a:pt x="56645" y="7735"/>
                  </a:lnTo>
                  <a:lnTo>
                    <a:pt x="57869" y="8236"/>
                  </a:lnTo>
                  <a:lnTo>
                    <a:pt x="59093" y="8792"/>
                  </a:lnTo>
                  <a:lnTo>
                    <a:pt x="60206" y="9349"/>
                  </a:lnTo>
                  <a:lnTo>
                    <a:pt x="61319" y="9961"/>
                  </a:lnTo>
                  <a:lnTo>
                    <a:pt x="62320" y="10573"/>
                  </a:lnTo>
                  <a:lnTo>
                    <a:pt x="63322" y="11241"/>
                  </a:lnTo>
                  <a:lnTo>
                    <a:pt x="64268" y="11908"/>
                  </a:lnTo>
                  <a:lnTo>
                    <a:pt x="65102" y="12632"/>
                  </a:lnTo>
                  <a:lnTo>
                    <a:pt x="65937" y="13355"/>
                  </a:lnTo>
                  <a:lnTo>
                    <a:pt x="66716" y="14134"/>
                  </a:lnTo>
                  <a:lnTo>
                    <a:pt x="67384" y="14913"/>
                  </a:lnTo>
                  <a:lnTo>
                    <a:pt x="67996" y="15692"/>
                  </a:lnTo>
                  <a:lnTo>
                    <a:pt x="68552" y="16527"/>
                  </a:lnTo>
                  <a:lnTo>
                    <a:pt x="69053" y="17361"/>
                  </a:lnTo>
                  <a:lnTo>
                    <a:pt x="69498" y="18196"/>
                  </a:lnTo>
                  <a:lnTo>
                    <a:pt x="69832" y="19086"/>
                  </a:lnTo>
                  <a:lnTo>
                    <a:pt x="70110" y="19976"/>
                  </a:lnTo>
                  <a:lnTo>
                    <a:pt x="70333" y="20867"/>
                  </a:lnTo>
                  <a:lnTo>
                    <a:pt x="70444" y="21813"/>
                  </a:lnTo>
                  <a:lnTo>
                    <a:pt x="70500" y="22759"/>
                  </a:lnTo>
                  <a:lnTo>
                    <a:pt x="70500" y="23649"/>
                  </a:lnTo>
                  <a:lnTo>
                    <a:pt x="70333" y="24595"/>
                  </a:lnTo>
                  <a:lnTo>
                    <a:pt x="70166" y="25485"/>
                  </a:lnTo>
                  <a:lnTo>
                    <a:pt x="69888" y="26375"/>
                  </a:lnTo>
                  <a:lnTo>
                    <a:pt x="69554" y="27266"/>
                  </a:lnTo>
                  <a:lnTo>
                    <a:pt x="69109" y="28100"/>
                  </a:lnTo>
                  <a:lnTo>
                    <a:pt x="68664" y="28935"/>
                  </a:lnTo>
                  <a:lnTo>
                    <a:pt x="68107" y="29770"/>
                  </a:lnTo>
                  <a:lnTo>
                    <a:pt x="67495" y="30549"/>
                  </a:lnTo>
                  <a:lnTo>
                    <a:pt x="66772" y="31328"/>
                  </a:lnTo>
                  <a:lnTo>
                    <a:pt x="66048" y="32107"/>
                  </a:lnTo>
                  <a:lnTo>
                    <a:pt x="65214" y="32830"/>
                  </a:lnTo>
                  <a:lnTo>
                    <a:pt x="64379" y="33553"/>
                  </a:lnTo>
                  <a:lnTo>
                    <a:pt x="63433" y="34221"/>
                  </a:lnTo>
                  <a:lnTo>
                    <a:pt x="62487" y="34889"/>
                  </a:lnTo>
                  <a:lnTo>
                    <a:pt x="61430" y="35501"/>
                  </a:lnTo>
                  <a:lnTo>
                    <a:pt x="60373" y="36113"/>
                  </a:lnTo>
                  <a:lnTo>
                    <a:pt x="59204" y="36669"/>
                  </a:lnTo>
                  <a:lnTo>
                    <a:pt x="58036" y="37226"/>
                  </a:lnTo>
                  <a:lnTo>
                    <a:pt x="56812" y="37726"/>
                  </a:lnTo>
                  <a:lnTo>
                    <a:pt x="55588" y="38227"/>
                  </a:lnTo>
                  <a:lnTo>
                    <a:pt x="54252" y="38617"/>
                  </a:lnTo>
                  <a:lnTo>
                    <a:pt x="52917" y="39062"/>
                  </a:lnTo>
                  <a:lnTo>
                    <a:pt x="51526" y="39396"/>
                  </a:lnTo>
                  <a:lnTo>
                    <a:pt x="50135" y="39730"/>
                  </a:lnTo>
                  <a:lnTo>
                    <a:pt x="48688" y="40008"/>
                  </a:lnTo>
                  <a:lnTo>
                    <a:pt x="47186" y="40230"/>
                  </a:lnTo>
                  <a:lnTo>
                    <a:pt x="45683" y="40453"/>
                  </a:lnTo>
                  <a:lnTo>
                    <a:pt x="44125" y="40620"/>
                  </a:lnTo>
                  <a:lnTo>
                    <a:pt x="42567" y="40731"/>
                  </a:lnTo>
                  <a:lnTo>
                    <a:pt x="41009" y="40787"/>
                  </a:lnTo>
                  <a:lnTo>
                    <a:pt x="39396" y="40842"/>
                  </a:lnTo>
                  <a:lnTo>
                    <a:pt x="37782" y="40787"/>
                  </a:lnTo>
                  <a:lnTo>
                    <a:pt x="36224" y="40731"/>
                  </a:lnTo>
                  <a:lnTo>
                    <a:pt x="34610" y="40620"/>
                  </a:lnTo>
                  <a:lnTo>
                    <a:pt x="33108" y="40453"/>
                  </a:lnTo>
                  <a:lnTo>
                    <a:pt x="31606" y="40230"/>
                  </a:lnTo>
                  <a:lnTo>
                    <a:pt x="30103" y="40008"/>
                  </a:lnTo>
                  <a:lnTo>
                    <a:pt x="28657" y="39730"/>
                  </a:lnTo>
                  <a:lnTo>
                    <a:pt x="27210" y="39396"/>
                  </a:lnTo>
                  <a:lnTo>
                    <a:pt x="25874" y="39062"/>
                  </a:lnTo>
                  <a:lnTo>
                    <a:pt x="24483" y="38617"/>
                  </a:lnTo>
                  <a:lnTo>
                    <a:pt x="23204" y="38227"/>
                  </a:lnTo>
                  <a:lnTo>
                    <a:pt x="21924" y="37726"/>
                  </a:lnTo>
                  <a:lnTo>
                    <a:pt x="20700" y="37226"/>
                  </a:lnTo>
                  <a:lnTo>
                    <a:pt x="19531" y="36669"/>
                  </a:lnTo>
                  <a:lnTo>
                    <a:pt x="18363" y="36113"/>
                  </a:lnTo>
                  <a:lnTo>
                    <a:pt x="17306" y="35501"/>
                  </a:lnTo>
                  <a:lnTo>
                    <a:pt x="16248" y="34889"/>
                  </a:lnTo>
                  <a:lnTo>
                    <a:pt x="15247" y="34221"/>
                  </a:lnTo>
                  <a:lnTo>
                    <a:pt x="14357" y="33553"/>
                  </a:lnTo>
                  <a:lnTo>
                    <a:pt x="13466" y="32830"/>
                  </a:lnTo>
                  <a:lnTo>
                    <a:pt x="12632" y="32107"/>
                  </a:lnTo>
                  <a:lnTo>
                    <a:pt x="11908" y="31383"/>
                  </a:lnTo>
                  <a:lnTo>
                    <a:pt x="11185" y="30549"/>
                  </a:lnTo>
                  <a:lnTo>
                    <a:pt x="10573" y="29770"/>
                  </a:lnTo>
                  <a:lnTo>
                    <a:pt x="10016" y="28935"/>
                  </a:lnTo>
                  <a:lnTo>
                    <a:pt x="9516" y="28100"/>
                  </a:lnTo>
                  <a:lnTo>
                    <a:pt x="9070" y="27266"/>
                  </a:lnTo>
                  <a:lnTo>
                    <a:pt x="8737" y="26375"/>
                  </a:lnTo>
                  <a:lnTo>
                    <a:pt x="8458" y="25485"/>
                  </a:lnTo>
                  <a:lnTo>
                    <a:pt x="8236" y="24595"/>
                  </a:lnTo>
                  <a:lnTo>
                    <a:pt x="8125" y="23649"/>
                  </a:lnTo>
                  <a:lnTo>
                    <a:pt x="8069" y="22759"/>
                  </a:lnTo>
                  <a:lnTo>
                    <a:pt x="8125" y="21813"/>
                  </a:lnTo>
                  <a:lnTo>
                    <a:pt x="8236" y="20867"/>
                  </a:lnTo>
                  <a:lnTo>
                    <a:pt x="8403" y="19976"/>
                  </a:lnTo>
                  <a:lnTo>
                    <a:pt x="8681" y="19086"/>
                  </a:lnTo>
                  <a:lnTo>
                    <a:pt x="9015" y="18196"/>
                  </a:lnTo>
                  <a:lnTo>
                    <a:pt x="9460" y="17361"/>
                  </a:lnTo>
                  <a:lnTo>
                    <a:pt x="9905" y="16527"/>
                  </a:lnTo>
                  <a:lnTo>
                    <a:pt x="10462" y="15692"/>
                  </a:lnTo>
                  <a:lnTo>
                    <a:pt x="11129" y="14913"/>
                  </a:lnTo>
                  <a:lnTo>
                    <a:pt x="11797" y="14134"/>
                  </a:lnTo>
                  <a:lnTo>
                    <a:pt x="12520" y="13355"/>
                  </a:lnTo>
                  <a:lnTo>
                    <a:pt x="13355" y="12632"/>
                  </a:lnTo>
                  <a:lnTo>
                    <a:pt x="14190" y="11908"/>
                  </a:lnTo>
                  <a:lnTo>
                    <a:pt x="15136" y="11241"/>
                  </a:lnTo>
                  <a:lnTo>
                    <a:pt x="16137" y="10573"/>
                  </a:lnTo>
                  <a:lnTo>
                    <a:pt x="17139" y="9961"/>
                  </a:lnTo>
                  <a:lnTo>
                    <a:pt x="18196" y="9349"/>
                  </a:lnTo>
                  <a:lnTo>
                    <a:pt x="19364" y="8792"/>
                  </a:lnTo>
                  <a:lnTo>
                    <a:pt x="20533" y="8236"/>
                  </a:lnTo>
                  <a:lnTo>
                    <a:pt x="21757" y="7735"/>
                  </a:lnTo>
                  <a:lnTo>
                    <a:pt x="23037" y="7290"/>
                  </a:lnTo>
                  <a:lnTo>
                    <a:pt x="24317" y="6845"/>
                  </a:lnTo>
                  <a:lnTo>
                    <a:pt x="25652" y="6455"/>
                  </a:lnTo>
                  <a:lnTo>
                    <a:pt x="27043" y="6066"/>
                  </a:lnTo>
                  <a:lnTo>
                    <a:pt x="28434" y="5732"/>
                  </a:lnTo>
                  <a:lnTo>
                    <a:pt x="29936" y="5454"/>
                  </a:lnTo>
                  <a:lnTo>
                    <a:pt x="31383" y="5231"/>
                  </a:lnTo>
                  <a:lnTo>
                    <a:pt x="32885" y="5009"/>
                  </a:lnTo>
                  <a:lnTo>
                    <a:pt x="34443" y="4842"/>
                  </a:lnTo>
                  <a:lnTo>
                    <a:pt x="36001" y="4730"/>
                  </a:lnTo>
                  <a:lnTo>
                    <a:pt x="37559" y="4675"/>
                  </a:lnTo>
                  <a:close/>
                  <a:moveTo>
                    <a:pt x="37114" y="1"/>
                  </a:moveTo>
                  <a:lnTo>
                    <a:pt x="35167" y="112"/>
                  </a:lnTo>
                  <a:lnTo>
                    <a:pt x="33164" y="223"/>
                  </a:lnTo>
                  <a:lnTo>
                    <a:pt x="31272" y="446"/>
                  </a:lnTo>
                  <a:lnTo>
                    <a:pt x="29324" y="724"/>
                  </a:lnTo>
                  <a:lnTo>
                    <a:pt x="27488" y="1002"/>
                  </a:lnTo>
                  <a:lnTo>
                    <a:pt x="25652" y="1392"/>
                  </a:lnTo>
                  <a:lnTo>
                    <a:pt x="23871" y="1781"/>
                  </a:lnTo>
                  <a:lnTo>
                    <a:pt x="22146" y="2226"/>
                  </a:lnTo>
                  <a:lnTo>
                    <a:pt x="20477" y="2727"/>
                  </a:lnTo>
                  <a:lnTo>
                    <a:pt x="18808" y="3284"/>
                  </a:lnTo>
                  <a:lnTo>
                    <a:pt x="17194" y="3896"/>
                  </a:lnTo>
                  <a:lnTo>
                    <a:pt x="15692" y="4508"/>
                  </a:lnTo>
                  <a:lnTo>
                    <a:pt x="14190" y="5176"/>
                  </a:lnTo>
                  <a:lnTo>
                    <a:pt x="12799" y="5899"/>
                  </a:lnTo>
                  <a:lnTo>
                    <a:pt x="11407" y="6622"/>
                  </a:lnTo>
                  <a:lnTo>
                    <a:pt x="10128" y="7457"/>
                  </a:lnTo>
                  <a:lnTo>
                    <a:pt x="8904" y="8236"/>
                  </a:lnTo>
                  <a:lnTo>
                    <a:pt x="7735" y="9126"/>
                  </a:lnTo>
                  <a:lnTo>
                    <a:pt x="6622" y="10016"/>
                  </a:lnTo>
                  <a:lnTo>
                    <a:pt x="5621" y="10962"/>
                  </a:lnTo>
                  <a:lnTo>
                    <a:pt x="4675" y="11908"/>
                  </a:lnTo>
                  <a:lnTo>
                    <a:pt x="3840" y="12854"/>
                  </a:lnTo>
                  <a:lnTo>
                    <a:pt x="3061" y="13856"/>
                  </a:lnTo>
                  <a:lnTo>
                    <a:pt x="2338" y="14913"/>
                  </a:lnTo>
                  <a:lnTo>
                    <a:pt x="1726" y="15970"/>
                  </a:lnTo>
                  <a:lnTo>
                    <a:pt x="1225" y="17027"/>
                  </a:lnTo>
                  <a:lnTo>
                    <a:pt x="780" y="18140"/>
                  </a:lnTo>
                  <a:lnTo>
                    <a:pt x="446" y="19253"/>
                  </a:lnTo>
                  <a:lnTo>
                    <a:pt x="223" y="20422"/>
                  </a:lnTo>
                  <a:lnTo>
                    <a:pt x="56" y="21590"/>
                  </a:lnTo>
                  <a:lnTo>
                    <a:pt x="1" y="22759"/>
                  </a:lnTo>
                  <a:lnTo>
                    <a:pt x="56" y="23927"/>
                  </a:lnTo>
                  <a:lnTo>
                    <a:pt x="223" y="25040"/>
                  </a:lnTo>
                  <a:lnTo>
                    <a:pt x="502" y="26208"/>
                  </a:lnTo>
                  <a:lnTo>
                    <a:pt x="835" y="27321"/>
                  </a:lnTo>
                  <a:lnTo>
                    <a:pt x="1281" y="28434"/>
                  </a:lnTo>
                  <a:lnTo>
                    <a:pt x="1837" y="29491"/>
                  </a:lnTo>
                  <a:lnTo>
                    <a:pt x="2449" y="30549"/>
                  </a:lnTo>
                  <a:lnTo>
                    <a:pt x="3172" y="31606"/>
                  </a:lnTo>
                  <a:lnTo>
                    <a:pt x="3951" y="32607"/>
                  </a:lnTo>
                  <a:lnTo>
                    <a:pt x="4786" y="33609"/>
                  </a:lnTo>
                  <a:lnTo>
                    <a:pt x="5788" y="34555"/>
                  </a:lnTo>
                  <a:lnTo>
                    <a:pt x="6789" y="35445"/>
                  </a:lnTo>
                  <a:lnTo>
                    <a:pt x="7902" y="36335"/>
                  </a:lnTo>
                  <a:lnTo>
                    <a:pt x="9070" y="37226"/>
                  </a:lnTo>
                  <a:lnTo>
                    <a:pt x="10295" y="38060"/>
                  </a:lnTo>
                  <a:lnTo>
                    <a:pt x="11630" y="38839"/>
                  </a:lnTo>
                  <a:lnTo>
                    <a:pt x="12965" y="39563"/>
                  </a:lnTo>
                  <a:lnTo>
                    <a:pt x="14412" y="40286"/>
                  </a:lnTo>
                  <a:lnTo>
                    <a:pt x="15915" y="40954"/>
                  </a:lnTo>
                  <a:lnTo>
                    <a:pt x="17417" y="41621"/>
                  </a:lnTo>
                  <a:lnTo>
                    <a:pt x="19030" y="42178"/>
                  </a:lnTo>
                  <a:lnTo>
                    <a:pt x="20700" y="42734"/>
                  </a:lnTo>
                  <a:lnTo>
                    <a:pt x="22369" y="43235"/>
                  </a:lnTo>
                  <a:lnTo>
                    <a:pt x="24094" y="43680"/>
                  </a:lnTo>
                  <a:lnTo>
                    <a:pt x="25874" y="44125"/>
                  </a:lnTo>
                  <a:lnTo>
                    <a:pt x="27711" y="44459"/>
                  </a:lnTo>
                  <a:lnTo>
                    <a:pt x="29603" y="44793"/>
                  </a:lnTo>
                  <a:lnTo>
                    <a:pt x="31494" y="45016"/>
                  </a:lnTo>
                  <a:lnTo>
                    <a:pt x="33442" y="45238"/>
                  </a:lnTo>
                  <a:lnTo>
                    <a:pt x="35389" y="45349"/>
                  </a:lnTo>
                  <a:lnTo>
                    <a:pt x="37392" y="45461"/>
                  </a:lnTo>
                  <a:lnTo>
                    <a:pt x="41454" y="45461"/>
                  </a:lnTo>
                  <a:lnTo>
                    <a:pt x="43457" y="45349"/>
                  </a:lnTo>
                  <a:lnTo>
                    <a:pt x="45405" y="45238"/>
                  </a:lnTo>
                  <a:lnTo>
                    <a:pt x="47352" y="45016"/>
                  </a:lnTo>
                  <a:lnTo>
                    <a:pt x="49244" y="44793"/>
                  </a:lnTo>
                  <a:lnTo>
                    <a:pt x="51081" y="44459"/>
                  </a:lnTo>
                  <a:lnTo>
                    <a:pt x="52917" y="44125"/>
                  </a:lnTo>
                  <a:lnTo>
                    <a:pt x="54697" y="43680"/>
                  </a:lnTo>
                  <a:lnTo>
                    <a:pt x="56422" y="43235"/>
                  </a:lnTo>
                  <a:lnTo>
                    <a:pt x="58147" y="42734"/>
                  </a:lnTo>
                  <a:lnTo>
                    <a:pt x="59761" y="42178"/>
                  </a:lnTo>
                  <a:lnTo>
                    <a:pt x="61374" y="41621"/>
                  </a:lnTo>
                  <a:lnTo>
                    <a:pt x="62877" y="40954"/>
                  </a:lnTo>
                  <a:lnTo>
                    <a:pt x="64379" y="40286"/>
                  </a:lnTo>
                  <a:lnTo>
                    <a:pt x="65770" y="39563"/>
                  </a:lnTo>
                  <a:lnTo>
                    <a:pt x="67161" y="38839"/>
                  </a:lnTo>
                  <a:lnTo>
                    <a:pt x="68441" y="38060"/>
                  </a:lnTo>
                  <a:lnTo>
                    <a:pt x="69665" y="37226"/>
                  </a:lnTo>
                  <a:lnTo>
                    <a:pt x="70834" y="36335"/>
                  </a:lnTo>
                  <a:lnTo>
                    <a:pt x="71946" y="35445"/>
                  </a:lnTo>
                  <a:lnTo>
                    <a:pt x="72948" y="34555"/>
                  </a:lnTo>
                  <a:lnTo>
                    <a:pt x="73894" y="33609"/>
                  </a:lnTo>
                  <a:lnTo>
                    <a:pt x="74729" y="32607"/>
                  </a:lnTo>
                  <a:lnTo>
                    <a:pt x="75508" y="31606"/>
                  </a:lnTo>
                  <a:lnTo>
                    <a:pt x="76231" y="30549"/>
                  </a:lnTo>
                  <a:lnTo>
                    <a:pt x="76843" y="29491"/>
                  </a:lnTo>
                  <a:lnTo>
                    <a:pt x="77344" y="28434"/>
                  </a:lnTo>
                  <a:lnTo>
                    <a:pt x="77789" y="27321"/>
                  </a:lnTo>
                  <a:lnTo>
                    <a:pt x="78123" y="26208"/>
                  </a:lnTo>
                  <a:lnTo>
                    <a:pt x="78401" y="25040"/>
                  </a:lnTo>
                  <a:lnTo>
                    <a:pt x="78512" y="23927"/>
                  </a:lnTo>
                  <a:lnTo>
                    <a:pt x="78568" y="22759"/>
                  </a:lnTo>
                  <a:lnTo>
                    <a:pt x="78512" y="21590"/>
                  </a:lnTo>
                  <a:lnTo>
                    <a:pt x="78345" y="20422"/>
                  </a:lnTo>
                  <a:lnTo>
                    <a:pt x="78067" y="19253"/>
                  </a:lnTo>
                  <a:lnTo>
                    <a:pt x="77733" y="18140"/>
                  </a:lnTo>
                  <a:lnTo>
                    <a:pt x="77288" y="17027"/>
                  </a:lnTo>
                  <a:lnTo>
                    <a:pt x="76787" y="15970"/>
                  </a:lnTo>
                  <a:lnTo>
                    <a:pt x="76120" y="14913"/>
                  </a:lnTo>
                  <a:lnTo>
                    <a:pt x="75452" y="13856"/>
                  </a:lnTo>
                  <a:lnTo>
                    <a:pt x="74617" y="12854"/>
                  </a:lnTo>
                  <a:lnTo>
                    <a:pt x="73783" y="11908"/>
                  </a:lnTo>
                  <a:lnTo>
                    <a:pt x="72837" y="10962"/>
                  </a:lnTo>
                  <a:lnTo>
                    <a:pt x="71779" y="10016"/>
                  </a:lnTo>
                  <a:lnTo>
                    <a:pt x="70667" y="9126"/>
                  </a:lnTo>
                  <a:lnTo>
                    <a:pt x="69498" y="8236"/>
                  </a:lnTo>
                  <a:lnTo>
                    <a:pt x="68274" y="7457"/>
                  </a:lnTo>
                  <a:lnTo>
                    <a:pt x="66994" y="6622"/>
                  </a:lnTo>
                  <a:lnTo>
                    <a:pt x="65603" y="5899"/>
                  </a:lnTo>
                  <a:lnTo>
                    <a:pt x="64156" y="5176"/>
                  </a:lnTo>
                  <a:lnTo>
                    <a:pt x="62710" y="4508"/>
                  </a:lnTo>
                  <a:lnTo>
                    <a:pt x="61152" y="3896"/>
                  </a:lnTo>
                  <a:lnTo>
                    <a:pt x="59538" y="3284"/>
                  </a:lnTo>
                  <a:lnTo>
                    <a:pt x="57925" y="2727"/>
                  </a:lnTo>
                  <a:lnTo>
                    <a:pt x="56200" y="2226"/>
                  </a:lnTo>
                  <a:lnTo>
                    <a:pt x="54475" y="1781"/>
                  </a:lnTo>
                  <a:lnTo>
                    <a:pt x="52694" y="1392"/>
                  </a:lnTo>
                  <a:lnTo>
                    <a:pt x="50858" y="1002"/>
                  </a:lnTo>
                  <a:lnTo>
                    <a:pt x="48966" y="724"/>
                  </a:lnTo>
                  <a:lnTo>
                    <a:pt x="47074" y="446"/>
                  </a:lnTo>
                  <a:lnTo>
                    <a:pt x="45127" y="223"/>
                  </a:lnTo>
                  <a:lnTo>
                    <a:pt x="43179" y="112"/>
                  </a:lnTo>
                  <a:lnTo>
                    <a:pt x="41176" y="1"/>
                  </a:lnTo>
                  <a:close/>
                </a:path>
              </a:pathLst>
            </a:custGeom>
            <a:solidFill>
              <a:srgbClr val="D7600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Google Shape;2311;p60">
              <a:extLst>
                <a:ext uri="{FF2B5EF4-FFF2-40B4-BE49-F238E27FC236}">
                  <a16:creationId xmlns:a16="http://schemas.microsoft.com/office/drawing/2014/main" id="{EC1D55D1-47E1-7AA5-54EA-C0DDC003C89A}"/>
                </a:ext>
              </a:extLst>
            </p:cNvPr>
            <p:cNvSpPr/>
            <p:nvPr/>
          </p:nvSpPr>
          <p:spPr>
            <a:xfrm>
              <a:off x="4061775" y="2947900"/>
              <a:ext cx="1560800" cy="904225"/>
            </a:xfrm>
            <a:custGeom>
              <a:avLst/>
              <a:gdLst/>
              <a:ahLst/>
              <a:cxnLst/>
              <a:rect l="l" t="t" r="r" b="b"/>
              <a:pathLst>
                <a:path w="62432" h="36169" extrusionOk="0">
                  <a:moveTo>
                    <a:pt x="29491" y="1"/>
                  </a:moveTo>
                  <a:lnTo>
                    <a:pt x="27933" y="112"/>
                  </a:lnTo>
                  <a:lnTo>
                    <a:pt x="26319" y="223"/>
                  </a:lnTo>
                  <a:lnTo>
                    <a:pt x="24817" y="390"/>
                  </a:lnTo>
                  <a:lnTo>
                    <a:pt x="23314" y="557"/>
                  </a:lnTo>
                  <a:lnTo>
                    <a:pt x="21812" y="835"/>
                  </a:lnTo>
                  <a:lnTo>
                    <a:pt x="20365" y="1114"/>
                  </a:lnTo>
                  <a:lnTo>
                    <a:pt x="18974" y="1447"/>
                  </a:lnTo>
                  <a:lnTo>
                    <a:pt x="17583" y="1781"/>
                  </a:lnTo>
                  <a:lnTo>
                    <a:pt x="16248" y="2171"/>
                  </a:lnTo>
                  <a:lnTo>
                    <a:pt x="14912" y="2616"/>
                  </a:lnTo>
                  <a:lnTo>
                    <a:pt x="13688" y="3061"/>
                  </a:lnTo>
                  <a:lnTo>
                    <a:pt x="12464" y="3618"/>
                  </a:lnTo>
                  <a:lnTo>
                    <a:pt x="11240" y="4118"/>
                  </a:lnTo>
                  <a:lnTo>
                    <a:pt x="10127" y="4675"/>
                  </a:lnTo>
                  <a:lnTo>
                    <a:pt x="9070" y="5287"/>
                  </a:lnTo>
                  <a:lnTo>
                    <a:pt x="8013" y="5899"/>
                  </a:lnTo>
                  <a:lnTo>
                    <a:pt x="7067" y="6567"/>
                  </a:lnTo>
                  <a:lnTo>
                    <a:pt x="6121" y="7290"/>
                  </a:lnTo>
                  <a:lnTo>
                    <a:pt x="5231" y="7958"/>
                  </a:lnTo>
                  <a:lnTo>
                    <a:pt x="4452" y="8681"/>
                  </a:lnTo>
                  <a:lnTo>
                    <a:pt x="3673" y="9460"/>
                  </a:lnTo>
                  <a:lnTo>
                    <a:pt x="3005" y="10239"/>
                  </a:lnTo>
                  <a:lnTo>
                    <a:pt x="2393" y="11018"/>
                  </a:lnTo>
                  <a:lnTo>
                    <a:pt x="1836" y="11853"/>
                  </a:lnTo>
                  <a:lnTo>
                    <a:pt x="1336" y="12687"/>
                  </a:lnTo>
                  <a:lnTo>
                    <a:pt x="946" y="13578"/>
                  </a:lnTo>
                  <a:lnTo>
                    <a:pt x="612" y="14412"/>
                  </a:lnTo>
                  <a:lnTo>
                    <a:pt x="334" y="15302"/>
                  </a:lnTo>
                  <a:lnTo>
                    <a:pt x="112" y="16248"/>
                  </a:lnTo>
                  <a:lnTo>
                    <a:pt x="0" y="17139"/>
                  </a:lnTo>
                  <a:lnTo>
                    <a:pt x="0" y="18085"/>
                  </a:lnTo>
                  <a:lnTo>
                    <a:pt x="0" y="19031"/>
                  </a:lnTo>
                  <a:lnTo>
                    <a:pt x="167" y="19921"/>
                  </a:lnTo>
                  <a:lnTo>
                    <a:pt x="334" y="20811"/>
                  </a:lnTo>
                  <a:lnTo>
                    <a:pt x="612" y="21701"/>
                  </a:lnTo>
                  <a:lnTo>
                    <a:pt x="1002" y="22592"/>
                  </a:lnTo>
                  <a:lnTo>
                    <a:pt x="1391" y="23482"/>
                  </a:lnTo>
                  <a:lnTo>
                    <a:pt x="1892" y="24317"/>
                  </a:lnTo>
                  <a:lnTo>
                    <a:pt x="2449" y="25096"/>
                  </a:lnTo>
                  <a:lnTo>
                    <a:pt x="3116" y="25930"/>
                  </a:lnTo>
                  <a:lnTo>
                    <a:pt x="3784" y="26709"/>
                  </a:lnTo>
                  <a:lnTo>
                    <a:pt x="4563" y="27433"/>
                  </a:lnTo>
                  <a:lnTo>
                    <a:pt x="5342" y="28212"/>
                  </a:lnTo>
                  <a:lnTo>
                    <a:pt x="6232" y="28879"/>
                  </a:lnTo>
                  <a:lnTo>
                    <a:pt x="7178" y="29603"/>
                  </a:lnTo>
                  <a:lnTo>
                    <a:pt x="8180" y="30215"/>
                  </a:lnTo>
                  <a:lnTo>
                    <a:pt x="9181" y="30882"/>
                  </a:lnTo>
                  <a:lnTo>
                    <a:pt x="10294" y="31494"/>
                  </a:lnTo>
                  <a:lnTo>
                    <a:pt x="11407" y="32051"/>
                  </a:lnTo>
                  <a:lnTo>
                    <a:pt x="12631" y="32552"/>
                  </a:lnTo>
                  <a:lnTo>
                    <a:pt x="13855" y="33052"/>
                  </a:lnTo>
                  <a:lnTo>
                    <a:pt x="15079" y="33553"/>
                  </a:lnTo>
                  <a:lnTo>
                    <a:pt x="16415" y="33998"/>
                  </a:lnTo>
                  <a:lnTo>
                    <a:pt x="17750" y="34388"/>
                  </a:lnTo>
                  <a:lnTo>
                    <a:pt x="19141" y="34722"/>
                  </a:lnTo>
                  <a:lnTo>
                    <a:pt x="20588" y="35056"/>
                  </a:lnTo>
                  <a:lnTo>
                    <a:pt x="22035" y="35334"/>
                  </a:lnTo>
                  <a:lnTo>
                    <a:pt x="23481" y="35612"/>
                  </a:lnTo>
                  <a:lnTo>
                    <a:pt x="24984" y="35779"/>
                  </a:lnTo>
                  <a:lnTo>
                    <a:pt x="26542" y="35946"/>
                  </a:lnTo>
                  <a:lnTo>
                    <a:pt x="28100" y="36057"/>
                  </a:lnTo>
                  <a:lnTo>
                    <a:pt x="29713" y="36168"/>
                  </a:lnTo>
                  <a:lnTo>
                    <a:pt x="32885" y="36168"/>
                  </a:lnTo>
                  <a:lnTo>
                    <a:pt x="34499" y="36057"/>
                  </a:lnTo>
                  <a:lnTo>
                    <a:pt x="36057" y="35946"/>
                  </a:lnTo>
                  <a:lnTo>
                    <a:pt x="37615" y="35779"/>
                  </a:lnTo>
                  <a:lnTo>
                    <a:pt x="39117" y="35612"/>
                  </a:lnTo>
                  <a:lnTo>
                    <a:pt x="40564" y="35334"/>
                  </a:lnTo>
                  <a:lnTo>
                    <a:pt x="42010" y="35056"/>
                  </a:lnTo>
                  <a:lnTo>
                    <a:pt x="43457" y="34722"/>
                  </a:lnTo>
                  <a:lnTo>
                    <a:pt x="44848" y="34388"/>
                  </a:lnTo>
                  <a:lnTo>
                    <a:pt x="46183" y="33998"/>
                  </a:lnTo>
                  <a:lnTo>
                    <a:pt x="47463" y="33553"/>
                  </a:lnTo>
                  <a:lnTo>
                    <a:pt x="48743" y="33052"/>
                  </a:lnTo>
                  <a:lnTo>
                    <a:pt x="49967" y="32552"/>
                  </a:lnTo>
                  <a:lnTo>
                    <a:pt x="51136" y="32051"/>
                  </a:lnTo>
                  <a:lnTo>
                    <a:pt x="52249" y="31494"/>
                  </a:lnTo>
                  <a:lnTo>
                    <a:pt x="53361" y="30882"/>
                  </a:lnTo>
                  <a:lnTo>
                    <a:pt x="54363" y="30215"/>
                  </a:lnTo>
                  <a:lnTo>
                    <a:pt x="55364" y="29603"/>
                  </a:lnTo>
                  <a:lnTo>
                    <a:pt x="56255" y="28879"/>
                  </a:lnTo>
                  <a:lnTo>
                    <a:pt x="57145" y="28212"/>
                  </a:lnTo>
                  <a:lnTo>
                    <a:pt x="57980" y="27433"/>
                  </a:lnTo>
                  <a:lnTo>
                    <a:pt x="58703" y="26709"/>
                  </a:lnTo>
                  <a:lnTo>
                    <a:pt x="59371" y="25930"/>
                  </a:lnTo>
                  <a:lnTo>
                    <a:pt x="59983" y="25096"/>
                  </a:lnTo>
                  <a:lnTo>
                    <a:pt x="60539" y="24317"/>
                  </a:lnTo>
                  <a:lnTo>
                    <a:pt x="61040" y="23482"/>
                  </a:lnTo>
                  <a:lnTo>
                    <a:pt x="61485" y="22592"/>
                  </a:lnTo>
                  <a:lnTo>
                    <a:pt x="61819" y="21701"/>
                  </a:lnTo>
                  <a:lnTo>
                    <a:pt x="62097" y="20811"/>
                  </a:lnTo>
                  <a:lnTo>
                    <a:pt x="62264" y="19921"/>
                  </a:lnTo>
                  <a:lnTo>
                    <a:pt x="62375" y="19031"/>
                  </a:lnTo>
                  <a:lnTo>
                    <a:pt x="62431" y="18085"/>
                  </a:lnTo>
                  <a:lnTo>
                    <a:pt x="62375" y="17139"/>
                  </a:lnTo>
                  <a:lnTo>
                    <a:pt x="62264" y="16248"/>
                  </a:lnTo>
                  <a:lnTo>
                    <a:pt x="62042" y="15302"/>
                  </a:lnTo>
                  <a:lnTo>
                    <a:pt x="61763" y="14412"/>
                  </a:lnTo>
                  <a:lnTo>
                    <a:pt x="61430" y="13578"/>
                  </a:lnTo>
                  <a:lnTo>
                    <a:pt x="60984" y="12687"/>
                  </a:lnTo>
                  <a:lnTo>
                    <a:pt x="60484" y="11853"/>
                  </a:lnTo>
                  <a:lnTo>
                    <a:pt x="59927" y="11018"/>
                  </a:lnTo>
                  <a:lnTo>
                    <a:pt x="59315" y="10239"/>
                  </a:lnTo>
                  <a:lnTo>
                    <a:pt x="58592" y="9460"/>
                  </a:lnTo>
                  <a:lnTo>
                    <a:pt x="57868" y="8681"/>
                  </a:lnTo>
                  <a:lnTo>
                    <a:pt x="57034" y="7958"/>
                  </a:lnTo>
                  <a:lnTo>
                    <a:pt x="56143" y="7290"/>
                  </a:lnTo>
                  <a:lnTo>
                    <a:pt x="55198" y="6567"/>
                  </a:lnTo>
                  <a:lnTo>
                    <a:pt x="54252" y="5899"/>
                  </a:lnTo>
                  <a:lnTo>
                    <a:pt x="53194" y="5287"/>
                  </a:lnTo>
                  <a:lnTo>
                    <a:pt x="52137" y="4675"/>
                  </a:lnTo>
                  <a:lnTo>
                    <a:pt x="50969" y="4118"/>
                  </a:lnTo>
                  <a:lnTo>
                    <a:pt x="49800" y="3618"/>
                  </a:lnTo>
                  <a:lnTo>
                    <a:pt x="48576" y="3061"/>
                  </a:lnTo>
                  <a:lnTo>
                    <a:pt x="47296" y="2616"/>
                  </a:lnTo>
                  <a:lnTo>
                    <a:pt x="46017" y="2171"/>
                  </a:lnTo>
                  <a:lnTo>
                    <a:pt x="44626" y="1781"/>
                  </a:lnTo>
                  <a:lnTo>
                    <a:pt x="43234" y="1447"/>
                  </a:lnTo>
                  <a:lnTo>
                    <a:pt x="41843" y="1114"/>
                  </a:lnTo>
                  <a:lnTo>
                    <a:pt x="40397" y="835"/>
                  </a:lnTo>
                  <a:lnTo>
                    <a:pt x="38894" y="557"/>
                  </a:lnTo>
                  <a:lnTo>
                    <a:pt x="37392" y="390"/>
                  </a:lnTo>
                  <a:lnTo>
                    <a:pt x="35834" y="223"/>
                  </a:lnTo>
                  <a:lnTo>
                    <a:pt x="34276" y="112"/>
                  </a:lnTo>
                  <a:lnTo>
                    <a:pt x="32718" y="1"/>
                  </a:lnTo>
                  <a:close/>
                </a:path>
              </a:pathLst>
            </a:custGeom>
            <a:solidFill>
              <a:srgbClr val="DFEC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Google Shape;2312;p60">
              <a:extLst>
                <a:ext uri="{FF2B5EF4-FFF2-40B4-BE49-F238E27FC236}">
                  <a16:creationId xmlns:a16="http://schemas.microsoft.com/office/drawing/2014/main" id="{66E06B24-203A-C716-9AF9-8388C14A26D1}"/>
                </a:ext>
              </a:extLst>
            </p:cNvPr>
            <p:cNvSpPr/>
            <p:nvPr/>
          </p:nvSpPr>
          <p:spPr>
            <a:xfrm>
              <a:off x="3860075" y="3400000"/>
              <a:ext cx="1964200" cy="709475"/>
            </a:xfrm>
            <a:custGeom>
              <a:avLst/>
              <a:gdLst/>
              <a:ahLst/>
              <a:cxnLst/>
              <a:rect l="l" t="t" r="r" b="b"/>
              <a:pathLst>
                <a:path w="78568" h="28379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  <a:moveTo>
                    <a:pt x="0" y="1"/>
                  </a:moveTo>
                  <a:lnTo>
                    <a:pt x="0" y="5676"/>
                  </a:lnTo>
                  <a:lnTo>
                    <a:pt x="56" y="6845"/>
                  </a:lnTo>
                  <a:lnTo>
                    <a:pt x="167" y="7958"/>
                  </a:lnTo>
                  <a:lnTo>
                    <a:pt x="445" y="9126"/>
                  </a:lnTo>
                  <a:lnTo>
                    <a:pt x="779" y="10239"/>
                  </a:lnTo>
                  <a:lnTo>
                    <a:pt x="1224" y="11352"/>
                  </a:lnTo>
                  <a:lnTo>
                    <a:pt x="1781" y="12409"/>
                  </a:lnTo>
                  <a:lnTo>
                    <a:pt x="2393" y="13466"/>
                  </a:lnTo>
                  <a:lnTo>
                    <a:pt x="3116" y="14523"/>
                  </a:lnTo>
                  <a:lnTo>
                    <a:pt x="3895" y="15525"/>
                  </a:lnTo>
                  <a:lnTo>
                    <a:pt x="4785" y="16526"/>
                  </a:lnTo>
                  <a:lnTo>
                    <a:pt x="5731" y="17472"/>
                  </a:lnTo>
                  <a:lnTo>
                    <a:pt x="6733" y="18363"/>
                  </a:lnTo>
                  <a:lnTo>
                    <a:pt x="7846" y="19253"/>
                  </a:lnTo>
                  <a:lnTo>
                    <a:pt x="9014" y="20143"/>
                  </a:lnTo>
                  <a:lnTo>
                    <a:pt x="10238" y="20978"/>
                  </a:lnTo>
                  <a:lnTo>
                    <a:pt x="11574" y="21757"/>
                  </a:lnTo>
                  <a:lnTo>
                    <a:pt x="12909" y="22480"/>
                  </a:lnTo>
                  <a:lnTo>
                    <a:pt x="14356" y="23204"/>
                  </a:lnTo>
                  <a:lnTo>
                    <a:pt x="15858" y="23871"/>
                  </a:lnTo>
                  <a:lnTo>
                    <a:pt x="17416" y="24539"/>
                  </a:lnTo>
                  <a:lnTo>
                    <a:pt x="18974" y="25095"/>
                  </a:lnTo>
                  <a:lnTo>
                    <a:pt x="20643" y="25652"/>
                  </a:lnTo>
                  <a:lnTo>
                    <a:pt x="22313" y="26153"/>
                  </a:lnTo>
                  <a:lnTo>
                    <a:pt x="24093" y="26598"/>
                  </a:lnTo>
                  <a:lnTo>
                    <a:pt x="25874" y="27043"/>
                  </a:lnTo>
                  <a:lnTo>
                    <a:pt x="27710" y="27377"/>
                  </a:lnTo>
                  <a:lnTo>
                    <a:pt x="29546" y="27711"/>
                  </a:lnTo>
                  <a:lnTo>
                    <a:pt x="31438" y="27933"/>
                  </a:lnTo>
                  <a:lnTo>
                    <a:pt x="33386" y="28156"/>
                  </a:lnTo>
                  <a:lnTo>
                    <a:pt x="35389" y="28267"/>
                  </a:lnTo>
                  <a:lnTo>
                    <a:pt x="37336" y="28378"/>
                  </a:lnTo>
                  <a:lnTo>
                    <a:pt x="41398" y="28378"/>
                  </a:lnTo>
                  <a:lnTo>
                    <a:pt x="43401" y="28267"/>
                  </a:lnTo>
                  <a:lnTo>
                    <a:pt x="45349" y="28156"/>
                  </a:lnTo>
                  <a:lnTo>
                    <a:pt x="47296" y="27933"/>
                  </a:lnTo>
                  <a:lnTo>
                    <a:pt x="49188" y="27711"/>
                  </a:lnTo>
                  <a:lnTo>
                    <a:pt x="51080" y="27377"/>
                  </a:lnTo>
                  <a:lnTo>
                    <a:pt x="52860" y="27043"/>
                  </a:lnTo>
                  <a:lnTo>
                    <a:pt x="54641" y="26598"/>
                  </a:lnTo>
                  <a:lnTo>
                    <a:pt x="56422" y="26153"/>
                  </a:lnTo>
                  <a:lnTo>
                    <a:pt x="58091" y="25652"/>
                  </a:lnTo>
                  <a:lnTo>
                    <a:pt x="59704" y="25095"/>
                  </a:lnTo>
                  <a:lnTo>
                    <a:pt x="61318" y="24539"/>
                  </a:lnTo>
                  <a:lnTo>
                    <a:pt x="62876" y="23871"/>
                  </a:lnTo>
                  <a:lnTo>
                    <a:pt x="64323" y="23204"/>
                  </a:lnTo>
                  <a:lnTo>
                    <a:pt x="65769" y="22480"/>
                  </a:lnTo>
                  <a:lnTo>
                    <a:pt x="67105" y="21757"/>
                  </a:lnTo>
                  <a:lnTo>
                    <a:pt x="68440" y="20978"/>
                  </a:lnTo>
                  <a:lnTo>
                    <a:pt x="69664" y="20143"/>
                  </a:lnTo>
                  <a:lnTo>
                    <a:pt x="70777" y="19253"/>
                  </a:lnTo>
                  <a:lnTo>
                    <a:pt x="71890" y="18363"/>
                  </a:lnTo>
                  <a:lnTo>
                    <a:pt x="72892" y="17472"/>
                  </a:lnTo>
                  <a:lnTo>
                    <a:pt x="73838" y="16526"/>
                  </a:lnTo>
                  <a:lnTo>
                    <a:pt x="74728" y="15525"/>
                  </a:lnTo>
                  <a:lnTo>
                    <a:pt x="75507" y="14523"/>
                  </a:lnTo>
                  <a:lnTo>
                    <a:pt x="76175" y="13466"/>
                  </a:lnTo>
                  <a:lnTo>
                    <a:pt x="76787" y="12409"/>
                  </a:lnTo>
                  <a:lnTo>
                    <a:pt x="77343" y="11352"/>
                  </a:lnTo>
                  <a:lnTo>
                    <a:pt x="77733" y="10239"/>
                  </a:lnTo>
                  <a:lnTo>
                    <a:pt x="78122" y="9126"/>
                  </a:lnTo>
                  <a:lnTo>
                    <a:pt x="78345" y="7958"/>
                  </a:lnTo>
                  <a:lnTo>
                    <a:pt x="78512" y="6845"/>
                  </a:lnTo>
                  <a:lnTo>
                    <a:pt x="78512" y="5676"/>
                  </a:lnTo>
                  <a:lnTo>
                    <a:pt x="78567" y="1"/>
                  </a:lnTo>
                  <a:lnTo>
                    <a:pt x="78512" y="1169"/>
                  </a:lnTo>
                  <a:lnTo>
                    <a:pt x="78345" y="2338"/>
                  </a:lnTo>
                  <a:lnTo>
                    <a:pt x="78122" y="3450"/>
                  </a:lnTo>
                  <a:lnTo>
                    <a:pt x="77788" y="4563"/>
                  </a:lnTo>
                  <a:lnTo>
                    <a:pt x="77343" y="5676"/>
                  </a:lnTo>
                  <a:lnTo>
                    <a:pt x="76842" y="6789"/>
                  </a:lnTo>
                  <a:lnTo>
                    <a:pt x="76230" y="7846"/>
                  </a:lnTo>
                  <a:lnTo>
                    <a:pt x="75507" y="8848"/>
                  </a:lnTo>
                  <a:lnTo>
                    <a:pt x="74728" y="9849"/>
                  </a:lnTo>
                  <a:lnTo>
                    <a:pt x="73893" y="10851"/>
                  </a:lnTo>
                  <a:lnTo>
                    <a:pt x="72947" y="11797"/>
                  </a:lnTo>
                  <a:lnTo>
                    <a:pt x="71890" y="12743"/>
                  </a:lnTo>
                  <a:lnTo>
                    <a:pt x="70833" y="13633"/>
                  </a:lnTo>
                  <a:lnTo>
                    <a:pt x="69664" y="14468"/>
                  </a:lnTo>
                  <a:lnTo>
                    <a:pt x="68440" y="15302"/>
                  </a:lnTo>
                  <a:lnTo>
                    <a:pt x="67161" y="16081"/>
                  </a:lnTo>
                  <a:lnTo>
                    <a:pt x="65769" y="16860"/>
                  </a:lnTo>
                  <a:lnTo>
                    <a:pt x="64378" y="17528"/>
                  </a:lnTo>
                  <a:lnTo>
                    <a:pt x="62876" y="18251"/>
                  </a:lnTo>
                  <a:lnTo>
                    <a:pt x="61318" y="18863"/>
                  </a:lnTo>
                  <a:lnTo>
                    <a:pt x="59760" y="19476"/>
                  </a:lnTo>
                  <a:lnTo>
                    <a:pt x="58091" y="20032"/>
                  </a:lnTo>
                  <a:lnTo>
                    <a:pt x="56422" y="20533"/>
                  </a:lnTo>
                  <a:lnTo>
                    <a:pt x="54697" y="20978"/>
                  </a:lnTo>
                  <a:lnTo>
                    <a:pt x="52916" y="21367"/>
                  </a:lnTo>
                  <a:lnTo>
                    <a:pt x="51080" y="21701"/>
                  </a:lnTo>
                  <a:lnTo>
                    <a:pt x="49188" y="22035"/>
                  </a:lnTo>
                  <a:lnTo>
                    <a:pt x="47296" y="22313"/>
                  </a:lnTo>
                  <a:lnTo>
                    <a:pt x="45404" y="22480"/>
                  </a:lnTo>
                  <a:lnTo>
                    <a:pt x="43401" y="22647"/>
                  </a:lnTo>
                  <a:lnTo>
                    <a:pt x="41398" y="22703"/>
                  </a:lnTo>
                  <a:lnTo>
                    <a:pt x="39395" y="22758"/>
                  </a:lnTo>
                  <a:lnTo>
                    <a:pt x="37392" y="22703"/>
                  </a:lnTo>
                  <a:lnTo>
                    <a:pt x="35389" y="22647"/>
                  </a:lnTo>
                  <a:lnTo>
                    <a:pt x="33386" y="22480"/>
                  </a:lnTo>
                  <a:lnTo>
                    <a:pt x="31494" y="22313"/>
                  </a:lnTo>
                  <a:lnTo>
                    <a:pt x="29602" y="22035"/>
                  </a:lnTo>
                  <a:lnTo>
                    <a:pt x="27710" y="21701"/>
                  </a:lnTo>
                  <a:lnTo>
                    <a:pt x="25874" y="21367"/>
                  </a:lnTo>
                  <a:lnTo>
                    <a:pt x="24093" y="20978"/>
                  </a:lnTo>
                  <a:lnTo>
                    <a:pt x="22368" y="20533"/>
                  </a:lnTo>
                  <a:lnTo>
                    <a:pt x="20643" y="20032"/>
                  </a:lnTo>
                  <a:lnTo>
                    <a:pt x="19030" y="19476"/>
                  </a:lnTo>
                  <a:lnTo>
                    <a:pt x="17416" y="18863"/>
                  </a:lnTo>
                  <a:lnTo>
                    <a:pt x="15858" y="18251"/>
                  </a:lnTo>
                  <a:lnTo>
                    <a:pt x="14356" y="17528"/>
                  </a:lnTo>
                  <a:lnTo>
                    <a:pt x="12965" y="16860"/>
                  </a:lnTo>
                  <a:lnTo>
                    <a:pt x="11574" y="16081"/>
                  </a:lnTo>
                  <a:lnTo>
                    <a:pt x="10294" y="15302"/>
                  </a:lnTo>
                  <a:lnTo>
                    <a:pt x="9014" y="14468"/>
                  </a:lnTo>
                  <a:lnTo>
                    <a:pt x="7846" y="13633"/>
                  </a:lnTo>
                  <a:lnTo>
                    <a:pt x="6789" y="12743"/>
                  </a:lnTo>
                  <a:lnTo>
                    <a:pt x="5731" y="11797"/>
                  </a:lnTo>
                  <a:lnTo>
                    <a:pt x="4785" y="10851"/>
                  </a:lnTo>
                  <a:lnTo>
                    <a:pt x="3895" y="9849"/>
                  </a:lnTo>
                  <a:lnTo>
                    <a:pt x="3116" y="8848"/>
                  </a:lnTo>
                  <a:lnTo>
                    <a:pt x="2393" y="7846"/>
                  </a:lnTo>
                  <a:lnTo>
                    <a:pt x="1781" y="6789"/>
                  </a:lnTo>
                  <a:lnTo>
                    <a:pt x="1280" y="5676"/>
                  </a:lnTo>
                  <a:lnTo>
                    <a:pt x="835" y="4563"/>
                  </a:lnTo>
                  <a:lnTo>
                    <a:pt x="445" y="3450"/>
                  </a:lnTo>
                  <a:lnTo>
                    <a:pt x="223" y="2338"/>
                  </a:lnTo>
                  <a:lnTo>
                    <a:pt x="56" y="116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BF9D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Google Shape;2313;p60">
              <a:extLst>
                <a:ext uri="{FF2B5EF4-FFF2-40B4-BE49-F238E27FC236}">
                  <a16:creationId xmlns:a16="http://schemas.microsoft.com/office/drawing/2014/main" id="{3B847F16-4D2A-7E11-804F-EA92C4069BCB}"/>
                </a:ext>
              </a:extLst>
            </p:cNvPr>
            <p:cNvSpPr/>
            <p:nvPr/>
          </p:nvSpPr>
          <p:spPr>
            <a:xfrm>
              <a:off x="3860075" y="2831050"/>
              <a:ext cx="1964200" cy="1137925"/>
            </a:xfrm>
            <a:custGeom>
              <a:avLst/>
              <a:gdLst/>
              <a:ahLst/>
              <a:cxnLst/>
              <a:rect l="l" t="t" r="r" b="b"/>
              <a:pathLst>
                <a:path w="78568" h="45517" extrusionOk="0">
                  <a:moveTo>
                    <a:pt x="40786" y="4675"/>
                  </a:moveTo>
                  <a:lnTo>
                    <a:pt x="42344" y="4786"/>
                  </a:lnTo>
                  <a:lnTo>
                    <a:pt x="43902" y="4897"/>
                  </a:lnTo>
                  <a:lnTo>
                    <a:pt x="45460" y="5064"/>
                  </a:lnTo>
                  <a:lnTo>
                    <a:pt x="46962" y="5231"/>
                  </a:lnTo>
                  <a:lnTo>
                    <a:pt x="48465" y="5509"/>
                  </a:lnTo>
                  <a:lnTo>
                    <a:pt x="49911" y="5788"/>
                  </a:lnTo>
                  <a:lnTo>
                    <a:pt x="51302" y="6121"/>
                  </a:lnTo>
                  <a:lnTo>
                    <a:pt x="52694" y="6455"/>
                  </a:lnTo>
                  <a:lnTo>
                    <a:pt x="54085" y="6845"/>
                  </a:lnTo>
                  <a:lnTo>
                    <a:pt x="55364" y="7290"/>
                  </a:lnTo>
                  <a:lnTo>
                    <a:pt x="56644" y="7735"/>
                  </a:lnTo>
                  <a:lnTo>
                    <a:pt x="57868" y="8292"/>
                  </a:lnTo>
                  <a:lnTo>
                    <a:pt x="59037" y="8792"/>
                  </a:lnTo>
                  <a:lnTo>
                    <a:pt x="60205" y="9349"/>
                  </a:lnTo>
                  <a:lnTo>
                    <a:pt x="61262" y="9961"/>
                  </a:lnTo>
                  <a:lnTo>
                    <a:pt x="62320" y="10573"/>
                  </a:lnTo>
                  <a:lnTo>
                    <a:pt x="63266" y="11241"/>
                  </a:lnTo>
                  <a:lnTo>
                    <a:pt x="64211" y="11964"/>
                  </a:lnTo>
                  <a:lnTo>
                    <a:pt x="65102" y="12632"/>
                  </a:lnTo>
                  <a:lnTo>
                    <a:pt x="65936" y="13355"/>
                  </a:lnTo>
                  <a:lnTo>
                    <a:pt x="66660" y="14134"/>
                  </a:lnTo>
                  <a:lnTo>
                    <a:pt x="67383" y="14913"/>
                  </a:lnTo>
                  <a:lnTo>
                    <a:pt x="67995" y="15692"/>
                  </a:lnTo>
                  <a:lnTo>
                    <a:pt x="68552" y="16527"/>
                  </a:lnTo>
                  <a:lnTo>
                    <a:pt x="69052" y="17361"/>
                  </a:lnTo>
                  <a:lnTo>
                    <a:pt x="69498" y="18252"/>
                  </a:lnTo>
                  <a:lnTo>
                    <a:pt x="69831" y="19086"/>
                  </a:lnTo>
                  <a:lnTo>
                    <a:pt x="70110" y="19976"/>
                  </a:lnTo>
                  <a:lnTo>
                    <a:pt x="70332" y="20922"/>
                  </a:lnTo>
                  <a:lnTo>
                    <a:pt x="70443" y="21813"/>
                  </a:lnTo>
                  <a:lnTo>
                    <a:pt x="70499" y="22759"/>
                  </a:lnTo>
                  <a:lnTo>
                    <a:pt x="70443" y="23705"/>
                  </a:lnTo>
                  <a:lnTo>
                    <a:pt x="70332" y="24595"/>
                  </a:lnTo>
                  <a:lnTo>
                    <a:pt x="70165" y="25485"/>
                  </a:lnTo>
                  <a:lnTo>
                    <a:pt x="69887" y="26375"/>
                  </a:lnTo>
                  <a:lnTo>
                    <a:pt x="69553" y="27266"/>
                  </a:lnTo>
                  <a:lnTo>
                    <a:pt x="69108" y="28156"/>
                  </a:lnTo>
                  <a:lnTo>
                    <a:pt x="68607" y="28991"/>
                  </a:lnTo>
                  <a:lnTo>
                    <a:pt x="68051" y="29770"/>
                  </a:lnTo>
                  <a:lnTo>
                    <a:pt x="67439" y="30604"/>
                  </a:lnTo>
                  <a:lnTo>
                    <a:pt x="66771" y="31383"/>
                  </a:lnTo>
                  <a:lnTo>
                    <a:pt x="66048" y="32107"/>
                  </a:lnTo>
                  <a:lnTo>
                    <a:pt x="65213" y="32886"/>
                  </a:lnTo>
                  <a:lnTo>
                    <a:pt x="64323" y="33553"/>
                  </a:lnTo>
                  <a:lnTo>
                    <a:pt x="63432" y="34277"/>
                  </a:lnTo>
                  <a:lnTo>
                    <a:pt x="62431" y="34889"/>
                  </a:lnTo>
                  <a:lnTo>
                    <a:pt x="61429" y="35556"/>
                  </a:lnTo>
                  <a:lnTo>
                    <a:pt x="60317" y="36168"/>
                  </a:lnTo>
                  <a:lnTo>
                    <a:pt x="59204" y="36725"/>
                  </a:lnTo>
                  <a:lnTo>
                    <a:pt x="58035" y="37226"/>
                  </a:lnTo>
                  <a:lnTo>
                    <a:pt x="56811" y="37726"/>
                  </a:lnTo>
                  <a:lnTo>
                    <a:pt x="55531" y="38227"/>
                  </a:lnTo>
                  <a:lnTo>
                    <a:pt x="54251" y="38672"/>
                  </a:lnTo>
                  <a:lnTo>
                    <a:pt x="52916" y="39062"/>
                  </a:lnTo>
                  <a:lnTo>
                    <a:pt x="51525" y="39396"/>
                  </a:lnTo>
                  <a:lnTo>
                    <a:pt x="50078" y="39730"/>
                  </a:lnTo>
                  <a:lnTo>
                    <a:pt x="48632" y="40008"/>
                  </a:lnTo>
                  <a:lnTo>
                    <a:pt x="47185" y="40286"/>
                  </a:lnTo>
                  <a:lnTo>
                    <a:pt x="45683" y="40453"/>
                  </a:lnTo>
                  <a:lnTo>
                    <a:pt x="44125" y="40620"/>
                  </a:lnTo>
                  <a:lnTo>
                    <a:pt x="42567" y="40731"/>
                  </a:lnTo>
                  <a:lnTo>
                    <a:pt x="40953" y="40842"/>
                  </a:lnTo>
                  <a:lnTo>
                    <a:pt x="37781" y="40842"/>
                  </a:lnTo>
                  <a:lnTo>
                    <a:pt x="36168" y="40731"/>
                  </a:lnTo>
                  <a:lnTo>
                    <a:pt x="34610" y="40620"/>
                  </a:lnTo>
                  <a:lnTo>
                    <a:pt x="33052" y="40453"/>
                  </a:lnTo>
                  <a:lnTo>
                    <a:pt x="31549" y="40286"/>
                  </a:lnTo>
                  <a:lnTo>
                    <a:pt x="30103" y="40008"/>
                  </a:lnTo>
                  <a:lnTo>
                    <a:pt x="28656" y="39730"/>
                  </a:lnTo>
                  <a:lnTo>
                    <a:pt x="27209" y="39396"/>
                  </a:lnTo>
                  <a:lnTo>
                    <a:pt x="25818" y="39062"/>
                  </a:lnTo>
                  <a:lnTo>
                    <a:pt x="24483" y="38672"/>
                  </a:lnTo>
                  <a:lnTo>
                    <a:pt x="23147" y="38227"/>
                  </a:lnTo>
                  <a:lnTo>
                    <a:pt x="21923" y="37726"/>
                  </a:lnTo>
                  <a:lnTo>
                    <a:pt x="20699" y="37226"/>
                  </a:lnTo>
                  <a:lnTo>
                    <a:pt x="19475" y="36725"/>
                  </a:lnTo>
                  <a:lnTo>
                    <a:pt x="18362" y="36168"/>
                  </a:lnTo>
                  <a:lnTo>
                    <a:pt x="17249" y="35556"/>
                  </a:lnTo>
                  <a:lnTo>
                    <a:pt x="16248" y="34889"/>
                  </a:lnTo>
                  <a:lnTo>
                    <a:pt x="15246" y="34277"/>
                  </a:lnTo>
                  <a:lnTo>
                    <a:pt x="14300" y="33553"/>
                  </a:lnTo>
                  <a:lnTo>
                    <a:pt x="13410" y="32886"/>
                  </a:lnTo>
                  <a:lnTo>
                    <a:pt x="12631" y="32107"/>
                  </a:lnTo>
                  <a:lnTo>
                    <a:pt x="11852" y="31383"/>
                  </a:lnTo>
                  <a:lnTo>
                    <a:pt x="11184" y="30604"/>
                  </a:lnTo>
                  <a:lnTo>
                    <a:pt x="10517" y="29770"/>
                  </a:lnTo>
                  <a:lnTo>
                    <a:pt x="9960" y="28991"/>
                  </a:lnTo>
                  <a:lnTo>
                    <a:pt x="9459" y="28156"/>
                  </a:lnTo>
                  <a:lnTo>
                    <a:pt x="9070" y="27266"/>
                  </a:lnTo>
                  <a:lnTo>
                    <a:pt x="8680" y="26375"/>
                  </a:lnTo>
                  <a:lnTo>
                    <a:pt x="8402" y="25485"/>
                  </a:lnTo>
                  <a:lnTo>
                    <a:pt x="8235" y="24595"/>
                  </a:lnTo>
                  <a:lnTo>
                    <a:pt x="8068" y="23705"/>
                  </a:lnTo>
                  <a:lnTo>
                    <a:pt x="8068" y="22759"/>
                  </a:lnTo>
                  <a:lnTo>
                    <a:pt x="8068" y="21813"/>
                  </a:lnTo>
                  <a:lnTo>
                    <a:pt x="8180" y="20922"/>
                  </a:lnTo>
                  <a:lnTo>
                    <a:pt x="8402" y="19976"/>
                  </a:lnTo>
                  <a:lnTo>
                    <a:pt x="8680" y="19086"/>
                  </a:lnTo>
                  <a:lnTo>
                    <a:pt x="9014" y="18252"/>
                  </a:lnTo>
                  <a:lnTo>
                    <a:pt x="9404" y="17361"/>
                  </a:lnTo>
                  <a:lnTo>
                    <a:pt x="9904" y="16527"/>
                  </a:lnTo>
                  <a:lnTo>
                    <a:pt x="10461" y="15692"/>
                  </a:lnTo>
                  <a:lnTo>
                    <a:pt x="11073" y="14913"/>
                  </a:lnTo>
                  <a:lnTo>
                    <a:pt x="11741" y="14134"/>
                  </a:lnTo>
                  <a:lnTo>
                    <a:pt x="12520" y="13355"/>
                  </a:lnTo>
                  <a:lnTo>
                    <a:pt x="13299" y="12632"/>
                  </a:lnTo>
                  <a:lnTo>
                    <a:pt x="14189" y="11964"/>
                  </a:lnTo>
                  <a:lnTo>
                    <a:pt x="15135" y="11241"/>
                  </a:lnTo>
                  <a:lnTo>
                    <a:pt x="16081" y="10573"/>
                  </a:lnTo>
                  <a:lnTo>
                    <a:pt x="17138" y="9961"/>
                  </a:lnTo>
                  <a:lnTo>
                    <a:pt x="18195" y="9349"/>
                  </a:lnTo>
                  <a:lnTo>
                    <a:pt x="19308" y="8792"/>
                  </a:lnTo>
                  <a:lnTo>
                    <a:pt x="20532" y="8292"/>
                  </a:lnTo>
                  <a:lnTo>
                    <a:pt x="21756" y="7735"/>
                  </a:lnTo>
                  <a:lnTo>
                    <a:pt x="22980" y="7290"/>
                  </a:lnTo>
                  <a:lnTo>
                    <a:pt x="24316" y="6845"/>
                  </a:lnTo>
                  <a:lnTo>
                    <a:pt x="25651" y="6455"/>
                  </a:lnTo>
                  <a:lnTo>
                    <a:pt x="27042" y="6121"/>
                  </a:lnTo>
                  <a:lnTo>
                    <a:pt x="28433" y="5788"/>
                  </a:lnTo>
                  <a:lnTo>
                    <a:pt x="29880" y="5509"/>
                  </a:lnTo>
                  <a:lnTo>
                    <a:pt x="31382" y="5231"/>
                  </a:lnTo>
                  <a:lnTo>
                    <a:pt x="32885" y="5064"/>
                  </a:lnTo>
                  <a:lnTo>
                    <a:pt x="34387" y="4897"/>
                  </a:lnTo>
                  <a:lnTo>
                    <a:pt x="36001" y="4786"/>
                  </a:lnTo>
                  <a:lnTo>
                    <a:pt x="37559" y="4675"/>
                  </a:lnTo>
                  <a:close/>
                  <a:moveTo>
                    <a:pt x="39117" y="1"/>
                  </a:moveTo>
                  <a:lnTo>
                    <a:pt x="37114" y="56"/>
                  </a:lnTo>
                  <a:lnTo>
                    <a:pt x="35111" y="112"/>
                  </a:lnTo>
                  <a:lnTo>
                    <a:pt x="33163" y="279"/>
                  </a:lnTo>
                  <a:lnTo>
                    <a:pt x="31216" y="446"/>
                  </a:lnTo>
                  <a:lnTo>
                    <a:pt x="29324" y="724"/>
                  </a:lnTo>
                  <a:lnTo>
                    <a:pt x="27487" y="1002"/>
                  </a:lnTo>
                  <a:lnTo>
                    <a:pt x="25651" y="1392"/>
                  </a:lnTo>
                  <a:lnTo>
                    <a:pt x="23871" y="1781"/>
                  </a:lnTo>
                  <a:lnTo>
                    <a:pt x="22146" y="2226"/>
                  </a:lnTo>
                  <a:lnTo>
                    <a:pt x="20421" y="2727"/>
                  </a:lnTo>
                  <a:lnTo>
                    <a:pt x="18807" y="3284"/>
                  </a:lnTo>
                  <a:lnTo>
                    <a:pt x="17194" y="3896"/>
                  </a:lnTo>
                  <a:lnTo>
                    <a:pt x="15636" y="4508"/>
                  </a:lnTo>
                  <a:lnTo>
                    <a:pt x="14189" y="5176"/>
                  </a:lnTo>
                  <a:lnTo>
                    <a:pt x="12742" y="5899"/>
                  </a:lnTo>
                  <a:lnTo>
                    <a:pt x="11407" y="6678"/>
                  </a:lnTo>
                  <a:lnTo>
                    <a:pt x="10127" y="7457"/>
                  </a:lnTo>
                  <a:lnTo>
                    <a:pt x="8903" y="8292"/>
                  </a:lnTo>
                  <a:lnTo>
                    <a:pt x="7734" y="9126"/>
                  </a:lnTo>
                  <a:lnTo>
                    <a:pt x="6622" y="10016"/>
                  </a:lnTo>
                  <a:lnTo>
                    <a:pt x="5620" y="10962"/>
                  </a:lnTo>
                  <a:lnTo>
                    <a:pt x="4674" y="11908"/>
                  </a:lnTo>
                  <a:lnTo>
                    <a:pt x="3784" y="12910"/>
                  </a:lnTo>
                  <a:lnTo>
                    <a:pt x="3005" y="13911"/>
                  </a:lnTo>
                  <a:lnTo>
                    <a:pt x="2337" y="14913"/>
                  </a:lnTo>
                  <a:lnTo>
                    <a:pt x="1725" y="15970"/>
                  </a:lnTo>
                  <a:lnTo>
                    <a:pt x="1169" y="17083"/>
                  </a:lnTo>
                  <a:lnTo>
                    <a:pt x="779" y="18196"/>
                  </a:lnTo>
                  <a:lnTo>
                    <a:pt x="445" y="19309"/>
                  </a:lnTo>
                  <a:lnTo>
                    <a:pt x="167" y="20422"/>
                  </a:lnTo>
                  <a:lnTo>
                    <a:pt x="56" y="21590"/>
                  </a:lnTo>
                  <a:lnTo>
                    <a:pt x="0" y="22759"/>
                  </a:lnTo>
                  <a:lnTo>
                    <a:pt x="56" y="23927"/>
                  </a:lnTo>
                  <a:lnTo>
                    <a:pt x="223" y="25096"/>
                  </a:lnTo>
                  <a:lnTo>
                    <a:pt x="445" y="26208"/>
                  </a:lnTo>
                  <a:lnTo>
                    <a:pt x="835" y="27321"/>
                  </a:lnTo>
                  <a:lnTo>
                    <a:pt x="1280" y="28434"/>
                  </a:lnTo>
                  <a:lnTo>
                    <a:pt x="1781" y="29547"/>
                  </a:lnTo>
                  <a:lnTo>
                    <a:pt x="2393" y="30604"/>
                  </a:lnTo>
                  <a:lnTo>
                    <a:pt x="3116" y="31606"/>
                  </a:lnTo>
                  <a:lnTo>
                    <a:pt x="3895" y="32607"/>
                  </a:lnTo>
                  <a:lnTo>
                    <a:pt x="4785" y="33609"/>
                  </a:lnTo>
                  <a:lnTo>
                    <a:pt x="5731" y="34555"/>
                  </a:lnTo>
                  <a:lnTo>
                    <a:pt x="6789" y="35501"/>
                  </a:lnTo>
                  <a:lnTo>
                    <a:pt x="7846" y="36391"/>
                  </a:lnTo>
                  <a:lnTo>
                    <a:pt x="9014" y="37226"/>
                  </a:lnTo>
                  <a:lnTo>
                    <a:pt x="10294" y="38060"/>
                  </a:lnTo>
                  <a:lnTo>
                    <a:pt x="11574" y="38839"/>
                  </a:lnTo>
                  <a:lnTo>
                    <a:pt x="12965" y="39618"/>
                  </a:lnTo>
                  <a:lnTo>
                    <a:pt x="14356" y="40286"/>
                  </a:lnTo>
                  <a:lnTo>
                    <a:pt x="15858" y="41009"/>
                  </a:lnTo>
                  <a:lnTo>
                    <a:pt x="17416" y="41621"/>
                  </a:lnTo>
                  <a:lnTo>
                    <a:pt x="19030" y="42234"/>
                  </a:lnTo>
                  <a:lnTo>
                    <a:pt x="20643" y="42790"/>
                  </a:lnTo>
                  <a:lnTo>
                    <a:pt x="22368" y="43291"/>
                  </a:lnTo>
                  <a:lnTo>
                    <a:pt x="24093" y="43736"/>
                  </a:lnTo>
                  <a:lnTo>
                    <a:pt x="25874" y="44125"/>
                  </a:lnTo>
                  <a:lnTo>
                    <a:pt x="27710" y="44459"/>
                  </a:lnTo>
                  <a:lnTo>
                    <a:pt x="29602" y="44793"/>
                  </a:lnTo>
                  <a:lnTo>
                    <a:pt x="31494" y="45071"/>
                  </a:lnTo>
                  <a:lnTo>
                    <a:pt x="33386" y="45238"/>
                  </a:lnTo>
                  <a:lnTo>
                    <a:pt x="35389" y="45405"/>
                  </a:lnTo>
                  <a:lnTo>
                    <a:pt x="37392" y="45461"/>
                  </a:lnTo>
                  <a:lnTo>
                    <a:pt x="39395" y="45516"/>
                  </a:lnTo>
                  <a:lnTo>
                    <a:pt x="41398" y="45461"/>
                  </a:lnTo>
                  <a:lnTo>
                    <a:pt x="43401" y="45405"/>
                  </a:lnTo>
                  <a:lnTo>
                    <a:pt x="45404" y="45238"/>
                  </a:lnTo>
                  <a:lnTo>
                    <a:pt x="47296" y="45071"/>
                  </a:lnTo>
                  <a:lnTo>
                    <a:pt x="49188" y="44793"/>
                  </a:lnTo>
                  <a:lnTo>
                    <a:pt x="51080" y="44459"/>
                  </a:lnTo>
                  <a:lnTo>
                    <a:pt x="52916" y="44125"/>
                  </a:lnTo>
                  <a:lnTo>
                    <a:pt x="54697" y="43736"/>
                  </a:lnTo>
                  <a:lnTo>
                    <a:pt x="56422" y="43291"/>
                  </a:lnTo>
                  <a:lnTo>
                    <a:pt x="58091" y="42790"/>
                  </a:lnTo>
                  <a:lnTo>
                    <a:pt x="59760" y="42234"/>
                  </a:lnTo>
                  <a:lnTo>
                    <a:pt x="61318" y="41621"/>
                  </a:lnTo>
                  <a:lnTo>
                    <a:pt x="62876" y="41009"/>
                  </a:lnTo>
                  <a:lnTo>
                    <a:pt x="64378" y="40286"/>
                  </a:lnTo>
                  <a:lnTo>
                    <a:pt x="65769" y="39618"/>
                  </a:lnTo>
                  <a:lnTo>
                    <a:pt x="67161" y="38839"/>
                  </a:lnTo>
                  <a:lnTo>
                    <a:pt x="68440" y="38060"/>
                  </a:lnTo>
                  <a:lnTo>
                    <a:pt x="69664" y="37226"/>
                  </a:lnTo>
                  <a:lnTo>
                    <a:pt x="70833" y="36391"/>
                  </a:lnTo>
                  <a:lnTo>
                    <a:pt x="71890" y="35501"/>
                  </a:lnTo>
                  <a:lnTo>
                    <a:pt x="72947" y="34555"/>
                  </a:lnTo>
                  <a:lnTo>
                    <a:pt x="73893" y="33609"/>
                  </a:lnTo>
                  <a:lnTo>
                    <a:pt x="74728" y="32607"/>
                  </a:lnTo>
                  <a:lnTo>
                    <a:pt x="75507" y="31606"/>
                  </a:lnTo>
                  <a:lnTo>
                    <a:pt x="76230" y="30604"/>
                  </a:lnTo>
                  <a:lnTo>
                    <a:pt x="76842" y="29547"/>
                  </a:lnTo>
                  <a:lnTo>
                    <a:pt x="77343" y="28434"/>
                  </a:lnTo>
                  <a:lnTo>
                    <a:pt x="77788" y="27321"/>
                  </a:lnTo>
                  <a:lnTo>
                    <a:pt x="78122" y="26208"/>
                  </a:lnTo>
                  <a:lnTo>
                    <a:pt x="78345" y="25096"/>
                  </a:lnTo>
                  <a:lnTo>
                    <a:pt x="78512" y="23927"/>
                  </a:lnTo>
                  <a:lnTo>
                    <a:pt x="78567" y="22759"/>
                  </a:lnTo>
                  <a:lnTo>
                    <a:pt x="78512" y="21590"/>
                  </a:lnTo>
                  <a:lnTo>
                    <a:pt x="78345" y="20422"/>
                  </a:lnTo>
                  <a:lnTo>
                    <a:pt x="78066" y="19309"/>
                  </a:lnTo>
                  <a:lnTo>
                    <a:pt x="77733" y="18196"/>
                  </a:lnTo>
                  <a:lnTo>
                    <a:pt x="77287" y="17083"/>
                  </a:lnTo>
                  <a:lnTo>
                    <a:pt x="76731" y="15970"/>
                  </a:lnTo>
                  <a:lnTo>
                    <a:pt x="76119" y="14913"/>
                  </a:lnTo>
                  <a:lnTo>
                    <a:pt x="75396" y="13911"/>
                  </a:lnTo>
                  <a:lnTo>
                    <a:pt x="74617" y="12910"/>
                  </a:lnTo>
                  <a:lnTo>
                    <a:pt x="73726" y="11908"/>
                  </a:lnTo>
                  <a:lnTo>
                    <a:pt x="72780" y="10962"/>
                  </a:lnTo>
                  <a:lnTo>
                    <a:pt x="71779" y="10016"/>
                  </a:lnTo>
                  <a:lnTo>
                    <a:pt x="70666" y="9126"/>
                  </a:lnTo>
                  <a:lnTo>
                    <a:pt x="69498" y="8292"/>
                  </a:lnTo>
                  <a:lnTo>
                    <a:pt x="68273" y="7457"/>
                  </a:lnTo>
                  <a:lnTo>
                    <a:pt x="66938" y="6678"/>
                  </a:lnTo>
                  <a:lnTo>
                    <a:pt x="65603" y="5899"/>
                  </a:lnTo>
                  <a:lnTo>
                    <a:pt x="64156" y="5176"/>
                  </a:lnTo>
                  <a:lnTo>
                    <a:pt x="62653" y="4508"/>
                  </a:lnTo>
                  <a:lnTo>
                    <a:pt x="61151" y="3896"/>
                  </a:lnTo>
                  <a:lnTo>
                    <a:pt x="59538" y="3284"/>
                  </a:lnTo>
                  <a:lnTo>
                    <a:pt x="57868" y="2727"/>
                  </a:lnTo>
                  <a:lnTo>
                    <a:pt x="56199" y="2226"/>
                  </a:lnTo>
                  <a:lnTo>
                    <a:pt x="54418" y="1781"/>
                  </a:lnTo>
                  <a:lnTo>
                    <a:pt x="52638" y="1392"/>
                  </a:lnTo>
                  <a:lnTo>
                    <a:pt x="50802" y="1002"/>
                  </a:lnTo>
                  <a:lnTo>
                    <a:pt x="48965" y="724"/>
                  </a:lnTo>
                  <a:lnTo>
                    <a:pt x="47074" y="446"/>
                  </a:lnTo>
                  <a:lnTo>
                    <a:pt x="45126" y="279"/>
                  </a:lnTo>
                  <a:lnTo>
                    <a:pt x="43179" y="112"/>
                  </a:lnTo>
                  <a:lnTo>
                    <a:pt x="41176" y="56"/>
                  </a:lnTo>
                  <a:lnTo>
                    <a:pt x="39117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Google Shape;2314;p60">
              <a:extLst>
                <a:ext uri="{FF2B5EF4-FFF2-40B4-BE49-F238E27FC236}">
                  <a16:creationId xmlns:a16="http://schemas.microsoft.com/office/drawing/2014/main" id="{F5DD0868-4C33-35A8-2177-CA92250ED5A9}"/>
                </a:ext>
              </a:extLst>
            </p:cNvPr>
            <p:cNvSpPr/>
            <p:nvPr/>
          </p:nvSpPr>
          <p:spPr>
            <a:xfrm>
              <a:off x="4167500" y="2733675"/>
              <a:ext cx="1562175" cy="904225"/>
            </a:xfrm>
            <a:custGeom>
              <a:avLst/>
              <a:gdLst/>
              <a:ahLst/>
              <a:cxnLst/>
              <a:rect l="l" t="t" r="r" b="b"/>
              <a:pathLst>
                <a:path w="62487" h="36169" extrusionOk="0">
                  <a:moveTo>
                    <a:pt x="31160" y="1"/>
                  </a:moveTo>
                  <a:lnTo>
                    <a:pt x="29546" y="56"/>
                  </a:lnTo>
                  <a:lnTo>
                    <a:pt x="27933" y="112"/>
                  </a:lnTo>
                  <a:lnTo>
                    <a:pt x="26375" y="223"/>
                  </a:lnTo>
                  <a:lnTo>
                    <a:pt x="24872" y="390"/>
                  </a:lnTo>
                  <a:lnTo>
                    <a:pt x="23370" y="613"/>
                  </a:lnTo>
                  <a:lnTo>
                    <a:pt x="21868" y="835"/>
                  </a:lnTo>
                  <a:lnTo>
                    <a:pt x="20421" y="1114"/>
                  </a:lnTo>
                  <a:lnTo>
                    <a:pt x="18974" y="1448"/>
                  </a:lnTo>
                  <a:lnTo>
                    <a:pt x="17639" y="1781"/>
                  </a:lnTo>
                  <a:lnTo>
                    <a:pt x="16303" y="2227"/>
                  </a:lnTo>
                  <a:lnTo>
                    <a:pt x="14968" y="2616"/>
                  </a:lnTo>
                  <a:lnTo>
                    <a:pt x="13688" y="3117"/>
                  </a:lnTo>
                  <a:lnTo>
                    <a:pt x="12464" y="3618"/>
                  </a:lnTo>
                  <a:lnTo>
                    <a:pt x="11296" y="4174"/>
                  </a:lnTo>
                  <a:lnTo>
                    <a:pt x="10183" y="4730"/>
                  </a:lnTo>
                  <a:lnTo>
                    <a:pt x="9125" y="5343"/>
                  </a:lnTo>
                  <a:lnTo>
                    <a:pt x="8068" y="5955"/>
                  </a:lnTo>
                  <a:lnTo>
                    <a:pt x="7067" y="6622"/>
                  </a:lnTo>
                  <a:lnTo>
                    <a:pt x="6176" y="7290"/>
                  </a:lnTo>
                  <a:lnTo>
                    <a:pt x="5286" y="8013"/>
                  </a:lnTo>
                  <a:lnTo>
                    <a:pt x="4507" y="8737"/>
                  </a:lnTo>
                  <a:lnTo>
                    <a:pt x="3728" y="9460"/>
                  </a:lnTo>
                  <a:lnTo>
                    <a:pt x="3060" y="10239"/>
                  </a:lnTo>
                  <a:lnTo>
                    <a:pt x="2448" y="11074"/>
                  </a:lnTo>
                  <a:lnTo>
                    <a:pt x="1892" y="11908"/>
                  </a:lnTo>
                  <a:lnTo>
                    <a:pt x="1391" y="12743"/>
                  </a:lnTo>
                  <a:lnTo>
                    <a:pt x="1002" y="13578"/>
                  </a:lnTo>
                  <a:lnTo>
                    <a:pt x="612" y="14468"/>
                  </a:lnTo>
                  <a:lnTo>
                    <a:pt x="390" y="15358"/>
                  </a:lnTo>
                  <a:lnTo>
                    <a:pt x="167" y="16248"/>
                  </a:lnTo>
                  <a:lnTo>
                    <a:pt x="56" y="17194"/>
                  </a:lnTo>
                  <a:lnTo>
                    <a:pt x="0" y="18085"/>
                  </a:lnTo>
                  <a:lnTo>
                    <a:pt x="56" y="19031"/>
                  </a:lnTo>
                  <a:lnTo>
                    <a:pt x="223" y="19977"/>
                  </a:lnTo>
                  <a:lnTo>
                    <a:pt x="390" y="20867"/>
                  </a:lnTo>
                  <a:lnTo>
                    <a:pt x="668" y="21757"/>
                  </a:lnTo>
                  <a:lnTo>
                    <a:pt x="1057" y="22647"/>
                  </a:lnTo>
                  <a:lnTo>
                    <a:pt x="1447" y="23482"/>
                  </a:lnTo>
                  <a:lnTo>
                    <a:pt x="1948" y="24317"/>
                  </a:lnTo>
                  <a:lnTo>
                    <a:pt x="2504" y="25151"/>
                  </a:lnTo>
                  <a:lnTo>
                    <a:pt x="3172" y="25930"/>
                  </a:lnTo>
                  <a:lnTo>
                    <a:pt x="3839" y="26709"/>
                  </a:lnTo>
                  <a:lnTo>
                    <a:pt x="4618" y="27488"/>
                  </a:lnTo>
                  <a:lnTo>
                    <a:pt x="5397" y="28212"/>
                  </a:lnTo>
                  <a:lnTo>
                    <a:pt x="6288" y="28935"/>
                  </a:lnTo>
                  <a:lnTo>
                    <a:pt x="7234" y="29603"/>
                  </a:lnTo>
                  <a:lnTo>
                    <a:pt x="8180" y="30270"/>
                  </a:lnTo>
                  <a:lnTo>
                    <a:pt x="9237" y="30882"/>
                  </a:lnTo>
                  <a:lnTo>
                    <a:pt x="10350" y="31495"/>
                  </a:lnTo>
                  <a:lnTo>
                    <a:pt x="11462" y="32051"/>
                  </a:lnTo>
                  <a:lnTo>
                    <a:pt x="12631" y="32607"/>
                  </a:lnTo>
                  <a:lnTo>
                    <a:pt x="13855" y="33108"/>
                  </a:lnTo>
                  <a:lnTo>
                    <a:pt x="15135" y="33553"/>
                  </a:lnTo>
                  <a:lnTo>
                    <a:pt x="16470" y="33998"/>
                  </a:lnTo>
                  <a:lnTo>
                    <a:pt x="17806" y="34388"/>
                  </a:lnTo>
                  <a:lnTo>
                    <a:pt x="19197" y="34777"/>
                  </a:lnTo>
                  <a:lnTo>
                    <a:pt x="20588" y="35111"/>
                  </a:lnTo>
                  <a:lnTo>
                    <a:pt x="22035" y="35390"/>
                  </a:lnTo>
                  <a:lnTo>
                    <a:pt x="23537" y="35612"/>
                  </a:lnTo>
                  <a:lnTo>
                    <a:pt x="25039" y="35835"/>
                  </a:lnTo>
                  <a:lnTo>
                    <a:pt x="26597" y="36002"/>
                  </a:lnTo>
                  <a:lnTo>
                    <a:pt x="28155" y="36113"/>
                  </a:lnTo>
                  <a:lnTo>
                    <a:pt x="29769" y="36169"/>
                  </a:lnTo>
                  <a:lnTo>
                    <a:pt x="32940" y="36169"/>
                  </a:lnTo>
                  <a:lnTo>
                    <a:pt x="34554" y="36113"/>
                  </a:lnTo>
                  <a:lnTo>
                    <a:pt x="36112" y="36002"/>
                  </a:lnTo>
                  <a:lnTo>
                    <a:pt x="37614" y="35835"/>
                  </a:lnTo>
                  <a:lnTo>
                    <a:pt x="39172" y="35612"/>
                  </a:lnTo>
                  <a:lnTo>
                    <a:pt x="40619" y="35390"/>
                  </a:lnTo>
                  <a:lnTo>
                    <a:pt x="42066" y="35111"/>
                  </a:lnTo>
                  <a:lnTo>
                    <a:pt x="43512" y="34777"/>
                  </a:lnTo>
                  <a:lnTo>
                    <a:pt x="44848" y="34388"/>
                  </a:lnTo>
                  <a:lnTo>
                    <a:pt x="46239" y="33998"/>
                  </a:lnTo>
                  <a:lnTo>
                    <a:pt x="47519" y="33553"/>
                  </a:lnTo>
                  <a:lnTo>
                    <a:pt x="48799" y="33108"/>
                  </a:lnTo>
                  <a:lnTo>
                    <a:pt x="50023" y="32607"/>
                  </a:lnTo>
                  <a:lnTo>
                    <a:pt x="51191" y="32051"/>
                  </a:lnTo>
                  <a:lnTo>
                    <a:pt x="52304" y="31495"/>
                  </a:lnTo>
                  <a:lnTo>
                    <a:pt x="53417" y="30882"/>
                  </a:lnTo>
                  <a:lnTo>
                    <a:pt x="54418" y="30270"/>
                  </a:lnTo>
                  <a:lnTo>
                    <a:pt x="55420" y="29603"/>
                  </a:lnTo>
                  <a:lnTo>
                    <a:pt x="56310" y="28935"/>
                  </a:lnTo>
                  <a:lnTo>
                    <a:pt x="57201" y="28212"/>
                  </a:lnTo>
                  <a:lnTo>
                    <a:pt x="57980" y="27488"/>
                  </a:lnTo>
                  <a:lnTo>
                    <a:pt x="58759" y="26709"/>
                  </a:lnTo>
                  <a:lnTo>
                    <a:pt x="59426" y="25930"/>
                  </a:lnTo>
                  <a:lnTo>
                    <a:pt x="60038" y="25151"/>
                  </a:lnTo>
                  <a:lnTo>
                    <a:pt x="60595" y="24317"/>
                  </a:lnTo>
                  <a:lnTo>
                    <a:pt x="61095" y="23482"/>
                  </a:lnTo>
                  <a:lnTo>
                    <a:pt x="61485" y="22647"/>
                  </a:lnTo>
                  <a:lnTo>
                    <a:pt x="61874" y="21757"/>
                  </a:lnTo>
                  <a:lnTo>
                    <a:pt x="62097" y="20867"/>
                  </a:lnTo>
                  <a:lnTo>
                    <a:pt x="62320" y="19977"/>
                  </a:lnTo>
                  <a:lnTo>
                    <a:pt x="62431" y="19031"/>
                  </a:lnTo>
                  <a:lnTo>
                    <a:pt x="62487" y="18085"/>
                  </a:lnTo>
                  <a:lnTo>
                    <a:pt x="62431" y="17194"/>
                  </a:lnTo>
                  <a:lnTo>
                    <a:pt x="62320" y="16248"/>
                  </a:lnTo>
                  <a:lnTo>
                    <a:pt x="62097" y="15358"/>
                  </a:lnTo>
                  <a:lnTo>
                    <a:pt x="61819" y="14468"/>
                  </a:lnTo>
                  <a:lnTo>
                    <a:pt x="61485" y="13578"/>
                  </a:lnTo>
                  <a:lnTo>
                    <a:pt x="61040" y="12743"/>
                  </a:lnTo>
                  <a:lnTo>
                    <a:pt x="60539" y="11908"/>
                  </a:lnTo>
                  <a:lnTo>
                    <a:pt x="59983" y="11074"/>
                  </a:lnTo>
                  <a:lnTo>
                    <a:pt x="59371" y="10239"/>
                  </a:lnTo>
                  <a:lnTo>
                    <a:pt x="58647" y="9460"/>
                  </a:lnTo>
                  <a:lnTo>
                    <a:pt x="57868" y="8737"/>
                  </a:lnTo>
                  <a:lnTo>
                    <a:pt x="57089" y="8013"/>
                  </a:lnTo>
                  <a:lnTo>
                    <a:pt x="56199" y="7290"/>
                  </a:lnTo>
                  <a:lnTo>
                    <a:pt x="55253" y="6622"/>
                  </a:lnTo>
                  <a:lnTo>
                    <a:pt x="54307" y="5955"/>
                  </a:lnTo>
                  <a:lnTo>
                    <a:pt x="53250" y="5343"/>
                  </a:lnTo>
                  <a:lnTo>
                    <a:pt x="52137" y="4730"/>
                  </a:lnTo>
                  <a:lnTo>
                    <a:pt x="51024" y="4174"/>
                  </a:lnTo>
                  <a:lnTo>
                    <a:pt x="49856" y="3618"/>
                  </a:lnTo>
                  <a:lnTo>
                    <a:pt x="48632" y="3117"/>
                  </a:lnTo>
                  <a:lnTo>
                    <a:pt x="47352" y="2616"/>
                  </a:lnTo>
                  <a:lnTo>
                    <a:pt x="46016" y="2227"/>
                  </a:lnTo>
                  <a:lnTo>
                    <a:pt x="44681" y="1781"/>
                  </a:lnTo>
                  <a:lnTo>
                    <a:pt x="43290" y="1448"/>
                  </a:lnTo>
                  <a:lnTo>
                    <a:pt x="41899" y="1114"/>
                  </a:lnTo>
                  <a:lnTo>
                    <a:pt x="40452" y="835"/>
                  </a:lnTo>
                  <a:lnTo>
                    <a:pt x="38950" y="613"/>
                  </a:lnTo>
                  <a:lnTo>
                    <a:pt x="37447" y="390"/>
                  </a:lnTo>
                  <a:lnTo>
                    <a:pt x="35889" y="223"/>
                  </a:lnTo>
                  <a:lnTo>
                    <a:pt x="34331" y="112"/>
                  </a:lnTo>
                  <a:lnTo>
                    <a:pt x="32773" y="56"/>
                  </a:lnTo>
                  <a:lnTo>
                    <a:pt x="31160" y="1"/>
                  </a:lnTo>
                  <a:close/>
                </a:path>
              </a:pathLst>
            </a:custGeom>
            <a:solidFill>
              <a:srgbClr val="FFF3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" name="Google Shape;2315;p60">
              <a:extLst>
                <a:ext uri="{FF2B5EF4-FFF2-40B4-BE49-F238E27FC236}">
                  <a16:creationId xmlns:a16="http://schemas.microsoft.com/office/drawing/2014/main" id="{7997BE94-ADE6-F0BE-B5DE-3F7911F909D3}"/>
                </a:ext>
              </a:extLst>
            </p:cNvPr>
            <p:cNvSpPr/>
            <p:nvPr/>
          </p:nvSpPr>
          <p:spPr>
            <a:xfrm>
              <a:off x="3965775" y="3185775"/>
              <a:ext cx="1964225" cy="710875"/>
            </a:xfrm>
            <a:custGeom>
              <a:avLst/>
              <a:gdLst/>
              <a:ahLst/>
              <a:cxnLst/>
              <a:rect l="l" t="t" r="r" b="b"/>
              <a:pathLst>
                <a:path w="78569" h="28435" extrusionOk="0">
                  <a:moveTo>
                    <a:pt x="57" y="1"/>
                  </a:moveTo>
                  <a:lnTo>
                    <a:pt x="1" y="5676"/>
                  </a:lnTo>
                  <a:lnTo>
                    <a:pt x="57" y="6845"/>
                  </a:lnTo>
                  <a:lnTo>
                    <a:pt x="224" y="8013"/>
                  </a:lnTo>
                  <a:lnTo>
                    <a:pt x="502" y="9126"/>
                  </a:lnTo>
                  <a:lnTo>
                    <a:pt x="836" y="10239"/>
                  </a:lnTo>
                  <a:lnTo>
                    <a:pt x="1281" y="11352"/>
                  </a:lnTo>
                  <a:lnTo>
                    <a:pt x="1837" y="12465"/>
                  </a:lnTo>
                  <a:lnTo>
                    <a:pt x="2449" y="13522"/>
                  </a:lnTo>
                  <a:lnTo>
                    <a:pt x="3173" y="14523"/>
                  </a:lnTo>
                  <a:lnTo>
                    <a:pt x="3952" y="15525"/>
                  </a:lnTo>
                  <a:lnTo>
                    <a:pt x="4842" y="16527"/>
                  </a:lnTo>
                  <a:lnTo>
                    <a:pt x="5788" y="17472"/>
                  </a:lnTo>
                  <a:lnTo>
                    <a:pt x="6789" y="18418"/>
                  </a:lnTo>
                  <a:lnTo>
                    <a:pt x="7902" y="19309"/>
                  </a:lnTo>
                  <a:lnTo>
                    <a:pt x="9071" y="20143"/>
                  </a:lnTo>
                  <a:lnTo>
                    <a:pt x="10295" y="20978"/>
                  </a:lnTo>
                  <a:lnTo>
                    <a:pt x="11630" y="21757"/>
                  </a:lnTo>
                  <a:lnTo>
                    <a:pt x="12966" y="22536"/>
                  </a:lnTo>
                  <a:lnTo>
                    <a:pt x="14412" y="23204"/>
                  </a:lnTo>
                  <a:lnTo>
                    <a:pt x="15915" y="23927"/>
                  </a:lnTo>
                  <a:lnTo>
                    <a:pt x="17417" y="24539"/>
                  </a:lnTo>
                  <a:lnTo>
                    <a:pt x="19031" y="25151"/>
                  </a:lnTo>
                  <a:lnTo>
                    <a:pt x="20700" y="25652"/>
                  </a:lnTo>
                  <a:lnTo>
                    <a:pt x="22369" y="26208"/>
                  </a:lnTo>
                  <a:lnTo>
                    <a:pt x="24150" y="26653"/>
                  </a:lnTo>
                  <a:lnTo>
                    <a:pt x="25930" y="27043"/>
                  </a:lnTo>
                  <a:lnTo>
                    <a:pt x="27767" y="27377"/>
                  </a:lnTo>
                  <a:lnTo>
                    <a:pt x="29603" y="27711"/>
                  </a:lnTo>
                  <a:lnTo>
                    <a:pt x="31495" y="27989"/>
                  </a:lnTo>
                  <a:lnTo>
                    <a:pt x="33442" y="28156"/>
                  </a:lnTo>
                  <a:lnTo>
                    <a:pt x="35390" y="28323"/>
                  </a:lnTo>
                  <a:lnTo>
                    <a:pt x="37393" y="28378"/>
                  </a:lnTo>
                  <a:lnTo>
                    <a:pt x="39451" y="28434"/>
                  </a:lnTo>
                  <a:lnTo>
                    <a:pt x="41455" y="28378"/>
                  </a:lnTo>
                  <a:lnTo>
                    <a:pt x="43458" y="28323"/>
                  </a:lnTo>
                  <a:lnTo>
                    <a:pt x="45405" y="28156"/>
                  </a:lnTo>
                  <a:lnTo>
                    <a:pt x="47353" y="27989"/>
                  </a:lnTo>
                  <a:lnTo>
                    <a:pt x="49244" y="27711"/>
                  </a:lnTo>
                  <a:lnTo>
                    <a:pt x="51081" y="27377"/>
                  </a:lnTo>
                  <a:lnTo>
                    <a:pt x="52917" y="27043"/>
                  </a:lnTo>
                  <a:lnTo>
                    <a:pt x="54697" y="26653"/>
                  </a:lnTo>
                  <a:lnTo>
                    <a:pt x="56422" y="26208"/>
                  </a:lnTo>
                  <a:lnTo>
                    <a:pt x="58147" y="25652"/>
                  </a:lnTo>
                  <a:lnTo>
                    <a:pt x="59761" y="25151"/>
                  </a:lnTo>
                  <a:lnTo>
                    <a:pt x="61375" y="24539"/>
                  </a:lnTo>
                  <a:lnTo>
                    <a:pt x="62877" y="23927"/>
                  </a:lnTo>
                  <a:lnTo>
                    <a:pt x="64379" y="23204"/>
                  </a:lnTo>
                  <a:lnTo>
                    <a:pt x="65826" y="22536"/>
                  </a:lnTo>
                  <a:lnTo>
                    <a:pt x="67161" y="21757"/>
                  </a:lnTo>
                  <a:lnTo>
                    <a:pt x="68441" y="20978"/>
                  </a:lnTo>
                  <a:lnTo>
                    <a:pt x="69665" y="20143"/>
                  </a:lnTo>
                  <a:lnTo>
                    <a:pt x="70834" y="19309"/>
                  </a:lnTo>
                  <a:lnTo>
                    <a:pt x="71947" y="18418"/>
                  </a:lnTo>
                  <a:lnTo>
                    <a:pt x="72948" y="17472"/>
                  </a:lnTo>
                  <a:lnTo>
                    <a:pt x="73894" y="16527"/>
                  </a:lnTo>
                  <a:lnTo>
                    <a:pt x="74784" y="15525"/>
                  </a:lnTo>
                  <a:lnTo>
                    <a:pt x="75563" y="14523"/>
                  </a:lnTo>
                  <a:lnTo>
                    <a:pt x="76231" y="13522"/>
                  </a:lnTo>
                  <a:lnTo>
                    <a:pt x="76843" y="12465"/>
                  </a:lnTo>
                  <a:lnTo>
                    <a:pt x="77344" y="11352"/>
                  </a:lnTo>
                  <a:lnTo>
                    <a:pt x="77789" y="10239"/>
                  </a:lnTo>
                  <a:lnTo>
                    <a:pt x="78123" y="9126"/>
                  </a:lnTo>
                  <a:lnTo>
                    <a:pt x="78401" y="8013"/>
                  </a:lnTo>
                  <a:lnTo>
                    <a:pt x="78512" y="6845"/>
                  </a:lnTo>
                  <a:lnTo>
                    <a:pt x="78568" y="5676"/>
                  </a:lnTo>
                  <a:lnTo>
                    <a:pt x="78568" y="1169"/>
                  </a:lnTo>
                  <a:lnTo>
                    <a:pt x="78401" y="2338"/>
                  </a:lnTo>
                  <a:lnTo>
                    <a:pt x="78179" y="3506"/>
                  </a:lnTo>
                  <a:lnTo>
                    <a:pt x="77845" y="4619"/>
                  </a:lnTo>
                  <a:lnTo>
                    <a:pt x="77400" y="5732"/>
                  </a:lnTo>
                  <a:lnTo>
                    <a:pt x="76843" y="6789"/>
                  </a:lnTo>
                  <a:lnTo>
                    <a:pt x="76231" y="7846"/>
                  </a:lnTo>
                  <a:lnTo>
                    <a:pt x="75563" y="8903"/>
                  </a:lnTo>
                  <a:lnTo>
                    <a:pt x="74784" y="9905"/>
                  </a:lnTo>
                  <a:lnTo>
                    <a:pt x="73894" y="10851"/>
                  </a:lnTo>
                  <a:lnTo>
                    <a:pt x="72948" y="11797"/>
                  </a:lnTo>
                  <a:lnTo>
                    <a:pt x="71947" y="12743"/>
                  </a:lnTo>
                  <a:lnTo>
                    <a:pt x="70889" y="13633"/>
                  </a:lnTo>
                  <a:lnTo>
                    <a:pt x="69721" y="14468"/>
                  </a:lnTo>
                  <a:lnTo>
                    <a:pt x="68497" y="15302"/>
                  </a:lnTo>
                  <a:lnTo>
                    <a:pt x="67161" y="16081"/>
                  </a:lnTo>
                  <a:lnTo>
                    <a:pt x="65826" y="16860"/>
                  </a:lnTo>
                  <a:lnTo>
                    <a:pt x="64379" y="17584"/>
                  </a:lnTo>
                  <a:lnTo>
                    <a:pt x="62933" y="18251"/>
                  </a:lnTo>
                  <a:lnTo>
                    <a:pt x="61375" y="18863"/>
                  </a:lnTo>
                  <a:lnTo>
                    <a:pt x="59817" y="19476"/>
                  </a:lnTo>
                  <a:lnTo>
                    <a:pt x="58147" y="20032"/>
                  </a:lnTo>
                  <a:lnTo>
                    <a:pt x="56478" y="20533"/>
                  </a:lnTo>
                  <a:lnTo>
                    <a:pt x="54697" y="20978"/>
                  </a:lnTo>
                  <a:lnTo>
                    <a:pt x="52917" y="21367"/>
                  </a:lnTo>
                  <a:lnTo>
                    <a:pt x="51136" y="21757"/>
                  </a:lnTo>
                  <a:lnTo>
                    <a:pt x="49244" y="22035"/>
                  </a:lnTo>
                  <a:lnTo>
                    <a:pt x="47353" y="22313"/>
                  </a:lnTo>
                  <a:lnTo>
                    <a:pt x="45405" y="22536"/>
                  </a:lnTo>
                  <a:lnTo>
                    <a:pt x="43458" y="22647"/>
                  </a:lnTo>
                  <a:lnTo>
                    <a:pt x="41455" y="22758"/>
                  </a:lnTo>
                  <a:lnTo>
                    <a:pt x="37448" y="22758"/>
                  </a:lnTo>
                  <a:lnTo>
                    <a:pt x="35445" y="22647"/>
                  </a:lnTo>
                  <a:lnTo>
                    <a:pt x="33442" y="22536"/>
                  </a:lnTo>
                  <a:lnTo>
                    <a:pt x="31550" y="22313"/>
                  </a:lnTo>
                  <a:lnTo>
                    <a:pt x="29603" y="22035"/>
                  </a:lnTo>
                  <a:lnTo>
                    <a:pt x="27767" y="21757"/>
                  </a:lnTo>
                  <a:lnTo>
                    <a:pt x="25930" y="21367"/>
                  </a:lnTo>
                  <a:lnTo>
                    <a:pt x="24150" y="20978"/>
                  </a:lnTo>
                  <a:lnTo>
                    <a:pt x="22425" y="20533"/>
                  </a:lnTo>
                  <a:lnTo>
                    <a:pt x="20700" y="20032"/>
                  </a:lnTo>
                  <a:lnTo>
                    <a:pt x="19031" y="19476"/>
                  </a:lnTo>
                  <a:lnTo>
                    <a:pt x="17473" y="18863"/>
                  </a:lnTo>
                  <a:lnTo>
                    <a:pt x="15915" y="18251"/>
                  </a:lnTo>
                  <a:lnTo>
                    <a:pt x="14412" y="17584"/>
                  </a:lnTo>
                  <a:lnTo>
                    <a:pt x="13021" y="16860"/>
                  </a:lnTo>
                  <a:lnTo>
                    <a:pt x="11630" y="16081"/>
                  </a:lnTo>
                  <a:lnTo>
                    <a:pt x="10350" y="15302"/>
                  </a:lnTo>
                  <a:lnTo>
                    <a:pt x="9071" y="14468"/>
                  </a:lnTo>
                  <a:lnTo>
                    <a:pt x="7902" y="13633"/>
                  </a:lnTo>
                  <a:lnTo>
                    <a:pt x="6789" y="12743"/>
                  </a:lnTo>
                  <a:lnTo>
                    <a:pt x="5788" y="11797"/>
                  </a:lnTo>
                  <a:lnTo>
                    <a:pt x="4842" y="10851"/>
                  </a:lnTo>
                  <a:lnTo>
                    <a:pt x="3952" y="9905"/>
                  </a:lnTo>
                  <a:lnTo>
                    <a:pt x="3173" y="8903"/>
                  </a:lnTo>
                  <a:lnTo>
                    <a:pt x="2449" y="7846"/>
                  </a:lnTo>
                  <a:lnTo>
                    <a:pt x="1837" y="6789"/>
                  </a:lnTo>
                  <a:lnTo>
                    <a:pt x="1281" y="5732"/>
                  </a:lnTo>
                  <a:lnTo>
                    <a:pt x="836" y="4619"/>
                  </a:lnTo>
                  <a:lnTo>
                    <a:pt x="502" y="3506"/>
                  </a:lnTo>
                  <a:lnTo>
                    <a:pt x="279" y="2338"/>
                  </a:lnTo>
                  <a:lnTo>
                    <a:pt x="112" y="1169"/>
                  </a:lnTo>
                  <a:lnTo>
                    <a:pt x="57" y="1"/>
                  </a:lnTo>
                  <a:close/>
                </a:path>
              </a:pathLst>
            </a:custGeom>
            <a:solidFill>
              <a:srgbClr val="BF9D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2316;p60">
              <a:extLst>
                <a:ext uri="{FF2B5EF4-FFF2-40B4-BE49-F238E27FC236}">
                  <a16:creationId xmlns:a16="http://schemas.microsoft.com/office/drawing/2014/main" id="{1E249346-723C-BE47-F737-79BEDAC39EEB}"/>
                </a:ext>
              </a:extLst>
            </p:cNvPr>
            <p:cNvSpPr/>
            <p:nvPr/>
          </p:nvSpPr>
          <p:spPr>
            <a:xfrm>
              <a:off x="3967175" y="2616825"/>
              <a:ext cx="1962825" cy="1137925"/>
            </a:xfrm>
            <a:custGeom>
              <a:avLst/>
              <a:gdLst/>
              <a:ahLst/>
              <a:cxnLst/>
              <a:rect l="l" t="t" r="r" b="b"/>
              <a:pathLst>
                <a:path w="78513" h="45517" extrusionOk="0">
                  <a:moveTo>
                    <a:pt x="39173" y="4675"/>
                  </a:moveTo>
                  <a:lnTo>
                    <a:pt x="40786" y="4730"/>
                  </a:lnTo>
                  <a:lnTo>
                    <a:pt x="42344" y="4786"/>
                  </a:lnTo>
                  <a:lnTo>
                    <a:pt x="43902" y="4897"/>
                  </a:lnTo>
                  <a:lnTo>
                    <a:pt x="45460" y="5064"/>
                  </a:lnTo>
                  <a:lnTo>
                    <a:pt x="46963" y="5287"/>
                  </a:lnTo>
                  <a:lnTo>
                    <a:pt x="48465" y="5509"/>
                  </a:lnTo>
                  <a:lnTo>
                    <a:pt x="49912" y="5788"/>
                  </a:lnTo>
                  <a:lnTo>
                    <a:pt x="51303" y="6122"/>
                  </a:lnTo>
                  <a:lnTo>
                    <a:pt x="52694" y="6455"/>
                  </a:lnTo>
                  <a:lnTo>
                    <a:pt x="54029" y="6901"/>
                  </a:lnTo>
                  <a:lnTo>
                    <a:pt x="55365" y="7290"/>
                  </a:lnTo>
                  <a:lnTo>
                    <a:pt x="56645" y="7791"/>
                  </a:lnTo>
                  <a:lnTo>
                    <a:pt x="57869" y="8292"/>
                  </a:lnTo>
                  <a:lnTo>
                    <a:pt x="59037" y="8848"/>
                  </a:lnTo>
                  <a:lnTo>
                    <a:pt x="60150" y="9404"/>
                  </a:lnTo>
                  <a:lnTo>
                    <a:pt x="61263" y="10017"/>
                  </a:lnTo>
                  <a:lnTo>
                    <a:pt x="62320" y="10629"/>
                  </a:lnTo>
                  <a:lnTo>
                    <a:pt x="63266" y="11296"/>
                  </a:lnTo>
                  <a:lnTo>
                    <a:pt x="64212" y="11964"/>
                  </a:lnTo>
                  <a:lnTo>
                    <a:pt x="65102" y="12687"/>
                  </a:lnTo>
                  <a:lnTo>
                    <a:pt x="65881" y="13411"/>
                  </a:lnTo>
                  <a:lnTo>
                    <a:pt x="66660" y="14134"/>
                  </a:lnTo>
                  <a:lnTo>
                    <a:pt x="67384" y="14913"/>
                  </a:lnTo>
                  <a:lnTo>
                    <a:pt x="67996" y="15748"/>
                  </a:lnTo>
                  <a:lnTo>
                    <a:pt x="68552" y="16582"/>
                  </a:lnTo>
                  <a:lnTo>
                    <a:pt x="69053" y="17417"/>
                  </a:lnTo>
                  <a:lnTo>
                    <a:pt x="69498" y="18252"/>
                  </a:lnTo>
                  <a:lnTo>
                    <a:pt x="69832" y="19142"/>
                  </a:lnTo>
                  <a:lnTo>
                    <a:pt x="70110" y="20032"/>
                  </a:lnTo>
                  <a:lnTo>
                    <a:pt x="70333" y="20922"/>
                  </a:lnTo>
                  <a:lnTo>
                    <a:pt x="70444" y="21868"/>
                  </a:lnTo>
                  <a:lnTo>
                    <a:pt x="70500" y="22759"/>
                  </a:lnTo>
                  <a:lnTo>
                    <a:pt x="70444" y="23705"/>
                  </a:lnTo>
                  <a:lnTo>
                    <a:pt x="70333" y="24651"/>
                  </a:lnTo>
                  <a:lnTo>
                    <a:pt x="70110" y="25541"/>
                  </a:lnTo>
                  <a:lnTo>
                    <a:pt x="69887" y="26431"/>
                  </a:lnTo>
                  <a:lnTo>
                    <a:pt x="69498" y="27321"/>
                  </a:lnTo>
                  <a:lnTo>
                    <a:pt x="69108" y="28156"/>
                  </a:lnTo>
                  <a:lnTo>
                    <a:pt x="68608" y="28991"/>
                  </a:lnTo>
                  <a:lnTo>
                    <a:pt x="68051" y="29825"/>
                  </a:lnTo>
                  <a:lnTo>
                    <a:pt x="67439" y="30604"/>
                  </a:lnTo>
                  <a:lnTo>
                    <a:pt x="66772" y="31383"/>
                  </a:lnTo>
                  <a:lnTo>
                    <a:pt x="65993" y="32162"/>
                  </a:lnTo>
                  <a:lnTo>
                    <a:pt x="65214" y="32886"/>
                  </a:lnTo>
                  <a:lnTo>
                    <a:pt x="64323" y="33609"/>
                  </a:lnTo>
                  <a:lnTo>
                    <a:pt x="63433" y="34277"/>
                  </a:lnTo>
                  <a:lnTo>
                    <a:pt x="62431" y="34944"/>
                  </a:lnTo>
                  <a:lnTo>
                    <a:pt x="61430" y="35556"/>
                  </a:lnTo>
                  <a:lnTo>
                    <a:pt x="60317" y="36169"/>
                  </a:lnTo>
                  <a:lnTo>
                    <a:pt x="59204" y="36725"/>
                  </a:lnTo>
                  <a:lnTo>
                    <a:pt x="58036" y="37281"/>
                  </a:lnTo>
                  <a:lnTo>
                    <a:pt x="56812" y="37782"/>
                  </a:lnTo>
                  <a:lnTo>
                    <a:pt x="55532" y="38227"/>
                  </a:lnTo>
                  <a:lnTo>
                    <a:pt x="54252" y="38672"/>
                  </a:lnTo>
                  <a:lnTo>
                    <a:pt x="52861" y="39062"/>
                  </a:lnTo>
                  <a:lnTo>
                    <a:pt x="51525" y="39451"/>
                  </a:lnTo>
                  <a:lnTo>
                    <a:pt x="50079" y="39785"/>
                  </a:lnTo>
                  <a:lnTo>
                    <a:pt x="48632" y="40064"/>
                  </a:lnTo>
                  <a:lnTo>
                    <a:pt x="47185" y="40286"/>
                  </a:lnTo>
                  <a:lnTo>
                    <a:pt x="45627" y="40509"/>
                  </a:lnTo>
                  <a:lnTo>
                    <a:pt x="44125" y="40676"/>
                  </a:lnTo>
                  <a:lnTo>
                    <a:pt x="42567" y="40787"/>
                  </a:lnTo>
                  <a:lnTo>
                    <a:pt x="40953" y="40843"/>
                  </a:lnTo>
                  <a:lnTo>
                    <a:pt x="37782" y="40843"/>
                  </a:lnTo>
                  <a:lnTo>
                    <a:pt x="36168" y="40787"/>
                  </a:lnTo>
                  <a:lnTo>
                    <a:pt x="34610" y="40676"/>
                  </a:lnTo>
                  <a:lnTo>
                    <a:pt x="33052" y="40509"/>
                  </a:lnTo>
                  <a:lnTo>
                    <a:pt x="31550" y="40286"/>
                  </a:lnTo>
                  <a:lnTo>
                    <a:pt x="30048" y="40064"/>
                  </a:lnTo>
                  <a:lnTo>
                    <a:pt x="28601" y="39785"/>
                  </a:lnTo>
                  <a:lnTo>
                    <a:pt x="27210" y="39451"/>
                  </a:lnTo>
                  <a:lnTo>
                    <a:pt x="25819" y="39062"/>
                  </a:lnTo>
                  <a:lnTo>
                    <a:pt x="24483" y="38672"/>
                  </a:lnTo>
                  <a:lnTo>
                    <a:pt x="23148" y="38227"/>
                  </a:lnTo>
                  <a:lnTo>
                    <a:pt x="21868" y="37782"/>
                  </a:lnTo>
                  <a:lnTo>
                    <a:pt x="20644" y="37281"/>
                  </a:lnTo>
                  <a:lnTo>
                    <a:pt x="19475" y="36725"/>
                  </a:lnTo>
                  <a:lnTo>
                    <a:pt x="18363" y="36169"/>
                  </a:lnTo>
                  <a:lnTo>
                    <a:pt x="17250" y="35556"/>
                  </a:lnTo>
                  <a:lnTo>
                    <a:pt x="16193" y="34944"/>
                  </a:lnTo>
                  <a:lnTo>
                    <a:pt x="15247" y="34277"/>
                  </a:lnTo>
                  <a:lnTo>
                    <a:pt x="14301" y="33609"/>
                  </a:lnTo>
                  <a:lnTo>
                    <a:pt x="13410" y="32886"/>
                  </a:lnTo>
                  <a:lnTo>
                    <a:pt x="12631" y="32162"/>
                  </a:lnTo>
                  <a:lnTo>
                    <a:pt x="11852" y="31383"/>
                  </a:lnTo>
                  <a:lnTo>
                    <a:pt x="11185" y="30604"/>
                  </a:lnTo>
                  <a:lnTo>
                    <a:pt x="10517" y="29825"/>
                  </a:lnTo>
                  <a:lnTo>
                    <a:pt x="9961" y="28991"/>
                  </a:lnTo>
                  <a:lnTo>
                    <a:pt x="9460" y="28156"/>
                  </a:lnTo>
                  <a:lnTo>
                    <a:pt x="9070" y="27321"/>
                  </a:lnTo>
                  <a:lnTo>
                    <a:pt x="8681" y="26431"/>
                  </a:lnTo>
                  <a:lnTo>
                    <a:pt x="8403" y="25541"/>
                  </a:lnTo>
                  <a:lnTo>
                    <a:pt x="8236" y="24651"/>
                  </a:lnTo>
                  <a:lnTo>
                    <a:pt x="8069" y="23705"/>
                  </a:lnTo>
                  <a:lnTo>
                    <a:pt x="8013" y="22759"/>
                  </a:lnTo>
                  <a:lnTo>
                    <a:pt x="8069" y="21868"/>
                  </a:lnTo>
                  <a:lnTo>
                    <a:pt x="8180" y="20922"/>
                  </a:lnTo>
                  <a:lnTo>
                    <a:pt x="8403" y="20032"/>
                  </a:lnTo>
                  <a:lnTo>
                    <a:pt x="8625" y="19142"/>
                  </a:lnTo>
                  <a:lnTo>
                    <a:pt x="9015" y="18252"/>
                  </a:lnTo>
                  <a:lnTo>
                    <a:pt x="9404" y="17417"/>
                  </a:lnTo>
                  <a:lnTo>
                    <a:pt x="9905" y="16582"/>
                  </a:lnTo>
                  <a:lnTo>
                    <a:pt x="10461" y="15748"/>
                  </a:lnTo>
                  <a:lnTo>
                    <a:pt x="11073" y="14913"/>
                  </a:lnTo>
                  <a:lnTo>
                    <a:pt x="11741" y="14134"/>
                  </a:lnTo>
                  <a:lnTo>
                    <a:pt x="12520" y="13411"/>
                  </a:lnTo>
                  <a:lnTo>
                    <a:pt x="13299" y="12687"/>
                  </a:lnTo>
                  <a:lnTo>
                    <a:pt x="14189" y="11964"/>
                  </a:lnTo>
                  <a:lnTo>
                    <a:pt x="15080" y="11296"/>
                  </a:lnTo>
                  <a:lnTo>
                    <a:pt x="16081" y="10629"/>
                  </a:lnTo>
                  <a:lnTo>
                    <a:pt x="17138" y="10017"/>
                  </a:lnTo>
                  <a:lnTo>
                    <a:pt x="18196" y="9404"/>
                  </a:lnTo>
                  <a:lnTo>
                    <a:pt x="19309" y="8848"/>
                  </a:lnTo>
                  <a:lnTo>
                    <a:pt x="20477" y="8292"/>
                  </a:lnTo>
                  <a:lnTo>
                    <a:pt x="21701" y="7791"/>
                  </a:lnTo>
                  <a:lnTo>
                    <a:pt x="22981" y="7290"/>
                  </a:lnTo>
                  <a:lnTo>
                    <a:pt x="24316" y="6901"/>
                  </a:lnTo>
                  <a:lnTo>
                    <a:pt x="25652" y="6455"/>
                  </a:lnTo>
                  <a:lnTo>
                    <a:pt x="26987" y="6122"/>
                  </a:lnTo>
                  <a:lnTo>
                    <a:pt x="28434" y="5788"/>
                  </a:lnTo>
                  <a:lnTo>
                    <a:pt x="29881" y="5509"/>
                  </a:lnTo>
                  <a:lnTo>
                    <a:pt x="31383" y="5287"/>
                  </a:lnTo>
                  <a:lnTo>
                    <a:pt x="32885" y="5064"/>
                  </a:lnTo>
                  <a:lnTo>
                    <a:pt x="34388" y="4897"/>
                  </a:lnTo>
                  <a:lnTo>
                    <a:pt x="35946" y="4786"/>
                  </a:lnTo>
                  <a:lnTo>
                    <a:pt x="37559" y="4730"/>
                  </a:lnTo>
                  <a:lnTo>
                    <a:pt x="39173" y="4675"/>
                  </a:lnTo>
                  <a:close/>
                  <a:moveTo>
                    <a:pt x="39117" y="1"/>
                  </a:moveTo>
                  <a:lnTo>
                    <a:pt x="37114" y="56"/>
                  </a:lnTo>
                  <a:lnTo>
                    <a:pt x="35111" y="168"/>
                  </a:lnTo>
                  <a:lnTo>
                    <a:pt x="33163" y="279"/>
                  </a:lnTo>
                  <a:lnTo>
                    <a:pt x="31216" y="502"/>
                  </a:lnTo>
                  <a:lnTo>
                    <a:pt x="29324" y="724"/>
                  </a:lnTo>
                  <a:lnTo>
                    <a:pt x="27432" y="1058"/>
                  </a:lnTo>
                  <a:lnTo>
                    <a:pt x="25652" y="1392"/>
                  </a:lnTo>
                  <a:lnTo>
                    <a:pt x="23871" y="1837"/>
                  </a:lnTo>
                  <a:lnTo>
                    <a:pt x="22091" y="2282"/>
                  </a:lnTo>
                  <a:lnTo>
                    <a:pt x="20421" y="2783"/>
                  </a:lnTo>
                  <a:lnTo>
                    <a:pt x="18808" y="3339"/>
                  </a:lnTo>
                  <a:lnTo>
                    <a:pt x="17194" y="3896"/>
                  </a:lnTo>
                  <a:lnTo>
                    <a:pt x="15636" y="4564"/>
                  </a:lnTo>
                  <a:lnTo>
                    <a:pt x="14189" y="5231"/>
                  </a:lnTo>
                  <a:lnTo>
                    <a:pt x="12743" y="5955"/>
                  </a:lnTo>
                  <a:lnTo>
                    <a:pt x="11407" y="6678"/>
                  </a:lnTo>
                  <a:lnTo>
                    <a:pt x="10072" y="7457"/>
                  </a:lnTo>
                  <a:lnTo>
                    <a:pt x="8848" y="8292"/>
                  </a:lnTo>
                  <a:lnTo>
                    <a:pt x="7679" y="9182"/>
                  </a:lnTo>
                  <a:lnTo>
                    <a:pt x="6622" y="10072"/>
                  </a:lnTo>
                  <a:lnTo>
                    <a:pt x="5620" y="10962"/>
                  </a:lnTo>
                  <a:lnTo>
                    <a:pt x="4675" y="11908"/>
                  </a:lnTo>
                  <a:lnTo>
                    <a:pt x="3784" y="12910"/>
                  </a:lnTo>
                  <a:lnTo>
                    <a:pt x="3005" y="13911"/>
                  </a:lnTo>
                  <a:lnTo>
                    <a:pt x="2338" y="14969"/>
                  </a:lnTo>
                  <a:lnTo>
                    <a:pt x="1726" y="16026"/>
                  </a:lnTo>
                  <a:lnTo>
                    <a:pt x="1169" y="17083"/>
                  </a:lnTo>
                  <a:lnTo>
                    <a:pt x="780" y="18196"/>
                  </a:lnTo>
                  <a:lnTo>
                    <a:pt x="390" y="19309"/>
                  </a:lnTo>
                  <a:lnTo>
                    <a:pt x="168" y="20477"/>
                  </a:lnTo>
                  <a:lnTo>
                    <a:pt x="1" y="21590"/>
                  </a:lnTo>
                  <a:lnTo>
                    <a:pt x="1" y="22759"/>
                  </a:lnTo>
                  <a:lnTo>
                    <a:pt x="56" y="23927"/>
                  </a:lnTo>
                  <a:lnTo>
                    <a:pt x="223" y="25096"/>
                  </a:lnTo>
                  <a:lnTo>
                    <a:pt x="446" y="26264"/>
                  </a:lnTo>
                  <a:lnTo>
                    <a:pt x="780" y="27377"/>
                  </a:lnTo>
                  <a:lnTo>
                    <a:pt x="1225" y="28490"/>
                  </a:lnTo>
                  <a:lnTo>
                    <a:pt x="1781" y="29547"/>
                  </a:lnTo>
                  <a:lnTo>
                    <a:pt x="2393" y="30604"/>
                  </a:lnTo>
                  <a:lnTo>
                    <a:pt x="3117" y="31661"/>
                  </a:lnTo>
                  <a:lnTo>
                    <a:pt x="3896" y="32663"/>
                  </a:lnTo>
                  <a:lnTo>
                    <a:pt x="4786" y="33609"/>
                  </a:lnTo>
                  <a:lnTo>
                    <a:pt x="5732" y="34555"/>
                  </a:lnTo>
                  <a:lnTo>
                    <a:pt x="6733" y="35501"/>
                  </a:lnTo>
                  <a:lnTo>
                    <a:pt x="7846" y="36391"/>
                  </a:lnTo>
                  <a:lnTo>
                    <a:pt x="9015" y="37226"/>
                  </a:lnTo>
                  <a:lnTo>
                    <a:pt x="10294" y="38060"/>
                  </a:lnTo>
                  <a:lnTo>
                    <a:pt x="11574" y="38839"/>
                  </a:lnTo>
                  <a:lnTo>
                    <a:pt x="12965" y="39618"/>
                  </a:lnTo>
                  <a:lnTo>
                    <a:pt x="14356" y="40342"/>
                  </a:lnTo>
                  <a:lnTo>
                    <a:pt x="15859" y="41009"/>
                  </a:lnTo>
                  <a:lnTo>
                    <a:pt x="17417" y="41621"/>
                  </a:lnTo>
                  <a:lnTo>
                    <a:pt x="18975" y="42234"/>
                  </a:lnTo>
                  <a:lnTo>
                    <a:pt x="20644" y="42790"/>
                  </a:lnTo>
                  <a:lnTo>
                    <a:pt x="22369" y="43291"/>
                  </a:lnTo>
                  <a:lnTo>
                    <a:pt x="24094" y="43736"/>
                  </a:lnTo>
                  <a:lnTo>
                    <a:pt x="25874" y="44125"/>
                  </a:lnTo>
                  <a:lnTo>
                    <a:pt x="27711" y="44515"/>
                  </a:lnTo>
                  <a:lnTo>
                    <a:pt x="29547" y="44793"/>
                  </a:lnTo>
                  <a:lnTo>
                    <a:pt x="31494" y="45071"/>
                  </a:lnTo>
                  <a:lnTo>
                    <a:pt x="33386" y="45294"/>
                  </a:lnTo>
                  <a:lnTo>
                    <a:pt x="35389" y="45405"/>
                  </a:lnTo>
                  <a:lnTo>
                    <a:pt x="37392" y="45516"/>
                  </a:lnTo>
                  <a:lnTo>
                    <a:pt x="41399" y="45516"/>
                  </a:lnTo>
                  <a:lnTo>
                    <a:pt x="43402" y="45405"/>
                  </a:lnTo>
                  <a:lnTo>
                    <a:pt x="45349" y="45294"/>
                  </a:lnTo>
                  <a:lnTo>
                    <a:pt x="47297" y="45071"/>
                  </a:lnTo>
                  <a:lnTo>
                    <a:pt x="49188" y="44793"/>
                  </a:lnTo>
                  <a:lnTo>
                    <a:pt x="51080" y="44515"/>
                  </a:lnTo>
                  <a:lnTo>
                    <a:pt x="52861" y="44125"/>
                  </a:lnTo>
                  <a:lnTo>
                    <a:pt x="54641" y="43736"/>
                  </a:lnTo>
                  <a:lnTo>
                    <a:pt x="56422" y="43291"/>
                  </a:lnTo>
                  <a:lnTo>
                    <a:pt x="58091" y="42790"/>
                  </a:lnTo>
                  <a:lnTo>
                    <a:pt x="59761" y="42234"/>
                  </a:lnTo>
                  <a:lnTo>
                    <a:pt x="61319" y="41621"/>
                  </a:lnTo>
                  <a:lnTo>
                    <a:pt x="62877" y="41009"/>
                  </a:lnTo>
                  <a:lnTo>
                    <a:pt x="64323" y="40342"/>
                  </a:lnTo>
                  <a:lnTo>
                    <a:pt x="65770" y="39618"/>
                  </a:lnTo>
                  <a:lnTo>
                    <a:pt x="67105" y="38839"/>
                  </a:lnTo>
                  <a:lnTo>
                    <a:pt x="68441" y="38060"/>
                  </a:lnTo>
                  <a:lnTo>
                    <a:pt x="69665" y="37226"/>
                  </a:lnTo>
                  <a:lnTo>
                    <a:pt x="70833" y="36391"/>
                  </a:lnTo>
                  <a:lnTo>
                    <a:pt x="71891" y="35501"/>
                  </a:lnTo>
                  <a:lnTo>
                    <a:pt x="72892" y="34555"/>
                  </a:lnTo>
                  <a:lnTo>
                    <a:pt x="73838" y="33609"/>
                  </a:lnTo>
                  <a:lnTo>
                    <a:pt x="74728" y="32663"/>
                  </a:lnTo>
                  <a:lnTo>
                    <a:pt x="75507" y="31661"/>
                  </a:lnTo>
                  <a:lnTo>
                    <a:pt x="76175" y="30604"/>
                  </a:lnTo>
                  <a:lnTo>
                    <a:pt x="76787" y="29547"/>
                  </a:lnTo>
                  <a:lnTo>
                    <a:pt x="77344" y="28490"/>
                  </a:lnTo>
                  <a:lnTo>
                    <a:pt x="77789" y="27377"/>
                  </a:lnTo>
                  <a:lnTo>
                    <a:pt x="78123" y="26264"/>
                  </a:lnTo>
                  <a:lnTo>
                    <a:pt x="78345" y="25096"/>
                  </a:lnTo>
                  <a:lnTo>
                    <a:pt x="78512" y="23927"/>
                  </a:lnTo>
                  <a:lnTo>
                    <a:pt x="78512" y="22759"/>
                  </a:lnTo>
                  <a:lnTo>
                    <a:pt x="78456" y="21590"/>
                  </a:lnTo>
                  <a:lnTo>
                    <a:pt x="78345" y="20477"/>
                  </a:lnTo>
                  <a:lnTo>
                    <a:pt x="78067" y="19309"/>
                  </a:lnTo>
                  <a:lnTo>
                    <a:pt x="77733" y="18196"/>
                  </a:lnTo>
                  <a:lnTo>
                    <a:pt x="77288" y="17083"/>
                  </a:lnTo>
                  <a:lnTo>
                    <a:pt x="76731" y="16026"/>
                  </a:lnTo>
                  <a:lnTo>
                    <a:pt x="76119" y="14969"/>
                  </a:lnTo>
                  <a:lnTo>
                    <a:pt x="75396" y="13911"/>
                  </a:lnTo>
                  <a:lnTo>
                    <a:pt x="74617" y="12910"/>
                  </a:lnTo>
                  <a:lnTo>
                    <a:pt x="73727" y="11908"/>
                  </a:lnTo>
                  <a:lnTo>
                    <a:pt x="72781" y="10962"/>
                  </a:lnTo>
                  <a:lnTo>
                    <a:pt x="71779" y="10072"/>
                  </a:lnTo>
                  <a:lnTo>
                    <a:pt x="70666" y="9182"/>
                  </a:lnTo>
                  <a:lnTo>
                    <a:pt x="69498" y="8292"/>
                  </a:lnTo>
                  <a:lnTo>
                    <a:pt x="68274" y="7457"/>
                  </a:lnTo>
                  <a:lnTo>
                    <a:pt x="66938" y="6678"/>
                  </a:lnTo>
                  <a:lnTo>
                    <a:pt x="65547" y="5955"/>
                  </a:lnTo>
                  <a:lnTo>
                    <a:pt x="64156" y="5231"/>
                  </a:lnTo>
                  <a:lnTo>
                    <a:pt x="62654" y="4564"/>
                  </a:lnTo>
                  <a:lnTo>
                    <a:pt x="61096" y="3896"/>
                  </a:lnTo>
                  <a:lnTo>
                    <a:pt x="59538" y="3339"/>
                  </a:lnTo>
                  <a:lnTo>
                    <a:pt x="57869" y="2783"/>
                  </a:lnTo>
                  <a:lnTo>
                    <a:pt x="56199" y="2282"/>
                  </a:lnTo>
                  <a:lnTo>
                    <a:pt x="54419" y="1837"/>
                  </a:lnTo>
                  <a:lnTo>
                    <a:pt x="52638" y="1392"/>
                  </a:lnTo>
                  <a:lnTo>
                    <a:pt x="50802" y="1058"/>
                  </a:lnTo>
                  <a:lnTo>
                    <a:pt x="48966" y="724"/>
                  </a:lnTo>
                  <a:lnTo>
                    <a:pt x="47074" y="502"/>
                  </a:lnTo>
                  <a:lnTo>
                    <a:pt x="45127" y="279"/>
                  </a:lnTo>
                  <a:lnTo>
                    <a:pt x="43123" y="168"/>
                  </a:lnTo>
                  <a:lnTo>
                    <a:pt x="41176" y="56"/>
                  </a:lnTo>
                  <a:lnTo>
                    <a:pt x="39117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" name="Google Shape;2317;p60">
              <a:extLst>
                <a:ext uri="{FF2B5EF4-FFF2-40B4-BE49-F238E27FC236}">
                  <a16:creationId xmlns:a16="http://schemas.microsoft.com/office/drawing/2014/main" id="{7388DB39-28A5-F016-315F-744ECFC57D69}"/>
                </a:ext>
              </a:extLst>
            </p:cNvPr>
            <p:cNvSpPr/>
            <p:nvPr/>
          </p:nvSpPr>
          <p:spPr>
            <a:xfrm>
              <a:off x="1780425" y="4568500"/>
              <a:ext cx="1560800" cy="849975"/>
            </a:xfrm>
            <a:custGeom>
              <a:avLst/>
              <a:gdLst/>
              <a:ahLst/>
              <a:cxnLst/>
              <a:rect l="l" t="t" r="r" b="b"/>
              <a:pathLst>
                <a:path w="62432" h="33999" extrusionOk="0">
                  <a:moveTo>
                    <a:pt x="45906" y="0"/>
                  </a:moveTo>
                  <a:lnTo>
                    <a:pt x="44570" y="779"/>
                  </a:lnTo>
                  <a:lnTo>
                    <a:pt x="43124" y="1558"/>
                  </a:lnTo>
                  <a:lnTo>
                    <a:pt x="41621" y="2282"/>
                  </a:lnTo>
                  <a:lnTo>
                    <a:pt x="40063" y="2949"/>
                  </a:lnTo>
                  <a:lnTo>
                    <a:pt x="38450" y="3562"/>
                  </a:lnTo>
                  <a:lnTo>
                    <a:pt x="36780" y="4118"/>
                  </a:lnTo>
                  <a:lnTo>
                    <a:pt x="35055" y="4674"/>
                  </a:lnTo>
                  <a:lnTo>
                    <a:pt x="33275" y="5120"/>
                  </a:lnTo>
                  <a:lnTo>
                    <a:pt x="31439" y="5565"/>
                  </a:lnTo>
                  <a:lnTo>
                    <a:pt x="29602" y="5954"/>
                  </a:lnTo>
                  <a:lnTo>
                    <a:pt x="27655" y="6288"/>
                  </a:lnTo>
                  <a:lnTo>
                    <a:pt x="25708" y="6511"/>
                  </a:lnTo>
                  <a:lnTo>
                    <a:pt x="23760" y="6733"/>
                  </a:lnTo>
                  <a:lnTo>
                    <a:pt x="21701" y="6900"/>
                  </a:lnTo>
                  <a:lnTo>
                    <a:pt x="19698" y="7011"/>
                  </a:lnTo>
                  <a:lnTo>
                    <a:pt x="15970" y="7011"/>
                  </a:lnTo>
                  <a:lnTo>
                    <a:pt x="14412" y="6956"/>
                  </a:lnTo>
                  <a:lnTo>
                    <a:pt x="12798" y="6844"/>
                  </a:lnTo>
                  <a:lnTo>
                    <a:pt x="11240" y="6733"/>
                  </a:lnTo>
                  <a:lnTo>
                    <a:pt x="9682" y="6566"/>
                  </a:lnTo>
                  <a:lnTo>
                    <a:pt x="8180" y="6344"/>
                  </a:lnTo>
                  <a:lnTo>
                    <a:pt x="6678" y="6121"/>
                  </a:lnTo>
                  <a:lnTo>
                    <a:pt x="5231" y="5843"/>
                  </a:lnTo>
                  <a:lnTo>
                    <a:pt x="4063" y="6956"/>
                  </a:lnTo>
                  <a:lnTo>
                    <a:pt x="3506" y="7568"/>
                  </a:lnTo>
                  <a:lnTo>
                    <a:pt x="3005" y="8124"/>
                  </a:lnTo>
                  <a:lnTo>
                    <a:pt x="2560" y="8736"/>
                  </a:lnTo>
                  <a:lnTo>
                    <a:pt x="2115" y="9348"/>
                  </a:lnTo>
                  <a:lnTo>
                    <a:pt x="1726" y="9960"/>
                  </a:lnTo>
                  <a:lnTo>
                    <a:pt x="1336" y="10572"/>
                  </a:lnTo>
                  <a:lnTo>
                    <a:pt x="1058" y="11240"/>
                  </a:lnTo>
                  <a:lnTo>
                    <a:pt x="780" y="11852"/>
                  </a:lnTo>
                  <a:lnTo>
                    <a:pt x="557" y="12520"/>
                  </a:lnTo>
                  <a:lnTo>
                    <a:pt x="335" y="13188"/>
                  </a:lnTo>
                  <a:lnTo>
                    <a:pt x="168" y="13855"/>
                  </a:lnTo>
                  <a:lnTo>
                    <a:pt x="56" y="14523"/>
                  </a:lnTo>
                  <a:lnTo>
                    <a:pt x="1" y="15246"/>
                  </a:lnTo>
                  <a:lnTo>
                    <a:pt x="1" y="15914"/>
                  </a:lnTo>
                  <a:lnTo>
                    <a:pt x="56" y="16860"/>
                  </a:lnTo>
                  <a:lnTo>
                    <a:pt x="168" y="17750"/>
                  </a:lnTo>
                  <a:lnTo>
                    <a:pt x="390" y="18696"/>
                  </a:lnTo>
                  <a:lnTo>
                    <a:pt x="668" y="19587"/>
                  </a:lnTo>
                  <a:lnTo>
                    <a:pt x="1002" y="20421"/>
                  </a:lnTo>
                  <a:lnTo>
                    <a:pt x="1447" y="21312"/>
                  </a:lnTo>
                  <a:lnTo>
                    <a:pt x="1948" y="22146"/>
                  </a:lnTo>
                  <a:lnTo>
                    <a:pt x="2505" y="22981"/>
                  </a:lnTo>
                  <a:lnTo>
                    <a:pt x="3117" y="23760"/>
                  </a:lnTo>
                  <a:lnTo>
                    <a:pt x="3840" y="24539"/>
                  </a:lnTo>
                  <a:lnTo>
                    <a:pt x="4563" y="25318"/>
                  </a:lnTo>
                  <a:lnTo>
                    <a:pt x="5398" y="26041"/>
                  </a:lnTo>
                  <a:lnTo>
                    <a:pt x="6288" y="26764"/>
                  </a:lnTo>
                  <a:lnTo>
                    <a:pt x="7179" y="27432"/>
                  </a:lnTo>
                  <a:lnTo>
                    <a:pt x="8180" y="28100"/>
                  </a:lnTo>
                  <a:lnTo>
                    <a:pt x="9237" y="28712"/>
                  </a:lnTo>
                  <a:lnTo>
                    <a:pt x="10295" y="29324"/>
                  </a:lnTo>
                  <a:lnTo>
                    <a:pt x="11463" y="29880"/>
                  </a:lnTo>
                  <a:lnTo>
                    <a:pt x="12632" y="30437"/>
                  </a:lnTo>
                  <a:lnTo>
                    <a:pt x="13856" y="30938"/>
                  </a:lnTo>
                  <a:lnTo>
                    <a:pt x="15135" y="31383"/>
                  </a:lnTo>
                  <a:lnTo>
                    <a:pt x="16415" y="31828"/>
                  </a:lnTo>
                  <a:lnTo>
                    <a:pt x="17751" y="32217"/>
                  </a:lnTo>
                  <a:lnTo>
                    <a:pt x="19142" y="32607"/>
                  </a:lnTo>
                  <a:lnTo>
                    <a:pt x="20588" y="32885"/>
                  </a:lnTo>
                  <a:lnTo>
                    <a:pt x="22035" y="33219"/>
                  </a:lnTo>
                  <a:lnTo>
                    <a:pt x="23537" y="33442"/>
                  </a:lnTo>
                  <a:lnTo>
                    <a:pt x="25040" y="33664"/>
                  </a:lnTo>
                  <a:lnTo>
                    <a:pt x="26542" y="33775"/>
                  </a:lnTo>
                  <a:lnTo>
                    <a:pt x="28156" y="33887"/>
                  </a:lnTo>
                  <a:lnTo>
                    <a:pt x="29714" y="33998"/>
                  </a:lnTo>
                  <a:lnTo>
                    <a:pt x="32941" y="33998"/>
                  </a:lnTo>
                  <a:lnTo>
                    <a:pt x="34499" y="33942"/>
                  </a:lnTo>
                  <a:lnTo>
                    <a:pt x="36057" y="33775"/>
                  </a:lnTo>
                  <a:lnTo>
                    <a:pt x="37615" y="33664"/>
                  </a:lnTo>
                  <a:lnTo>
                    <a:pt x="39117" y="33442"/>
                  </a:lnTo>
                  <a:lnTo>
                    <a:pt x="40620" y="33219"/>
                  </a:lnTo>
                  <a:lnTo>
                    <a:pt x="42066" y="32885"/>
                  </a:lnTo>
                  <a:lnTo>
                    <a:pt x="43457" y="32607"/>
                  </a:lnTo>
                  <a:lnTo>
                    <a:pt x="44849" y="32217"/>
                  </a:lnTo>
                  <a:lnTo>
                    <a:pt x="46184" y="31828"/>
                  </a:lnTo>
                  <a:lnTo>
                    <a:pt x="47519" y="31383"/>
                  </a:lnTo>
                  <a:lnTo>
                    <a:pt x="48743" y="30938"/>
                  </a:lnTo>
                  <a:lnTo>
                    <a:pt x="49968" y="30437"/>
                  </a:lnTo>
                  <a:lnTo>
                    <a:pt x="51136" y="29880"/>
                  </a:lnTo>
                  <a:lnTo>
                    <a:pt x="52305" y="29324"/>
                  </a:lnTo>
                  <a:lnTo>
                    <a:pt x="53362" y="28712"/>
                  </a:lnTo>
                  <a:lnTo>
                    <a:pt x="54419" y="28100"/>
                  </a:lnTo>
                  <a:lnTo>
                    <a:pt x="55365" y="27432"/>
                  </a:lnTo>
                  <a:lnTo>
                    <a:pt x="56311" y="26764"/>
                  </a:lnTo>
                  <a:lnTo>
                    <a:pt x="57145" y="26041"/>
                  </a:lnTo>
                  <a:lnTo>
                    <a:pt x="57980" y="25318"/>
                  </a:lnTo>
                  <a:lnTo>
                    <a:pt x="58703" y="24539"/>
                  </a:lnTo>
                  <a:lnTo>
                    <a:pt x="59427" y="23760"/>
                  </a:lnTo>
                  <a:lnTo>
                    <a:pt x="60039" y="22981"/>
                  </a:lnTo>
                  <a:lnTo>
                    <a:pt x="60595" y="22146"/>
                  </a:lnTo>
                  <a:lnTo>
                    <a:pt x="61040" y="21312"/>
                  </a:lnTo>
                  <a:lnTo>
                    <a:pt x="61486" y="20477"/>
                  </a:lnTo>
                  <a:lnTo>
                    <a:pt x="61819" y="19587"/>
                  </a:lnTo>
                  <a:lnTo>
                    <a:pt x="62098" y="18696"/>
                  </a:lnTo>
                  <a:lnTo>
                    <a:pt x="62265" y="17806"/>
                  </a:lnTo>
                  <a:lnTo>
                    <a:pt x="62376" y="16860"/>
                  </a:lnTo>
                  <a:lnTo>
                    <a:pt x="62432" y="15914"/>
                  </a:lnTo>
                  <a:lnTo>
                    <a:pt x="62376" y="15024"/>
                  </a:lnTo>
                  <a:lnTo>
                    <a:pt x="62265" y="14078"/>
                  </a:lnTo>
                  <a:lnTo>
                    <a:pt x="62042" y="13188"/>
                  </a:lnTo>
                  <a:lnTo>
                    <a:pt x="61764" y="12297"/>
                  </a:lnTo>
                  <a:lnTo>
                    <a:pt x="61430" y="11407"/>
                  </a:lnTo>
                  <a:lnTo>
                    <a:pt x="60985" y="10572"/>
                  </a:lnTo>
                  <a:lnTo>
                    <a:pt x="60484" y="9738"/>
                  </a:lnTo>
                  <a:lnTo>
                    <a:pt x="59928" y="8903"/>
                  </a:lnTo>
                  <a:lnTo>
                    <a:pt x="59316" y="8069"/>
                  </a:lnTo>
                  <a:lnTo>
                    <a:pt x="58592" y="7290"/>
                  </a:lnTo>
                  <a:lnTo>
                    <a:pt x="57869" y="6566"/>
                  </a:lnTo>
                  <a:lnTo>
                    <a:pt x="57034" y="5843"/>
                  </a:lnTo>
                  <a:lnTo>
                    <a:pt x="56144" y="5120"/>
                  </a:lnTo>
                  <a:lnTo>
                    <a:pt x="55254" y="4452"/>
                  </a:lnTo>
                  <a:lnTo>
                    <a:pt x="54252" y="3784"/>
                  </a:lnTo>
                  <a:lnTo>
                    <a:pt x="53195" y="3116"/>
                  </a:lnTo>
                  <a:lnTo>
                    <a:pt x="51526" y="2226"/>
                  </a:lnTo>
                  <a:lnTo>
                    <a:pt x="49745" y="1447"/>
                  </a:lnTo>
                  <a:lnTo>
                    <a:pt x="47909" y="668"/>
                  </a:lnTo>
                  <a:lnTo>
                    <a:pt x="45906" y="0"/>
                  </a:ln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" name="Google Shape;2318;p60">
              <a:extLst>
                <a:ext uri="{FF2B5EF4-FFF2-40B4-BE49-F238E27FC236}">
                  <a16:creationId xmlns:a16="http://schemas.microsoft.com/office/drawing/2014/main" id="{2961373C-C619-826B-74BE-602584151981}"/>
                </a:ext>
              </a:extLst>
            </p:cNvPr>
            <p:cNvSpPr/>
            <p:nvPr/>
          </p:nvSpPr>
          <p:spPr>
            <a:xfrm>
              <a:off x="1780425" y="4568500"/>
              <a:ext cx="1560800" cy="849975"/>
            </a:xfrm>
            <a:custGeom>
              <a:avLst/>
              <a:gdLst/>
              <a:ahLst/>
              <a:cxnLst/>
              <a:rect l="l" t="t" r="r" b="b"/>
              <a:pathLst>
                <a:path w="62432" h="33999" fill="none" extrusionOk="0">
                  <a:moveTo>
                    <a:pt x="45906" y="0"/>
                  </a:moveTo>
                  <a:lnTo>
                    <a:pt x="45906" y="0"/>
                  </a:lnTo>
                  <a:lnTo>
                    <a:pt x="44570" y="779"/>
                  </a:lnTo>
                  <a:lnTo>
                    <a:pt x="43124" y="1558"/>
                  </a:lnTo>
                  <a:lnTo>
                    <a:pt x="41621" y="2282"/>
                  </a:lnTo>
                  <a:lnTo>
                    <a:pt x="40063" y="2949"/>
                  </a:lnTo>
                  <a:lnTo>
                    <a:pt x="38450" y="3562"/>
                  </a:lnTo>
                  <a:lnTo>
                    <a:pt x="36780" y="4118"/>
                  </a:lnTo>
                  <a:lnTo>
                    <a:pt x="35055" y="4674"/>
                  </a:lnTo>
                  <a:lnTo>
                    <a:pt x="33275" y="5120"/>
                  </a:lnTo>
                  <a:lnTo>
                    <a:pt x="31439" y="5565"/>
                  </a:lnTo>
                  <a:lnTo>
                    <a:pt x="29602" y="5954"/>
                  </a:lnTo>
                  <a:lnTo>
                    <a:pt x="27655" y="6288"/>
                  </a:lnTo>
                  <a:lnTo>
                    <a:pt x="25708" y="6511"/>
                  </a:lnTo>
                  <a:lnTo>
                    <a:pt x="23760" y="6733"/>
                  </a:lnTo>
                  <a:lnTo>
                    <a:pt x="21701" y="6900"/>
                  </a:lnTo>
                  <a:lnTo>
                    <a:pt x="19698" y="7011"/>
                  </a:lnTo>
                  <a:lnTo>
                    <a:pt x="17584" y="7011"/>
                  </a:lnTo>
                  <a:lnTo>
                    <a:pt x="17584" y="7011"/>
                  </a:lnTo>
                  <a:lnTo>
                    <a:pt x="15970" y="7011"/>
                  </a:lnTo>
                  <a:lnTo>
                    <a:pt x="14412" y="6956"/>
                  </a:lnTo>
                  <a:lnTo>
                    <a:pt x="12798" y="6844"/>
                  </a:lnTo>
                  <a:lnTo>
                    <a:pt x="11240" y="6733"/>
                  </a:lnTo>
                  <a:lnTo>
                    <a:pt x="9682" y="6566"/>
                  </a:lnTo>
                  <a:lnTo>
                    <a:pt x="8180" y="6344"/>
                  </a:lnTo>
                  <a:lnTo>
                    <a:pt x="6678" y="6121"/>
                  </a:lnTo>
                  <a:lnTo>
                    <a:pt x="5231" y="5843"/>
                  </a:lnTo>
                  <a:lnTo>
                    <a:pt x="5231" y="5843"/>
                  </a:lnTo>
                  <a:lnTo>
                    <a:pt x="4063" y="6956"/>
                  </a:lnTo>
                  <a:lnTo>
                    <a:pt x="3506" y="7568"/>
                  </a:lnTo>
                  <a:lnTo>
                    <a:pt x="3005" y="8124"/>
                  </a:lnTo>
                  <a:lnTo>
                    <a:pt x="2560" y="8736"/>
                  </a:lnTo>
                  <a:lnTo>
                    <a:pt x="2115" y="9348"/>
                  </a:lnTo>
                  <a:lnTo>
                    <a:pt x="1726" y="9960"/>
                  </a:lnTo>
                  <a:lnTo>
                    <a:pt x="1336" y="10572"/>
                  </a:lnTo>
                  <a:lnTo>
                    <a:pt x="1058" y="11240"/>
                  </a:lnTo>
                  <a:lnTo>
                    <a:pt x="780" y="11852"/>
                  </a:lnTo>
                  <a:lnTo>
                    <a:pt x="557" y="12520"/>
                  </a:lnTo>
                  <a:lnTo>
                    <a:pt x="335" y="13188"/>
                  </a:lnTo>
                  <a:lnTo>
                    <a:pt x="168" y="13855"/>
                  </a:lnTo>
                  <a:lnTo>
                    <a:pt x="56" y="14523"/>
                  </a:lnTo>
                  <a:lnTo>
                    <a:pt x="1" y="15246"/>
                  </a:lnTo>
                  <a:lnTo>
                    <a:pt x="1" y="15914"/>
                  </a:lnTo>
                  <a:lnTo>
                    <a:pt x="1" y="15914"/>
                  </a:lnTo>
                  <a:lnTo>
                    <a:pt x="56" y="16860"/>
                  </a:lnTo>
                  <a:lnTo>
                    <a:pt x="168" y="17750"/>
                  </a:lnTo>
                  <a:lnTo>
                    <a:pt x="390" y="18696"/>
                  </a:lnTo>
                  <a:lnTo>
                    <a:pt x="668" y="19587"/>
                  </a:lnTo>
                  <a:lnTo>
                    <a:pt x="1002" y="20421"/>
                  </a:lnTo>
                  <a:lnTo>
                    <a:pt x="1447" y="21312"/>
                  </a:lnTo>
                  <a:lnTo>
                    <a:pt x="1948" y="22146"/>
                  </a:lnTo>
                  <a:lnTo>
                    <a:pt x="2505" y="22981"/>
                  </a:lnTo>
                  <a:lnTo>
                    <a:pt x="3117" y="23760"/>
                  </a:lnTo>
                  <a:lnTo>
                    <a:pt x="3840" y="24539"/>
                  </a:lnTo>
                  <a:lnTo>
                    <a:pt x="4563" y="25318"/>
                  </a:lnTo>
                  <a:lnTo>
                    <a:pt x="5398" y="26041"/>
                  </a:lnTo>
                  <a:lnTo>
                    <a:pt x="6288" y="26764"/>
                  </a:lnTo>
                  <a:lnTo>
                    <a:pt x="7179" y="27432"/>
                  </a:lnTo>
                  <a:lnTo>
                    <a:pt x="8180" y="28100"/>
                  </a:lnTo>
                  <a:lnTo>
                    <a:pt x="9237" y="28712"/>
                  </a:lnTo>
                  <a:lnTo>
                    <a:pt x="9237" y="28712"/>
                  </a:lnTo>
                  <a:lnTo>
                    <a:pt x="10295" y="29324"/>
                  </a:lnTo>
                  <a:lnTo>
                    <a:pt x="11463" y="29880"/>
                  </a:lnTo>
                  <a:lnTo>
                    <a:pt x="12632" y="30437"/>
                  </a:lnTo>
                  <a:lnTo>
                    <a:pt x="13856" y="30938"/>
                  </a:lnTo>
                  <a:lnTo>
                    <a:pt x="15135" y="31383"/>
                  </a:lnTo>
                  <a:lnTo>
                    <a:pt x="16415" y="31828"/>
                  </a:lnTo>
                  <a:lnTo>
                    <a:pt x="17751" y="32217"/>
                  </a:lnTo>
                  <a:lnTo>
                    <a:pt x="19142" y="32607"/>
                  </a:lnTo>
                  <a:lnTo>
                    <a:pt x="20588" y="32885"/>
                  </a:lnTo>
                  <a:lnTo>
                    <a:pt x="22035" y="33219"/>
                  </a:lnTo>
                  <a:lnTo>
                    <a:pt x="23537" y="33442"/>
                  </a:lnTo>
                  <a:lnTo>
                    <a:pt x="25040" y="33664"/>
                  </a:lnTo>
                  <a:lnTo>
                    <a:pt x="26542" y="33775"/>
                  </a:lnTo>
                  <a:lnTo>
                    <a:pt x="28156" y="33887"/>
                  </a:lnTo>
                  <a:lnTo>
                    <a:pt x="29714" y="33998"/>
                  </a:lnTo>
                  <a:lnTo>
                    <a:pt x="31327" y="33998"/>
                  </a:lnTo>
                  <a:lnTo>
                    <a:pt x="31327" y="33998"/>
                  </a:lnTo>
                  <a:lnTo>
                    <a:pt x="32941" y="33998"/>
                  </a:lnTo>
                  <a:lnTo>
                    <a:pt x="34499" y="33942"/>
                  </a:lnTo>
                  <a:lnTo>
                    <a:pt x="36057" y="33775"/>
                  </a:lnTo>
                  <a:lnTo>
                    <a:pt x="37615" y="33664"/>
                  </a:lnTo>
                  <a:lnTo>
                    <a:pt x="39117" y="33442"/>
                  </a:lnTo>
                  <a:lnTo>
                    <a:pt x="40620" y="33219"/>
                  </a:lnTo>
                  <a:lnTo>
                    <a:pt x="42066" y="32885"/>
                  </a:lnTo>
                  <a:lnTo>
                    <a:pt x="43457" y="32607"/>
                  </a:lnTo>
                  <a:lnTo>
                    <a:pt x="44849" y="32217"/>
                  </a:lnTo>
                  <a:lnTo>
                    <a:pt x="46184" y="31828"/>
                  </a:lnTo>
                  <a:lnTo>
                    <a:pt x="47519" y="31383"/>
                  </a:lnTo>
                  <a:lnTo>
                    <a:pt x="48743" y="30938"/>
                  </a:lnTo>
                  <a:lnTo>
                    <a:pt x="49968" y="30437"/>
                  </a:lnTo>
                  <a:lnTo>
                    <a:pt x="51136" y="29880"/>
                  </a:lnTo>
                  <a:lnTo>
                    <a:pt x="52305" y="29324"/>
                  </a:lnTo>
                  <a:lnTo>
                    <a:pt x="53362" y="28712"/>
                  </a:lnTo>
                  <a:lnTo>
                    <a:pt x="54419" y="28100"/>
                  </a:lnTo>
                  <a:lnTo>
                    <a:pt x="55365" y="27432"/>
                  </a:lnTo>
                  <a:lnTo>
                    <a:pt x="56311" y="26764"/>
                  </a:lnTo>
                  <a:lnTo>
                    <a:pt x="57145" y="26041"/>
                  </a:lnTo>
                  <a:lnTo>
                    <a:pt x="57980" y="25318"/>
                  </a:lnTo>
                  <a:lnTo>
                    <a:pt x="58703" y="24539"/>
                  </a:lnTo>
                  <a:lnTo>
                    <a:pt x="59427" y="23760"/>
                  </a:lnTo>
                  <a:lnTo>
                    <a:pt x="60039" y="22981"/>
                  </a:lnTo>
                  <a:lnTo>
                    <a:pt x="60595" y="22146"/>
                  </a:lnTo>
                  <a:lnTo>
                    <a:pt x="61040" y="21312"/>
                  </a:lnTo>
                  <a:lnTo>
                    <a:pt x="61486" y="20477"/>
                  </a:lnTo>
                  <a:lnTo>
                    <a:pt x="61819" y="19587"/>
                  </a:lnTo>
                  <a:lnTo>
                    <a:pt x="62098" y="18696"/>
                  </a:lnTo>
                  <a:lnTo>
                    <a:pt x="62265" y="17806"/>
                  </a:lnTo>
                  <a:lnTo>
                    <a:pt x="62376" y="16860"/>
                  </a:lnTo>
                  <a:lnTo>
                    <a:pt x="62432" y="15914"/>
                  </a:lnTo>
                  <a:lnTo>
                    <a:pt x="62432" y="15914"/>
                  </a:lnTo>
                  <a:lnTo>
                    <a:pt x="62376" y="15024"/>
                  </a:lnTo>
                  <a:lnTo>
                    <a:pt x="62265" y="14078"/>
                  </a:lnTo>
                  <a:lnTo>
                    <a:pt x="62042" y="13188"/>
                  </a:lnTo>
                  <a:lnTo>
                    <a:pt x="61764" y="12297"/>
                  </a:lnTo>
                  <a:lnTo>
                    <a:pt x="61430" y="11407"/>
                  </a:lnTo>
                  <a:lnTo>
                    <a:pt x="60985" y="10572"/>
                  </a:lnTo>
                  <a:lnTo>
                    <a:pt x="60484" y="9738"/>
                  </a:lnTo>
                  <a:lnTo>
                    <a:pt x="59928" y="8903"/>
                  </a:lnTo>
                  <a:lnTo>
                    <a:pt x="59316" y="8069"/>
                  </a:lnTo>
                  <a:lnTo>
                    <a:pt x="58592" y="7290"/>
                  </a:lnTo>
                  <a:lnTo>
                    <a:pt x="57869" y="6566"/>
                  </a:lnTo>
                  <a:lnTo>
                    <a:pt x="57034" y="5843"/>
                  </a:lnTo>
                  <a:lnTo>
                    <a:pt x="56144" y="5120"/>
                  </a:lnTo>
                  <a:lnTo>
                    <a:pt x="55254" y="4452"/>
                  </a:lnTo>
                  <a:lnTo>
                    <a:pt x="54252" y="3784"/>
                  </a:lnTo>
                  <a:lnTo>
                    <a:pt x="53195" y="3116"/>
                  </a:lnTo>
                  <a:lnTo>
                    <a:pt x="53195" y="3116"/>
                  </a:lnTo>
                  <a:lnTo>
                    <a:pt x="51526" y="2226"/>
                  </a:lnTo>
                  <a:lnTo>
                    <a:pt x="49745" y="1447"/>
                  </a:lnTo>
                  <a:lnTo>
                    <a:pt x="47909" y="668"/>
                  </a:lnTo>
                  <a:lnTo>
                    <a:pt x="4590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" name="Google Shape;2319;p60">
              <a:extLst>
                <a:ext uri="{FF2B5EF4-FFF2-40B4-BE49-F238E27FC236}">
                  <a16:creationId xmlns:a16="http://schemas.microsoft.com/office/drawing/2014/main" id="{EBEAC46B-A075-2348-F1A8-F1E0DB274DD1}"/>
                </a:ext>
              </a:extLst>
            </p:cNvPr>
            <p:cNvSpPr/>
            <p:nvPr/>
          </p:nvSpPr>
          <p:spPr>
            <a:xfrm>
              <a:off x="1911200" y="4523975"/>
              <a:ext cx="1016875" cy="219825"/>
            </a:xfrm>
            <a:custGeom>
              <a:avLst/>
              <a:gdLst/>
              <a:ahLst/>
              <a:cxnLst/>
              <a:rect l="l" t="t" r="r" b="b"/>
              <a:pathLst>
                <a:path w="40675" h="8793" extrusionOk="0">
                  <a:moveTo>
                    <a:pt x="32273" y="1"/>
                  </a:moveTo>
                  <a:lnTo>
                    <a:pt x="30047" y="724"/>
                  </a:lnTo>
                  <a:lnTo>
                    <a:pt x="27710" y="1336"/>
                  </a:lnTo>
                  <a:lnTo>
                    <a:pt x="25317" y="1893"/>
                  </a:lnTo>
                  <a:lnTo>
                    <a:pt x="22869" y="2338"/>
                  </a:lnTo>
                  <a:lnTo>
                    <a:pt x="20310" y="2672"/>
                  </a:lnTo>
                  <a:lnTo>
                    <a:pt x="17750" y="2950"/>
                  </a:lnTo>
                  <a:lnTo>
                    <a:pt x="15079" y="3117"/>
                  </a:lnTo>
                  <a:lnTo>
                    <a:pt x="10071" y="3117"/>
                  </a:lnTo>
                  <a:lnTo>
                    <a:pt x="7790" y="3006"/>
                  </a:lnTo>
                  <a:lnTo>
                    <a:pt x="6622" y="3451"/>
                  </a:lnTo>
                  <a:lnTo>
                    <a:pt x="5564" y="4007"/>
                  </a:lnTo>
                  <a:lnTo>
                    <a:pt x="4507" y="4564"/>
                  </a:lnTo>
                  <a:lnTo>
                    <a:pt x="3506" y="5120"/>
                  </a:lnTo>
                  <a:lnTo>
                    <a:pt x="2560" y="5732"/>
                  </a:lnTo>
                  <a:lnTo>
                    <a:pt x="1669" y="6344"/>
                  </a:lnTo>
                  <a:lnTo>
                    <a:pt x="779" y="6956"/>
                  </a:lnTo>
                  <a:lnTo>
                    <a:pt x="0" y="7624"/>
                  </a:lnTo>
                  <a:lnTo>
                    <a:pt x="1447" y="7902"/>
                  </a:lnTo>
                  <a:lnTo>
                    <a:pt x="2949" y="8125"/>
                  </a:lnTo>
                  <a:lnTo>
                    <a:pt x="4451" y="8347"/>
                  </a:lnTo>
                  <a:lnTo>
                    <a:pt x="6009" y="8514"/>
                  </a:lnTo>
                  <a:lnTo>
                    <a:pt x="7567" y="8625"/>
                  </a:lnTo>
                  <a:lnTo>
                    <a:pt x="9181" y="8737"/>
                  </a:lnTo>
                  <a:lnTo>
                    <a:pt x="10739" y="8792"/>
                  </a:lnTo>
                  <a:lnTo>
                    <a:pt x="14467" y="8792"/>
                  </a:lnTo>
                  <a:lnTo>
                    <a:pt x="16470" y="8681"/>
                  </a:lnTo>
                  <a:lnTo>
                    <a:pt x="18529" y="8514"/>
                  </a:lnTo>
                  <a:lnTo>
                    <a:pt x="20477" y="8292"/>
                  </a:lnTo>
                  <a:lnTo>
                    <a:pt x="22424" y="8069"/>
                  </a:lnTo>
                  <a:lnTo>
                    <a:pt x="24371" y="7735"/>
                  </a:lnTo>
                  <a:lnTo>
                    <a:pt x="26208" y="7346"/>
                  </a:lnTo>
                  <a:lnTo>
                    <a:pt x="28044" y="6901"/>
                  </a:lnTo>
                  <a:lnTo>
                    <a:pt x="29824" y="6455"/>
                  </a:lnTo>
                  <a:lnTo>
                    <a:pt x="31549" y="5899"/>
                  </a:lnTo>
                  <a:lnTo>
                    <a:pt x="33219" y="5343"/>
                  </a:lnTo>
                  <a:lnTo>
                    <a:pt x="34832" y="4730"/>
                  </a:lnTo>
                  <a:lnTo>
                    <a:pt x="36390" y="4063"/>
                  </a:lnTo>
                  <a:lnTo>
                    <a:pt x="37893" y="3339"/>
                  </a:lnTo>
                  <a:lnTo>
                    <a:pt x="39339" y="2560"/>
                  </a:lnTo>
                  <a:lnTo>
                    <a:pt x="40675" y="1781"/>
                  </a:lnTo>
                  <a:lnTo>
                    <a:pt x="38672" y="1225"/>
                  </a:lnTo>
                  <a:lnTo>
                    <a:pt x="36613" y="724"/>
                  </a:lnTo>
                  <a:lnTo>
                    <a:pt x="34498" y="335"/>
                  </a:lnTo>
                  <a:lnTo>
                    <a:pt x="32273" y="1"/>
                  </a:lnTo>
                  <a:close/>
                </a:path>
              </a:pathLst>
            </a:custGeom>
            <a:solidFill>
              <a:srgbClr val="B9985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Google Shape;2320;p60">
              <a:extLst>
                <a:ext uri="{FF2B5EF4-FFF2-40B4-BE49-F238E27FC236}">
                  <a16:creationId xmlns:a16="http://schemas.microsoft.com/office/drawing/2014/main" id="{DB3E83D2-21C2-3064-9C5F-2D60798CB3EC}"/>
                </a:ext>
              </a:extLst>
            </p:cNvPr>
            <p:cNvSpPr/>
            <p:nvPr/>
          </p:nvSpPr>
          <p:spPr>
            <a:xfrm>
              <a:off x="1911200" y="4523975"/>
              <a:ext cx="1016875" cy="219825"/>
            </a:xfrm>
            <a:custGeom>
              <a:avLst/>
              <a:gdLst/>
              <a:ahLst/>
              <a:cxnLst/>
              <a:rect l="l" t="t" r="r" b="b"/>
              <a:pathLst>
                <a:path w="40675" h="8793" fill="none" extrusionOk="0">
                  <a:moveTo>
                    <a:pt x="32273" y="1"/>
                  </a:moveTo>
                  <a:lnTo>
                    <a:pt x="32273" y="1"/>
                  </a:lnTo>
                  <a:lnTo>
                    <a:pt x="30047" y="724"/>
                  </a:lnTo>
                  <a:lnTo>
                    <a:pt x="27710" y="1336"/>
                  </a:lnTo>
                  <a:lnTo>
                    <a:pt x="25317" y="1893"/>
                  </a:lnTo>
                  <a:lnTo>
                    <a:pt x="22869" y="2338"/>
                  </a:lnTo>
                  <a:lnTo>
                    <a:pt x="20310" y="2672"/>
                  </a:lnTo>
                  <a:lnTo>
                    <a:pt x="17750" y="2950"/>
                  </a:lnTo>
                  <a:lnTo>
                    <a:pt x="15079" y="3117"/>
                  </a:lnTo>
                  <a:lnTo>
                    <a:pt x="12408" y="3117"/>
                  </a:lnTo>
                  <a:lnTo>
                    <a:pt x="12408" y="3117"/>
                  </a:lnTo>
                  <a:lnTo>
                    <a:pt x="10071" y="3117"/>
                  </a:lnTo>
                  <a:lnTo>
                    <a:pt x="7790" y="3006"/>
                  </a:lnTo>
                  <a:lnTo>
                    <a:pt x="7790" y="3006"/>
                  </a:lnTo>
                  <a:lnTo>
                    <a:pt x="6622" y="3451"/>
                  </a:lnTo>
                  <a:lnTo>
                    <a:pt x="5564" y="4007"/>
                  </a:lnTo>
                  <a:lnTo>
                    <a:pt x="4507" y="4564"/>
                  </a:lnTo>
                  <a:lnTo>
                    <a:pt x="3506" y="5120"/>
                  </a:lnTo>
                  <a:lnTo>
                    <a:pt x="2560" y="5732"/>
                  </a:lnTo>
                  <a:lnTo>
                    <a:pt x="1669" y="6344"/>
                  </a:lnTo>
                  <a:lnTo>
                    <a:pt x="779" y="6956"/>
                  </a:lnTo>
                  <a:lnTo>
                    <a:pt x="0" y="7624"/>
                  </a:lnTo>
                  <a:lnTo>
                    <a:pt x="0" y="7624"/>
                  </a:lnTo>
                  <a:lnTo>
                    <a:pt x="1447" y="7902"/>
                  </a:lnTo>
                  <a:lnTo>
                    <a:pt x="2949" y="8125"/>
                  </a:lnTo>
                  <a:lnTo>
                    <a:pt x="4451" y="8347"/>
                  </a:lnTo>
                  <a:lnTo>
                    <a:pt x="6009" y="8514"/>
                  </a:lnTo>
                  <a:lnTo>
                    <a:pt x="7567" y="8625"/>
                  </a:lnTo>
                  <a:lnTo>
                    <a:pt x="9181" y="8737"/>
                  </a:lnTo>
                  <a:lnTo>
                    <a:pt x="10739" y="8792"/>
                  </a:lnTo>
                  <a:lnTo>
                    <a:pt x="12353" y="8792"/>
                  </a:lnTo>
                  <a:lnTo>
                    <a:pt x="12353" y="8792"/>
                  </a:lnTo>
                  <a:lnTo>
                    <a:pt x="14467" y="8792"/>
                  </a:lnTo>
                  <a:lnTo>
                    <a:pt x="16470" y="8681"/>
                  </a:lnTo>
                  <a:lnTo>
                    <a:pt x="18529" y="8514"/>
                  </a:lnTo>
                  <a:lnTo>
                    <a:pt x="20477" y="8292"/>
                  </a:lnTo>
                  <a:lnTo>
                    <a:pt x="22424" y="8069"/>
                  </a:lnTo>
                  <a:lnTo>
                    <a:pt x="24371" y="7735"/>
                  </a:lnTo>
                  <a:lnTo>
                    <a:pt x="26208" y="7346"/>
                  </a:lnTo>
                  <a:lnTo>
                    <a:pt x="28044" y="6901"/>
                  </a:lnTo>
                  <a:lnTo>
                    <a:pt x="29824" y="6455"/>
                  </a:lnTo>
                  <a:lnTo>
                    <a:pt x="31549" y="5899"/>
                  </a:lnTo>
                  <a:lnTo>
                    <a:pt x="33219" y="5343"/>
                  </a:lnTo>
                  <a:lnTo>
                    <a:pt x="34832" y="4730"/>
                  </a:lnTo>
                  <a:lnTo>
                    <a:pt x="36390" y="4063"/>
                  </a:lnTo>
                  <a:lnTo>
                    <a:pt x="37893" y="3339"/>
                  </a:lnTo>
                  <a:lnTo>
                    <a:pt x="39339" y="2560"/>
                  </a:lnTo>
                  <a:lnTo>
                    <a:pt x="40675" y="1781"/>
                  </a:lnTo>
                  <a:lnTo>
                    <a:pt x="40675" y="1781"/>
                  </a:lnTo>
                  <a:lnTo>
                    <a:pt x="38672" y="1225"/>
                  </a:lnTo>
                  <a:lnTo>
                    <a:pt x="36613" y="724"/>
                  </a:lnTo>
                  <a:lnTo>
                    <a:pt x="34498" y="335"/>
                  </a:lnTo>
                  <a:lnTo>
                    <a:pt x="32273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" name="Google Shape;2321;p60">
              <a:extLst>
                <a:ext uri="{FF2B5EF4-FFF2-40B4-BE49-F238E27FC236}">
                  <a16:creationId xmlns:a16="http://schemas.microsoft.com/office/drawing/2014/main" id="{83D179A5-9C9E-B075-9D4F-5AFD15F4EA24}"/>
                </a:ext>
              </a:extLst>
            </p:cNvPr>
            <p:cNvSpPr/>
            <p:nvPr/>
          </p:nvSpPr>
          <p:spPr>
            <a:xfrm>
              <a:off x="2105950" y="4514250"/>
              <a:ext cx="612075" cy="87650"/>
            </a:xfrm>
            <a:custGeom>
              <a:avLst/>
              <a:gdLst/>
              <a:ahLst/>
              <a:cxnLst/>
              <a:rect l="l" t="t" r="r" b="b"/>
              <a:pathLst>
                <a:path w="24483" h="3506" extrusionOk="0">
                  <a:moveTo>
                    <a:pt x="18084" y="0"/>
                  </a:moveTo>
                  <a:lnTo>
                    <a:pt x="15580" y="56"/>
                  </a:lnTo>
                  <a:lnTo>
                    <a:pt x="13132" y="223"/>
                  </a:lnTo>
                  <a:lnTo>
                    <a:pt x="10739" y="501"/>
                  </a:lnTo>
                  <a:lnTo>
                    <a:pt x="8402" y="891"/>
                  </a:lnTo>
                  <a:lnTo>
                    <a:pt x="6176" y="1391"/>
                  </a:lnTo>
                  <a:lnTo>
                    <a:pt x="4006" y="1948"/>
                  </a:lnTo>
                  <a:lnTo>
                    <a:pt x="1948" y="2616"/>
                  </a:lnTo>
                  <a:lnTo>
                    <a:pt x="0" y="3395"/>
                  </a:lnTo>
                  <a:lnTo>
                    <a:pt x="2281" y="3506"/>
                  </a:lnTo>
                  <a:lnTo>
                    <a:pt x="7289" y="3506"/>
                  </a:lnTo>
                  <a:lnTo>
                    <a:pt x="9960" y="3339"/>
                  </a:lnTo>
                  <a:lnTo>
                    <a:pt x="12520" y="3061"/>
                  </a:lnTo>
                  <a:lnTo>
                    <a:pt x="15079" y="2727"/>
                  </a:lnTo>
                  <a:lnTo>
                    <a:pt x="17527" y="2282"/>
                  </a:lnTo>
                  <a:lnTo>
                    <a:pt x="19920" y="1725"/>
                  </a:lnTo>
                  <a:lnTo>
                    <a:pt x="22257" y="1113"/>
                  </a:lnTo>
                  <a:lnTo>
                    <a:pt x="24483" y="390"/>
                  </a:lnTo>
                  <a:lnTo>
                    <a:pt x="22925" y="223"/>
                  </a:lnTo>
                  <a:lnTo>
                    <a:pt x="21311" y="112"/>
                  </a:lnTo>
                  <a:lnTo>
                    <a:pt x="19697" y="56"/>
                  </a:lnTo>
                  <a:lnTo>
                    <a:pt x="18084" y="0"/>
                  </a:lnTo>
                  <a:close/>
                </a:path>
              </a:pathLst>
            </a:custGeom>
            <a:solidFill>
              <a:srgbClr val="F7B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" name="Google Shape;2322;p60">
              <a:extLst>
                <a:ext uri="{FF2B5EF4-FFF2-40B4-BE49-F238E27FC236}">
                  <a16:creationId xmlns:a16="http://schemas.microsoft.com/office/drawing/2014/main" id="{6647F13C-9677-1D05-EC6B-A16C9A10792F}"/>
                </a:ext>
              </a:extLst>
            </p:cNvPr>
            <p:cNvSpPr/>
            <p:nvPr/>
          </p:nvSpPr>
          <p:spPr>
            <a:xfrm>
              <a:off x="2105950" y="4514250"/>
              <a:ext cx="612075" cy="87650"/>
            </a:xfrm>
            <a:custGeom>
              <a:avLst/>
              <a:gdLst/>
              <a:ahLst/>
              <a:cxnLst/>
              <a:rect l="l" t="t" r="r" b="b"/>
              <a:pathLst>
                <a:path w="24483" h="3506" fill="none" extrusionOk="0">
                  <a:moveTo>
                    <a:pt x="18084" y="0"/>
                  </a:moveTo>
                  <a:lnTo>
                    <a:pt x="18084" y="0"/>
                  </a:lnTo>
                  <a:lnTo>
                    <a:pt x="15580" y="56"/>
                  </a:lnTo>
                  <a:lnTo>
                    <a:pt x="13132" y="223"/>
                  </a:lnTo>
                  <a:lnTo>
                    <a:pt x="10739" y="501"/>
                  </a:lnTo>
                  <a:lnTo>
                    <a:pt x="8402" y="891"/>
                  </a:lnTo>
                  <a:lnTo>
                    <a:pt x="6176" y="1391"/>
                  </a:lnTo>
                  <a:lnTo>
                    <a:pt x="4006" y="1948"/>
                  </a:lnTo>
                  <a:lnTo>
                    <a:pt x="1948" y="2616"/>
                  </a:lnTo>
                  <a:lnTo>
                    <a:pt x="0" y="3395"/>
                  </a:lnTo>
                  <a:lnTo>
                    <a:pt x="0" y="3395"/>
                  </a:lnTo>
                  <a:lnTo>
                    <a:pt x="2281" y="3506"/>
                  </a:lnTo>
                  <a:lnTo>
                    <a:pt x="4618" y="3506"/>
                  </a:lnTo>
                  <a:lnTo>
                    <a:pt x="4618" y="3506"/>
                  </a:lnTo>
                  <a:lnTo>
                    <a:pt x="7289" y="3506"/>
                  </a:lnTo>
                  <a:lnTo>
                    <a:pt x="9960" y="3339"/>
                  </a:lnTo>
                  <a:lnTo>
                    <a:pt x="12520" y="3061"/>
                  </a:lnTo>
                  <a:lnTo>
                    <a:pt x="15079" y="2727"/>
                  </a:lnTo>
                  <a:lnTo>
                    <a:pt x="17527" y="2282"/>
                  </a:lnTo>
                  <a:lnTo>
                    <a:pt x="19920" y="1725"/>
                  </a:lnTo>
                  <a:lnTo>
                    <a:pt x="22257" y="1113"/>
                  </a:lnTo>
                  <a:lnTo>
                    <a:pt x="24483" y="390"/>
                  </a:lnTo>
                  <a:lnTo>
                    <a:pt x="24483" y="390"/>
                  </a:lnTo>
                  <a:lnTo>
                    <a:pt x="22925" y="223"/>
                  </a:lnTo>
                  <a:lnTo>
                    <a:pt x="21311" y="112"/>
                  </a:lnTo>
                  <a:lnTo>
                    <a:pt x="19697" y="56"/>
                  </a:lnTo>
                  <a:lnTo>
                    <a:pt x="1808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" name="Google Shape;2323;p60">
              <a:extLst>
                <a:ext uri="{FF2B5EF4-FFF2-40B4-BE49-F238E27FC236}">
                  <a16:creationId xmlns:a16="http://schemas.microsoft.com/office/drawing/2014/main" id="{34DFE011-DD3C-0288-EBCB-E60AA573F5D2}"/>
                </a:ext>
              </a:extLst>
            </p:cNvPr>
            <p:cNvSpPr/>
            <p:nvPr/>
          </p:nvSpPr>
          <p:spPr>
            <a:xfrm>
              <a:off x="1772075" y="4313925"/>
              <a:ext cx="1560800" cy="904225"/>
            </a:xfrm>
            <a:custGeom>
              <a:avLst/>
              <a:gdLst/>
              <a:ahLst/>
              <a:cxnLst/>
              <a:rect l="l" t="t" r="r" b="b"/>
              <a:pathLst>
                <a:path w="62432" h="36169" extrusionOk="0">
                  <a:moveTo>
                    <a:pt x="31105" y="1"/>
                  </a:moveTo>
                  <a:lnTo>
                    <a:pt x="29491" y="56"/>
                  </a:lnTo>
                  <a:lnTo>
                    <a:pt x="27933" y="112"/>
                  </a:lnTo>
                  <a:lnTo>
                    <a:pt x="26375" y="223"/>
                  </a:lnTo>
                  <a:lnTo>
                    <a:pt x="24817" y="390"/>
                  </a:lnTo>
                  <a:lnTo>
                    <a:pt x="23315" y="557"/>
                  </a:lnTo>
                  <a:lnTo>
                    <a:pt x="21868" y="835"/>
                  </a:lnTo>
                  <a:lnTo>
                    <a:pt x="20422" y="1114"/>
                  </a:lnTo>
                  <a:lnTo>
                    <a:pt x="18975" y="1448"/>
                  </a:lnTo>
                  <a:lnTo>
                    <a:pt x="17584" y="1781"/>
                  </a:lnTo>
                  <a:lnTo>
                    <a:pt x="16248" y="2171"/>
                  </a:lnTo>
                  <a:lnTo>
                    <a:pt x="14969" y="2616"/>
                  </a:lnTo>
                  <a:lnTo>
                    <a:pt x="13689" y="3117"/>
                  </a:lnTo>
                  <a:lnTo>
                    <a:pt x="12465" y="3618"/>
                  </a:lnTo>
                  <a:lnTo>
                    <a:pt x="11296" y="4118"/>
                  </a:lnTo>
                  <a:lnTo>
                    <a:pt x="10183" y="4730"/>
                  </a:lnTo>
                  <a:lnTo>
                    <a:pt x="9071" y="5287"/>
                  </a:lnTo>
                  <a:lnTo>
                    <a:pt x="8069" y="5955"/>
                  </a:lnTo>
                  <a:lnTo>
                    <a:pt x="7067" y="6567"/>
                  </a:lnTo>
                  <a:lnTo>
                    <a:pt x="6177" y="7290"/>
                  </a:lnTo>
                  <a:lnTo>
                    <a:pt x="5287" y="8013"/>
                  </a:lnTo>
                  <a:lnTo>
                    <a:pt x="4452" y="8737"/>
                  </a:lnTo>
                  <a:lnTo>
                    <a:pt x="3729" y="9460"/>
                  </a:lnTo>
                  <a:lnTo>
                    <a:pt x="3061" y="10239"/>
                  </a:lnTo>
                  <a:lnTo>
                    <a:pt x="2449" y="11074"/>
                  </a:lnTo>
                  <a:lnTo>
                    <a:pt x="1893" y="11853"/>
                  </a:lnTo>
                  <a:lnTo>
                    <a:pt x="1392" y="12743"/>
                  </a:lnTo>
                  <a:lnTo>
                    <a:pt x="947" y="13578"/>
                  </a:lnTo>
                  <a:lnTo>
                    <a:pt x="613" y="14468"/>
                  </a:lnTo>
                  <a:lnTo>
                    <a:pt x="335" y="15358"/>
                  </a:lnTo>
                  <a:lnTo>
                    <a:pt x="168" y="16248"/>
                  </a:lnTo>
                  <a:lnTo>
                    <a:pt x="57" y="17139"/>
                  </a:lnTo>
                  <a:lnTo>
                    <a:pt x="1" y="18085"/>
                  </a:lnTo>
                  <a:lnTo>
                    <a:pt x="57" y="19031"/>
                  </a:lnTo>
                  <a:lnTo>
                    <a:pt x="168" y="19921"/>
                  </a:lnTo>
                  <a:lnTo>
                    <a:pt x="390" y="20867"/>
                  </a:lnTo>
                  <a:lnTo>
                    <a:pt x="669" y="21757"/>
                  </a:lnTo>
                  <a:lnTo>
                    <a:pt x="1002" y="22592"/>
                  </a:lnTo>
                  <a:lnTo>
                    <a:pt x="1448" y="23482"/>
                  </a:lnTo>
                  <a:lnTo>
                    <a:pt x="1948" y="24317"/>
                  </a:lnTo>
                  <a:lnTo>
                    <a:pt x="2505" y="25151"/>
                  </a:lnTo>
                  <a:lnTo>
                    <a:pt x="3117" y="25930"/>
                  </a:lnTo>
                  <a:lnTo>
                    <a:pt x="3840" y="26709"/>
                  </a:lnTo>
                  <a:lnTo>
                    <a:pt x="4564" y="27488"/>
                  </a:lnTo>
                  <a:lnTo>
                    <a:pt x="5398" y="28212"/>
                  </a:lnTo>
                  <a:lnTo>
                    <a:pt x="6288" y="28935"/>
                  </a:lnTo>
                  <a:lnTo>
                    <a:pt x="7234" y="29603"/>
                  </a:lnTo>
                  <a:lnTo>
                    <a:pt x="8180" y="30270"/>
                  </a:lnTo>
                  <a:lnTo>
                    <a:pt x="9238" y="30882"/>
                  </a:lnTo>
                  <a:lnTo>
                    <a:pt x="10295" y="31495"/>
                  </a:lnTo>
                  <a:lnTo>
                    <a:pt x="11463" y="32051"/>
                  </a:lnTo>
                  <a:lnTo>
                    <a:pt x="12632" y="32607"/>
                  </a:lnTo>
                  <a:lnTo>
                    <a:pt x="13856" y="33108"/>
                  </a:lnTo>
                  <a:lnTo>
                    <a:pt x="15136" y="33553"/>
                  </a:lnTo>
                  <a:lnTo>
                    <a:pt x="16415" y="33998"/>
                  </a:lnTo>
                  <a:lnTo>
                    <a:pt x="17806" y="34388"/>
                  </a:lnTo>
                  <a:lnTo>
                    <a:pt x="19197" y="34777"/>
                  </a:lnTo>
                  <a:lnTo>
                    <a:pt x="20589" y="35056"/>
                  </a:lnTo>
                  <a:lnTo>
                    <a:pt x="22035" y="35389"/>
                  </a:lnTo>
                  <a:lnTo>
                    <a:pt x="23538" y="35612"/>
                  </a:lnTo>
                  <a:lnTo>
                    <a:pt x="25040" y="35835"/>
                  </a:lnTo>
                  <a:lnTo>
                    <a:pt x="26598" y="35946"/>
                  </a:lnTo>
                  <a:lnTo>
                    <a:pt x="28156" y="36057"/>
                  </a:lnTo>
                  <a:lnTo>
                    <a:pt x="29714" y="36168"/>
                  </a:lnTo>
                  <a:lnTo>
                    <a:pt x="32941" y="36168"/>
                  </a:lnTo>
                  <a:lnTo>
                    <a:pt x="34555" y="36057"/>
                  </a:lnTo>
                  <a:lnTo>
                    <a:pt x="36113" y="35946"/>
                  </a:lnTo>
                  <a:lnTo>
                    <a:pt x="37615" y="35835"/>
                  </a:lnTo>
                  <a:lnTo>
                    <a:pt x="39117" y="35612"/>
                  </a:lnTo>
                  <a:lnTo>
                    <a:pt x="40620" y="35389"/>
                  </a:lnTo>
                  <a:lnTo>
                    <a:pt x="42067" y="35056"/>
                  </a:lnTo>
                  <a:lnTo>
                    <a:pt x="43458" y="34777"/>
                  </a:lnTo>
                  <a:lnTo>
                    <a:pt x="44849" y="34388"/>
                  </a:lnTo>
                  <a:lnTo>
                    <a:pt x="46184" y="33998"/>
                  </a:lnTo>
                  <a:lnTo>
                    <a:pt x="47519" y="33553"/>
                  </a:lnTo>
                  <a:lnTo>
                    <a:pt x="48744" y="33108"/>
                  </a:lnTo>
                  <a:lnTo>
                    <a:pt x="49968" y="32607"/>
                  </a:lnTo>
                  <a:lnTo>
                    <a:pt x="51192" y="32051"/>
                  </a:lnTo>
                  <a:lnTo>
                    <a:pt x="52305" y="31495"/>
                  </a:lnTo>
                  <a:lnTo>
                    <a:pt x="53362" y="30882"/>
                  </a:lnTo>
                  <a:lnTo>
                    <a:pt x="54419" y="30270"/>
                  </a:lnTo>
                  <a:lnTo>
                    <a:pt x="55365" y="29603"/>
                  </a:lnTo>
                  <a:lnTo>
                    <a:pt x="56311" y="28935"/>
                  </a:lnTo>
                  <a:lnTo>
                    <a:pt x="57146" y="28212"/>
                  </a:lnTo>
                  <a:lnTo>
                    <a:pt x="57980" y="27488"/>
                  </a:lnTo>
                  <a:lnTo>
                    <a:pt x="58704" y="26709"/>
                  </a:lnTo>
                  <a:lnTo>
                    <a:pt x="59427" y="25930"/>
                  </a:lnTo>
                  <a:lnTo>
                    <a:pt x="60039" y="25151"/>
                  </a:lnTo>
                  <a:lnTo>
                    <a:pt x="60595" y="24317"/>
                  </a:lnTo>
                  <a:lnTo>
                    <a:pt x="61096" y="23482"/>
                  </a:lnTo>
                  <a:lnTo>
                    <a:pt x="61486" y="22592"/>
                  </a:lnTo>
                  <a:lnTo>
                    <a:pt x="61820" y="21757"/>
                  </a:lnTo>
                  <a:lnTo>
                    <a:pt x="62098" y="20867"/>
                  </a:lnTo>
                  <a:lnTo>
                    <a:pt x="62320" y="19921"/>
                  </a:lnTo>
                  <a:lnTo>
                    <a:pt x="62432" y="19031"/>
                  </a:lnTo>
                  <a:lnTo>
                    <a:pt x="62432" y="18085"/>
                  </a:lnTo>
                  <a:lnTo>
                    <a:pt x="62376" y="17194"/>
                  </a:lnTo>
                  <a:lnTo>
                    <a:pt x="62265" y="16248"/>
                  </a:lnTo>
                  <a:lnTo>
                    <a:pt x="62042" y="15358"/>
                  </a:lnTo>
                  <a:lnTo>
                    <a:pt x="61764" y="14468"/>
                  </a:lnTo>
                  <a:lnTo>
                    <a:pt x="61430" y="13578"/>
                  </a:lnTo>
                  <a:lnTo>
                    <a:pt x="60985" y="12743"/>
                  </a:lnTo>
                  <a:lnTo>
                    <a:pt x="60484" y="11853"/>
                  </a:lnTo>
                  <a:lnTo>
                    <a:pt x="59928" y="11074"/>
                  </a:lnTo>
                  <a:lnTo>
                    <a:pt x="59316" y="10239"/>
                  </a:lnTo>
                  <a:lnTo>
                    <a:pt x="58648" y="9460"/>
                  </a:lnTo>
                  <a:lnTo>
                    <a:pt x="57869" y="8737"/>
                  </a:lnTo>
                  <a:lnTo>
                    <a:pt x="57034" y="8013"/>
                  </a:lnTo>
                  <a:lnTo>
                    <a:pt x="56200" y="7290"/>
                  </a:lnTo>
                  <a:lnTo>
                    <a:pt x="55254" y="6622"/>
                  </a:lnTo>
                  <a:lnTo>
                    <a:pt x="54252" y="5955"/>
                  </a:lnTo>
                  <a:lnTo>
                    <a:pt x="53251" y="5287"/>
                  </a:lnTo>
                  <a:lnTo>
                    <a:pt x="52138" y="4730"/>
                  </a:lnTo>
                  <a:lnTo>
                    <a:pt x="51025" y="4118"/>
                  </a:lnTo>
                  <a:lnTo>
                    <a:pt x="49801" y="3618"/>
                  </a:lnTo>
                  <a:lnTo>
                    <a:pt x="48577" y="3117"/>
                  </a:lnTo>
                  <a:lnTo>
                    <a:pt x="47297" y="2616"/>
                  </a:lnTo>
                  <a:lnTo>
                    <a:pt x="46017" y="2171"/>
                  </a:lnTo>
                  <a:lnTo>
                    <a:pt x="44682" y="1781"/>
                  </a:lnTo>
                  <a:lnTo>
                    <a:pt x="43291" y="1448"/>
                  </a:lnTo>
                  <a:lnTo>
                    <a:pt x="41844" y="1114"/>
                  </a:lnTo>
                  <a:lnTo>
                    <a:pt x="40397" y="835"/>
                  </a:lnTo>
                  <a:lnTo>
                    <a:pt x="38951" y="557"/>
                  </a:lnTo>
                  <a:lnTo>
                    <a:pt x="37393" y="390"/>
                  </a:lnTo>
                  <a:lnTo>
                    <a:pt x="35890" y="223"/>
                  </a:lnTo>
                  <a:lnTo>
                    <a:pt x="34332" y="112"/>
                  </a:lnTo>
                  <a:lnTo>
                    <a:pt x="32719" y="56"/>
                  </a:lnTo>
                  <a:lnTo>
                    <a:pt x="31105" y="1"/>
                  </a:lnTo>
                  <a:close/>
                </a:path>
              </a:pathLst>
            </a:custGeom>
            <a:solidFill>
              <a:srgbClr val="FFF3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" name="Google Shape;2324;p60">
              <a:extLst>
                <a:ext uri="{FF2B5EF4-FFF2-40B4-BE49-F238E27FC236}">
                  <a16:creationId xmlns:a16="http://schemas.microsoft.com/office/drawing/2014/main" id="{026EA8D5-2B93-47B1-A6C4-316C658B22D4}"/>
                </a:ext>
              </a:extLst>
            </p:cNvPr>
            <p:cNvSpPr/>
            <p:nvPr/>
          </p:nvSpPr>
          <p:spPr>
            <a:xfrm>
              <a:off x="1772075" y="4766025"/>
              <a:ext cx="1560800" cy="594025"/>
            </a:xfrm>
            <a:custGeom>
              <a:avLst/>
              <a:gdLst/>
              <a:ahLst/>
              <a:cxnLst/>
              <a:rect l="l" t="t" r="r" b="b"/>
              <a:pathLst>
                <a:path w="62432" h="23761" extrusionOk="0">
                  <a:moveTo>
                    <a:pt x="1" y="1"/>
                  </a:moveTo>
                  <a:lnTo>
                    <a:pt x="1" y="5676"/>
                  </a:lnTo>
                  <a:lnTo>
                    <a:pt x="57" y="6622"/>
                  </a:lnTo>
                  <a:lnTo>
                    <a:pt x="168" y="7512"/>
                  </a:lnTo>
                  <a:lnTo>
                    <a:pt x="390" y="8403"/>
                  </a:lnTo>
                  <a:lnTo>
                    <a:pt x="669" y="9293"/>
                  </a:lnTo>
                  <a:lnTo>
                    <a:pt x="1002" y="10183"/>
                  </a:lnTo>
                  <a:lnTo>
                    <a:pt x="1448" y="11018"/>
                  </a:lnTo>
                  <a:lnTo>
                    <a:pt x="1948" y="11853"/>
                  </a:lnTo>
                  <a:lnTo>
                    <a:pt x="2505" y="12687"/>
                  </a:lnTo>
                  <a:lnTo>
                    <a:pt x="3117" y="13522"/>
                  </a:lnTo>
                  <a:lnTo>
                    <a:pt x="3840" y="14301"/>
                  </a:lnTo>
                  <a:lnTo>
                    <a:pt x="4564" y="15024"/>
                  </a:lnTo>
                  <a:lnTo>
                    <a:pt x="5398" y="15747"/>
                  </a:lnTo>
                  <a:lnTo>
                    <a:pt x="6233" y="16471"/>
                  </a:lnTo>
                  <a:lnTo>
                    <a:pt x="7179" y="17139"/>
                  </a:lnTo>
                  <a:lnTo>
                    <a:pt x="8180" y="17806"/>
                  </a:lnTo>
                  <a:lnTo>
                    <a:pt x="9238" y="18474"/>
                  </a:lnTo>
                  <a:lnTo>
                    <a:pt x="10295" y="19030"/>
                  </a:lnTo>
                  <a:lnTo>
                    <a:pt x="11463" y="19642"/>
                  </a:lnTo>
                  <a:lnTo>
                    <a:pt x="12632" y="20143"/>
                  </a:lnTo>
                  <a:lnTo>
                    <a:pt x="13856" y="20644"/>
                  </a:lnTo>
                  <a:lnTo>
                    <a:pt x="15136" y="21145"/>
                  </a:lnTo>
                  <a:lnTo>
                    <a:pt x="16415" y="21590"/>
                  </a:lnTo>
                  <a:lnTo>
                    <a:pt x="17751" y="21979"/>
                  </a:lnTo>
                  <a:lnTo>
                    <a:pt x="19142" y="22313"/>
                  </a:lnTo>
                  <a:lnTo>
                    <a:pt x="20589" y="22647"/>
                  </a:lnTo>
                  <a:lnTo>
                    <a:pt x="22035" y="22925"/>
                  </a:lnTo>
                  <a:lnTo>
                    <a:pt x="23538" y="23204"/>
                  </a:lnTo>
                  <a:lnTo>
                    <a:pt x="25040" y="23371"/>
                  </a:lnTo>
                  <a:lnTo>
                    <a:pt x="26542" y="23537"/>
                  </a:lnTo>
                  <a:lnTo>
                    <a:pt x="28100" y="23649"/>
                  </a:lnTo>
                  <a:lnTo>
                    <a:pt x="29714" y="23704"/>
                  </a:lnTo>
                  <a:lnTo>
                    <a:pt x="31328" y="23760"/>
                  </a:lnTo>
                  <a:lnTo>
                    <a:pt x="32941" y="23704"/>
                  </a:lnTo>
                  <a:lnTo>
                    <a:pt x="34499" y="23649"/>
                  </a:lnTo>
                  <a:lnTo>
                    <a:pt x="36057" y="23537"/>
                  </a:lnTo>
                  <a:lnTo>
                    <a:pt x="37615" y="23371"/>
                  </a:lnTo>
                  <a:lnTo>
                    <a:pt x="39117" y="23204"/>
                  </a:lnTo>
                  <a:lnTo>
                    <a:pt x="40620" y="22925"/>
                  </a:lnTo>
                  <a:lnTo>
                    <a:pt x="42067" y="22647"/>
                  </a:lnTo>
                  <a:lnTo>
                    <a:pt x="43458" y="22313"/>
                  </a:lnTo>
                  <a:lnTo>
                    <a:pt x="44849" y="21979"/>
                  </a:lnTo>
                  <a:lnTo>
                    <a:pt x="46184" y="21590"/>
                  </a:lnTo>
                  <a:lnTo>
                    <a:pt x="47464" y="21145"/>
                  </a:lnTo>
                  <a:lnTo>
                    <a:pt x="48744" y="20644"/>
                  </a:lnTo>
                  <a:lnTo>
                    <a:pt x="49968" y="20143"/>
                  </a:lnTo>
                  <a:lnTo>
                    <a:pt x="51136" y="19642"/>
                  </a:lnTo>
                  <a:lnTo>
                    <a:pt x="52305" y="19030"/>
                  </a:lnTo>
                  <a:lnTo>
                    <a:pt x="53362" y="18474"/>
                  </a:lnTo>
                  <a:lnTo>
                    <a:pt x="54364" y="17806"/>
                  </a:lnTo>
                  <a:lnTo>
                    <a:pt x="55365" y="17194"/>
                  </a:lnTo>
                  <a:lnTo>
                    <a:pt x="56311" y="16471"/>
                  </a:lnTo>
                  <a:lnTo>
                    <a:pt x="57146" y="15803"/>
                  </a:lnTo>
                  <a:lnTo>
                    <a:pt x="57980" y="15024"/>
                  </a:lnTo>
                  <a:lnTo>
                    <a:pt x="58704" y="14301"/>
                  </a:lnTo>
                  <a:lnTo>
                    <a:pt x="59371" y="13522"/>
                  </a:lnTo>
                  <a:lnTo>
                    <a:pt x="60039" y="12687"/>
                  </a:lnTo>
                  <a:lnTo>
                    <a:pt x="60595" y="11908"/>
                  </a:lnTo>
                  <a:lnTo>
                    <a:pt x="61041" y="11074"/>
                  </a:lnTo>
                  <a:lnTo>
                    <a:pt x="61486" y="10183"/>
                  </a:lnTo>
                  <a:lnTo>
                    <a:pt x="61820" y="9293"/>
                  </a:lnTo>
                  <a:lnTo>
                    <a:pt x="62098" y="8403"/>
                  </a:lnTo>
                  <a:lnTo>
                    <a:pt x="62265" y="7512"/>
                  </a:lnTo>
                  <a:lnTo>
                    <a:pt x="62376" y="6622"/>
                  </a:lnTo>
                  <a:lnTo>
                    <a:pt x="62432" y="5676"/>
                  </a:lnTo>
                  <a:lnTo>
                    <a:pt x="62432" y="947"/>
                  </a:lnTo>
                  <a:lnTo>
                    <a:pt x="62320" y="1837"/>
                  </a:lnTo>
                  <a:lnTo>
                    <a:pt x="62098" y="2783"/>
                  </a:lnTo>
                  <a:lnTo>
                    <a:pt x="61820" y="3673"/>
                  </a:lnTo>
                  <a:lnTo>
                    <a:pt x="61486" y="4508"/>
                  </a:lnTo>
                  <a:lnTo>
                    <a:pt x="61096" y="5398"/>
                  </a:lnTo>
                  <a:lnTo>
                    <a:pt x="60595" y="6233"/>
                  </a:lnTo>
                  <a:lnTo>
                    <a:pt x="60039" y="7067"/>
                  </a:lnTo>
                  <a:lnTo>
                    <a:pt x="59427" y="7846"/>
                  </a:lnTo>
                  <a:lnTo>
                    <a:pt x="58704" y="8625"/>
                  </a:lnTo>
                  <a:lnTo>
                    <a:pt x="57980" y="9404"/>
                  </a:lnTo>
                  <a:lnTo>
                    <a:pt x="57146" y="10128"/>
                  </a:lnTo>
                  <a:lnTo>
                    <a:pt x="56311" y="10851"/>
                  </a:lnTo>
                  <a:lnTo>
                    <a:pt x="55365" y="11519"/>
                  </a:lnTo>
                  <a:lnTo>
                    <a:pt x="54419" y="12186"/>
                  </a:lnTo>
                  <a:lnTo>
                    <a:pt x="53362" y="12798"/>
                  </a:lnTo>
                  <a:lnTo>
                    <a:pt x="52305" y="13411"/>
                  </a:lnTo>
                  <a:lnTo>
                    <a:pt x="51192" y="13967"/>
                  </a:lnTo>
                  <a:lnTo>
                    <a:pt x="49968" y="14523"/>
                  </a:lnTo>
                  <a:lnTo>
                    <a:pt x="48744" y="15024"/>
                  </a:lnTo>
                  <a:lnTo>
                    <a:pt x="47519" y="15469"/>
                  </a:lnTo>
                  <a:lnTo>
                    <a:pt x="46184" y="15914"/>
                  </a:lnTo>
                  <a:lnTo>
                    <a:pt x="44849" y="16304"/>
                  </a:lnTo>
                  <a:lnTo>
                    <a:pt x="43458" y="16693"/>
                  </a:lnTo>
                  <a:lnTo>
                    <a:pt x="42067" y="16972"/>
                  </a:lnTo>
                  <a:lnTo>
                    <a:pt x="40620" y="17305"/>
                  </a:lnTo>
                  <a:lnTo>
                    <a:pt x="39117" y="17528"/>
                  </a:lnTo>
                  <a:lnTo>
                    <a:pt x="37615" y="17751"/>
                  </a:lnTo>
                  <a:lnTo>
                    <a:pt x="36113" y="17862"/>
                  </a:lnTo>
                  <a:lnTo>
                    <a:pt x="34555" y="17973"/>
                  </a:lnTo>
                  <a:lnTo>
                    <a:pt x="32941" y="18084"/>
                  </a:lnTo>
                  <a:lnTo>
                    <a:pt x="29714" y="18084"/>
                  </a:lnTo>
                  <a:lnTo>
                    <a:pt x="28156" y="17973"/>
                  </a:lnTo>
                  <a:lnTo>
                    <a:pt x="26598" y="17862"/>
                  </a:lnTo>
                  <a:lnTo>
                    <a:pt x="25040" y="17751"/>
                  </a:lnTo>
                  <a:lnTo>
                    <a:pt x="23538" y="17528"/>
                  </a:lnTo>
                  <a:lnTo>
                    <a:pt x="22035" y="17305"/>
                  </a:lnTo>
                  <a:lnTo>
                    <a:pt x="20589" y="16972"/>
                  </a:lnTo>
                  <a:lnTo>
                    <a:pt x="19197" y="16693"/>
                  </a:lnTo>
                  <a:lnTo>
                    <a:pt x="17806" y="16304"/>
                  </a:lnTo>
                  <a:lnTo>
                    <a:pt x="16415" y="15914"/>
                  </a:lnTo>
                  <a:lnTo>
                    <a:pt x="15136" y="15469"/>
                  </a:lnTo>
                  <a:lnTo>
                    <a:pt x="13856" y="15024"/>
                  </a:lnTo>
                  <a:lnTo>
                    <a:pt x="12632" y="14523"/>
                  </a:lnTo>
                  <a:lnTo>
                    <a:pt x="11463" y="13967"/>
                  </a:lnTo>
                  <a:lnTo>
                    <a:pt x="10295" y="13411"/>
                  </a:lnTo>
                  <a:lnTo>
                    <a:pt x="9238" y="12798"/>
                  </a:lnTo>
                  <a:lnTo>
                    <a:pt x="8180" y="12186"/>
                  </a:lnTo>
                  <a:lnTo>
                    <a:pt x="7234" y="11519"/>
                  </a:lnTo>
                  <a:lnTo>
                    <a:pt x="6288" y="10851"/>
                  </a:lnTo>
                  <a:lnTo>
                    <a:pt x="5398" y="10128"/>
                  </a:lnTo>
                  <a:lnTo>
                    <a:pt x="4564" y="9404"/>
                  </a:lnTo>
                  <a:lnTo>
                    <a:pt x="3840" y="8625"/>
                  </a:lnTo>
                  <a:lnTo>
                    <a:pt x="3117" y="7846"/>
                  </a:lnTo>
                  <a:lnTo>
                    <a:pt x="2505" y="7067"/>
                  </a:lnTo>
                  <a:lnTo>
                    <a:pt x="1948" y="6233"/>
                  </a:lnTo>
                  <a:lnTo>
                    <a:pt x="1448" y="5398"/>
                  </a:lnTo>
                  <a:lnTo>
                    <a:pt x="1002" y="4508"/>
                  </a:lnTo>
                  <a:lnTo>
                    <a:pt x="669" y="3673"/>
                  </a:lnTo>
                  <a:lnTo>
                    <a:pt x="390" y="2783"/>
                  </a:lnTo>
                  <a:lnTo>
                    <a:pt x="168" y="1837"/>
                  </a:lnTo>
                  <a:lnTo>
                    <a:pt x="57" y="94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DFEC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" name="Google Shape;2325;p60">
              <a:extLst>
                <a:ext uri="{FF2B5EF4-FFF2-40B4-BE49-F238E27FC236}">
                  <a16:creationId xmlns:a16="http://schemas.microsoft.com/office/drawing/2014/main" id="{9FEA733E-BF2E-7057-19F9-57416EF76B42}"/>
                </a:ext>
              </a:extLst>
            </p:cNvPr>
            <p:cNvSpPr/>
            <p:nvPr/>
          </p:nvSpPr>
          <p:spPr>
            <a:xfrm>
              <a:off x="1570375" y="4766025"/>
              <a:ext cx="1964200" cy="710850"/>
            </a:xfrm>
            <a:custGeom>
              <a:avLst/>
              <a:gdLst/>
              <a:ahLst/>
              <a:cxnLst/>
              <a:rect l="l" t="t" r="r" b="b"/>
              <a:pathLst>
                <a:path w="78568" h="28434" extrusionOk="0">
                  <a:moveTo>
                    <a:pt x="1" y="1"/>
                  </a:moveTo>
                  <a:lnTo>
                    <a:pt x="1" y="5676"/>
                  </a:lnTo>
                  <a:lnTo>
                    <a:pt x="56" y="6845"/>
                  </a:lnTo>
                  <a:lnTo>
                    <a:pt x="223" y="8013"/>
                  </a:lnTo>
                  <a:lnTo>
                    <a:pt x="446" y="9126"/>
                  </a:lnTo>
                  <a:lnTo>
                    <a:pt x="835" y="10239"/>
                  </a:lnTo>
                  <a:lnTo>
                    <a:pt x="1280" y="11352"/>
                  </a:lnTo>
                  <a:lnTo>
                    <a:pt x="1781" y="12465"/>
                  </a:lnTo>
                  <a:lnTo>
                    <a:pt x="2449" y="13522"/>
                  </a:lnTo>
                  <a:lnTo>
                    <a:pt x="3117" y="14523"/>
                  </a:lnTo>
                  <a:lnTo>
                    <a:pt x="3951" y="15525"/>
                  </a:lnTo>
                  <a:lnTo>
                    <a:pt x="4786" y="16526"/>
                  </a:lnTo>
                  <a:lnTo>
                    <a:pt x="5732" y="17472"/>
                  </a:lnTo>
                  <a:lnTo>
                    <a:pt x="6789" y="18418"/>
                  </a:lnTo>
                  <a:lnTo>
                    <a:pt x="7902" y="19309"/>
                  </a:lnTo>
                  <a:lnTo>
                    <a:pt x="9070" y="20143"/>
                  </a:lnTo>
                  <a:lnTo>
                    <a:pt x="10295" y="20978"/>
                  </a:lnTo>
                  <a:lnTo>
                    <a:pt x="11574" y="21757"/>
                  </a:lnTo>
                  <a:lnTo>
                    <a:pt x="12965" y="22536"/>
                  </a:lnTo>
                  <a:lnTo>
                    <a:pt x="14412" y="23204"/>
                  </a:lnTo>
                  <a:lnTo>
                    <a:pt x="15859" y="23927"/>
                  </a:lnTo>
                  <a:lnTo>
                    <a:pt x="17417" y="24539"/>
                  </a:lnTo>
                  <a:lnTo>
                    <a:pt x="19030" y="25151"/>
                  </a:lnTo>
                  <a:lnTo>
                    <a:pt x="20644" y="25652"/>
                  </a:lnTo>
                  <a:lnTo>
                    <a:pt x="22369" y="26153"/>
                  </a:lnTo>
                  <a:lnTo>
                    <a:pt x="24094" y="26653"/>
                  </a:lnTo>
                  <a:lnTo>
                    <a:pt x="25874" y="27043"/>
                  </a:lnTo>
                  <a:lnTo>
                    <a:pt x="27711" y="27377"/>
                  </a:lnTo>
                  <a:lnTo>
                    <a:pt x="29602" y="27711"/>
                  </a:lnTo>
                  <a:lnTo>
                    <a:pt x="31494" y="27933"/>
                  </a:lnTo>
                  <a:lnTo>
                    <a:pt x="33442" y="28156"/>
                  </a:lnTo>
                  <a:lnTo>
                    <a:pt x="35389" y="28323"/>
                  </a:lnTo>
                  <a:lnTo>
                    <a:pt x="37392" y="28378"/>
                  </a:lnTo>
                  <a:lnTo>
                    <a:pt x="39396" y="28434"/>
                  </a:lnTo>
                  <a:lnTo>
                    <a:pt x="41399" y="28378"/>
                  </a:lnTo>
                  <a:lnTo>
                    <a:pt x="43402" y="28323"/>
                  </a:lnTo>
                  <a:lnTo>
                    <a:pt x="45405" y="28156"/>
                  </a:lnTo>
                  <a:lnTo>
                    <a:pt x="47297" y="27933"/>
                  </a:lnTo>
                  <a:lnTo>
                    <a:pt x="49244" y="27711"/>
                  </a:lnTo>
                  <a:lnTo>
                    <a:pt x="51080" y="27377"/>
                  </a:lnTo>
                  <a:lnTo>
                    <a:pt x="52917" y="27043"/>
                  </a:lnTo>
                  <a:lnTo>
                    <a:pt x="54697" y="26653"/>
                  </a:lnTo>
                  <a:lnTo>
                    <a:pt x="56422" y="26153"/>
                  </a:lnTo>
                  <a:lnTo>
                    <a:pt x="58091" y="25652"/>
                  </a:lnTo>
                  <a:lnTo>
                    <a:pt x="59761" y="25151"/>
                  </a:lnTo>
                  <a:lnTo>
                    <a:pt x="61374" y="24539"/>
                  </a:lnTo>
                  <a:lnTo>
                    <a:pt x="62877" y="23927"/>
                  </a:lnTo>
                  <a:lnTo>
                    <a:pt x="64379" y="23204"/>
                  </a:lnTo>
                  <a:lnTo>
                    <a:pt x="65770" y="22536"/>
                  </a:lnTo>
                  <a:lnTo>
                    <a:pt x="67161" y="21757"/>
                  </a:lnTo>
                  <a:lnTo>
                    <a:pt x="68441" y="20978"/>
                  </a:lnTo>
                  <a:lnTo>
                    <a:pt x="69665" y="20143"/>
                  </a:lnTo>
                  <a:lnTo>
                    <a:pt x="70834" y="19253"/>
                  </a:lnTo>
                  <a:lnTo>
                    <a:pt x="71946" y="18363"/>
                  </a:lnTo>
                  <a:lnTo>
                    <a:pt x="72948" y="17472"/>
                  </a:lnTo>
                  <a:lnTo>
                    <a:pt x="73894" y="16526"/>
                  </a:lnTo>
                  <a:lnTo>
                    <a:pt x="74728" y="15525"/>
                  </a:lnTo>
                  <a:lnTo>
                    <a:pt x="75507" y="14523"/>
                  </a:lnTo>
                  <a:lnTo>
                    <a:pt x="76231" y="13466"/>
                  </a:lnTo>
                  <a:lnTo>
                    <a:pt x="76843" y="12409"/>
                  </a:lnTo>
                  <a:lnTo>
                    <a:pt x="77344" y="11352"/>
                  </a:lnTo>
                  <a:lnTo>
                    <a:pt x="77789" y="10239"/>
                  </a:lnTo>
                  <a:lnTo>
                    <a:pt x="78123" y="9126"/>
                  </a:lnTo>
                  <a:lnTo>
                    <a:pt x="78401" y="8013"/>
                  </a:lnTo>
                  <a:lnTo>
                    <a:pt x="78512" y="6845"/>
                  </a:lnTo>
                  <a:lnTo>
                    <a:pt x="78568" y="5676"/>
                  </a:lnTo>
                  <a:lnTo>
                    <a:pt x="78568" y="1"/>
                  </a:lnTo>
                  <a:lnTo>
                    <a:pt x="78512" y="1169"/>
                  </a:lnTo>
                  <a:lnTo>
                    <a:pt x="78401" y="2338"/>
                  </a:lnTo>
                  <a:lnTo>
                    <a:pt x="78123" y="3450"/>
                  </a:lnTo>
                  <a:lnTo>
                    <a:pt x="77789" y="4619"/>
                  </a:lnTo>
                  <a:lnTo>
                    <a:pt x="77399" y="5676"/>
                  </a:lnTo>
                  <a:lnTo>
                    <a:pt x="76843" y="6789"/>
                  </a:lnTo>
                  <a:lnTo>
                    <a:pt x="76231" y="7846"/>
                  </a:lnTo>
                  <a:lnTo>
                    <a:pt x="75563" y="8848"/>
                  </a:lnTo>
                  <a:lnTo>
                    <a:pt x="74784" y="9849"/>
                  </a:lnTo>
                  <a:lnTo>
                    <a:pt x="73894" y="10851"/>
                  </a:lnTo>
                  <a:lnTo>
                    <a:pt x="72948" y="11797"/>
                  </a:lnTo>
                  <a:lnTo>
                    <a:pt x="71946" y="12743"/>
                  </a:lnTo>
                  <a:lnTo>
                    <a:pt x="70834" y="13633"/>
                  </a:lnTo>
                  <a:lnTo>
                    <a:pt x="69665" y="14468"/>
                  </a:lnTo>
                  <a:lnTo>
                    <a:pt x="68441" y="15302"/>
                  </a:lnTo>
                  <a:lnTo>
                    <a:pt x="67161" y="16081"/>
                  </a:lnTo>
                  <a:lnTo>
                    <a:pt x="65826" y="16860"/>
                  </a:lnTo>
                  <a:lnTo>
                    <a:pt x="64379" y="17584"/>
                  </a:lnTo>
                  <a:lnTo>
                    <a:pt x="62877" y="18251"/>
                  </a:lnTo>
                  <a:lnTo>
                    <a:pt x="61374" y="18863"/>
                  </a:lnTo>
                  <a:lnTo>
                    <a:pt x="59761" y="19476"/>
                  </a:lnTo>
                  <a:lnTo>
                    <a:pt x="58147" y="20032"/>
                  </a:lnTo>
                  <a:lnTo>
                    <a:pt x="56422" y="20533"/>
                  </a:lnTo>
                  <a:lnTo>
                    <a:pt x="54697" y="20978"/>
                  </a:lnTo>
                  <a:lnTo>
                    <a:pt x="52917" y="21367"/>
                  </a:lnTo>
                  <a:lnTo>
                    <a:pt x="51080" y="21757"/>
                  </a:lnTo>
                  <a:lnTo>
                    <a:pt x="49244" y="22035"/>
                  </a:lnTo>
                  <a:lnTo>
                    <a:pt x="47352" y="22313"/>
                  </a:lnTo>
                  <a:lnTo>
                    <a:pt x="45405" y="22480"/>
                  </a:lnTo>
                  <a:lnTo>
                    <a:pt x="43457" y="22647"/>
                  </a:lnTo>
                  <a:lnTo>
                    <a:pt x="41454" y="22758"/>
                  </a:lnTo>
                  <a:lnTo>
                    <a:pt x="37392" y="22758"/>
                  </a:lnTo>
                  <a:lnTo>
                    <a:pt x="35389" y="22647"/>
                  </a:lnTo>
                  <a:lnTo>
                    <a:pt x="33442" y="22480"/>
                  </a:lnTo>
                  <a:lnTo>
                    <a:pt x="31494" y="22313"/>
                  </a:lnTo>
                  <a:lnTo>
                    <a:pt x="29602" y="22035"/>
                  </a:lnTo>
                  <a:lnTo>
                    <a:pt x="27711" y="21757"/>
                  </a:lnTo>
                  <a:lnTo>
                    <a:pt x="25930" y="21367"/>
                  </a:lnTo>
                  <a:lnTo>
                    <a:pt x="24094" y="20978"/>
                  </a:lnTo>
                  <a:lnTo>
                    <a:pt x="22369" y="20533"/>
                  </a:lnTo>
                  <a:lnTo>
                    <a:pt x="20700" y="20032"/>
                  </a:lnTo>
                  <a:lnTo>
                    <a:pt x="19030" y="19476"/>
                  </a:lnTo>
                  <a:lnTo>
                    <a:pt x="17417" y="18863"/>
                  </a:lnTo>
                  <a:lnTo>
                    <a:pt x="15914" y="18251"/>
                  </a:lnTo>
                  <a:lnTo>
                    <a:pt x="14412" y="17584"/>
                  </a:lnTo>
                  <a:lnTo>
                    <a:pt x="12965" y="16860"/>
                  </a:lnTo>
                  <a:lnTo>
                    <a:pt x="11630" y="16081"/>
                  </a:lnTo>
                  <a:lnTo>
                    <a:pt x="10295" y="15302"/>
                  </a:lnTo>
                  <a:lnTo>
                    <a:pt x="9070" y="14468"/>
                  </a:lnTo>
                  <a:lnTo>
                    <a:pt x="7902" y="13633"/>
                  </a:lnTo>
                  <a:lnTo>
                    <a:pt x="6789" y="12743"/>
                  </a:lnTo>
                  <a:lnTo>
                    <a:pt x="5788" y="11797"/>
                  </a:lnTo>
                  <a:lnTo>
                    <a:pt x="4842" y="10851"/>
                  </a:lnTo>
                  <a:lnTo>
                    <a:pt x="3951" y="9905"/>
                  </a:lnTo>
                  <a:lnTo>
                    <a:pt x="3172" y="8848"/>
                  </a:lnTo>
                  <a:lnTo>
                    <a:pt x="2449" y="7846"/>
                  </a:lnTo>
                  <a:lnTo>
                    <a:pt x="1837" y="6789"/>
                  </a:lnTo>
                  <a:lnTo>
                    <a:pt x="1280" y="5676"/>
                  </a:lnTo>
                  <a:lnTo>
                    <a:pt x="835" y="4619"/>
                  </a:lnTo>
                  <a:lnTo>
                    <a:pt x="501" y="3506"/>
                  </a:lnTo>
                  <a:lnTo>
                    <a:pt x="223" y="2338"/>
                  </a:lnTo>
                  <a:lnTo>
                    <a:pt x="56" y="116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" name="Google Shape;2326;p60">
              <a:extLst>
                <a:ext uri="{FF2B5EF4-FFF2-40B4-BE49-F238E27FC236}">
                  <a16:creationId xmlns:a16="http://schemas.microsoft.com/office/drawing/2014/main" id="{AFAF4FF9-92F0-7BE3-9357-654B966CE24C}"/>
                </a:ext>
              </a:extLst>
            </p:cNvPr>
            <p:cNvSpPr/>
            <p:nvPr/>
          </p:nvSpPr>
          <p:spPr>
            <a:xfrm>
              <a:off x="1570375" y="4197075"/>
              <a:ext cx="1964200" cy="1137925"/>
            </a:xfrm>
            <a:custGeom>
              <a:avLst/>
              <a:gdLst/>
              <a:ahLst/>
              <a:cxnLst/>
              <a:rect l="l" t="t" r="r" b="b"/>
              <a:pathLst>
                <a:path w="78568" h="45517" extrusionOk="0">
                  <a:moveTo>
                    <a:pt x="39173" y="4675"/>
                  </a:moveTo>
                  <a:lnTo>
                    <a:pt x="40787" y="4730"/>
                  </a:lnTo>
                  <a:lnTo>
                    <a:pt x="42400" y="4786"/>
                  </a:lnTo>
                  <a:lnTo>
                    <a:pt x="43958" y="4897"/>
                  </a:lnTo>
                  <a:lnTo>
                    <a:pt x="45461" y="5064"/>
                  </a:lnTo>
                  <a:lnTo>
                    <a:pt x="47019" y="5231"/>
                  </a:lnTo>
                  <a:lnTo>
                    <a:pt x="48465" y="5509"/>
                  </a:lnTo>
                  <a:lnTo>
                    <a:pt x="49912" y="5788"/>
                  </a:lnTo>
                  <a:lnTo>
                    <a:pt x="51359" y="6122"/>
                  </a:lnTo>
                  <a:lnTo>
                    <a:pt x="52750" y="6455"/>
                  </a:lnTo>
                  <a:lnTo>
                    <a:pt x="54085" y="6845"/>
                  </a:lnTo>
                  <a:lnTo>
                    <a:pt x="55365" y="7290"/>
                  </a:lnTo>
                  <a:lnTo>
                    <a:pt x="56645" y="7791"/>
                  </a:lnTo>
                  <a:lnTo>
                    <a:pt x="57869" y="8292"/>
                  </a:lnTo>
                  <a:lnTo>
                    <a:pt x="59093" y="8792"/>
                  </a:lnTo>
                  <a:lnTo>
                    <a:pt x="60206" y="9404"/>
                  </a:lnTo>
                  <a:lnTo>
                    <a:pt x="61319" y="9961"/>
                  </a:lnTo>
                  <a:lnTo>
                    <a:pt x="62320" y="10629"/>
                  </a:lnTo>
                  <a:lnTo>
                    <a:pt x="63322" y="11296"/>
                  </a:lnTo>
                  <a:lnTo>
                    <a:pt x="64268" y="11964"/>
                  </a:lnTo>
                  <a:lnTo>
                    <a:pt x="65102" y="12687"/>
                  </a:lnTo>
                  <a:lnTo>
                    <a:pt x="65937" y="13411"/>
                  </a:lnTo>
                  <a:lnTo>
                    <a:pt x="66716" y="14134"/>
                  </a:lnTo>
                  <a:lnTo>
                    <a:pt x="67384" y="14913"/>
                  </a:lnTo>
                  <a:lnTo>
                    <a:pt x="67996" y="15748"/>
                  </a:lnTo>
                  <a:lnTo>
                    <a:pt x="68552" y="16527"/>
                  </a:lnTo>
                  <a:lnTo>
                    <a:pt x="69053" y="17417"/>
                  </a:lnTo>
                  <a:lnTo>
                    <a:pt x="69498" y="18252"/>
                  </a:lnTo>
                  <a:lnTo>
                    <a:pt x="69832" y="19142"/>
                  </a:lnTo>
                  <a:lnTo>
                    <a:pt x="70110" y="20032"/>
                  </a:lnTo>
                  <a:lnTo>
                    <a:pt x="70333" y="20922"/>
                  </a:lnTo>
                  <a:lnTo>
                    <a:pt x="70444" y="21868"/>
                  </a:lnTo>
                  <a:lnTo>
                    <a:pt x="70500" y="22759"/>
                  </a:lnTo>
                  <a:lnTo>
                    <a:pt x="70500" y="23705"/>
                  </a:lnTo>
                  <a:lnTo>
                    <a:pt x="70388" y="24595"/>
                  </a:lnTo>
                  <a:lnTo>
                    <a:pt x="70166" y="25541"/>
                  </a:lnTo>
                  <a:lnTo>
                    <a:pt x="69888" y="26431"/>
                  </a:lnTo>
                  <a:lnTo>
                    <a:pt x="69554" y="27266"/>
                  </a:lnTo>
                  <a:lnTo>
                    <a:pt x="69164" y="28156"/>
                  </a:lnTo>
                  <a:lnTo>
                    <a:pt x="68663" y="28991"/>
                  </a:lnTo>
                  <a:lnTo>
                    <a:pt x="68107" y="29825"/>
                  </a:lnTo>
                  <a:lnTo>
                    <a:pt x="67495" y="30604"/>
                  </a:lnTo>
                  <a:lnTo>
                    <a:pt x="66772" y="31383"/>
                  </a:lnTo>
                  <a:lnTo>
                    <a:pt x="66048" y="32162"/>
                  </a:lnTo>
                  <a:lnTo>
                    <a:pt x="65214" y="32886"/>
                  </a:lnTo>
                  <a:lnTo>
                    <a:pt x="64379" y="33609"/>
                  </a:lnTo>
                  <a:lnTo>
                    <a:pt x="63433" y="34277"/>
                  </a:lnTo>
                  <a:lnTo>
                    <a:pt x="62487" y="34944"/>
                  </a:lnTo>
                  <a:lnTo>
                    <a:pt x="61430" y="35556"/>
                  </a:lnTo>
                  <a:lnTo>
                    <a:pt x="60373" y="36169"/>
                  </a:lnTo>
                  <a:lnTo>
                    <a:pt x="59260" y="36725"/>
                  </a:lnTo>
                  <a:lnTo>
                    <a:pt x="58036" y="37281"/>
                  </a:lnTo>
                  <a:lnTo>
                    <a:pt x="56812" y="37782"/>
                  </a:lnTo>
                  <a:lnTo>
                    <a:pt x="55587" y="38227"/>
                  </a:lnTo>
                  <a:lnTo>
                    <a:pt x="54252" y="38672"/>
                  </a:lnTo>
                  <a:lnTo>
                    <a:pt x="52917" y="39062"/>
                  </a:lnTo>
                  <a:lnTo>
                    <a:pt x="51526" y="39451"/>
                  </a:lnTo>
                  <a:lnTo>
                    <a:pt x="50135" y="39730"/>
                  </a:lnTo>
                  <a:lnTo>
                    <a:pt x="48688" y="40063"/>
                  </a:lnTo>
                  <a:lnTo>
                    <a:pt x="47185" y="40286"/>
                  </a:lnTo>
                  <a:lnTo>
                    <a:pt x="45683" y="40509"/>
                  </a:lnTo>
                  <a:lnTo>
                    <a:pt x="44181" y="40620"/>
                  </a:lnTo>
                  <a:lnTo>
                    <a:pt x="42623" y="40731"/>
                  </a:lnTo>
                  <a:lnTo>
                    <a:pt x="41009" y="40842"/>
                  </a:lnTo>
                  <a:lnTo>
                    <a:pt x="37782" y="40842"/>
                  </a:lnTo>
                  <a:lnTo>
                    <a:pt x="36224" y="40731"/>
                  </a:lnTo>
                  <a:lnTo>
                    <a:pt x="34666" y="40620"/>
                  </a:lnTo>
                  <a:lnTo>
                    <a:pt x="33108" y="40509"/>
                  </a:lnTo>
                  <a:lnTo>
                    <a:pt x="31606" y="40286"/>
                  </a:lnTo>
                  <a:lnTo>
                    <a:pt x="30103" y="40063"/>
                  </a:lnTo>
                  <a:lnTo>
                    <a:pt x="28657" y="39730"/>
                  </a:lnTo>
                  <a:lnTo>
                    <a:pt x="27265" y="39451"/>
                  </a:lnTo>
                  <a:lnTo>
                    <a:pt x="25874" y="39062"/>
                  </a:lnTo>
                  <a:lnTo>
                    <a:pt x="24483" y="38672"/>
                  </a:lnTo>
                  <a:lnTo>
                    <a:pt x="23204" y="38227"/>
                  </a:lnTo>
                  <a:lnTo>
                    <a:pt x="21924" y="37782"/>
                  </a:lnTo>
                  <a:lnTo>
                    <a:pt x="20700" y="37281"/>
                  </a:lnTo>
                  <a:lnTo>
                    <a:pt x="19531" y="36725"/>
                  </a:lnTo>
                  <a:lnTo>
                    <a:pt x="18363" y="36169"/>
                  </a:lnTo>
                  <a:lnTo>
                    <a:pt x="17306" y="35556"/>
                  </a:lnTo>
                  <a:lnTo>
                    <a:pt x="16248" y="34944"/>
                  </a:lnTo>
                  <a:lnTo>
                    <a:pt x="15302" y="34277"/>
                  </a:lnTo>
                  <a:lnTo>
                    <a:pt x="14356" y="33609"/>
                  </a:lnTo>
                  <a:lnTo>
                    <a:pt x="13466" y="32886"/>
                  </a:lnTo>
                  <a:lnTo>
                    <a:pt x="12632" y="32162"/>
                  </a:lnTo>
                  <a:lnTo>
                    <a:pt x="11908" y="31383"/>
                  </a:lnTo>
                  <a:lnTo>
                    <a:pt x="11185" y="30604"/>
                  </a:lnTo>
                  <a:lnTo>
                    <a:pt x="10573" y="29825"/>
                  </a:lnTo>
                  <a:lnTo>
                    <a:pt x="10016" y="28991"/>
                  </a:lnTo>
                  <a:lnTo>
                    <a:pt x="9516" y="28156"/>
                  </a:lnTo>
                  <a:lnTo>
                    <a:pt x="9070" y="27266"/>
                  </a:lnTo>
                  <a:lnTo>
                    <a:pt x="8737" y="26431"/>
                  </a:lnTo>
                  <a:lnTo>
                    <a:pt x="8458" y="25541"/>
                  </a:lnTo>
                  <a:lnTo>
                    <a:pt x="8236" y="24595"/>
                  </a:lnTo>
                  <a:lnTo>
                    <a:pt x="8125" y="23705"/>
                  </a:lnTo>
                  <a:lnTo>
                    <a:pt x="8069" y="22759"/>
                  </a:lnTo>
                  <a:lnTo>
                    <a:pt x="8125" y="21813"/>
                  </a:lnTo>
                  <a:lnTo>
                    <a:pt x="8236" y="20922"/>
                  </a:lnTo>
                  <a:lnTo>
                    <a:pt x="8403" y="20032"/>
                  </a:lnTo>
                  <a:lnTo>
                    <a:pt x="8681" y="19142"/>
                  </a:lnTo>
                  <a:lnTo>
                    <a:pt x="9015" y="18252"/>
                  </a:lnTo>
                  <a:lnTo>
                    <a:pt x="9460" y="17417"/>
                  </a:lnTo>
                  <a:lnTo>
                    <a:pt x="9961" y="16527"/>
                  </a:lnTo>
                  <a:lnTo>
                    <a:pt x="10517" y="15748"/>
                  </a:lnTo>
                  <a:lnTo>
                    <a:pt x="11129" y="14913"/>
                  </a:lnTo>
                  <a:lnTo>
                    <a:pt x="11797" y="14134"/>
                  </a:lnTo>
                  <a:lnTo>
                    <a:pt x="12520" y="13411"/>
                  </a:lnTo>
                  <a:lnTo>
                    <a:pt x="13355" y="12687"/>
                  </a:lnTo>
                  <a:lnTo>
                    <a:pt x="14245" y="11964"/>
                  </a:lnTo>
                  <a:lnTo>
                    <a:pt x="15135" y="11241"/>
                  </a:lnTo>
                  <a:lnTo>
                    <a:pt x="16137" y="10629"/>
                  </a:lnTo>
                  <a:lnTo>
                    <a:pt x="17139" y="9961"/>
                  </a:lnTo>
                  <a:lnTo>
                    <a:pt x="18251" y="9404"/>
                  </a:lnTo>
                  <a:lnTo>
                    <a:pt x="19364" y="8792"/>
                  </a:lnTo>
                  <a:lnTo>
                    <a:pt x="20533" y="8292"/>
                  </a:lnTo>
                  <a:lnTo>
                    <a:pt x="21757" y="7791"/>
                  </a:lnTo>
                  <a:lnTo>
                    <a:pt x="23037" y="7290"/>
                  </a:lnTo>
                  <a:lnTo>
                    <a:pt x="24316" y="6845"/>
                  </a:lnTo>
                  <a:lnTo>
                    <a:pt x="25652" y="6455"/>
                  </a:lnTo>
                  <a:lnTo>
                    <a:pt x="27043" y="6122"/>
                  </a:lnTo>
                  <a:lnTo>
                    <a:pt x="28490" y="5788"/>
                  </a:lnTo>
                  <a:lnTo>
                    <a:pt x="29936" y="5509"/>
                  </a:lnTo>
                  <a:lnTo>
                    <a:pt x="31383" y="5231"/>
                  </a:lnTo>
                  <a:lnTo>
                    <a:pt x="32885" y="5064"/>
                  </a:lnTo>
                  <a:lnTo>
                    <a:pt x="34443" y="4897"/>
                  </a:lnTo>
                  <a:lnTo>
                    <a:pt x="36001" y="4786"/>
                  </a:lnTo>
                  <a:lnTo>
                    <a:pt x="37559" y="4730"/>
                  </a:lnTo>
                  <a:lnTo>
                    <a:pt x="39173" y="4675"/>
                  </a:lnTo>
                  <a:close/>
                  <a:moveTo>
                    <a:pt x="39173" y="1"/>
                  </a:moveTo>
                  <a:lnTo>
                    <a:pt x="37170" y="56"/>
                  </a:lnTo>
                  <a:lnTo>
                    <a:pt x="35167" y="112"/>
                  </a:lnTo>
                  <a:lnTo>
                    <a:pt x="33219" y="279"/>
                  </a:lnTo>
                  <a:lnTo>
                    <a:pt x="31272" y="502"/>
                  </a:lnTo>
                  <a:lnTo>
                    <a:pt x="29380" y="724"/>
                  </a:lnTo>
                  <a:lnTo>
                    <a:pt x="27488" y="1058"/>
                  </a:lnTo>
                  <a:lnTo>
                    <a:pt x="25652" y="1392"/>
                  </a:lnTo>
                  <a:lnTo>
                    <a:pt x="23871" y="1781"/>
                  </a:lnTo>
                  <a:lnTo>
                    <a:pt x="22146" y="2282"/>
                  </a:lnTo>
                  <a:lnTo>
                    <a:pt x="20477" y="2783"/>
                  </a:lnTo>
                  <a:lnTo>
                    <a:pt x="18808" y="3339"/>
                  </a:lnTo>
                  <a:lnTo>
                    <a:pt x="17250" y="3896"/>
                  </a:lnTo>
                  <a:lnTo>
                    <a:pt x="15692" y="4564"/>
                  </a:lnTo>
                  <a:lnTo>
                    <a:pt x="14190" y="5231"/>
                  </a:lnTo>
                  <a:lnTo>
                    <a:pt x="12798" y="5955"/>
                  </a:lnTo>
                  <a:lnTo>
                    <a:pt x="11407" y="6678"/>
                  </a:lnTo>
                  <a:lnTo>
                    <a:pt x="10128" y="7457"/>
                  </a:lnTo>
                  <a:lnTo>
                    <a:pt x="8903" y="8292"/>
                  </a:lnTo>
                  <a:lnTo>
                    <a:pt x="7735" y="9182"/>
                  </a:lnTo>
                  <a:lnTo>
                    <a:pt x="6678" y="10072"/>
                  </a:lnTo>
                  <a:lnTo>
                    <a:pt x="5621" y="10962"/>
                  </a:lnTo>
                  <a:lnTo>
                    <a:pt x="4675" y="11908"/>
                  </a:lnTo>
                  <a:lnTo>
                    <a:pt x="3840" y="12910"/>
                  </a:lnTo>
                  <a:lnTo>
                    <a:pt x="3061" y="13911"/>
                  </a:lnTo>
                  <a:lnTo>
                    <a:pt x="2338" y="14969"/>
                  </a:lnTo>
                  <a:lnTo>
                    <a:pt x="1726" y="16026"/>
                  </a:lnTo>
                  <a:lnTo>
                    <a:pt x="1225" y="17083"/>
                  </a:lnTo>
                  <a:lnTo>
                    <a:pt x="780" y="18196"/>
                  </a:lnTo>
                  <a:lnTo>
                    <a:pt x="446" y="19309"/>
                  </a:lnTo>
                  <a:lnTo>
                    <a:pt x="223" y="20422"/>
                  </a:lnTo>
                  <a:lnTo>
                    <a:pt x="56" y="21590"/>
                  </a:lnTo>
                  <a:lnTo>
                    <a:pt x="1" y="22759"/>
                  </a:lnTo>
                  <a:lnTo>
                    <a:pt x="56" y="23927"/>
                  </a:lnTo>
                  <a:lnTo>
                    <a:pt x="223" y="25096"/>
                  </a:lnTo>
                  <a:lnTo>
                    <a:pt x="501" y="26264"/>
                  </a:lnTo>
                  <a:lnTo>
                    <a:pt x="835" y="27377"/>
                  </a:lnTo>
                  <a:lnTo>
                    <a:pt x="1280" y="28434"/>
                  </a:lnTo>
                  <a:lnTo>
                    <a:pt x="1837" y="29547"/>
                  </a:lnTo>
                  <a:lnTo>
                    <a:pt x="2449" y="30604"/>
                  </a:lnTo>
                  <a:lnTo>
                    <a:pt x="3172" y="31606"/>
                  </a:lnTo>
                  <a:lnTo>
                    <a:pt x="3951" y="32663"/>
                  </a:lnTo>
                  <a:lnTo>
                    <a:pt x="4842" y="33609"/>
                  </a:lnTo>
                  <a:lnTo>
                    <a:pt x="5788" y="34555"/>
                  </a:lnTo>
                  <a:lnTo>
                    <a:pt x="6789" y="35501"/>
                  </a:lnTo>
                  <a:lnTo>
                    <a:pt x="7902" y="36391"/>
                  </a:lnTo>
                  <a:lnTo>
                    <a:pt x="9070" y="37226"/>
                  </a:lnTo>
                  <a:lnTo>
                    <a:pt x="10295" y="38060"/>
                  </a:lnTo>
                  <a:lnTo>
                    <a:pt x="11630" y="38839"/>
                  </a:lnTo>
                  <a:lnTo>
                    <a:pt x="12965" y="39618"/>
                  </a:lnTo>
                  <a:lnTo>
                    <a:pt x="14412" y="40342"/>
                  </a:lnTo>
                  <a:lnTo>
                    <a:pt x="15914" y="41009"/>
                  </a:lnTo>
                  <a:lnTo>
                    <a:pt x="17417" y="41621"/>
                  </a:lnTo>
                  <a:lnTo>
                    <a:pt x="19030" y="42234"/>
                  </a:lnTo>
                  <a:lnTo>
                    <a:pt x="20700" y="42790"/>
                  </a:lnTo>
                  <a:lnTo>
                    <a:pt x="22369" y="43291"/>
                  </a:lnTo>
                  <a:lnTo>
                    <a:pt x="24094" y="43736"/>
                  </a:lnTo>
                  <a:lnTo>
                    <a:pt x="25930" y="44125"/>
                  </a:lnTo>
                  <a:lnTo>
                    <a:pt x="27711" y="44515"/>
                  </a:lnTo>
                  <a:lnTo>
                    <a:pt x="29602" y="44793"/>
                  </a:lnTo>
                  <a:lnTo>
                    <a:pt x="31494" y="45071"/>
                  </a:lnTo>
                  <a:lnTo>
                    <a:pt x="33442" y="45238"/>
                  </a:lnTo>
                  <a:lnTo>
                    <a:pt x="35389" y="45405"/>
                  </a:lnTo>
                  <a:lnTo>
                    <a:pt x="37392" y="45516"/>
                  </a:lnTo>
                  <a:lnTo>
                    <a:pt x="41454" y="45516"/>
                  </a:lnTo>
                  <a:lnTo>
                    <a:pt x="43457" y="45405"/>
                  </a:lnTo>
                  <a:lnTo>
                    <a:pt x="45405" y="45238"/>
                  </a:lnTo>
                  <a:lnTo>
                    <a:pt x="47352" y="45071"/>
                  </a:lnTo>
                  <a:lnTo>
                    <a:pt x="49244" y="44793"/>
                  </a:lnTo>
                  <a:lnTo>
                    <a:pt x="51080" y="44515"/>
                  </a:lnTo>
                  <a:lnTo>
                    <a:pt x="52917" y="44125"/>
                  </a:lnTo>
                  <a:lnTo>
                    <a:pt x="54697" y="43736"/>
                  </a:lnTo>
                  <a:lnTo>
                    <a:pt x="56422" y="43291"/>
                  </a:lnTo>
                  <a:lnTo>
                    <a:pt x="58147" y="42790"/>
                  </a:lnTo>
                  <a:lnTo>
                    <a:pt x="59761" y="42234"/>
                  </a:lnTo>
                  <a:lnTo>
                    <a:pt x="61374" y="41621"/>
                  </a:lnTo>
                  <a:lnTo>
                    <a:pt x="62877" y="41009"/>
                  </a:lnTo>
                  <a:lnTo>
                    <a:pt x="64379" y="40342"/>
                  </a:lnTo>
                  <a:lnTo>
                    <a:pt x="65826" y="39618"/>
                  </a:lnTo>
                  <a:lnTo>
                    <a:pt x="67161" y="38839"/>
                  </a:lnTo>
                  <a:lnTo>
                    <a:pt x="68441" y="38060"/>
                  </a:lnTo>
                  <a:lnTo>
                    <a:pt x="69665" y="37226"/>
                  </a:lnTo>
                  <a:lnTo>
                    <a:pt x="70834" y="36391"/>
                  </a:lnTo>
                  <a:lnTo>
                    <a:pt x="71946" y="35501"/>
                  </a:lnTo>
                  <a:lnTo>
                    <a:pt x="72948" y="34555"/>
                  </a:lnTo>
                  <a:lnTo>
                    <a:pt x="73894" y="33609"/>
                  </a:lnTo>
                  <a:lnTo>
                    <a:pt x="74784" y="32607"/>
                  </a:lnTo>
                  <a:lnTo>
                    <a:pt x="75563" y="31606"/>
                  </a:lnTo>
                  <a:lnTo>
                    <a:pt x="76231" y="30604"/>
                  </a:lnTo>
                  <a:lnTo>
                    <a:pt x="76843" y="29547"/>
                  </a:lnTo>
                  <a:lnTo>
                    <a:pt x="77399" y="28434"/>
                  </a:lnTo>
                  <a:lnTo>
                    <a:pt x="77789" y="27377"/>
                  </a:lnTo>
                  <a:lnTo>
                    <a:pt x="78123" y="26208"/>
                  </a:lnTo>
                  <a:lnTo>
                    <a:pt x="78401" y="25096"/>
                  </a:lnTo>
                  <a:lnTo>
                    <a:pt x="78512" y="23927"/>
                  </a:lnTo>
                  <a:lnTo>
                    <a:pt x="78568" y="22759"/>
                  </a:lnTo>
                  <a:lnTo>
                    <a:pt x="78512" y="21590"/>
                  </a:lnTo>
                  <a:lnTo>
                    <a:pt x="78345" y="20422"/>
                  </a:lnTo>
                  <a:lnTo>
                    <a:pt x="78123" y="19309"/>
                  </a:lnTo>
                  <a:lnTo>
                    <a:pt x="77733" y="18196"/>
                  </a:lnTo>
                  <a:lnTo>
                    <a:pt x="77288" y="17083"/>
                  </a:lnTo>
                  <a:lnTo>
                    <a:pt x="76787" y="16026"/>
                  </a:lnTo>
                  <a:lnTo>
                    <a:pt x="76175" y="14969"/>
                  </a:lnTo>
                  <a:lnTo>
                    <a:pt x="75452" y="13911"/>
                  </a:lnTo>
                  <a:lnTo>
                    <a:pt x="74673" y="12910"/>
                  </a:lnTo>
                  <a:lnTo>
                    <a:pt x="73783" y="11908"/>
                  </a:lnTo>
                  <a:lnTo>
                    <a:pt x="72837" y="10962"/>
                  </a:lnTo>
                  <a:lnTo>
                    <a:pt x="71779" y="10072"/>
                  </a:lnTo>
                  <a:lnTo>
                    <a:pt x="70722" y="9126"/>
                  </a:lnTo>
                  <a:lnTo>
                    <a:pt x="69554" y="8292"/>
                  </a:lnTo>
                  <a:lnTo>
                    <a:pt x="68274" y="7457"/>
                  </a:lnTo>
                  <a:lnTo>
                    <a:pt x="66994" y="6678"/>
                  </a:lnTo>
                  <a:lnTo>
                    <a:pt x="65603" y="5899"/>
                  </a:lnTo>
                  <a:lnTo>
                    <a:pt x="64212" y="5231"/>
                  </a:lnTo>
                  <a:lnTo>
                    <a:pt x="62710" y="4508"/>
                  </a:lnTo>
                  <a:lnTo>
                    <a:pt x="61152" y="3896"/>
                  </a:lnTo>
                  <a:lnTo>
                    <a:pt x="59538" y="3284"/>
                  </a:lnTo>
                  <a:lnTo>
                    <a:pt x="57924" y="2783"/>
                  </a:lnTo>
                  <a:lnTo>
                    <a:pt x="56200" y="2282"/>
                  </a:lnTo>
                  <a:lnTo>
                    <a:pt x="54475" y="1781"/>
                  </a:lnTo>
                  <a:lnTo>
                    <a:pt x="52694" y="1392"/>
                  </a:lnTo>
                  <a:lnTo>
                    <a:pt x="50858" y="1058"/>
                  </a:lnTo>
                  <a:lnTo>
                    <a:pt x="49022" y="724"/>
                  </a:lnTo>
                  <a:lnTo>
                    <a:pt x="47074" y="502"/>
                  </a:lnTo>
                  <a:lnTo>
                    <a:pt x="45182" y="279"/>
                  </a:lnTo>
                  <a:lnTo>
                    <a:pt x="43179" y="112"/>
                  </a:lnTo>
                  <a:lnTo>
                    <a:pt x="41176" y="56"/>
                  </a:lnTo>
                  <a:lnTo>
                    <a:pt x="39173" y="1"/>
                  </a:lnTo>
                  <a:close/>
                </a:path>
              </a:pathLst>
            </a:custGeom>
            <a:solidFill>
              <a:srgbClr val="D7600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" name="Google Shape;2327;p60">
              <a:extLst>
                <a:ext uri="{FF2B5EF4-FFF2-40B4-BE49-F238E27FC236}">
                  <a16:creationId xmlns:a16="http://schemas.microsoft.com/office/drawing/2014/main" id="{0D8BB127-1CE6-24C0-E794-C871FE029A75}"/>
                </a:ext>
              </a:extLst>
            </p:cNvPr>
            <p:cNvSpPr/>
            <p:nvPr/>
          </p:nvSpPr>
          <p:spPr>
            <a:xfrm>
              <a:off x="3439975" y="4600500"/>
              <a:ext cx="1564950" cy="752575"/>
            </a:xfrm>
            <a:custGeom>
              <a:avLst/>
              <a:gdLst/>
              <a:ahLst/>
              <a:cxnLst/>
              <a:rect l="l" t="t" r="r" b="b"/>
              <a:pathLst>
                <a:path w="62598" h="30103" extrusionOk="0">
                  <a:moveTo>
                    <a:pt x="1280" y="0"/>
                  </a:moveTo>
                  <a:lnTo>
                    <a:pt x="1113" y="835"/>
                  </a:lnTo>
                  <a:lnTo>
                    <a:pt x="1110" y="887"/>
                  </a:lnTo>
                  <a:lnTo>
                    <a:pt x="1110" y="887"/>
                  </a:lnTo>
                  <a:lnTo>
                    <a:pt x="1280" y="0"/>
                  </a:lnTo>
                  <a:close/>
                  <a:moveTo>
                    <a:pt x="1110" y="887"/>
                  </a:moveTo>
                  <a:lnTo>
                    <a:pt x="223" y="5509"/>
                  </a:lnTo>
                  <a:lnTo>
                    <a:pt x="56" y="6399"/>
                  </a:lnTo>
                  <a:lnTo>
                    <a:pt x="0" y="7289"/>
                  </a:lnTo>
                  <a:lnTo>
                    <a:pt x="56" y="8180"/>
                  </a:lnTo>
                  <a:lnTo>
                    <a:pt x="111" y="9070"/>
                  </a:lnTo>
                  <a:lnTo>
                    <a:pt x="278" y="9960"/>
                  </a:lnTo>
                  <a:lnTo>
                    <a:pt x="501" y="10850"/>
                  </a:lnTo>
                  <a:lnTo>
                    <a:pt x="835" y="11796"/>
                  </a:lnTo>
                  <a:lnTo>
                    <a:pt x="1169" y="12687"/>
                  </a:lnTo>
                  <a:lnTo>
                    <a:pt x="1614" y="13633"/>
                  </a:lnTo>
                  <a:lnTo>
                    <a:pt x="2170" y="14523"/>
                  </a:lnTo>
                  <a:lnTo>
                    <a:pt x="2782" y="15413"/>
                  </a:lnTo>
                  <a:lnTo>
                    <a:pt x="3450" y="16359"/>
                  </a:lnTo>
                  <a:lnTo>
                    <a:pt x="4173" y="17249"/>
                  </a:lnTo>
                  <a:lnTo>
                    <a:pt x="5008" y="18140"/>
                  </a:lnTo>
                  <a:lnTo>
                    <a:pt x="5898" y="19030"/>
                  </a:lnTo>
                  <a:lnTo>
                    <a:pt x="6844" y="19920"/>
                  </a:lnTo>
                  <a:lnTo>
                    <a:pt x="7901" y="20755"/>
                  </a:lnTo>
                  <a:lnTo>
                    <a:pt x="8959" y="21534"/>
                  </a:lnTo>
                  <a:lnTo>
                    <a:pt x="10071" y="22313"/>
                  </a:lnTo>
                  <a:lnTo>
                    <a:pt x="11240" y="23092"/>
                  </a:lnTo>
                  <a:lnTo>
                    <a:pt x="12464" y="23815"/>
                  </a:lnTo>
                  <a:lnTo>
                    <a:pt x="13688" y="24483"/>
                  </a:lnTo>
                  <a:lnTo>
                    <a:pt x="14968" y="25095"/>
                  </a:lnTo>
                  <a:lnTo>
                    <a:pt x="16303" y="25707"/>
                  </a:lnTo>
                  <a:lnTo>
                    <a:pt x="17639" y="26263"/>
                  </a:lnTo>
                  <a:lnTo>
                    <a:pt x="19030" y="26820"/>
                  </a:lnTo>
                  <a:lnTo>
                    <a:pt x="20421" y="27321"/>
                  </a:lnTo>
                  <a:lnTo>
                    <a:pt x="21812" y="27766"/>
                  </a:lnTo>
                  <a:lnTo>
                    <a:pt x="23259" y="28211"/>
                  </a:lnTo>
                  <a:lnTo>
                    <a:pt x="24705" y="28545"/>
                  </a:lnTo>
                  <a:lnTo>
                    <a:pt x="26152" y="28879"/>
                  </a:lnTo>
                  <a:lnTo>
                    <a:pt x="27599" y="29213"/>
                  </a:lnTo>
                  <a:lnTo>
                    <a:pt x="29101" y="29435"/>
                  </a:lnTo>
                  <a:lnTo>
                    <a:pt x="30548" y="29658"/>
                  </a:lnTo>
                  <a:lnTo>
                    <a:pt x="32050" y="29825"/>
                  </a:lnTo>
                  <a:lnTo>
                    <a:pt x="33497" y="29992"/>
                  </a:lnTo>
                  <a:lnTo>
                    <a:pt x="34999" y="30047"/>
                  </a:lnTo>
                  <a:lnTo>
                    <a:pt x="36446" y="30103"/>
                  </a:lnTo>
                  <a:lnTo>
                    <a:pt x="37948" y="30103"/>
                  </a:lnTo>
                  <a:lnTo>
                    <a:pt x="39395" y="30047"/>
                  </a:lnTo>
                  <a:lnTo>
                    <a:pt x="40842" y="29992"/>
                  </a:lnTo>
                  <a:lnTo>
                    <a:pt x="42233" y="29880"/>
                  </a:lnTo>
                  <a:lnTo>
                    <a:pt x="43624" y="29658"/>
                  </a:lnTo>
                  <a:lnTo>
                    <a:pt x="45015" y="29435"/>
                  </a:lnTo>
                  <a:lnTo>
                    <a:pt x="46350" y="29157"/>
                  </a:lnTo>
                  <a:lnTo>
                    <a:pt x="47686" y="28879"/>
                  </a:lnTo>
                  <a:lnTo>
                    <a:pt x="48965" y="28489"/>
                  </a:lnTo>
                  <a:lnTo>
                    <a:pt x="50245" y="28100"/>
                  </a:lnTo>
                  <a:lnTo>
                    <a:pt x="51469" y="27599"/>
                  </a:lnTo>
                  <a:lnTo>
                    <a:pt x="52582" y="27154"/>
                  </a:lnTo>
                  <a:lnTo>
                    <a:pt x="53639" y="26597"/>
                  </a:lnTo>
                  <a:lnTo>
                    <a:pt x="54641" y="26041"/>
                  </a:lnTo>
                  <a:lnTo>
                    <a:pt x="55587" y="25429"/>
                  </a:lnTo>
                  <a:lnTo>
                    <a:pt x="56477" y="24817"/>
                  </a:lnTo>
                  <a:lnTo>
                    <a:pt x="57256" y="24205"/>
                  </a:lnTo>
                  <a:lnTo>
                    <a:pt x="58035" y="23481"/>
                  </a:lnTo>
                  <a:lnTo>
                    <a:pt x="58703" y="22814"/>
                  </a:lnTo>
                  <a:lnTo>
                    <a:pt x="59315" y="22090"/>
                  </a:lnTo>
                  <a:lnTo>
                    <a:pt x="59871" y="21311"/>
                  </a:lnTo>
                  <a:lnTo>
                    <a:pt x="60317" y="20532"/>
                  </a:lnTo>
                  <a:lnTo>
                    <a:pt x="60706" y="19753"/>
                  </a:lnTo>
                  <a:lnTo>
                    <a:pt x="61040" y="18974"/>
                  </a:lnTo>
                  <a:lnTo>
                    <a:pt x="61318" y="18140"/>
                  </a:lnTo>
                  <a:lnTo>
                    <a:pt x="61541" y="17305"/>
                  </a:lnTo>
                  <a:lnTo>
                    <a:pt x="62598" y="11741"/>
                  </a:lnTo>
                  <a:lnTo>
                    <a:pt x="62375" y="12575"/>
                  </a:lnTo>
                  <a:lnTo>
                    <a:pt x="62097" y="13410"/>
                  </a:lnTo>
                  <a:lnTo>
                    <a:pt x="61763" y="14189"/>
                  </a:lnTo>
                  <a:lnTo>
                    <a:pt x="61374" y="15024"/>
                  </a:lnTo>
                  <a:lnTo>
                    <a:pt x="60929" y="15747"/>
                  </a:lnTo>
                  <a:lnTo>
                    <a:pt x="60372" y="16526"/>
                  </a:lnTo>
                  <a:lnTo>
                    <a:pt x="59760" y="17249"/>
                  </a:lnTo>
                  <a:lnTo>
                    <a:pt x="59092" y="17973"/>
                  </a:lnTo>
                  <a:lnTo>
                    <a:pt x="58369" y="18640"/>
                  </a:lnTo>
                  <a:lnTo>
                    <a:pt x="57534" y="19308"/>
                  </a:lnTo>
                  <a:lnTo>
                    <a:pt x="56644" y="19920"/>
                  </a:lnTo>
                  <a:lnTo>
                    <a:pt x="55698" y="20477"/>
                  </a:lnTo>
                  <a:lnTo>
                    <a:pt x="54697" y="21033"/>
                  </a:lnTo>
                  <a:lnTo>
                    <a:pt x="53639" y="21590"/>
                  </a:lnTo>
                  <a:lnTo>
                    <a:pt x="52527" y="22090"/>
                  </a:lnTo>
                  <a:lnTo>
                    <a:pt x="51302" y="22535"/>
                  </a:lnTo>
                  <a:lnTo>
                    <a:pt x="50023" y="22925"/>
                  </a:lnTo>
                  <a:lnTo>
                    <a:pt x="48743" y="23314"/>
                  </a:lnTo>
                  <a:lnTo>
                    <a:pt x="47407" y="23648"/>
                  </a:lnTo>
                  <a:lnTo>
                    <a:pt x="46072" y="23871"/>
                  </a:lnTo>
                  <a:lnTo>
                    <a:pt x="44681" y="24149"/>
                  </a:lnTo>
                  <a:lnTo>
                    <a:pt x="43290" y="24316"/>
                  </a:lnTo>
                  <a:lnTo>
                    <a:pt x="41899" y="24427"/>
                  </a:lnTo>
                  <a:lnTo>
                    <a:pt x="40452" y="24539"/>
                  </a:lnTo>
                  <a:lnTo>
                    <a:pt x="36056" y="24539"/>
                  </a:lnTo>
                  <a:lnTo>
                    <a:pt x="34610" y="24427"/>
                  </a:lnTo>
                  <a:lnTo>
                    <a:pt x="33107" y="24316"/>
                  </a:lnTo>
                  <a:lnTo>
                    <a:pt x="31605" y="24093"/>
                  </a:lnTo>
                  <a:lnTo>
                    <a:pt x="30158" y="23926"/>
                  </a:lnTo>
                  <a:lnTo>
                    <a:pt x="28656" y="23648"/>
                  </a:lnTo>
                  <a:lnTo>
                    <a:pt x="27209" y="23370"/>
                  </a:lnTo>
                  <a:lnTo>
                    <a:pt x="25763" y="22981"/>
                  </a:lnTo>
                  <a:lnTo>
                    <a:pt x="24316" y="22647"/>
                  </a:lnTo>
                  <a:lnTo>
                    <a:pt x="22869" y="22202"/>
                  </a:lnTo>
                  <a:lnTo>
                    <a:pt x="21478" y="21756"/>
                  </a:lnTo>
                  <a:lnTo>
                    <a:pt x="20087" y="21256"/>
                  </a:lnTo>
                  <a:lnTo>
                    <a:pt x="18696" y="20755"/>
                  </a:lnTo>
                  <a:lnTo>
                    <a:pt x="17361" y="20143"/>
                  </a:lnTo>
                  <a:lnTo>
                    <a:pt x="16081" y="19586"/>
                  </a:lnTo>
                  <a:lnTo>
                    <a:pt x="14801" y="18919"/>
                  </a:lnTo>
                  <a:lnTo>
                    <a:pt x="13521" y="18251"/>
                  </a:lnTo>
                  <a:lnTo>
                    <a:pt x="12353" y="17528"/>
                  </a:lnTo>
                  <a:lnTo>
                    <a:pt x="11184" y="16804"/>
                  </a:lnTo>
                  <a:lnTo>
                    <a:pt x="10016" y="16025"/>
                  </a:lnTo>
                  <a:lnTo>
                    <a:pt x="8959" y="15191"/>
                  </a:lnTo>
                  <a:lnTo>
                    <a:pt x="7957" y="14356"/>
                  </a:lnTo>
                  <a:lnTo>
                    <a:pt x="6955" y="13466"/>
                  </a:lnTo>
                  <a:lnTo>
                    <a:pt x="6065" y="12575"/>
                  </a:lnTo>
                  <a:lnTo>
                    <a:pt x="5231" y="11685"/>
                  </a:lnTo>
                  <a:lnTo>
                    <a:pt x="4507" y="10795"/>
                  </a:lnTo>
                  <a:lnTo>
                    <a:pt x="3839" y="9905"/>
                  </a:lnTo>
                  <a:lnTo>
                    <a:pt x="3227" y="8959"/>
                  </a:lnTo>
                  <a:lnTo>
                    <a:pt x="2727" y="8068"/>
                  </a:lnTo>
                  <a:lnTo>
                    <a:pt x="2226" y="7122"/>
                  </a:lnTo>
                  <a:lnTo>
                    <a:pt x="1892" y="6232"/>
                  </a:lnTo>
                  <a:lnTo>
                    <a:pt x="1558" y="5342"/>
                  </a:lnTo>
                  <a:lnTo>
                    <a:pt x="1336" y="4396"/>
                  </a:lnTo>
                  <a:lnTo>
                    <a:pt x="1169" y="3506"/>
                  </a:lnTo>
                  <a:lnTo>
                    <a:pt x="1113" y="2615"/>
                  </a:lnTo>
                  <a:lnTo>
                    <a:pt x="1057" y="1725"/>
                  </a:lnTo>
                  <a:lnTo>
                    <a:pt x="1110" y="887"/>
                  </a:lnTo>
                  <a:close/>
                </a:path>
              </a:pathLst>
            </a:custGeom>
            <a:solidFill>
              <a:srgbClr val="FFF3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" name="Google Shape;2328;p60">
              <a:extLst>
                <a:ext uri="{FF2B5EF4-FFF2-40B4-BE49-F238E27FC236}">
                  <a16:creationId xmlns:a16="http://schemas.microsoft.com/office/drawing/2014/main" id="{A7A82BF9-CB51-79C6-F0E5-167FB69BB5D2}"/>
                </a:ext>
              </a:extLst>
            </p:cNvPr>
            <p:cNvSpPr/>
            <p:nvPr/>
          </p:nvSpPr>
          <p:spPr>
            <a:xfrm>
              <a:off x="3241050" y="4561550"/>
              <a:ext cx="1961425" cy="912550"/>
            </a:xfrm>
            <a:custGeom>
              <a:avLst/>
              <a:gdLst/>
              <a:ahLst/>
              <a:cxnLst/>
              <a:rect l="l" t="t" r="r" b="b"/>
              <a:pathLst>
                <a:path w="78457" h="36502" extrusionOk="0">
                  <a:moveTo>
                    <a:pt x="1280" y="0"/>
                  </a:moveTo>
                  <a:lnTo>
                    <a:pt x="223" y="5564"/>
                  </a:lnTo>
                  <a:lnTo>
                    <a:pt x="56" y="6677"/>
                  </a:lnTo>
                  <a:lnTo>
                    <a:pt x="0" y="7790"/>
                  </a:lnTo>
                  <a:lnTo>
                    <a:pt x="0" y="8903"/>
                  </a:lnTo>
                  <a:lnTo>
                    <a:pt x="112" y="10016"/>
                  </a:lnTo>
                  <a:lnTo>
                    <a:pt x="334" y="11129"/>
                  </a:lnTo>
                  <a:lnTo>
                    <a:pt x="612" y="12297"/>
                  </a:lnTo>
                  <a:lnTo>
                    <a:pt x="1002" y="13410"/>
                  </a:lnTo>
                  <a:lnTo>
                    <a:pt x="1447" y="14579"/>
                  </a:lnTo>
                  <a:lnTo>
                    <a:pt x="2059" y="15747"/>
                  </a:lnTo>
                  <a:lnTo>
                    <a:pt x="2671" y="16860"/>
                  </a:lnTo>
                  <a:lnTo>
                    <a:pt x="3450" y="18028"/>
                  </a:lnTo>
                  <a:lnTo>
                    <a:pt x="4285" y="19197"/>
                  </a:lnTo>
                  <a:lnTo>
                    <a:pt x="5231" y="20310"/>
                  </a:lnTo>
                  <a:lnTo>
                    <a:pt x="6288" y="21423"/>
                  </a:lnTo>
                  <a:lnTo>
                    <a:pt x="7401" y="22535"/>
                  </a:lnTo>
                  <a:lnTo>
                    <a:pt x="8625" y="23648"/>
                  </a:lnTo>
                  <a:lnTo>
                    <a:pt x="9905" y="24705"/>
                  </a:lnTo>
                  <a:lnTo>
                    <a:pt x="11296" y="25763"/>
                  </a:lnTo>
                  <a:lnTo>
                    <a:pt x="12687" y="26709"/>
                  </a:lnTo>
                  <a:lnTo>
                    <a:pt x="14133" y="27655"/>
                  </a:lnTo>
                  <a:lnTo>
                    <a:pt x="15691" y="28545"/>
                  </a:lnTo>
                  <a:lnTo>
                    <a:pt x="17249" y="29379"/>
                  </a:lnTo>
                  <a:lnTo>
                    <a:pt x="18863" y="30214"/>
                  </a:lnTo>
                  <a:lnTo>
                    <a:pt x="20477" y="30993"/>
                  </a:lnTo>
                  <a:lnTo>
                    <a:pt x="22202" y="31661"/>
                  </a:lnTo>
                  <a:lnTo>
                    <a:pt x="23871" y="32329"/>
                  </a:lnTo>
                  <a:lnTo>
                    <a:pt x="25651" y="32996"/>
                  </a:lnTo>
                  <a:lnTo>
                    <a:pt x="27432" y="33553"/>
                  </a:lnTo>
                  <a:lnTo>
                    <a:pt x="29213" y="34053"/>
                  </a:lnTo>
                  <a:lnTo>
                    <a:pt x="31049" y="34554"/>
                  </a:lnTo>
                  <a:lnTo>
                    <a:pt x="32885" y="34999"/>
                  </a:lnTo>
                  <a:lnTo>
                    <a:pt x="34721" y="35333"/>
                  </a:lnTo>
                  <a:lnTo>
                    <a:pt x="36557" y="35667"/>
                  </a:lnTo>
                  <a:lnTo>
                    <a:pt x="38449" y="35945"/>
                  </a:lnTo>
                  <a:lnTo>
                    <a:pt x="40285" y="36168"/>
                  </a:lnTo>
                  <a:lnTo>
                    <a:pt x="42177" y="36335"/>
                  </a:lnTo>
                  <a:lnTo>
                    <a:pt x="44013" y="36446"/>
                  </a:lnTo>
                  <a:lnTo>
                    <a:pt x="45850" y="36502"/>
                  </a:lnTo>
                  <a:lnTo>
                    <a:pt x="47741" y="36502"/>
                  </a:lnTo>
                  <a:lnTo>
                    <a:pt x="49522" y="36446"/>
                  </a:lnTo>
                  <a:lnTo>
                    <a:pt x="51358" y="36335"/>
                  </a:lnTo>
                  <a:lnTo>
                    <a:pt x="53139" y="36168"/>
                  </a:lnTo>
                  <a:lnTo>
                    <a:pt x="54919" y="35945"/>
                  </a:lnTo>
                  <a:lnTo>
                    <a:pt x="56644" y="35667"/>
                  </a:lnTo>
                  <a:lnTo>
                    <a:pt x="58314" y="35333"/>
                  </a:lnTo>
                  <a:lnTo>
                    <a:pt x="59983" y="34944"/>
                  </a:lnTo>
                  <a:lnTo>
                    <a:pt x="61652" y="34443"/>
                  </a:lnTo>
                  <a:lnTo>
                    <a:pt x="63210" y="33942"/>
                  </a:lnTo>
                  <a:lnTo>
                    <a:pt x="64712" y="33386"/>
                  </a:lnTo>
                  <a:lnTo>
                    <a:pt x="66159" y="32774"/>
                  </a:lnTo>
                  <a:lnTo>
                    <a:pt x="67495" y="32106"/>
                  </a:lnTo>
                  <a:lnTo>
                    <a:pt x="68774" y="31383"/>
                  </a:lnTo>
                  <a:lnTo>
                    <a:pt x="69943" y="30659"/>
                  </a:lnTo>
                  <a:lnTo>
                    <a:pt x="71056" y="29880"/>
                  </a:lnTo>
                  <a:lnTo>
                    <a:pt x="72057" y="29046"/>
                  </a:lnTo>
                  <a:lnTo>
                    <a:pt x="73003" y="28211"/>
                  </a:lnTo>
                  <a:lnTo>
                    <a:pt x="73838" y="27321"/>
                  </a:lnTo>
                  <a:lnTo>
                    <a:pt x="74617" y="26375"/>
                  </a:lnTo>
                  <a:lnTo>
                    <a:pt x="75284" y="25429"/>
                  </a:lnTo>
                  <a:lnTo>
                    <a:pt x="75897" y="24483"/>
                  </a:lnTo>
                  <a:lnTo>
                    <a:pt x="76397" y="23481"/>
                  </a:lnTo>
                  <a:lnTo>
                    <a:pt x="76787" y="22480"/>
                  </a:lnTo>
                  <a:lnTo>
                    <a:pt x="77121" y="21423"/>
                  </a:lnTo>
                  <a:lnTo>
                    <a:pt x="77399" y="20365"/>
                  </a:lnTo>
                  <a:lnTo>
                    <a:pt x="78456" y="14801"/>
                  </a:lnTo>
                  <a:lnTo>
                    <a:pt x="78233" y="15858"/>
                  </a:lnTo>
                  <a:lnTo>
                    <a:pt x="77900" y="16916"/>
                  </a:lnTo>
                  <a:lnTo>
                    <a:pt x="77455" y="17917"/>
                  </a:lnTo>
                  <a:lnTo>
                    <a:pt x="76954" y="18919"/>
                  </a:lnTo>
                  <a:lnTo>
                    <a:pt x="76342" y="19865"/>
                  </a:lnTo>
                  <a:lnTo>
                    <a:pt x="75674" y="20811"/>
                  </a:lnTo>
                  <a:lnTo>
                    <a:pt x="74895" y="21756"/>
                  </a:lnTo>
                  <a:lnTo>
                    <a:pt x="74060" y="22647"/>
                  </a:lnTo>
                  <a:lnTo>
                    <a:pt x="73114" y="23481"/>
                  </a:lnTo>
                  <a:lnTo>
                    <a:pt x="72113" y="24316"/>
                  </a:lnTo>
                  <a:lnTo>
                    <a:pt x="71000" y="25095"/>
                  </a:lnTo>
                  <a:lnTo>
                    <a:pt x="69831" y="25818"/>
                  </a:lnTo>
                  <a:lnTo>
                    <a:pt x="68552" y="26542"/>
                  </a:lnTo>
                  <a:lnTo>
                    <a:pt x="67216" y="27209"/>
                  </a:lnTo>
                  <a:lnTo>
                    <a:pt x="65770" y="27821"/>
                  </a:lnTo>
                  <a:lnTo>
                    <a:pt x="64267" y="28378"/>
                  </a:lnTo>
                  <a:lnTo>
                    <a:pt x="62709" y="28934"/>
                  </a:lnTo>
                  <a:lnTo>
                    <a:pt x="61040" y="29379"/>
                  </a:lnTo>
                  <a:lnTo>
                    <a:pt x="59371" y="29769"/>
                  </a:lnTo>
                  <a:lnTo>
                    <a:pt x="57701" y="30103"/>
                  </a:lnTo>
                  <a:lnTo>
                    <a:pt x="55977" y="30381"/>
                  </a:lnTo>
                  <a:lnTo>
                    <a:pt x="54196" y="30604"/>
                  </a:lnTo>
                  <a:lnTo>
                    <a:pt x="52415" y="30771"/>
                  </a:lnTo>
                  <a:lnTo>
                    <a:pt x="50635" y="30882"/>
                  </a:lnTo>
                  <a:lnTo>
                    <a:pt x="48799" y="30937"/>
                  </a:lnTo>
                  <a:lnTo>
                    <a:pt x="46962" y="30937"/>
                  </a:lnTo>
                  <a:lnTo>
                    <a:pt x="45071" y="30882"/>
                  </a:lnTo>
                  <a:lnTo>
                    <a:pt x="43234" y="30771"/>
                  </a:lnTo>
                  <a:lnTo>
                    <a:pt x="41343" y="30604"/>
                  </a:lnTo>
                  <a:lnTo>
                    <a:pt x="39506" y="30381"/>
                  </a:lnTo>
                  <a:lnTo>
                    <a:pt x="37615" y="30103"/>
                  </a:lnTo>
                  <a:lnTo>
                    <a:pt x="35778" y="29825"/>
                  </a:lnTo>
                  <a:lnTo>
                    <a:pt x="33942" y="29435"/>
                  </a:lnTo>
                  <a:lnTo>
                    <a:pt x="32106" y="28990"/>
                  </a:lnTo>
                  <a:lnTo>
                    <a:pt x="30270" y="28545"/>
                  </a:lnTo>
                  <a:lnTo>
                    <a:pt x="28489" y="27988"/>
                  </a:lnTo>
                  <a:lnTo>
                    <a:pt x="26709" y="27432"/>
                  </a:lnTo>
                  <a:lnTo>
                    <a:pt x="24984" y="26820"/>
                  </a:lnTo>
                  <a:lnTo>
                    <a:pt x="23259" y="26152"/>
                  </a:lnTo>
                  <a:lnTo>
                    <a:pt x="21534" y="25429"/>
                  </a:lnTo>
                  <a:lnTo>
                    <a:pt x="19920" y="24650"/>
                  </a:lnTo>
                  <a:lnTo>
                    <a:pt x="18307" y="23871"/>
                  </a:lnTo>
                  <a:lnTo>
                    <a:pt x="16749" y="22981"/>
                  </a:lnTo>
                  <a:lnTo>
                    <a:pt x="15191" y="22090"/>
                  </a:lnTo>
                  <a:lnTo>
                    <a:pt x="13744" y="21144"/>
                  </a:lnTo>
                  <a:lnTo>
                    <a:pt x="12353" y="20198"/>
                  </a:lnTo>
                  <a:lnTo>
                    <a:pt x="10962" y="19141"/>
                  </a:lnTo>
                  <a:lnTo>
                    <a:pt x="9682" y="18084"/>
                  </a:lnTo>
                  <a:lnTo>
                    <a:pt x="8458" y="16971"/>
                  </a:lnTo>
                  <a:lnTo>
                    <a:pt x="7345" y="15858"/>
                  </a:lnTo>
                  <a:lnTo>
                    <a:pt x="6288" y="14745"/>
                  </a:lnTo>
                  <a:lnTo>
                    <a:pt x="5342" y="13633"/>
                  </a:lnTo>
                  <a:lnTo>
                    <a:pt x="4507" y="12464"/>
                  </a:lnTo>
                  <a:lnTo>
                    <a:pt x="3784" y="11351"/>
                  </a:lnTo>
                  <a:lnTo>
                    <a:pt x="3116" y="10183"/>
                  </a:lnTo>
                  <a:lnTo>
                    <a:pt x="2560" y="9014"/>
                  </a:lnTo>
                  <a:lnTo>
                    <a:pt x="2059" y="7901"/>
                  </a:lnTo>
                  <a:lnTo>
                    <a:pt x="1670" y="6733"/>
                  </a:lnTo>
                  <a:lnTo>
                    <a:pt x="1391" y="5564"/>
                  </a:lnTo>
                  <a:lnTo>
                    <a:pt x="1169" y="4452"/>
                  </a:lnTo>
                  <a:lnTo>
                    <a:pt x="1057" y="3339"/>
                  </a:lnTo>
                  <a:lnTo>
                    <a:pt x="1057" y="2226"/>
                  </a:lnTo>
                  <a:lnTo>
                    <a:pt x="1113" y="1113"/>
                  </a:lnTo>
                  <a:lnTo>
                    <a:pt x="1280" y="0"/>
                  </a:lnTo>
                  <a:close/>
                </a:path>
              </a:pathLst>
            </a:custGeom>
            <a:solidFill>
              <a:srgbClr val="BF9D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" name="Google Shape;2329;p60">
              <a:extLst>
                <a:ext uri="{FF2B5EF4-FFF2-40B4-BE49-F238E27FC236}">
                  <a16:creationId xmlns:a16="http://schemas.microsoft.com/office/drawing/2014/main" id="{162F20D0-332F-5992-B506-6D52ED26BEF3}"/>
                </a:ext>
              </a:extLst>
            </p:cNvPr>
            <p:cNvSpPr/>
            <p:nvPr/>
          </p:nvSpPr>
          <p:spPr>
            <a:xfrm>
              <a:off x="3267475" y="4158125"/>
              <a:ext cx="1940550" cy="1176875"/>
            </a:xfrm>
            <a:custGeom>
              <a:avLst/>
              <a:gdLst/>
              <a:ahLst/>
              <a:cxnLst/>
              <a:rect l="l" t="t" r="r" b="b"/>
              <a:pathLst>
                <a:path w="77622" h="47075" extrusionOk="0">
                  <a:moveTo>
                    <a:pt x="33219" y="4842"/>
                  </a:moveTo>
                  <a:lnTo>
                    <a:pt x="34666" y="4897"/>
                  </a:lnTo>
                  <a:lnTo>
                    <a:pt x="36168" y="5009"/>
                  </a:lnTo>
                  <a:lnTo>
                    <a:pt x="37615" y="5120"/>
                  </a:lnTo>
                  <a:lnTo>
                    <a:pt x="39117" y="5287"/>
                  </a:lnTo>
                  <a:lnTo>
                    <a:pt x="40619" y="5509"/>
                  </a:lnTo>
                  <a:lnTo>
                    <a:pt x="42066" y="5788"/>
                  </a:lnTo>
                  <a:lnTo>
                    <a:pt x="43568" y="6066"/>
                  </a:lnTo>
                  <a:lnTo>
                    <a:pt x="45015" y="6400"/>
                  </a:lnTo>
                  <a:lnTo>
                    <a:pt x="46462" y="6789"/>
                  </a:lnTo>
                  <a:lnTo>
                    <a:pt x="47853" y="7179"/>
                  </a:lnTo>
                  <a:lnTo>
                    <a:pt x="49300" y="7680"/>
                  </a:lnTo>
                  <a:lnTo>
                    <a:pt x="50691" y="8125"/>
                  </a:lnTo>
                  <a:lnTo>
                    <a:pt x="52026" y="8681"/>
                  </a:lnTo>
                  <a:lnTo>
                    <a:pt x="53362" y="9238"/>
                  </a:lnTo>
                  <a:lnTo>
                    <a:pt x="54697" y="9850"/>
                  </a:lnTo>
                  <a:lnTo>
                    <a:pt x="55977" y="10517"/>
                  </a:lnTo>
                  <a:lnTo>
                    <a:pt x="57201" y="11185"/>
                  </a:lnTo>
                  <a:lnTo>
                    <a:pt x="58425" y="11908"/>
                  </a:lnTo>
                  <a:lnTo>
                    <a:pt x="59593" y="12632"/>
                  </a:lnTo>
                  <a:lnTo>
                    <a:pt x="60706" y="13411"/>
                  </a:lnTo>
                  <a:lnTo>
                    <a:pt x="61764" y="14245"/>
                  </a:lnTo>
                  <a:lnTo>
                    <a:pt x="62821" y="15080"/>
                  </a:lnTo>
                  <a:lnTo>
                    <a:pt x="63767" y="15915"/>
                  </a:lnTo>
                  <a:lnTo>
                    <a:pt x="64657" y="16805"/>
                  </a:lnTo>
                  <a:lnTo>
                    <a:pt x="65492" y="17695"/>
                  </a:lnTo>
                  <a:lnTo>
                    <a:pt x="66215" y="18585"/>
                  </a:lnTo>
                  <a:lnTo>
                    <a:pt x="66883" y="19531"/>
                  </a:lnTo>
                  <a:lnTo>
                    <a:pt x="67495" y="20422"/>
                  </a:lnTo>
                  <a:lnTo>
                    <a:pt x="67995" y="21312"/>
                  </a:lnTo>
                  <a:lnTo>
                    <a:pt x="68496" y="22202"/>
                  </a:lnTo>
                  <a:lnTo>
                    <a:pt x="68830" y="23148"/>
                  </a:lnTo>
                  <a:lnTo>
                    <a:pt x="69164" y="24038"/>
                  </a:lnTo>
                  <a:lnTo>
                    <a:pt x="69387" y="24929"/>
                  </a:lnTo>
                  <a:lnTo>
                    <a:pt x="69553" y="25819"/>
                  </a:lnTo>
                  <a:lnTo>
                    <a:pt x="69665" y="26709"/>
                  </a:lnTo>
                  <a:lnTo>
                    <a:pt x="69665" y="27600"/>
                  </a:lnTo>
                  <a:lnTo>
                    <a:pt x="69609" y="28490"/>
                  </a:lnTo>
                  <a:lnTo>
                    <a:pt x="69498" y="29324"/>
                  </a:lnTo>
                  <a:lnTo>
                    <a:pt x="69331" y="30215"/>
                  </a:lnTo>
                  <a:lnTo>
                    <a:pt x="69053" y="30994"/>
                  </a:lnTo>
                  <a:lnTo>
                    <a:pt x="68719" y="31828"/>
                  </a:lnTo>
                  <a:lnTo>
                    <a:pt x="68329" y="32607"/>
                  </a:lnTo>
                  <a:lnTo>
                    <a:pt x="67829" y="33386"/>
                  </a:lnTo>
                  <a:lnTo>
                    <a:pt x="67328" y="34165"/>
                  </a:lnTo>
                  <a:lnTo>
                    <a:pt x="66716" y="34889"/>
                  </a:lnTo>
                  <a:lnTo>
                    <a:pt x="66048" y="35612"/>
                  </a:lnTo>
                  <a:lnTo>
                    <a:pt x="65269" y="36280"/>
                  </a:lnTo>
                  <a:lnTo>
                    <a:pt x="64490" y="36948"/>
                  </a:lnTo>
                  <a:lnTo>
                    <a:pt x="63600" y="37560"/>
                  </a:lnTo>
                  <a:lnTo>
                    <a:pt x="62654" y="38172"/>
                  </a:lnTo>
                  <a:lnTo>
                    <a:pt x="61652" y="38728"/>
                  </a:lnTo>
                  <a:lnTo>
                    <a:pt x="60539" y="39285"/>
                  </a:lnTo>
                  <a:lnTo>
                    <a:pt x="59427" y="39785"/>
                  </a:lnTo>
                  <a:lnTo>
                    <a:pt x="58202" y="40230"/>
                  </a:lnTo>
                  <a:lnTo>
                    <a:pt x="56923" y="40620"/>
                  </a:lnTo>
                  <a:lnTo>
                    <a:pt x="55643" y="41009"/>
                  </a:lnTo>
                  <a:lnTo>
                    <a:pt x="54307" y="41343"/>
                  </a:lnTo>
                  <a:lnTo>
                    <a:pt x="52972" y="41566"/>
                  </a:lnTo>
                  <a:lnTo>
                    <a:pt x="51581" y="41844"/>
                  </a:lnTo>
                  <a:lnTo>
                    <a:pt x="50190" y="42011"/>
                  </a:lnTo>
                  <a:lnTo>
                    <a:pt x="48799" y="42122"/>
                  </a:lnTo>
                  <a:lnTo>
                    <a:pt x="47352" y="42234"/>
                  </a:lnTo>
                  <a:lnTo>
                    <a:pt x="42956" y="42234"/>
                  </a:lnTo>
                  <a:lnTo>
                    <a:pt x="41510" y="42122"/>
                  </a:lnTo>
                  <a:lnTo>
                    <a:pt x="40007" y="42011"/>
                  </a:lnTo>
                  <a:lnTo>
                    <a:pt x="38505" y="41788"/>
                  </a:lnTo>
                  <a:lnTo>
                    <a:pt x="37058" y="41621"/>
                  </a:lnTo>
                  <a:lnTo>
                    <a:pt x="35556" y="41343"/>
                  </a:lnTo>
                  <a:lnTo>
                    <a:pt x="34109" y="41065"/>
                  </a:lnTo>
                  <a:lnTo>
                    <a:pt x="32663" y="40676"/>
                  </a:lnTo>
                  <a:lnTo>
                    <a:pt x="31216" y="40342"/>
                  </a:lnTo>
                  <a:lnTo>
                    <a:pt x="29769" y="39897"/>
                  </a:lnTo>
                  <a:lnTo>
                    <a:pt x="28378" y="39451"/>
                  </a:lnTo>
                  <a:lnTo>
                    <a:pt x="26987" y="38951"/>
                  </a:lnTo>
                  <a:lnTo>
                    <a:pt x="25596" y="38450"/>
                  </a:lnTo>
                  <a:lnTo>
                    <a:pt x="24261" y="37838"/>
                  </a:lnTo>
                  <a:lnTo>
                    <a:pt x="22981" y="37281"/>
                  </a:lnTo>
                  <a:lnTo>
                    <a:pt x="21701" y="36614"/>
                  </a:lnTo>
                  <a:lnTo>
                    <a:pt x="20421" y="35946"/>
                  </a:lnTo>
                  <a:lnTo>
                    <a:pt x="19253" y="35223"/>
                  </a:lnTo>
                  <a:lnTo>
                    <a:pt x="18084" y="34499"/>
                  </a:lnTo>
                  <a:lnTo>
                    <a:pt x="16916" y="33720"/>
                  </a:lnTo>
                  <a:lnTo>
                    <a:pt x="15859" y="32886"/>
                  </a:lnTo>
                  <a:lnTo>
                    <a:pt x="14857" y="32051"/>
                  </a:lnTo>
                  <a:lnTo>
                    <a:pt x="13855" y="31161"/>
                  </a:lnTo>
                  <a:lnTo>
                    <a:pt x="12965" y="30270"/>
                  </a:lnTo>
                  <a:lnTo>
                    <a:pt x="12131" y="29380"/>
                  </a:lnTo>
                  <a:lnTo>
                    <a:pt x="11407" y="28490"/>
                  </a:lnTo>
                  <a:lnTo>
                    <a:pt x="10739" y="27600"/>
                  </a:lnTo>
                  <a:lnTo>
                    <a:pt x="10127" y="26709"/>
                  </a:lnTo>
                  <a:lnTo>
                    <a:pt x="9627" y="25763"/>
                  </a:lnTo>
                  <a:lnTo>
                    <a:pt x="9181" y="24873"/>
                  </a:lnTo>
                  <a:lnTo>
                    <a:pt x="8792" y="23983"/>
                  </a:lnTo>
                  <a:lnTo>
                    <a:pt x="8514" y="23093"/>
                  </a:lnTo>
                  <a:lnTo>
                    <a:pt x="8236" y="22147"/>
                  </a:lnTo>
                  <a:lnTo>
                    <a:pt x="8069" y="21256"/>
                  </a:lnTo>
                  <a:lnTo>
                    <a:pt x="8013" y="20366"/>
                  </a:lnTo>
                  <a:lnTo>
                    <a:pt x="7957" y="19476"/>
                  </a:lnTo>
                  <a:lnTo>
                    <a:pt x="8013" y="18641"/>
                  </a:lnTo>
                  <a:lnTo>
                    <a:pt x="8124" y="17751"/>
                  </a:lnTo>
                  <a:lnTo>
                    <a:pt x="8347" y="16916"/>
                  </a:lnTo>
                  <a:lnTo>
                    <a:pt x="8625" y="16082"/>
                  </a:lnTo>
                  <a:lnTo>
                    <a:pt x="8959" y="15247"/>
                  </a:lnTo>
                  <a:lnTo>
                    <a:pt x="9348" y="14468"/>
                  </a:lnTo>
                  <a:lnTo>
                    <a:pt x="9794" y="13689"/>
                  </a:lnTo>
                  <a:lnTo>
                    <a:pt x="10350" y="12966"/>
                  </a:lnTo>
                  <a:lnTo>
                    <a:pt x="10962" y="12187"/>
                  </a:lnTo>
                  <a:lnTo>
                    <a:pt x="11630" y="11519"/>
                  </a:lnTo>
                  <a:lnTo>
                    <a:pt x="12353" y="10795"/>
                  </a:lnTo>
                  <a:lnTo>
                    <a:pt x="13188" y="10128"/>
                  </a:lnTo>
                  <a:lnTo>
                    <a:pt x="14022" y="9516"/>
                  </a:lnTo>
                  <a:lnTo>
                    <a:pt x="14968" y="8904"/>
                  </a:lnTo>
                  <a:lnTo>
                    <a:pt x="16025" y="8347"/>
                  </a:lnTo>
                  <a:lnTo>
                    <a:pt x="17083" y="7846"/>
                  </a:lnTo>
                  <a:lnTo>
                    <a:pt x="18196" y="7346"/>
                  </a:lnTo>
                  <a:lnTo>
                    <a:pt x="19420" y="6901"/>
                  </a:lnTo>
                  <a:lnTo>
                    <a:pt x="20699" y="6455"/>
                  </a:lnTo>
                  <a:lnTo>
                    <a:pt x="21979" y="6122"/>
                  </a:lnTo>
                  <a:lnTo>
                    <a:pt x="23315" y="5788"/>
                  </a:lnTo>
                  <a:lnTo>
                    <a:pt x="24650" y="5509"/>
                  </a:lnTo>
                  <a:lnTo>
                    <a:pt x="26041" y="5287"/>
                  </a:lnTo>
                  <a:lnTo>
                    <a:pt x="27432" y="5120"/>
                  </a:lnTo>
                  <a:lnTo>
                    <a:pt x="28879" y="4953"/>
                  </a:lnTo>
                  <a:lnTo>
                    <a:pt x="30270" y="4897"/>
                  </a:lnTo>
                  <a:lnTo>
                    <a:pt x="31772" y="4842"/>
                  </a:lnTo>
                  <a:close/>
                  <a:moveTo>
                    <a:pt x="29936" y="1"/>
                  </a:moveTo>
                  <a:lnTo>
                    <a:pt x="28100" y="56"/>
                  </a:lnTo>
                  <a:lnTo>
                    <a:pt x="26264" y="168"/>
                  </a:lnTo>
                  <a:lnTo>
                    <a:pt x="24483" y="335"/>
                  </a:lnTo>
                  <a:lnTo>
                    <a:pt x="22758" y="557"/>
                  </a:lnTo>
                  <a:lnTo>
                    <a:pt x="20978" y="835"/>
                  </a:lnTo>
                  <a:lnTo>
                    <a:pt x="19308" y="1169"/>
                  </a:lnTo>
                  <a:lnTo>
                    <a:pt x="17639" y="1614"/>
                  </a:lnTo>
                  <a:lnTo>
                    <a:pt x="16025" y="2060"/>
                  </a:lnTo>
                  <a:lnTo>
                    <a:pt x="14412" y="2560"/>
                  </a:lnTo>
                  <a:lnTo>
                    <a:pt x="12910" y="3172"/>
                  </a:lnTo>
                  <a:lnTo>
                    <a:pt x="11463" y="3785"/>
                  </a:lnTo>
                  <a:lnTo>
                    <a:pt x="10127" y="4452"/>
                  </a:lnTo>
                  <a:lnTo>
                    <a:pt x="8848" y="5176"/>
                  </a:lnTo>
                  <a:lnTo>
                    <a:pt x="7623" y="5899"/>
                  </a:lnTo>
                  <a:lnTo>
                    <a:pt x="6566" y="6678"/>
                  </a:lnTo>
                  <a:lnTo>
                    <a:pt x="5509" y="7513"/>
                  </a:lnTo>
                  <a:lnTo>
                    <a:pt x="4563" y="8403"/>
                  </a:lnTo>
                  <a:lnTo>
                    <a:pt x="3729" y="9293"/>
                  </a:lnTo>
                  <a:lnTo>
                    <a:pt x="2950" y="10183"/>
                  </a:lnTo>
                  <a:lnTo>
                    <a:pt x="2282" y="11129"/>
                  </a:lnTo>
                  <a:lnTo>
                    <a:pt x="1725" y="12131"/>
                  </a:lnTo>
                  <a:lnTo>
                    <a:pt x="1225" y="13132"/>
                  </a:lnTo>
                  <a:lnTo>
                    <a:pt x="779" y="14134"/>
                  </a:lnTo>
                  <a:lnTo>
                    <a:pt x="446" y="15191"/>
                  </a:lnTo>
                  <a:lnTo>
                    <a:pt x="223" y="16248"/>
                  </a:lnTo>
                  <a:lnTo>
                    <a:pt x="56" y="17361"/>
                  </a:lnTo>
                  <a:lnTo>
                    <a:pt x="0" y="18419"/>
                  </a:lnTo>
                  <a:lnTo>
                    <a:pt x="0" y="19531"/>
                  </a:lnTo>
                  <a:lnTo>
                    <a:pt x="167" y="20700"/>
                  </a:lnTo>
                  <a:lnTo>
                    <a:pt x="334" y="21813"/>
                  </a:lnTo>
                  <a:lnTo>
                    <a:pt x="668" y="22926"/>
                  </a:lnTo>
                  <a:lnTo>
                    <a:pt x="1002" y="24094"/>
                  </a:lnTo>
                  <a:lnTo>
                    <a:pt x="1503" y="25207"/>
                  </a:lnTo>
                  <a:lnTo>
                    <a:pt x="2059" y="26375"/>
                  </a:lnTo>
                  <a:lnTo>
                    <a:pt x="2727" y="27488"/>
                  </a:lnTo>
                  <a:lnTo>
                    <a:pt x="3506" y="28657"/>
                  </a:lnTo>
                  <a:lnTo>
                    <a:pt x="4341" y="29770"/>
                  </a:lnTo>
                  <a:lnTo>
                    <a:pt x="5286" y="30938"/>
                  </a:lnTo>
                  <a:lnTo>
                    <a:pt x="6288" y="32051"/>
                  </a:lnTo>
                  <a:lnTo>
                    <a:pt x="7401" y="33108"/>
                  </a:lnTo>
                  <a:lnTo>
                    <a:pt x="8625" y="34221"/>
                  </a:lnTo>
                  <a:lnTo>
                    <a:pt x="9905" y="35278"/>
                  </a:lnTo>
                  <a:lnTo>
                    <a:pt x="11296" y="36335"/>
                  </a:lnTo>
                  <a:lnTo>
                    <a:pt x="12687" y="37281"/>
                  </a:lnTo>
                  <a:lnTo>
                    <a:pt x="14134" y="38227"/>
                  </a:lnTo>
                  <a:lnTo>
                    <a:pt x="15692" y="39118"/>
                  </a:lnTo>
                  <a:lnTo>
                    <a:pt x="17250" y="40008"/>
                  </a:lnTo>
                  <a:lnTo>
                    <a:pt x="18863" y="40787"/>
                  </a:lnTo>
                  <a:lnTo>
                    <a:pt x="20477" y="41566"/>
                  </a:lnTo>
                  <a:lnTo>
                    <a:pt x="22202" y="42289"/>
                  </a:lnTo>
                  <a:lnTo>
                    <a:pt x="23927" y="42957"/>
                  </a:lnTo>
                  <a:lnTo>
                    <a:pt x="25652" y="43569"/>
                  </a:lnTo>
                  <a:lnTo>
                    <a:pt x="27432" y="44125"/>
                  </a:lnTo>
                  <a:lnTo>
                    <a:pt x="29213" y="44682"/>
                  </a:lnTo>
                  <a:lnTo>
                    <a:pt x="31049" y="45127"/>
                  </a:lnTo>
                  <a:lnTo>
                    <a:pt x="32885" y="45572"/>
                  </a:lnTo>
                  <a:lnTo>
                    <a:pt x="34721" y="45962"/>
                  </a:lnTo>
                  <a:lnTo>
                    <a:pt x="36558" y="46240"/>
                  </a:lnTo>
                  <a:lnTo>
                    <a:pt x="38449" y="46518"/>
                  </a:lnTo>
                  <a:lnTo>
                    <a:pt x="40286" y="46741"/>
                  </a:lnTo>
                  <a:lnTo>
                    <a:pt x="42177" y="46908"/>
                  </a:lnTo>
                  <a:lnTo>
                    <a:pt x="44014" y="47019"/>
                  </a:lnTo>
                  <a:lnTo>
                    <a:pt x="45905" y="47074"/>
                  </a:lnTo>
                  <a:lnTo>
                    <a:pt x="47742" y="47074"/>
                  </a:lnTo>
                  <a:lnTo>
                    <a:pt x="49578" y="47019"/>
                  </a:lnTo>
                  <a:lnTo>
                    <a:pt x="51358" y="46908"/>
                  </a:lnTo>
                  <a:lnTo>
                    <a:pt x="53139" y="46741"/>
                  </a:lnTo>
                  <a:lnTo>
                    <a:pt x="54920" y="46518"/>
                  </a:lnTo>
                  <a:lnTo>
                    <a:pt x="56644" y="46240"/>
                  </a:lnTo>
                  <a:lnTo>
                    <a:pt x="58314" y="45906"/>
                  </a:lnTo>
                  <a:lnTo>
                    <a:pt x="59983" y="45516"/>
                  </a:lnTo>
                  <a:lnTo>
                    <a:pt x="61652" y="45071"/>
                  </a:lnTo>
                  <a:lnTo>
                    <a:pt x="63210" y="44515"/>
                  </a:lnTo>
                  <a:lnTo>
                    <a:pt x="64768" y="43958"/>
                  </a:lnTo>
                  <a:lnTo>
                    <a:pt x="66159" y="43346"/>
                  </a:lnTo>
                  <a:lnTo>
                    <a:pt x="67550" y="42679"/>
                  </a:lnTo>
                  <a:lnTo>
                    <a:pt x="68830" y="41955"/>
                  </a:lnTo>
                  <a:lnTo>
                    <a:pt x="69999" y="41176"/>
                  </a:lnTo>
                  <a:lnTo>
                    <a:pt x="71111" y="40397"/>
                  </a:lnTo>
                  <a:lnTo>
                    <a:pt x="72113" y="39563"/>
                  </a:lnTo>
                  <a:lnTo>
                    <a:pt x="73059" y="38728"/>
                  </a:lnTo>
                  <a:lnTo>
                    <a:pt x="73894" y="37838"/>
                  </a:lnTo>
                  <a:lnTo>
                    <a:pt x="74673" y="36892"/>
                  </a:lnTo>
                  <a:lnTo>
                    <a:pt x="75340" y="35946"/>
                  </a:lnTo>
                  <a:lnTo>
                    <a:pt x="75952" y="35000"/>
                  </a:lnTo>
                  <a:lnTo>
                    <a:pt x="76453" y="33998"/>
                  </a:lnTo>
                  <a:lnTo>
                    <a:pt x="76843" y="32941"/>
                  </a:lnTo>
                  <a:lnTo>
                    <a:pt x="77176" y="31884"/>
                  </a:lnTo>
                  <a:lnTo>
                    <a:pt x="77399" y="30827"/>
                  </a:lnTo>
                  <a:lnTo>
                    <a:pt x="77566" y="29770"/>
                  </a:lnTo>
                  <a:lnTo>
                    <a:pt x="77622" y="28657"/>
                  </a:lnTo>
                  <a:lnTo>
                    <a:pt x="77622" y="27544"/>
                  </a:lnTo>
                  <a:lnTo>
                    <a:pt x="77510" y="26431"/>
                  </a:lnTo>
                  <a:lnTo>
                    <a:pt x="77288" y="25318"/>
                  </a:lnTo>
                  <a:lnTo>
                    <a:pt x="77010" y="24150"/>
                  </a:lnTo>
                  <a:lnTo>
                    <a:pt x="76620" y="23037"/>
                  </a:lnTo>
                  <a:lnTo>
                    <a:pt x="76119" y="21868"/>
                  </a:lnTo>
                  <a:lnTo>
                    <a:pt x="75563" y="20756"/>
                  </a:lnTo>
                  <a:lnTo>
                    <a:pt x="74895" y="19587"/>
                  </a:lnTo>
                  <a:lnTo>
                    <a:pt x="74172" y="18474"/>
                  </a:lnTo>
                  <a:lnTo>
                    <a:pt x="73337" y="17306"/>
                  </a:lnTo>
                  <a:lnTo>
                    <a:pt x="72391" y="16193"/>
                  </a:lnTo>
                  <a:lnTo>
                    <a:pt x="71334" y="15080"/>
                  </a:lnTo>
                  <a:lnTo>
                    <a:pt x="70221" y="13967"/>
                  </a:lnTo>
                  <a:lnTo>
                    <a:pt x="68997" y="12854"/>
                  </a:lnTo>
                  <a:lnTo>
                    <a:pt x="67717" y="11797"/>
                  </a:lnTo>
                  <a:lnTo>
                    <a:pt x="66382" y="10795"/>
                  </a:lnTo>
                  <a:lnTo>
                    <a:pt x="64935" y="9794"/>
                  </a:lnTo>
                  <a:lnTo>
                    <a:pt x="63488" y="8848"/>
                  </a:lnTo>
                  <a:lnTo>
                    <a:pt x="61986" y="7958"/>
                  </a:lnTo>
                  <a:lnTo>
                    <a:pt x="60372" y="7123"/>
                  </a:lnTo>
                  <a:lnTo>
                    <a:pt x="58815" y="6288"/>
                  </a:lnTo>
                  <a:lnTo>
                    <a:pt x="57145" y="5565"/>
                  </a:lnTo>
                  <a:lnTo>
                    <a:pt x="55476" y="4842"/>
                  </a:lnTo>
                  <a:lnTo>
                    <a:pt x="53751" y="4174"/>
                  </a:lnTo>
                  <a:lnTo>
                    <a:pt x="51970" y="3562"/>
                  </a:lnTo>
                  <a:lnTo>
                    <a:pt x="50190" y="2950"/>
                  </a:lnTo>
                  <a:lnTo>
                    <a:pt x="48409" y="2449"/>
                  </a:lnTo>
                  <a:lnTo>
                    <a:pt x="46573" y="1948"/>
                  </a:lnTo>
                  <a:lnTo>
                    <a:pt x="44737" y="1559"/>
                  </a:lnTo>
                  <a:lnTo>
                    <a:pt x="42901" y="1169"/>
                  </a:lnTo>
                  <a:lnTo>
                    <a:pt x="41065" y="835"/>
                  </a:lnTo>
                  <a:lnTo>
                    <a:pt x="39173" y="557"/>
                  </a:lnTo>
                  <a:lnTo>
                    <a:pt x="37337" y="335"/>
                  </a:lnTo>
                  <a:lnTo>
                    <a:pt x="35445" y="168"/>
                  </a:lnTo>
                  <a:lnTo>
                    <a:pt x="33608" y="56"/>
                  </a:lnTo>
                  <a:lnTo>
                    <a:pt x="31772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" name="Google Shape;2330;p60">
              <a:extLst>
                <a:ext uri="{FF2B5EF4-FFF2-40B4-BE49-F238E27FC236}">
                  <a16:creationId xmlns:a16="http://schemas.microsoft.com/office/drawing/2014/main" id="{7EB326DF-75FA-D995-8FEC-1DCA29CF6D5E}"/>
                </a:ext>
              </a:extLst>
            </p:cNvPr>
            <p:cNvSpPr/>
            <p:nvPr/>
          </p:nvSpPr>
          <p:spPr>
            <a:xfrm>
              <a:off x="3466400" y="4279150"/>
              <a:ext cx="1542700" cy="934825"/>
            </a:xfrm>
            <a:custGeom>
              <a:avLst/>
              <a:gdLst/>
              <a:ahLst/>
              <a:cxnLst/>
              <a:rect l="l" t="t" r="r" b="b"/>
              <a:pathLst>
                <a:path w="61708" h="37393" extrusionOk="0">
                  <a:moveTo>
                    <a:pt x="23815" y="1"/>
                  </a:moveTo>
                  <a:lnTo>
                    <a:pt x="22313" y="56"/>
                  </a:lnTo>
                  <a:lnTo>
                    <a:pt x="20922" y="112"/>
                  </a:lnTo>
                  <a:lnTo>
                    <a:pt x="19475" y="279"/>
                  </a:lnTo>
                  <a:lnTo>
                    <a:pt x="18084" y="446"/>
                  </a:lnTo>
                  <a:lnTo>
                    <a:pt x="16693" y="668"/>
                  </a:lnTo>
                  <a:lnTo>
                    <a:pt x="15358" y="947"/>
                  </a:lnTo>
                  <a:lnTo>
                    <a:pt x="14022" y="1281"/>
                  </a:lnTo>
                  <a:lnTo>
                    <a:pt x="12742" y="1614"/>
                  </a:lnTo>
                  <a:lnTo>
                    <a:pt x="11463" y="2060"/>
                  </a:lnTo>
                  <a:lnTo>
                    <a:pt x="10239" y="2505"/>
                  </a:lnTo>
                  <a:lnTo>
                    <a:pt x="9126" y="3005"/>
                  </a:lnTo>
                  <a:lnTo>
                    <a:pt x="8068" y="3506"/>
                  </a:lnTo>
                  <a:lnTo>
                    <a:pt x="7011" y="4063"/>
                  </a:lnTo>
                  <a:lnTo>
                    <a:pt x="6065" y="4675"/>
                  </a:lnTo>
                  <a:lnTo>
                    <a:pt x="5231" y="5287"/>
                  </a:lnTo>
                  <a:lnTo>
                    <a:pt x="4396" y="5954"/>
                  </a:lnTo>
                  <a:lnTo>
                    <a:pt x="3673" y="6678"/>
                  </a:lnTo>
                  <a:lnTo>
                    <a:pt x="3005" y="7346"/>
                  </a:lnTo>
                  <a:lnTo>
                    <a:pt x="2393" y="8125"/>
                  </a:lnTo>
                  <a:lnTo>
                    <a:pt x="1837" y="8848"/>
                  </a:lnTo>
                  <a:lnTo>
                    <a:pt x="1391" y="9627"/>
                  </a:lnTo>
                  <a:lnTo>
                    <a:pt x="1002" y="10406"/>
                  </a:lnTo>
                  <a:lnTo>
                    <a:pt x="668" y="11241"/>
                  </a:lnTo>
                  <a:lnTo>
                    <a:pt x="390" y="12075"/>
                  </a:lnTo>
                  <a:lnTo>
                    <a:pt x="167" y="12910"/>
                  </a:lnTo>
                  <a:lnTo>
                    <a:pt x="56" y="13800"/>
                  </a:lnTo>
                  <a:lnTo>
                    <a:pt x="0" y="14635"/>
                  </a:lnTo>
                  <a:lnTo>
                    <a:pt x="56" y="15525"/>
                  </a:lnTo>
                  <a:lnTo>
                    <a:pt x="112" y="16415"/>
                  </a:lnTo>
                  <a:lnTo>
                    <a:pt x="279" y="17306"/>
                  </a:lnTo>
                  <a:lnTo>
                    <a:pt x="557" y="18252"/>
                  </a:lnTo>
                  <a:lnTo>
                    <a:pt x="835" y="19142"/>
                  </a:lnTo>
                  <a:lnTo>
                    <a:pt x="1224" y="20032"/>
                  </a:lnTo>
                  <a:lnTo>
                    <a:pt x="1670" y="20922"/>
                  </a:lnTo>
                  <a:lnTo>
                    <a:pt x="2170" y="21868"/>
                  </a:lnTo>
                  <a:lnTo>
                    <a:pt x="2782" y="22759"/>
                  </a:lnTo>
                  <a:lnTo>
                    <a:pt x="3450" y="23649"/>
                  </a:lnTo>
                  <a:lnTo>
                    <a:pt x="4174" y="24539"/>
                  </a:lnTo>
                  <a:lnTo>
                    <a:pt x="5008" y="25429"/>
                  </a:lnTo>
                  <a:lnTo>
                    <a:pt x="5898" y="26320"/>
                  </a:lnTo>
                  <a:lnTo>
                    <a:pt x="6900" y="27210"/>
                  </a:lnTo>
                  <a:lnTo>
                    <a:pt x="7902" y="28045"/>
                  </a:lnTo>
                  <a:lnTo>
                    <a:pt x="8959" y="28879"/>
                  </a:lnTo>
                  <a:lnTo>
                    <a:pt x="10127" y="29658"/>
                  </a:lnTo>
                  <a:lnTo>
                    <a:pt x="11296" y="30382"/>
                  </a:lnTo>
                  <a:lnTo>
                    <a:pt x="12464" y="31105"/>
                  </a:lnTo>
                  <a:lnTo>
                    <a:pt x="13744" y="31773"/>
                  </a:lnTo>
                  <a:lnTo>
                    <a:pt x="15024" y="32440"/>
                  </a:lnTo>
                  <a:lnTo>
                    <a:pt x="16304" y="32997"/>
                  </a:lnTo>
                  <a:lnTo>
                    <a:pt x="17639" y="33609"/>
                  </a:lnTo>
                  <a:lnTo>
                    <a:pt x="19030" y="34110"/>
                  </a:lnTo>
                  <a:lnTo>
                    <a:pt x="20421" y="34610"/>
                  </a:lnTo>
                  <a:lnTo>
                    <a:pt x="21812" y="35056"/>
                  </a:lnTo>
                  <a:lnTo>
                    <a:pt x="23259" y="35501"/>
                  </a:lnTo>
                  <a:lnTo>
                    <a:pt x="24706" y="35835"/>
                  </a:lnTo>
                  <a:lnTo>
                    <a:pt x="26152" y="36224"/>
                  </a:lnTo>
                  <a:lnTo>
                    <a:pt x="27599" y="36502"/>
                  </a:lnTo>
                  <a:lnTo>
                    <a:pt x="29101" y="36780"/>
                  </a:lnTo>
                  <a:lnTo>
                    <a:pt x="30548" y="36947"/>
                  </a:lnTo>
                  <a:lnTo>
                    <a:pt x="32050" y="37170"/>
                  </a:lnTo>
                  <a:lnTo>
                    <a:pt x="33553" y="37281"/>
                  </a:lnTo>
                  <a:lnTo>
                    <a:pt x="34999" y="37393"/>
                  </a:lnTo>
                  <a:lnTo>
                    <a:pt x="39395" y="37393"/>
                  </a:lnTo>
                  <a:lnTo>
                    <a:pt x="40842" y="37281"/>
                  </a:lnTo>
                  <a:lnTo>
                    <a:pt x="42233" y="37170"/>
                  </a:lnTo>
                  <a:lnTo>
                    <a:pt x="43624" y="37003"/>
                  </a:lnTo>
                  <a:lnTo>
                    <a:pt x="45015" y="36725"/>
                  </a:lnTo>
                  <a:lnTo>
                    <a:pt x="46350" y="36502"/>
                  </a:lnTo>
                  <a:lnTo>
                    <a:pt x="47686" y="36168"/>
                  </a:lnTo>
                  <a:lnTo>
                    <a:pt x="48966" y="35779"/>
                  </a:lnTo>
                  <a:lnTo>
                    <a:pt x="50245" y="35389"/>
                  </a:lnTo>
                  <a:lnTo>
                    <a:pt x="51470" y="34944"/>
                  </a:lnTo>
                  <a:lnTo>
                    <a:pt x="52582" y="34444"/>
                  </a:lnTo>
                  <a:lnTo>
                    <a:pt x="53695" y="33887"/>
                  </a:lnTo>
                  <a:lnTo>
                    <a:pt x="54697" y="33331"/>
                  </a:lnTo>
                  <a:lnTo>
                    <a:pt x="55643" y="32719"/>
                  </a:lnTo>
                  <a:lnTo>
                    <a:pt x="56533" y="32107"/>
                  </a:lnTo>
                  <a:lnTo>
                    <a:pt x="57312" y="31439"/>
                  </a:lnTo>
                  <a:lnTo>
                    <a:pt x="58091" y="30771"/>
                  </a:lnTo>
                  <a:lnTo>
                    <a:pt x="58759" y="30048"/>
                  </a:lnTo>
                  <a:lnTo>
                    <a:pt x="59371" y="29324"/>
                  </a:lnTo>
                  <a:lnTo>
                    <a:pt x="59872" y="28545"/>
                  </a:lnTo>
                  <a:lnTo>
                    <a:pt x="60372" y="27766"/>
                  </a:lnTo>
                  <a:lnTo>
                    <a:pt x="60762" y="26987"/>
                  </a:lnTo>
                  <a:lnTo>
                    <a:pt x="61096" y="26153"/>
                  </a:lnTo>
                  <a:lnTo>
                    <a:pt x="61374" y="25374"/>
                  </a:lnTo>
                  <a:lnTo>
                    <a:pt x="61541" y="24483"/>
                  </a:lnTo>
                  <a:lnTo>
                    <a:pt x="61652" y="23649"/>
                  </a:lnTo>
                  <a:lnTo>
                    <a:pt x="61708" y="22759"/>
                  </a:lnTo>
                  <a:lnTo>
                    <a:pt x="61708" y="21868"/>
                  </a:lnTo>
                  <a:lnTo>
                    <a:pt x="61596" y="20978"/>
                  </a:lnTo>
                  <a:lnTo>
                    <a:pt x="61430" y="20088"/>
                  </a:lnTo>
                  <a:lnTo>
                    <a:pt x="61207" y="19197"/>
                  </a:lnTo>
                  <a:lnTo>
                    <a:pt x="60873" y="18307"/>
                  </a:lnTo>
                  <a:lnTo>
                    <a:pt x="60539" y="17361"/>
                  </a:lnTo>
                  <a:lnTo>
                    <a:pt x="60038" y="16471"/>
                  </a:lnTo>
                  <a:lnTo>
                    <a:pt x="59538" y="15581"/>
                  </a:lnTo>
                  <a:lnTo>
                    <a:pt x="58926" y="14690"/>
                  </a:lnTo>
                  <a:lnTo>
                    <a:pt x="58258" y="13744"/>
                  </a:lnTo>
                  <a:lnTo>
                    <a:pt x="57535" y="12854"/>
                  </a:lnTo>
                  <a:lnTo>
                    <a:pt x="56700" y="11964"/>
                  </a:lnTo>
                  <a:lnTo>
                    <a:pt x="55810" y="11074"/>
                  </a:lnTo>
                  <a:lnTo>
                    <a:pt x="54864" y="10239"/>
                  </a:lnTo>
                  <a:lnTo>
                    <a:pt x="53807" y="9404"/>
                  </a:lnTo>
                  <a:lnTo>
                    <a:pt x="52749" y="8570"/>
                  </a:lnTo>
                  <a:lnTo>
                    <a:pt x="51636" y="7791"/>
                  </a:lnTo>
                  <a:lnTo>
                    <a:pt x="50468" y="7067"/>
                  </a:lnTo>
                  <a:lnTo>
                    <a:pt x="49244" y="6344"/>
                  </a:lnTo>
                  <a:lnTo>
                    <a:pt x="48020" y="5676"/>
                  </a:lnTo>
                  <a:lnTo>
                    <a:pt x="46740" y="5009"/>
                  </a:lnTo>
                  <a:lnTo>
                    <a:pt x="45405" y="4397"/>
                  </a:lnTo>
                  <a:lnTo>
                    <a:pt x="44069" y="3840"/>
                  </a:lnTo>
                  <a:lnTo>
                    <a:pt x="42734" y="3284"/>
                  </a:lnTo>
                  <a:lnTo>
                    <a:pt x="41343" y="2839"/>
                  </a:lnTo>
                  <a:lnTo>
                    <a:pt x="39896" y="2338"/>
                  </a:lnTo>
                  <a:lnTo>
                    <a:pt x="38505" y="1948"/>
                  </a:lnTo>
                  <a:lnTo>
                    <a:pt x="37058" y="1559"/>
                  </a:lnTo>
                  <a:lnTo>
                    <a:pt x="35611" y="1225"/>
                  </a:lnTo>
                  <a:lnTo>
                    <a:pt x="34109" y="947"/>
                  </a:lnTo>
                  <a:lnTo>
                    <a:pt x="32662" y="668"/>
                  </a:lnTo>
                  <a:lnTo>
                    <a:pt x="31160" y="446"/>
                  </a:lnTo>
                  <a:lnTo>
                    <a:pt x="29658" y="279"/>
                  </a:lnTo>
                  <a:lnTo>
                    <a:pt x="28211" y="168"/>
                  </a:lnTo>
                  <a:lnTo>
                    <a:pt x="26709" y="56"/>
                  </a:lnTo>
                  <a:lnTo>
                    <a:pt x="25262" y="1"/>
                  </a:lnTo>
                  <a:close/>
                </a:path>
              </a:pathLst>
            </a:custGeom>
            <a:solidFill>
              <a:srgbClr val="FFF3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" name="Arrow: Chevron 3">
            <a:extLst>
              <a:ext uri="{FF2B5EF4-FFF2-40B4-BE49-F238E27FC236}">
                <a16:creationId xmlns:a16="http://schemas.microsoft.com/office/drawing/2014/main" id="{512A21BA-A637-550A-39CC-05B732032623}"/>
              </a:ext>
            </a:extLst>
          </p:cNvPr>
          <p:cNvSpPr/>
          <p:nvPr/>
        </p:nvSpPr>
        <p:spPr>
          <a:xfrm>
            <a:off x="3602470" y="27943"/>
            <a:ext cx="8070916" cy="312945"/>
          </a:xfrm>
          <a:prstGeom prst="chevron">
            <a:avLst/>
          </a:prstGeom>
          <a:solidFill>
            <a:srgbClr val="F3F3F3"/>
          </a:solidFill>
          <a:ln>
            <a:noFill/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100">
                <a:solidFill>
                  <a:schemeClr val="tx1"/>
                </a:solidFill>
              </a:rPr>
              <a:t>Reiselivsbyen Tromsø: Hva slags tjenester og opplevelser tilbyr Tromsø i 2040 og hvilke grep har vi tatt for å få det til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81A6580-3D8D-4FEE-0949-69E4243CAAA1}"/>
              </a:ext>
            </a:extLst>
          </p:cNvPr>
          <p:cNvSpPr/>
          <p:nvPr/>
        </p:nvSpPr>
        <p:spPr>
          <a:xfrm>
            <a:off x="3927837" y="2136596"/>
            <a:ext cx="3667890" cy="1641816"/>
          </a:xfrm>
          <a:prstGeom prst="rect">
            <a:avLst/>
          </a:prstGeom>
          <a:solidFill>
            <a:srgbClr val="1C3348"/>
          </a:solidFill>
          <a:ln>
            <a:solidFill>
              <a:srgbClr val="1C334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elhetlig visjon og bærekraftig  strategi for reiselive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4D77739-11DA-94B6-9564-7D56CA385F9C}"/>
              </a:ext>
            </a:extLst>
          </p:cNvPr>
          <p:cNvSpPr/>
          <p:nvPr/>
        </p:nvSpPr>
        <p:spPr>
          <a:xfrm>
            <a:off x="3927837" y="3931148"/>
            <a:ext cx="3667890" cy="1641816"/>
          </a:xfrm>
          <a:prstGeom prst="rect">
            <a:avLst/>
          </a:prstGeom>
          <a:solidFill>
            <a:srgbClr val="1C3348"/>
          </a:solidFill>
          <a:ln>
            <a:solidFill>
              <a:srgbClr val="1C334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Regulering av reiseliv og boligmarke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2856B5-B44C-B90F-1E29-B076F42E12F6}"/>
              </a:ext>
            </a:extLst>
          </p:cNvPr>
          <p:cNvSpPr/>
          <p:nvPr/>
        </p:nvSpPr>
        <p:spPr>
          <a:xfrm>
            <a:off x="7710260" y="3944513"/>
            <a:ext cx="3667890" cy="1641816"/>
          </a:xfrm>
          <a:prstGeom prst="rect">
            <a:avLst/>
          </a:prstGeom>
          <a:solidFill>
            <a:srgbClr val="1C3348"/>
          </a:solidFill>
          <a:ln>
            <a:solidFill>
              <a:srgbClr val="1C334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Infrastruktur og informasj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9D3797F-BFA2-23DF-4D41-7CDF8A1FA165}"/>
              </a:ext>
            </a:extLst>
          </p:cNvPr>
          <p:cNvSpPr/>
          <p:nvPr/>
        </p:nvSpPr>
        <p:spPr>
          <a:xfrm>
            <a:off x="7717222" y="2136596"/>
            <a:ext cx="3667890" cy="1641816"/>
          </a:xfrm>
          <a:prstGeom prst="rect">
            <a:avLst/>
          </a:prstGeom>
          <a:solidFill>
            <a:srgbClr val="1C3348"/>
          </a:solidFill>
          <a:ln>
            <a:solidFill>
              <a:srgbClr val="1C334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Geografisk samarbeid og helhetlig tilbud</a:t>
            </a:r>
          </a:p>
        </p:txBody>
      </p:sp>
      <p:grpSp>
        <p:nvGrpSpPr>
          <p:cNvPr id="18" name="Google Shape;17342;p84">
            <a:extLst>
              <a:ext uri="{FF2B5EF4-FFF2-40B4-BE49-F238E27FC236}">
                <a16:creationId xmlns:a16="http://schemas.microsoft.com/office/drawing/2014/main" id="{E3C4F172-92C4-A30D-84A1-DF3CD4B5BD42}"/>
              </a:ext>
            </a:extLst>
          </p:cNvPr>
          <p:cNvGrpSpPr/>
          <p:nvPr/>
        </p:nvGrpSpPr>
        <p:grpSpPr>
          <a:xfrm>
            <a:off x="6899704" y="3094979"/>
            <a:ext cx="760564" cy="733686"/>
            <a:chOff x="1094650" y="238125"/>
            <a:chExt cx="5430700" cy="5238750"/>
          </a:xfrm>
        </p:grpSpPr>
        <p:sp>
          <p:nvSpPr>
            <p:cNvPr id="19" name="Google Shape;17343;p84">
              <a:extLst>
                <a:ext uri="{FF2B5EF4-FFF2-40B4-BE49-F238E27FC236}">
                  <a16:creationId xmlns:a16="http://schemas.microsoft.com/office/drawing/2014/main" id="{0E195A51-5B45-6648-824E-C5C137A80BBB}"/>
                </a:ext>
              </a:extLst>
            </p:cNvPr>
            <p:cNvSpPr/>
            <p:nvPr/>
          </p:nvSpPr>
          <p:spPr>
            <a:xfrm>
              <a:off x="3474750" y="1701525"/>
              <a:ext cx="361700" cy="2839175"/>
            </a:xfrm>
            <a:custGeom>
              <a:avLst/>
              <a:gdLst/>
              <a:ahLst/>
              <a:cxnLst/>
              <a:rect l="l" t="t" r="r" b="b"/>
              <a:pathLst>
                <a:path w="14468" h="113567" extrusionOk="0">
                  <a:moveTo>
                    <a:pt x="10461" y="0"/>
                  </a:moveTo>
                  <a:lnTo>
                    <a:pt x="9292" y="4785"/>
                  </a:lnTo>
                  <a:lnTo>
                    <a:pt x="8625" y="7289"/>
                  </a:lnTo>
                  <a:lnTo>
                    <a:pt x="7846" y="10183"/>
                  </a:lnTo>
                  <a:lnTo>
                    <a:pt x="7067" y="13577"/>
                  </a:lnTo>
                  <a:lnTo>
                    <a:pt x="6622" y="15413"/>
                  </a:lnTo>
                  <a:lnTo>
                    <a:pt x="6232" y="17305"/>
                  </a:lnTo>
                  <a:lnTo>
                    <a:pt x="4452" y="25763"/>
                  </a:lnTo>
                  <a:lnTo>
                    <a:pt x="2894" y="35277"/>
                  </a:lnTo>
                  <a:lnTo>
                    <a:pt x="2504" y="37781"/>
                  </a:lnTo>
                  <a:lnTo>
                    <a:pt x="2170" y="40341"/>
                  </a:lnTo>
                  <a:lnTo>
                    <a:pt x="1558" y="45516"/>
                  </a:lnTo>
                  <a:lnTo>
                    <a:pt x="1224" y="48131"/>
                  </a:lnTo>
                  <a:lnTo>
                    <a:pt x="1002" y="50802"/>
                  </a:lnTo>
                  <a:lnTo>
                    <a:pt x="779" y="53473"/>
                  </a:lnTo>
                  <a:lnTo>
                    <a:pt x="557" y="56143"/>
                  </a:lnTo>
                  <a:lnTo>
                    <a:pt x="390" y="58814"/>
                  </a:lnTo>
                  <a:lnTo>
                    <a:pt x="278" y="61485"/>
                  </a:lnTo>
                  <a:lnTo>
                    <a:pt x="56" y="66827"/>
                  </a:lnTo>
                  <a:lnTo>
                    <a:pt x="0" y="72057"/>
                  </a:lnTo>
                  <a:lnTo>
                    <a:pt x="0" y="74672"/>
                  </a:lnTo>
                  <a:lnTo>
                    <a:pt x="56" y="77176"/>
                  </a:lnTo>
                  <a:lnTo>
                    <a:pt x="167" y="79680"/>
                  </a:lnTo>
                  <a:lnTo>
                    <a:pt x="278" y="82184"/>
                  </a:lnTo>
                  <a:lnTo>
                    <a:pt x="557" y="86914"/>
                  </a:lnTo>
                  <a:lnTo>
                    <a:pt x="1002" y="91421"/>
                  </a:lnTo>
                  <a:lnTo>
                    <a:pt x="1447" y="95594"/>
                  </a:lnTo>
                  <a:lnTo>
                    <a:pt x="2003" y="99489"/>
                  </a:lnTo>
                  <a:lnTo>
                    <a:pt x="2615" y="102939"/>
                  </a:lnTo>
                  <a:lnTo>
                    <a:pt x="3227" y="105999"/>
                  </a:lnTo>
                  <a:lnTo>
                    <a:pt x="3784" y="108614"/>
                  </a:lnTo>
                  <a:lnTo>
                    <a:pt x="4340" y="110673"/>
                  </a:lnTo>
                  <a:lnTo>
                    <a:pt x="4785" y="112287"/>
                  </a:lnTo>
                  <a:lnTo>
                    <a:pt x="5175" y="113567"/>
                  </a:lnTo>
                  <a:lnTo>
                    <a:pt x="12186" y="111118"/>
                  </a:lnTo>
                  <a:lnTo>
                    <a:pt x="11852" y="110005"/>
                  </a:lnTo>
                  <a:lnTo>
                    <a:pt x="11407" y="108670"/>
                  </a:lnTo>
                  <a:lnTo>
                    <a:pt x="10850" y="106778"/>
                  </a:lnTo>
                  <a:lnTo>
                    <a:pt x="10238" y="104386"/>
                  </a:lnTo>
                  <a:lnTo>
                    <a:pt x="9626" y="101548"/>
                  </a:lnTo>
                  <a:lnTo>
                    <a:pt x="8959" y="98265"/>
                  </a:lnTo>
                  <a:lnTo>
                    <a:pt x="8347" y="94592"/>
                  </a:lnTo>
                  <a:lnTo>
                    <a:pt x="7734" y="90586"/>
                  </a:lnTo>
                  <a:lnTo>
                    <a:pt x="7234" y="86302"/>
                  </a:lnTo>
                  <a:lnTo>
                    <a:pt x="6789" y="81739"/>
                  </a:lnTo>
                  <a:lnTo>
                    <a:pt x="6455" y="76954"/>
                  </a:lnTo>
                  <a:lnTo>
                    <a:pt x="6343" y="74450"/>
                  </a:lnTo>
                  <a:lnTo>
                    <a:pt x="6288" y="72002"/>
                  </a:lnTo>
                  <a:lnTo>
                    <a:pt x="6121" y="66882"/>
                  </a:lnTo>
                  <a:lnTo>
                    <a:pt x="6232" y="61708"/>
                  </a:lnTo>
                  <a:lnTo>
                    <a:pt x="6232" y="59092"/>
                  </a:lnTo>
                  <a:lnTo>
                    <a:pt x="6343" y="56477"/>
                  </a:lnTo>
                  <a:lnTo>
                    <a:pt x="6510" y="53862"/>
                  </a:lnTo>
                  <a:lnTo>
                    <a:pt x="6622" y="51247"/>
                  </a:lnTo>
                  <a:lnTo>
                    <a:pt x="6789" y="48632"/>
                  </a:lnTo>
                  <a:lnTo>
                    <a:pt x="7011" y="46072"/>
                  </a:lnTo>
                  <a:lnTo>
                    <a:pt x="7456" y="40953"/>
                  </a:lnTo>
                  <a:lnTo>
                    <a:pt x="7734" y="38449"/>
                  </a:lnTo>
                  <a:lnTo>
                    <a:pt x="8013" y="36001"/>
                  </a:lnTo>
                  <a:lnTo>
                    <a:pt x="9348" y="26597"/>
                  </a:lnTo>
                  <a:lnTo>
                    <a:pt x="10795" y="18251"/>
                  </a:lnTo>
                  <a:lnTo>
                    <a:pt x="11129" y="16359"/>
                  </a:lnTo>
                  <a:lnTo>
                    <a:pt x="11518" y="14523"/>
                  </a:lnTo>
                  <a:lnTo>
                    <a:pt x="12186" y="11184"/>
                  </a:lnTo>
                  <a:lnTo>
                    <a:pt x="12854" y="8291"/>
                  </a:lnTo>
                  <a:lnTo>
                    <a:pt x="13410" y="5787"/>
                  </a:lnTo>
                  <a:lnTo>
                    <a:pt x="14467" y="1057"/>
                  </a:lnTo>
                  <a:lnTo>
                    <a:pt x="10461" y="0"/>
                  </a:lnTo>
                  <a:close/>
                </a:path>
              </a:pathLst>
            </a:custGeom>
            <a:solidFill>
              <a:srgbClr val="5287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7344;p84">
              <a:extLst>
                <a:ext uri="{FF2B5EF4-FFF2-40B4-BE49-F238E27FC236}">
                  <a16:creationId xmlns:a16="http://schemas.microsoft.com/office/drawing/2014/main" id="{6169770D-252E-B4DE-C403-C673280AD1C5}"/>
                </a:ext>
              </a:extLst>
            </p:cNvPr>
            <p:cNvSpPr/>
            <p:nvPr/>
          </p:nvSpPr>
          <p:spPr>
            <a:xfrm>
              <a:off x="3695925" y="242275"/>
              <a:ext cx="2825275" cy="1706875"/>
            </a:xfrm>
            <a:custGeom>
              <a:avLst/>
              <a:gdLst/>
              <a:ahLst/>
              <a:cxnLst/>
              <a:rect l="l" t="t" r="r" b="b"/>
              <a:pathLst>
                <a:path w="113011" h="68275" extrusionOk="0">
                  <a:moveTo>
                    <a:pt x="113010" y="1"/>
                  </a:moveTo>
                  <a:lnTo>
                    <a:pt x="112676" y="168"/>
                  </a:lnTo>
                  <a:lnTo>
                    <a:pt x="112175" y="390"/>
                  </a:lnTo>
                  <a:lnTo>
                    <a:pt x="111396" y="669"/>
                  </a:lnTo>
                  <a:lnTo>
                    <a:pt x="110395" y="947"/>
                  </a:lnTo>
                  <a:lnTo>
                    <a:pt x="109059" y="1281"/>
                  </a:lnTo>
                  <a:lnTo>
                    <a:pt x="107446" y="1559"/>
                  </a:lnTo>
                  <a:lnTo>
                    <a:pt x="105443" y="1893"/>
                  </a:lnTo>
                  <a:lnTo>
                    <a:pt x="103050" y="2171"/>
                  </a:lnTo>
                  <a:lnTo>
                    <a:pt x="100324" y="2394"/>
                  </a:lnTo>
                  <a:lnTo>
                    <a:pt x="97152" y="2560"/>
                  </a:lnTo>
                  <a:lnTo>
                    <a:pt x="93480" y="2616"/>
                  </a:lnTo>
                  <a:lnTo>
                    <a:pt x="89418" y="2560"/>
                  </a:lnTo>
                  <a:lnTo>
                    <a:pt x="84799" y="2449"/>
                  </a:lnTo>
                  <a:lnTo>
                    <a:pt x="79680" y="2171"/>
                  </a:lnTo>
                  <a:lnTo>
                    <a:pt x="74005" y="1726"/>
                  </a:lnTo>
                  <a:lnTo>
                    <a:pt x="70777" y="1503"/>
                  </a:lnTo>
                  <a:lnTo>
                    <a:pt x="67662" y="1392"/>
                  </a:lnTo>
                  <a:lnTo>
                    <a:pt x="64657" y="1392"/>
                  </a:lnTo>
                  <a:lnTo>
                    <a:pt x="61708" y="1448"/>
                  </a:lnTo>
                  <a:lnTo>
                    <a:pt x="58870" y="1670"/>
                  </a:lnTo>
                  <a:lnTo>
                    <a:pt x="56088" y="1948"/>
                  </a:lnTo>
                  <a:lnTo>
                    <a:pt x="53473" y="2338"/>
                  </a:lnTo>
                  <a:lnTo>
                    <a:pt x="50857" y="2839"/>
                  </a:lnTo>
                  <a:lnTo>
                    <a:pt x="48354" y="3395"/>
                  </a:lnTo>
                  <a:lnTo>
                    <a:pt x="45961" y="4063"/>
                  </a:lnTo>
                  <a:lnTo>
                    <a:pt x="43624" y="4786"/>
                  </a:lnTo>
                  <a:lnTo>
                    <a:pt x="41343" y="5621"/>
                  </a:lnTo>
                  <a:lnTo>
                    <a:pt x="39173" y="6511"/>
                  </a:lnTo>
                  <a:lnTo>
                    <a:pt x="37114" y="7457"/>
                  </a:lnTo>
                  <a:lnTo>
                    <a:pt x="35055" y="8459"/>
                  </a:lnTo>
                  <a:lnTo>
                    <a:pt x="33108" y="9571"/>
                  </a:lnTo>
                  <a:lnTo>
                    <a:pt x="31271" y="10684"/>
                  </a:lnTo>
                  <a:lnTo>
                    <a:pt x="29435" y="11908"/>
                  </a:lnTo>
                  <a:lnTo>
                    <a:pt x="27710" y="13188"/>
                  </a:lnTo>
                  <a:lnTo>
                    <a:pt x="26041" y="14468"/>
                  </a:lnTo>
                  <a:lnTo>
                    <a:pt x="24483" y="15803"/>
                  </a:lnTo>
                  <a:lnTo>
                    <a:pt x="22925" y="17194"/>
                  </a:lnTo>
                  <a:lnTo>
                    <a:pt x="21478" y="18641"/>
                  </a:lnTo>
                  <a:lnTo>
                    <a:pt x="20087" y="20088"/>
                  </a:lnTo>
                  <a:lnTo>
                    <a:pt x="18696" y="21590"/>
                  </a:lnTo>
                  <a:lnTo>
                    <a:pt x="17416" y="23148"/>
                  </a:lnTo>
                  <a:lnTo>
                    <a:pt x="16248" y="24706"/>
                  </a:lnTo>
                  <a:lnTo>
                    <a:pt x="15079" y="26264"/>
                  </a:lnTo>
                  <a:lnTo>
                    <a:pt x="13967" y="27878"/>
                  </a:lnTo>
                  <a:lnTo>
                    <a:pt x="12909" y="29492"/>
                  </a:lnTo>
                  <a:lnTo>
                    <a:pt x="11908" y="31105"/>
                  </a:lnTo>
                  <a:lnTo>
                    <a:pt x="10962" y="32719"/>
                  </a:lnTo>
                  <a:lnTo>
                    <a:pt x="10072" y="34332"/>
                  </a:lnTo>
                  <a:lnTo>
                    <a:pt x="9237" y="36002"/>
                  </a:lnTo>
                  <a:lnTo>
                    <a:pt x="8402" y="37615"/>
                  </a:lnTo>
                  <a:lnTo>
                    <a:pt x="7679" y="39229"/>
                  </a:lnTo>
                  <a:lnTo>
                    <a:pt x="6956" y="40843"/>
                  </a:lnTo>
                  <a:lnTo>
                    <a:pt x="6288" y="42456"/>
                  </a:lnTo>
                  <a:lnTo>
                    <a:pt x="5119" y="45628"/>
                  </a:lnTo>
                  <a:lnTo>
                    <a:pt x="4062" y="48688"/>
                  </a:lnTo>
                  <a:lnTo>
                    <a:pt x="3172" y="51582"/>
                  </a:lnTo>
                  <a:lnTo>
                    <a:pt x="2449" y="54364"/>
                  </a:lnTo>
                  <a:lnTo>
                    <a:pt x="1781" y="56979"/>
                  </a:lnTo>
                  <a:lnTo>
                    <a:pt x="1280" y="59427"/>
                  </a:lnTo>
                  <a:lnTo>
                    <a:pt x="891" y="61597"/>
                  </a:lnTo>
                  <a:lnTo>
                    <a:pt x="557" y="63489"/>
                  </a:lnTo>
                  <a:lnTo>
                    <a:pt x="334" y="65158"/>
                  </a:lnTo>
                  <a:lnTo>
                    <a:pt x="56" y="67440"/>
                  </a:lnTo>
                  <a:lnTo>
                    <a:pt x="0" y="68274"/>
                  </a:lnTo>
                  <a:lnTo>
                    <a:pt x="1892" y="67829"/>
                  </a:lnTo>
                  <a:lnTo>
                    <a:pt x="3728" y="67440"/>
                  </a:lnTo>
                  <a:lnTo>
                    <a:pt x="5565" y="67162"/>
                  </a:lnTo>
                  <a:lnTo>
                    <a:pt x="7345" y="66883"/>
                  </a:lnTo>
                  <a:lnTo>
                    <a:pt x="9126" y="66716"/>
                  </a:lnTo>
                  <a:lnTo>
                    <a:pt x="10851" y="66549"/>
                  </a:lnTo>
                  <a:lnTo>
                    <a:pt x="14412" y="66383"/>
                  </a:lnTo>
                  <a:lnTo>
                    <a:pt x="17917" y="66271"/>
                  </a:lnTo>
                  <a:lnTo>
                    <a:pt x="21534" y="66216"/>
                  </a:lnTo>
                  <a:lnTo>
                    <a:pt x="25262" y="66104"/>
                  </a:lnTo>
                  <a:lnTo>
                    <a:pt x="27154" y="65993"/>
                  </a:lnTo>
                  <a:lnTo>
                    <a:pt x="29157" y="65826"/>
                  </a:lnTo>
                  <a:lnTo>
                    <a:pt x="31160" y="65659"/>
                  </a:lnTo>
                  <a:lnTo>
                    <a:pt x="33219" y="65437"/>
                  </a:lnTo>
                  <a:lnTo>
                    <a:pt x="35333" y="65158"/>
                  </a:lnTo>
                  <a:lnTo>
                    <a:pt x="37559" y="64769"/>
                  </a:lnTo>
                  <a:lnTo>
                    <a:pt x="39785" y="64324"/>
                  </a:lnTo>
                  <a:lnTo>
                    <a:pt x="42177" y="63823"/>
                  </a:lnTo>
                  <a:lnTo>
                    <a:pt x="44570" y="63211"/>
                  </a:lnTo>
                  <a:lnTo>
                    <a:pt x="47129" y="62488"/>
                  </a:lnTo>
                  <a:lnTo>
                    <a:pt x="49745" y="61653"/>
                  </a:lnTo>
                  <a:lnTo>
                    <a:pt x="52471" y="60707"/>
                  </a:lnTo>
                  <a:lnTo>
                    <a:pt x="55253" y="59650"/>
                  </a:lnTo>
                  <a:lnTo>
                    <a:pt x="58202" y="58481"/>
                  </a:lnTo>
                  <a:lnTo>
                    <a:pt x="61263" y="57146"/>
                  </a:lnTo>
                  <a:lnTo>
                    <a:pt x="64434" y="55644"/>
                  </a:lnTo>
                  <a:lnTo>
                    <a:pt x="67773" y="53974"/>
                  </a:lnTo>
                  <a:lnTo>
                    <a:pt x="71223" y="52194"/>
                  </a:lnTo>
                  <a:lnTo>
                    <a:pt x="72113" y="51693"/>
                  </a:lnTo>
                  <a:lnTo>
                    <a:pt x="72948" y="51136"/>
                  </a:lnTo>
                  <a:lnTo>
                    <a:pt x="74728" y="49968"/>
                  </a:lnTo>
                  <a:lnTo>
                    <a:pt x="76509" y="48577"/>
                  </a:lnTo>
                  <a:lnTo>
                    <a:pt x="78345" y="47075"/>
                  </a:lnTo>
                  <a:lnTo>
                    <a:pt x="80125" y="45405"/>
                  </a:lnTo>
                  <a:lnTo>
                    <a:pt x="81962" y="43625"/>
                  </a:lnTo>
                  <a:lnTo>
                    <a:pt x="83742" y="41789"/>
                  </a:lnTo>
                  <a:lnTo>
                    <a:pt x="85578" y="39785"/>
                  </a:lnTo>
                  <a:lnTo>
                    <a:pt x="87359" y="37782"/>
                  </a:lnTo>
                  <a:lnTo>
                    <a:pt x="89139" y="35668"/>
                  </a:lnTo>
                  <a:lnTo>
                    <a:pt x="90864" y="33498"/>
                  </a:lnTo>
                  <a:lnTo>
                    <a:pt x="92589" y="31272"/>
                  </a:lnTo>
                  <a:lnTo>
                    <a:pt x="94259" y="29046"/>
                  </a:lnTo>
                  <a:lnTo>
                    <a:pt x="95928" y="26821"/>
                  </a:lnTo>
                  <a:lnTo>
                    <a:pt x="99099" y="22314"/>
                  </a:lnTo>
                  <a:lnTo>
                    <a:pt x="101993" y="17973"/>
                  </a:lnTo>
                  <a:lnTo>
                    <a:pt x="104664" y="13856"/>
                  </a:lnTo>
                  <a:lnTo>
                    <a:pt x="107056" y="10072"/>
                  </a:lnTo>
                  <a:lnTo>
                    <a:pt x="109115" y="6734"/>
                  </a:lnTo>
                  <a:lnTo>
                    <a:pt x="110784" y="3952"/>
                  </a:lnTo>
                  <a:lnTo>
                    <a:pt x="112009" y="1837"/>
                  </a:lnTo>
                  <a:lnTo>
                    <a:pt x="113010" y="1"/>
                  </a:lnTo>
                  <a:close/>
                </a:path>
              </a:pathLst>
            </a:custGeom>
            <a:solidFill>
              <a:srgbClr val="66A3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7345;p84">
              <a:extLst>
                <a:ext uri="{FF2B5EF4-FFF2-40B4-BE49-F238E27FC236}">
                  <a16:creationId xmlns:a16="http://schemas.microsoft.com/office/drawing/2014/main" id="{65EAE02D-DA89-87DC-84F3-36FD198EC5A2}"/>
                </a:ext>
              </a:extLst>
            </p:cNvPr>
            <p:cNvSpPr/>
            <p:nvPr/>
          </p:nvSpPr>
          <p:spPr>
            <a:xfrm>
              <a:off x="1281050" y="345225"/>
              <a:ext cx="2359250" cy="1965600"/>
            </a:xfrm>
            <a:custGeom>
              <a:avLst/>
              <a:gdLst/>
              <a:ahLst/>
              <a:cxnLst/>
              <a:rect l="l" t="t" r="r" b="b"/>
              <a:pathLst>
                <a:path w="94370" h="78624" extrusionOk="0">
                  <a:moveTo>
                    <a:pt x="12074" y="0"/>
                  </a:moveTo>
                  <a:lnTo>
                    <a:pt x="8013" y="112"/>
                  </a:lnTo>
                  <a:lnTo>
                    <a:pt x="4674" y="334"/>
                  </a:lnTo>
                  <a:lnTo>
                    <a:pt x="2170" y="501"/>
                  </a:lnTo>
                  <a:lnTo>
                    <a:pt x="0" y="724"/>
                  </a:lnTo>
                  <a:lnTo>
                    <a:pt x="668" y="1447"/>
                  </a:lnTo>
                  <a:lnTo>
                    <a:pt x="2560" y="3673"/>
                  </a:lnTo>
                  <a:lnTo>
                    <a:pt x="3895" y="5231"/>
                  </a:lnTo>
                  <a:lnTo>
                    <a:pt x="5397" y="7178"/>
                  </a:lnTo>
                  <a:lnTo>
                    <a:pt x="7122" y="9348"/>
                  </a:lnTo>
                  <a:lnTo>
                    <a:pt x="9014" y="11852"/>
                  </a:lnTo>
                  <a:lnTo>
                    <a:pt x="11017" y="14579"/>
                  </a:lnTo>
                  <a:lnTo>
                    <a:pt x="13132" y="17528"/>
                  </a:lnTo>
                  <a:lnTo>
                    <a:pt x="15302" y="20755"/>
                  </a:lnTo>
                  <a:lnTo>
                    <a:pt x="17527" y="24205"/>
                  </a:lnTo>
                  <a:lnTo>
                    <a:pt x="19753" y="27822"/>
                  </a:lnTo>
                  <a:lnTo>
                    <a:pt x="21979" y="31661"/>
                  </a:lnTo>
                  <a:lnTo>
                    <a:pt x="24149" y="35612"/>
                  </a:lnTo>
                  <a:lnTo>
                    <a:pt x="25206" y="37671"/>
                  </a:lnTo>
                  <a:lnTo>
                    <a:pt x="26263" y="39785"/>
                  </a:lnTo>
                  <a:lnTo>
                    <a:pt x="26987" y="41232"/>
                  </a:lnTo>
                  <a:lnTo>
                    <a:pt x="27766" y="42623"/>
                  </a:lnTo>
                  <a:lnTo>
                    <a:pt x="28545" y="44069"/>
                  </a:lnTo>
                  <a:lnTo>
                    <a:pt x="29379" y="45460"/>
                  </a:lnTo>
                  <a:lnTo>
                    <a:pt x="30214" y="46796"/>
                  </a:lnTo>
                  <a:lnTo>
                    <a:pt x="31104" y="48131"/>
                  </a:lnTo>
                  <a:lnTo>
                    <a:pt x="31994" y="49467"/>
                  </a:lnTo>
                  <a:lnTo>
                    <a:pt x="32940" y="50802"/>
                  </a:lnTo>
                  <a:lnTo>
                    <a:pt x="33942" y="52082"/>
                  </a:lnTo>
                  <a:lnTo>
                    <a:pt x="34944" y="53306"/>
                  </a:lnTo>
                  <a:lnTo>
                    <a:pt x="36056" y="54530"/>
                  </a:lnTo>
                  <a:lnTo>
                    <a:pt x="37114" y="55754"/>
                  </a:lnTo>
                  <a:lnTo>
                    <a:pt x="38282" y="56923"/>
                  </a:lnTo>
                  <a:lnTo>
                    <a:pt x="39451" y="58036"/>
                  </a:lnTo>
                  <a:lnTo>
                    <a:pt x="40675" y="59149"/>
                  </a:lnTo>
                  <a:lnTo>
                    <a:pt x="41954" y="60261"/>
                  </a:lnTo>
                  <a:lnTo>
                    <a:pt x="43234" y="61319"/>
                  </a:lnTo>
                  <a:lnTo>
                    <a:pt x="44570" y="62320"/>
                  </a:lnTo>
                  <a:lnTo>
                    <a:pt x="45961" y="63322"/>
                  </a:lnTo>
                  <a:lnTo>
                    <a:pt x="47407" y="64268"/>
                  </a:lnTo>
                  <a:lnTo>
                    <a:pt x="48910" y="65214"/>
                  </a:lnTo>
                  <a:lnTo>
                    <a:pt x="50468" y="66104"/>
                  </a:lnTo>
                  <a:lnTo>
                    <a:pt x="52026" y="66939"/>
                  </a:lnTo>
                  <a:lnTo>
                    <a:pt x="53639" y="67773"/>
                  </a:lnTo>
                  <a:lnTo>
                    <a:pt x="55364" y="68552"/>
                  </a:lnTo>
                  <a:lnTo>
                    <a:pt x="57089" y="69276"/>
                  </a:lnTo>
                  <a:lnTo>
                    <a:pt x="58870" y="69999"/>
                  </a:lnTo>
                  <a:lnTo>
                    <a:pt x="60706" y="70667"/>
                  </a:lnTo>
                  <a:lnTo>
                    <a:pt x="62598" y="71279"/>
                  </a:lnTo>
                  <a:lnTo>
                    <a:pt x="64545" y="71891"/>
                  </a:lnTo>
                  <a:lnTo>
                    <a:pt x="66548" y="72447"/>
                  </a:lnTo>
                  <a:lnTo>
                    <a:pt x="68607" y="72948"/>
                  </a:lnTo>
                  <a:lnTo>
                    <a:pt x="71334" y="73504"/>
                  </a:lnTo>
                  <a:lnTo>
                    <a:pt x="73893" y="74005"/>
                  </a:lnTo>
                  <a:lnTo>
                    <a:pt x="76286" y="74395"/>
                  </a:lnTo>
                  <a:lnTo>
                    <a:pt x="78567" y="74728"/>
                  </a:lnTo>
                  <a:lnTo>
                    <a:pt x="82685" y="75174"/>
                  </a:lnTo>
                  <a:lnTo>
                    <a:pt x="86246" y="75507"/>
                  </a:lnTo>
                  <a:lnTo>
                    <a:pt x="87748" y="75730"/>
                  </a:lnTo>
                  <a:lnTo>
                    <a:pt x="89139" y="75953"/>
                  </a:lnTo>
                  <a:lnTo>
                    <a:pt x="90363" y="76175"/>
                  </a:lnTo>
                  <a:lnTo>
                    <a:pt x="91421" y="76509"/>
                  </a:lnTo>
                  <a:lnTo>
                    <a:pt x="91866" y="76676"/>
                  </a:lnTo>
                  <a:lnTo>
                    <a:pt x="92311" y="76899"/>
                  </a:lnTo>
                  <a:lnTo>
                    <a:pt x="92700" y="77121"/>
                  </a:lnTo>
                  <a:lnTo>
                    <a:pt x="93034" y="77344"/>
                  </a:lnTo>
                  <a:lnTo>
                    <a:pt x="93368" y="77622"/>
                  </a:lnTo>
                  <a:lnTo>
                    <a:pt x="93591" y="77956"/>
                  </a:lnTo>
                  <a:lnTo>
                    <a:pt x="93813" y="78290"/>
                  </a:lnTo>
                  <a:lnTo>
                    <a:pt x="94036" y="78623"/>
                  </a:lnTo>
                  <a:lnTo>
                    <a:pt x="94091" y="78401"/>
                  </a:lnTo>
                  <a:lnTo>
                    <a:pt x="94203" y="77622"/>
                  </a:lnTo>
                  <a:lnTo>
                    <a:pt x="94314" y="76342"/>
                  </a:lnTo>
                  <a:lnTo>
                    <a:pt x="94370" y="74562"/>
                  </a:lnTo>
                  <a:lnTo>
                    <a:pt x="94370" y="73504"/>
                  </a:lnTo>
                  <a:lnTo>
                    <a:pt x="94314" y="72280"/>
                  </a:lnTo>
                  <a:lnTo>
                    <a:pt x="94258" y="71000"/>
                  </a:lnTo>
                  <a:lnTo>
                    <a:pt x="94091" y="69554"/>
                  </a:lnTo>
                  <a:lnTo>
                    <a:pt x="93924" y="67996"/>
                  </a:lnTo>
                  <a:lnTo>
                    <a:pt x="93646" y="66326"/>
                  </a:lnTo>
                  <a:lnTo>
                    <a:pt x="93257" y="64546"/>
                  </a:lnTo>
                  <a:lnTo>
                    <a:pt x="92867" y="62654"/>
                  </a:lnTo>
                  <a:lnTo>
                    <a:pt x="92311" y="60651"/>
                  </a:lnTo>
                  <a:lnTo>
                    <a:pt x="91699" y="58536"/>
                  </a:lnTo>
                  <a:lnTo>
                    <a:pt x="90975" y="56311"/>
                  </a:lnTo>
                  <a:lnTo>
                    <a:pt x="90141" y="53974"/>
                  </a:lnTo>
                  <a:lnTo>
                    <a:pt x="89139" y="51526"/>
                  </a:lnTo>
                  <a:lnTo>
                    <a:pt x="88026" y="48966"/>
                  </a:lnTo>
                  <a:lnTo>
                    <a:pt x="86802" y="46295"/>
                  </a:lnTo>
                  <a:lnTo>
                    <a:pt x="85411" y="43513"/>
                  </a:lnTo>
                  <a:lnTo>
                    <a:pt x="83853" y="40620"/>
                  </a:lnTo>
                  <a:lnTo>
                    <a:pt x="82184" y="37671"/>
                  </a:lnTo>
                  <a:lnTo>
                    <a:pt x="80292" y="34555"/>
                  </a:lnTo>
                  <a:lnTo>
                    <a:pt x="78233" y="31383"/>
                  </a:lnTo>
                  <a:lnTo>
                    <a:pt x="76008" y="28100"/>
                  </a:lnTo>
                  <a:lnTo>
                    <a:pt x="73559" y="24706"/>
                  </a:lnTo>
                  <a:lnTo>
                    <a:pt x="70944" y="21200"/>
                  </a:lnTo>
                  <a:lnTo>
                    <a:pt x="68106" y="17639"/>
                  </a:lnTo>
                  <a:lnTo>
                    <a:pt x="67216" y="16582"/>
                  </a:lnTo>
                  <a:lnTo>
                    <a:pt x="66270" y="15580"/>
                  </a:lnTo>
                  <a:lnTo>
                    <a:pt x="65269" y="14634"/>
                  </a:lnTo>
                  <a:lnTo>
                    <a:pt x="64267" y="13689"/>
                  </a:lnTo>
                  <a:lnTo>
                    <a:pt x="63210" y="12798"/>
                  </a:lnTo>
                  <a:lnTo>
                    <a:pt x="62097" y="11964"/>
                  </a:lnTo>
                  <a:lnTo>
                    <a:pt x="60984" y="11129"/>
                  </a:lnTo>
                  <a:lnTo>
                    <a:pt x="59816" y="10350"/>
                  </a:lnTo>
                  <a:lnTo>
                    <a:pt x="58647" y="9627"/>
                  </a:lnTo>
                  <a:lnTo>
                    <a:pt x="57423" y="8903"/>
                  </a:lnTo>
                  <a:lnTo>
                    <a:pt x="56199" y="8236"/>
                  </a:lnTo>
                  <a:lnTo>
                    <a:pt x="54919" y="7568"/>
                  </a:lnTo>
                  <a:lnTo>
                    <a:pt x="53639" y="6956"/>
                  </a:lnTo>
                  <a:lnTo>
                    <a:pt x="52304" y="6399"/>
                  </a:lnTo>
                  <a:lnTo>
                    <a:pt x="50969" y="5843"/>
                  </a:lnTo>
                  <a:lnTo>
                    <a:pt x="49633" y="5342"/>
                  </a:lnTo>
                  <a:lnTo>
                    <a:pt x="46851" y="4396"/>
                  </a:lnTo>
                  <a:lnTo>
                    <a:pt x="44069" y="3562"/>
                  </a:lnTo>
                  <a:lnTo>
                    <a:pt x="41231" y="2838"/>
                  </a:lnTo>
                  <a:lnTo>
                    <a:pt x="38393" y="2226"/>
                  </a:lnTo>
                  <a:lnTo>
                    <a:pt x="35500" y="1725"/>
                  </a:lnTo>
                  <a:lnTo>
                    <a:pt x="32662" y="1280"/>
                  </a:lnTo>
                  <a:lnTo>
                    <a:pt x="29880" y="891"/>
                  </a:lnTo>
                  <a:lnTo>
                    <a:pt x="27098" y="613"/>
                  </a:lnTo>
                  <a:lnTo>
                    <a:pt x="24371" y="390"/>
                  </a:lnTo>
                  <a:lnTo>
                    <a:pt x="21701" y="223"/>
                  </a:lnTo>
                  <a:lnTo>
                    <a:pt x="19141" y="112"/>
                  </a:lnTo>
                  <a:lnTo>
                    <a:pt x="16637" y="56"/>
                  </a:lnTo>
                  <a:lnTo>
                    <a:pt x="14300" y="0"/>
                  </a:lnTo>
                  <a:close/>
                </a:path>
              </a:pathLst>
            </a:custGeom>
            <a:solidFill>
              <a:srgbClr val="66A3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7346;p84">
              <a:extLst>
                <a:ext uri="{FF2B5EF4-FFF2-40B4-BE49-F238E27FC236}">
                  <a16:creationId xmlns:a16="http://schemas.microsoft.com/office/drawing/2014/main" id="{FC230D77-374B-78B9-5F31-860CB535BD4E}"/>
                </a:ext>
              </a:extLst>
            </p:cNvPr>
            <p:cNvSpPr/>
            <p:nvPr/>
          </p:nvSpPr>
          <p:spPr>
            <a:xfrm>
              <a:off x="1279650" y="357750"/>
              <a:ext cx="2332825" cy="1912725"/>
            </a:xfrm>
            <a:custGeom>
              <a:avLst/>
              <a:gdLst/>
              <a:ahLst/>
              <a:cxnLst/>
              <a:rect l="l" t="t" r="r" b="b"/>
              <a:pathLst>
                <a:path w="93313" h="76509" extrusionOk="0">
                  <a:moveTo>
                    <a:pt x="112" y="0"/>
                  </a:moveTo>
                  <a:lnTo>
                    <a:pt x="0" y="390"/>
                  </a:lnTo>
                  <a:lnTo>
                    <a:pt x="1336" y="835"/>
                  </a:lnTo>
                  <a:lnTo>
                    <a:pt x="2894" y="1336"/>
                  </a:lnTo>
                  <a:lnTo>
                    <a:pt x="5064" y="2059"/>
                  </a:lnTo>
                  <a:lnTo>
                    <a:pt x="7679" y="3061"/>
                  </a:lnTo>
                  <a:lnTo>
                    <a:pt x="10684" y="4285"/>
                  </a:lnTo>
                  <a:lnTo>
                    <a:pt x="14134" y="5731"/>
                  </a:lnTo>
                  <a:lnTo>
                    <a:pt x="17917" y="7456"/>
                  </a:lnTo>
                  <a:lnTo>
                    <a:pt x="19920" y="8402"/>
                  </a:lnTo>
                  <a:lnTo>
                    <a:pt x="21924" y="9460"/>
                  </a:lnTo>
                  <a:lnTo>
                    <a:pt x="24038" y="10517"/>
                  </a:lnTo>
                  <a:lnTo>
                    <a:pt x="26208" y="11685"/>
                  </a:lnTo>
                  <a:lnTo>
                    <a:pt x="30604" y="14189"/>
                  </a:lnTo>
                  <a:lnTo>
                    <a:pt x="35166" y="16916"/>
                  </a:lnTo>
                  <a:lnTo>
                    <a:pt x="37448" y="18418"/>
                  </a:lnTo>
                  <a:lnTo>
                    <a:pt x="39785" y="19865"/>
                  </a:lnTo>
                  <a:lnTo>
                    <a:pt x="42066" y="21423"/>
                  </a:lnTo>
                  <a:lnTo>
                    <a:pt x="43235" y="22257"/>
                  </a:lnTo>
                  <a:lnTo>
                    <a:pt x="44347" y="23092"/>
                  </a:lnTo>
                  <a:lnTo>
                    <a:pt x="46629" y="24761"/>
                  </a:lnTo>
                  <a:lnTo>
                    <a:pt x="48910" y="26486"/>
                  </a:lnTo>
                  <a:lnTo>
                    <a:pt x="51191" y="28267"/>
                  </a:lnTo>
                  <a:lnTo>
                    <a:pt x="53362" y="30103"/>
                  </a:lnTo>
                  <a:lnTo>
                    <a:pt x="55532" y="31939"/>
                  </a:lnTo>
                  <a:lnTo>
                    <a:pt x="57646" y="33887"/>
                  </a:lnTo>
                  <a:lnTo>
                    <a:pt x="59705" y="35834"/>
                  </a:lnTo>
                  <a:lnTo>
                    <a:pt x="61764" y="37837"/>
                  </a:lnTo>
                  <a:lnTo>
                    <a:pt x="62765" y="38783"/>
                  </a:lnTo>
                  <a:lnTo>
                    <a:pt x="63767" y="39785"/>
                  </a:lnTo>
                  <a:lnTo>
                    <a:pt x="65658" y="41788"/>
                  </a:lnTo>
                  <a:lnTo>
                    <a:pt x="67495" y="43791"/>
                  </a:lnTo>
                  <a:lnTo>
                    <a:pt x="69331" y="45794"/>
                  </a:lnTo>
                  <a:lnTo>
                    <a:pt x="70277" y="46740"/>
                  </a:lnTo>
                  <a:lnTo>
                    <a:pt x="71167" y="47686"/>
                  </a:lnTo>
                  <a:lnTo>
                    <a:pt x="72892" y="49689"/>
                  </a:lnTo>
                  <a:lnTo>
                    <a:pt x="74506" y="51637"/>
                  </a:lnTo>
                  <a:lnTo>
                    <a:pt x="76119" y="53528"/>
                  </a:lnTo>
                  <a:lnTo>
                    <a:pt x="77733" y="55365"/>
                  </a:lnTo>
                  <a:lnTo>
                    <a:pt x="78512" y="56255"/>
                  </a:lnTo>
                  <a:lnTo>
                    <a:pt x="79235" y="57145"/>
                  </a:lnTo>
                  <a:lnTo>
                    <a:pt x="81850" y="60762"/>
                  </a:lnTo>
                  <a:lnTo>
                    <a:pt x="83130" y="62431"/>
                  </a:lnTo>
                  <a:lnTo>
                    <a:pt x="84354" y="64045"/>
                  </a:lnTo>
                  <a:lnTo>
                    <a:pt x="85523" y="65547"/>
                  </a:lnTo>
                  <a:lnTo>
                    <a:pt x="86580" y="67050"/>
                  </a:lnTo>
                  <a:lnTo>
                    <a:pt x="88361" y="69776"/>
                  </a:lnTo>
                  <a:lnTo>
                    <a:pt x="89919" y="72113"/>
                  </a:lnTo>
                  <a:lnTo>
                    <a:pt x="92144" y="75340"/>
                  </a:lnTo>
                  <a:lnTo>
                    <a:pt x="92923" y="76509"/>
                  </a:lnTo>
                  <a:lnTo>
                    <a:pt x="93313" y="76286"/>
                  </a:lnTo>
                  <a:lnTo>
                    <a:pt x="92756" y="75006"/>
                  </a:lnTo>
                  <a:lnTo>
                    <a:pt x="91198" y="71390"/>
                  </a:lnTo>
                  <a:lnTo>
                    <a:pt x="90030" y="68830"/>
                  </a:lnTo>
                  <a:lnTo>
                    <a:pt x="88583" y="65825"/>
                  </a:lnTo>
                  <a:lnTo>
                    <a:pt x="87749" y="64212"/>
                  </a:lnTo>
                  <a:lnTo>
                    <a:pt x="86747" y="62487"/>
                  </a:lnTo>
                  <a:lnTo>
                    <a:pt x="84577" y="58870"/>
                  </a:lnTo>
                  <a:lnTo>
                    <a:pt x="82129" y="55031"/>
                  </a:lnTo>
                  <a:lnTo>
                    <a:pt x="81461" y="54029"/>
                  </a:lnTo>
                  <a:lnTo>
                    <a:pt x="80738" y="53028"/>
                  </a:lnTo>
                  <a:lnTo>
                    <a:pt x="79235" y="51080"/>
                  </a:lnTo>
                  <a:lnTo>
                    <a:pt x="77677" y="49021"/>
                  </a:lnTo>
                  <a:lnTo>
                    <a:pt x="76119" y="46963"/>
                  </a:lnTo>
                  <a:lnTo>
                    <a:pt x="74394" y="44904"/>
                  </a:lnTo>
                  <a:lnTo>
                    <a:pt x="73448" y="43847"/>
                  </a:lnTo>
                  <a:lnTo>
                    <a:pt x="72558" y="42845"/>
                  </a:lnTo>
                  <a:lnTo>
                    <a:pt x="68663" y="38839"/>
                  </a:lnTo>
                  <a:lnTo>
                    <a:pt x="66604" y="36836"/>
                  </a:lnTo>
                  <a:lnTo>
                    <a:pt x="65547" y="35890"/>
                  </a:lnTo>
                  <a:lnTo>
                    <a:pt x="64434" y="34944"/>
                  </a:lnTo>
                  <a:lnTo>
                    <a:pt x="62264" y="33052"/>
                  </a:lnTo>
                  <a:lnTo>
                    <a:pt x="60039" y="31160"/>
                  </a:lnTo>
                  <a:lnTo>
                    <a:pt x="57757" y="29324"/>
                  </a:lnTo>
                  <a:lnTo>
                    <a:pt x="55420" y="27543"/>
                  </a:lnTo>
                  <a:lnTo>
                    <a:pt x="53139" y="25763"/>
                  </a:lnTo>
                  <a:lnTo>
                    <a:pt x="50746" y="24038"/>
                  </a:lnTo>
                  <a:lnTo>
                    <a:pt x="48354" y="22369"/>
                  </a:lnTo>
                  <a:lnTo>
                    <a:pt x="45961" y="20755"/>
                  </a:lnTo>
                  <a:lnTo>
                    <a:pt x="44793" y="19920"/>
                  </a:lnTo>
                  <a:lnTo>
                    <a:pt x="43624" y="19141"/>
                  </a:lnTo>
                  <a:lnTo>
                    <a:pt x="41176" y="17695"/>
                  </a:lnTo>
                  <a:lnTo>
                    <a:pt x="38783" y="16248"/>
                  </a:lnTo>
                  <a:lnTo>
                    <a:pt x="36391" y="14857"/>
                  </a:lnTo>
                  <a:lnTo>
                    <a:pt x="31661" y="12297"/>
                  </a:lnTo>
                  <a:lnTo>
                    <a:pt x="29380" y="11073"/>
                  </a:lnTo>
                  <a:lnTo>
                    <a:pt x="27098" y="9960"/>
                  </a:lnTo>
                  <a:lnTo>
                    <a:pt x="22647" y="7902"/>
                  </a:lnTo>
                  <a:lnTo>
                    <a:pt x="20532" y="7011"/>
                  </a:lnTo>
                  <a:lnTo>
                    <a:pt x="18474" y="6121"/>
                  </a:lnTo>
                  <a:lnTo>
                    <a:pt x="14579" y="4619"/>
                  </a:lnTo>
                  <a:lnTo>
                    <a:pt x="11073" y="3283"/>
                  </a:lnTo>
                  <a:lnTo>
                    <a:pt x="7957" y="2226"/>
                  </a:lnTo>
                  <a:lnTo>
                    <a:pt x="5286" y="1391"/>
                  </a:lnTo>
                  <a:lnTo>
                    <a:pt x="3061" y="779"/>
                  </a:lnTo>
                  <a:lnTo>
                    <a:pt x="1447" y="334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5287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7347;p84">
              <a:extLst>
                <a:ext uri="{FF2B5EF4-FFF2-40B4-BE49-F238E27FC236}">
                  <a16:creationId xmlns:a16="http://schemas.microsoft.com/office/drawing/2014/main" id="{4F481A16-A607-F441-2CD2-A3C7C1C2BDE4}"/>
                </a:ext>
              </a:extLst>
            </p:cNvPr>
            <p:cNvSpPr/>
            <p:nvPr/>
          </p:nvSpPr>
          <p:spPr>
            <a:xfrm>
              <a:off x="3803025" y="238125"/>
              <a:ext cx="2722325" cy="1566350"/>
            </a:xfrm>
            <a:custGeom>
              <a:avLst/>
              <a:gdLst/>
              <a:ahLst/>
              <a:cxnLst/>
              <a:rect l="l" t="t" r="r" b="b"/>
              <a:pathLst>
                <a:path w="108893" h="62654" extrusionOk="0">
                  <a:moveTo>
                    <a:pt x="108615" y="0"/>
                  </a:moveTo>
                  <a:lnTo>
                    <a:pt x="104275" y="3394"/>
                  </a:lnTo>
                  <a:lnTo>
                    <a:pt x="103162" y="4229"/>
                  </a:lnTo>
                  <a:lnTo>
                    <a:pt x="101938" y="5119"/>
                  </a:lnTo>
                  <a:lnTo>
                    <a:pt x="99211" y="7067"/>
                  </a:lnTo>
                  <a:lnTo>
                    <a:pt x="97653" y="8124"/>
                  </a:lnTo>
                  <a:lnTo>
                    <a:pt x="95984" y="9237"/>
                  </a:lnTo>
                  <a:lnTo>
                    <a:pt x="94203" y="10350"/>
                  </a:lnTo>
                  <a:lnTo>
                    <a:pt x="92312" y="11462"/>
                  </a:lnTo>
                  <a:lnTo>
                    <a:pt x="90364" y="12631"/>
                  </a:lnTo>
                  <a:lnTo>
                    <a:pt x="88250" y="13688"/>
                  </a:lnTo>
                  <a:lnTo>
                    <a:pt x="86080" y="14745"/>
                  </a:lnTo>
                  <a:lnTo>
                    <a:pt x="83798" y="15747"/>
                  </a:lnTo>
                  <a:lnTo>
                    <a:pt x="81350" y="16637"/>
                  </a:lnTo>
                  <a:lnTo>
                    <a:pt x="80126" y="17082"/>
                  </a:lnTo>
                  <a:lnTo>
                    <a:pt x="78902" y="17472"/>
                  </a:lnTo>
                  <a:lnTo>
                    <a:pt x="77622" y="17806"/>
                  </a:lnTo>
                  <a:lnTo>
                    <a:pt x="76287" y="18139"/>
                  </a:lnTo>
                  <a:lnTo>
                    <a:pt x="74951" y="18418"/>
                  </a:lnTo>
                  <a:lnTo>
                    <a:pt x="73616" y="18696"/>
                  </a:lnTo>
                  <a:lnTo>
                    <a:pt x="70834" y="19141"/>
                  </a:lnTo>
                  <a:lnTo>
                    <a:pt x="68051" y="19531"/>
                  </a:lnTo>
                  <a:lnTo>
                    <a:pt x="65158" y="19920"/>
                  </a:lnTo>
                  <a:lnTo>
                    <a:pt x="62209" y="20310"/>
                  </a:lnTo>
                  <a:lnTo>
                    <a:pt x="59260" y="20810"/>
                  </a:lnTo>
                  <a:lnTo>
                    <a:pt x="56255" y="21367"/>
                  </a:lnTo>
                  <a:lnTo>
                    <a:pt x="53251" y="22090"/>
                  </a:lnTo>
                  <a:lnTo>
                    <a:pt x="51748" y="22480"/>
                  </a:lnTo>
                  <a:lnTo>
                    <a:pt x="50302" y="22869"/>
                  </a:lnTo>
                  <a:lnTo>
                    <a:pt x="48855" y="23314"/>
                  </a:lnTo>
                  <a:lnTo>
                    <a:pt x="47352" y="23759"/>
                  </a:lnTo>
                  <a:lnTo>
                    <a:pt x="45906" y="24316"/>
                  </a:lnTo>
                  <a:lnTo>
                    <a:pt x="44515" y="24872"/>
                  </a:lnTo>
                  <a:lnTo>
                    <a:pt x="41677" y="26096"/>
                  </a:lnTo>
                  <a:lnTo>
                    <a:pt x="38895" y="27376"/>
                  </a:lnTo>
                  <a:lnTo>
                    <a:pt x="36280" y="28823"/>
                  </a:lnTo>
                  <a:lnTo>
                    <a:pt x="33720" y="30325"/>
                  </a:lnTo>
                  <a:lnTo>
                    <a:pt x="31216" y="31939"/>
                  </a:lnTo>
                  <a:lnTo>
                    <a:pt x="28824" y="33552"/>
                  </a:lnTo>
                  <a:lnTo>
                    <a:pt x="26542" y="35222"/>
                  </a:lnTo>
                  <a:lnTo>
                    <a:pt x="24317" y="36891"/>
                  </a:lnTo>
                  <a:lnTo>
                    <a:pt x="22202" y="38616"/>
                  </a:lnTo>
                  <a:lnTo>
                    <a:pt x="20255" y="40397"/>
                  </a:lnTo>
                  <a:lnTo>
                    <a:pt x="18307" y="42066"/>
                  </a:lnTo>
                  <a:lnTo>
                    <a:pt x="16471" y="43791"/>
                  </a:lnTo>
                  <a:lnTo>
                    <a:pt x="13077" y="47074"/>
                  </a:lnTo>
                  <a:lnTo>
                    <a:pt x="11519" y="48632"/>
                  </a:lnTo>
                  <a:lnTo>
                    <a:pt x="10072" y="50190"/>
                  </a:lnTo>
                  <a:lnTo>
                    <a:pt x="7457" y="53083"/>
                  </a:lnTo>
                  <a:lnTo>
                    <a:pt x="5176" y="55698"/>
                  </a:lnTo>
                  <a:lnTo>
                    <a:pt x="3339" y="57980"/>
                  </a:lnTo>
                  <a:lnTo>
                    <a:pt x="1893" y="59816"/>
                  </a:lnTo>
                  <a:lnTo>
                    <a:pt x="835" y="61207"/>
                  </a:lnTo>
                  <a:lnTo>
                    <a:pt x="1" y="62375"/>
                  </a:lnTo>
                  <a:lnTo>
                    <a:pt x="279" y="62654"/>
                  </a:lnTo>
                  <a:lnTo>
                    <a:pt x="4397" y="58981"/>
                  </a:lnTo>
                  <a:lnTo>
                    <a:pt x="9126" y="54808"/>
                  </a:lnTo>
                  <a:lnTo>
                    <a:pt x="12075" y="52248"/>
                  </a:lnTo>
                  <a:lnTo>
                    <a:pt x="15302" y="49522"/>
                  </a:lnTo>
                  <a:lnTo>
                    <a:pt x="18864" y="46517"/>
                  </a:lnTo>
                  <a:lnTo>
                    <a:pt x="20811" y="44959"/>
                  </a:lnTo>
                  <a:lnTo>
                    <a:pt x="22759" y="43457"/>
                  </a:lnTo>
                  <a:lnTo>
                    <a:pt x="26932" y="40230"/>
                  </a:lnTo>
                  <a:lnTo>
                    <a:pt x="29102" y="38616"/>
                  </a:lnTo>
                  <a:lnTo>
                    <a:pt x="31327" y="37058"/>
                  </a:lnTo>
                  <a:lnTo>
                    <a:pt x="33553" y="35444"/>
                  </a:lnTo>
                  <a:lnTo>
                    <a:pt x="35946" y="33886"/>
                  </a:lnTo>
                  <a:lnTo>
                    <a:pt x="38338" y="32328"/>
                  </a:lnTo>
                  <a:lnTo>
                    <a:pt x="40787" y="30826"/>
                  </a:lnTo>
                  <a:lnTo>
                    <a:pt x="43291" y="29491"/>
                  </a:lnTo>
                  <a:lnTo>
                    <a:pt x="45906" y="28211"/>
                  </a:lnTo>
                  <a:lnTo>
                    <a:pt x="47241" y="27599"/>
                  </a:lnTo>
                  <a:lnTo>
                    <a:pt x="48577" y="27042"/>
                  </a:lnTo>
                  <a:lnTo>
                    <a:pt x="49912" y="26542"/>
                  </a:lnTo>
                  <a:lnTo>
                    <a:pt x="51303" y="26041"/>
                  </a:lnTo>
                  <a:lnTo>
                    <a:pt x="54141" y="25150"/>
                  </a:lnTo>
                  <a:lnTo>
                    <a:pt x="56979" y="24371"/>
                  </a:lnTo>
                  <a:lnTo>
                    <a:pt x="59816" y="23704"/>
                  </a:lnTo>
                  <a:lnTo>
                    <a:pt x="62654" y="23147"/>
                  </a:lnTo>
                  <a:lnTo>
                    <a:pt x="65548" y="22647"/>
                  </a:lnTo>
                  <a:lnTo>
                    <a:pt x="68441" y="22146"/>
                  </a:lnTo>
                  <a:lnTo>
                    <a:pt x="71279" y="21645"/>
                  </a:lnTo>
                  <a:lnTo>
                    <a:pt x="74116" y="21033"/>
                  </a:lnTo>
                  <a:lnTo>
                    <a:pt x="76843" y="20365"/>
                  </a:lnTo>
                  <a:lnTo>
                    <a:pt x="78234" y="19976"/>
                  </a:lnTo>
                  <a:lnTo>
                    <a:pt x="79514" y="19531"/>
                  </a:lnTo>
                  <a:lnTo>
                    <a:pt x="80849" y="19085"/>
                  </a:lnTo>
                  <a:lnTo>
                    <a:pt x="82129" y="18585"/>
                  </a:lnTo>
                  <a:lnTo>
                    <a:pt x="83353" y="18084"/>
                  </a:lnTo>
                  <a:lnTo>
                    <a:pt x="84522" y="17527"/>
                  </a:lnTo>
                  <a:lnTo>
                    <a:pt x="85746" y="16971"/>
                  </a:lnTo>
                  <a:lnTo>
                    <a:pt x="86859" y="16415"/>
                  </a:lnTo>
                  <a:lnTo>
                    <a:pt x="89084" y="15190"/>
                  </a:lnTo>
                  <a:lnTo>
                    <a:pt x="91143" y="13966"/>
                  </a:lnTo>
                  <a:lnTo>
                    <a:pt x="93091" y="12742"/>
                  </a:lnTo>
                  <a:lnTo>
                    <a:pt x="94927" y="11462"/>
                  </a:lnTo>
                  <a:lnTo>
                    <a:pt x="96652" y="10238"/>
                  </a:lnTo>
                  <a:lnTo>
                    <a:pt x="98265" y="9070"/>
                  </a:lnTo>
                  <a:lnTo>
                    <a:pt x="99768" y="7901"/>
                  </a:lnTo>
                  <a:lnTo>
                    <a:pt x="102494" y="5787"/>
                  </a:lnTo>
                  <a:lnTo>
                    <a:pt x="103663" y="4841"/>
                  </a:lnTo>
                  <a:lnTo>
                    <a:pt x="104720" y="3895"/>
                  </a:lnTo>
                  <a:lnTo>
                    <a:pt x="108893" y="334"/>
                  </a:lnTo>
                  <a:lnTo>
                    <a:pt x="108615" y="0"/>
                  </a:lnTo>
                  <a:close/>
                </a:path>
              </a:pathLst>
            </a:custGeom>
            <a:solidFill>
              <a:srgbClr val="5287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7348;p84">
              <a:extLst>
                <a:ext uri="{FF2B5EF4-FFF2-40B4-BE49-F238E27FC236}">
                  <a16:creationId xmlns:a16="http://schemas.microsoft.com/office/drawing/2014/main" id="{09D93233-27E9-8775-33DF-E8F0BE55CDAF}"/>
                </a:ext>
              </a:extLst>
            </p:cNvPr>
            <p:cNvSpPr/>
            <p:nvPr/>
          </p:nvSpPr>
          <p:spPr>
            <a:xfrm>
              <a:off x="1456325" y="3797850"/>
              <a:ext cx="1514875" cy="688600"/>
            </a:xfrm>
            <a:custGeom>
              <a:avLst/>
              <a:gdLst/>
              <a:ahLst/>
              <a:cxnLst/>
              <a:rect l="l" t="t" r="r" b="b"/>
              <a:pathLst>
                <a:path w="60595" h="27544" extrusionOk="0">
                  <a:moveTo>
                    <a:pt x="30047" y="0"/>
                  </a:moveTo>
                  <a:lnTo>
                    <a:pt x="27376" y="56"/>
                  </a:lnTo>
                  <a:lnTo>
                    <a:pt x="24761" y="279"/>
                  </a:lnTo>
                  <a:lnTo>
                    <a:pt x="22201" y="557"/>
                  </a:lnTo>
                  <a:lnTo>
                    <a:pt x="19753" y="1002"/>
                  </a:lnTo>
                  <a:lnTo>
                    <a:pt x="17416" y="1558"/>
                  </a:lnTo>
                  <a:lnTo>
                    <a:pt x="15135" y="2226"/>
                  </a:lnTo>
                  <a:lnTo>
                    <a:pt x="12965" y="2949"/>
                  </a:lnTo>
                  <a:lnTo>
                    <a:pt x="10962" y="3784"/>
                  </a:lnTo>
                  <a:lnTo>
                    <a:pt x="9960" y="4229"/>
                  </a:lnTo>
                  <a:lnTo>
                    <a:pt x="9014" y="4730"/>
                  </a:lnTo>
                  <a:lnTo>
                    <a:pt x="8124" y="5231"/>
                  </a:lnTo>
                  <a:lnTo>
                    <a:pt x="7234" y="5732"/>
                  </a:lnTo>
                  <a:lnTo>
                    <a:pt x="6399" y="6288"/>
                  </a:lnTo>
                  <a:lnTo>
                    <a:pt x="5620" y="6844"/>
                  </a:lnTo>
                  <a:lnTo>
                    <a:pt x="4841" y="7401"/>
                  </a:lnTo>
                  <a:lnTo>
                    <a:pt x="4173" y="8013"/>
                  </a:lnTo>
                  <a:lnTo>
                    <a:pt x="3450" y="8625"/>
                  </a:lnTo>
                  <a:lnTo>
                    <a:pt x="2838" y="9237"/>
                  </a:lnTo>
                  <a:lnTo>
                    <a:pt x="2226" y="9905"/>
                  </a:lnTo>
                  <a:lnTo>
                    <a:pt x="1725" y="10572"/>
                  </a:lnTo>
                  <a:lnTo>
                    <a:pt x="1224" y="11240"/>
                  </a:lnTo>
                  <a:lnTo>
                    <a:pt x="723" y="11908"/>
                  </a:lnTo>
                  <a:lnTo>
                    <a:pt x="334" y="12631"/>
                  </a:lnTo>
                  <a:lnTo>
                    <a:pt x="0" y="13355"/>
                  </a:lnTo>
                  <a:lnTo>
                    <a:pt x="223" y="13967"/>
                  </a:lnTo>
                  <a:lnTo>
                    <a:pt x="556" y="14579"/>
                  </a:lnTo>
                  <a:lnTo>
                    <a:pt x="890" y="15191"/>
                  </a:lnTo>
                  <a:lnTo>
                    <a:pt x="1280" y="15803"/>
                  </a:lnTo>
                  <a:lnTo>
                    <a:pt x="1669" y="16415"/>
                  </a:lnTo>
                  <a:lnTo>
                    <a:pt x="2114" y="17027"/>
                  </a:lnTo>
                  <a:lnTo>
                    <a:pt x="3172" y="18140"/>
                  </a:lnTo>
                  <a:lnTo>
                    <a:pt x="4284" y="19253"/>
                  </a:lnTo>
                  <a:lnTo>
                    <a:pt x="5564" y="20310"/>
                  </a:lnTo>
                  <a:lnTo>
                    <a:pt x="6955" y="21312"/>
                  </a:lnTo>
                  <a:lnTo>
                    <a:pt x="8458" y="22202"/>
                  </a:lnTo>
                  <a:lnTo>
                    <a:pt x="9515" y="22814"/>
                  </a:lnTo>
                  <a:lnTo>
                    <a:pt x="10683" y="23370"/>
                  </a:lnTo>
                  <a:lnTo>
                    <a:pt x="11852" y="23927"/>
                  </a:lnTo>
                  <a:lnTo>
                    <a:pt x="13076" y="24427"/>
                  </a:lnTo>
                  <a:lnTo>
                    <a:pt x="14356" y="24928"/>
                  </a:lnTo>
                  <a:lnTo>
                    <a:pt x="15636" y="25318"/>
                  </a:lnTo>
                  <a:lnTo>
                    <a:pt x="17027" y="25763"/>
                  </a:lnTo>
                  <a:lnTo>
                    <a:pt x="18418" y="26097"/>
                  </a:lnTo>
                  <a:lnTo>
                    <a:pt x="19809" y="26431"/>
                  </a:lnTo>
                  <a:lnTo>
                    <a:pt x="21255" y="26709"/>
                  </a:lnTo>
                  <a:lnTo>
                    <a:pt x="22758" y="26931"/>
                  </a:lnTo>
                  <a:lnTo>
                    <a:pt x="24260" y="27154"/>
                  </a:lnTo>
                  <a:lnTo>
                    <a:pt x="25818" y="27321"/>
                  </a:lnTo>
                  <a:lnTo>
                    <a:pt x="27376" y="27432"/>
                  </a:lnTo>
                  <a:lnTo>
                    <a:pt x="28934" y="27488"/>
                  </a:lnTo>
                  <a:lnTo>
                    <a:pt x="30548" y="27543"/>
                  </a:lnTo>
                  <a:lnTo>
                    <a:pt x="33219" y="27432"/>
                  </a:lnTo>
                  <a:lnTo>
                    <a:pt x="35834" y="27265"/>
                  </a:lnTo>
                  <a:lnTo>
                    <a:pt x="38338" y="26931"/>
                  </a:lnTo>
                  <a:lnTo>
                    <a:pt x="40842" y="26542"/>
                  </a:lnTo>
                  <a:lnTo>
                    <a:pt x="43179" y="25985"/>
                  </a:lnTo>
                  <a:lnTo>
                    <a:pt x="45460" y="25318"/>
                  </a:lnTo>
                  <a:lnTo>
                    <a:pt x="47574" y="24594"/>
                  </a:lnTo>
                  <a:lnTo>
                    <a:pt x="49633" y="23760"/>
                  </a:lnTo>
                  <a:lnTo>
                    <a:pt x="50579" y="23259"/>
                  </a:lnTo>
                  <a:lnTo>
                    <a:pt x="51525" y="22814"/>
                  </a:lnTo>
                  <a:lnTo>
                    <a:pt x="52471" y="22313"/>
                  </a:lnTo>
                  <a:lnTo>
                    <a:pt x="53305" y="21812"/>
                  </a:lnTo>
                  <a:lnTo>
                    <a:pt x="54140" y="21256"/>
                  </a:lnTo>
                  <a:lnTo>
                    <a:pt x="54975" y="20699"/>
                  </a:lnTo>
                  <a:lnTo>
                    <a:pt x="55698" y="20087"/>
                  </a:lnTo>
                  <a:lnTo>
                    <a:pt x="56421" y="19531"/>
                  </a:lnTo>
                  <a:lnTo>
                    <a:pt x="57089" y="18919"/>
                  </a:lnTo>
                  <a:lnTo>
                    <a:pt x="57757" y="18251"/>
                  </a:lnTo>
                  <a:lnTo>
                    <a:pt x="58313" y="17639"/>
                  </a:lnTo>
                  <a:lnTo>
                    <a:pt x="58870" y="16971"/>
                  </a:lnTo>
                  <a:lnTo>
                    <a:pt x="59370" y="16304"/>
                  </a:lnTo>
                  <a:lnTo>
                    <a:pt x="59816" y="15636"/>
                  </a:lnTo>
                  <a:lnTo>
                    <a:pt x="60261" y="14913"/>
                  </a:lnTo>
                  <a:lnTo>
                    <a:pt x="60595" y="14189"/>
                  </a:lnTo>
                  <a:lnTo>
                    <a:pt x="60316" y="13577"/>
                  </a:lnTo>
                  <a:lnTo>
                    <a:pt x="60038" y="12909"/>
                  </a:lnTo>
                  <a:lnTo>
                    <a:pt x="59704" y="12297"/>
                  </a:lnTo>
                  <a:lnTo>
                    <a:pt x="59315" y="11685"/>
                  </a:lnTo>
                  <a:lnTo>
                    <a:pt x="58870" y="11073"/>
                  </a:lnTo>
                  <a:lnTo>
                    <a:pt x="58425" y="10517"/>
                  </a:lnTo>
                  <a:lnTo>
                    <a:pt x="57423" y="9348"/>
                  </a:lnTo>
                  <a:lnTo>
                    <a:pt x="56310" y="8291"/>
                  </a:lnTo>
                  <a:lnTo>
                    <a:pt x="55030" y="7234"/>
                  </a:lnTo>
                  <a:lnTo>
                    <a:pt x="53639" y="6232"/>
                  </a:lnTo>
                  <a:lnTo>
                    <a:pt x="52137" y="5286"/>
                  </a:lnTo>
                  <a:lnTo>
                    <a:pt x="51024" y="4730"/>
                  </a:lnTo>
                  <a:lnTo>
                    <a:pt x="49911" y="4118"/>
                  </a:lnTo>
                  <a:lnTo>
                    <a:pt x="48743" y="3617"/>
                  </a:lnTo>
                  <a:lnTo>
                    <a:pt x="47519" y="3116"/>
                  </a:lnTo>
                  <a:lnTo>
                    <a:pt x="46239" y="2616"/>
                  </a:lnTo>
                  <a:lnTo>
                    <a:pt x="44903" y="2170"/>
                  </a:lnTo>
                  <a:lnTo>
                    <a:pt x="43568" y="1781"/>
                  </a:lnTo>
                  <a:lnTo>
                    <a:pt x="42177" y="1447"/>
                  </a:lnTo>
                  <a:lnTo>
                    <a:pt x="40786" y="1113"/>
                  </a:lnTo>
                  <a:lnTo>
                    <a:pt x="39339" y="835"/>
                  </a:lnTo>
                  <a:lnTo>
                    <a:pt x="37837" y="557"/>
                  </a:lnTo>
                  <a:lnTo>
                    <a:pt x="36335" y="390"/>
                  </a:lnTo>
                  <a:lnTo>
                    <a:pt x="34777" y="223"/>
                  </a:lnTo>
                  <a:lnTo>
                    <a:pt x="33219" y="112"/>
                  </a:lnTo>
                  <a:lnTo>
                    <a:pt x="31605" y="56"/>
                  </a:lnTo>
                  <a:lnTo>
                    <a:pt x="30047" y="0"/>
                  </a:ln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7349;p84">
              <a:extLst>
                <a:ext uri="{FF2B5EF4-FFF2-40B4-BE49-F238E27FC236}">
                  <a16:creationId xmlns:a16="http://schemas.microsoft.com/office/drawing/2014/main" id="{96034379-2365-7084-80AD-E6AD193A1FD9}"/>
                </a:ext>
              </a:extLst>
            </p:cNvPr>
            <p:cNvSpPr/>
            <p:nvPr/>
          </p:nvSpPr>
          <p:spPr>
            <a:xfrm>
              <a:off x="1456325" y="3797850"/>
              <a:ext cx="1514875" cy="688600"/>
            </a:xfrm>
            <a:custGeom>
              <a:avLst/>
              <a:gdLst/>
              <a:ahLst/>
              <a:cxnLst/>
              <a:rect l="l" t="t" r="r" b="b"/>
              <a:pathLst>
                <a:path w="60595" h="27544" fill="none" extrusionOk="0">
                  <a:moveTo>
                    <a:pt x="30047" y="0"/>
                  </a:moveTo>
                  <a:lnTo>
                    <a:pt x="30047" y="0"/>
                  </a:lnTo>
                  <a:lnTo>
                    <a:pt x="27376" y="56"/>
                  </a:lnTo>
                  <a:lnTo>
                    <a:pt x="24761" y="279"/>
                  </a:lnTo>
                  <a:lnTo>
                    <a:pt x="22201" y="557"/>
                  </a:lnTo>
                  <a:lnTo>
                    <a:pt x="19753" y="1002"/>
                  </a:lnTo>
                  <a:lnTo>
                    <a:pt x="17416" y="1558"/>
                  </a:lnTo>
                  <a:lnTo>
                    <a:pt x="15135" y="2226"/>
                  </a:lnTo>
                  <a:lnTo>
                    <a:pt x="12965" y="2949"/>
                  </a:lnTo>
                  <a:lnTo>
                    <a:pt x="10962" y="3784"/>
                  </a:lnTo>
                  <a:lnTo>
                    <a:pt x="9960" y="4229"/>
                  </a:lnTo>
                  <a:lnTo>
                    <a:pt x="9014" y="4730"/>
                  </a:lnTo>
                  <a:lnTo>
                    <a:pt x="8124" y="5231"/>
                  </a:lnTo>
                  <a:lnTo>
                    <a:pt x="7234" y="5732"/>
                  </a:lnTo>
                  <a:lnTo>
                    <a:pt x="6399" y="6288"/>
                  </a:lnTo>
                  <a:lnTo>
                    <a:pt x="5620" y="6844"/>
                  </a:lnTo>
                  <a:lnTo>
                    <a:pt x="4841" y="7401"/>
                  </a:lnTo>
                  <a:lnTo>
                    <a:pt x="4173" y="8013"/>
                  </a:lnTo>
                  <a:lnTo>
                    <a:pt x="3450" y="8625"/>
                  </a:lnTo>
                  <a:lnTo>
                    <a:pt x="2838" y="9237"/>
                  </a:lnTo>
                  <a:lnTo>
                    <a:pt x="2226" y="9905"/>
                  </a:lnTo>
                  <a:lnTo>
                    <a:pt x="1725" y="10572"/>
                  </a:lnTo>
                  <a:lnTo>
                    <a:pt x="1224" y="11240"/>
                  </a:lnTo>
                  <a:lnTo>
                    <a:pt x="723" y="11908"/>
                  </a:lnTo>
                  <a:lnTo>
                    <a:pt x="334" y="12631"/>
                  </a:lnTo>
                  <a:lnTo>
                    <a:pt x="0" y="13355"/>
                  </a:lnTo>
                  <a:lnTo>
                    <a:pt x="0" y="13355"/>
                  </a:lnTo>
                  <a:lnTo>
                    <a:pt x="223" y="13967"/>
                  </a:lnTo>
                  <a:lnTo>
                    <a:pt x="556" y="14579"/>
                  </a:lnTo>
                  <a:lnTo>
                    <a:pt x="890" y="15191"/>
                  </a:lnTo>
                  <a:lnTo>
                    <a:pt x="1280" y="15803"/>
                  </a:lnTo>
                  <a:lnTo>
                    <a:pt x="1669" y="16415"/>
                  </a:lnTo>
                  <a:lnTo>
                    <a:pt x="2114" y="17027"/>
                  </a:lnTo>
                  <a:lnTo>
                    <a:pt x="3172" y="18140"/>
                  </a:lnTo>
                  <a:lnTo>
                    <a:pt x="4284" y="19253"/>
                  </a:lnTo>
                  <a:lnTo>
                    <a:pt x="5564" y="20310"/>
                  </a:lnTo>
                  <a:lnTo>
                    <a:pt x="6955" y="21312"/>
                  </a:lnTo>
                  <a:lnTo>
                    <a:pt x="8458" y="22202"/>
                  </a:lnTo>
                  <a:lnTo>
                    <a:pt x="8458" y="22202"/>
                  </a:lnTo>
                  <a:lnTo>
                    <a:pt x="9515" y="22814"/>
                  </a:lnTo>
                  <a:lnTo>
                    <a:pt x="10683" y="23370"/>
                  </a:lnTo>
                  <a:lnTo>
                    <a:pt x="11852" y="23927"/>
                  </a:lnTo>
                  <a:lnTo>
                    <a:pt x="13076" y="24427"/>
                  </a:lnTo>
                  <a:lnTo>
                    <a:pt x="14356" y="24928"/>
                  </a:lnTo>
                  <a:lnTo>
                    <a:pt x="15636" y="25318"/>
                  </a:lnTo>
                  <a:lnTo>
                    <a:pt x="17027" y="25763"/>
                  </a:lnTo>
                  <a:lnTo>
                    <a:pt x="18418" y="26097"/>
                  </a:lnTo>
                  <a:lnTo>
                    <a:pt x="19809" y="26431"/>
                  </a:lnTo>
                  <a:lnTo>
                    <a:pt x="21255" y="26709"/>
                  </a:lnTo>
                  <a:lnTo>
                    <a:pt x="22758" y="26931"/>
                  </a:lnTo>
                  <a:lnTo>
                    <a:pt x="24260" y="27154"/>
                  </a:lnTo>
                  <a:lnTo>
                    <a:pt x="25818" y="27321"/>
                  </a:lnTo>
                  <a:lnTo>
                    <a:pt x="27376" y="27432"/>
                  </a:lnTo>
                  <a:lnTo>
                    <a:pt x="28934" y="27488"/>
                  </a:lnTo>
                  <a:lnTo>
                    <a:pt x="30548" y="27543"/>
                  </a:lnTo>
                  <a:lnTo>
                    <a:pt x="30548" y="27543"/>
                  </a:lnTo>
                  <a:lnTo>
                    <a:pt x="33219" y="27432"/>
                  </a:lnTo>
                  <a:lnTo>
                    <a:pt x="35834" y="27265"/>
                  </a:lnTo>
                  <a:lnTo>
                    <a:pt x="38338" y="26931"/>
                  </a:lnTo>
                  <a:lnTo>
                    <a:pt x="40842" y="26542"/>
                  </a:lnTo>
                  <a:lnTo>
                    <a:pt x="43179" y="25985"/>
                  </a:lnTo>
                  <a:lnTo>
                    <a:pt x="45460" y="25318"/>
                  </a:lnTo>
                  <a:lnTo>
                    <a:pt x="47574" y="24594"/>
                  </a:lnTo>
                  <a:lnTo>
                    <a:pt x="49633" y="23760"/>
                  </a:lnTo>
                  <a:lnTo>
                    <a:pt x="50579" y="23259"/>
                  </a:lnTo>
                  <a:lnTo>
                    <a:pt x="51525" y="22814"/>
                  </a:lnTo>
                  <a:lnTo>
                    <a:pt x="52471" y="22313"/>
                  </a:lnTo>
                  <a:lnTo>
                    <a:pt x="53305" y="21812"/>
                  </a:lnTo>
                  <a:lnTo>
                    <a:pt x="54140" y="21256"/>
                  </a:lnTo>
                  <a:lnTo>
                    <a:pt x="54975" y="20699"/>
                  </a:lnTo>
                  <a:lnTo>
                    <a:pt x="55698" y="20087"/>
                  </a:lnTo>
                  <a:lnTo>
                    <a:pt x="56421" y="19531"/>
                  </a:lnTo>
                  <a:lnTo>
                    <a:pt x="57089" y="18919"/>
                  </a:lnTo>
                  <a:lnTo>
                    <a:pt x="57757" y="18251"/>
                  </a:lnTo>
                  <a:lnTo>
                    <a:pt x="58313" y="17639"/>
                  </a:lnTo>
                  <a:lnTo>
                    <a:pt x="58870" y="16971"/>
                  </a:lnTo>
                  <a:lnTo>
                    <a:pt x="59370" y="16304"/>
                  </a:lnTo>
                  <a:lnTo>
                    <a:pt x="59816" y="15636"/>
                  </a:lnTo>
                  <a:lnTo>
                    <a:pt x="60261" y="14913"/>
                  </a:lnTo>
                  <a:lnTo>
                    <a:pt x="60595" y="14189"/>
                  </a:lnTo>
                  <a:lnTo>
                    <a:pt x="60595" y="14189"/>
                  </a:lnTo>
                  <a:lnTo>
                    <a:pt x="60316" y="13577"/>
                  </a:lnTo>
                  <a:lnTo>
                    <a:pt x="60038" y="12909"/>
                  </a:lnTo>
                  <a:lnTo>
                    <a:pt x="59704" y="12297"/>
                  </a:lnTo>
                  <a:lnTo>
                    <a:pt x="59315" y="11685"/>
                  </a:lnTo>
                  <a:lnTo>
                    <a:pt x="58870" y="11073"/>
                  </a:lnTo>
                  <a:lnTo>
                    <a:pt x="58425" y="10517"/>
                  </a:lnTo>
                  <a:lnTo>
                    <a:pt x="57423" y="9348"/>
                  </a:lnTo>
                  <a:lnTo>
                    <a:pt x="56310" y="8291"/>
                  </a:lnTo>
                  <a:lnTo>
                    <a:pt x="55030" y="7234"/>
                  </a:lnTo>
                  <a:lnTo>
                    <a:pt x="53639" y="6232"/>
                  </a:lnTo>
                  <a:lnTo>
                    <a:pt x="52137" y="5286"/>
                  </a:lnTo>
                  <a:lnTo>
                    <a:pt x="52137" y="5286"/>
                  </a:lnTo>
                  <a:lnTo>
                    <a:pt x="51024" y="4730"/>
                  </a:lnTo>
                  <a:lnTo>
                    <a:pt x="49911" y="4118"/>
                  </a:lnTo>
                  <a:lnTo>
                    <a:pt x="48743" y="3617"/>
                  </a:lnTo>
                  <a:lnTo>
                    <a:pt x="47519" y="3116"/>
                  </a:lnTo>
                  <a:lnTo>
                    <a:pt x="46239" y="2616"/>
                  </a:lnTo>
                  <a:lnTo>
                    <a:pt x="44903" y="2170"/>
                  </a:lnTo>
                  <a:lnTo>
                    <a:pt x="43568" y="1781"/>
                  </a:lnTo>
                  <a:lnTo>
                    <a:pt x="42177" y="1447"/>
                  </a:lnTo>
                  <a:lnTo>
                    <a:pt x="40786" y="1113"/>
                  </a:lnTo>
                  <a:lnTo>
                    <a:pt x="39339" y="835"/>
                  </a:lnTo>
                  <a:lnTo>
                    <a:pt x="37837" y="557"/>
                  </a:lnTo>
                  <a:lnTo>
                    <a:pt x="36335" y="390"/>
                  </a:lnTo>
                  <a:lnTo>
                    <a:pt x="34777" y="223"/>
                  </a:lnTo>
                  <a:lnTo>
                    <a:pt x="33219" y="112"/>
                  </a:lnTo>
                  <a:lnTo>
                    <a:pt x="31605" y="56"/>
                  </a:lnTo>
                  <a:lnTo>
                    <a:pt x="3004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7350;p84">
              <a:extLst>
                <a:ext uri="{FF2B5EF4-FFF2-40B4-BE49-F238E27FC236}">
                  <a16:creationId xmlns:a16="http://schemas.microsoft.com/office/drawing/2014/main" id="{B691989A-1DA8-6708-9A77-B29F356BD8DB}"/>
                </a:ext>
              </a:extLst>
            </p:cNvPr>
            <p:cNvSpPr/>
            <p:nvPr/>
          </p:nvSpPr>
          <p:spPr>
            <a:xfrm>
              <a:off x="1436850" y="3582225"/>
              <a:ext cx="1560775" cy="904225"/>
            </a:xfrm>
            <a:custGeom>
              <a:avLst/>
              <a:gdLst/>
              <a:ahLst/>
              <a:cxnLst/>
              <a:rect l="l" t="t" r="r" b="b"/>
              <a:pathLst>
                <a:path w="62431" h="36169" extrusionOk="0">
                  <a:moveTo>
                    <a:pt x="29546" y="1"/>
                  </a:moveTo>
                  <a:lnTo>
                    <a:pt x="27933" y="56"/>
                  </a:lnTo>
                  <a:lnTo>
                    <a:pt x="26375" y="168"/>
                  </a:lnTo>
                  <a:lnTo>
                    <a:pt x="24817" y="335"/>
                  </a:lnTo>
                  <a:lnTo>
                    <a:pt x="23314" y="557"/>
                  </a:lnTo>
                  <a:lnTo>
                    <a:pt x="21868" y="780"/>
                  </a:lnTo>
                  <a:lnTo>
                    <a:pt x="20421" y="1058"/>
                  </a:lnTo>
                  <a:lnTo>
                    <a:pt x="18974" y="1392"/>
                  </a:lnTo>
                  <a:lnTo>
                    <a:pt x="17583" y="1781"/>
                  </a:lnTo>
                  <a:lnTo>
                    <a:pt x="16248" y="2171"/>
                  </a:lnTo>
                  <a:lnTo>
                    <a:pt x="14968" y="2616"/>
                  </a:lnTo>
                  <a:lnTo>
                    <a:pt x="13688" y="3061"/>
                  </a:lnTo>
                  <a:lnTo>
                    <a:pt x="12464" y="3562"/>
                  </a:lnTo>
                  <a:lnTo>
                    <a:pt x="11295" y="4118"/>
                  </a:lnTo>
                  <a:lnTo>
                    <a:pt x="10183" y="4675"/>
                  </a:lnTo>
                  <a:lnTo>
                    <a:pt x="9070" y="5287"/>
                  </a:lnTo>
                  <a:lnTo>
                    <a:pt x="8068" y="5899"/>
                  </a:lnTo>
                  <a:lnTo>
                    <a:pt x="7067" y="6567"/>
                  </a:lnTo>
                  <a:lnTo>
                    <a:pt x="6176" y="7234"/>
                  </a:lnTo>
                  <a:lnTo>
                    <a:pt x="5286" y="7958"/>
                  </a:lnTo>
                  <a:lnTo>
                    <a:pt x="4451" y="8681"/>
                  </a:lnTo>
                  <a:lnTo>
                    <a:pt x="3728" y="9460"/>
                  </a:lnTo>
                  <a:lnTo>
                    <a:pt x="3060" y="10239"/>
                  </a:lnTo>
                  <a:lnTo>
                    <a:pt x="2393" y="11018"/>
                  </a:lnTo>
                  <a:lnTo>
                    <a:pt x="1892" y="11853"/>
                  </a:lnTo>
                  <a:lnTo>
                    <a:pt x="1391" y="12687"/>
                  </a:lnTo>
                  <a:lnTo>
                    <a:pt x="946" y="13522"/>
                  </a:lnTo>
                  <a:lnTo>
                    <a:pt x="612" y="14412"/>
                  </a:lnTo>
                  <a:lnTo>
                    <a:pt x="334" y="15303"/>
                  </a:lnTo>
                  <a:lnTo>
                    <a:pt x="167" y="16193"/>
                  </a:lnTo>
                  <a:lnTo>
                    <a:pt x="56" y="17139"/>
                  </a:lnTo>
                  <a:lnTo>
                    <a:pt x="0" y="18085"/>
                  </a:lnTo>
                  <a:lnTo>
                    <a:pt x="56" y="18975"/>
                  </a:lnTo>
                  <a:lnTo>
                    <a:pt x="167" y="19921"/>
                  </a:lnTo>
                  <a:lnTo>
                    <a:pt x="390" y="20811"/>
                  </a:lnTo>
                  <a:lnTo>
                    <a:pt x="668" y="21701"/>
                  </a:lnTo>
                  <a:lnTo>
                    <a:pt x="1002" y="22592"/>
                  </a:lnTo>
                  <a:lnTo>
                    <a:pt x="1447" y="23426"/>
                  </a:lnTo>
                  <a:lnTo>
                    <a:pt x="1948" y="24261"/>
                  </a:lnTo>
                  <a:lnTo>
                    <a:pt x="2504" y="25096"/>
                  </a:lnTo>
                  <a:lnTo>
                    <a:pt x="3116" y="25875"/>
                  </a:lnTo>
                  <a:lnTo>
                    <a:pt x="3839" y="26654"/>
                  </a:lnTo>
                  <a:lnTo>
                    <a:pt x="4563" y="27433"/>
                  </a:lnTo>
                  <a:lnTo>
                    <a:pt x="5397" y="28156"/>
                  </a:lnTo>
                  <a:lnTo>
                    <a:pt x="6288" y="28879"/>
                  </a:lnTo>
                  <a:lnTo>
                    <a:pt x="7178" y="29547"/>
                  </a:lnTo>
                  <a:lnTo>
                    <a:pt x="8179" y="30215"/>
                  </a:lnTo>
                  <a:lnTo>
                    <a:pt x="9237" y="30827"/>
                  </a:lnTo>
                  <a:lnTo>
                    <a:pt x="10294" y="31439"/>
                  </a:lnTo>
                  <a:lnTo>
                    <a:pt x="11462" y="31995"/>
                  </a:lnTo>
                  <a:lnTo>
                    <a:pt x="12631" y="32552"/>
                  </a:lnTo>
                  <a:lnTo>
                    <a:pt x="13855" y="33052"/>
                  </a:lnTo>
                  <a:lnTo>
                    <a:pt x="15135" y="33553"/>
                  </a:lnTo>
                  <a:lnTo>
                    <a:pt x="16415" y="33943"/>
                  </a:lnTo>
                  <a:lnTo>
                    <a:pt x="17806" y="34388"/>
                  </a:lnTo>
                  <a:lnTo>
                    <a:pt x="19197" y="34722"/>
                  </a:lnTo>
                  <a:lnTo>
                    <a:pt x="20588" y="35056"/>
                  </a:lnTo>
                  <a:lnTo>
                    <a:pt x="22034" y="35334"/>
                  </a:lnTo>
                  <a:lnTo>
                    <a:pt x="23537" y="35556"/>
                  </a:lnTo>
                  <a:lnTo>
                    <a:pt x="25039" y="35779"/>
                  </a:lnTo>
                  <a:lnTo>
                    <a:pt x="26597" y="35946"/>
                  </a:lnTo>
                  <a:lnTo>
                    <a:pt x="28155" y="36057"/>
                  </a:lnTo>
                  <a:lnTo>
                    <a:pt x="29713" y="36113"/>
                  </a:lnTo>
                  <a:lnTo>
                    <a:pt x="31327" y="36168"/>
                  </a:lnTo>
                  <a:lnTo>
                    <a:pt x="32940" y="36113"/>
                  </a:lnTo>
                  <a:lnTo>
                    <a:pt x="34498" y="36057"/>
                  </a:lnTo>
                  <a:lnTo>
                    <a:pt x="36056" y="35946"/>
                  </a:lnTo>
                  <a:lnTo>
                    <a:pt x="37614" y="35779"/>
                  </a:lnTo>
                  <a:lnTo>
                    <a:pt x="39117" y="35556"/>
                  </a:lnTo>
                  <a:lnTo>
                    <a:pt x="40619" y="35334"/>
                  </a:lnTo>
                  <a:lnTo>
                    <a:pt x="42066" y="35056"/>
                  </a:lnTo>
                  <a:lnTo>
                    <a:pt x="43457" y="34722"/>
                  </a:lnTo>
                  <a:lnTo>
                    <a:pt x="44848" y="34388"/>
                  </a:lnTo>
                  <a:lnTo>
                    <a:pt x="46183" y="33943"/>
                  </a:lnTo>
                  <a:lnTo>
                    <a:pt x="47519" y="33553"/>
                  </a:lnTo>
                  <a:lnTo>
                    <a:pt x="48743" y="33052"/>
                  </a:lnTo>
                  <a:lnTo>
                    <a:pt x="49967" y="32552"/>
                  </a:lnTo>
                  <a:lnTo>
                    <a:pt x="51135" y="31995"/>
                  </a:lnTo>
                  <a:lnTo>
                    <a:pt x="52304" y="31439"/>
                  </a:lnTo>
                  <a:lnTo>
                    <a:pt x="53361" y="30827"/>
                  </a:lnTo>
                  <a:lnTo>
                    <a:pt x="54418" y="30215"/>
                  </a:lnTo>
                  <a:lnTo>
                    <a:pt x="55364" y="29547"/>
                  </a:lnTo>
                  <a:lnTo>
                    <a:pt x="56310" y="28879"/>
                  </a:lnTo>
                  <a:lnTo>
                    <a:pt x="57145" y="28156"/>
                  </a:lnTo>
                  <a:lnTo>
                    <a:pt x="57979" y="27433"/>
                  </a:lnTo>
                  <a:lnTo>
                    <a:pt x="58703" y="26654"/>
                  </a:lnTo>
                  <a:lnTo>
                    <a:pt x="59426" y="25875"/>
                  </a:lnTo>
                  <a:lnTo>
                    <a:pt x="60038" y="25096"/>
                  </a:lnTo>
                  <a:lnTo>
                    <a:pt x="60595" y="24261"/>
                  </a:lnTo>
                  <a:lnTo>
                    <a:pt x="61095" y="23426"/>
                  </a:lnTo>
                  <a:lnTo>
                    <a:pt x="61485" y="22592"/>
                  </a:lnTo>
                  <a:lnTo>
                    <a:pt x="61819" y="21701"/>
                  </a:lnTo>
                  <a:lnTo>
                    <a:pt x="62097" y="20811"/>
                  </a:lnTo>
                  <a:lnTo>
                    <a:pt x="62320" y="19921"/>
                  </a:lnTo>
                  <a:lnTo>
                    <a:pt x="62431" y="18975"/>
                  </a:lnTo>
                  <a:lnTo>
                    <a:pt x="62431" y="18085"/>
                  </a:lnTo>
                  <a:lnTo>
                    <a:pt x="62375" y="17139"/>
                  </a:lnTo>
                  <a:lnTo>
                    <a:pt x="62264" y="16193"/>
                  </a:lnTo>
                  <a:lnTo>
                    <a:pt x="62097" y="15303"/>
                  </a:lnTo>
                  <a:lnTo>
                    <a:pt x="61819" y="14412"/>
                  </a:lnTo>
                  <a:lnTo>
                    <a:pt x="61429" y="13522"/>
                  </a:lnTo>
                  <a:lnTo>
                    <a:pt x="61040" y="12687"/>
                  </a:lnTo>
                  <a:lnTo>
                    <a:pt x="60539" y="11853"/>
                  </a:lnTo>
                  <a:lnTo>
                    <a:pt x="59927" y="11018"/>
                  </a:lnTo>
                  <a:lnTo>
                    <a:pt x="59315" y="10239"/>
                  </a:lnTo>
                  <a:lnTo>
                    <a:pt x="58647" y="9460"/>
                  </a:lnTo>
                  <a:lnTo>
                    <a:pt x="57868" y="8681"/>
                  </a:lnTo>
                  <a:lnTo>
                    <a:pt x="57034" y="7958"/>
                  </a:lnTo>
                  <a:lnTo>
                    <a:pt x="56199" y="7234"/>
                  </a:lnTo>
                  <a:lnTo>
                    <a:pt x="55253" y="6567"/>
                  </a:lnTo>
                  <a:lnTo>
                    <a:pt x="54251" y="5899"/>
                  </a:lnTo>
                  <a:lnTo>
                    <a:pt x="53250" y="5287"/>
                  </a:lnTo>
                  <a:lnTo>
                    <a:pt x="52137" y="4675"/>
                  </a:lnTo>
                  <a:lnTo>
                    <a:pt x="51024" y="4118"/>
                  </a:lnTo>
                  <a:lnTo>
                    <a:pt x="49800" y="3562"/>
                  </a:lnTo>
                  <a:lnTo>
                    <a:pt x="48576" y="3061"/>
                  </a:lnTo>
                  <a:lnTo>
                    <a:pt x="47352" y="2616"/>
                  </a:lnTo>
                  <a:lnTo>
                    <a:pt x="46016" y="2171"/>
                  </a:lnTo>
                  <a:lnTo>
                    <a:pt x="44681" y="1781"/>
                  </a:lnTo>
                  <a:lnTo>
                    <a:pt x="43290" y="1392"/>
                  </a:lnTo>
                  <a:lnTo>
                    <a:pt x="41843" y="1058"/>
                  </a:lnTo>
                  <a:lnTo>
                    <a:pt x="40396" y="780"/>
                  </a:lnTo>
                  <a:lnTo>
                    <a:pt x="38950" y="557"/>
                  </a:lnTo>
                  <a:lnTo>
                    <a:pt x="37392" y="335"/>
                  </a:lnTo>
                  <a:lnTo>
                    <a:pt x="35889" y="168"/>
                  </a:lnTo>
                  <a:lnTo>
                    <a:pt x="34331" y="56"/>
                  </a:lnTo>
                  <a:lnTo>
                    <a:pt x="32718" y="1"/>
                  </a:lnTo>
                  <a:close/>
                </a:path>
              </a:pathLst>
            </a:custGeom>
            <a:solidFill>
              <a:srgbClr val="DFEC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7351;p84">
              <a:extLst>
                <a:ext uri="{FF2B5EF4-FFF2-40B4-BE49-F238E27FC236}">
                  <a16:creationId xmlns:a16="http://schemas.microsoft.com/office/drawing/2014/main" id="{4A34537D-02E1-E2CA-914D-E21C21BE2730}"/>
                </a:ext>
              </a:extLst>
            </p:cNvPr>
            <p:cNvSpPr/>
            <p:nvPr/>
          </p:nvSpPr>
          <p:spPr>
            <a:xfrm>
              <a:off x="1235125" y="4034325"/>
              <a:ext cx="1964200" cy="709475"/>
            </a:xfrm>
            <a:custGeom>
              <a:avLst/>
              <a:gdLst/>
              <a:ahLst/>
              <a:cxnLst/>
              <a:rect l="l" t="t" r="r" b="b"/>
              <a:pathLst>
                <a:path w="78568" h="28379" extrusionOk="0">
                  <a:moveTo>
                    <a:pt x="1" y="1"/>
                  </a:moveTo>
                  <a:lnTo>
                    <a:pt x="1" y="5621"/>
                  </a:lnTo>
                  <a:lnTo>
                    <a:pt x="57" y="6789"/>
                  </a:lnTo>
                  <a:lnTo>
                    <a:pt x="223" y="7958"/>
                  </a:lnTo>
                  <a:lnTo>
                    <a:pt x="502" y="9070"/>
                  </a:lnTo>
                  <a:lnTo>
                    <a:pt x="836" y="10239"/>
                  </a:lnTo>
                  <a:lnTo>
                    <a:pt x="1281" y="11296"/>
                  </a:lnTo>
                  <a:lnTo>
                    <a:pt x="1781" y="12409"/>
                  </a:lnTo>
                  <a:lnTo>
                    <a:pt x="2449" y="13466"/>
                  </a:lnTo>
                  <a:lnTo>
                    <a:pt x="3117" y="14468"/>
                  </a:lnTo>
                  <a:lnTo>
                    <a:pt x="3951" y="15469"/>
                  </a:lnTo>
                  <a:lnTo>
                    <a:pt x="4786" y="16471"/>
                  </a:lnTo>
                  <a:lnTo>
                    <a:pt x="5732" y="17417"/>
                  </a:lnTo>
                  <a:lnTo>
                    <a:pt x="6789" y="18363"/>
                  </a:lnTo>
                  <a:lnTo>
                    <a:pt x="7902" y="19253"/>
                  </a:lnTo>
                  <a:lnTo>
                    <a:pt x="9071" y="20088"/>
                  </a:lnTo>
                  <a:lnTo>
                    <a:pt x="10295" y="20922"/>
                  </a:lnTo>
                  <a:lnTo>
                    <a:pt x="11575" y="21701"/>
                  </a:lnTo>
                  <a:lnTo>
                    <a:pt x="12966" y="22480"/>
                  </a:lnTo>
                  <a:lnTo>
                    <a:pt x="14412" y="23204"/>
                  </a:lnTo>
                  <a:lnTo>
                    <a:pt x="15859" y="23871"/>
                  </a:lnTo>
                  <a:lnTo>
                    <a:pt x="17417" y="24483"/>
                  </a:lnTo>
                  <a:lnTo>
                    <a:pt x="19031" y="25095"/>
                  </a:lnTo>
                  <a:lnTo>
                    <a:pt x="20644" y="25652"/>
                  </a:lnTo>
                  <a:lnTo>
                    <a:pt x="22369" y="26153"/>
                  </a:lnTo>
                  <a:lnTo>
                    <a:pt x="24094" y="26598"/>
                  </a:lnTo>
                  <a:lnTo>
                    <a:pt x="25875" y="26987"/>
                  </a:lnTo>
                  <a:lnTo>
                    <a:pt x="27711" y="27377"/>
                  </a:lnTo>
                  <a:lnTo>
                    <a:pt x="29603" y="27655"/>
                  </a:lnTo>
                  <a:lnTo>
                    <a:pt x="31494" y="27933"/>
                  </a:lnTo>
                  <a:lnTo>
                    <a:pt x="33442" y="28100"/>
                  </a:lnTo>
                  <a:lnTo>
                    <a:pt x="35389" y="28267"/>
                  </a:lnTo>
                  <a:lnTo>
                    <a:pt x="37393" y="28378"/>
                  </a:lnTo>
                  <a:lnTo>
                    <a:pt x="41454" y="28378"/>
                  </a:lnTo>
                  <a:lnTo>
                    <a:pt x="43402" y="28267"/>
                  </a:lnTo>
                  <a:lnTo>
                    <a:pt x="45405" y="28100"/>
                  </a:lnTo>
                  <a:lnTo>
                    <a:pt x="47297" y="27933"/>
                  </a:lnTo>
                  <a:lnTo>
                    <a:pt x="49244" y="27655"/>
                  </a:lnTo>
                  <a:lnTo>
                    <a:pt x="51081" y="27377"/>
                  </a:lnTo>
                  <a:lnTo>
                    <a:pt x="52917" y="26987"/>
                  </a:lnTo>
                  <a:lnTo>
                    <a:pt x="54697" y="26598"/>
                  </a:lnTo>
                  <a:lnTo>
                    <a:pt x="56422" y="26153"/>
                  </a:lnTo>
                  <a:lnTo>
                    <a:pt x="58092" y="25652"/>
                  </a:lnTo>
                  <a:lnTo>
                    <a:pt x="59761" y="25095"/>
                  </a:lnTo>
                  <a:lnTo>
                    <a:pt x="61374" y="24483"/>
                  </a:lnTo>
                  <a:lnTo>
                    <a:pt x="62877" y="23871"/>
                  </a:lnTo>
                  <a:lnTo>
                    <a:pt x="64379" y="23204"/>
                  </a:lnTo>
                  <a:lnTo>
                    <a:pt x="65770" y="22480"/>
                  </a:lnTo>
                  <a:lnTo>
                    <a:pt x="67161" y="21701"/>
                  </a:lnTo>
                  <a:lnTo>
                    <a:pt x="68441" y="20922"/>
                  </a:lnTo>
                  <a:lnTo>
                    <a:pt x="69665" y="20088"/>
                  </a:lnTo>
                  <a:lnTo>
                    <a:pt x="70834" y="19253"/>
                  </a:lnTo>
                  <a:lnTo>
                    <a:pt x="71947" y="18363"/>
                  </a:lnTo>
                  <a:lnTo>
                    <a:pt x="72948" y="17417"/>
                  </a:lnTo>
                  <a:lnTo>
                    <a:pt x="73894" y="16471"/>
                  </a:lnTo>
                  <a:lnTo>
                    <a:pt x="74729" y="15469"/>
                  </a:lnTo>
                  <a:lnTo>
                    <a:pt x="75508" y="14468"/>
                  </a:lnTo>
                  <a:lnTo>
                    <a:pt x="76231" y="13466"/>
                  </a:lnTo>
                  <a:lnTo>
                    <a:pt x="76843" y="12409"/>
                  </a:lnTo>
                  <a:lnTo>
                    <a:pt x="77344" y="11296"/>
                  </a:lnTo>
                  <a:lnTo>
                    <a:pt x="77789" y="10239"/>
                  </a:lnTo>
                  <a:lnTo>
                    <a:pt x="78123" y="9070"/>
                  </a:lnTo>
                  <a:lnTo>
                    <a:pt x="78345" y="7958"/>
                  </a:lnTo>
                  <a:lnTo>
                    <a:pt x="78512" y="6789"/>
                  </a:lnTo>
                  <a:lnTo>
                    <a:pt x="78568" y="5621"/>
                  </a:lnTo>
                  <a:lnTo>
                    <a:pt x="78568" y="1"/>
                  </a:lnTo>
                  <a:lnTo>
                    <a:pt x="78512" y="1169"/>
                  </a:lnTo>
                  <a:lnTo>
                    <a:pt x="78401" y="2282"/>
                  </a:lnTo>
                  <a:lnTo>
                    <a:pt x="78123" y="3450"/>
                  </a:lnTo>
                  <a:lnTo>
                    <a:pt x="77789" y="4563"/>
                  </a:lnTo>
                  <a:lnTo>
                    <a:pt x="77344" y="5676"/>
                  </a:lnTo>
                  <a:lnTo>
                    <a:pt x="76843" y="6733"/>
                  </a:lnTo>
                  <a:lnTo>
                    <a:pt x="76231" y="7791"/>
                  </a:lnTo>
                  <a:lnTo>
                    <a:pt x="75563" y="8848"/>
                  </a:lnTo>
                  <a:lnTo>
                    <a:pt x="74729" y="9849"/>
                  </a:lnTo>
                  <a:lnTo>
                    <a:pt x="73894" y="10795"/>
                  </a:lnTo>
                  <a:lnTo>
                    <a:pt x="72948" y="11797"/>
                  </a:lnTo>
                  <a:lnTo>
                    <a:pt x="71947" y="12687"/>
                  </a:lnTo>
                  <a:lnTo>
                    <a:pt x="70834" y="13577"/>
                  </a:lnTo>
                  <a:lnTo>
                    <a:pt x="69665" y="14468"/>
                  </a:lnTo>
                  <a:lnTo>
                    <a:pt x="68441" y="15302"/>
                  </a:lnTo>
                  <a:lnTo>
                    <a:pt x="67161" y="16081"/>
                  </a:lnTo>
                  <a:lnTo>
                    <a:pt x="65826" y="16805"/>
                  </a:lnTo>
                  <a:lnTo>
                    <a:pt x="64379" y="17528"/>
                  </a:lnTo>
                  <a:lnTo>
                    <a:pt x="62877" y="18196"/>
                  </a:lnTo>
                  <a:lnTo>
                    <a:pt x="61374" y="18863"/>
                  </a:lnTo>
                  <a:lnTo>
                    <a:pt x="59761" y="19420"/>
                  </a:lnTo>
                  <a:lnTo>
                    <a:pt x="58147" y="19976"/>
                  </a:lnTo>
                  <a:lnTo>
                    <a:pt x="56422" y="20477"/>
                  </a:lnTo>
                  <a:lnTo>
                    <a:pt x="54697" y="20922"/>
                  </a:lnTo>
                  <a:lnTo>
                    <a:pt x="52917" y="21367"/>
                  </a:lnTo>
                  <a:lnTo>
                    <a:pt x="51081" y="21701"/>
                  </a:lnTo>
                  <a:lnTo>
                    <a:pt x="49244" y="22035"/>
                  </a:lnTo>
                  <a:lnTo>
                    <a:pt x="47353" y="22258"/>
                  </a:lnTo>
                  <a:lnTo>
                    <a:pt x="45405" y="22480"/>
                  </a:lnTo>
                  <a:lnTo>
                    <a:pt x="43458" y="22592"/>
                  </a:lnTo>
                  <a:lnTo>
                    <a:pt x="41454" y="22703"/>
                  </a:lnTo>
                  <a:lnTo>
                    <a:pt x="37393" y="22703"/>
                  </a:lnTo>
                  <a:lnTo>
                    <a:pt x="35389" y="22592"/>
                  </a:lnTo>
                  <a:lnTo>
                    <a:pt x="33442" y="22480"/>
                  </a:lnTo>
                  <a:lnTo>
                    <a:pt x="31494" y="22258"/>
                  </a:lnTo>
                  <a:lnTo>
                    <a:pt x="29603" y="22035"/>
                  </a:lnTo>
                  <a:lnTo>
                    <a:pt x="27711" y="21701"/>
                  </a:lnTo>
                  <a:lnTo>
                    <a:pt x="25930" y="21367"/>
                  </a:lnTo>
                  <a:lnTo>
                    <a:pt x="24150" y="20922"/>
                  </a:lnTo>
                  <a:lnTo>
                    <a:pt x="22369" y="20477"/>
                  </a:lnTo>
                  <a:lnTo>
                    <a:pt x="20700" y="19976"/>
                  </a:lnTo>
                  <a:lnTo>
                    <a:pt x="19031" y="19420"/>
                  </a:lnTo>
                  <a:lnTo>
                    <a:pt x="17417" y="18863"/>
                  </a:lnTo>
                  <a:lnTo>
                    <a:pt x="15915" y="18196"/>
                  </a:lnTo>
                  <a:lnTo>
                    <a:pt x="14412" y="17528"/>
                  </a:lnTo>
                  <a:lnTo>
                    <a:pt x="12966" y="16805"/>
                  </a:lnTo>
                  <a:lnTo>
                    <a:pt x="11630" y="16081"/>
                  </a:lnTo>
                  <a:lnTo>
                    <a:pt x="10295" y="15302"/>
                  </a:lnTo>
                  <a:lnTo>
                    <a:pt x="9071" y="14468"/>
                  </a:lnTo>
                  <a:lnTo>
                    <a:pt x="7902" y="13577"/>
                  </a:lnTo>
                  <a:lnTo>
                    <a:pt x="6789" y="12687"/>
                  </a:lnTo>
                  <a:lnTo>
                    <a:pt x="5788" y="11797"/>
                  </a:lnTo>
                  <a:lnTo>
                    <a:pt x="4842" y="10851"/>
                  </a:lnTo>
                  <a:lnTo>
                    <a:pt x="3951" y="9849"/>
                  </a:lnTo>
                  <a:lnTo>
                    <a:pt x="3173" y="8848"/>
                  </a:lnTo>
                  <a:lnTo>
                    <a:pt x="2449" y="7791"/>
                  </a:lnTo>
                  <a:lnTo>
                    <a:pt x="1837" y="6733"/>
                  </a:lnTo>
                  <a:lnTo>
                    <a:pt x="1281" y="5676"/>
                  </a:lnTo>
                  <a:lnTo>
                    <a:pt x="836" y="4563"/>
                  </a:lnTo>
                  <a:lnTo>
                    <a:pt x="502" y="3450"/>
                  </a:lnTo>
                  <a:lnTo>
                    <a:pt x="223" y="2282"/>
                  </a:lnTo>
                  <a:lnTo>
                    <a:pt x="57" y="116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BF9D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7352;p84">
              <a:extLst>
                <a:ext uri="{FF2B5EF4-FFF2-40B4-BE49-F238E27FC236}">
                  <a16:creationId xmlns:a16="http://schemas.microsoft.com/office/drawing/2014/main" id="{A81B5CCF-87F8-A0A2-0103-BE0A6389AD36}"/>
                </a:ext>
              </a:extLst>
            </p:cNvPr>
            <p:cNvSpPr/>
            <p:nvPr/>
          </p:nvSpPr>
          <p:spPr>
            <a:xfrm>
              <a:off x="1235125" y="4034325"/>
              <a:ext cx="1964200" cy="709475"/>
            </a:xfrm>
            <a:custGeom>
              <a:avLst/>
              <a:gdLst/>
              <a:ahLst/>
              <a:cxnLst/>
              <a:rect l="l" t="t" r="r" b="b"/>
              <a:pathLst>
                <a:path w="78568" h="28379" fill="none" extrusionOk="0">
                  <a:moveTo>
                    <a:pt x="39451" y="22703"/>
                  </a:moveTo>
                  <a:lnTo>
                    <a:pt x="39451" y="22703"/>
                  </a:lnTo>
                  <a:lnTo>
                    <a:pt x="37393" y="22703"/>
                  </a:lnTo>
                  <a:lnTo>
                    <a:pt x="35389" y="22592"/>
                  </a:lnTo>
                  <a:lnTo>
                    <a:pt x="33442" y="22480"/>
                  </a:lnTo>
                  <a:lnTo>
                    <a:pt x="31494" y="22258"/>
                  </a:lnTo>
                  <a:lnTo>
                    <a:pt x="29603" y="22035"/>
                  </a:lnTo>
                  <a:lnTo>
                    <a:pt x="27711" y="21701"/>
                  </a:lnTo>
                  <a:lnTo>
                    <a:pt x="25930" y="21367"/>
                  </a:lnTo>
                  <a:lnTo>
                    <a:pt x="24150" y="20922"/>
                  </a:lnTo>
                  <a:lnTo>
                    <a:pt x="22369" y="20477"/>
                  </a:lnTo>
                  <a:lnTo>
                    <a:pt x="20700" y="19976"/>
                  </a:lnTo>
                  <a:lnTo>
                    <a:pt x="19031" y="19420"/>
                  </a:lnTo>
                  <a:lnTo>
                    <a:pt x="17417" y="18863"/>
                  </a:lnTo>
                  <a:lnTo>
                    <a:pt x="15915" y="18196"/>
                  </a:lnTo>
                  <a:lnTo>
                    <a:pt x="14412" y="17528"/>
                  </a:lnTo>
                  <a:lnTo>
                    <a:pt x="12966" y="16805"/>
                  </a:lnTo>
                  <a:lnTo>
                    <a:pt x="11630" y="16081"/>
                  </a:lnTo>
                  <a:lnTo>
                    <a:pt x="11630" y="16081"/>
                  </a:lnTo>
                  <a:lnTo>
                    <a:pt x="10295" y="15302"/>
                  </a:lnTo>
                  <a:lnTo>
                    <a:pt x="9071" y="14468"/>
                  </a:lnTo>
                  <a:lnTo>
                    <a:pt x="7902" y="13577"/>
                  </a:lnTo>
                  <a:lnTo>
                    <a:pt x="6789" y="12687"/>
                  </a:lnTo>
                  <a:lnTo>
                    <a:pt x="5788" y="11797"/>
                  </a:lnTo>
                  <a:lnTo>
                    <a:pt x="4842" y="10851"/>
                  </a:lnTo>
                  <a:lnTo>
                    <a:pt x="3951" y="9849"/>
                  </a:lnTo>
                  <a:lnTo>
                    <a:pt x="3173" y="8848"/>
                  </a:lnTo>
                  <a:lnTo>
                    <a:pt x="2449" y="7791"/>
                  </a:lnTo>
                  <a:lnTo>
                    <a:pt x="1837" y="6733"/>
                  </a:lnTo>
                  <a:lnTo>
                    <a:pt x="1281" y="5676"/>
                  </a:lnTo>
                  <a:lnTo>
                    <a:pt x="836" y="4563"/>
                  </a:lnTo>
                  <a:lnTo>
                    <a:pt x="502" y="3450"/>
                  </a:lnTo>
                  <a:lnTo>
                    <a:pt x="223" y="2282"/>
                  </a:lnTo>
                  <a:lnTo>
                    <a:pt x="57" y="1169"/>
                  </a:lnTo>
                  <a:lnTo>
                    <a:pt x="1" y="1"/>
                  </a:lnTo>
                  <a:lnTo>
                    <a:pt x="1" y="5621"/>
                  </a:lnTo>
                  <a:lnTo>
                    <a:pt x="1" y="5621"/>
                  </a:lnTo>
                  <a:lnTo>
                    <a:pt x="57" y="6789"/>
                  </a:lnTo>
                  <a:lnTo>
                    <a:pt x="223" y="7958"/>
                  </a:lnTo>
                  <a:lnTo>
                    <a:pt x="502" y="9070"/>
                  </a:lnTo>
                  <a:lnTo>
                    <a:pt x="836" y="10239"/>
                  </a:lnTo>
                  <a:lnTo>
                    <a:pt x="1281" y="11296"/>
                  </a:lnTo>
                  <a:lnTo>
                    <a:pt x="1781" y="12409"/>
                  </a:lnTo>
                  <a:lnTo>
                    <a:pt x="2449" y="13466"/>
                  </a:lnTo>
                  <a:lnTo>
                    <a:pt x="3117" y="14468"/>
                  </a:lnTo>
                  <a:lnTo>
                    <a:pt x="3951" y="15469"/>
                  </a:lnTo>
                  <a:lnTo>
                    <a:pt x="4786" y="16471"/>
                  </a:lnTo>
                  <a:lnTo>
                    <a:pt x="5732" y="17417"/>
                  </a:lnTo>
                  <a:lnTo>
                    <a:pt x="6789" y="18363"/>
                  </a:lnTo>
                  <a:lnTo>
                    <a:pt x="7902" y="19253"/>
                  </a:lnTo>
                  <a:lnTo>
                    <a:pt x="9071" y="20088"/>
                  </a:lnTo>
                  <a:lnTo>
                    <a:pt x="10295" y="20922"/>
                  </a:lnTo>
                  <a:lnTo>
                    <a:pt x="11575" y="21701"/>
                  </a:lnTo>
                  <a:lnTo>
                    <a:pt x="11575" y="21701"/>
                  </a:lnTo>
                  <a:lnTo>
                    <a:pt x="12966" y="22480"/>
                  </a:lnTo>
                  <a:lnTo>
                    <a:pt x="14412" y="23204"/>
                  </a:lnTo>
                  <a:lnTo>
                    <a:pt x="15859" y="23871"/>
                  </a:lnTo>
                  <a:lnTo>
                    <a:pt x="17417" y="24483"/>
                  </a:lnTo>
                  <a:lnTo>
                    <a:pt x="19031" y="25095"/>
                  </a:lnTo>
                  <a:lnTo>
                    <a:pt x="20644" y="25652"/>
                  </a:lnTo>
                  <a:lnTo>
                    <a:pt x="22369" y="26153"/>
                  </a:lnTo>
                  <a:lnTo>
                    <a:pt x="24094" y="26598"/>
                  </a:lnTo>
                  <a:lnTo>
                    <a:pt x="25875" y="26987"/>
                  </a:lnTo>
                  <a:lnTo>
                    <a:pt x="27711" y="27377"/>
                  </a:lnTo>
                  <a:lnTo>
                    <a:pt x="29603" y="27655"/>
                  </a:lnTo>
                  <a:lnTo>
                    <a:pt x="31494" y="27933"/>
                  </a:lnTo>
                  <a:lnTo>
                    <a:pt x="33442" y="28100"/>
                  </a:lnTo>
                  <a:lnTo>
                    <a:pt x="35389" y="28267"/>
                  </a:lnTo>
                  <a:lnTo>
                    <a:pt x="37393" y="28378"/>
                  </a:lnTo>
                  <a:lnTo>
                    <a:pt x="39396" y="28378"/>
                  </a:lnTo>
                  <a:lnTo>
                    <a:pt x="39396" y="28378"/>
                  </a:lnTo>
                  <a:lnTo>
                    <a:pt x="41454" y="28378"/>
                  </a:lnTo>
                  <a:lnTo>
                    <a:pt x="43402" y="28267"/>
                  </a:lnTo>
                  <a:lnTo>
                    <a:pt x="45405" y="28100"/>
                  </a:lnTo>
                  <a:lnTo>
                    <a:pt x="47297" y="27933"/>
                  </a:lnTo>
                  <a:lnTo>
                    <a:pt x="49244" y="27655"/>
                  </a:lnTo>
                  <a:lnTo>
                    <a:pt x="51081" y="27377"/>
                  </a:lnTo>
                  <a:lnTo>
                    <a:pt x="52917" y="26987"/>
                  </a:lnTo>
                  <a:lnTo>
                    <a:pt x="54697" y="26598"/>
                  </a:lnTo>
                  <a:lnTo>
                    <a:pt x="56422" y="26153"/>
                  </a:lnTo>
                  <a:lnTo>
                    <a:pt x="58092" y="25652"/>
                  </a:lnTo>
                  <a:lnTo>
                    <a:pt x="59761" y="25095"/>
                  </a:lnTo>
                  <a:lnTo>
                    <a:pt x="61374" y="24483"/>
                  </a:lnTo>
                  <a:lnTo>
                    <a:pt x="62877" y="23871"/>
                  </a:lnTo>
                  <a:lnTo>
                    <a:pt x="64379" y="23204"/>
                  </a:lnTo>
                  <a:lnTo>
                    <a:pt x="65770" y="22480"/>
                  </a:lnTo>
                  <a:lnTo>
                    <a:pt x="67161" y="21701"/>
                  </a:lnTo>
                  <a:lnTo>
                    <a:pt x="68441" y="20922"/>
                  </a:lnTo>
                  <a:lnTo>
                    <a:pt x="69665" y="20088"/>
                  </a:lnTo>
                  <a:lnTo>
                    <a:pt x="70834" y="19253"/>
                  </a:lnTo>
                  <a:lnTo>
                    <a:pt x="71947" y="18363"/>
                  </a:lnTo>
                  <a:lnTo>
                    <a:pt x="72948" y="17417"/>
                  </a:lnTo>
                  <a:lnTo>
                    <a:pt x="73894" y="16471"/>
                  </a:lnTo>
                  <a:lnTo>
                    <a:pt x="74729" y="15469"/>
                  </a:lnTo>
                  <a:lnTo>
                    <a:pt x="75508" y="14468"/>
                  </a:lnTo>
                  <a:lnTo>
                    <a:pt x="76231" y="13466"/>
                  </a:lnTo>
                  <a:lnTo>
                    <a:pt x="76843" y="12409"/>
                  </a:lnTo>
                  <a:lnTo>
                    <a:pt x="77344" y="11296"/>
                  </a:lnTo>
                  <a:lnTo>
                    <a:pt x="77789" y="10239"/>
                  </a:lnTo>
                  <a:lnTo>
                    <a:pt x="78123" y="9070"/>
                  </a:lnTo>
                  <a:lnTo>
                    <a:pt x="78345" y="7958"/>
                  </a:lnTo>
                  <a:lnTo>
                    <a:pt x="78512" y="6789"/>
                  </a:lnTo>
                  <a:lnTo>
                    <a:pt x="78568" y="5621"/>
                  </a:lnTo>
                  <a:lnTo>
                    <a:pt x="78568" y="1"/>
                  </a:lnTo>
                  <a:lnTo>
                    <a:pt x="78568" y="1"/>
                  </a:lnTo>
                  <a:lnTo>
                    <a:pt x="78512" y="1169"/>
                  </a:lnTo>
                  <a:lnTo>
                    <a:pt x="78401" y="2282"/>
                  </a:lnTo>
                  <a:lnTo>
                    <a:pt x="78123" y="3450"/>
                  </a:lnTo>
                  <a:lnTo>
                    <a:pt x="77789" y="4563"/>
                  </a:lnTo>
                  <a:lnTo>
                    <a:pt x="77344" y="5676"/>
                  </a:lnTo>
                  <a:lnTo>
                    <a:pt x="76843" y="6733"/>
                  </a:lnTo>
                  <a:lnTo>
                    <a:pt x="76231" y="7791"/>
                  </a:lnTo>
                  <a:lnTo>
                    <a:pt x="75563" y="8848"/>
                  </a:lnTo>
                  <a:lnTo>
                    <a:pt x="74729" y="9849"/>
                  </a:lnTo>
                  <a:lnTo>
                    <a:pt x="73894" y="10795"/>
                  </a:lnTo>
                  <a:lnTo>
                    <a:pt x="72948" y="11797"/>
                  </a:lnTo>
                  <a:lnTo>
                    <a:pt x="71947" y="12687"/>
                  </a:lnTo>
                  <a:lnTo>
                    <a:pt x="70834" y="13577"/>
                  </a:lnTo>
                  <a:lnTo>
                    <a:pt x="69665" y="14468"/>
                  </a:lnTo>
                  <a:lnTo>
                    <a:pt x="68441" y="15302"/>
                  </a:lnTo>
                  <a:lnTo>
                    <a:pt x="67161" y="16081"/>
                  </a:lnTo>
                  <a:lnTo>
                    <a:pt x="65826" y="16805"/>
                  </a:lnTo>
                  <a:lnTo>
                    <a:pt x="64379" y="17528"/>
                  </a:lnTo>
                  <a:lnTo>
                    <a:pt x="62877" y="18196"/>
                  </a:lnTo>
                  <a:lnTo>
                    <a:pt x="61374" y="18863"/>
                  </a:lnTo>
                  <a:lnTo>
                    <a:pt x="59761" y="19420"/>
                  </a:lnTo>
                  <a:lnTo>
                    <a:pt x="58147" y="19976"/>
                  </a:lnTo>
                  <a:lnTo>
                    <a:pt x="56422" y="20477"/>
                  </a:lnTo>
                  <a:lnTo>
                    <a:pt x="54697" y="20922"/>
                  </a:lnTo>
                  <a:lnTo>
                    <a:pt x="52917" y="21367"/>
                  </a:lnTo>
                  <a:lnTo>
                    <a:pt x="51081" y="21701"/>
                  </a:lnTo>
                  <a:lnTo>
                    <a:pt x="49244" y="22035"/>
                  </a:lnTo>
                  <a:lnTo>
                    <a:pt x="47353" y="22258"/>
                  </a:lnTo>
                  <a:lnTo>
                    <a:pt x="45405" y="22480"/>
                  </a:lnTo>
                  <a:lnTo>
                    <a:pt x="43458" y="22592"/>
                  </a:lnTo>
                  <a:lnTo>
                    <a:pt x="41454" y="22703"/>
                  </a:lnTo>
                  <a:lnTo>
                    <a:pt x="39451" y="22703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" name="Google Shape;17353;p84">
              <a:extLst>
                <a:ext uri="{FF2B5EF4-FFF2-40B4-BE49-F238E27FC236}">
                  <a16:creationId xmlns:a16="http://schemas.microsoft.com/office/drawing/2014/main" id="{6B508F45-11F2-A442-0A9B-FC5D087ABB1E}"/>
                </a:ext>
              </a:extLst>
            </p:cNvPr>
            <p:cNvSpPr/>
            <p:nvPr/>
          </p:nvSpPr>
          <p:spPr>
            <a:xfrm>
              <a:off x="1235125" y="3465375"/>
              <a:ext cx="1964200" cy="1136525"/>
            </a:xfrm>
            <a:custGeom>
              <a:avLst/>
              <a:gdLst/>
              <a:ahLst/>
              <a:cxnLst/>
              <a:rect l="l" t="t" r="r" b="b"/>
              <a:pathLst>
                <a:path w="78568" h="45461" extrusionOk="0">
                  <a:moveTo>
                    <a:pt x="40787" y="4675"/>
                  </a:moveTo>
                  <a:lnTo>
                    <a:pt x="42400" y="4730"/>
                  </a:lnTo>
                  <a:lnTo>
                    <a:pt x="43958" y="4842"/>
                  </a:lnTo>
                  <a:lnTo>
                    <a:pt x="45461" y="5009"/>
                  </a:lnTo>
                  <a:lnTo>
                    <a:pt x="47019" y="5231"/>
                  </a:lnTo>
                  <a:lnTo>
                    <a:pt x="48465" y="5454"/>
                  </a:lnTo>
                  <a:lnTo>
                    <a:pt x="49912" y="5732"/>
                  </a:lnTo>
                  <a:lnTo>
                    <a:pt x="51359" y="6066"/>
                  </a:lnTo>
                  <a:lnTo>
                    <a:pt x="52750" y="6455"/>
                  </a:lnTo>
                  <a:lnTo>
                    <a:pt x="54085" y="6845"/>
                  </a:lnTo>
                  <a:lnTo>
                    <a:pt x="55421" y="7290"/>
                  </a:lnTo>
                  <a:lnTo>
                    <a:pt x="56645" y="7735"/>
                  </a:lnTo>
                  <a:lnTo>
                    <a:pt x="57869" y="8236"/>
                  </a:lnTo>
                  <a:lnTo>
                    <a:pt x="59093" y="8792"/>
                  </a:lnTo>
                  <a:lnTo>
                    <a:pt x="60206" y="9349"/>
                  </a:lnTo>
                  <a:lnTo>
                    <a:pt x="61319" y="9961"/>
                  </a:lnTo>
                  <a:lnTo>
                    <a:pt x="62320" y="10573"/>
                  </a:lnTo>
                  <a:lnTo>
                    <a:pt x="63322" y="11241"/>
                  </a:lnTo>
                  <a:lnTo>
                    <a:pt x="64268" y="11908"/>
                  </a:lnTo>
                  <a:lnTo>
                    <a:pt x="65103" y="12632"/>
                  </a:lnTo>
                  <a:lnTo>
                    <a:pt x="65937" y="13355"/>
                  </a:lnTo>
                  <a:lnTo>
                    <a:pt x="66716" y="14134"/>
                  </a:lnTo>
                  <a:lnTo>
                    <a:pt x="67384" y="14913"/>
                  </a:lnTo>
                  <a:lnTo>
                    <a:pt x="67996" y="15692"/>
                  </a:lnTo>
                  <a:lnTo>
                    <a:pt x="68608" y="16527"/>
                  </a:lnTo>
                  <a:lnTo>
                    <a:pt x="69109" y="17361"/>
                  </a:lnTo>
                  <a:lnTo>
                    <a:pt x="69498" y="18196"/>
                  </a:lnTo>
                  <a:lnTo>
                    <a:pt x="69888" y="19086"/>
                  </a:lnTo>
                  <a:lnTo>
                    <a:pt x="70166" y="19977"/>
                  </a:lnTo>
                  <a:lnTo>
                    <a:pt x="70333" y="20867"/>
                  </a:lnTo>
                  <a:lnTo>
                    <a:pt x="70444" y="21813"/>
                  </a:lnTo>
                  <a:lnTo>
                    <a:pt x="70500" y="22759"/>
                  </a:lnTo>
                  <a:lnTo>
                    <a:pt x="70500" y="23649"/>
                  </a:lnTo>
                  <a:lnTo>
                    <a:pt x="70389" y="24595"/>
                  </a:lnTo>
                  <a:lnTo>
                    <a:pt x="70166" y="25485"/>
                  </a:lnTo>
                  <a:lnTo>
                    <a:pt x="69888" y="26375"/>
                  </a:lnTo>
                  <a:lnTo>
                    <a:pt x="69554" y="27266"/>
                  </a:lnTo>
                  <a:lnTo>
                    <a:pt x="69164" y="28100"/>
                  </a:lnTo>
                  <a:lnTo>
                    <a:pt x="68664" y="28935"/>
                  </a:lnTo>
                  <a:lnTo>
                    <a:pt x="68107" y="29770"/>
                  </a:lnTo>
                  <a:lnTo>
                    <a:pt x="67495" y="30549"/>
                  </a:lnTo>
                  <a:lnTo>
                    <a:pt x="66772" y="31328"/>
                  </a:lnTo>
                  <a:lnTo>
                    <a:pt x="66048" y="32107"/>
                  </a:lnTo>
                  <a:lnTo>
                    <a:pt x="65214" y="32830"/>
                  </a:lnTo>
                  <a:lnTo>
                    <a:pt x="64379" y="33553"/>
                  </a:lnTo>
                  <a:lnTo>
                    <a:pt x="63433" y="34221"/>
                  </a:lnTo>
                  <a:lnTo>
                    <a:pt x="62487" y="34889"/>
                  </a:lnTo>
                  <a:lnTo>
                    <a:pt x="61430" y="35501"/>
                  </a:lnTo>
                  <a:lnTo>
                    <a:pt x="60373" y="36113"/>
                  </a:lnTo>
                  <a:lnTo>
                    <a:pt x="59204" y="36669"/>
                  </a:lnTo>
                  <a:lnTo>
                    <a:pt x="58036" y="37226"/>
                  </a:lnTo>
                  <a:lnTo>
                    <a:pt x="56812" y="37726"/>
                  </a:lnTo>
                  <a:lnTo>
                    <a:pt x="55588" y="38227"/>
                  </a:lnTo>
                  <a:lnTo>
                    <a:pt x="54252" y="38617"/>
                  </a:lnTo>
                  <a:lnTo>
                    <a:pt x="52917" y="39062"/>
                  </a:lnTo>
                  <a:lnTo>
                    <a:pt x="51526" y="39396"/>
                  </a:lnTo>
                  <a:lnTo>
                    <a:pt x="50135" y="39730"/>
                  </a:lnTo>
                  <a:lnTo>
                    <a:pt x="48688" y="40008"/>
                  </a:lnTo>
                  <a:lnTo>
                    <a:pt x="47186" y="40230"/>
                  </a:lnTo>
                  <a:lnTo>
                    <a:pt x="45683" y="40453"/>
                  </a:lnTo>
                  <a:lnTo>
                    <a:pt x="44125" y="40620"/>
                  </a:lnTo>
                  <a:lnTo>
                    <a:pt x="42567" y="40731"/>
                  </a:lnTo>
                  <a:lnTo>
                    <a:pt x="41009" y="40787"/>
                  </a:lnTo>
                  <a:lnTo>
                    <a:pt x="39396" y="40842"/>
                  </a:lnTo>
                  <a:lnTo>
                    <a:pt x="37782" y="40787"/>
                  </a:lnTo>
                  <a:lnTo>
                    <a:pt x="36224" y="40731"/>
                  </a:lnTo>
                  <a:lnTo>
                    <a:pt x="34666" y="40620"/>
                  </a:lnTo>
                  <a:lnTo>
                    <a:pt x="33108" y="40453"/>
                  </a:lnTo>
                  <a:lnTo>
                    <a:pt x="31606" y="40230"/>
                  </a:lnTo>
                  <a:lnTo>
                    <a:pt x="30103" y="40008"/>
                  </a:lnTo>
                  <a:lnTo>
                    <a:pt x="28657" y="39730"/>
                  </a:lnTo>
                  <a:lnTo>
                    <a:pt x="27266" y="39396"/>
                  </a:lnTo>
                  <a:lnTo>
                    <a:pt x="25875" y="39062"/>
                  </a:lnTo>
                  <a:lnTo>
                    <a:pt x="24484" y="38617"/>
                  </a:lnTo>
                  <a:lnTo>
                    <a:pt x="23204" y="38227"/>
                  </a:lnTo>
                  <a:lnTo>
                    <a:pt x="21924" y="37726"/>
                  </a:lnTo>
                  <a:lnTo>
                    <a:pt x="20700" y="37226"/>
                  </a:lnTo>
                  <a:lnTo>
                    <a:pt x="19531" y="36669"/>
                  </a:lnTo>
                  <a:lnTo>
                    <a:pt x="18363" y="36113"/>
                  </a:lnTo>
                  <a:lnTo>
                    <a:pt x="17306" y="35501"/>
                  </a:lnTo>
                  <a:lnTo>
                    <a:pt x="16248" y="34889"/>
                  </a:lnTo>
                  <a:lnTo>
                    <a:pt x="15247" y="34221"/>
                  </a:lnTo>
                  <a:lnTo>
                    <a:pt x="14357" y="33553"/>
                  </a:lnTo>
                  <a:lnTo>
                    <a:pt x="13466" y="32830"/>
                  </a:lnTo>
                  <a:lnTo>
                    <a:pt x="12632" y="32107"/>
                  </a:lnTo>
                  <a:lnTo>
                    <a:pt x="11908" y="31328"/>
                  </a:lnTo>
                  <a:lnTo>
                    <a:pt x="11185" y="30549"/>
                  </a:lnTo>
                  <a:lnTo>
                    <a:pt x="10573" y="29770"/>
                  </a:lnTo>
                  <a:lnTo>
                    <a:pt x="10017" y="28935"/>
                  </a:lnTo>
                  <a:lnTo>
                    <a:pt x="9516" y="28100"/>
                  </a:lnTo>
                  <a:lnTo>
                    <a:pt x="9071" y="27266"/>
                  </a:lnTo>
                  <a:lnTo>
                    <a:pt x="8737" y="26375"/>
                  </a:lnTo>
                  <a:lnTo>
                    <a:pt x="8459" y="25485"/>
                  </a:lnTo>
                  <a:lnTo>
                    <a:pt x="8236" y="24595"/>
                  </a:lnTo>
                  <a:lnTo>
                    <a:pt x="8125" y="23649"/>
                  </a:lnTo>
                  <a:lnTo>
                    <a:pt x="8069" y="22759"/>
                  </a:lnTo>
                  <a:lnTo>
                    <a:pt x="8125" y="21813"/>
                  </a:lnTo>
                  <a:lnTo>
                    <a:pt x="8236" y="20867"/>
                  </a:lnTo>
                  <a:lnTo>
                    <a:pt x="8403" y="19977"/>
                  </a:lnTo>
                  <a:lnTo>
                    <a:pt x="8681" y="19086"/>
                  </a:lnTo>
                  <a:lnTo>
                    <a:pt x="9015" y="18196"/>
                  </a:lnTo>
                  <a:lnTo>
                    <a:pt x="9460" y="17361"/>
                  </a:lnTo>
                  <a:lnTo>
                    <a:pt x="9961" y="16527"/>
                  </a:lnTo>
                  <a:lnTo>
                    <a:pt x="10462" y="15692"/>
                  </a:lnTo>
                  <a:lnTo>
                    <a:pt x="11129" y="14913"/>
                  </a:lnTo>
                  <a:lnTo>
                    <a:pt x="11797" y="14134"/>
                  </a:lnTo>
                  <a:lnTo>
                    <a:pt x="12520" y="13355"/>
                  </a:lnTo>
                  <a:lnTo>
                    <a:pt x="13355" y="12632"/>
                  </a:lnTo>
                  <a:lnTo>
                    <a:pt x="14245" y="11908"/>
                  </a:lnTo>
                  <a:lnTo>
                    <a:pt x="15136" y="11241"/>
                  </a:lnTo>
                  <a:lnTo>
                    <a:pt x="16137" y="10573"/>
                  </a:lnTo>
                  <a:lnTo>
                    <a:pt x="17139" y="9961"/>
                  </a:lnTo>
                  <a:lnTo>
                    <a:pt x="18252" y="9349"/>
                  </a:lnTo>
                  <a:lnTo>
                    <a:pt x="19364" y="8792"/>
                  </a:lnTo>
                  <a:lnTo>
                    <a:pt x="20533" y="8236"/>
                  </a:lnTo>
                  <a:lnTo>
                    <a:pt x="21757" y="7735"/>
                  </a:lnTo>
                  <a:lnTo>
                    <a:pt x="23037" y="7290"/>
                  </a:lnTo>
                  <a:lnTo>
                    <a:pt x="24317" y="6845"/>
                  </a:lnTo>
                  <a:lnTo>
                    <a:pt x="25652" y="6455"/>
                  </a:lnTo>
                  <a:lnTo>
                    <a:pt x="27043" y="6066"/>
                  </a:lnTo>
                  <a:lnTo>
                    <a:pt x="28490" y="5732"/>
                  </a:lnTo>
                  <a:lnTo>
                    <a:pt x="29937" y="5454"/>
                  </a:lnTo>
                  <a:lnTo>
                    <a:pt x="31383" y="5231"/>
                  </a:lnTo>
                  <a:lnTo>
                    <a:pt x="32886" y="5009"/>
                  </a:lnTo>
                  <a:lnTo>
                    <a:pt x="34444" y="4842"/>
                  </a:lnTo>
                  <a:lnTo>
                    <a:pt x="36002" y="4730"/>
                  </a:lnTo>
                  <a:lnTo>
                    <a:pt x="37615" y="4675"/>
                  </a:lnTo>
                  <a:close/>
                  <a:moveTo>
                    <a:pt x="37170" y="1"/>
                  </a:moveTo>
                  <a:lnTo>
                    <a:pt x="35167" y="112"/>
                  </a:lnTo>
                  <a:lnTo>
                    <a:pt x="33164" y="223"/>
                  </a:lnTo>
                  <a:lnTo>
                    <a:pt x="31272" y="446"/>
                  </a:lnTo>
                  <a:lnTo>
                    <a:pt x="29380" y="724"/>
                  </a:lnTo>
                  <a:lnTo>
                    <a:pt x="27488" y="1002"/>
                  </a:lnTo>
                  <a:lnTo>
                    <a:pt x="25652" y="1392"/>
                  </a:lnTo>
                  <a:lnTo>
                    <a:pt x="23871" y="1781"/>
                  </a:lnTo>
                  <a:lnTo>
                    <a:pt x="22147" y="2227"/>
                  </a:lnTo>
                  <a:lnTo>
                    <a:pt x="20477" y="2727"/>
                  </a:lnTo>
                  <a:lnTo>
                    <a:pt x="18808" y="3284"/>
                  </a:lnTo>
                  <a:lnTo>
                    <a:pt x="17250" y="3896"/>
                  </a:lnTo>
                  <a:lnTo>
                    <a:pt x="15692" y="4508"/>
                  </a:lnTo>
                  <a:lnTo>
                    <a:pt x="14190" y="5176"/>
                  </a:lnTo>
                  <a:lnTo>
                    <a:pt x="12799" y="5899"/>
                  </a:lnTo>
                  <a:lnTo>
                    <a:pt x="11408" y="6622"/>
                  </a:lnTo>
                  <a:lnTo>
                    <a:pt x="10128" y="7457"/>
                  </a:lnTo>
                  <a:lnTo>
                    <a:pt x="8904" y="8236"/>
                  </a:lnTo>
                  <a:lnTo>
                    <a:pt x="7735" y="9126"/>
                  </a:lnTo>
                  <a:lnTo>
                    <a:pt x="6678" y="10016"/>
                  </a:lnTo>
                  <a:lnTo>
                    <a:pt x="5621" y="10962"/>
                  </a:lnTo>
                  <a:lnTo>
                    <a:pt x="4675" y="11908"/>
                  </a:lnTo>
                  <a:lnTo>
                    <a:pt x="3840" y="12854"/>
                  </a:lnTo>
                  <a:lnTo>
                    <a:pt x="3061" y="13856"/>
                  </a:lnTo>
                  <a:lnTo>
                    <a:pt x="2338" y="14913"/>
                  </a:lnTo>
                  <a:lnTo>
                    <a:pt x="1726" y="15970"/>
                  </a:lnTo>
                  <a:lnTo>
                    <a:pt x="1225" y="17027"/>
                  </a:lnTo>
                  <a:lnTo>
                    <a:pt x="780" y="18140"/>
                  </a:lnTo>
                  <a:lnTo>
                    <a:pt x="446" y="19253"/>
                  </a:lnTo>
                  <a:lnTo>
                    <a:pt x="223" y="20422"/>
                  </a:lnTo>
                  <a:lnTo>
                    <a:pt x="57" y="21590"/>
                  </a:lnTo>
                  <a:lnTo>
                    <a:pt x="1" y="22759"/>
                  </a:lnTo>
                  <a:lnTo>
                    <a:pt x="57" y="23927"/>
                  </a:lnTo>
                  <a:lnTo>
                    <a:pt x="223" y="25040"/>
                  </a:lnTo>
                  <a:lnTo>
                    <a:pt x="502" y="26208"/>
                  </a:lnTo>
                  <a:lnTo>
                    <a:pt x="836" y="27321"/>
                  </a:lnTo>
                  <a:lnTo>
                    <a:pt x="1281" y="28434"/>
                  </a:lnTo>
                  <a:lnTo>
                    <a:pt x="1837" y="29491"/>
                  </a:lnTo>
                  <a:lnTo>
                    <a:pt x="2449" y="30549"/>
                  </a:lnTo>
                  <a:lnTo>
                    <a:pt x="3173" y="31606"/>
                  </a:lnTo>
                  <a:lnTo>
                    <a:pt x="3951" y="32607"/>
                  </a:lnTo>
                  <a:lnTo>
                    <a:pt x="4842" y="33609"/>
                  </a:lnTo>
                  <a:lnTo>
                    <a:pt x="5788" y="34555"/>
                  </a:lnTo>
                  <a:lnTo>
                    <a:pt x="6789" y="35445"/>
                  </a:lnTo>
                  <a:lnTo>
                    <a:pt x="7902" y="36335"/>
                  </a:lnTo>
                  <a:lnTo>
                    <a:pt x="9071" y="37226"/>
                  </a:lnTo>
                  <a:lnTo>
                    <a:pt x="10295" y="38060"/>
                  </a:lnTo>
                  <a:lnTo>
                    <a:pt x="11630" y="38839"/>
                  </a:lnTo>
                  <a:lnTo>
                    <a:pt x="12966" y="39563"/>
                  </a:lnTo>
                  <a:lnTo>
                    <a:pt x="14412" y="40286"/>
                  </a:lnTo>
                  <a:lnTo>
                    <a:pt x="15915" y="40954"/>
                  </a:lnTo>
                  <a:lnTo>
                    <a:pt x="17417" y="41621"/>
                  </a:lnTo>
                  <a:lnTo>
                    <a:pt x="19031" y="42178"/>
                  </a:lnTo>
                  <a:lnTo>
                    <a:pt x="20700" y="42734"/>
                  </a:lnTo>
                  <a:lnTo>
                    <a:pt x="22369" y="43235"/>
                  </a:lnTo>
                  <a:lnTo>
                    <a:pt x="24150" y="43680"/>
                  </a:lnTo>
                  <a:lnTo>
                    <a:pt x="25930" y="44125"/>
                  </a:lnTo>
                  <a:lnTo>
                    <a:pt x="27711" y="44459"/>
                  </a:lnTo>
                  <a:lnTo>
                    <a:pt x="29603" y="44793"/>
                  </a:lnTo>
                  <a:lnTo>
                    <a:pt x="31494" y="45016"/>
                  </a:lnTo>
                  <a:lnTo>
                    <a:pt x="33442" y="45238"/>
                  </a:lnTo>
                  <a:lnTo>
                    <a:pt x="35389" y="45350"/>
                  </a:lnTo>
                  <a:lnTo>
                    <a:pt x="37393" y="45461"/>
                  </a:lnTo>
                  <a:lnTo>
                    <a:pt x="41454" y="45461"/>
                  </a:lnTo>
                  <a:lnTo>
                    <a:pt x="43458" y="45350"/>
                  </a:lnTo>
                  <a:lnTo>
                    <a:pt x="45405" y="45238"/>
                  </a:lnTo>
                  <a:lnTo>
                    <a:pt x="47353" y="45016"/>
                  </a:lnTo>
                  <a:lnTo>
                    <a:pt x="49244" y="44793"/>
                  </a:lnTo>
                  <a:lnTo>
                    <a:pt x="51081" y="44459"/>
                  </a:lnTo>
                  <a:lnTo>
                    <a:pt x="52917" y="44125"/>
                  </a:lnTo>
                  <a:lnTo>
                    <a:pt x="54697" y="43680"/>
                  </a:lnTo>
                  <a:lnTo>
                    <a:pt x="56422" y="43235"/>
                  </a:lnTo>
                  <a:lnTo>
                    <a:pt x="58147" y="42734"/>
                  </a:lnTo>
                  <a:lnTo>
                    <a:pt x="59761" y="42178"/>
                  </a:lnTo>
                  <a:lnTo>
                    <a:pt x="61374" y="41621"/>
                  </a:lnTo>
                  <a:lnTo>
                    <a:pt x="62877" y="40954"/>
                  </a:lnTo>
                  <a:lnTo>
                    <a:pt x="64379" y="40286"/>
                  </a:lnTo>
                  <a:lnTo>
                    <a:pt x="65826" y="39563"/>
                  </a:lnTo>
                  <a:lnTo>
                    <a:pt x="67161" y="38839"/>
                  </a:lnTo>
                  <a:lnTo>
                    <a:pt x="68441" y="38060"/>
                  </a:lnTo>
                  <a:lnTo>
                    <a:pt x="69665" y="37226"/>
                  </a:lnTo>
                  <a:lnTo>
                    <a:pt x="70834" y="36335"/>
                  </a:lnTo>
                  <a:lnTo>
                    <a:pt x="71947" y="35445"/>
                  </a:lnTo>
                  <a:lnTo>
                    <a:pt x="72948" y="34555"/>
                  </a:lnTo>
                  <a:lnTo>
                    <a:pt x="73894" y="33553"/>
                  </a:lnTo>
                  <a:lnTo>
                    <a:pt x="74729" y="32607"/>
                  </a:lnTo>
                  <a:lnTo>
                    <a:pt x="75563" y="31606"/>
                  </a:lnTo>
                  <a:lnTo>
                    <a:pt x="76231" y="30549"/>
                  </a:lnTo>
                  <a:lnTo>
                    <a:pt x="76843" y="29491"/>
                  </a:lnTo>
                  <a:lnTo>
                    <a:pt x="77344" y="28434"/>
                  </a:lnTo>
                  <a:lnTo>
                    <a:pt x="77789" y="27321"/>
                  </a:lnTo>
                  <a:lnTo>
                    <a:pt x="78123" y="26208"/>
                  </a:lnTo>
                  <a:lnTo>
                    <a:pt x="78401" y="25040"/>
                  </a:lnTo>
                  <a:lnTo>
                    <a:pt x="78512" y="23927"/>
                  </a:lnTo>
                  <a:lnTo>
                    <a:pt x="78568" y="22759"/>
                  </a:lnTo>
                  <a:lnTo>
                    <a:pt x="78512" y="21590"/>
                  </a:lnTo>
                  <a:lnTo>
                    <a:pt x="78345" y="20422"/>
                  </a:lnTo>
                  <a:lnTo>
                    <a:pt x="78123" y="19253"/>
                  </a:lnTo>
                  <a:lnTo>
                    <a:pt x="77733" y="18140"/>
                  </a:lnTo>
                  <a:lnTo>
                    <a:pt x="77288" y="17027"/>
                  </a:lnTo>
                  <a:lnTo>
                    <a:pt x="76787" y="15970"/>
                  </a:lnTo>
                  <a:lnTo>
                    <a:pt x="76120" y="14913"/>
                  </a:lnTo>
                  <a:lnTo>
                    <a:pt x="75452" y="13856"/>
                  </a:lnTo>
                  <a:lnTo>
                    <a:pt x="74673" y="12854"/>
                  </a:lnTo>
                  <a:lnTo>
                    <a:pt x="73783" y="11908"/>
                  </a:lnTo>
                  <a:lnTo>
                    <a:pt x="72837" y="10962"/>
                  </a:lnTo>
                  <a:lnTo>
                    <a:pt x="71780" y="10016"/>
                  </a:lnTo>
                  <a:lnTo>
                    <a:pt x="70722" y="9126"/>
                  </a:lnTo>
                  <a:lnTo>
                    <a:pt x="69498" y="8236"/>
                  </a:lnTo>
                  <a:lnTo>
                    <a:pt x="68274" y="7457"/>
                  </a:lnTo>
                  <a:lnTo>
                    <a:pt x="66994" y="6622"/>
                  </a:lnTo>
                  <a:lnTo>
                    <a:pt x="65603" y="5899"/>
                  </a:lnTo>
                  <a:lnTo>
                    <a:pt x="64157" y="5176"/>
                  </a:lnTo>
                  <a:lnTo>
                    <a:pt x="62710" y="4508"/>
                  </a:lnTo>
                  <a:lnTo>
                    <a:pt x="61152" y="3896"/>
                  </a:lnTo>
                  <a:lnTo>
                    <a:pt x="59538" y="3284"/>
                  </a:lnTo>
                  <a:lnTo>
                    <a:pt x="57925" y="2727"/>
                  </a:lnTo>
                  <a:lnTo>
                    <a:pt x="56200" y="2227"/>
                  </a:lnTo>
                  <a:lnTo>
                    <a:pt x="54475" y="1781"/>
                  </a:lnTo>
                  <a:lnTo>
                    <a:pt x="52694" y="1392"/>
                  </a:lnTo>
                  <a:lnTo>
                    <a:pt x="50858" y="1002"/>
                  </a:lnTo>
                  <a:lnTo>
                    <a:pt x="48966" y="724"/>
                  </a:lnTo>
                  <a:lnTo>
                    <a:pt x="47074" y="446"/>
                  </a:lnTo>
                  <a:lnTo>
                    <a:pt x="45127" y="223"/>
                  </a:lnTo>
                  <a:lnTo>
                    <a:pt x="43179" y="112"/>
                  </a:lnTo>
                  <a:lnTo>
                    <a:pt x="41176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" name="Google Shape;17354;p84">
              <a:extLst>
                <a:ext uri="{FF2B5EF4-FFF2-40B4-BE49-F238E27FC236}">
                  <a16:creationId xmlns:a16="http://schemas.microsoft.com/office/drawing/2014/main" id="{5223AEDB-7FFA-55D7-6DD7-E615AB56BA7F}"/>
                </a:ext>
              </a:extLst>
            </p:cNvPr>
            <p:cNvSpPr/>
            <p:nvPr/>
          </p:nvSpPr>
          <p:spPr>
            <a:xfrm>
              <a:off x="1235125" y="3465375"/>
              <a:ext cx="1964200" cy="1136525"/>
            </a:xfrm>
            <a:custGeom>
              <a:avLst/>
              <a:gdLst/>
              <a:ahLst/>
              <a:cxnLst/>
              <a:rect l="l" t="t" r="r" b="b"/>
              <a:pathLst>
                <a:path w="78568" h="45461" fill="none" extrusionOk="0">
                  <a:moveTo>
                    <a:pt x="66994" y="6622"/>
                  </a:moveTo>
                  <a:lnTo>
                    <a:pt x="66994" y="6622"/>
                  </a:lnTo>
                  <a:lnTo>
                    <a:pt x="65603" y="5899"/>
                  </a:lnTo>
                  <a:lnTo>
                    <a:pt x="64157" y="5176"/>
                  </a:lnTo>
                  <a:lnTo>
                    <a:pt x="62710" y="4508"/>
                  </a:lnTo>
                  <a:lnTo>
                    <a:pt x="61152" y="3896"/>
                  </a:lnTo>
                  <a:lnTo>
                    <a:pt x="59538" y="3284"/>
                  </a:lnTo>
                  <a:lnTo>
                    <a:pt x="57925" y="2727"/>
                  </a:lnTo>
                  <a:lnTo>
                    <a:pt x="56200" y="2227"/>
                  </a:lnTo>
                  <a:lnTo>
                    <a:pt x="54475" y="1781"/>
                  </a:lnTo>
                  <a:lnTo>
                    <a:pt x="52694" y="1392"/>
                  </a:lnTo>
                  <a:lnTo>
                    <a:pt x="50858" y="1002"/>
                  </a:lnTo>
                  <a:lnTo>
                    <a:pt x="48966" y="724"/>
                  </a:lnTo>
                  <a:lnTo>
                    <a:pt x="47074" y="446"/>
                  </a:lnTo>
                  <a:lnTo>
                    <a:pt x="45127" y="223"/>
                  </a:lnTo>
                  <a:lnTo>
                    <a:pt x="43179" y="112"/>
                  </a:lnTo>
                  <a:lnTo>
                    <a:pt x="41176" y="1"/>
                  </a:lnTo>
                  <a:lnTo>
                    <a:pt x="39173" y="1"/>
                  </a:lnTo>
                  <a:lnTo>
                    <a:pt x="39173" y="1"/>
                  </a:lnTo>
                  <a:lnTo>
                    <a:pt x="37170" y="1"/>
                  </a:lnTo>
                  <a:lnTo>
                    <a:pt x="35167" y="112"/>
                  </a:lnTo>
                  <a:lnTo>
                    <a:pt x="33164" y="223"/>
                  </a:lnTo>
                  <a:lnTo>
                    <a:pt x="31272" y="446"/>
                  </a:lnTo>
                  <a:lnTo>
                    <a:pt x="29380" y="724"/>
                  </a:lnTo>
                  <a:lnTo>
                    <a:pt x="27488" y="1002"/>
                  </a:lnTo>
                  <a:lnTo>
                    <a:pt x="25652" y="1392"/>
                  </a:lnTo>
                  <a:lnTo>
                    <a:pt x="23871" y="1781"/>
                  </a:lnTo>
                  <a:lnTo>
                    <a:pt x="22147" y="2227"/>
                  </a:lnTo>
                  <a:lnTo>
                    <a:pt x="20477" y="2727"/>
                  </a:lnTo>
                  <a:lnTo>
                    <a:pt x="18808" y="3284"/>
                  </a:lnTo>
                  <a:lnTo>
                    <a:pt x="17250" y="3896"/>
                  </a:lnTo>
                  <a:lnTo>
                    <a:pt x="15692" y="4508"/>
                  </a:lnTo>
                  <a:lnTo>
                    <a:pt x="14190" y="5176"/>
                  </a:lnTo>
                  <a:lnTo>
                    <a:pt x="12799" y="5899"/>
                  </a:lnTo>
                  <a:lnTo>
                    <a:pt x="11408" y="6622"/>
                  </a:lnTo>
                  <a:lnTo>
                    <a:pt x="10128" y="7457"/>
                  </a:lnTo>
                  <a:lnTo>
                    <a:pt x="8904" y="8236"/>
                  </a:lnTo>
                  <a:lnTo>
                    <a:pt x="7735" y="9126"/>
                  </a:lnTo>
                  <a:lnTo>
                    <a:pt x="6678" y="10016"/>
                  </a:lnTo>
                  <a:lnTo>
                    <a:pt x="5621" y="10962"/>
                  </a:lnTo>
                  <a:lnTo>
                    <a:pt x="4675" y="11908"/>
                  </a:lnTo>
                  <a:lnTo>
                    <a:pt x="3840" y="12854"/>
                  </a:lnTo>
                  <a:lnTo>
                    <a:pt x="3061" y="13856"/>
                  </a:lnTo>
                  <a:lnTo>
                    <a:pt x="2338" y="14913"/>
                  </a:lnTo>
                  <a:lnTo>
                    <a:pt x="1726" y="15970"/>
                  </a:lnTo>
                  <a:lnTo>
                    <a:pt x="1225" y="17027"/>
                  </a:lnTo>
                  <a:lnTo>
                    <a:pt x="780" y="18140"/>
                  </a:lnTo>
                  <a:lnTo>
                    <a:pt x="446" y="19253"/>
                  </a:lnTo>
                  <a:lnTo>
                    <a:pt x="223" y="20422"/>
                  </a:lnTo>
                  <a:lnTo>
                    <a:pt x="57" y="21590"/>
                  </a:lnTo>
                  <a:lnTo>
                    <a:pt x="1" y="22759"/>
                  </a:lnTo>
                  <a:lnTo>
                    <a:pt x="1" y="22759"/>
                  </a:lnTo>
                  <a:lnTo>
                    <a:pt x="57" y="23927"/>
                  </a:lnTo>
                  <a:lnTo>
                    <a:pt x="223" y="25040"/>
                  </a:lnTo>
                  <a:lnTo>
                    <a:pt x="502" y="26208"/>
                  </a:lnTo>
                  <a:lnTo>
                    <a:pt x="836" y="27321"/>
                  </a:lnTo>
                  <a:lnTo>
                    <a:pt x="1281" y="28434"/>
                  </a:lnTo>
                  <a:lnTo>
                    <a:pt x="1837" y="29491"/>
                  </a:lnTo>
                  <a:lnTo>
                    <a:pt x="2449" y="30549"/>
                  </a:lnTo>
                  <a:lnTo>
                    <a:pt x="3173" y="31606"/>
                  </a:lnTo>
                  <a:lnTo>
                    <a:pt x="3951" y="32607"/>
                  </a:lnTo>
                  <a:lnTo>
                    <a:pt x="4842" y="33609"/>
                  </a:lnTo>
                  <a:lnTo>
                    <a:pt x="5788" y="34555"/>
                  </a:lnTo>
                  <a:lnTo>
                    <a:pt x="6789" y="35445"/>
                  </a:lnTo>
                  <a:lnTo>
                    <a:pt x="7902" y="36335"/>
                  </a:lnTo>
                  <a:lnTo>
                    <a:pt x="9071" y="37226"/>
                  </a:lnTo>
                  <a:lnTo>
                    <a:pt x="10295" y="38060"/>
                  </a:lnTo>
                  <a:lnTo>
                    <a:pt x="11630" y="38839"/>
                  </a:lnTo>
                  <a:lnTo>
                    <a:pt x="11630" y="38839"/>
                  </a:lnTo>
                  <a:lnTo>
                    <a:pt x="12966" y="39563"/>
                  </a:lnTo>
                  <a:lnTo>
                    <a:pt x="14412" y="40286"/>
                  </a:lnTo>
                  <a:lnTo>
                    <a:pt x="15915" y="40954"/>
                  </a:lnTo>
                  <a:lnTo>
                    <a:pt x="17417" y="41621"/>
                  </a:lnTo>
                  <a:lnTo>
                    <a:pt x="19031" y="42178"/>
                  </a:lnTo>
                  <a:lnTo>
                    <a:pt x="20700" y="42734"/>
                  </a:lnTo>
                  <a:lnTo>
                    <a:pt x="22369" y="43235"/>
                  </a:lnTo>
                  <a:lnTo>
                    <a:pt x="24150" y="43680"/>
                  </a:lnTo>
                  <a:lnTo>
                    <a:pt x="25930" y="44125"/>
                  </a:lnTo>
                  <a:lnTo>
                    <a:pt x="27711" y="44459"/>
                  </a:lnTo>
                  <a:lnTo>
                    <a:pt x="29603" y="44793"/>
                  </a:lnTo>
                  <a:lnTo>
                    <a:pt x="31494" y="45016"/>
                  </a:lnTo>
                  <a:lnTo>
                    <a:pt x="33442" y="45238"/>
                  </a:lnTo>
                  <a:lnTo>
                    <a:pt x="35389" y="45350"/>
                  </a:lnTo>
                  <a:lnTo>
                    <a:pt x="37393" y="45461"/>
                  </a:lnTo>
                  <a:lnTo>
                    <a:pt x="39451" y="45461"/>
                  </a:lnTo>
                  <a:lnTo>
                    <a:pt x="39451" y="45461"/>
                  </a:lnTo>
                  <a:lnTo>
                    <a:pt x="41454" y="45461"/>
                  </a:lnTo>
                  <a:lnTo>
                    <a:pt x="43458" y="45350"/>
                  </a:lnTo>
                  <a:lnTo>
                    <a:pt x="45405" y="45238"/>
                  </a:lnTo>
                  <a:lnTo>
                    <a:pt x="47353" y="45016"/>
                  </a:lnTo>
                  <a:lnTo>
                    <a:pt x="49244" y="44793"/>
                  </a:lnTo>
                  <a:lnTo>
                    <a:pt x="51081" y="44459"/>
                  </a:lnTo>
                  <a:lnTo>
                    <a:pt x="52917" y="44125"/>
                  </a:lnTo>
                  <a:lnTo>
                    <a:pt x="54697" y="43680"/>
                  </a:lnTo>
                  <a:lnTo>
                    <a:pt x="56422" y="43235"/>
                  </a:lnTo>
                  <a:lnTo>
                    <a:pt x="58147" y="42734"/>
                  </a:lnTo>
                  <a:lnTo>
                    <a:pt x="59761" y="42178"/>
                  </a:lnTo>
                  <a:lnTo>
                    <a:pt x="61374" y="41621"/>
                  </a:lnTo>
                  <a:lnTo>
                    <a:pt x="62877" y="40954"/>
                  </a:lnTo>
                  <a:lnTo>
                    <a:pt x="64379" y="40286"/>
                  </a:lnTo>
                  <a:lnTo>
                    <a:pt x="65826" y="39563"/>
                  </a:lnTo>
                  <a:lnTo>
                    <a:pt x="67161" y="38839"/>
                  </a:lnTo>
                  <a:lnTo>
                    <a:pt x="68441" y="38060"/>
                  </a:lnTo>
                  <a:lnTo>
                    <a:pt x="69665" y="37226"/>
                  </a:lnTo>
                  <a:lnTo>
                    <a:pt x="70834" y="36335"/>
                  </a:lnTo>
                  <a:lnTo>
                    <a:pt x="71947" y="35445"/>
                  </a:lnTo>
                  <a:lnTo>
                    <a:pt x="72948" y="34555"/>
                  </a:lnTo>
                  <a:lnTo>
                    <a:pt x="73894" y="33553"/>
                  </a:lnTo>
                  <a:lnTo>
                    <a:pt x="74729" y="32607"/>
                  </a:lnTo>
                  <a:lnTo>
                    <a:pt x="75563" y="31606"/>
                  </a:lnTo>
                  <a:lnTo>
                    <a:pt x="76231" y="30549"/>
                  </a:lnTo>
                  <a:lnTo>
                    <a:pt x="76843" y="29491"/>
                  </a:lnTo>
                  <a:lnTo>
                    <a:pt x="77344" y="28434"/>
                  </a:lnTo>
                  <a:lnTo>
                    <a:pt x="77789" y="27321"/>
                  </a:lnTo>
                  <a:lnTo>
                    <a:pt x="78123" y="26208"/>
                  </a:lnTo>
                  <a:lnTo>
                    <a:pt x="78401" y="25040"/>
                  </a:lnTo>
                  <a:lnTo>
                    <a:pt x="78512" y="23927"/>
                  </a:lnTo>
                  <a:lnTo>
                    <a:pt x="78568" y="22759"/>
                  </a:lnTo>
                  <a:lnTo>
                    <a:pt x="78568" y="22759"/>
                  </a:lnTo>
                  <a:lnTo>
                    <a:pt x="78512" y="21590"/>
                  </a:lnTo>
                  <a:lnTo>
                    <a:pt x="78345" y="20422"/>
                  </a:lnTo>
                  <a:lnTo>
                    <a:pt x="78123" y="19253"/>
                  </a:lnTo>
                  <a:lnTo>
                    <a:pt x="77733" y="18140"/>
                  </a:lnTo>
                  <a:lnTo>
                    <a:pt x="77288" y="17027"/>
                  </a:lnTo>
                  <a:lnTo>
                    <a:pt x="76787" y="15970"/>
                  </a:lnTo>
                  <a:lnTo>
                    <a:pt x="76120" y="14913"/>
                  </a:lnTo>
                  <a:lnTo>
                    <a:pt x="75452" y="13856"/>
                  </a:lnTo>
                  <a:lnTo>
                    <a:pt x="74673" y="12854"/>
                  </a:lnTo>
                  <a:lnTo>
                    <a:pt x="73783" y="11908"/>
                  </a:lnTo>
                  <a:lnTo>
                    <a:pt x="72837" y="10962"/>
                  </a:lnTo>
                  <a:lnTo>
                    <a:pt x="71780" y="10016"/>
                  </a:lnTo>
                  <a:lnTo>
                    <a:pt x="70722" y="9126"/>
                  </a:lnTo>
                  <a:lnTo>
                    <a:pt x="69498" y="8236"/>
                  </a:lnTo>
                  <a:lnTo>
                    <a:pt x="68274" y="7457"/>
                  </a:lnTo>
                  <a:lnTo>
                    <a:pt x="66994" y="6622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" name="Google Shape;17355;p84">
              <a:extLst>
                <a:ext uri="{FF2B5EF4-FFF2-40B4-BE49-F238E27FC236}">
                  <a16:creationId xmlns:a16="http://schemas.microsoft.com/office/drawing/2014/main" id="{2DAD5693-4BF0-053F-3621-7DE633773501}"/>
                </a:ext>
              </a:extLst>
            </p:cNvPr>
            <p:cNvSpPr/>
            <p:nvPr/>
          </p:nvSpPr>
          <p:spPr>
            <a:xfrm>
              <a:off x="1436850" y="3582225"/>
              <a:ext cx="1560775" cy="904225"/>
            </a:xfrm>
            <a:custGeom>
              <a:avLst/>
              <a:gdLst/>
              <a:ahLst/>
              <a:cxnLst/>
              <a:rect l="l" t="t" r="r" b="b"/>
              <a:pathLst>
                <a:path w="62431" h="36169" fill="none" extrusionOk="0">
                  <a:moveTo>
                    <a:pt x="31327" y="36168"/>
                  </a:moveTo>
                  <a:lnTo>
                    <a:pt x="31327" y="36168"/>
                  </a:lnTo>
                  <a:lnTo>
                    <a:pt x="29713" y="36113"/>
                  </a:lnTo>
                  <a:lnTo>
                    <a:pt x="28155" y="36057"/>
                  </a:lnTo>
                  <a:lnTo>
                    <a:pt x="26597" y="35946"/>
                  </a:lnTo>
                  <a:lnTo>
                    <a:pt x="25039" y="35779"/>
                  </a:lnTo>
                  <a:lnTo>
                    <a:pt x="23537" y="35556"/>
                  </a:lnTo>
                  <a:lnTo>
                    <a:pt x="22034" y="35334"/>
                  </a:lnTo>
                  <a:lnTo>
                    <a:pt x="20588" y="35056"/>
                  </a:lnTo>
                  <a:lnTo>
                    <a:pt x="19197" y="34722"/>
                  </a:lnTo>
                  <a:lnTo>
                    <a:pt x="17806" y="34388"/>
                  </a:lnTo>
                  <a:lnTo>
                    <a:pt x="16415" y="33943"/>
                  </a:lnTo>
                  <a:lnTo>
                    <a:pt x="15135" y="33553"/>
                  </a:lnTo>
                  <a:lnTo>
                    <a:pt x="13855" y="33052"/>
                  </a:lnTo>
                  <a:lnTo>
                    <a:pt x="12631" y="32552"/>
                  </a:lnTo>
                  <a:lnTo>
                    <a:pt x="11462" y="31995"/>
                  </a:lnTo>
                  <a:lnTo>
                    <a:pt x="10294" y="31439"/>
                  </a:lnTo>
                  <a:lnTo>
                    <a:pt x="9237" y="30827"/>
                  </a:lnTo>
                  <a:lnTo>
                    <a:pt x="9237" y="30827"/>
                  </a:lnTo>
                  <a:lnTo>
                    <a:pt x="8179" y="30215"/>
                  </a:lnTo>
                  <a:lnTo>
                    <a:pt x="7178" y="29547"/>
                  </a:lnTo>
                  <a:lnTo>
                    <a:pt x="6288" y="28879"/>
                  </a:lnTo>
                  <a:lnTo>
                    <a:pt x="5397" y="28156"/>
                  </a:lnTo>
                  <a:lnTo>
                    <a:pt x="4563" y="27433"/>
                  </a:lnTo>
                  <a:lnTo>
                    <a:pt x="3839" y="26654"/>
                  </a:lnTo>
                  <a:lnTo>
                    <a:pt x="3116" y="25875"/>
                  </a:lnTo>
                  <a:lnTo>
                    <a:pt x="2504" y="25096"/>
                  </a:lnTo>
                  <a:lnTo>
                    <a:pt x="1948" y="24261"/>
                  </a:lnTo>
                  <a:lnTo>
                    <a:pt x="1447" y="23426"/>
                  </a:lnTo>
                  <a:lnTo>
                    <a:pt x="1002" y="22592"/>
                  </a:lnTo>
                  <a:lnTo>
                    <a:pt x="668" y="21701"/>
                  </a:lnTo>
                  <a:lnTo>
                    <a:pt x="390" y="20811"/>
                  </a:lnTo>
                  <a:lnTo>
                    <a:pt x="167" y="19921"/>
                  </a:lnTo>
                  <a:lnTo>
                    <a:pt x="56" y="18975"/>
                  </a:lnTo>
                  <a:lnTo>
                    <a:pt x="0" y="18085"/>
                  </a:lnTo>
                  <a:lnTo>
                    <a:pt x="0" y="18085"/>
                  </a:lnTo>
                  <a:lnTo>
                    <a:pt x="56" y="17139"/>
                  </a:lnTo>
                  <a:lnTo>
                    <a:pt x="167" y="16193"/>
                  </a:lnTo>
                  <a:lnTo>
                    <a:pt x="334" y="15303"/>
                  </a:lnTo>
                  <a:lnTo>
                    <a:pt x="612" y="14412"/>
                  </a:lnTo>
                  <a:lnTo>
                    <a:pt x="946" y="13522"/>
                  </a:lnTo>
                  <a:lnTo>
                    <a:pt x="1391" y="12687"/>
                  </a:lnTo>
                  <a:lnTo>
                    <a:pt x="1892" y="11853"/>
                  </a:lnTo>
                  <a:lnTo>
                    <a:pt x="2393" y="11018"/>
                  </a:lnTo>
                  <a:lnTo>
                    <a:pt x="3060" y="10239"/>
                  </a:lnTo>
                  <a:lnTo>
                    <a:pt x="3728" y="9460"/>
                  </a:lnTo>
                  <a:lnTo>
                    <a:pt x="4451" y="8681"/>
                  </a:lnTo>
                  <a:lnTo>
                    <a:pt x="5286" y="7958"/>
                  </a:lnTo>
                  <a:lnTo>
                    <a:pt x="6176" y="7234"/>
                  </a:lnTo>
                  <a:lnTo>
                    <a:pt x="7067" y="6567"/>
                  </a:lnTo>
                  <a:lnTo>
                    <a:pt x="8068" y="5899"/>
                  </a:lnTo>
                  <a:lnTo>
                    <a:pt x="9070" y="5287"/>
                  </a:lnTo>
                  <a:lnTo>
                    <a:pt x="10183" y="4675"/>
                  </a:lnTo>
                  <a:lnTo>
                    <a:pt x="11295" y="4118"/>
                  </a:lnTo>
                  <a:lnTo>
                    <a:pt x="12464" y="3562"/>
                  </a:lnTo>
                  <a:lnTo>
                    <a:pt x="13688" y="3061"/>
                  </a:lnTo>
                  <a:lnTo>
                    <a:pt x="14968" y="2616"/>
                  </a:lnTo>
                  <a:lnTo>
                    <a:pt x="16248" y="2171"/>
                  </a:lnTo>
                  <a:lnTo>
                    <a:pt x="17583" y="1781"/>
                  </a:lnTo>
                  <a:lnTo>
                    <a:pt x="18974" y="1392"/>
                  </a:lnTo>
                  <a:lnTo>
                    <a:pt x="20421" y="1058"/>
                  </a:lnTo>
                  <a:lnTo>
                    <a:pt x="21868" y="780"/>
                  </a:lnTo>
                  <a:lnTo>
                    <a:pt x="23314" y="557"/>
                  </a:lnTo>
                  <a:lnTo>
                    <a:pt x="24817" y="335"/>
                  </a:lnTo>
                  <a:lnTo>
                    <a:pt x="26375" y="168"/>
                  </a:lnTo>
                  <a:lnTo>
                    <a:pt x="27933" y="56"/>
                  </a:lnTo>
                  <a:lnTo>
                    <a:pt x="29546" y="1"/>
                  </a:lnTo>
                  <a:lnTo>
                    <a:pt x="31104" y="1"/>
                  </a:lnTo>
                  <a:lnTo>
                    <a:pt x="31104" y="1"/>
                  </a:lnTo>
                  <a:lnTo>
                    <a:pt x="32718" y="1"/>
                  </a:lnTo>
                  <a:lnTo>
                    <a:pt x="34331" y="56"/>
                  </a:lnTo>
                  <a:lnTo>
                    <a:pt x="35889" y="168"/>
                  </a:lnTo>
                  <a:lnTo>
                    <a:pt x="37392" y="335"/>
                  </a:lnTo>
                  <a:lnTo>
                    <a:pt x="38950" y="557"/>
                  </a:lnTo>
                  <a:lnTo>
                    <a:pt x="40396" y="780"/>
                  </a:lnTo>
                  <a:lnTo>
                    <a:pt x="41843" y="1058"/>
                  </a:lnTo>
                  <a:lnTo>
                    <a:pt x="43290" y="1392"/>
                  </a:lnTo>
                  <a:lnTo>
                    <a:pt x="44681" y="1781"/>
                  </a:lnTo>
                  <a:lnTo>
                    <a:pt x="46016" y="2171"/>
                  </a:lnTo>
                  <a:lnTo>
                    <a:pt x="47352" y="2616"/>
                  </a:lnTo>
                  <a:lnTo>
                    <a:pt x="48576" y="3061"/>
                  </a:lnTo>
                  <a:lnTo>
                    <a:pt x="49800" y="3562"/>
                  </a:lnTo>
                  <a:lnTo>
                    <a:pt x="51024" y="4118"/>
                  </a:lnTo>
                  <a:lnTo>
                    <a:pt x="52137" y="4675"/>
                  </a:lnTo>
                  <a:lnTo>
                    <a:pt x="53250" y="5287"/>
                  </a:lnTo>
                  <a:lnTo>
                    <a:pt x="53250" y="5287"/>
                  </a:lnTo>
                  <a:lnTo>
                    <a:pt x="54251" y="5899"/>
                  </a:lnTo>
                  <a:lnTo>
                    <a:pt x="55253" y="6567"/>
                  </a:lnTo>
                  <a:lnTo>
                    <a:pt x="56199" y="7234"/>
                  </a:lnTo>
                  <a:lnTo>
                    <a:pt x="57034" y="7958"/>
                  </a:lnTo>
                  <a:lnTo>
                    <a:pt x="57868" y="8681"/>
                  </a:lnTo>
                  <a:lnTo>
                    <a:pt x="58647" y="9460"/>
                  </a:lnTo>
                  <a:lnTo>
                    <a:pt x="59315" y="10239"/>
                  </a:lnTo>
                  <a:lnTo>
                    <a:pt x="59927" y="11018"/>
                  </a:lnTo>
                  <a:lnTo>
                    <a:pt x="60539" y="11853"/>
                  </a:lnTo>
                  <a:lnTo>
                    <a:pt x="61040" y="12687"/>
                  </a:lnTo>
                  <a:lnTo>
                    <a:pt x="61429" y="13522"/>
                  </a:lnTo>
                  <a:lnTo>
                    <a:pt x="61819" y="14412"/>
                  </a:lnTo>
                  <a:lnTo>
                    <a:pt x="62097" y="15303"/>
                  </a:lnTo>
                  <a:lnTo>
                    <a:pt x="62264" y="16193"/>
                  </a:lnTo>
                  <a:lnTo>
                    <a:pt x="62375" y="17139"/>
                  </a:lnTo>
                  <a:lnTo>
                    <a:pt x="62431" y="18085"/>
                  </a:lnTo>
                  <a:lnTo>
                    <a:pt x="62431" y="18085"/>
                  </a:lnTo>
                  <a:lnTo>
                    <a:pt x="62431" y="18975"/>
                  </a:lnTo>
                  <a:lnTo>
                    <a:pt x="62320" y="19921"/>
                  </a:lnTo>
                  <a:lnTo>
                    <a:pt x="62097" y="20811"/>
                  </a:lnTo>
                  <a:lnTo>
                    <a:pt x="61819" y="21701"/>
                  </a:lnTo>
                  <a:lnTo>
                    <a:pt x="61485" y="22592"/>
                  </a:lnTo>
                  <a:lnTo>
                    <a:pt x="61095" y="23426"/>
                  </a:lnTo>
                  <a:lnTo>
                    <a:pt x="60595" y="24261"/>
                  </a:lnTo>
                  <a:lnTo>
                    <a:pt x="60038" y="25096"/>
                  </a:lnTo>
                  <a:lnTo>
                    <a:pt x="59426" y="25875"/>
                  </a:lnTo>
                  <a:lnTo>
                    <a:pt x="58703" y="26654"/>
                  </a:lnTo>
                  <a:lnTo>
                    <a:pt x="57979" y="27433"/>
                  </a:lnTo>
                  <a:lnTo>
                    <a:pt x="57145" y="28156"/>
                  </a:lnTo>
                  <a:lnTo>
                    <a:pt x="56310" y="28879"/>
                  </a:lnTo>
                  <a:lnTo>
                    <a:pt x="55364" y="29547"/>
                  </a:lnTo>
                  <a:lnTo>
                    <a:pt x="54418" y="30215"/>
                  </a:lnTo>
                  <a:lnTo>
                    <a:pt x="53361" y="30827"/>
                  </a:lnTo>
                  <a:lnTo>
                    <a:pt x="52304" y="31439"/>
                  </a:lnTo>
                  <a:lnTo>
                    <a:pt x="51135" y="31995"/>
                  </a:lnTo>
                  <a:lnTo>
                    <a:pt x="49967" y="32552"/>
                  </a:lnTo>
                  <a:lnTo>
                    <a:pt x="48743" y="33052"/>
                  </a:lnTo>
                  <a:lnTo>
                    <a:pt x="47519" y="33553"/>
                  </a:lnTo>
                  <a:lnTo>
                    <a:pt x="46183" y="33943"/>
                  </a:lnTo>
                  <a:lnTo>
                    <a:pt x="44848" y="34388"/>
                  </a:lnTo>
                  <a:lnTo>
                    <a:pt x="43457" y="34722"/>
                  </a:lnTo>
                  <a:lnTo>
                    <a:pt x="42066" y="35056"/>
                  </a:lnTo>
                  <a:lnTo>
                    <a:pt x="40619" y="35334"/>
                  </a:lnTo>
                  <a:lnTo>
                    <a:pt x="39117" y="35556"/>
                  </a:lnTo>
                  <a:lnTo>
                    <a:pt x="37614" y="35779"/>
                  </a:lnTo>
                  <a:lnTo>
                    <a:pt x="36056" y="35946"/>
                  </a:lnTo>
                  <a:lnTo>
                    <a:pt x="34498" y="36057"/>
                  </a:lnTo>
                  <a:lnTo>
                    <a:pt x="32940" y="36113"/>
                  </a:lnTo>
                  <a:lnTo>
                    <a:pt x="31327" y="36168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" name="Google Shape;17356;p84">
              <a:extLst>
                <a:ext uri="{FF2B5EF4-FFF2-40B4-BE49-F238E27FC236}">
                  <a16:creationId xmlns:a16="http://schemas.microsoft.com/office/drawing/2014/main" id="{17B914D2-667F-D9B9-B9DA-BDC3DE9EF1ED}"/>
                </a:ext>
              </a:extLst>
            </p:cNvPr>
            <p:cNvSpPr/>
            <p:nvPr/>
          </p:nvSpPr>
          <p:spPr>
            <a:xfrm>
              <a:off x="1296350" y="3253950"/>
              <a:ext cx="1562175" cy="904200"/>
            </a:xfrm>
            <a:custGeom>
              <a:avLst/>
              <a:gdLst/>
              <a:ahLst/>
              <a:cxnLst/>
              <a:rect l="l" t="t" r="r" b="b"/>
              <a:pathLst>
                <a:path w="62487" h="36168" extrusionOk="0">
                  <a:moveTo>
                    <a:pt x="29546" y="0"/>
                  </a:moveTo>
                  <a:lnTo>
                    <a:pt x="27933" y="111"/>
                  </a:lnTo>
                  <a:lnTo>
                    <a:pt x="26375" y="223"/>
                  </a:lnTo>
                  <a:lnTo>
                    <a:pt x="24872" y="390"/>
                  </a:lnTo>
                  <a:lnTo>
                    <a:pt x="23370" y="557"/>
                  </a:lnTo>
                  <a:lnTo>
                    <a:pt x="21868" y="835"/>
                  </a:lnTo>
                  <a:lnTo>
                    <a:pt x="20421" y="1113"/>
                  </a:lnTo>
                  <a:lnTo>
                    <a:pt x="18974" y="1447"/>
                  </a:lnTo>
                  <a:lnTo>
                    <a:pt x="17639" y="1781"/>
                  </a:lnTo>
                  <a:lnTo>
                    <a:pt x="16248" y="2170"/>
                  </a:lnTo>
                  <a:lnTo>
                    <a:pt x="14968" y="2615"/>
                  </a:lnTo>
                  <a:lnTo>
                    <a:pt x="13688" y="3060"/>
                  </a:lnTo>
                  <a:lnTo>
                    <a:pt x="12464" y="3617"/>
                  </a:lnTo>
                  <a:lnTo>
                    <a:pt x="11296" y="4118"/>
                  </a:lnTo>
                  <a:lnTo>
                    <a:pt x="10183" y="4674"/>
                  </a:lnTo>
                  <a:lnTo>
                    <a:pt x="9070" y="5286"/>
                  </a:lnTo>
                  <a:lnTo>
                    <a:pt x="8068" y="5898"/>
                  </a:lnTo>
                  <a:lnTo>
                    <a:pt x="7067" y="6566"/>
                  </a:lnTo>
                  <a:lnTo>
                    <a:pt x="6176" y="7289"/>
                  </a:lnTo>
                  <a:lnTo>
                    <a:pt x="5286" y="7957"/>
                  </a:lnTo>
                  <a:lnTo>
                    <a:pt x="4507" y="8680"/>
                  </a:lnTo>
                  <a:lnTo>
                    <a:pt x="3728" y="9459"/>
                  </a:lnTo>
                  <a:lnTo>
                    <a:pt x="3060" y="10238"/>
                  </a:lnTo>
                  <a:lnTo>
                    <a:pt x="2448" y="11017"/>
                  </a:lnTo>
                  <a:lnTo>
                    <a:pt x="1892" y="11852"/>
                  </a:lnTo>
                  <a:lnTo>
                    <a:pt x="1391" y="12687"/>
                  </a:lnTo>
                  <a:lnTo>
                    <a:pt x="1002" y="13577"/>
                  </a:lnTo>
                  <a:lnTo>
                    <a:pt x="612" y="14412"/>
                  </a:lnTo>
                  <a:lnTo>
                    <a:pt x="390" y="15302"/>
                  </a:lnTo>
                  <a:lnTo>
                    <a:pt x="167" y="16248"/>
                  </a:lnTo>
                  <a:lnTo>
                    <a:pt x="56" y="17138"/>
                  </a:lnTo>
                  <a:lnTo>
                    <a:pt x="0" y="18084"/>
                  </a:lnTo>
                  <a:lnTo>
                    <a:pt x="56" y="19030"/>
                  </a:lnTo>
                  <a:lnTo>
                    <a:pt x="167" y="19920"/>
                  </a:lnTo>
                  <a:lnTo>
                    <a:pt x="390" y="20810"/>
                  </a:lnTo>
                  <a:lnTo>
                    <a:pt x="668" y="21701"/>
                  </a:lnTo>
                  <a:lnTo>
                    <a:pt x="1057" y="22591"/>
                  </a:lnTo>
                  <a:lnTo>
                    <a:pt x="1447" y="23481"/>
                  </a:lnTo>
                  <a:lnTo>
                    <a:pt x="1948" y="24316"/>
                  </a:lnTo>
                  <a:lnTo>
                    <a:pt x="2504" y="25095"/>
                  </a:lnTo>
                  <a:lnTo>
                    <a:pt x="3172" y="25930"/>
                  </a:lnTo>
                  <a:lnTo>
                    <a:pt x="3839" y="26709"/>
                  </a:lnTo>
                  <a:lnTo>
                    <a:pt x="4618" y="27432"/>
                  </a:lnTo>
                  <a:lnTo>
                    <a:pt x="5397" y="28211"/>
                  </a:lnTo>
                  <a:lnTo>
                    <a:pt x="6288" y="28879"/>
                  </a:lnTo>
                  <a:lnTo>
                    <a:pt x="7234" y="29602"/>
                  </a:lnTo>
                  <a:lnTo>
                    <a:pt x="8180" y="30214"/>
                  </a:lnTo>
                  <a:lnTo>
                    <a:pt x="9237" y="30882"/>
                  </a:lnTo>
                  <a:lnTo>
                    <a:pt x="10350" y="31494"/>
                  </a:lnTo>
                  <a:lnTo>
                    <a:pt x="11462" y="32050"/>
                  </a:lnTo>
                  <a:lnTo>
                    <a:pt x="12631" y="32551"/>
                  </a:lnTo>
                  <a:lnTo>
                    <a:pt x="13855" y="33052"/>
                  </a:lnTo>
                  <a:lnTo>
                    <a:pt x="15135" y="33553"/>
                  </a:lnTo>
                  <a:lnTo>
                    <a:pt x="16470" y="33998"/>
                  </a:lnTo>
                  <a:lnTo>
                    <a:pt x="17806" y="34387"/>
                  </a:lnTo>
                  <a:lnTo>
                    <a:pt x="19197" y="34721"/>
                  </a:lnTo>
                  <a:lnTo>
                    <a:pt x="20588" y="35055"/>
                  </a:lnTo>
                  <a:lnTo>
                    <a:pt x="22035" y="35333"/>
                  </a:lnTo>
                  <a:lnTo>
                    <a:pt x="23537" y="35611"/>
                  </a:lnTo>
                  <a:lnTo>
                    <a:pt x="25039" y="35778"/>
                  </a:lnTo>
                  <a:lnTo>
                    <a:pt x="26597" y="35945"/>
                  </a:lnTo>
                  <a:lnTo>
                    <a:pt x="28155" y="36057"/>
                  </a:lnTo>
                  <a:lnTo>
                    <a:pt x="29713" y="36168"/>
                  </a:lnTo>
                  <a:lnTo>
                    <a:pt x="32940" y="36168"/>
                  </a:lnTo>
                  <a:lnTo>
                    <a:pt x="34554" y="36057"/>
                  </a:lnTo>
                  <a:lnTo>
                    <a:pt x="36112" y="35945"/>
                  </a:lnTo>
                  <a:lnTo>
                    <a:pt x="37614" y="35778"/>
                  </a:lnTo>
                  <a:lnTo>
                    <a:pt x="39117" y="35611"/>
                  </a:lnTo>
                  <a:lnTo>
                    <a:pt x="40619" y="35333"/>
                  </a:lnTo>
                  <a:lnTo>
                    <a:pt x="42066" y="35055"/>
                  </a:lnTo>
                  <a:lnTo>
                    <a:pt x="43513" y="34721"/>
                  </a:lnTo>
                  <a:lnTo>
                    <a:pt x="44848" y="34387"/>
                  </a:lnTo>
                  <a:lnTo>
                    <a:pt x="46239" y="33998"/>
                  </a:lnTo>
                  <a:lnTo>
                    <a:pt x="47519" y="33553"/>
                  </a:lnTo>
                  <a:lnTo>
                    <a:pt x="48799" y="33052"/>
                  </a:lnTo>
                  <a:lnTo>
                    <a:pt x="50023" y="32551"/>
                  </a:lnTo>
                  <a:lnTo>
                    <a:pt x="51191" y="32050"/>
                  </a:lnTo>
                  <a:lnTo>
                    <a:pt x="52304" y="31494"/>
                  </a:lnTo>
                  <a:lnTo>
                    <a:pt x="53417" y="30882"/>
                  </a:lnTo>
                  <a:lnTo>
                    <a:pt x="54418" y="30214"/>
                  </a:lnTo>
                  <a:lnTo>
                    <a:pt x="55420" y="29602"/>
                  </a:lnTo>
                  <a:lnTo>
                    <a:pt x="56310" y="28879"/>
                  </a:lnTo>
                  <a:lnTo>
                    <a:pt x="57201" y="28211"/>
                  </a:lnTo>
                  <a:lnTo>
                    <a:pt x="57980" y="27432"/>
                  </a:lnTo>
                  <a:lnTo>
                    <a:pt x="58759" y="26709"/>
                  </a:lnTo>
                  <a:lnTo>
                    <a:pt x="59426" y="25930"/>
                  </a:lnTo>
                  <a:lnTo>
                    <a:pt x="60038" y="25095"/>
                  </a:lnTo>
                  <a:lnTo>
                    <a:pt x="60595" y="24316"/>
                  </a:lnTo>
                  <a:lnTo>
                    <a:pt x="61096" y="23481"/>
                  </a:lnTo>
                  <a:lnTo>
                    <a:pt x="61485" y="22591"/>
                  </a:lnTo>
                  <a:lnTo>
                    <a:pt x="61875" y="21701"/>
                  </a:lnTo>
                  <a:lnTo>
                    <a:pt x="62097" y="20810"/>
                  </a:lnTo>
                  <a:lnTo>
                    <a:pt x="62320" y="19920"/>
                  </a:lnTo>
                  <a:lnTo>
                    <a:pt x="62431" y="19030"/>
                  </a:lnTo>
                  <a:lnTo>
                    <a:pt x="62487" y="18084"/>
                  </a:lnTo>
                  <a:lnTo>
                    <a:pt x="62431" y="17138"/>
                  </a:lnTo>
                  <a:lnTo>
                    <a:pt x="62320" y="16248"/>
                  </a:lnTo>
                  <a:lnTo>
                    <a:pt x="62097" y="15302"/>
                  </a:lnTo>
                  <a:lnTo>
                    <a:pt x="61819" y="14412"/>
                  </a:lnTo>
                  <a:lnTo>
                    <a:pt x="61429" y="13577"/>
                  </a:lnTo>
                  <a:lnTo>
                    <a:pt x="61040" y="12687"/>
                  </a:lnTo>
                  <a:lnTo>
                    <a:pt x="60539" y="11852"/>
                  </a:lnTo>
                  <a:lnTo>
                    <a:pt x="59983" y="11017"/>
                  </a:lnTo>
                  <a:lnTo>
                    <a:pt x="59315" y="10238"/>
                  </a:lnTo>
                  <a:lnTo>
                    <a:pt x="58647" y="9459"/>
                  </a:lnTo>
                  <a:lnTo>
                    <a:pt x="57868" y="8680"/>
                  </a:lnTo>
                  <a:lnTo>
                    <a:pt x="57089" y="7957"/>
                  </a:lnTo>
                  <a:lnTo>
                    <a:pt x="56199" y="7289"/>
                  </a:lnTo>
                  <a:lnTo>
                    <a:pt x="55253" y="6566"/>
                  </a:lnTo>
                  <a:lnTo>
                    <a:pt x="54307" y="5898"/>
                  </a:lnTo>
                  <a:lnTo>
                    <a:pt x="53250" y="5286"/>
                  </a:lnTo>
                  <a:lnTo>
                    <a:pt x="52137" y="4674"/>
                  </a:lnTo>
                  <a:lnTo>
                    <a:pt x="51024" y="4118"/>
                  </a:lnTo>
                  <a:lnTo>
                    <a:pt x="49856" y="3617"/>
                  </a:lnTo>
                  <a:lnTo>
                    <a:pt x="48632" y="3060"/>
                  </a:lnTo>
                  <a:lnTo>
                    <a:pt x="47352" y="2615"/>
                  </a:lnTo>
                  <a:lnTo>
                    <a:pt x="46016" y="2170"/>
                  </a:lnTo>
                  <a:lnTo>
                    <a:pt x="44681" y="1781"/>
                  </a:lnTo>
                  <a:lnTo>
                    <a:pt x="43290" y="1447"/>
                  </a:lnTo>
                  <a:lnTo>
                    <a:pt x="41899" y="1113"/>
                  </a:lnTo>
                  <a:lnTo>
                    <a:pt x="40452" y="835"/>
                  </a:lnTo>
                  <a:lnTo>
                    <a:pt x="38950" y="557"/>
                  </a:lnTo>
                  <a:lnTo>
                    <a:pt x="37448" y="390"/>
                  </a:lnTo>
                  <a:lnTo>
                    <a:pt x="35890" y="223"/>
                  </a:lnTo>
                  <a:lnTo>
                    <a:pt x="34332" y="111"/>
                  </a:lnTo>
                  <a:lnTo>
                    <a:pt x="32774" y="0"/>
                  </a:lnTo>
                  <a:close/>
                </a:path>
              </a:pathLst>
            </a:custGeom>
            <a:solidFill>
              <a:srgbClr val="DFEC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" name="Google Shape;17357;p84">
              <a:extLst>
                <a:ext uri="{FF2B5EF4-FFF2-40B4-BE49-F238E27FC236}">
                  <a16:creationId xmlns:a16="http://schemas.microsoft.com/office/drawing/2014/main" id="{6ADFF690-6A04-892A-B1C8-13E3195CE4C7}"/>
                </a:ext>
              </a:extLst>
            </p:cNvPr>
            <p:cNvSpPr/>
            <p:nvPr/>
          </p:nvSpPr>
          <p:spPr>
            <a:xfrm>
              <a:off x="1094650" y="3706025"/>
              <a:ext cx="1964200" cy="709475"/>
            </a:xfrm>
            <a:custGeom>
              <a:avLst/>
              <a:gdLst/>
              <a:ahLst/>
              <a:cxnLst/>
              <a:rect l="l" t="t" r="r" b="b"/>
              <a:pathLst>
                <a:path w="78568" h="28379" extrusionOk="0">
                  <a:moveTo>
                    <a:pt x="56" y="1"/>
                  </a:moveTo>
                  <a:lnTo>
                    <a:pt x="0" y="5677"/>
                  </a:lnTo>
                  <a:lnTo>
                    <a:pt x="56" y="6845"/>
                  </a:lnTo>
                  <a:lnTo>
                    <a:pt x="223" y="7958"/>
                  </a:lnTo>
                  <a:lnTo>
                    <a:pt x="501" y="9126"/>
                  </a:lnTo>
                  <a:lnTo>
                    <a:pt x="835" y="10239"/>
                  </a:lnTo>
                  <a:lnTo>
                    <a:pt x="1280" y="11352"/>
                  </a:lnTo>
                  <a:lnTo>
                    <a:pt x="1836" y="12409"/>
                  </a:lnTo>
                  <a:lnTo>
                    <a:pt x="2448" y="13466"/>
                  </a:lnTo>
                  <a:lnTo>
                    <a:pt x="3172" y="14524"/>
                  </a:lnTo>
                  <a:lnTo>
                    <a:pt x="3951" y="15525"/>
                  </a:lnTo>
                  <a:lnTo>
                    <a:pt x="4841" y="16527"/>
                  </a:lnTo>
                  <a:lnTo>
                    <a:pt x="5787" y="17473"/>
                  </a:lnTo>
                  <a:lnTo>
                    <a:pt x="6788" y="18363"/>
                  </a:lnTo>
                  <a:lnTo>
                    <a:pt x="7901" y="19253"/>
                  </a:lnTo>
                  <a:lnTo>
                    <a:pt x="9070" y="20144"/>
                  </a:lnTo>
                  <a:lnTo>
                    <a:pt x="10294" y="20978"/>
                  </a:lnTo>
                  <a:lnTo>
                    <a:pt x="11629" y="21757"/>
                  </a:lnTo>
                  <a:lnTo>
                    <a:pt x="12965" y="22481"/>
                  </a:lnTo>
                  <a:lnTo>
                    <a:pt x="14411" y="23204"/>
                  </a:lnTo>
                  <a:lnTo>
                    <a:pt x="15914" y="23872"/>
                  </a:lnTo>
                  <a:lnTo>
                    <a:pt x="17416" y="24539"/>
                  </a:lnTo>
                  <a:lnTo>
                    <a:pt x="19030" y="25096"/>
                  </a:lnTo>
                  <a:lnTo>
                    <a:pt x="20699" y="25652"/>
                  </a:lnTo>
                  <a:lnTo>
                    <a:pt x="22368" y="26153"/>
                  </a:lnTo>
                  <a:lnTo>
                    <a:pt x="24149" y="26598"/>
                  </a:lnTo>
                  <a:lnTo>
                    <a:pt x="25929" y="27043"/>
                  </a:lnTo>
                  <a:lnTo>
                    <a:pt x="27710" y="27377"/>
                  </a:lnTo>
                  <a:lnTo>
                    <a:pt x="29602" y="27711"/>
                  </a:lnTo>
                  <a:lnTo>
                    <a:pt x="31494" y="27934"/>
                  </a:lnTo>
                  <a:lnTo>
                    <a:pt x="33441" y="28156"/>
                  </a:lnTo>
                  <a:lnTo>
                    <a:pt x="35389" y="28267"/>
                  </a:lnTo>
                  <a:lnTo>
                    <a:pt x="37392" y="28379"/>
                  </a:lnTo>
                  <a:lnTo>
                    <a:pt x="41454" y="28379"/>
                  </a:lnTo>
                  <a:lnTo>
                    <a:pt x="43457" y="28267"/>
                  </a:lnTo>
                  <a:lnTo>
                    <a:pt x="45404" y="28156"/>
                  </a:lnTo>
                  <a:lnTo>
                    <a:pt x="47352" y="27934"/>
                  </a:lnTo>
                  <a:lnTo>
                    <a:pt x="49244" y="27711"/>
                  </a:lnTo>
                  <a:lnTo>
                    <a:pt x="51080" y="27377"/>
                  </a:lnTo>
                  <a:lnTo>
                    <a:pt x="52916" y="27043"/>
                  </a:lnTo>
                  <a:lnTo>
                    <a:pt x="54697" y="26598"/>
                  </a:lnTo>
                  <a:lnTo>
                    <a:pt x="56421" y="26153"/>
                  </a:lnTo>
                  <a:lnTo>
                    <a:pt x="58146" y="25652"/>
                  </a:lnTo>
                  <a:lnTo>
                    <a:pt x="59760" y="25096"/>
                  </a:lnTo>
                  <a:lnTo>
                    <a:pt x="61374" y="24539"/>
                  </a:lnTo>
                  <a:lnTo>
                    <a:pt x="62876" y="23872"/>
                  </a:lnTo>
                  <a:lnTo>
                    <a:pt x="64378" y="23204"/>
                  </a:lnTo>
                  <a:lnTo>
                    <a:pt x="65825" y="22481"/>
                  </a:lnTo>
                  <a:lnTo>
                    <a:pt x="67160" y="21757"/>
                  </a:lnTo>
                  <a:lnTo>
                    <a:pt x="68440" y="20978"/>
                  </a:lnTo>
                  <a:lnTo>
                    <a:pt x="69664" y="20144"/>
                  </a:lnTo>
                  <a:lnTo>
                    <a:pt x="70833" y="19253"/>
                  </a:lnTo>
                  <a:lnTo>
                    <a:pt x="71946" y="18363"/>
                  </a:lnTo>
                  <a:lnTo>
                    <a:pt x="72947" y="17473"/>
                  </a:lnTo>
                  <a:lnTo>
                    <a:pt x="73893" y="16527"/>
                  </a:lnTo>
                  <a:lnTo>
                    <a:pt x="74783" y="15525"/>
                  </a:lnTo>
                  <a:lnTo>
                    <a:pt x="75562" y="14524"/>
                  </a:lnTo>
                  <a:lnTo>
                    <a:pt x="76230" y="13466"/>
                  </a:lnTo>
                  <a:lnTo>
                    <a:pt x="76842" y="12409"/>
                  </a:lnTo>
                  <a:lnTo>
                    <a:pt x="77343" y="11352"/>
                  </a:lnTo>
                  <a:lnTo>
                    <a:pt x="77788" y="10239"/>
                  </a:lnTo>
                  <a:lnTo>
                    <a:pt x="78122" y="9126"/>
                  </a:lnTo>
                  <a:lnTo>
                    <a:pt x="78400" y="7958"/>
                  </a:lnTo>
                  <a:lnTo>
                    <a:pt x="78511" y="6845"/>
                  </a:lnTo>
                  <a:lnTo>
                    <a:pt x="78567" y="5677"/>
                  </a:lnTo>
                  <a:lnTo>
                    <a:pt x="78567" y="1169"/>
                  </a:lnTo>
                  <a:lnTo>
                    <a:pt x="78400" y="2338"/>
                  </a:lnTo>
                  <a:lnTo>
                    <a:pt x="78178" y="3451"/>
                  </a:lnTo>
                  <a:lnTo>
                    <a:pt x="77844" y="4564"/>
                  </a:lnTo>
                  <a:lnTo>
                    <a:pt x="77399" y="5677"/>
                  </a:lnTo>
                  <a:lnTo>
                    <a:pt x="76842" y="6789"/>
                  </a:lnTo>
                  <a:lnTo>
                    <a:pt x="76230" y="7847"/>
                  </a:lnTo>
                  <a:lnTo>
                    <a:pt x="75562" y="8848"/>
                  </a:lnTo>
                  <a:lnTo>
                    <a:pt x="74783" y="9850"/>
                  </a:lnTo>
                  <a:lnTo>
                    <a:pt x="73893" y="10851"/>
                  </a:lnTo>
                  <a:lnTo>
                    <a:pt x="72947" y="11797"/>
                  </a:lnTo>
                  <a:lnTo>
                    <a:pt x="71946" y="12743"/>
                  </a:lnTo>
                  <a:lnTo>
                    <a:pt x="70888" y="13633"/>
                  </a:lnTo>
                  <a:lnTo>
                    <a:pt x="69720" y="14468"/>
                  </a:lnTo>
                  <a:lnTo>
                    <a:pt x="68496" y="15303"/>
                  </a:lnTo>
                  <a:lnTo>
                    <a:pt x="67160" y="16082"/>
                  </a:lnTo>
                  <a:lnTo>
                    <a:pt x="65825" y="16861"/>
                  </a:lnTo>
                  <a:lnTo>
                    <a:pt x="64378" y="17528"/>
                  </a:lnTo>
                  <a:lnTo>
                    <a:pt x="62932" y="18252"/>
                  </a:lnTo>
                  <a:lnTo>
                    <a:pt x="61374" y="18864"/>
                  </a:lnTo>
                  <a:lnTo>
                    <a:pt x="59816" y="19476"/>
                  </a:lnTo>
                  <a:lnTo>
                    <a:pt x="58146" y="20032"/>
                  </a:lnTo>
                  <a:lnTo>
                    <a:pt x="56477" y="20533"/>
                  </a:lnTo>
                  <a:lnTo>
                    <a:pt x="54697" y="20978"/>
                  </a:lnTo>
                  <a:lnTo>
                    <a:pt x="52916" y="21368"/>
                  </a:lnTo>
                  <a:lnTo>
                    <a:pt x="51135" y="21702"/>
                  </a:lnTo>
                  <a:lnTo>
                    <a:pt x="49244" y="22035"/>
                  </a:lnTo>
                  <a:lnTo>
                    <a:pt x="47352" y="22314"/>
                  </a:lnTo>
                  <a:lnTo>
                    <a:pt x="45404" y="22481"/>
                  </a:lnTo>
                  <a:lnTo>
                    <a:pt x="43457" y="22648"/>
                  </a:lnTo>
                  <a:lnTo>
                    <a:pt x="41454" y="22703"/>
                  </a:lnTo>
                  <a:lnTo>
                    <a:pt x="39450" y="22759"/>
                  </a:lnTo>
                  <a:lnTo>
                    <a:pt x="37392" y="22703"/>
                  </a:lnTo>
                  <a:lnTo>
                    <a:pt x="35444" y="22648"/>
                  </a:lnTo>
                  <a:lnTo>
                    <a:pt x="33441" y="22481"/>
                  </a:lnTo>
                  <a:lnTo>
                    <a:pt x="31494" y="22314"/>
                  </a:lnTo>
                  <a:lnTo>
                    <a:pt x="29602" y="22035"/>
                  </a:lnTo>
                  <a:lnTo>
                    <a:pt x="27766" y="21702"/>
                  </a:lnTo>
                  <a:lnTo>
                    <a:pt x="25929" y="21368"/>
                  </a:lnTo>
                  <a:lnTo>
                    <a:pt x="24149" y="20978"/>
                  </a:lnTo>
                  <a:lnTo>
                    <a:pt x="22424" y="20533"/>
                  </a:lnTo>
                  <a:lnTo>
                    <a:pt x="20699" y="20032"/>
                  </a:lnTo>
                  <a:lnTo>
                    <a:pt x="19030" y="19476"/>
                  </a:lnTo>
                  <a:lnTo>
                    <a:pt x="17472" y="18864"/>
                  </a:lnTo>
                  <a:lnTo>
                    <a:pt x="15914" y="18252"/>
                  </a:lnTo>
                  <a:lnTo>
                    <a:pt x="14411" y="17584"/>
                  </a:lnTo>
                  <a:lnTo>
                    <a:pt x="13020" y="16861"/>
                  </a:lnTo>
                  <a:lnTo>
                    <a:pt x="11629" y="16082"/>
                  </a:lnTo>
                  <a:lnTo>
                    <a:pt x="10349" y="15303"/>
                  </a:lnTo>
                  <a:lnTo>
                    <a:pt x="9070" y="14468"/>
                  </a:lnTo>
                  <a:lnTo>
                    <a:pt x="7901" y="13633"/>
                  </a:lnTo>
                  <a:lnTo>
                    <a:pt x="6788" y="12743"/>
                  </a:lnTo>
                  <a:lnTo>
                    <a:pt x="5787" y="11797"/>
                  </a:lnTo>
                  <a:lnTo>
                    <a:pt x="4841" y="10851"/>
                  </a:lnTo>
                  <a:lnTo>
                    <a:pt x="3951" y="9850"/>
                  </a:lnTo>
                  <a:lnTo>
                    <a:pt x="3172" y="8848"/>
                  </a:lnTo>
                  <a:lnTo>
                    <a:pt x="2448" y="7847"/>
                  </a:lnTo>
                  <a:lnTo>
                    <a:pt x="1836" y="6789"/>
                  </a:lnTo>
                  <a:lnTo>
                    <a:pt x="1280" y="5677"/>
                  </a:lnTo>
                  <a:lnTo>
                    <a:pt x="835" y="4564"/>
                  </a:lnTo>
                  <a:lnTo>
                    <a:pt x="501" y="3451"/>
                  </a:lnTo>
                  <a:lnTo>
                    <a:pt x="223" y="2338"/>
                  </a:lnTo>
                  <a:lnTo>
                    <a:pt x="111" y="1169"/>
                  </a:lnTo>
                  <a:lnTo>
                    <a:pt x="56" y="1"/>
                  </a:lnTo>
                  <a:close/>
                </a:path>
              </a:pathLst>
            </a:custGeom>
            <a:solidFill>
              <a:srgbClr val="BF9D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" name="Google Shape;17358;p84">
              <a:extLst>
                <a:ext uri="{FF2B5EF4-FFF2-40B4-BE49-F238E27FC236}">
                  <a16:creationId xmlns:a16="http://schemas.microsoft.com/office/drawing/2014/main" id="{7CC3F40A-0300-0EDF-9AC9-33CF1F711526}"/>
                </a:ext>
              </a:extLst>
            </p:cNvPr>
            <p:cNvSpPr/>
            <p:nvPr/>
          </p:nvSpPr>
          <p:spPr>
            <a:xfrm>
              <a:off x="1096025" y="3137100"/>
              <a:ext cx="1962825" cy="1137900"/>
            </a:xfrm>
            <a:custGeom>
              <a:avLst/>
              <a:gdLst/>
              <a:ahLst/>
              <a:cxnLst/>
              <a:rect l="l" t="t" r="r" b="b"/>
              <a:pathLst>
                <a:path w="78513" h="45516" extrusionOk="0">
                  <a:moveTo>
                    <a:pt x="40787" y="4674"/>
                  </a:moveTo>
                  <a:lnTo>
                    <a:pt x="42345" y="4785"/>
                  </a:lnTo>
                  <a:lnTo>
                    <a:pt x="43903" y="4897"/>
                  </a:lnTo>
                  <a:lnTo>
                    <a:pt x="45461" y="5064"/>
                  </a:lnTo>
                  <a:lnTo>
                    <a:pt x="46963" y="5231"/>
                  </a:lnTo>
                  <a:lnTo>
                    <a:pt x="48465" y="5509"/>
                  </a:lnTo>
                  <a:lnTo>
                    <a:pt x="49912" y="5787"/>
                  </a:lnTo>
                  <a:lnTo>
                    <a:pt x="51303" y="6121"/>
                  </a:lnTo>
                  <a:lnTo>
                    <a:pt x="52694" y="6455"/>
                  </a:lnTo>
                  <a:lnTo>
                    <a:pt x="54029" y="6844"/>
                  </a:lnTo>
                  <a:lnTo>
                    <a:pt x="55365" y="7289"/>
                  </a:lnTo>
                  <a:lnTo>
                    <a:pt x="56645" y="7734"/>
                  </a:lnTo>
                  <a:lnTo>
                    <a:pt x="57869" y="8291"/>
                  </a:lnTo>
                  <a:lnTo>
                    <a:pt x="59037" y="8792"/>
                  </a:lnTo>
                  <a:lnTo>
                    <a:pt x="60150" y="9348"/>
                  </a:lnTo>
                  <a:lnTo>
                    <a:pt x="61263" y="9960"/>
                  </a:lnTo>
                  <a:lnTo>
                    <a:pt x="62320" y="10572"/>
                  </a:lnTo>
                  <a:lnTo>
                    <a:pt x="63266" y="11240"/>
                  </a:lnTo>
                  <a:lnTo>
                    <a:pt x="64212" y="11963"/>
                  </a:lnTo>
                  <a:lnTo>
                    <a:pt x="65102" y="12631"/>
                  </a:lnTo>
                  <a:lnTo>
                    <a:pt x="65881" y="13354"/>
                  </a:lnTo>
                  <a:lnTo>
                    <a:pt x="66660" y="14133"/>
                  </a:lnTo>
                  <a:lnTo>
                    <a:pt x="67328" y="14912"/>
                  </a:lnTo>
                  <a:lnTo>
                    <a:pt x="67996" y="15691"/>
                  </a:lnTo>
                  <a:lnTo>
                    <a:pt x="68552" y="16526"/>
                  </a:lnTo>
                  <a:lnTo>
                    <a:pt x="69053" y="17361"/>
                  </a:lnTo>
                  <a:lnTo>
                    <a:pt x="69442" y="18251"/>
                  </a:lnTo>
                  <a:lnTo>
                    <a:pt x="69832" y="19086"/>
                  </a:lnTo>
                  <a:lnTo>
                    <a:pt x="70110" y="19976"/>
                  </a:lnTo>
                  <a:lnTo>
                    <a:pt x="70333" y="20922"/>
                  </a:lnTo>
                  <a:lnTo>
                    <a:pt x="70444" y="21812"/>
                  </a:lnTo>
                  <a:lnTo>
                    <a:pt x="70500" y="22758"/>
                  </a:lnTo>
                  <a:lnTo>
                    <a:pt x="70444" y="23704"/>
                  </a:lnTo>
                  <a:lnTo>
                    <a:pt x="70333" y="24594"/>
                  </a:lnTo>
                  <a:lnTo>
                    <a:pt x="70110" y="25484"/>
                  </a:lnTo>
                  <a:lnTo>
                    <a:pt x="69888" y="26375"/>
                  </a:lnTo>
                  <a:lnTo>
                    <a:pt x="69498" y="27265"/>
                  </a:lnTo>
                  <a:lnTo>
                    <a:pt x="69109" y="28155"/>
                  </a:lnTo>
                  <a:lnTo>
                    <a:pt x="68608" y="28990"/>
                  </a:lnTo>
                  <a:lnTo>
                    <a:pt x="68051" y="29769"/>
                  </a:lnTo>
                  <a:lnTo>
                    <a:pt x="67439" y="30604"/>
                  </a:lnTo>
                  <a:lnTo>
                    <a:pt x="66772" y="31383"/>
                  </a:lnTo>
                  <a:lnTo>
                    <a:pt x="65993" y="32106"/>
                  </a:lnTo>
                  <a:lnTo>
                    <a:pt x="65214" y="32885"/>
                  </a:lnTo>
                  <a:lnTo>
                    <a:pt x="64323" y="33553"/>
                  </a:lnTo>
                  <a:lnTo>
                    <a:pt x="63433" y="34276"/>
                  </a:lnTo>
                  <a:lnTo>
                    <a:pt x="62431" y="34888"/>
                  </a:lnTo>
                  <a:lnTo>
                    <a:pt x="61430" y="35556"/>
                  </a:lnTo>
                  <a:lnTo>
                    <a:pt x="60317" y="36168"/>
                  </a:lnTo>
                  <a:lnTo>
                    <a:pt x="59204" y="36724"/>
                  </a:lnTo>
                  <a:lnTo>
                    <a:pt x="58036" y="37225"/>
                  </a:lnTo>
                  <a:lnTo>
                    <a:pt x="56812" y="37726"/>
                  </a:lnTo>
                  <a:lnTo>
                    <a:pt x="55532" y="38227"/>
                  </a:lnTo>
                  <a:lnTo>
                    <a:pt x="54252" y="38672"/>
                  </a:lnTo>
                  <a:lnTo>
                    <a:pt x="52861" y="39061"/>
                  </a:lnTo>
                  <a:lnTo>
                    <a:pt x="51526" y="39395"/>
                  </a:lnTo>
                  <a:lnTo>
                    <a:pt x="50079" y="39729"/>
                  </a:lnTo>
                  <a:lnTo>
                    <a:pt x="48632" y="40007"/>
                  </a:lnTo>
                  <a:lnTo>
                    <a:pt x="47130" y="40285"/>
                  </a:lnTo>
                  <a:lnTo>
                    <a:pt x="45627" y="40452"/>
                  </a:lnTo>
                  <a:lnTo>
                    <a:pt x="44125" y="40619"/>
                  </a:lnTo>
                  <a:lnTo>
                    <a:pt x="42567" y="40731"/>
                  </a:lnTo>
                  <a:lnTo>
                    <a:pt x="40953" y="40842"/>
                  </a:lnTo>
                  <a:lnTo>
                    <a:pt x="37726" y="40842"/>
                  </a:lnTo>
                  <a:lnTo>
                    <a:pt x="36168" y="40731"/>
                  </a:lnTo>
                  <a:lnTo>
                    <a:pt x="34610" y="40619"/>
                  </a:lnTo>
                  <a:lnTo>
                    <a:pt x="33052" y="40452"/>
                  </a:lnTo>
                  <a:lnTo>
                    <a:pt x="31550" y="40285"/>
                  </a:lnTo>
                  <a:lnTo>
                    <a:pt x="30048" y="40007"/>
                  </a:lnTo>
                  <a:lnTo>
                    <a:pt x="28601" y="39729"/>
                  </a:lnTo>
                  <a:lnTo>
                    <a:pt x="27210" y="39395"/>
                  </a:lnTo>
                  <a:lnTo>
                    <a:pt x="25819" y="39061"/>
                  </a:lnTo>
                  <a:lnTo>
                    <a:pt x="24483" y="38672"/>
                  </a:lnTo>
                  <a:lnTo>
                    <a:pt x="23148" y="38227"/>
                  </a:lnTo>
                  <a:lnTo>
                    <a:pt x="21868" y="37726"/>
                  </a:lnTo>
                  <a:lnTo>
                    <a:pt x="20644" y="37225"/>
                  </a:lnTo>
                  <a:lnTo>
                    <a:pt x="19475" y="36724"/>
                  </a:lnTo>
                  <a:lnTo>
                    <a:pt x="18363" y="36168"/>
                  </a:lnTo>
                  <a:lnTo>
                    <a:pt x="17250" y="35556"/>
                  </a:lnTo>
                  <a:lnTo>
                    <a:pt x="16193" y="34888"/>
                  </a:lnTo>
                  <a:lnTo>
                    <a:pt x="15247" y="34276"/>
                  </a:lnTo>
                  <a:lnTo>
                    <a:pt x="14301" y="33553"/>
                  </a:lnTo>
                  <a:lnTo>
                    <a:pt x="13410" y="32885"/>
                  </a:lnTo>
                  <a:lnTo>
                    <a:pt x="12631" y="32106"/>
                  </a:lnTo>
                  <a:lnTo>
                    <a:pt x="11852" y="31383"/>
                  </a:lnTo>
                  <a:lnTo>
                    <a:pt x="11185" y="30604"/>
                  </a:lnTo>
                  <a:lnTo>
                    <a:pt x="10517" y="29769"/>
                  </a:lnTo>
                  <a:lnTo>
                    <a:pt x="9961" y="28990"/>
                  </a:lnTo>
                  <a:lnTo>
                    <a:pt x="9460" y="28155"/>
                  </a:lnTo>
                  <a:lnTo>
                    <a:pt x="9070" y="27265"/>
                  </a:lnTo>
                  <a:lnTo>
                    <a:pt x="8681" y="26375"/>
                  </a:lnTo>
                  <a:lnTo>
                    <a:pt x="8403" y="25484"/>
                  </a:lnTo>
                  <a:lnTo>
                    <a:pt x="8180" y="24594"/>
                  </a:lnTo>
                  <a:lnTo>
                    <a:pt x="8069" y="23704"/>
                  </a:lnTo>
                  <a:lnTo>
                    <a:pt x="8013" y="22758"/>
                  </a:lnTo>
                  <a:lnTo>
                    <a:pt x="8069" y="21812"/>
                  </a:lnTo>
                  <a:lnTo>
                    <a:pt x="8180" y="20922"/>
                  </a:lnTo>
                  <a:lnTo>
                    <a:pt x="8403" y="19976"/>
                  </a:lnTo>
                  <a:lnTo>
                    <a:pt x="8625" y="19086"/>
                  </a:lnTo>
                  <a:lnTo>
                    <a:pt x="9015" y="18251"/>
                  </a:lnTo>
                  <a:lnTo>
                    <a:pt x="9404" y="17361"/>
                  </a:lnTo>
                  <a:lnTo>
                    <a:pt x="9905" y="16526"/>
                  </a:lnTo>
                  <a:lnTo>
                    <a:pt x="10461" y="15691"/>
                  </a:lnTo>
                  <a:lnTo>
                    <a:pt x="11073" y="14912"/>
                  </a:lnTo>
                  <a:lnTo>
                    <a:pt x="11741" y="14133"/>
                  </a:lnTo>
                  <a:lnTo>
                    <a:pt x="12520" y="13354"/>
                  </a:lnTo>
                  <a:lnTo>
                    <a:pt x="13299" y="12631"/>
                  </a:lnTo>
                  <a:lnTo>
                    <a:pt x="14189" y="11963"/>
                  </a:lnTo>
                  <a:lnTo>
                    <a:pt x="15080" y="11240"/>
                  </a:lnTo>
                  <a:lnTo>
                    <a:pt x="16081" y="10572"/>
                  </a:lnTo>
                  <a:lnTo>
                    <a:pt x="17083" y="9960"/>
                  </a:lnTo>
                  <a:lnTo>
                    <a:pt x="18196" y="9348"/>
                  </a:lnTo>
                  <a:lnTo>
                    <a:pt x="19309" y="8792"/>
                  </a:lnTo>
                  <a:lnTo>
                    <a:pt x="20477" y="8291"/>
                  </a:lnTo>
                  <a:lnTo>
                    <a:pt x="21701" y="7734"/>
                  </a:lnTo>
                  <a:lnTo>
                    <a:pt x="22981" y="7289"/>
                  </a:lnTo>
                  <a:lnTo>
                    <a:pt x="24261" y="6844"/>
                  </a:lnTo>
                  <a:lnTo>
                    <a:pt x="25652" y="6455"/>
                  </a:lnTo>
                  <a:lnTo>
                    <a:pt x="26987" y="6121"/>
                  </a:lnTo>
                  <a:lnTo>
                    <a:pt x="28434" y="5787"/>
                  </a:lnTo>
                  <a:lnTo>
                    <a:pt x="29881" y="5509"/>
                  </a:lnTo>
                  <a:lnTo>
                    <a:pt x="31383" y="5231"/>
                  </a:lnTo>
                  <a:lnTo>
                    <a:pt x="32885" y="5064"/>
                  </a:lnTo>
                  <a:lnTo>
                    <a:pt x="34388" y="4897"/>
                  </a:lnTo>
                  <a:lnTo>
                    <a:pt x="35946" y="4785"/>
                  </a:lnTo>
                  <a:lnTo>
                    <a:pt x="37559" y="4674"/>
                  </a:lnTo>
                  <a:close/>
                  <a:moveTo>
                    <a:pt x="39117" y="0"/>
                  </a:moveTo>
                  <a:lnTo>
                    <a:pt x="37114" y="56"/>
                  </a:lnTo>
                  <a:lnTo>
                    <a:pt x="35111" y="111"/>
                  </a:lnTo>
                  <a:lnTo>
                    <a:pt x="33164" y="278"/>
                  </a:lnTo>
                  <a:lnTo>
                    <a:pt x="31216" y="445"/>
                  </a:lnTo>
                  <a:lnTo>
                    <a:pt x="29324" y="724"/>
                  </a:lnTo>
                  <a:lnTo>
                    <a:pt x="27432" y="1002"/>
                  </a:lnTo>
                  <a:lnTo>
                    <a:pt x="25652" y="1391"/>
                  </a:lnTo>
                  <a:lnTo>
                    <a:pt x="23871" y="1781"/>
                  </a:lnTo>
                  <a:lnTo>
                    <a:pt x="22091" y="2226"/>
                  </a:lnTo>
                  <a:lnTo>
                    <a:pt x="20421" y="2727"/>
                  </a:lnTo>
                  <a:lnTo>
                    <a:pt x="18752" y="3283"/>
                  </a:lnTo>
                  <a:lnTo>
                    <a:pt x="17194" y="3895"/>
                  </a:lnTo>
                  <a:lnTo>
                    <a:pt x="15636" y="4507"/>
                  </a:lnTo>
                  <a:lnTo>
                    <a:pt x="14189" y="5175"/>
                  </a:lnTo>
                  <a:lnTo>
                    <a:pt x="12743" y="5898"/>
                  </a:lnTo>
                  <a:lnTo>
                    <a:pt x="11407" y="6677"/>
                  </a:lnTo>
                  <a:lnTo>
                    <a:pt x="10072" y="7456"/>
                  </a:lnTo>
                  <a:lnTo>
                    <a:pt x="8848" y="8291"/>
                  </a:lnTo>
                  <a:lnTo>
                    <a:pt x="7679" y="9126"/>
                  </a:lnTo>
                  <a:lnTo>
                    <a:pt x="6622" y="10016"/>
                  </a:lnTo>
                  <a:lnTo>
                    <a:pt x="5621" y="10962"/>
                  </a:lnTo>
                  <a:lnTo>
                    <a:pt x="4675" y="11908"/>
                  </a:lnTo>
                  <a:lnTo>
                    <a:pt x="3784" y="12909"/>
                  </a:lnTo>
                  <a:lnTo>
                    <a:pt x="3005" y="13911"/>
                  </a:lnTo>
                  <a:lnTo>
                    <a:pt x="2338" y="14912"/>
                  </a:lnTo>
                  <a:lnTo>
                    <a:pt x="1726" y="15970"/>
                  </a:lnTo>
                  <a:lnTo>
                    <a:pt x="1169" y="17082"/>
                  </a:lnTo>
                  <a:lnTo>
                    <a:pt x="724" y="18195"/>
                  </a:lnTo>
                  <a:lnTo>
                    <a:pt x="390" y="19308"/>
                  </a:lnTo>
                  <a:lnTo>
                    <a:pt x="168" y="20421"/>
                  </a:lnTo>
                  <a:lnTo>
                    <a:pt x="1" y="21589"/>
                  </a:lnTo>
                  <a:lnTo>
                    <a:pt x="1" y="22758"/>
                  </a:lnTo>
                  <a:lnTo>
                    <a:pt x="56" y="23926"/>
                  </a:lnTo>
                  <a:lnTo>
                    <a:pt x="168" y="25095"/>
                  </a:lnTo>
                  <a:lnTo>
                    <a:pt x="446" y="26208"/>
                  </a:lnTo>
                  <a:lnTo>
                    <a:pt x="780" y="27321"/>
                  </a:lnTo>
                  <a:lnTo>
                    <a:pt x="1225" y="28434"/>
                  </a:lnTo>
                  <a:lnTo>
                    <a:pt x="1781" y="29546"/>
                  </a:lnTo>
                  <a:lnTo>
                    <a:pt x="2393" y="30604"/>
                  </a:lnTo>
                  <a:lnTo>
                    <a:pt x="3117" y="31605"/>
                  </a:lnTo>
                  <a:lnTo>
                    <a:pt x="3896" y="32607"/>
                  </a:lnTo>
                  <a:lnTo>
                    <a:pt x="4786" y="33608"/>
                  </a:lnTo>
                  <a:lnTo>
                    <a:pt x="5732" y="34554"/>
                  </a:lnTo>
                  <a:lnTo>
                    <a:pt x="6733" y="35500"/>
                  </a:lnTo>
                  <a:lnTo>
                    <a:pt x="7846" y="36390"/>
                  </a:lnTo>
                  <a:lnTo>
                    <a:pt x="9015" y="37225"/>
                  </a:lnTo>
                  <a:lnTo>
                    <a:pt x="10294" y="38060"/>
                  </a:lnTo>
                  <a:lnTo>
                    <a:pt x="11574" y="38839"/>
                  </a:lnTo>
                  <a:lnTo>
                    <a:pt x="12965" y="39618"/>
                  </a:lnTo>
                  <a:lnTo>
                    <a:pt x="14356" y="40341"/>
                  </a:lnTo>
                  <a:lnTo>
                    <a:pt x="15859" y="41009"/>
                  </a:lnTo>
                  <a:lnTo>
                    <a:pt x="17417" y="41621"/>
                  </a:lnTo>
                  <a:lnTo>
                    <a:pt x="18975" y="42233"/>
                  </a:lnTo>
                  <a:lnTo>
                    <a:pt x="20644" y="42789"/>
                  </a:lnTo>
                  <a:lnTo>
                    <a:pt x="22369" y="43290"/>
                  </a:lnTo>
                  <a:lnTo>
                    <a:pt x="24094" y="43735"/>
                  </a:lnTo>
                  <a:lnTo>
                    <a:pt x="25874" y="44125"/>
                  </a:lnTo>
                  <a:lnTo>
                    <a:pt x="27711" y="44459"/>
                  </a:lnTo>
                  <a:lnTo>
                    <a:pt x="29547" y="44792"/>
                  </a:lnTo>
                  <a:lnTo>
                    <a:pt x="31439" y="45071"/>
                  </a:lnTo>
                  <a:lnTo>
                    <a:pt x="33386" y="45238"/>
                  </a:lnTo>
                  <a:lnTo>
                    <a:pt x="35389" y="45405"/>
                  </a:lnTo>
                  <a:lnTo>
                    <a:pt x="37337" y="45460"/>
                  </a:lnTo>
                  <a:lnTo>
                    <a:pt x="39395" y="45516"/>
                  </a:lnTo>
                  <a:lnTo>
                    <a:pt x="41399" y="45460"/>
                  </a:lnTo>
                  <a:lnTo>
                    <a:pt x="43402" y="45405"/>
                  </a:lnTo>
                  <a:lnTo>
                    <a:pt x="45349" y="45238"/>
                  </a:lnTo>
                  <a:lnTo>
                    <a:pt x="47297" y="45071"/>
                  </a:lnTo>
                  <a:lnTo>
                    <a:pt x="49189" y="44792"/>
                  </a:lnTo>
                  <a:lnTo>
                    <a:pt x="51080" y="44459"/>
                  </a:lnTo>
                  <a:lnTo>
                    <a:pt x="52861" y="44125"/>
                  </a:lnTo>
                  <a:lnTo>
                    <a:pt x="54642" y="43735"/>
                  </a:lnTo>
                  <a:lnTo>
                    <a:pt x="56422" y="43290"/>
                  </a:lnTo>
                  <a:lnTo>
                    <a:pt x="58091" y="42789"/>
                  </a:lnTo>
                  <a:lnTo>
                    <a:pt x="59761" y="42233"/>
                  </a:lnTo>
                  <a:lnTo>
                    <a:pt x="61319" y="41621"/>
                  </a:lnTo>
                  <a:lnTo>
                    <a:pt x="62877" y="41009"/>
                  </a:lnTo>
                  <a:lnTo>
                    <a:pt x="64323" y="40285"/>
                  </a:lnTo>
                  <a:lnTo>
                    <a:pt x="65770" y="39618"/>
                  </a:lnTo>
                  <a:lnTo>
                    <a:pt x="67105" y="38839"/>
                  </a:lnTo>
                  <a:lnTo>
                    <a:pt x="68441" y="38060"/>
                  </a:lnTo>
                  <a:lnTo>
                    <a:pt x="69665" y="37225"/>
                  </a:lnTo>
                  <a:lnTo>
                    <a:pt x="70833" y="36390"/>
                  </a:lnTo>
                  <a:lnTo>
                    <a:pt x="71891" y="35500"/>
                  </a:lnTo>
                  <a:lnTo>
                    <a:pt x="72892" y="34554"/>
                  </a:lnTo>
                  <a:lnTo>
                    <a:pt x="73838" y="33608"/>
                  </a:lnTo>
                  <a:lnTo>
                    <a:pt x="74728" y="32607"/>
                  </a:lnTo>
                  <a:lnTo>
                    <a:pt x="75507" y="31605"/>
                  </a:lnTo>
                  <a:lnTo>
                    <a:pt x="76175" y="30604"/>
                  </a:lnTo>
                  <a:lnTo>
                    <a:pt x="76787" y="29546"/>
                  </a:lnTo>
                  <a:lnTo>
                    <a:pt x="77344" y="28434"/>
                  </a:lnTo>
                  <a:lnTo>
                    <a:pt x="77789" y="27321"/>
                  </a:lnTo>
                  <a:lnTo>
                    <a:pt x="78123" y="26208"/>
                  </a:lnTo>
                  <a:lnTo>
                    <a:pt x="78345" y="25095"/>
                  </a:lnTo>
                  <a:lnTo>
                    <a:pt x="78512" y="23926"/>
                  </a:lnTo>
                  <a:lnTo>
                    <a:pt x="78512" y="22758"/>
                  </a:lnTo>
                  <a:lnTo>
                    <a:pt x="78456" y="21589"/>
                  </a:lnTo>
                  <a:lnTo>
                    <a:pt x="78345" y="20421"/>
                  </a:lnTo>
                  <a:lnTo>
                    <a:pt x="78067" y="19308"/>
                  </a:lnTo>
                  <a:lnTo>
                    <a:pt x="77733" y="18195"/>
                  </a:lnTo>
                  <a:lnTo>
                    <a:pt x="77288" y="17082"/>
                  </a:lnTo>
                  <a:lnTo>
                    <a:pt x="76732" y="15970"/>
                  </a:lnTo>
                  <a:lnTo>
                    <a:pt x="76119" y="14912"/>
                  </a:lnTo>
                  <a:lnTo>
                    <a:pt x="75396" y="13911"/>
                  </a:lnTo>
                  <a:lnTo>
                    <a:pt x="74617" y="12909"/>
                  </a:lnTo>
                  <a:lnTo>
                    <a:pt x="73727" y="11908"/>
                  </a:lnTo>
                  <a:lnTo>
                    <a:pt x="72781" y="10962"/>
                  </a:lnTo>
                  <a:lnTo>
                    <a:pt x="71779" y="10016"/>
                  </a:lnTo>
                  <a:lnTo>
                    <a:pt x="70667" y="9126"/>
                  </a:lnTo>
                  <a:lnTo>
                    <a:pt x="69498" y="8291"/>
                  </a:lnTo>
                  <a:lnTo>
                    <a:pt x="68218" y="7456"/>
                  </a:lnTo>
                  <a:lnTo>
                    <a:pt x="66938" y="6677"/>
                  </a:lnTo>
                  <a:lnTo>
                    <a:pt x="65547" y="5898"/>
                  </a:lnTo>
                  <a:lnTo>
                    <a:pt x="64156" y="5175"/>
                  </a:lnTo>
                  <a:lnTo>
                    <a:pt x="62654" y="4507"/>
                  </a:lnTo>
                  <a:lnTo>
                    <a:pt x="61096" y="3895"/>
                  </a:lnTo>
                  <a:lnTo>
                    <a:pt x="59538" y="3283"/>
                  </a:lnTo>
                  <a:lnTo>
                    <a:pt x="57869" y="2727"/>
                  </a:lnTo>
                  <a:lnTo>
                    <a:pt x="56144" y="2226"/>
                  </a:lnTo>
                  <a:lnTo>
                    <a:pt x="54419" y="1781"/>
                  </a:lnTo>
                  <a:lnTo>
                    <a:pt x="52638" y="1391"/>
                  </a:lnTo>
                  <a:lnTo>
                    <a:pt x="50802" y="1002"/>
                  </a:lnTo>
                  <a:lnTo>
                    <a:pt x="48966" y="724"/>
                  </a:lnTo>
                  <a:lnTo>
                    <a:pt x="47074" y="445"/>
                  </a:lnTo>
                  <a:lnTo>
                    <a:pt x="45127" y="278"/>
                  </a:lnTo>
                  <a:lnTo>
                    <a:pt x="43124" y="111"/>
                  </a:lnTo>
                  <a:lnTo>
                    <a:pt x="41176" y="56"/>
                  </a:lnTo>
                  <a:lnTo>
                    <a:pt x="39117" y="0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Google Shape;17359;p84">
              <a:extLst>
                <a:ext uri="{FF2B5EF4-FFF2-40B4-BE49-F238E27FC236}">
                  <a16:creationId xmlns:a16="http://schemas.microsoft.com/office/drawing/2014/main" id="{5591A520-A47E-E945-B1AE-5D005EED5C02}"/>
                </a:ext>
              </a:extLst>
            </p:cNvPr>
            <p:cNvSpPr/>
            <p:nvPr/>
          </p:nvSpPr>
          <p:spPr>
            <a:xfrm>
              <a:off x="1303300" y="3082850"/>
              <a:ext cx="1560800" cy="904200"/>
            </a:xfrm>
            <a:custGeom>
              <a:avLst/>
              <a:gdLst/>
              <a:ahLst/>
              <a:cxnLst/>
              <a:rect l="l" t="t" r="r" b="b"/>
              <a:pathLst>
                <a:path w="62432" h="36168" extrusionOk="0">
                  <a:moveTo>
                    <a:pt x="31104" y="0"/>
                  </a:moveTo>
                  <a:lnTo>
                    <a:pt x="29491" y="56"/>
                  </a:lnTo>
                  <a:lnTo>
                    <a:pt x="27933" y="111"/>
                  </a:lnTo>
                  <a:lnTo>
                    <a:pt x="26375" y="223"/>
                  </a:lnTo>
                  <a:lnTo>
                    <a:pt x="24817" y="390"/>
                  </a:lnTo>
                  <a:lnTo>
                    <a:pt x="23315" y="612"/>
                  </a:lnTo>
                  <a:lnTo>
                    <a:pt x="21812" y="835"/>
                  </a:lnTo>
                  <a:lnTo>
                    <a:pt x="20365" y="1113"/>
                  </a:lnTo>
                  <a:lnTo>
                    <a:pt x="18974" y="1447"/>
                  </a:lnTo>
                  <a:lnTo>
                    <a:pt x="17583" y="1781"/>
                  </a:lnTo>
                  <a:lnTo>
                    <a:pt x="16248" y="2226"/>
                  </a:lnTo>
                  <a:lnTo>
                    <a:pt x="14913" y="2615"/>
                  </a:lnTo>
                  <a:lnTo>
                    <a:pt x="13688" y="3116"/>
                  </a:lnTo>
                  <a:lnTo>
                    <a:pt x="12464" y="3617"/>
                  </a:lnTo>
                  <a:lnTo>
                    <a:pt x="11240" y="4173"/>
                  </a:lnTo>
                  <a:lnTo>
                    <a:pt x="10127" y="4730"/>
                  </a:lnTo>
                  <a:lnTo>
                    <a:pt x="9070" y="5342"/>
                  </a:lnTo>
                  <a:lnTo>
                    <a:pt x="8013" y="5954"/>
                  </a:lnTo>
                  <a:lnTo>
                    <a:pt x="7067" y="6622"/>
                  </a:lnTo>
                  <a:lnTo>
                    <a:pt x="6121" y="7289"/>
                  </a:lnTo>
                  <a:lnTo>
                    <a:pt x="5231" y="8013"/>
                  </a:lnTo>
                  <a:lnTo>
                    <a:pt x="4452" y="8736"/>
                  </a:lnTo>
                  <a:lnTo>
                    <a:pt x="3728" y="9515"/>
                  </a:lnTo>
                  <a:lnTo>
                    <a:pt x="3005" y="10294"/>
                  </a:lnTo>
                  <a:lnTo>
                    <a:pt x="2393" y="11073"/>
                  </a:lnTo>
                  <a:lnTo>
                    <a:pt x="1837" y="11908"/>
                  </a:lnTo>
                  <a:lnTo>
                    <a:pt x="1336" y="12742"/>
                  </a:lnTo>
                  <a:lnTo>
                    <a:pt x="946" y="13577"/>
                  </a:lnTo>
                  <a:lnTo>
                    <a:pt x="612" y="14467"/>
                  </a:lnTo>
                  <a:lnTo>
                    <a:pt x="334" y="15357"/>
                  </a:lnTo>
                  <a:lnTo>
                    <a:pt x="112" y="16248"/>
                  </a:lnTo>
                  <a:lnTo>
                    <a:pt x="0" y="17194"/>
                  </a:lnTo>
                  <a:lnTo>
                    <a:pt x="0" y="18084"/>
                  </a:lnTo>
                  <a:lnTo>
                    <a:pt x="0" y="19030"/>
                  </a:lnTo>
                  <a:lnTo>
                    <a:pt x="167" y="19976"/>
                  </a:lnTo>
                  <a:lnTo>
                    <a:pt x="334" y="20866"/>
                  </a:lnTo>
                  <a:lnTo>
                    <a:pt x="612" y="21756"/>
                  </a:lnTo>
                  <a:lnTo>
                    <a:pt x="1002" y="22647"/>
                  </a:lnTo>
                  <a:lnTo>
                    <a:pt x="1391" y="23481"/>
                  </a:lnTo>
                  <a:lnTo>
                    <a:pt x="1892" y="24316"/>
                  </a:lnTo>
                  <a:lnTo>
                    <a:pt x="2449" y="25151"/>
                  </a:lnTo>
                  <a:lnTo>
                    <a:pt x="3116" y="25930"/>
                  </a:lnTo>
                  <a:lnTo>
                    <a:pt x="3784" y="26709"/>
                  </a:lnTo>
                  <a:lnTo>
                    <a:pt x="4563" y="27488"/>
                  </a:lnTo>
                  <a:lnTo>
                    <a:pt x="5398" y="28211"/>
                  </a:lnTo>
                  <a:lnTo>
                    <a:pt x="6232" y="28934"/>
                  </a:lnTo>
                  <a:lnTo>
                    <a:pt x="7178" y="29602"/>
                  </a:lnTo>
                  <a:lnTo>
                    <a:pt x="8180" y="30270"/>
                  </a:lnTo>
                  <a:lnTo>
                    <a:pt x="9181" y="30882"/>
                  </a:lnTo>
                  <a:lnTo>
                    <a:pt x="10294" y="31494"/>
                  </a:lnTo>
                  <a:lnTo>
                    <a:pt x="11407" y="32050"/>
                  </a:lnTo>
                  <a:lnTo>
                    <a:pt x="12631" y="32607"/>
                  </a:lnTo>
                  <a:lnTo>
                    <a:pt x="13855" y="33107"/>
                  </a:lnTo>
                  <a:lnTo>
                    <a:pt x="15079" y="33553"/>
                  </a:lnTo>
                  <a:lnTo>
                    <a:pt x="16415" y="33998"/>
                  </a:lnTo>
                  <a:lnTo>
                    <a:pt x="17750" y="34387"/>
                  </a:lnTo>
                  <a:lnTo>
                    <a:pt x="19141" y="34777"/>
                  </a:lnTo>
                  <a:lnTo>
                    <a:pt x="20588" y="35111"/>
                  </a:lnTo>
                  <a:lnTo>
                    <a:pt x="22035" y="35389"/>
                  </a:lnTo>
                  <a:lnTo>
                    <a:pt x="23481" y="35611"/>
                  </a:lnTo>
                  <a:lnTo>
                    <a:pt x="25039" y="35834"/>
                  </a:lnTo>
                  <a:lnTo>
                    <a:pt x="26542" y="36001"/>
                  </a:lnTo>
                  <a:lnTo>
                    <a:pt x="28100" y="36112"/>
                  </a:lnTo>
                  <a:lnTo>
                    <a:pt x="29713" y="36168"/>
                  </a:lnTo>
                  <a:lnTo>
                    <a:pt x="32885" y="36168"/>
                  </a:lnTo>
                  <a:lnTo>
                    <a:pt x="34499" y="36112"/>
                  </a:lnTo>
                  <a:lnTo>
                    <a:pt x="36057" y="36001"/>
                  </a:lnTo>
                  <a:lnTo>
                    <a:pt x="37615" y="35834"/>
                  </a:lnTo>
                  <a:lnTo>
                    <a:pt x="39117" y="35611"/>
                  </a:lnTo>
                  <a:lnTo>
                    <a:pt x="40564" y="35389"/>
                  </a:lnTo>
                  <a:lnTo>
                    <a:pt x="42010" y="35111"/>
                  </a:lnTo>
                  <a:lnTo>
                    <a:pt x="43457" y="34777"/>
                  </a:lnTo>
                  <a:lnTo>
                    <a:pt x="44848" y="34387"/>
                  </a:lnTo>
                  <a:lnTo>
                    <a:pt x="46184" y="33998"/>
                  </a:lnTo>
                  <a:lnTo>
                    <a:pt x="47463" y="33553"/>
                  </a:lnTo>
                  <a:lnTo>
                    <a:pt x="48743" y="33107"/>
                  </a:lnTo>
                  <a:lnTo>
                    <a:pt x="49967" y="32607"/>
                  </a:lnTo>
                  <a:lnTo>
                    <a:pt x="51136" y="32050"/>
                  </a:lnTo>
                  <a:lnTo>
                    <a:pt x="52249" y="31494"/>
                  </a:lnTo>
                  <a:lnTo>
                    <a:pt x="53361" y="30882"/>
                  </a:lnTo>
                  <a:lnTo>
                    <a:pt x="54363" y="30270"/>
                  </a:lnTo>
                  <a:lnTo>
                    <a:pt x="55365" y="29602"/>
                  </a:lnTo>
                  <a:lnTo>
                    <a:pt x="56255" y="28934"/>
                  </a:lnTo>
                  <a:lnTo>
                    <a:pt x="57145" y="28211"/>
                  </a:lnTo>
                  <a:lnTo>
                    <a:pt x="57980" y="27488"/>
                  </a:lnTo>
                  <a:lnTo>
                    <a:pt x="58703" y="26709"/>
                  </a:lnTo>
                  <a:lnTo>
                    <a:pt x="59371" y="25930"/>
                  </a:lnTo>
                  <a:lnTo>
                    <a:pt x="59983" y="25151"/>
                  </a:lnTo>
                  <a:lnTo>
                    <a:pt x="60539" y="24316"/>
                  </a:lnTo>
                  <a:lnTo>
                    <a:pt x="61040" y="23481"/>
                  </a:lnTo>
                  <a:lnTo>
                    <a:pt x="61485" y="22647"/>
                  </a:lnTo>
                  <a:lnTo>
                    <a:pt x="61819" y="21756"/>
                  </a:lnTo>
                  <a:lnTo>
                    <a:pt x="62097" y="20866"/>
                  </a:lnTo>
                  <a:lnTo>
                    <a:pt x="62264" y="19976"/>
                  </a:lnTo>
                  <a:lnTo>
                    <a:pt x="62376" y="19030"/>
                  </a:lnTo>
                  <a:lnTo>
                    <a:pt x="62431" y="18084"/>
                  </a:lnTo>
                  <a:lnTo>
                    <a:pt x="62376" y="17194"/>
                  </a:lnTo>
                  <a:lnTo>
                    <a:pt x="62264" y="16248"/>
                  </a:lnTo>
                  <a:lnTo>
                    <a:pt x="62042" y="15357"/>
                  </a:lnTo>
                  <a:lnTo>
                    <a:pt x="61763" y="14467"/>
                  </a:lnTo>
                  <a:lnTo>
                    <a:pt x="61430" y="13577"/>
                  </a:lnTo>
                  <a:lnTo>
                    <a:pt x="60984" y="12742"/>
                  </a:lnTo>
                  <a:lnTo>
                    <a:pt x="60484" y="11908"/>
                  </a:lnTo>
                  <a:lnTo>
                    <a:pt x="59927" y="11073"/>
                  </a:lnTo>
                  <a:lnTo>
                    <a:pt x="59315" y="10294"/>
                  </a:lnTo>
                  <a:lnTo>
                    <a:pt x="58592" y="9515"/>
                  </a:lnTo>
                  <a:lnTo>
                    <a:pt x="57868" y="8736"/>
                  </a:lnTo>
                  <a:lnTo>
                    <a:pt x="57034" y="8013"/>
                  </a:lnTo>
                  <a:lnTo>
                    <a:pt x="56144" y="7289"/>
                  </a:lnTo>
                  <a:lnTo>
                    <a:pt x="55253" y="6622"/>
                  </a:lnTo>
                  <a:lnTo>
                    <a:pt x="54252" y="5954"/>
                  </a:lnTo>
                  <a:lnTo>
                    <a:pt x="53195" y="5342"/>
                  </a:lnTo>
                  <a:lnTo>
                    <a:pt x="52137" y="4730"/>
                  </a:lnTo>
                  <a:lnTo>
                    <a:pt x="50969" y="4173"/>
                  </a:lnTo>
                  <a:lnTo>
                    <a:pt x="49800" y="3617"/>
                  </a:lnTo>
                  <a:lnTo>
                    <a:pt x="48576" y="3116"/>
                  </a:lnTo>
                  <a:lnTo>
                    <a:pt x="47296" y="2615"/>
                  </a:lnTo>
                  <a:lnTo>
                    <a:pt x="46017" y="2226"/>
                  </a:lnTo>
                  <a:lnTo>
                    <a:pt x="44626" y="1781"/>
                  </a:lnTo>
                  <a:lnTo>
                    <a:pt x="43235" y="1447"/>
                  </a:lnTo>
                  <a:lnTo>
                    <a:pt x="41843" y="1113"/>
                  </a:lnTo>
                  <a:lnTo>
                    <a:pt x="40397" y="835"/>
                  </a:lnTo>
                  <a:lnTo>
                    <a:pt x="38894" y="612"/>
                  </a:lnTo>
                  <a:lnTo>
                    <a:pt x="37392" y="390"/>
                  </a:lnTo>
                  <a:lnTo>
                    <a:pt x="35834" y="223"/>
                  </a:lnTo>
                  <a:lnTo>
                    <a:pt x="34276" y="111"/>
                  </a:lnTo>
                  <a:lnTo>
                    <a:pt x="32718" y="56"/>
                  </a:lnTo>
                  <a:lnTo>
                    <a:pt x="31104" y="0"/>
                  </a:lnTo>
                  <a:close/>
                </a:path>
              </a:pathLst>
            </a:custGeom>
            <a:solidFill>
              <a:srgbClr val="DFEC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" name="Google Shape;17360;p84">
              <a:extLst>
                <a:ext uri="{FF2B5EF4-FFF2-40B4-BE49-F238E27FC236}">
                  <a16:creationId xmlns:a16="http://schemas.microsoft.com/office/drawing/2014/main" id="{AF8443AF-B0AB-4500-D9AA-7B92BEF4659E}"/>
                </a:ext>
              </a:extLst>
            </p:cNvPr>
            <p:cNvSpPr/>
            <p:nvPr/>
          </p:nvSpPr>
          <p:spPr>
            <a:xfrm>
              <a:off x="1101600" y="3534925"/>
              <a:ext cx="1964200" cy="710875"/>
            </a:xfrm>
            <a:custGeom>
              <a:avLst/>
              <a:gdLst/>
              <a:ahLst/>
              <a:cxnLst/>
              <a:rect l="l" t="t" r="r" b="b"/>
              <a:pathLst>
                <a:path w="78568" h="28435" extrusionOk="0">
                  <a:moveTo>
                    <a:pt x="0" y="1"/>
                  </a:moveTo>
                  <a:lnTo>
                    <a:pt x="0" y="5676"/>
                  </a:lnTo>
                  <a:lnTo>
                    <a:pt x="56" y="6845"/>
                  </a:lnTo>
                  <a:lnTo>
                    <a:pt x="167" y="8013"/>
                  </a:lnTo>
                  <a:lnTo>
                    <a:pt x="445" y="9126"/>
                  </a:lnTo>
                  <a:lnTo>
                    <a:pt x="779" y="10239"/>
                  </a:lnTo>
                  <a:lnTo>
                    <a:pt x="1224" y="11352"/>
                  </a:lnTo>
                  <a:lnTo>
                    <a:pt x="1781" y="12465"/>
                  </a:lnTo>
                  <a:lnTo>
                    <a:pt x="2393" y="13522"/>
                  </a:lnTo>
                  <a:lnTo>
                    <a:pt x="3116" y="14524"/>
                  </a:lnTo>
                  <a:lnTo>
                    <a:pt x="3895" y="15525"/>
                  </a:lnTo>
                  <a:lnTo>
                    <a:pt x="4785" y="16527"/>
                  </a:lnTo>
                  <a:lnTo>
                    <a:pt x="5731" y="17473"/>
                  </a:lnTo>
                  <a:lnTo>
                    <a:pt x="6733" y="18419"/>
                  </a:lnTo>
                  <a:lnTo>
                    <a:pt x="7846" y="19309"/>
                  </a:lnTo>
                  <a:lnTo>
                    <a:pt x="9014" y="20144"/>
                  </a:lnTo>
                  <a:lnTo>
                    <a:pt x="10238" y="20978"/>
                  </a:lnTo>
                  <a:lnTo>
                    <a:pt x="11574" y="21757"/>
                  </a:lnTo>
                  <a:lnTo>
                    <a:pt x="12965" y="22536"/>
                  </a:lnTo>
                  <a:lnTo>
                    <a:pt x="14356" y="23260"/>
                  </a:lnTo>
                  <a:lnTo>
                    <a:pt x="15858" y="23927"/>
                  </a:lnTo>
                  <a:lnTo>
                    <a:pt x="17416" y="24539"/>
                  </a:lnTo>
                  <a:lnTo>
                    <a:pt x="18974" y="25151"/>
                  </a:lnTo>
                  <a:lnTo>
                    <a:pt x="20644" y="25708"/>
                  </a:lnTo>
                  <a:lnTo>
                    <a:pt x="22313" y="26209"/>
                  </a:lnTo>
                  <a:lnTo>
                    <a:pt x="24093" y="26654"/>
                  </a:lnTo>
                  <a:lnTo>
                    <a:pt x="25874" y="27043"/>
                  </a:lnTo>
                  <a:lnTo>
                    <a:pt x="27710" y="27433"/>
                  </a:lnTo>
                  <a:lnTo>
                    <a:pt x="29546" y="27711"/>
                  </a:lnTo>
                  <a:lnTo>
                    <a:pt x="31438" y="27989"/>
                  </a:lnTo>
                  <a:lnTo>
                    <a:pt x="33386" y="28156"/>
                  </a:lnTo>
                  <a:lnTo>
                    <a:pt x="35389" y="28323"/>
                  </a:lnTo>
                  <a:lnTo>
                    <a:pt x="37336" y="28379"/>
                  </a:lnTo>
                  <a:lnTo>
                    <a:pt x="39395" y="28434"/>
                  </a:lnTo>
                  <a:lnTo>
                    <a:pt x="41398" y="28379"/>
                  </a:lnTo>
                  <a:lnTo>
                    <a:pt x="43401" y="28323"/>
                  </a:lnTo>
                  <a:lnTo>
                    <a:pt x="45349" y="28156"/>
                  </a:lnTo>
                  <a:lnTo>
                    <a:pt x="47296" y="27989"/>
                  </a:lnTo>
                  <a:lnTo>
                    <a:pt x="49188" y="27711"/>
                  </a:lnTo>
                  <a:lnTo>
                    <a:pt x="51080" y="27433"/>
                  </a:lnTo>
                  <a:lnTo>
                    <a:pt x="52861" y="27043"/>
                  </a:lnTo>
                  <a:lnTo>
                    <a:pt x="54641" y="26654"/>
                  </a:lnTo>
                  <a:lnTo>
                    <a:pt x="56422" y="26209"/>
                  </a:lnTo>
                  <a:lnTo>
                    <a:pt x="58091" y="25708"/>
                  </a:lnTo>
                  <a:lnTo>
                    <a:pt x="59760" y="25151"/>
                  </a:lnTo>
                  <a:lnTo>
                    <a:pt x="61318" y="24539"/>
                  </a:lnTo>
                  <a:lnTo>
                    <a:pt x="62876" y="23927"/>
                  </a:lnTo>
                  <a:lnTo>
                    <a:pt x="64323" y="23260"/>
                  </a:lnTo>
                  <a:lnTo>
                    <a:pt x="65770" y="22536"/>
                  </a:lnTo>
                  <a:lnTo>
                    <a:pt x="67105" y="21757"/>
                  </a:lnTo>
                  <a:lnTo>
                    <a:pt x="68440" y="20978"/>
                  </a:lnTo>
                  <a:lnTo>
                    <a:pt x="69665" y="20144"/>
                  </a:lnTo>
                  <a:lnTo>
                    <a:pt x="70833" y="19309"/>
                  </a:lnTo>
                  <a:lnTo>
                    <a:pt x="71890" y="18419"/>
                  </a:lnTo>
                  <a:lnTo>
                    <a:pt x="72892" y="17473"/>
                  </a:lnTo>
                  <a:lnTo>
                    <a:pt x="73838" y="16527"/>
                  </a:lnTo>
                  <a:lnTo>
                    <a:pt x="74728" y="15525"/>
                  </a:lnTo>
                  <a:lnTo>
                    <a:pt x="75507" y="14524"/>
                  </a:lnTo>
                  <a:lnTo>
                    <a:pt x="76175" y="13522"/>
                  </a:lnTo>
                  <a:lnTo>
                    <a:pt x="76787" y="12465"/>
                  </a:lnTo>
                  <a:lnTo>
                    <a:pt x="77343" y="11352"/>
                  </a:lnTo>
                  <a:lnTo>
                    <a:pt x="77733" y="10239"/>
                  </a:lnTo>
                  <a:lnTo>
                    <a:pt x="78122" y="9126"/>
                  </a:lnTo>
                  <a:lnTo>
                    <a:pt x="78345" y="8013"/>
                  </a:lnTo>
                  <a:lnTo>
                    <a:pt x="78512" y="6845"/>
                  </a:lnTo>
                  <a:lnTo>
                    <a:pt x="78512" y="5676"/>
                  </a:lnTo>
                  <a:lnTo>
                    <a:pt x="78567" y="1"/>
                  </a:lnTo>
                  <a:lnTo>
                    <a:pt x="78512" y="1169"/>
                  </a:lnTo>
                  <a:lnTo>
                    <a:pt x="78345" y="2338"/>
                  </a:lnTo>
                  <a:lnTo>
                    <a:pt x="78122" y="3506"/>
                  </a:lnTo>
                  <a:lnTo>
                    <a:pt x="77788" y="4619"/>
                  </a:lnTo>
                  <a:lnTo>
                    <a:pt x="77343" y="5732"/>
                  </a:lnTo>
                  <a:lnTo>
                    <a:pt x="76842" y="6789"/>
                  </a:lnTo>
                  <a:lnTo>
                    <a:pt x="76230" y="7847"/>
                  </a:lnTo>
                  <a:lnTo>
                    <a:pt x="75507" y="8904"/>
                  </a:lnTo>
                  <a:lnTo>
                    <a:pt x="74728" y="9905"/>
                  </a:lnTo>
                  <a:lnTo>
                    <a:pt x="73893" y="10851"/>
                  </a:lnTo>
                  <a:lnTo>
                    <a:pt x="72947" y="11797"/>
                  </a:lnTo>
                  <a:lnTo>
                    <a:pt x="71890" y="12743"/>
                  </a:lnTo>
                  <a:lnTo>
                    <a:pt x="70833" y="13633"/>
                  </a:lnTo>
                  <a:lnTo>
                    <a:pt x="69665" y="14524"/>
                  </a:lnTo>
                  <a:lnTo>
                    <a:pt x="68440" y="15303"/>
                  </a:lnTo>
                  <a:lnTo>
                    <a:pt x="67161" y="16137"/>
                  </a:lnTo>
                  <a:lnTo>
                    <a:pt x="65770" y="16861"/>
                  </a:lnTo>
                  <a:lnTo>
                    <a:pt x="64378" y="17584"/>
                  </a:lnTo>
                  <a:lnTo>
                    <a:pt x="62876" y="18252"/>
                  </a:lnTo>
                  <a:lnTo>
                    <a:pt x="61318" y="18864"/>
                  </a:lnTo>
                  <a:lnTo>
                    <a:pt x="59760" y="19476"/>
                  </a:lnTo>
                  <a:lnTo>
                    <a:pt x="58091" y="20032"/>
                  </a:lnTo>
                  <a:lnTo>
                    <a:pt x="56422" y="20533"/>
                  </a:lnTo>
                  <a:lnTo>
                    <a:pt x="54697" y="20978"/>
                  </a:lnTo>
                  <a:lnTo>
                    <a:pt x="52916" y="21368"/>
                  </a:lnTo>
                  <a:lnTo>
                    <a:pt x="51080" y="21757"/>
                  </a:lnTo>
                  <a:lnTo>
                    <a:pt x="49188" y="22035"/>
                  </a:lnTo>
                  <a:lnTo>
                    <a:pt x="47296" y="22314"/>
                  </a:lnTo>
                  <a:lnTo>
                    <a:pt x="45404" y="22536"/>
                  </a:lnTo>
                  <a:lnTo>
                    <a:pt x="43401" y="22647"/>
                  </a:lnTo>
                  <a:lnTo>
                    <a:pt x="41398" y="22759"/>
                  </a:lnTo>
                  <a:lnTo>
                    <a:pt x="37392" y="22759"/>
                  </a:lnTo>
                  <a:lnTo>
                    <a:pt x="35389" y="22647"/>
                  </a:lnTo>
                  <a:lnTo>
                    <a:pt x="33441" y="22536"/>
                  </a:lnTo>
                  <a:lnTo>
                    <a:pt x="31494" y="22314"/>
                  </a:lnTo>
                  <a:lnTo>
                    <a:pt x="29602" y="22035"/>
                  </a:lnTo>
                  <a:lnTo>
                    <a:pt x="27710" y="21757"/>
                  </a:lnTo>
                  <a:lnTo>
                    <a:pt x="25874" y="21368"/>
                  </a:lnTo>
                  <a:lnTo>
                    <a:pt x="24093" y="20978"/>
                  </a:lnTo>
                  <a:lnTo>
                    <a:pt x="22368" y="20533"/>
                  </a:lnTo>
                  <a:lnTo>
                    <a:pt x="20644" y="20032"/>
                  </a:lnTo>
                  <a:lnTo>
                    <a:pt x="19030" y="19476"/>
                  </a:lnTo>
                  <a:lnTo>
                    <a:pt x="17416" y="18864"/>
                  </a:lnTo>
                  <a:lnTo>
                    <a:pt x="15858" y="18252"/>
                  </a:lnTo>
                  <a:lnTo>
                    <a:pt x="14356" y="17584"/>
                  </a:lnTo>
                  <a:lnTo>
                    <a:pt x="12965" y="16861"/>
                  </a:lnTo>
                  <a:lnTo>
                    <a:pt x="11574" y="16137"/>
                  </a:lnTo>
                  <a:lnTo>
                    <a:pt x="10294" y="15303"/>
                  </a:lnTo>
                  <a:lnTo>
                    <a:pt x="9070" y="14524"/>
                  </a:lnTo>
                  <a:lnTo>
                    <a:pt x="7846" y="13633"/>
                  </a:lnTo>
                  <a:lnTo>
                    <a:pt x="6789" y="12743"/>
                  </a:lnTo>
                  <a:lnTo>
                    <a:pt x="5731" y="11797"/>
                  </a:lnTo>
                  <a:lnTo>
                    <a:pt x="4785" y="10851"/>
                  </a:lnTo>
                  <a:lnTo>
                    <a:pt x="3895" y="9905"/>
                  </a:lnTo>
                  <a:lnTo>
                    <a:pt x="3116" y="8904"/>
                  </a:lnTo>
                  <a:lnTo>
                    <a:pt x="2393" y="7847"/>
                  </a:lnTo>
                  <a:lnTo>
                    <a:pt x="1781" y="6789"/>
                  </a:lnTo>
                  <a:lnTo>
                    <a:pt x="1280" y="5732"/>
                  </a:lnTo>
                  <a:lnTo>
                    <a:pt x="835" y="4619"/>
                  </a:lnTo>
                  <a:lnTo>
                    <a:pt x="445" y="3506"/>
                  </a:lnTo>
                  <a:lnTo>
                    <a:pt x="223" y="2338"/>
                  </a:lnTo>
                  <a:lnTo>
                    <a:pt x="56" y="116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BF9D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" name="Google Shape;17361;p84">
              <a:extLst>
                <a:ext uri="{FF2B5EF4-FFF2-40B4-BE49-F238E27FC236}">
                  <a16:creationId xmlns:a16="http://schemas.microsoft.com/office/drawing/2014/main" id="{C22F26C2-567F-BEC7-5635-2EEDD936830B}"/>
                </a:ext>
              </a:extLst>
            </p:cNvPr>
            <p:cNvSpPr/>
            <p:nvPr/>
          </p:nvSpPr>
          <p:spPr>
            <a:xfrm>
              <a:off x="1101600" y="2967375"/>
              <a:ext cx="1964200" cy="1136525"/>
            </a:xfrm>
            <a:custGeom>
              <a:avLst/>
              <a:gdLst/>
              <a:ahLst/>
              <a:cxnLst/>
              <a:rect l="l" t="t" r="r" b="b"/>
              <a:pathLst>
                <a:path w="78568" h="45461" extrusionOk="0">
                  <a:moveTo>
                    <a:pt x="39172" y="4619"/>
                  </a:moveTo>
                  <a:lnTo>
                    <a:pt x="40786" y="4675"/>
                  </a:lnTo>
                  <a:lnTo>
                    <a:pt x="42344" y="4730"/>
                  </a:lnTo>
                  <a:lnTo>
                    <a:pt x="43902" y="4842"/>
                  </a:lnTo>
                  <a:lnTo>
                    <a:pt x="45460" y="5009"/>
                  </a:lnTo>
                  <a:lnTo>
                    <a:pt x="46962" y="5231"/>
                  </a:lnTo>
                  <a:lnTo>
                    <a:pt x="48465" y="5454"/>
                  </a:lnTo>
                  <a:lnTo>
                    <a:pt x="49911" y="5732"/>
                  </a:lnTo>
                  <a:lnTo>
                    <a:pt x="51303" y="6066"/>
                  </a:lnTo>
                  <a:lnTo>
                    <a:pt x="52694" y="6400"/>
                  </a:lnTo>
                  <a:lnTo>
                    <a:pt x="54085" y="6845"/>
                  </a:lnTo>
                  <a:lnTo>
                    <a:pt x="55364" y="7234"/>
                  </a:lnTo>
                  <a:lnTo>
                    <a:pt x="56644" y="7735"/>
                  </a:lnTo>
                  <a:lnTo>
                    <a:pt x="57868" y="8236"/>
                  </a:lnTo>
                  <a:lnTo>
                    <a:pt x="59037" y="8792"/>
                  </a:lnTo>
                  <a:lnTo>
                    <a:pt x="60205" y="9349"/>
                  </a:lnTo>
                  <a:lnTo>
                    <a:pt x="61263" y="9961"/>
                  </a:lnTo>
                  <a:lnTo>
                    <a:pt x="62320" y="10573"/>
                  </a:lnTo>
                  <a:lnTo>
                    <a:pt x="63321" y="11241"/>
                  </a:lnTo>
                  <a:lnTo>
                    <a:pt x="64212" y="11908"/>
                  </a:lnTo>
                  <a:lnTo>
                    <a:pt x="65102" y="12632"/>
                  </a:lnTo>
                  <a:lnTo>
                    <a:pt x="65936" y="13355"/>
                  </a:lnTo>
                  <a:lnTo>
                    <a:pt x="66660" y="14134"/>
                  </a:lnTo>
                  <a:lnTo>
                    <a:pt x="67383" y="14913"/>
                  </a:lnTo>
                  <a:lnTo>
                    <a:pt x="67995" y="15692"/>
                  </a:lnTo>
                  <a:lnTo>
                    <a:pt x="68552" y="16527"/>
                  </a:lnTo>
                  <a:lnTo>
                    <a:pt x="69052" y="17361"/>
                  </a:lnTo>
                  <a:lnTo>
                    <a:pt x="69498" y="18196"/>
                  </a:lnTo>
                  <a:lnTo>
                    <a:pt x="69831" y="19086"/>
                  </a:lnTo>
                  <a:lnTo>
                    <a:pt x="70110" y="19976"/>
                  </a:lnTo>
                  <a:lnTo>
                    <a:pt x="70332" y="20867"/>
                  </a:lnTo>
                  <a:lnTo>
                    <a:pt x="70444" y="21813"/>
                  </a:lnTo>
                  <a:lnTo>
                    <a:pt x="70499" y="22703"/>
                  </a:lnTo>
                  <a:lnTo>
                    <a:pt x="70444" y="23649"/>
                  </a:lnTo>
                  <a:lnTo>
                    <a:pt x="70332" y="24595"/>
                  </a:lnTo>
                  <a:lnTo>
                    <a:pt x="70165" y="25485"/>
                  </a:lnTo>
                  <a:lnTo>
                    <a:pt x="69887" y="26375"/>
                  </a:lnTo>
                  <a:lnTo>
                    <a:pt x="69553" y="27266"/>
                  </a:lnTo>
                  <a:lnTo>
                    <a:pt x="69108" y="28100"/>
                  </a:lnTo>
                  <a:lnTo>
                    <a:pt x="68607" y="28935"/>
                  </a:lnTo>
                  <a:lnTo>
                    <a:pt x="68051" y="29770"/>
                  </a:lnTo>
                  <a:lnTo>
                    <a:pt x="67439" y="30549"/>
                  </a:lnTo>
                  <a:lnTo>
                    <a:pt x="66771" y="31328"/>
                  </a:lnTo>
                  <a:lnTo>
                    <a:pt x="66048" y="32107"/>
                  </a:lnTo>
                  <a:lnTo>
                    <a:pt x="65213" y="32830"/>
                  </a:lnTo>
                  <a:lnTo>
                    <a:pt x="64323" y="33553"/>
                  </a:lnTo>
                  <a:lnTo>
                    <a:pt x="63433" y="34221"/>
                  </a:lnTo>
                  <a:lnTo>
                    <a:pt x="62431" y="34889"/>
                  </a:lnTo>
                  <a:lnTo>
                    <a:pt x="61429" y="35501"/>
                  </a:lnTo>
                  <a:lnTo>
                    <a:pt x="60317" y="36113"/>
                  </a:lnTo>
                  <a:lnTo>
                    <a:pt x="59204" y="36669"/>
                  </a:lnTo>
                  <a:lnTo>
                    <a:pt x="58035" y="37226"/>
                  </a:lnTo>
                  <a:lnTo>
                    <a:pt x="56811" y="37726"/>
                  </a:lnTo>
                  <a:lnTo>
                    <a:pt x="55531" y="38172"/>
                  </a:lnTo>
                  <a:lnTo>
                    <a:pt x="54252" y="38617"/>
                  </a:lnTo>
                  <a:lnTo>
                    <a:pt x="52916" y="39006"/>
                  </a:lnTo>
                  <a:lnTo>
                    <a:pt x="51525" y="39396"/>
                  </a:lnTo>
                  <a:lnTo>
                    <a:pt x="50078" y="39730"/>
                  </a:lnTo>
                  <a:lnTo>
                    <a:pt x="48632" y="40008"/>
                  </a:lnTo>
                  <a:lnTo>
                    <a:pt x="47185" y="40230"/>
                  </a:lnTo>
                  <a:lnTo>
                    <a:pt x="45683" y="40453"/>
                  </a:lnTo>
                  <a:lnTo>
                    <a:pt x="44125" y="40620"/>
                  </a:lnTo>
                  <a:lnTo>
                    <a:pt x="42567" y="40731"/>
                  </a:lnTo>
                  <a:lnTo>
                    <a:pt x="40953" y="40787"/>
                  </a:lnTo>
                  <a:lnTo>
                    <a:pt x="37781" y="40787"/>
                  </a:lnTo>
                  <a:lnTo>
                    <a:pt x="36168" y="40731"/>
                  </a:lnTo>
                  <a:lnTo>
                    <a:pt x="34610" y="40620"/>
                  </a:lnTo>
                  <a:lnTo>
                    <a:pt x="33107" y="40453"/>
                  </a:lnTo>
                  <a:lnTo>
                    <a:pt x="31549" y="40230"/>
                  </a:lnTo>
                  <a:lnTo>
                    <a:pt x="30103" y="40008"/>
                  </a:lnTo>
                  <a:lnTo>
                    <a:pt x="28656" y="39730"/>
                  </a:lnTo>
                  <a:lnTo>
                    <a:pt x="27209" y="39396"/>
                  </a:lnTo>
                  <a:lnTo>
                    <a:pt x="25818" y="39006"/>
                  </a:lnTo>
                  <a:lnTo>
                    <a:pt x="24483" y="38617"/>
                  </a:lnTo>
                  <a:lnTo>
                    <a:pt x="23147" y="38172"/>
                  </a:lnTo>
                  <a:lnTo>
                    <a:pt x="21923" y="37726"/>
                  </a:lnTo>
                  <a:lnTo>
                    <a:pt x="20699" y="37226"/>
                  </a:lnTo>
                  <a:lnTo>
                    <a:pt x="19475" y="36669"/>
                  </a:lnTo>
                  <a:lnTo>
                    <a:pt x="18362" y="36113"/>
                  </a:lnTo>
                  <a:lnTo>
                    <a:pt x="17249" y="35501"/>
                  </a:lnTo>
                  <a:lnTo>
                    <a:pt x="16248" y="34889"/>
                  </a:lnTo>
                  <a:lnTo>
                    <a:pt x="15246" y="34221"/>
                  </a:lnTo>
                  <a:lnTo>
                    <a:pt x="14300" y="33553"/>
                  </a:lnTo>
                  <a:lnTo>
                    <a:pt x="13466" y="32830"/>
                  </a:lnTo>
                  <a:lnTo>
                    <a:pt x="12631" y="32107"/>
                  </a:lnTo>
                  <a:lnTo>
                    <a:pt x="11852" y="31328"/>
                  </a:lnTo>
                  <a:lnTo>
                    <a:pt x="11184" y="30549"/>
                  </a:lnTo>
                  <a:lnTo>
                    <a:pt x="10517" y="29770"/>
                  </a:lnTo>
                  <a:lnTo>
                    <a:pt x="9960" y="28935"/>
                  </a:lnTo>
                  <a:lnTo>
                    <a:pt x="9459" y="28100"/>
                  </a:lnTo>
                  <a:lnTo>
                    <a:pt x="9070" y="27266"/>
                  </a:lnTo>
                  <a:lnTo>
                    <a:pt x="8680" y="26375"/>
                  </a:lnTo>
                  <a:lnTo>
                    <a:pt x="8402" y="25485"/>
                  </a:lnTo>
                  <a:lnTo>
                    <a:pt x="8235" y="24595"/>
                  </a:lnTo>
                  <a:lnTo>
                    <a:pt x="8068" y="23649"/>
                  </a:lnTo>
                  <a:lnTo>
                    <a:pt x="8068" y="22703"/>
                  </a:lnTo>
                  <a:lnTo>
                    <a:pt x="8068" y="21813"/>
                  </a:lnTo>
                  <a:lnTo>
                    <a:pt x="8180" y="20867"/>
                  </a:lnTo>
                  <a:lnTo>
                    <a:pt x="8402" y="19976"/>
                  </a:lnTo>
                  <a:lnTo>
                    <a:pt x="8680" y="19086"/>
                  </a:lnTo>
                  <a:lnTo>
                    <a:pt x="9014" y="18196"/>
                  </a:lnTo>
                  <a:lnTo>
                    <a:pt x="9404" y="17361"/>
                  </a:lnTo>
                  <a:lnTo>
                    <a:pt x="9905" y="16527"/>
                  </a:lnTo>
                  <a:lnTo>
                    <a:pt x="10461" y="15692"/>
                  </a:lnTo>
                  <a:lnTo>
                    <a:pt x="11073" y="14913"/>
                  </a:lnTo>
                  <a:lnTo>
                    <a:pt x="11796" y="14134"/>
                  </a:lnTo>
                  <a:lnTo>
                    <a:pt x="12520" y="13355"/>
                  </a:lnTo>
                  <a:lnTo>
                    <a:pt x="13299" y="12632"/>
                  </a:lnTo>
                  <a:lnTo>
                    <a:pt x="14189" y="11908"/>
                  </a:lnTo>
                  <a:lnTo>
                    <a:pt x="15135" y="11241"/>
                  </a:lnTo>
                  <a:lnTo>
                    <a:pt x="16081" y="10573"/>
                  </a:lnTo>
                  <a:lnTo>
                    <a:pt x="17138" y="9961"/>
                  </a:lnTo>
                  <a:lnTo>
                    <a:pt x="18195" y="9349"/>
                  </a:lnTo>
                  <a:lnTo>
                    <a:pt x="19308" y="8792"/>
                  </a:lnTo>
                  <a:lnTo>
                    <a:pt x="20532" y="8236"/>
                  </a:lnTo>
                  <a:lnTo>
                    <a:pt x="21756" y="7735"/>
                  </a:lnTo>
                  <a:lnTo>
                    <a:pt x="22981" y="7234"/>
                  </a:lnTo>
                  <a:lnTo>
                    <a:pt x="24316" y="6845"/>
                  </a:lnTo>
                  <a:lnTo>
                    <a:pt x="25651" y="6400"/>
                  </a:lnTo>
                  <a:lnTo>
                    <a:pt x="27042" y="6066"/>
                  </a:lnTo>
                  <a:lnTo>
                    <a:pt x="28433" y="5732"/>
                  </a:lnTo>
                  <a:lnTo>
                    <a:pt x="29880" y="5454"/>
                  </a:lnTo>
                  <a:lnTo>
                    <a:pt x="31383" y="5231"/>
                  </a:lnTo>
                  <a:lnTo>
                    <a:pt x="32885" y="5009"/>
                  </a:lnTo>
                  <a:lnTo>
                    <a:pt x="34443" y="4842"/>
                  </a:lnTo>
                  <a:lnTo>
                    <a:pt x="36001" y="4730"/>
                  </a:lnTo>
                  <a:lnTo>
                    <a:pt x="37559" y="4675"/>
                  </a:lnTo>
                  <a:lnTo>
                    <a:pt x="39172" y="4619"/>
                  </a:lnTo>
                  <a:close/>
                  <a:moveTo>
                    <a:pt x="37114" y="1"/>
                  </a:moveTo>
                  <a:lnTo>
                    <a:pt x="35111" y="112"/>
                  </a:lnTo>
                  <a:lnTo>
                    <a:pt x="33163" y="223"/>
                  </a:lnTo>
                  <a:lnTo>
                    <a:pt x="31216" y="446"/>
                  </a:lnTo>
                  <a:lnTo>
                    <a:pt x="29324" y="668"/>
                  </a:lnTo>
                  <a:lnTo>
                    <a:pt x="27488" y="1002"/>
                  </a:lnTo>
                  <a:lnTo>
                    <a:pt x="25651" y="1336"/>
                  </a:lnTo>
                  <a:lnTo>
                    <a:pt x="23871" y="1781"/>
                  </a:lnTo>
                  <a:lnTo>
                    <a:pt x="22146" y="2226"/>
                  </a:lnTo>
                  <a:lnTo>
                    <a:pt x="20421" y="2727"/>
                  </a:lnTo>
                  <a:lnTo>
                    <a:pt x="18807" y="3284"/>
                  </a:lnTo>
                  <a:lnTo>
                    <a:pt x="17194" y="3840"/>
                  </a:lnTo>
                  <a:lnTo>
                    <a:pt x="15691" y="4508"/>
                  </a:lnTo>
                  <a:lnTo>
                    <a:pt x="14189" y="5176"/>
                  </a:lnTo>
                  <a:lnTo>
                    <a:pt x="12742" y="5899"/>
                  </a:lnTo>
                  <a:lnTo>
                    <a:pt x="11407" y="6622"/>
                  </a:lnTo>
                  <a:lnTo>
                    <a:pt x="10127" y="7401"/>
                  </a:lnTo>
                  <a:lnTo>
                    <a:pt x="8903" y="8236"/>
                  </a:lnTo>
                  <a:lnTo>
                    <a:pt x="7735" y="9126"/>
                  </a:lnTo>
                  <a:lnTo>
                    <a:pt x="6622" y="10016"/>
                  </a:lnTo>
                  <a:lnTo>
                    <a:pt x="5620" y="10907"/>
                  </a:lnTo>
                  <a:lnTo>
                    <a:pt x="4674" y="11853"/>
                  </a:lnTo>
                  <a:lnTo>
                    <a:pt x="3784" y="12854"/>
                  </a:lnTo>
                  <a:lnTo>
                    <a:pt x="3005" y="13856"/>
                  </a:lnTo>
                  <a:lnTo>
                    <a:pt x="2337" y="14913"/>
                  </a:lnTo>
                  <a:lnTo>
                    <a:pt x="1725" y="15970"/>
                  </a:lnTo>
                  <a:lnTo>
                    <a:pt x="1224" y="17027"/>
                  </a:lnTo>
                  <a:lnTo>
                    <a:pt x="779" y="18140"/>
                  </a:lnTo>
                  <a:lnTo>
                    <a:pt x="445" y="19253"/>
                  </a:lnTo>
                  <a:lnTo>
                    <a:pt x="167" y="20422"/>
                  </a:lnTo>
                  <a:lnTo>
                    <a:pt x="56" y="21534"/>
                  </a:lnTo>
                  <a:lnTo>
                    <a:pt x="0" y="22703"/>
                  </a:lnTo>
                  <a:lnTo>
                    <a:pt x="56" y="23871"/>
                  </a:lnTo>
                  <a:lnTo>
                    <a:pt x="223" y="25040"/>
                  </a:lnTo>
                  <a:lnTo>
                    <a:pt x="445" y="26208"/>
                  </a:lnTo>
                  <a:lnTo>
                    <a:pt x="835" y="27321"/>
                  </a:lnTo>
                  <a:lnTo>
                    <a:pt x="1280" y="28434"/>
                  </a:lnTo>
                  <a:lnTo>
                    <a:pt x="1781" y="29491"/>
                  </a:lnTo>
                  <a:lnTo>
                    <a:pt x="2393" y="30549"/>
                  </a:lnTo>
                  <a:lnTo>
                    <a:pt x="3116" y="31606"/>
                  </a:lnTo>
                  <a:lnTo>
                    <a:pt x="3895" y="32607"/>
                  </a:lnTo>
                  <a:lnTo>
                    <a:pt x="4785" y="33553"/>
                  </a:lnTo>
                  <a:lnTo>
                    <a:pt x="5731" y="34499"/>
                  </a:lnTo>
                  <a:lnTo>
                    <a:pt x="6789" y="35445"/>
                  </a:lnTo>
                  <a:lnTo>
                    <a:pt x="7846" y="36335"/>
                  </a:lnTo>
                  <a:lnTo>
                    <a:pt x="9070" y="37226"/>
                  </a:lnTo>
                  <a:lnTo>
                    <a:pt x="10294" y="38005"/>
                  </a:lnTo>
                  <a:lnTo>
                    <a:pt x="11574" y="38839"/>
                  </a:lnTo>
                  <a:lnTo>
                    <a:pt x="12965" y="39563"/>
                  </a:lnTo>
                  <a:lnTo>
                    <a:pt x="14356" y="40286"/>
                  </a:lnTo>
                  <a:lnTo>
                    <a:pt x="15858" y="40954"/>
                  </a:lnTo>
                  <a:lnTo>
                    <a:pt x="17416" y="41566"/>
                  </a:lnTo>
                  <a:lnTo>
                    <a:pt x="19030" y="42178"/>
                  </a:lnTo>
                  <a:lnTo>
                    <a:pt x="20644" y="42734"/>
                  </a:lnTo>
                  <a:lnTo>
                    <a:pt x="22368" y="43235"/>
                  </a:lnTo>
                  <a:lnTo>
                    <a:pt x="24093" y="43680"/>
                  </a:lnTo>
                  <a:lnTo>
                    <a:pt x="25874" y="44070"/>
                  </a:lnTo>
                  <a:lnTo>
                    <a:pt x="27710" y="44459"/>
                  </a:lnTo>
                  <a:lnTo>
                    <a:pt x="29602" y="44737"/>
                  </a:lnTo>
                  <a:lnTo>
                    <a:pt x="31494" y="45016"/>
                  </a:lnTo>
                  <a:lnTo>
                    <a:pt x="33441" y="45238"/>
                  </a:lnTo>
                  <a:lnTo>
                    <a:pt x="35389" y="45349"/>
                  </a:lnTo>
                  <a:lnTo>
                    <a:pt x="37392" y="45461"/>
                  </a:lnTo>
                  <a:lnTo>
                    <a:pt x="41398" y="45461"/>
                  </a:lnTo>
                  <a:lnTo>
                    <a:pt x="43401" y="45349"/>
                  </a:lnTo>
                  <a:lnTo>
                    <a:pt x="45404" y="45238"/>
                  </a:lnTo>
                  <a:lnTo>
                    <a:pt x="47296" y="45016"/>
                  </a:lnTo>
                  <a:lnTo>
                    <a:pt x="49188" y="44737"/>
                  </a:lnTo>
                  <a:lnTo>
                    <a:pt x="51080" y="44459"/>
                  </a:lnTo>
                  <a:lnTo>
                    <a:pt x="52916" y="44070"/>
                  </a:lnTo>
                  <a:lnTo>
                    <a:pt x="54697" y="43680"/>
                  </a:lnTo>
                  <a:lnTo>
                    <a:pt x="56422" y="43235"/>
                  </a:lnTo>
                  <a:lnTo>
                    <a:pt x="58091" y="42734"/>
                  </a:lnTo>
                  <a:lnTo>
                    <a:pt x="59760" y="42178"/>
                  </a:lnTo>
                  <a:lnTo>
                    <a:pt x="61318" y="41566"/>
                  </a:lnTo>
                  <a:lnTo>
                    <a:pt x="62876" y="40954"/>
                  </a:lnTo>
                  <a:lnTo>
                    <a:pt x="64378" y="40286"/>
                  </a:lnTo>
                  <a:lnTo>
                    <a:pt x="65770" y="39563"/>
                  </a:lnTo>
                  <a:lnTo>
                    <a:pt x="67161" y="38839"/>
                  </a:lnTo>
                  <a:lnTo>
                    <a:pt x="68440" y="38005"/>
                  </a:lnTo>
                  <a:lnTo>
                    <a:pt x="69665" y="37226"/>
                  </a:lnTo>
                  <a:lnTo>
                    <a:pt x="70833" y="36335"/>
                  </a:lnTo>
                  <a:lnTo>
                    <a:pt x="71890" y="35445"/>
                  </a:lnTo>
                  <a:lnTo>
                    <a:pt x="72947" y="34499"/>
                  </a:lnTo>
                  <a:lnTo>
                    <a:pt x="73893" y="33553"/>
                  </a:lnTo>
                  <a:lnTo>
                    <a:pt x="74728" y="32607"/>
                  </a:lnTo>
                  <a:lnTo>
                    <a:pt x="75507" y="31606"/>
                  </a:lnTo>
                  <a:lnTo>
                    <a:pt x="76230" y="30549"/>
                  </a:lnTo>
                  <a:lnTo>
                    <a:pt x="76842" y="29491"/>
                  </a:lnTo>
                  <a:lnTo>
                    <a:pt x="77343" y="28434"/>
                  </a:lnTo>
                  <a:lnTo>
                    <a:pt x="77788" y="27321"/>
                  </a:lnTo>
                  <a:lnTo>
                    <a:pt x="78122" y="26208"/>
                  </a:lnTo>
                  <a:lnTo>
                    <a:pt x="78345" y="25040"/>
                  </a:lnTo>
                  <a:lnTo>
                    <a:pt x="78512" y="23871"/>
                  </a:lnTo>
                  <a:lnTo>
                    <a:pt x="78567" y="22703"/>
                  </a:lnTo>
                  <a:lnTo>
                    <a:pt x="78512" y="21534"/>
                  </a:lnTo>
                  <a:lnTo>
                    <a:pt x="78345" y="20422"/>
                  </a:lnTo>
                  <a:lnTo>
                    <a:pt x="78067" y="19253"/>
                  </a:lnTo>
                  <a:lnTo>
                    <a:pt x="77733" y="18140"/>
                  </a:lnTo>
                  <a:lnTo>
                    <a:pt x="77288" y="17027"/>
                  </a:lnTo>
                  <a:lnTo>
                    <a:pt x="76731" y="15970"/>
                  </a:lnTo>
                  <a:lnTo>
                    <a:pt x="76119" y="14913"/>
                  </a:lnTo>
                  <a:lnTo>
                    <a:pt x="75396" y="13856"/>
                  </a:lnTo>
                  <a:lnTo>
                    <a:pt x="74617" y="12854"/>
                  </a:lnTo>
                  <a:lnTo>
                    <a:pt x="73726" y="11853"/>
                  </a:lnTo>
                  <a:lnTo>
                    <a:pt x="72780" y="10907"/>
                  </a:lnTo>
                  <a:lnTo>
                    <a:pt x="71779" y="10016"/>
                  </a:lnTo>
                  <a:lnTo>
                    <a:pt x="70666" y="9126"/>
                  </a:lnTo>
                  <a:lnTo>
                    <a:pt x="69498" y="8236"/>
                  </a:lnTo>
                  <a:lnTo>
                    <a:pt x="68273" y="7401"/>
                  </a:lnTo>
                  <a:lnTo>
                    <a:pt x="66938" y="6622"/>
                  </a:lnTo>
                  <a:lnTo>
                    <a:pt x="65603" y="5899"/>
                  </a:lnTo>
                  <a:lnTo>
                    <a:pt x="64156" y="5176"/>
                  </a:lnTo>
                  <a:lnTo>
                    <a:pt x="62654" y="4508"/>
                  </a:lnTo>
                  <a:lnTo>
                    <a:pt x="61151" y="3840"/>
                  </a:lnTo>
                  <a:lnTo>
                    <a:pt x="59538" y="3284"/>
                  </a:lnTo>
                  <a:lnTo>
                    <a:pt x="57868" y="2727"/>
                  </a:lnTo>
                  <a:lnTo>
                    <a:pt x="56199" y="2226"/>
                  </a:lnTo>
                  <a:lnTo>
                    <a:pt x="54419" y="1781"/>
                  </a:lnTo>
                  <a:lnTo>
                    <a:pt x="52638" y="1336"/>
                  </a:lnTo>
                  <a:lnTo>
                    <a:pt x="50857" y="1002"/>
                  </a:lnTo>
                  <a:lnTo>
                    <a:pt x="48966" y="668"/>
                  </a:lnTo>
                  <a:lnTo>
                    <a:pt x="47074" y="446"/>
                  </a:lnTo>
                  <a:lnTo>
                    <a:pt x="45126" y="223"/>
                  </a:lnTo>
                  <a:lnTo>
                    <a:pt x="43179" y="112"/>
                  </a:lnTo>
                  <a:lnTo>
                    <a:pt x="41176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7362;p84">
              <a:extLst>
                <a:ext uri="{FF2B5EF4-FFF2-40B4-BE49-F238E27FC236}">
                  <a16:creationId xmlns:a16="http://schemas.microsoft.com/office/drawing/2014/main" id="{283CF1A5-B69C-6F91-6B3C-1B644C705F66}"/>
                </a:ext>
              </a:extLst>
            </p:cNvPr>
            <p:cNvSpPr/>
            <p:nvPr/>
          </p:nvSpPr>
          <p:spPr>
            <a:xfrm>
              <a:off x="1349200" y="2886700"/>
              <a:ext cx="1560800" cy="904225"/>
            </a:xfrm>
            <a:custGeom>
              <a:avLst/>
              <a:gdLst/>
              <a:ahLst/>
              <a:cxnLst/>
              <a:rect l="l" t="t" r="r" b="b"/>
              <a:pathLst>
                <a:path w="62432" h="36169" extrusionOk="0">
                  <a:moveTo>
                    <a:pt x="31105" y="0"/>
                  </a:moveTo>
                  <a:lnTo>
                    <a:pt x="29491" y="56"/>
                  </a:lnTo>
                  <a:lnTo>
                    <a:pt x="27933" y="112"/>
                  </a:lnTo>
                  <a:lnTo>
                    <a:pt x="26375" y="223"/>
                  </a:lnTo>
                  <a:lnTo>
                    <a:pt x="24817" y="390"/>
                  </a:lnTo>
                  <a:lnTo>
                    <a:pt x="23315" y="557"/>
                  </a:lnTo>
                  <a:lnTo>
                    <a:pt x="21868" y="835"/>
                  </a:lnTo>
                  <a:lnTo>
                    <a:pt x="20421" y="1113"/>
                  </a:lnTo>
                  <a:lnTo>
                    <a:pt x="18975" y="1447"/>
                  </a:lnTo>
                  <a:lnTo>
                    <a:pt x="17584" y="1781"/>
                  </a:lnTo>
                  <a:lnTo>
                    <a:pt x="16248" y="2171"/>
                  </a:lnTo>
                  <a:lnTo>
                    <a:pt x="14968" y="2616"/>
                  </a:lnTo>
                  <a:lnTo>
                    <a:pt x="13689" y="3116"/>
                  </a:lnTo>
                  <a:lnTo>
                    <a:pt x="12464" y="3617"/>
                  </a:lnTo>
                  <a:lnTo>
                    <a:pt x="11296" y="4118"/>
                  </a:lnTo>
                  <a:lnTo>
                    <a:pt x="10183" y="4730"/>
                  </a:lnTo>
                  <a:lnTo>
                    <a:pt x="9070" y="5287"/>
                  </a:lnTo>
                  <a:lnTo>
                    <a:pt x="8069" y="5954"/>
                  </a:lnTo>
                  <a:lnTo>
                    <a:pt x="7067" y="6566"/>
                  </a:lnTo>
                  <a:lnTo>
                    <a:pt x="6121" y="7290"/>
                  </a:lnTo>
                  <a:lnTo>
                    <a:pt x="5287" y="8013"/>
                  </a:lnTo>
                  <a:lnTo>
                    <a:pt x="4452" y="8736"/>
                  </a:lnTo>
                  <a:lnTo>
                    <a:pt x="3729" y="9460"/>
                  </a:lnTo>
                  <a:lnTo>
                    <a:pt x="3061" y="10239"/>
                  </a:lnTo>
                  <a:lnTo>
                    <a:pt x="2393" y="11073"/>
                  </a:lnTo>
                  <a:lnTo>
                    <a:pt x="1837" y="11852"/>
                  </a:lnTo>
                  <a:lnTo>
                    <a:pt x="1392" y="12743"/>
                  </a:lnTo>
                  <a:lnTo>
                    <a:pt x="946" y="13577"/>
                  </a:lnTo>
                  <a:lnTo>
                    <a:pt x="613" y="14468"/>
                  </a:lnTo>
                  <a:lnTo>
                    <a:pt x="334" y="15358"/>
                  </a:lnTo>
                  <a:lnTo>
                    <a:pt x="167" y="16248"/>
                  </a:lnTo>
                  <a:lnTo>
                    <a:pt x="56" y="17138"/>
                  </a:lnTo>
                  <a:lnTo>
                    <a:pt x="1" y="18084"/>
                  </a:lnTo>
                  <a:lnTo>
                    <a:pt x="56" y="19030"/>
                  </a:lnTo>
                  <a:lnTo>
                    <a:pt x="167" y="19921"/>
                  </a:lnTo>
                  <a:lnTo>
                    <a:pt x="390" y="20866"/>
                  </a:lnTo>
                  <a:lnTo>
                    <a:pt x="668" y="21757"/>
                  </a:lnTo>
                  <a:lnTo>
                    <a:pt x="1002" y="22591"/>
                  </a:lnTo>
                  <a:lnTo>
                    <a:pt x="1447" y="23482"/>
                  </a:lnTo>
                  <a:lnTo>
                    <a:pt x="1948" y="24316"/>
                  </a:lnTo>
                  <a:lnTo>
                    <a:pt x="2504" y="25151"/>
                  </a:lnTo>
                  <a:lnTo>
                    <a:pt x="3117" y="25930"/>
                  </a:lnTo>
                  <a:lnTo>
                    <a:pt x="3840" y="26709"/>
                  </a:lnTo>
                  <a:lnTo>
                    <a:pt x="4563" y="27488"/>
                  </a:lnTo>
                  <a:lnTo>
                    <a:pt x="5398" y="28211"/>
                  </a:lnTo>
                  <a:lnTo>
                    <a:pt x="6288" y="28935"/>
                  </a:lnTo>
                  <a:lnTo>
                    <a:pt x="7178" y="29602"/>
                  </a:lnTo>
                  <a:lnTo>
                    <a:pt x="8180" y="30270"/>
                  </a:lnTo>
                  <a:lnTo>
                    <a:pt x="9237" y="30882"/>
                  </a:lnTo>
                  <a:lnTo>
                    <a:pt x="10294" y="31494"/>
                  </a:lnTo>
                  <a:lnTo>
                    <a:pt x="11463" y="32051"/>
                  </a:lnTo>
                  <a:lnTo>
                    <a:pt x="12631" y="32607"/>
                  </a:lnTo>
                  <a:lnTo>
                    <a:pt x="13856" y="33108"/>
                  </a:lnTo>
                  <a:lnTo>
                    <a:pt x="15135" y="33553"/>
                  </a:lnTo>
                  <a:lnTo>
                    <a:pt x="16415" y="33998"/>
                  </a:lnTo>
                  <a:lnTo>
                    <a:pt x="17806" y="34388"/>
                  </a:lnTo>
                  <a:lnTo>
                    <a:pt x="19142" y="34777"/>
                  </a:lnTo>
                  <a:lnTo>
                    <a:pt x="20588" y="35055"/>
                  </a:lnTo>
                  <a:lnTo>
                    <a:pt x="22035" y="35389"/>
                  </a:lnTo>
                  <a:lnTo>
                    <a:pt x="23537" y="35612"/>
                  </a:lnTo>
                  <a:lnTo>
                    <a:pt x="25040" y="35834"/>
                  </a:lnTo>
                  <a:lnTo>
                    <a:pt x="26542" y="35946"/>
                  </a:lnTo>
                  <a:lnTo>
                    <a:pt x="28156" y="36113"/>
                  </a:lnTo>
                  <a:lnTo>
                    <a:pt x="29714" y="36168"/>
                  </a:lnTo>
                  <a:lnTo>
                    <a:pt x="32941" y="36168"/>
                  </a:lnTo>
                  <a:lnTo>
                    <a:pt x="34499" y="36113"/>
                  </a:lnTo>
                  <a:lnTo>
                    <a:pt x="36057" y="35946"/>
                  </a:lnTo>
                  <a:lnTo>
                    <a:pt x="37615" y="35834"/>
                  </a:lnTo>
                  <a:lnTo>
                    <a:pt x="39117" y="35612"/>
                  </a:lnTo>
                  <a:lnTo>
                    <a:pt x="40620" y="35389"/>
                  </a:lnTo>
                  <a:lnTo>
                    <a:pt x="42066" y="35055"/>
                  </a:lnTo>
                  <a:lnTo>
                    <a:pt x="43457" y="34777"/>
                  </a:lnTo>
                  <a:lnTo>
                    <a:pt x="44848" y="34388"/>
                  </a:lnTo>
                  <a:lnTo>
                    <a:pt x="46184" y="33998"/>
                  </a:lnTo>
                  <a:lnTo>
                    <a:pt x="47519" y="33553"/>
                  </a:lnTo>
                  <a:lnTo>
                    <a:pt x="48743" y="33108"/>
                  </a:lnTo>
                  <a:lnTo>
                    <a:pt x="49967" y="32607"/>
                  </a:lnTo>
                  <a:lnTo>
                    <a:pt x="51136" y="32051"/>
                  </a:lnTo>
                  <a:lnTo>
                    <a:pt x="52304" y="31494"/>
                  </a:lnTo>
                  <a:lnTo>
                    <a:pt x="53362" y="30882"/>
                  </a:lnTo>
                  <a:lnTo>
                    <a:pt x="54419" y="30270"/>
                  </a:lnTo>
                  <a:lnTo>
                    <a:pt x="55365" y="29602"/>
                  </a:lnTo>
                  <a:lnTo>
                    <a:pt x="56311" y="28935"/>
                  </a:lnTo>
                  <a:lnTo>
                    <a:pt x="57145" y="28211"/>
                  </a:lnTo>
                  <a:lnTo>
                    <a:pt x="57980" y="27488"/>
                  </a:lnTo>
                  <a:lnTo>
                    <a:pt x="58703" y="26709"/>
                  </a:lnTo>
                  <a:lnTo>
                    <a:pt x="59427" y="25930"/>
                  </a:lnTo>
                  <a:lnTo>
                    <a:pt x="60039" y="25151"/>
                  </a:lnTo>
                  <a:lnTo>
                    <a:pt x="60595" y="24316"/>
                  </a:lnTo>
                  <a:lnTo>
                    <a:pt x="61096" y="23482"/>
                  </a:lnTo>
                  <a:lnTo>
                    <a:pt x="61485" y="22591"/>
                  </a:lnTo>
                  <a:lnTo>
                    <a:pt x="61819" y="21757"/>
                  </a:lnTo>
                  <a:lnTo>
                    <a:pt x="62098" y="20866"/>
                  </a:lnTo>
                  <a:lnTo>
                    <a:pt x="62264" y="19921"/>
                  </a:lnTo>
                  <a:lnTo>
                    <a:pt x="62431" y="19030"/>
                  </a:lnTo>
                  <a:lnTo>
                    <a:pt x="62431" y="18084"/>
                  </a:lnTo>
                  <a:lnTo>
                    <a:pt x="62376" y="17138"/>
                  </a:lnTo>
                  <a:lnTo>
                    <a:pt x="62264" y="16248"/>
                  </a:lnTo>
                  <a:lnTo>
                    <a:pt x="62042" y="15358"/>
                  </a:lnTo>
                  <a:lnTo>
                    <a:pt x="61764" y="14468"/>
                  </a:lnTo>
                  <a:lnTo>
                    <a:pt x="61430" y="13577"/>
                  </a:lnTo>
                  <a:lnTo>
                    <a:pt x="60985" y="12743"/>
                  </a:lnTo>
                  <a:lnTo>
                    <a:pt x="60540" y="11852"/>
                  </a:lnTo>
                  <a:lnTo>
                    <a:pt x="59927" y="11073"/>
                  </a:lnTo>
                  <a:lnTo>
                    <a:pt x="59315" y="10239"/>
                  </a:lnTo>
                  <a:lnTo>
                    <a:pt x="58648" y="9460"/>
                  </a:lnTo>
                  <a:lnTo>
                    <a:pt x="57869" y="8736"/>
                  </a:lnTo>
                  <a:lnTo>
                    <a:pt x="57034" y="7957"/>
                  </a:lnTo>
                  <a:lnTo>
                    <a:pt x="56199" y="7290"/>
                  </a:lnTo>
                  <a:lnTo>
                    <a:pt x="55253" y="6566"/>
                  </a:lnTo>
                  <a:lnTo>
                    <a:pt x="54252" y="5954"/>
                  </a:lnTo>
                  <a:lnTo>
                    <a:pt x="53250" y="5287"/>
                  </a:lnTo>
                  <a:lnTo>
                    <a:pt x="52138" y="4730"/>
                  </a:lnTo>
                  <a:lnTo>
                    <a:pt x="51025" y="4118"/>
                  </a:lnTo>
                  <a:lnTo>
                    <a:pt x="49801" y="3617"/>
                  </a:lnTo>
                  <a:lnTo>
                    <a:pt x="48576" y="3116"/>
                  </a:lnTo>
                  <a:lnTo>
                    <a:pt x="47297" y="2616"/>
                  </a:lnTo>
                  <a:lnTo>
                    <a:pt x="46017" y="2171"/>
                  </a:lnTo>
                  <a:lnTo>
                    <a:pt x="44681" y="1781"/>
                  </a:lnTo>
                  <a:lnTo>
                    <a:pt x="43290" y="1447"/>
                  </a:lnTo>
                  <a:lnTo>
                    <a:pt x="41844" y="1113"/>
                  </a:lnTo>
                  <a:lnTo>
                    <a:pt x="40397" y="835"/>
                  </a:lnTo>
                  <a:lnTo>
                    <a:pt x="38950" y="557"/>
                  </a:lnTo>
                  <a:lnTo>
                    <a:pt x="37392" y="390"/>
                  </a:lnTo>
                  <a:lnTo>
                    <a:pt x="35890" y="223"/>
                  </a:lnTo>
                  <a:lnTo>
                    <a:pt x="34332" y="112"/>
                  </a:lnTo>
                  <a:lnTo>
                    <a:pt x="32718" y="56"/>
                  </a:lnTo>
                  <a:lnTo>
                    <a:pt x="3110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" name="Google Shape;17363;p84">
              <a:extLst>
                <a:ext uri="{FF2B5EF4-FFF2-40B4-BE49-F238E27FC236}">
                  <a16:creationId xmlns:a16="http://schemas.microsoft.com/office/drawing/2014/main" id="{C039CC13-B0FE-BF71-EE56-D86F00EF9711}"/>
                </a:ext>
              </a:extLst>
            </p:cNvPr>
            <p:cNvSpPr/>
            <p:nvPr/>
          </p:nvSpPr>
          <p:spPr>
            <a:xfrm>
              <a:off x="1147500" y="3338800"/>
              <a:ext cx="1964200" cy="710850"/>
            </a:xfrm>
            <a:custGeom>
              <a:avLst/>
              <a:gdLst/>
              <a:ahLst/>
              <a:cxnLst/>
              <a:rect l="l" t="t" r="r" b="b"/>
              <a:pathLst>
                <a:path w="78568" h="28434" extrusionOk="0">
                  <a:moveTo>
                    <a:pt x="0" y="0"/>
                  </a:moveTo>
                  <a:lnTo>
                    <a:pt x="0" y="5676"/>
                  </a:lnTo>
                  <a:lnTo>
                    <a:pt x="56" y="6844"/>
                  </a:lnTo>
                  <a:lnTo>
                    <a:pt x="223" y="8013"/>
                  </a:lnTo>
                  <a:lnTo>
                    <a:pt x="446" y="9126"/>
                  </a:lnTo>
                  <a:lnTo>
                    <a:pt x="835" y="10239"/>
                  </a:lnTo>
                  <a:lnTo>
                    <a:pt x="1280" y="11351"/>
                  </a:lnTo>
                  <a:lnTo>
                    <a:pt x="1781" y="12409"/>
                  </a:lnTo>
                  <a:lnTo>
                    <a:pt x="2449" y="13466"/>
                  </a:lnTo>
                  <a:lnTo>
                    <a:pt x="3116" y="14523"/>
                  </a:lnTo>
                  <a:lnTo>
                    <a:pt x="3951" y="15525"/>
                  </a:lnTo>
                  <a:lnTo>
                    <a:pt x="4786" y="16526"/>
                  </a:lnTo>
                  <a:lnTo>
                    <a:pt x="5732" y="17472"/>
                  </a:lnTo>
                  <a:lnTo>
                    <a:pt x="6789" y="18362"/>
                  </a:lnTo>
                  <a:lnTo>
                    <a:pt x="7902" y="19253"/>
                  </a:lnTo>
                  <a:lnTo>
                    <a:pt x="9070" y="20143"/>
                  </a:lnTo>
                  <a:lnTo>
                    <a:pt x="10294" y="20978"/>
                  </a:lnTo>
                  <a:lnTo>
                    <a:pt x="11574" y="21757"/>
                  </a:lnTo>
                  <a:lnTo>
                    <a:pt x="12965" y="22480"/>
                  </a:lnTo>
                  <a:lnTo>
                    <a:pt x="14412" y="23203"/>
                  </a:lnTo>
                  <a:lnTo>
                    <a:pt x="15859" y="23871"/>
                  </a:lnTo>
                  <a:lnTo>
                    <a:pt x="17416" y="24539"/>
                  </a:lnTo>
                  <a:lnTo>
                    <a:pt x="19030" y="25151"/>
                  </a:lnTo>
                  <a:lnTo>
                    <a:pt x="20644" y="25652"/>
                  </a:lnTo>
                  <a:lnTo>
                    <a:pt x="22369" y="26152"/>
                  </a:lnTo>
                  <a:lnTo>
                    <a:pt x="24094" y="26653"/>
                  </a:lnTo>
                  <a:lnTo>
                    <a:pt x="25874" y="27043"/>
                  </a:lnTo>
                  <a:lnTo>
                    <a:pt x="27710" y="27376"/>
                  </a:lnTo>
                  <a:lnTo>
                    <a:pt x="29602" y="27710"/>
                  </a:lnTo>
                  <a:lnTo>
                    <a:pt x="31494" y="27933"/>
                  </a:lnTo>
                  <a:lnTo>
                    <a:pt x="33442" y="28155"/>
                  </a:lnTo>
                  <a:lnTo>
                    <a:pt x="35389" y="28322"/>
                  </a:lnTo>
                  <a:lnTo>
                    <a:pt x="37392" y="28378"/>
                  </a:lnTo>
                  <a:lnTo>
                    <a:pt x="39395" y="28434"/>
                  </a:lnTo>
                  <a:lnTo>
                    <a:pt x="41398" y="28378"/>
                  </a:lnTo>
                  <a:lnTo>
                    <a:pt x="43402" y="28322"/>
                  </a:lnTo>
                  <a:lnTo>
                    <a:pt x="45405" y="28155"/>
                  </a:lnTo>
                  <a:lnTo>
                    <a:pt x="47296" y="27933"/>
                  </a:lnTo>
                  <a:lnTo>
                    <a:pt x="49188" y="27710"/>
                  </a:lnTo>
                  <a:lnTo>
                    <a:pt x="51080" y="27376"/>
                  </a:lnTo>
                  <a:lnTo>
                    <a:pt x="52916" y="27043"/>
                  </a:lnTo>
                  <a:lnTo>
                    <a:pt x="54697" y="26653"/>
                  </a:lnTo>
                  <a:lnTo>
                    <a:pt x="56422" y="26152"/>
                  </a:lnTo>
                  <a:lnTo>
                    <a:pt x="58091" y="25652"/>
                  </a:lnTo>
                  <a:lnTo>
                    <a:pt x="59760" y="25151"/>
                  </a:lnTo>
                  <a:lnTo>
                    <a:pt x="61318" y="24539"/>
                  </a:lnTo>
                  <a:lnTo>
                    <a:pt x="62876" y="23871"/>
                  </a:lnTo>
                  <a:lnTo>
                    <a:pt x="64379" y="23203"/>
                  </a:lnTo>
                  <a:lnTo>
                    <a:pt x="65770" y="22480"/>
                  </a:lnTo>
                  <a:lnTo>
                    <a:pt x="67161" y="21757"/>
                  </a:lnTo>
                  <a:lnTo>
                    <a:pt x="68441" y="20978"/>
                  </a:lnTo>
                  <a:lnTo>
                    <a:pt x="69665" y="20143"/>
                  </a:lnTo>
                  <a:lnTo>
                    <a:pt x="70833" y="19253"/>
                  </a:lnTo>
                  <a:lnTo>
                    <a:pt x="71890" y="18362"/>
                  </a:lnTo>
                  <a:lnTo>
                    <a:pt x="72948" y="17472"/>
                  </a:lnTo>
                  <a:lnTo>
                    <a:pt x="73894" y="16526"/>
                  </a:lnTo>
                  <a:lnTo>
                    <a:pt x="74728" y="15525"/>
                  </a:lnTo>
                  <a:lnTo>
                    <a:pt x="75507" y="14523"/>
                  </a:lnTo>
                  <a:lnTo>
                    <a:pt x="76231" y="13466"/>
                  </a:lnTo>
                  <a:lnTo>
                    <a:pt x="76843" y="12409"/>
                  </a:lnTo>
                  <a:lnTo>
                    <a:pt x="77343" y="11351"/>
                  </a:lnTo>
                  <a:lnTo>
                    <a:pt x="77789" y="10239"/>
                  </a:lnTo>
                  <a:lnTo>
                    <a:pt x="78122" y="9126"/>
                  </a:lnTo>
                  <a:lnTo>
                    <a:pt x="78345" y="8013"/>
                  </a:lnTo>
                  <a:lnTo>
                    <a:pt x="78512" y="6844"/>
                  </a:lnTo>
                  <a:lnTo>
                    <a:pt x="78568" y="5676"/>
                  </a:lnTo>
                  <a:lnTo>
                    <a:pt x="78568" y="0"/>
                  </a:lnTo>
                  <a:lnTo>
                    <a:pt x="78512" y="1169"/>
                  </a:lnTo>
                  <a:lnTo>
                    <a:pt x="78401" y="2337"/>
                  </a:lnTo>
                  <a:lnTo>
                    <a:pt x="78122" y="3450"/>
                  </a:lnTo>
                  <a:lnTo>
                    <a:pt x="77789" y="4619"/>
                  </a:lnTo>
                  <a:lnTo>
                    <a:pt x="77343" y="5676"/>
                  </a:lnTo>
                  <a:lnTo>
                    <a:pt x="76843" y="6789"/>
                  </a:lnTo>
                  <a:lnTo>
                    <a:pt x="76231" y="7846"/>
                  </a:lnTo>
                  <a:lnTo>
                    <a:pt x="75507" y="8848"/>
                  </a:lnTo>
                  <a:lnTo>
                    <a:pt x="74728" y="9849"/>
                  </a:lnTo>
                  <a:lnTo>
                    <a:pt x="73894" y="10851"/>
                  </a:lnTo>
                  <a:lnTo>
                    <a:pt x="72948" y="11797"/>
                  </a:lnTo>
                  <a:lnTo>
                    <a:pt x="71946" y="12742"/>
                  </a:lnTo>
                  <a:lnTo>
                    <a:pt x="70833" y="13633"/>
                  </a:lnTo>
                  <a:lnTo>
                    <a:pt x="69665" y="14467"/>
                  </a:lnTo>
                  <a:lnTo>
                    <a:pt x="68441" y="15302"/>
                  </a:lnTo>
                  <a:lnTo>
                    <a:pt x="67161" y="16081"/>
                  </a:lnTo>
                  <a:lnTo>
                    <a:pt x="65770" y="16860"/>
                  </a:lnTo>
                  <a:lnTo>
                    <a:pt x="64379" y="17583"/>
                  </a:lnTo>
                  <a:lnTo>
                    <a:pt x="62876" y="18251"/>
                  </a:lnTo>
                  <a:lnTo>
                    <a:pt x="61374" y="18863"/>
                  </a:lnTo>
                  <a:lnTo>
                    <a:pt x="59760" y="19475"/>
                  </a:lnTo>
                  <a:lnTo>
                    <a:pt x="58147" y="20032"/>
                  </a:lnTo>
                  <a:lnTo>
                    <a:pt x="56422" y="20532"/>
                  </a:lnTo>
                  <a:lnTo>
                    <a:pt x="54697" y="20978"/>
                  </a:lnTo>
                  <a:lnTo>
                    <a:pt x="52916" y="21367"/>
                  </a:lnTo>
                  <a:lnTo>
                    <a:pt x="51080" y="21757"/>
                  </a:lnTo>
                  <a:lnTo>
                    <a:pt x="49244" y="22035"/>
                  </a:lnTo>
                  <a:lnTo>
                    <a:pt x="47352" y="22313"/>
                  </a:lnTo>
                  <a:lnTo>
                    <a:pt x="45405" y="22480"/>
                  </a:lnTo>
                  <a:lnTo>
                    <a:pt x="43457" y="22647"/>
                  </a:lnTo>
                  <a:lnTo>
                    <a:pt x="41454" y="22758"/>
                  </a:lnTo>
                  <a:lnTo>
                    <a:pt x="37392" y="22758"/>
                  </a:lnTo>
                  <a:lnTo>
                    <a:pt x="35389" y="22647"/>
                  </a:lnTo>
                  <a:lnTo>
                    <a:pt x="33442" y="22480"/>
                  </a:lnTo>
                  <a:lnTo>
                    <a:pt x="31494" y="22313"/>
                  </a:lnTo>
                  <a:lnTo>
                    <a:pt x="29602" y="22035"/>
                  </a:lnTo>
                  <a:lnTo>
                    <a:pt x="27710" y="21757"/>
                  </a:lnTo>
                  <a:lnTo>
                    <a:pt x="25930" y="21367"/>
                  </a:lnTo>
                  <a:lnTo>
                    <a:pt x="24094" y="20978"/>
                  </a:lnTo>
                  <a:lnTo>
                    <a:pt x="22369" y="20532"/>
                  </a:lnTo>
                  <a:lnTo>
                    <a:pt x="20699" y="20032"/>
                  </a:lnTo>
                  <a:lnTo>
                    <a:pt x="19030" y="19475"/>
                  </a:lnTo>
                  <a:lnTo>
                    <a:pt x="17416" y="18863"/>
                  </a:lnTo>
                  <a:lnTo>
                    <a:pt x="15914" y="18251"/>
                  </a:lnTo>
                  <a:lnTo>
                    <a:pt x="14412" y="17583"/>
                  </a:lnTo>
                  <a:lnTo>
                    <a:pt x="12965" y="16860"/>
                  </a:lnTo>
                  <a:lnTo>
                    <a:pt x="11630" y="16081"/>
                  </a:lnTo>
                  <a:lnTo>
                    <a:pt x="10294" y="15302"/>
                  </a:lnTo>
                  <a:lnTo>
                    <a:pt x="9070" y="14467"/>
                  </a:lnTo>
                  <a:lnTo>
                    <a:pt x="7902" y="13633"/>
                  </a:lnTo>
                  <a:lnTo>
                    <a:pt x="6789" y="12742"/>
                  </a:lnTo>
                  <a:lnTo>
                    <a:pt x="5787" y="11797"/>
                  </a:lnTo>
                  <a:lnTo>
                    <a:pt x="4786" y="10851"/>
                  </a:lnTo>
                  <a:lnTo>
                    <a:pt x="3951" y="9849"/>
                  </a:lnTo>
                  <a:lnTo>
                    <a:pt x="3172" y="8848"/>
                  </a:lnTo>
                  <a:lnTo>
                    <a:pt x="2449" y="7846"/>
                  </a:lnTo>
                  <a:lnTo>
                    <a:pt x="1837" y="6789"/>
                  </a:lnTo>
                  <a:lnTo>
                    <a:pt x="1280" y="5676"/>
                  </a:lnTo>
                  <a:lnTo>
                    <a:pt x="835" y="4619"/>
                  </a:lnTo>
                  <a:lnTo>
                    <a:pt x="501" y="3450"/>
                  </a:lnTo>
                  <a:lnTo>
                    <a:pt x="223" y="2337"/>
                  </a:lnTo>
                  <a:lnTo>
                    <a:pt x="56" y="11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9D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" name="Google Shape;17364;p84">
              <a:extLst>
                <a:ext uri="{FF2B5EF4-FFF2-40B4-BE49-F238E27FC236}">
                  <a16:creationId xmlns:a16="http://schemas.microsoft.com/office/drawing/2014/main" id="{DDFAE8A5-336E-664F-B85A-0387D65B3E78}"/>
                </a:ext>
              </a:extLst>
            </p:cNvPr>
            <p:cNvSpPr/>
            <p:nvPr/>
          </p:nvSpPr>
          <p:spPr>
            <a:xfrm>
              <a:off x="1147500" y="2769850"/>
              <a:ext cx="1964200" cy="1137925"/>
            </a:xfrm>
            <a:custGeom>
              <a:avLst/>
              <a:gdLst/>
              <a:ahLst/>
              <a:cxnLst/>
              <a:rect l="l" t="t" r="r" b="b"/>
              <a:pathLst>
                <a:path w="78568" h="45517" extrusionOk="0">
                  <a:moveTo>
                    <a:pt x="39173" y="4674"/>
                  </a:moveTo>
                  <a:lnTo>
                    <a:pt x="40786" y="4730"/>
                  </a:lnTo>
                  <a:lnTo>
                    <a:pt x="42400" y="4786"/>
                  </a:lnTo>
                  <a:lnTo>
                    <a:pt x="43958" y="4897"/>
                  </a:lnTo>
                  <a:lnTo>
                    <a:pt x="45460" y="5064"/>
                  </a:lnTo>
                  <a:lnTo>
                    <a:pt x="47018" y="5231"/>
                  </a:lnTo>
                  <a:lnTo>
                    <a:pt x="48465" y="5509"/>
                  </a:lnTo>
                  <a:lnTo>
                    <a:pt x="49912" y="5787"/>
                  </a:lnTo>
                  <a:lnTo>
                    <a:pt x="51358" y="6121"/>
                  </a:lnTo>
                  <a:lnTo>
                    <a:pt x="52749" y="6455"/>
                  </a:lnTo>
                  <a:lnTo>
                    <a:pt x="54085" y="6845"/>
                  </a:lnTo>
                  <a:lnTo>
                    <a:pt x="55365" y="7290"/>
                  </a:lnTo>
                  <a:lnTo>
                    <a:pt x="56644" y="7790"/>
                  </a:lnTo>
                  <a:lnTo>
                    <a:pt x="57869" y="8291"/>
                  </a:lnTo>
                  <a:lnTo>
                    <a:pt x="59093" y="8792"/>
                  </a:lnTo>
                  <a:lnTo>
                    <a:pt x="60206" y="9404"/>
                  </a:lnTo>
                  <a:lnTo>
                    <a:pt x="61318" y="9961"/>
                  </a:lnTo>
                  <a:lnTo>
                    <a:pt x="62320" y="10628"/>
                  </a:lnTo>
                  <a:lnTo>
                    <a:pt x="63321" y="11240"/>
                  </a:lnTo>
                  <a:lnTo>
                    <a:pt x="64267" y="11964"/>
                  </a:lnTo>
                  <a:lnTo>
                    <a:pt x="65102" y="12631"/>
                  </a:lnTo>
                  <a:lnTo>
                    <a:pt x="65937" y="13410"/>
                  </a:lnTo>
                  <a:lnTo>
                    <a:pt x="66716" y="14134"/>
                  </a:lnTo>
                  <a:lnTo>
                    <a:pt x="67383" y="14913"/>
                  </a:lnTo>
                  <a:lnTo>
                    <a:pt x="67995" y="15747"/>
                  </a:lnTo>
                  <a:lnTo>
                    <a:pt x="68608" y="16526"/>
                  </a:lnTo>
                  <a:lnTo>
                    <a:pt x="69053" y="17417"/>
                  </a:lnTo>
                  <a:lnTo>
                    <a:pt x="69498" y="18251"/>
                  </a:lnTo>
                  <a:lnTo>
                    <a:pt x="69832" y="19142"/>
                  </a:lnTo>
                  <a:lnTo>
                    <a:pt x="70110" y="20032"/>
                  </a:lnTo>
                  <a:lnTo>
                    <a:pt x="70332" y="20922"/>
                  </a:lnTo>
                  <a:lnTo>
                    <a:pt x="70444" y="21812"/>
                  </a:lnTo>
                  <a:lnTo>
                    <a:pt x="70499" y="22758"/>
                  </a:lnTo>
                  <a:lnTo>
                    <a:pt x="70499" y="23704"/>
                  </a:lnTo>
                  <a:lnTo>
                    <a:pt x="70332" y="24595"/>
                  </a:lnTo>
                  <a:lnTo>
                    <a:pt x="70166" y="25540"/>
                  </a:lnTo>
                  <a:lnTo>
                    <a:pt x="69887" y="26431"/>
                  </a:lnTo>
                  <a:lnTo>
                    <a:pt x="69553" y="27265"/>
                  </a:lnTo>
                  <a:lnTo>
                    <a:pt x="69164" y="28156"/>
                  </a:lnTo>
                  <a:lnTo>
                    <a:pt x="68663" y="28990"/>
                  </a:lnTo>
                  <a:lnTo>
                    <a:pt x="68107" y="29825"/>
                  </a:lnTo>
                  <a:lnTo>
                    <a:pt x="67495" y="30604"/>
                  </a:lnTo>
                  <a:lnTo>
                    <a:pt x="66771" y="31383"/>
                  </a:lnTo>
                  <a:lnTo>
                    <a:pt x="66048" y="32162"/>
                  </a:lnTo>
                  <a:lnTo>
                    <a:pt x="65213" y="32885"/>
                  </a:lnTo>
                  <a:lnTo>
                    <a:pt x="64379" y="33609"/>
                  </a:lnTo>
                  <a:lnTo>
                    <a:pt x="63433" y="34276"/>
                  </a:lnTo>
                  <a:lnTo>
                    <a:pt x="62487" y="34944"/>
                  </a:lnTo>
                  <a:lnTo>
                    <a:pt x="61430" y="35556"/>
                  </a:lnTo>
                  <a:lnTo>
                    <a:pt x="60372" y="36168"/>
                  </a:lnTo>
                  <a:lnTo>
                    <a:pt x="59204" y="36725"/>
                  </a:lnTo>
                  <a:lnTo>
                    <a:pt x="58035" y="37281"/>
                  </a:lnTo>
                  <a:lnTo>
                    <a:pt x="56811" y="37782"/>
                  </a:lnTo>
                  <a:lnTo>
                    <a:pt x="55587" y="38227"/>
                  </a:lnTo>
                  <a:lnTo>
                    <a:pt x="54252" y="38672"/>
                  </a:lnTo>
                  <a:lnTo>
                    <a:pt x="52916" y="39062"/>
                  </a:lnTo>
                  <a:lnTo>
                    <a:pt x="51525" y="39451"/>
                  </a:lnTo>
                  <a:lnTo>
                    <a:pt x="50134" y="39729"/>
                  </a:lnTo>
                  <a:lnTo>
                    <a:pt x="48688" y="40063"/>
                  </a:lnTo>
                  <a:lnTo>
                    <a:pt x="47185" y="40286"/>
                  </a:lnTo>
                  <a:lnTo>
                    <a:pt x="45683" y="40508"/>
                  </a:lnTo>
                  <a:lnTo>
                    <a:pt x="44125" y="40620"/>
                  </a:lnTo>
                  <a:lnTo>
                    <a:pt x="42567" y="40787"/>
                  </a:lnTo>
                  <a:lnTo>
                    <a:pt x="41009" y="40842"/>
                  </a:lnTo>
                  <a:lnTo>
                    <a:pt x="37782" y="40842"/>
                  </a:lnTo>
                  <a:lnTo>
                    <a:pt x="36224" y="40787"/>
                  </a:lnTo>
                  <a:lnTo>
                    <a:pt x="34610" y="40620"/>
                  </a:lnTo>
                  <a:lnTo>
                    <a:pt x="33108" y="40508"/>
                  </a:lnTo>
                  <a:lnTo>
                    <a:pt x="31605" y="40286"/>
                  </a:lnTo>
                  <a:lnTo>
                    <a:pt x="30103" y="40063"/>
                  </a:lnTo>
                  <a:lnTo>
                    <a:pt x="28656" y="39729"/>
                  </a:lnTo>
                  <a:lnTo>
                    <a:pt x="27210" y="39451"/>
                  </a:lnTo>
                  <a:lnTo>
                    <a:pt x="25874" y="39062"/>
                  </a:lnTo>
                  <a:lnTo>
                    <a:pt x="24483" y="38672"/>
                  </a:lnTo>
                  <a:lnTo>
                    <a:pt x="23203" y="38227"/>
                  </a:lnTo>
                  <a:lnTo>
                    <a:pt x="21924" y="37782"/>
                  </a:lnTo>
                  <a:lnTo>
                    <a:pt x="20699" y="37281"/>
                  </a:lnTo>
                  <a:lnTo>
                    <a:pt x="19531" y="36725"/>
                  </a:lnTo>
                  <a:lnTo>
                    <a:pt x="18362" y="36168"/>
                  </a:lnTo>
                  <a:lnTo>
                    <a:pt x="17305" y="35556"/>
                  </a:lnTo>
                  <a:lnTo>
                    <a:pt x="16248" y="34944"/>
                  </a:lnTo>
                  <a:lnTo>
                    <a:pt x="15246" y="34276"/>
                  </a:lnTo>
                  <a:lnTo>
                    <a:pt x="14356" y="33609"/>
                  </a:lnTo>
                  <a:lnTo>
                    <a:pt x="13466" y="32885"/>
                  </a:lnTo>
                  <a:lnTo>
                    <a:pt x="12631" y="32162"/>
                  </a:lnTo>
                  <a:lnTo>
                    <a:pt x="11908" y="31383"/>
                  </a:lnTo>
                  <a:lnTo>
                    <a:pt x="11185" y="30604"/>
                  </a:lnTo>
                  <a:lnTo>
                    <a:pt x="10572" y="29825"/>
                  </a:lnTo>
                  <a:lnTo>
                    <a:pt x="10016" y="28990"/>
                  </a:lnTo>
                  <a:lnTo>
                    <a:pt x="9515" y="28156"/>
                  </a:lnTo>
                  <a:lnTo>
                    <a:pt x="9070" y="27265"/>
                  </a:lnTo>
                  <a:lnTo>
                    <a:pt x="8736" y="26431"/>
                  </a:lnTo>
                  <a:lnTo>
                    <a:pt x="8458" y="25540"/>
                  </a:lnTo>
                  <a:lnTo>
                    <a:pt x="8235" y="24595"/>
                  </a:lnTo>
                  <a:lnTo>
                    <a:pt x="8124" y="23704"/>
                  </a:lnTo>
                  <a:lnTo>
                    <a:pt x="8069" y="22758"/>
                  </a:lnTo>
                  <a:lnTo>
                    <a:pt x="8124" y="21812"/>
                  </a:lnTo>
                  <a:lnTo>
                    <a:pt x="8235" y="20922"/>
                  </a:lnTo>
                  <a:lnTo>
                    <a:pt x="8402" y="20032"/>
                  </a:lnTo>
                  <a:lnTo>
                    <a:pt x="8681" y="19142"/>
                  </a:lnTo>
                  <a:lnTo>
                    <a:pt x="9014" y="18251"/>
                  </a:lnTo>
                  <a:lnTo>
                    <a:pt x="9460" y="17417"/>
                  </a:lnTo>
                  <a:lnTo>
                    <a:pt x="9905" y="16526"/>
                  </a:lnTo>
                  <a:lnTo>
                    <a:pt x="10461" y="15747"/>
                  </a:lnTo>
                  <a:lnTo>
                    <a:pt x="11129" y="14913"/>
                  </a:lnTo>
                  <a:lnTo>
                    <a:pt x="11797" y="14134"/>
                  </a:lnTo>
                  <a:lnTo>
                    <a:pt x="12520" y="13410"/>
                  </a:lnTo>
                  <a:lnTo>
                    <a:pt x="13355" y="12687"/>
                  </a:lnTo>
                  <a:lnTo>
                    <a:pt x="14189" y="11964"/>
                  </a:lnTo>
                  <a:lnTo>
                    <a:pt x="15135" y="11240"/>
                  </a:lnTo>
                  <a:lnTo>
                    <a:pt x="16137" y="10628"/>
                  </a:lnTo>
                  <a:lnTo>
                    <a:pt x="17138" y="9961"/>
                  </a:lnTo>
                  <a:lnTo>
                    <a:pt x="18251" y="9404"/>
                  </a:lnTo>
                  <a:lnTo>
                    <a:pt x="19364" y="8792"/>
                  </a:lnTo>
                  <a:lnTo>
                    <a:pt x="20532" y="8291"/>
                  </a:lnTo>
                  <a:lnTo>
                    <a:pt x="21757" y="7790"/>
                  </a:lnTo>
                  <a:lnTo>
                    <a:pt x="23036" y="7290"/>
                  </a:lnTo>
                  <a:lnTo>
                    <a:pt x="24316" y="6845"/>
                  </a:lnTo>
                  <a:lnTo>
                    <a:pt x="25652" y="6455"/>
                  </a:lnTo>
                  <a:lnTo>
                    <a:pt x="27043" y="6121"/>
                  </a:lnTo>
                  <a:lnTo>
                    <a:pt x="28489" y="5787"/>
                  </a:lnTo>
                  <a:lnTo>
                    <a:pt x="29936" y="5509"/>
                  </a:lnTo>
                  <a:lnTo>
                    <a:pt x="31383" y="5231"/>
                  </a:lnTo>
                  <a:lnTo>
                    <a:pt x="32885" y="5064"/>
                  </a:lnTo>
                  <a:lnTo>
                    <a:pt x="34443" y="4897"/>
                  </a:lnTo>
                  <a:lnTo>
                    <a:pt x="36001" y="4786"/>
                  </a:lnTo>
                  <a:lnTo>
                    <a:pt x="37559" y="4730"/>
                  </a:lnTo>
                  <a:lnTo>
                    <a:pt x="39173" y="4674"/>
                  </a:lnTo>
                  <a:close/>
                  <a:moveTo>
                    <a:pt x="39173" y="1"/>
                  </a:moveTo>
                  <a:lnTo>
                    <a:pt x="37114" y="56"/>
                  </a:lnTo>
                  <a:lnTo>
                    <a:pt x="35166" y="112"/>
                  </a:lnTo>
                  <a:lnTo>
                    <a:pt x="33163" y="279"/>
                  </a:lnTo>
                  <a:lnTo>
                    <a:pt x="31271" y="501"/>
                  </a:lnTo>
                  <a:lnTo>
                    <a:pt x="29324" y="724"/>
                  </a:lnTo>
                  <a:lnTo>
                    <a:pt x="27488" y="1058"/>
                  </a:lnTo>
                  <a:lnTo>
                    <a:pt x="25652" y="1392"/>
                  </a:lnTo>
                  <a:lnTo>
                    <a:pt x="23871" y="1781"/>
                  </a:lnTo>
                  <a:lnTo>
                    <a:pt x="22146" y="2282"/>
                  </a:lnTo>
                  <a:lnTo>
                    <a:pt x="20477" y="2783"/>
                  </a:lnTo>
                  <a:lnTo>
                    <a:pt x="18808" y="3339"/>
                  </a:lnTo>
                  <a:lnTo>
                    <a:pt x="17194" y="3896"/>
                  </a:lnTo>
                  <a:lnTo>
                    <a:pt x="15692" y="4563"/>
                  </a:lnTo>
                  <a:lnTo>
                    <a:pt x="14189" y="5231"/>
                  </a:lnTo>
                  <a:lnTo>
                    <a:pt x="12798" y="5954"/>
                  </a:lnTo>
                  <a:lnTo>
                    <a:pt x="11407" y="6678"/>
                  </a:lnTo>
                  <a:lnTo>
                    <a:pt x="10127" y="7457"/>
                  </a:lnTo>
                  <a:lnTo>
                    <a:pt x="8903" y="8291"/>
                  </a:lnTo>
                  <a:lnTo>
                    <a:pt x="7735" y="9182"/>
                  </a:lnTo>
                  <a:lnTo>
                    <a:pt x="6622" y="10072"/>
                  </a:lnTo>
                  <a:lnTo>
                    <a:pt x="5620" y="10962"/>
                  </a:lnTo>
                  <a:lnTo>
                    <a:pt x="4674" y="11908"/>
                  </a:lnTo>
                  <a:lnTo>
                    <a:pt x="3840" y="12910"/>
                  </a:lnTo>
                  <a:lnTo>
                    <a:pt x="3061" y="13911"/>
                  </a:lnTo>
                  <a:lnTo>
                    <a:pt x="2337" y="14968"/>
                  </a:lnTo>
                  <a:lnTo>
                    <a:pt x="1725" y="16026"/>
                  </a:lnTo>
                  <a:lnTo>
                    <a:pt x="1225" y="17083"/>
                  </a:lnTo>
                  <a:lnTo>
                    <a:pt x="779" y="18196"/>
                  </a:lnTo>
                  <a:lnTo>
                    <a:pt x="446" y="19308"/>
                  </a:lnTo>
                  <a:lnTo>
                    <a:pt x="223" y="20421"/>
                  </a:lnTo>
                  <a:lnTo>
                    <a:pt x="56" y="21590"/>
                  </a:lnTo>
                  <a:lnTo>
                    <a:pt x="0" y="22758"/>
                  </a:lnTo>
                  <a:lnTo>
                    <a:pt x="56" y="23927"/>
                  </a:lnTo>
                  <a:lnTo>
                    <a:pt x="223" y="25095"/>
                  </a:lnTo>
                  <a:lnTo>
                    <a:pt x="501" y="26208"/>
                  </a:lnTo>
                  <a:lnTo>
                    <a:pt x="835" y="27377"/>
                  </a:lnTo>
                  <a:lnTo>
                    <a:pt x="1280" y="28434"/>
                  </a:lnTo>
                  <a:lnTo>
                    <a:pt x="1837" y="29547"/>
                  </a:lnTo>
                  <a:lnTo>
                    <a:pt x="2449" y="30604"/>
                  </a:lnTo>
                  <a:lnTo>
                    <a:pt x="3172" y="31606"/>
                  </a:lnTo>
                  <a:lnTo>
                    <a:pt x="3951" y="32607"/>
                  </a:lnTo>
                  <a:lnTo>
                    <a:pt x="4786" y="33609"/>
                  </a:lnTo>
                  <a:lnTo>
                    <a:pt x="5787" y="34555"/>
                  </a:lnTo>
                  <a:lnTo>
                    <a:pt x="6789" y="35500"/>
                  </a:lnTo>
                  <a:lnTo>
                    <a:pt x="7902" y="36391"/>
                  </a:lnTo>
                  <a:lnTo>
                    <a:pt x="9070" y="37225"/>
                  </a:lnTo>
                  <a:lnTo>
                    <a:pt x="10294" y="38060"/>
                  </a:lnTo>
                  <a:lnTo>
                    <a:pt x="11630" y="38839"/>
                  </a:lnTo>
                  <a:lnTo>
                    <a:pt x="12965" y="39618"/>
                  </a:lnTo>
                  <a:lnTo>
                    <a:pt x="14412" y="40341"/>
                  </a:lnTo>
                  <a:lnTo>
                    <a:pt x="15914" y="41009"/>
                  </a:lnTo>
                  <a:lnTo>
                    <a:pt x="17416" y="41621"/>
                  </a:lnTo>
                  <a:lnTo>
                    <a:pt x="19030" y="42233"/>
                  </a:lnTo>
                  <a:lnTo>
                    <a:pt x="20699" y="42790"/>
                  </a:lnTo>
                  <a:lnTo>
                    <a:pt x="22369" y="43290"/>
                  </a:lnTo>
                  <a:lnTo>
                    <a:pt x="24094" y="43736"/>
                  </a:lnTo>
                  <a:lnTo>
                    <a:pt x="25930" y="44125"/>
                  </a:lnTo>
                  <a:lnTo>
                    <a:pt x="27710" y="44515"/>
                  </a:lnTo>
                  <a:lnTo>
                    <a:pt x="29602" y="44793"/>
                  </a:lnTo>
                  <a:lnTo>
                    <a:pt x="31494" y="45071"/>
                  </a:lnTo>
                  <a:lnTo>
                    <a:pt x="33442" y="45238"/>
                  </a:lnTo>
                  <a:lnTo>
                    <a:pt x="35389" y="45405"/>
                  </a:lnTo>
                  <a:lnTo>
                    <a:pt x="37392" y="45516"/>
                  </a:lnTo>
                  <a:lnTo>
                    <a:pt x="41454" y="45516"/>
                  </a:lnTo>
                  <a:lnTo>
                    <a:pt x="43457" y="45405"/>
                  </a:lnTo>
                  <a:lnTo>
                    <a:pt x="45405" y="45238"/>
                  </a:lnTo>
                  <a:lnTo>
                    <a:pt x="47352" y="45071"/>
                  </a:lnTo>
                  <a:lnTo>
                    <a:pt x="49244" y="44793"/>
                  </a:lnTo>
                  <a:lnTo>
                    <a:pt x="51080" y="44515"/>
                  </a:lnTo>
                  <a:lnTo>
                    <a:pt x="52916" y="44125"/>
                  </a:lnTo>
                  <a:lnTo>
                    <a:pt x="54697" y="43736"/>
                  </a:lnTo>
                  <a:lnTo>
                    <a:pt x="56422" y="43290"/>
                  </a:lnTo>
                  <a:lnTo>
                    <a:pt x="58147" y="42790"/>
                  </a:lnTo>
                  <a:lnTo>
                    <a:pt x="59760" y="42233"/>
                  </a:lnTo>
                  <a:lnTo>
                    <a:pt x="61374" y="41621"/>
                  </a:lnTo>
                  <a:lnTo>
                    <a:pt x="62876" y="41009"/>
                  </a:lnTo>
                  <a:lnTo>
                    <a:pt x="64379" y="40341"/>
                  </a:lnTo>
                  <a:lnTo>
                    <a:pt x="65770" y="39618"/>
                  </a:lnTo>
                  <a:lnTo>
                    <a:pt x="67161" y="38839"/>
                  </a:lnTo>
                  <a:lnTo>
                    <a:pt x="68441" y="38060"/>
                  </a:lnTo>
                  <a:lnTo>
                    <a:pt x="69665" y="37225"/>
                  </a:lnTo>
                  <a:lnTo>
                    <a:pt x="70833" y="36391"/>
                  </a:lnTo>
                  <a:lnTo>
                    <a:pt x="71946" y="35500"/>
                  </a:lnTo>
                  <a:lnTo>
                    <a:pt x="72948" y="34555"/>
                  </a:lnTo>
                  <a:lnTo>
                    <a:pt x="73894" y="33609"/>
                  </a:lnTo>
                  <a:lnTo>
                    <a:pt x="74728" y="32607"/>
                  </a:lnTo>
                  <a:lnTo>
                    <a:pt x="75507" y="31606"/>
                  </a:lnTo>
                  <a:lnTo>
                    <a:pt x="76231" y="30604"/>
                  </a:lnTo>
                  <a:lnTo>
                    <a:pt x="76843" y="29547"/>
                  </a:lnTo>
                  <a:lnTo>
                    <a:pt x="77343" y="28434"/>
                  </a:lnTo>
                  <a:lnTo>
                    <a:pt x="77789" y="27377"/>
                  </a:lnTo>
                  <a:lnTo>
                    <a:pt x="78122" y="26208"/>
                  </a:lnTo>
                  <a:lnTo>
                    <a:pt x="78401" y="25095"/>
                  </a:lnTo>
                  <a:lnTo>
                    <a:pt x="78512" y="23927"/>
                  </a:lnTo>
                  <a:lnTo>
                    <a:pt x="78568" y="22758"/>
                  </a:lnTo>
                  <a:lnTo>
                    <a:pt x="78512" y="21590"/>
                  </a:lnTo>
                  <a:lnTo>
                    <a:pt x="78345" y="20421"/>
                  </a:lnTo>
                  <a:lnTo>
                    <a:pt x="78122" y="19308"/>
                  </a:lnTo>
                  <a:lnTo>
                    <a:pt x="77733" y="18196"/>
                  </a:lnTo>
                  <a:lnTo>
                    <a:pt x="77288" y="17083"/>
                  </a:lnTo>
                  <a:lnTo>
                    <a:pt x="76787" y="16026"/>
                  </a:lnTo>
                  <a:lnTo>
                    <a:pt x="76119" y="14968"/>
                  </a:lnTo>
                  <a:lnTo>
                    <a:pt x="75452" y="13911"/>
                  </a:lnTo>
                  <a:lnTo>
                    <a:pt x="74617" y="12910"/>
                  </a:lnTo>
                  <a:lnTo>
                    <a:pt x="73782" y="11908"/>
                  </a:lnTo>
                  <a:lnTo>
                    <a:pt x="72836" y="10962"/>
                  </a:lnTo>
                  <a:lnTo>
                    <a:pt x="71779" y="10072"/>
                  </a:lnTo>
                  <a:lnTo>
                    <a:pt x="70666" y="9182"/>
                  </a:lnTo>
                  <a:lnTo>
                    <a:pt x="69498" y="8291"/>
                  </a:lnTo>
                  <a:lnTo>
                    <a:pt x="68274" y="7457"/>
                  </a:lnTo>
                  <a:lnTo>
                    <a:pt x="66994" y="6678"/>
                  </a:lnTo>
                  <a:lnTo>
                    <a:pt x="65603" y="5954"/>
                  </a:lnTo>
                  <a:lnTo>
                    <a:pt x="64156" y="5231"/>
                  </a:lnTo>
                  <a:lnTo>
                    <a:pt x="62709" y="4563"/>
                  </a:lnTo>
                  <a:lnTo>
                    <a:pt x="61151" y="3896"/>
                  </a:lnTo>
                  <a:lnTo>
                    <a:pt x="59538" y="3339"/>
                  </a:lnTo>
                  <a:lnTo>
                    <a:pt x="57924" y="2783"/>
                  </a:lnTo>
                  <a:lnTo>
                    <a:pt x="56199" y="2282"/>
                  </a:lnTo>
                  <a:lnTo>
                    <a:pt x="54474" y="1781"/>
                  </a:lnTo>
                  <a:lnTo>
                    <a:pt x="52694" y="1392"/>
                  </a:lnTo>
                  <a:lnTo>
                    <a:pt x="50858" y="1058"/>
                  </a:lnTo>
                  <a:lnTo>
                    <a:pt x="48966" y="724"/>
                  </a:lnTo>
                  <a:lnTo>
                    <a:pt x="47074" y="501"/>
                  </a:lnTo>
                  <a:lnTo>
                    <a:pt x="45126" y="279"/>
                  </a:lnTo>
                  <a:lnTo>
                    <a:pt x="43179" y="112"/>
                  </a:lnTo>
                  <a:lnTo>
                    <a:pt x="41176" y="56"/>
                  </a:lnTo>
                  <a:lnTo>
                    <a:pt x="39173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" name="Google Shape;17365;p84">
              <a:extLst>
                <a:ext uri="{FF2B5EF4-FFF2-40B4-BE49-F238E27FC236}">
                  <a16:creationId xmlns:a16="http://schemas.microsoft.com/office/drawing/2014/main" id="{3570E853-EE3B-2A1A-3D0C-B20F272A878A}"/>
                </a:ext>
              </a:extLst>
            </p:cNvPr>
            <p:cNvSpPr/>
            <p:nvPr/>
          </p:nvSpPr>
          <p:spPr>
            <a:xfrm>
              <a:off x="1306075" y="2653000"/>
              <a:ext cx="1560800" cy="904225"/>
            </a:xfrm>
            <a:custGeom>
              <a:avLst/>
              <a:gdLst/>
              <a:ahLst/>
              <a:cxnLst/>
              <a:rect l="l" t="t" r="r" b="b"/>
              <a:pathLst>
                <a:path w="62432" h="36169" extrusionOk="0">
                  <a:moveTo>
                    <a:pt x="31105" y="1"/>
                  </a:moveTo>
                  <a:lnTo>
                    <a:pt x="29491" y="56"/>
                  </a:lnTo>
                  <a:lnTo>
                    <a:pt x="27933" y="112"/>
                  </a:lnTo>
                  <a:lnTo>
                    <a:pt x="26375" y="223"/>
                  </a:lnTo>
                  <a:lnTo>
                    <a:pt x="24817" y="390"/>
                  </a:lnTo>
                  <a:lnTo>
                    <a:pt x="23315" y="613"/>
                  </a:lnTo>
                  <a:lnTo>
                    <a:pt x="21812" y="835"/>
                  </a:lnTo>
                  <a:lnTo>
                    <a:pt x="20366" y="1113"/>
                  </a:lnTo>
                  <a:lnTo>
                    <a:pt x="18975" y="1447"/>
                  </a:lnTo>
                  <a:lnTo>
                    <a:pt x="17584" y="1837"/>
                  </a:lnTo>
                  <a:lnTo>
                    <a:pt x="16248" y="2226"/>
                  </a:lnTo>
                  <a:lnTo>
                    <a:pt x="14968" y="2671"/>
                  </a:lnTo>
                  <a:lnTo>
                    <a:pt x="13689" y="3117"/>
                  </a:lnTo>
                  <a:lnTo>
                    <a:pt x="12465" y="3617"/>
                  </a:lnTo>
                  <a:lnTo>
                    <a:pt x="11296" y="4174"/>
                  </a:lnTo>
                  <a:lnTo>
                    <a:pt x="10128" y="4730"/>
                  </a:lnTo>
                  <a:lnTo>
                    <a:pt x="9070" y="5342"/>
                  </a:lnTo>
                  <a:lnTo>
                    <a:pt x="8069" y="5954"/>
                  </a:lnTo>
                  <a:lnTo>
                    <a:pt x="7067" y="6622"/>
                  </a:lnTo>
                  <a:lnTo>
                    <a:pt x="6121" y="7290"/>
                  </a:lnTo>
                  <a:lnTo>
                    <a:pt x="5287" y="8013"/>
                  </a:lnTo>
                  <a:lnTo>
                    <a:pt x="4452" y="8736"/>
                  </a:lnTo>
                  <a:lnTo>
                    <a:pt x="3729" y="9515"/>
                  </a:lnTo>
                  <a:lnTo>
                    <a:pt x="3005" y="10294"/>
                  </a:lnTo>
                  <a:lnTo>
                    <a:pt x="2393" y="11073"/>
                  </a:lnTo>
                  <a:lnTo>
                    <a:pt x="1837" y="11908"/>
                  </a:lnTo>
                  <a:lnTo>
                    <a:pt x="1392" y="12743"/>
                  </a:lnTo>
                  <a:lnTo>
                    <a:pt x="947" y="13577"/>
                  </a:lnTo>
                  <a:lnTo>
                    <a:pt x="613" y="14468"/>
                  </a:lnTo>
                  <a:lnTo>
                    <a:pt x="335" y="15358"/>
                  </a:lnTo>
                  <a:lnTo>
                    <a:pt x="168" y="16248"/>
                  </a:lnTo>
                  <a:lnTo>
                    <a:pt x="56" y="17194"/>
                  </a:lnTo>
                  <a:lnTo>
                    <a:pt x="1" y="18084"/>
                  </a:lnTo>
                  <a:lnTo>
                    <a:pt x="56" y="19030"/>
                  </a:lnTo>
                  <a:lnTo>
                    <a:pt x="168" y="19976"/>
                  </a:lnTo>
                  <a:lnTo>
                    <a:pt x="390" y="20867"/>
                  </a:lnTo>
                  <a:lnTo>
                    <a:pt x="668" y="21757"/>
                  </a:lnTo>
                  <a:lnTo>
                    <a:pt x="1002" y="22647"/>
                  </a:lnTo>
                  <a:lnTo>
                    <a:pt x="1447" y="23482"/>
                  </a:lnTo>
                  <a:lnTo>
                    <a:pt x="1948" y="24316"/>
                  </a:lnTo>
                  <a:lnTo>
                    <a:pt x="2505" y="25151"/>
                  </a:lnTo>
                  <a:lnTo>
                    <a:pt x="3117" y="25930"/>
                  </a:lnTo>
                  <a:lnTo>
                    <a:pt x="3840" y="26709"/>
                  </a:lnTo>
                  <a:lnTo>
                    <a:pt x="4563" y="27488"/>
                  </a:lnTo>
                  <a:lnTo>
                    <a:pt x="5398" y="28211"/>
                  </a:lnTo>
                  <a:lnTo>
                    <a:pt x="6288" y="28935"/>
                  </a:lnTo>
                  <a:lnTo>
                    <a:pt x="7179" y="29602"/>
                  </a:lnTo>
                  <a:lnTo>
                    <a:pt x="8180" y="30270"/>
                  </a:lnTo>
                  <a:lnTo>
                    <a:pt x="9237" y="30882"/>
                  </a:lnTo>
                  <a:lnTo>
                    <a:pt x="10294" y="31494"/>
                  </a:lnTo>
                  <a:lnTo>
                    <a:pt x="11463" y="32051"/>
                  </a:lnTo>
                  <a:lnTo>
                    <a:pt x="12631" y="32607"/>
                  </a:lnTo>
                  <a:lnTo>
                    <a:pt x="13856" y="33108"/>
                  </a:lnTo>
                  <a:lnTo>
                    <a:pt x="15135" y="33553"/>
                  </a:lnTo>
                  <a:lnTo>
                    <a:pt x="16415" y="33998"/>
                  </a:lnTo>
                  <a:lnTo>
                    <a:pt x="17751" y="34388"/>
                  </a:lnTo>
                  <a:lnTo>
                    <a:pt x="19142" y="34777"/>
                  </a:lnTo>
                  <a:lnTo>
                    <a:pt x="20588" y="35111"/>
                  </a:lnTo>
                  <a:lnTo>
                    <a:pt x="22035" y="35389"/>
                  </a:lnTo>
                  <a:lnTo>
                    <a:pt x="23537" y="35612"/>
                  </a:lnTo>
                  <a:lnTo>
                    <a:pt x="25040" y="35834"/>
                  </a:lnTo>
                  <a:lnTo>
                    <a:pt x="26542" y="36001"/>
                  </a:lnTo>
                  <a:lnTo>
                    <a:pt x="28156" y="36113"/>
                  </a:lnTo>
                  <a:lnTo>
                    <a:pt x="29714" y="36168"/>
                  </a:lnTo>
                  <a:lnTo>
                    <a:pt x="32941" y="36168"/>
                  </a:lnTo>
                  <a:lnTo>
                    <a:pt x="34499" y="36113"/>
                  </a:lnTo>
                  <a:lnTo>
                    <a:pt x="36057" y="36001"/>
                  </a:lnTo>
                  <a:lnTo>
                    <a:pt x="37615" y="35834"/>
                  </a:lnTo>
                  <a:lnTo>
                    <a:pt x="39117" y="35612"/>
                  </a:lnTo>
                  <a:lnTo>
                    <a:pt x="40620" y="35389"/>
                  </a:lnTo>
                  <a:lnTo>
                    <a:pt x="42066" y="35111"/>
                  </a:lnTo>
                  <a:lnTo>
                    <a:pt x="43457" y="34777"/>
                  </a:lnTo>
                  <a:lnTo>
                    <a:pt x="44848" y="34388"/>
                  </a:lnTo>
                  <a:lnTo>
                    <a:pt x="46184" y="33998"/>
                  </a:lnTo>
                  <a:lnTo>
                    <a:pt x="47519" y="33553"/>
                  </a:lnTo>
                  <a:lnTo>
                    <a:pt x="48743" y="33108"/>
                  </a:lnTo>
                  <a:lnTo>
                    <a:pt x="49968" y="32607"/>
                  </a:lnTo>
                  <a:lnTo>
                    <a:pt x="51136" y="32051"/>
                  </a:lnTo>
                  <a:lnTo>
                    <a:pt x="52305" y="31494"/>
                  </a:lnTo>
                  <a:lnTo>
                    <a:pt x="53362" y="30882"/>
                  </a:lnTo>
                  <a:lnTo>
                    <a:pt x="54419" y="30270"/>
                  </a:lnTo>
                  <a:lnTo>
                    <a:pt x="55365" y="29602"/>
                  </a:lnTo>
                  <a:lnTo>
                    <a:pt x="56311" y="28935"/>
                  </a:lnTo>
                  <a:lnTo>
                    <a:pt x="57145" y="28211"/>
                  </a:lnTo>
                  <a:lnTo>
                    <a:pt x="57980" y="27488"/>
                  </a:lnTo>
                  <a:lnTo>
                    <a:pt x="58703" y="26709"/>
                  </a:lnTo>
                  <a:lnTo>
                    <a:pt x="59427" y="25930"/>
                  </a:lnTo>
                  <a:lnTo>
                    <a:pt x="60039" y="25151"/>
                  </a:lnTo>
                  <a:lnTo>
                    <a:pt x="60595" y="24316"/>
                  </a:lnTo>
                  <a:lnTo>
                    <a:pt x="61040" y="23482"/>
                  </a:lnTo>
                  <a:lnTo>
                    <a:pt x="61486" y="22647"/>
                  </a:lnTo>
                  <a:lnTo>
                    <a:pt x="61819" y="21757"/>
                  </a:lnTo>
                  <a:lnTo>
                    <a:pt x="62098" y="20867"/>
                  </a:lnTo>
                  <a:lnTo>
                    <a:pt x="62265" y="19976"/>
                  </a:lnTo>
                  <a:lnTo>
                    <a:pt x="62431" y="19030"/>
                  </a:lnTo>
                  <a:lnTo>
                    <a:pt x="62431" y="18084"/>
                  </a:lnTo>
                  <a:lnTo>
                    <a:pt x="62376" y="17194"/>
                  </a:lnTo>
                  <a:lnTo>
                    <a:pt x="62265" y="16248"/>
                  </a:lnTo>
                  <a:lnTo>
                    <a:pt x="62042" y="15358"/>
                  </a:lnTo>
                  <a:lnTo>
                    <a:pt x="61764" y="14468"/>
                  </a:lnTo>
                  <a:lnTo>
                    <a:pt x="61430" y="13577"/>
                  </a:lnTo>
                  <a:lnTo>
                    <a:pt x="60985" y="12743"/>
                  </a:lnTo>
                  <a:lnTo>
                    <a:pt x="60484" y="11908"/>
                  </a:lnTo>
                  <a:lnTo>
                    <a:pt x="59928" y="11073"/>
                  </a:lnTo>
                  <a:lnTo>
                    <a:pt x="59315" y="10294"/>
                  </a:lnTo>
                  <a:lnTo>
                    <a:pt x="58648" y="9515"/>
                  </a:lnTo>
                  <a:lnTo>
                    <a:pt x="57869" y="8736"/>
                  </a:lnTo>
                  <a:lnTo>
                    <a:pt x="57034" y="8013"/>
                  </a:lnTo>
                  <a:lnTo>
                    <a:pt x="56199" y="7290"/>
                  </a:lnTo>
                  <a:lnTo>
                    <a:pt x="55254" y="6622"/>
                  </a:lnTo>
                  <a:lnTo>
                    <a:pt x="54252" y="5954"/>
                  </a:lnTo>
                  <a:lnTo>
                    <a:pt x="53195" y="5342"/>
                  </a:lnTo>
                  <a:lnTo>
                    <a:pt x="52138" y="4730"/>
                  </a:lnTo>
                  <a:lnTo>
                    <a:pt x="51025" y="4174"/>
                  </a:lnTo>
                  <a:lnTo>
                    <a:pt x="49801" y="3617"/>
                  </a:lnTo>
                  <a:lnTo>
                    <a:pt x="48576" y="3117"/>
                  </a:lnTo>
                  <a:lnTo>
                    <a:pt x="47297" y="2671"/>
                  </a:lnTo>
                  <a:lnTo>
                    <a:pt x="46017" y="2226"/>
                  </a:lnTo>
                  <a:lnTo>
                    <a:pt x="44682" y="1837"/>
                  </a:lnTo>
                  <a:lnTo>
                    <a:pt x="43290" y="1447"/>
                  </a:lnTo>
                  <a:lnTo>
                    <a:pt x="41844" y="1113"/>
                  </a:lnTo>
                  <a:lnTo>
                    <a:pt x="40397" y="835"/>
                  </a:lnTo>
                  <a:lnTo>
                    <a:pt x="38895" y="613"/>
                  </a:lnTo>
                  <a:lnTo>
                    <a:pt x="37392" y="390"/>
                  </a:lnTo>
                  <a:lnTo>
                    <a:pt x="35890" y="223"/>
                  </a:lnTo>
                  <a:lnTo>
                    <a:pt x="34332" y="112"/>
                  </a:lnTo>
                  <a:lnTo>
                    <a:pt x="32718" y="56"/>
                  </a:lnTo>
                  <a:lnTo>
                    <a:pt x="3110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" name="Google Shape;17366;p84">
              <a:extLst>
                <a:ext uri="{FF2B5EF4-FFF2-40B4-BE49-F238E27FC236}">
                  <a16:creationId xmlns:a16="http://schemas.microsoft.com/office/drawing/2014/main" id="{ACB342AE-8CFB-9863-35D0-72A498949619}"/>
                </a:ext>
              </a:extLst>
            </p:cNvPr>
            <p:cNvSpPr/>
            <p:nvPr/>
          </p:nvSpPr>
          <p:spPr>
            <a:xfrm>
              <a:off x="1104375" y="3105100"/>
              <a:ext cx="1964200" cy="710850"/>
            </a:xfrm>
            <a:custGeom>
              <a:avLst/>
              <a:gdLst/>
              <a:ahLst/>
              <a:cxnLst/>
              <a:rect l="l" t="t" r="r" b="b"/>
              <a:pathLst>
                <a:path w="78568" h="28434" extrusionOk="0">
                  <a:moveTo>
                    <a:pt x="0" y="0"/>
                  </a:moveTo>
                  <a:lnTo>
                    <a:pt x="0" y="5676"/>
                  </a:lnTo>
                  <a:lnTo>
                    <a:pt x="56" y="6844"/>
                  </a:lnTo>
                  <a:lnTo>
                    <a:pt x="223" y="8013"/>
                  </a:lnTo>
                  <a:lnTo>
                    <a:pt x="446" y="9126"/>
                  </a:lnTo>
                  <a:lnTo>
                    <a:pt x="835" y="10294"/>
                  </a:lnTo>
                  <a:lnTo>
                    <a:pt x="1280" y="11351"/>
                  </a:lnTo>
                  <a:lnTo>
                    <a:pt x="1781" y="12464"/>
                  </a:lnTo>
                  <a:lnTo>
                    <a:pt x="2393" y="13522"/>
                  </a:lnTo>
                  <a:lnTo>
                    <a:pt x="3116" y="14523"/>
                  </a:lnTo>
                  <a:lnTo>
                    <a:pt x="3895" y="15525"/>
                  </a:lnTo>
                  <a:lnTo>
                    <a:pt x="4786" y="16526"/>
                  </a:lnTo>
                  <a:lnTo>
                    <a:pt x="5732" y="17472"/>
                  </a:lnTo>
                  <a:lnTo>
                    <a:pt x="6789" y="18418"/>
                  </a:lnTo>
                  <a:lnTo>
                    <a:pt x="7846" y="19308"/>
                  </a:lnTo>
                  <a:lnTo>
                    <a:pt x="9015" y="20143"/>
                  </a:lnTo>
                  <a:lnTo>
                    <a:pt x="10294" y="20978"/>
                  </a:lnTo>
                  <a:lnTo>
                    <a:pt x="11574" y="21757"/>
                  </a:lnTo>
                  <a:lnTo>
                    <a:pt x="12965" y="22536"/>
                  </a:lnTo>
                  <a:lnTo>
                    <a:pt x="14356" y="23259"/>
                  </a:lnTo>
                  <a:lnTo>
                    <a:pt x="15859" y="23927"/>
                  </a:lnTo>
                  <a:lnTo>
                    <a:pt x="17417" y="24539"/>
                  </a:lnTo>
                  <a:lnTo>
                    <a:pt x="19030" y="25151"/>
                  </a:lnTo>
                  <a:lnTo>
                    <a:pt x="20644" y="25707"/>
                  </a:lnTo>
                  <a:lnTo>
                    <a:pt x="22369" y="26208"/>
                  </a:lnTo>
                  <a:lnTo>
                    <a:pt x="24094" y="26653"/>
                  </a:lnTo>
                  <a:lnTo>
                    <a:pt x="25874" y="27043"/>
                  </a:lnTo>
                  <a:lnTo>
                    <a:pt x="27710" y="27432"/>
                  </a:lnTo>
                  <a:lnTo>
                    <a:pt x="29602" y="27710"/>
                  </a:lnTo>
                  <a:lnTo>
                    <a:pt x="31494" y="27989"/>
                  </a:lnTo>
                  <a:lnTo>
                    <a:pt x="33442" y="28156"/>
                  </a:lnTo>
                  <a:lnTo>
                    <a:pt x="35389" y="28322"/>
                  </a:lnTo>
                  <a:lnTo>
                    <a:pt x="37392" y="28378"/>
                  </a:lnTo>
                  <a:lnTo>
                    <a:pt x="39395" y="28434"/>
                  </a:lnTo>
                  <a:lnTo>
                    <a:pt x="41398" y="28378"/>
                  </a:lnTo>
                  <a:lnTo>
                    <a:pt x="43402" y="28322"/>
                  </a:lnTo>
                  <a:lnTo>
                    <a:pt x="45405" y="28156"/>
                  </a:lnTo>
                  <a:lnTo>
                    <a:pt x="47297" y="27989"/>
                  </a:lnTo>
                  <a:lnTo>
                    <a:pt x="49188" y="27710"/>
                  </a:lnTo>
                  <a:lnTo>
                    <a:pt x="51080" y="27432"/>
                  </a:lnTo>
                  <a:lnTo>
                    <a:pt x="52916" y="27043"/>
                  </a:lnTo>
                  <a:lnTo>
                    <a:pt x="54697" y="26653"/>
                  </a:lnTo>
                  <a:lnTo>
                    <a:pt x="56422" y="26208"/>
                  </a:lnTo>
                  <a:lnTo>
                    <a:pt x="58091" y="25707"/>
                  </a:lnTo>
                  <a:lnTo>
                    <a:pt x="59760" y="25151"/>
                  </a:lnTo>
                  <a:lnTo>
                    <a:pt x="61318" y="24539"/>
                  </a:lnTo>
                  <a:lnTo>
                    <a:pt x="62876" y="23927"/>
                  </a:lnTo>
                  <a:lnTo>
                    <a:pt x="64379" y="23259"/>
                  </a:lnTo>
                  <a:lnTo>
                    <a:pt x="65770" y="22536"/>
                  </a:lnTo>
                  <a:lnTo>
                    <a:pt x="67161" y="21757"/>
                  </a:lnTo>
                  <a:lnTo>
                    <a:pt x="68441" y="20978"/>
                  </a:lnTo>
                  <a:lnTo>
                    <a:pt x="69665" y="20143"/>
                  </a:lnTo>
                  <a:lnTo>
                    <a:pt x="70833" y="19308"/>
                  </a:lnTo>
                  <a:lnTo>
                    <a:pt x="71891" y="18418"/>
                  </a:lnTo>
                  <a:lnTo>
                    <a:pt x="72948" y="17472"/>
                  </a:lnTo>
                  <a:lnTo>
                    <a:pt x="73894" y="16526"/>
                  </a:lnTo>
                  <a:lnTo>
                    <a:pt x="74728" y="15525"/>
                  </a:lnTo>
                  <a:lnTo>
                    <a:pt x="75507" y="14523"/>
                  </a:lnTo>
                  <a:lnTo>
                    <a:pt x="76231" y="13522"/>
                  </a:lnTo>
                  <a:lnTo>
                    <a:pt x="76843" y="12464"/>
                  </a:lnTo>
                  <a:lnTo>
                    <a:pt x="77343" y="11351"/>
                  </a:lnTo>
                  <a:lnTo>
                    <a:pt x="77789" y="10294"/>
                  </a:lnTo>
                  <a:lnTo>
                    <a:pt x="78122" y="9126"/>
                  </a:lnTo>
                  <a:lnTo>
                    <a:pt x="78345" y="8013"/>
                  </a:lnTo>
                  <a:lnTo>
                    <a:pt x="78512" y="6844"/>
                  </a:lnTo>
                  <a:lnTo>
                    <a:pt x="78568" y="5676"/>
                  </a:lnTo>
                  <a:lnTo>
                    <a:pt x="78568" y="0"/>
                  </a:lnTo>
                  <a:lnTo>
                    <a:pt x="78512" y="1225"/>
                  </a:lnTo>
                  <a:lnTo>
                    <a:pt x="78401" y="2337"/>
                  </a:lnTo>
                  <a:lnTo>
                    <a:pt x="78122" y="3506"/>
                  </a:lnTo>
                  <a:lnTo>
                    <a:pt x="77789" y="4619"/>
                  </a:lnTo>
                  <a:lnTo>
                    <a:pt x="77343" y="5732"/>
                  </a:lnTo>
                  <a:lnTo>
                    <a:pt x="76843" y="6789"/>
                  </a:lnTo>
                  <a:lnTo>
                    <a:pt x="76231" y="7846"/>
                  </a:lnTo>
                  <a:lnTo>
                    <a:pt x="75507" y="8903"/>
                  </a:lnTo>
                  <a:lnTo>
                    <a:pt x="74728" y="9905"/>
                  </a:lnTo>
                  <a:lnTo>
                    <a:pt x="73894" y="10851"/>
                  </a:lnTo>
                  <a:lnTo>
                    <a:pt x="72948" y="11852"/>
                  </a:lnTo>
                  <a:lnTo>
                    <a:pt x="71946" y="12743"/>
                  </a:lnTo>
                  <a:lnTo>
                    <a:pt x="70833" y="13633"/>
                  </a:lnTo>
                  <a:lnTo>
                    <a:pt x="69665" y="14523"/>
                  </a:lnTo>
                  <a:lnTo>
                    <a:pt x="68441" y="15302"/>
                  </a:lnTo>
                  <a:lnTo>
                    <a:pt x="67161" y="16137"/>
                  </a:lnTo>
                  <a:lnTo>
                    <a:pt x="65770" y="16860"/>
                  </a:lnTo>
                  <a:lnTo>
                    <a:pt x="64379" y="17583"/>
                  </a:lnTo>
                  <a:lnTo>
                    <a:pt x="62876" y="18251"/>
                  </a:lnTo>
                  <a:lnTo>
                    <a:pt x="61374" y="18919"/>
                  </a:lnTo>
                  <a:lnTo>
                    <a:pt x="59760" y="19475"/>
                  </a:lnTo>
                  <a:lnTo>
                    <a:pt x="58147" y="20032"/>
                  </a:lnTo>
                  <a:lnTo>
                    <a:pt x="56422" y="20533"/>
                  </a:lnTo>
                  <a:lnTo>
                    <a:pt x="54697" y="20978"/>
                  </a:lnTo>
                  <a:lnTo>
                    <a:pt x="52916" y="21423"/>
                  </a:lnTo>
                  <a:lnTo>
                    <a:pt x="51080" y="21757"/>
                  </a:lnTo>
                  <a:lnTo>
                    <a:pt x="49244" y="22035"/>
                  </a:lnTo>
                  <a:lnTo>
                    <a:pt x="47352" y="22313"/>
                  </a:lnTo>
                  <a:lnTo>
                    <a:pt x="45405" y="22536"/>
                  </a:lnTo>
                  <a:lnTo>
                    <a:pt x="43457" y="22647"/>
                  </a:lnTo>
                  <a:lnTo>
                    <a:pt x="41454" y="22758"/>
                  </a:lnTo>
                  <a:lnTo>
                    <a:pt x="37392" y="22758"/>
                  </a:lnTo>
                  <a:lnTo>
                    <a:pt x="35389" y="22647"/>
                  </a:lnTo>
                  <a:lnTo>
                    <a:pt x="33442" y="22536"/>
                  </a:lnTo>
                  <a:lnTo>
                    <a:pt x="31494" y="22313"/>
                  </a:lnTo>
                  <a:lnTo>
                    <a:pt x="29602" y="22035"/>
                  </a:lnTo>
                  <a:lnTo>
                    <a:pt x="27710" y="21757"/>
                  </a:lnTo>
                  <a:lnTo>
                    <a:pt x="25874" y="21423"/>
                  </a:lnTo>
                  <a:lnTo>
                    <a:pt x="24094" y="20978"/>
                  </a:lnTo>
                  <a:lnTo>
                    <a:pt x="22369" y="20533"/>
                  </a:lnTo>
                  <a:lnTo>
                    <a:pt x="20699" y="20032"/>
                  </a:lnTo>
                  <a:lnTo>
                    <a:pt x="19030" y="19475"/>
                  </a:lnTo>
                  <a:lnTo>
                    <a:pt x="17417" y="18919"/>
                  </a:lnTo>
                  <a:lnTo>
                    <a:pt x="15914" y="18251"/>
                  </a:lnTo>
                  <a:lnTo>
                    <a:pt x="14412" y="17583"/>
                  </a:lnTo>
                  <a:lnTo>
                    <a:pt x="12965" y="16860"/>
                  </a:lnTo>
                  <a:lnTo>
                    <a:pt x="11630" y="16137"/>
                  </a:lnTo>
                  <a:lnTo>
                    <a:pt x="10294" y="15302"/>
                  </a:lnTo>
                  <a:lnTo>
                    <a:pt x="9070" y="14523"/>
                  </a:lnTo>
                  <a:lnTo>
                    <a:pt x="7902" y="13633"/>
                  </a:lnTo>
                  <a:lnTo>
                    <a:pt x="6789" y="12743"/>
                  </a:lnTo>
                  <a:lnTo>
                    <a:pt x="5787" y="11852"/>
                  </a:lnTo>
                  <a:lnTo>
                    <a:pt x="4786" y="10851"/>
                  </a:lnTo>
                  <a:lnTo>
                    <a:pt x="3951" y="9905"/>
                  </a:lnTo>
                  <a:lnTo>
                    <a:pt x="3172" y="8903"/>
                  </a:lnTo>
                  <a:lnTo>
                    <a:pt x="2449" y="7846"/>
                  </a:lnTo>
                  <a:lnTo>
                    <a:pt x="1837" y="6789"/>
                  </a:lnTo>
                  <a:lnTo>
                    <a:pt x="1280" y="5732"/>
                  </a:lnTo>
                  <a:lnTo>
                    <a:pt x="835" y="4619"/>
                  </a:lnTo>
                  <a:lnTo>
                    <a:pt x="501" y="3506"/>
                  </a:lnTo>
                  <a:lnTo>
                    <a:pt x="223" y="2337"/>
                  </a:lnTo>
                  <a:lnTo>
                    <a:pt x="56" y="12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9D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" name="Google Shape;17367;p84">
              <a:extLst>
                <a:ext uri="{FF2B5EF4-FFF2-40B4-BE49-F238E27FC236}">
                  <a16:creationId xmlns:a16="http://schemas.microsoft.com/office/drawing/2014/main" id="{F5A28E63-5367-8D3D-D056-54981B2869A9}"/>
                </a:ext>
              </a:extLst>
            </p:cNvPr>
            <p:cNvSpPr/>
            <p:nvPr/>
          </p:nvSpPr>
          <p:spPr>
            <a:xfrm>
              <a:off x="1104375" y="2537550"/>
              <a:ext cx="1964200" cy="1136525"/>
            </a:xfrm>
            <a:custGeom>
              <a:avLst/>
              <a:gdLst/>
              <a:ahLst/>
              <a:cxnLst/>
              <a:rect l="l" t="t" r="r" b="b"/>
              <a:pathLst>
                <a:path w="78568" h="45461" extrusionOk="0">
                  <a:moveTo>
                    <a:pt x="39173" y="4619"/>
                  </a:moveTo>
                  <a:lnTo>
                    <a:pt x="40786" y="4674"/>
                  </a:lnTo>
                  <a:lnTo>
                    <a:pt x="42400" y="4730"/>
                  </a:lnTo>
                  <a:lnTo>
                    <a:pt x="43958" y="4841"/>
                  </a:lnTo>
                  <a:lnTo>
                    <a:pt x="45460" y="5008"/>
                  </a:lnTo>
                  <a:lnTo>
                    <a:pt x="46963" y="5231"/>
                  </a:lnTo>
                  <a:lnTo>
                    <a:pt x="48465" y="5453"/>
                  </a:lnTo>
                  <a:lnTo>
                    <a:pt x="49912" y="5731"/>
                  </a:lnTo>
                  <a:lnTo>
                    <a:pt x="51358" y="6065"/>
                  </a:lnTo>
                  <a:lnTo>
                    <a:pt x="52750" y="6455"/>
                  </a:lnTo>
                  <a:lnTo>
                    <a:pt x="54085" y="6844"/>
                  </a:lnTo>
                  <a:lnTo>
                    <a:pt x="55365" y="7289"/>
                  </a:lnTo>
                  <a:lnTo>
                    <a:pt x="56644" y="7735"/>
                  </a:lnTo>
                  <a:lnTo>
                    <a:pt x="57869" y="8235"/>
                  </a:lnTo>
                  <a:lnTo>
                    <a:pt x="59093" y="8792"/>
                  </a:lnTo>
                  <a:lnTo>
                    <a:pt x="60206" y="9348"/>
                  </a:lnTo>
                  <a:lnTo>
                    <a:pt x="61263" y="9960"/>
                  </a:lnTo>
                  <a:lnTo>
                    <a:pt x="62320" y="10572"/>
                  </a:lnTo>
                  <a:lnTo>
                    <a:pt x="63322" y="11240"/>
                  </a:lnTo>
                  <a:lnTo>
                    <a:pt x="64267" y="11908"/>
                  </a:lnTo>
                  <a:lnTo>
                    <a:pt x="65102" y="12631"/>
                  </a:lnTo>
                  <a:lnTo>
                    <a:pt x="65937" y="13354"/>
                  </a:lnTo>
                  <a:lnTo>
                    <a:pt x="66716" y="14133"/>
                  </a:lnTo>
                  <a:lnTo>
                    <a:pt x="67383" y="14912"/>
                  </a:lnTo>
                  <a:lnTo>
                    <a:pt x="67996" y="15691"/>
                  </a:lnTo>
                  <a:lnTo>
                    <a:pt x="68552" y="16526"/>
                  </a:lnTo>
                  <a:lnTo>
                    <a:pt x="69053" y="17361"/>
                  </a:lnTo>
                  <a:lnTo>
                    <a:pt x="69498" y="18195"/>
                  </a:lnTo>
                  <a:lnTo>
                    <a:pt x="69832" y="19086"/>
                  </a:lnTo>
                  <a:lnTo>
                    <a:pt x="70110" y="19976"/>
                  </a:lnTo>
                  <a:lnTo>
                    <a:pt x="70333" y="20866"/>
                  </a:lnTo>
                  <a:lnTo>
                    <a:pt x="70444" y="21812"/>
                  </a:lnTo>
                  <a:lnTo>
                    <a:pt x="70499" y="22702"/>
                  </a:lnTo>
                  <a:lnTo>
                    <a:pt x="70499" y="23648"/>
                  </a:lnTo>
                  <a:lnTo>
                    <a:pt x="70333" y="24594"/>
                  </a:lnTo>
                  <a:lnTo>
                    <a:pt x="70166" y="25485"/>
                  </a:lnTo>
                  <a:lnTo>
                    <a:pt x="69887" y="26375"/>
                  </a:lnTo>
                  <a:lnTo>
                    <a:pt x="69554" y="27265"/>
                  </a:lnTo>
                  <a:lnTo>
                    <a:pt x="69108" y="28100"/>
                  </a:lnTo>
                  <a:lnTo>
                    <a:pt x="68663" y="28934"/>
                  </a:lnTo>
                  <a:lnTo>
                    <a:pt x="68107" y="29769"/>
                  </a:lnTo>
                  <a:lnTo>
                    <a:pt x="67495" y="30548"/>
                  </a:lnTo>
                  <a:lnTo>
                    <a:pt x="66771" y="31327"/>
                  </a:lnTo>
                  <a:lnTo>
                    <a:pt x="66048" y="32106"/>
                  </a:lnTo>
                  <a:lnTo>
                    <a:pt x="65213" y="32829"/>
                  </a:lnTo>
                  <a:lnTo>
                    <a:pt x="64379" y="33553"/>
                  </a:lnTo>
                  <a:lnTo>
                    <a:pt x="63433" y="34220"/>
                  </a:lnTo>
                  <a:lnTo>
                    <a:pt x="62487" y="34888"/>
                  </a:lnTo>
                  <a:lnTo>
                    <a:pt x="61430" y="35500"/>
                  </a:lnTo>
                  <a:lnTo>
                    <a:pt x="60373" y="36112"/>
                  </a:lnTo>
                  <a:lnTo>
                    <a:pt x="59204" y="36669"/>
                  </a:lnTo>
                  <a:lnTo>
                    <a:pt x="58036" y="37225"/>
                  </a:lnTo>
                  <a:lnTo>
                    <a:pt x="56811" y="37726"/>
                  </a:lnTo>
                  <a:lnTo>
                    <a:pt x="55587" y="38171"/>
                  </a:lnTo>
                  <a:lnTo>
                    <a:pt x="54252" y="38616"/>
                  </a:lnTo>
                  <a:lnTo>
                    <a:pt x="52916" y="39006"/>
                  </a:lnTo>
                  <a:lnTo>
                    <a:pt x="51525" y="39395"/>
                  </a:lnTo>
                  <a:lnTo>
                    <a:pt x="50134" y="39729"/>
                  </a:lnTo>
                  <a:lnTo>
                    <a:pt x="48688" y="40007"/>
                  </a:lnTo>
                  <a:lnTo>
                    <a:pt x="47185" y="40230"/>
                  </a:lnTo>
                  <a:lnTo>
                    <a:pt x="45683" y="40452"/>
                  </a:lnTo>
                  <a:lnTo>
                    <a:pt x="44125" y="40619"/>
                  </a:lnTo>
                  <a:lnTo>
                    <a:pt x="42567" y="40731"/>
                  </a:lnTo>
                  <a:lnTo>
                    <a:pt x="41009" y="40786"/>
                  </a:lnTo>
                  <a:lnTo>
                    <a:pt x="37782" y="40786"/>
                  </a:lnTo>
                  <a:lnTo>
                    <a:pt x="36224" y="40731"/>
                  </a:lnTo>
                  <a:lnTo>
                    <a:pt x="34610" y="40619"/>
                  </a:lnTo>
                  <a:lnTo>
                    <a:pt x="33108" y="40452"/>
                  </a:lnTo>
                  <a:lnTo>
                    <a:pt x="31605" y="40230"/>
                  </a:lnTo>
                  <a:lnTo>
                    <a:pt x="30103" y="40007"/>
                  </a:lnTo>
                  <a:lnTo>
                    <a:pt x="28656" y="39729"/>
                  </a:lnTo>
                  <a:lnTo>
                    <a:pt x="27210" y="39395"/>
                  </a:lnTo>
                  <a:lnTo>
                    <a:pt x="25819" y="39006"/>
                  </a:lnTo>
                  <a:lnTo>
                    <a:pt x="24483" y="38616"/>
                  </a:lnTo>
                  <a:lnTo>
                    <a:pt x="23203" y="38171"/>
                  </a:lnTo>
                  <a:lnTo>
                    <a:pt x="21924" y="37726"/>
                  </a:lnTo>
                  <a:lnTo>
                    <a:pt x="20699" y="37225"/>
                  </a:lnTo>
                  <a:lnTo>
                    <a:pt x="19531" y="36669"/>
                  </a:lnTo>
                  <a:lnTo>
                    <a:pt x="18362" y="36112"/>
                  </a:lnTo>
                  <a:lnTo>
                    <a:pt x="17305" y="35500"/>
                  </a:lnTo>
                  <a:lnTo>
                    <a:pt x="16248" y="34888"/>
                  </a:lnTo>
                  <a:lnTo>
                    <a:pt x="15247" y="34220"/>
                  </a:lnTo>
                  <a:lnTo>
                    <a:pt x="14356" y="33553"/>
                  </a:lnTo>
                  <a:lnTo>
                    <a:pt x="13466" y="32829"/>
                  </a:lnTo>
                  <a:lnTo>
                    <a:pt x="12631" y="32106"/>
                  </a:lnTo>
                  <a:lnTo>
                    <a:pt x="11908" y="31327"/>
                  </a:lnTo>
                  <a:lnTo>
                    <a:pt x="11185" y="30548"/>
                  </a:lnTo>
                  <a:lnTo>
                    <a:pt x="10573" y="29769"/>
                  </a:lnTo>
                  <a:lnTo>
                    <a:pt x="10016" y="28934"/>
                  </a:lnTo>
                  <a:lnTo>
                    <a:pt x="9515" y="28100"/>
                  </a:lnTo>
                  <a:lnTo>
                    <a:pt x="9070" y="27265"/>
                  </a:lnTo>
                  <a:lnTo>
                    <a:pt x="8736" y="26375"/>
                  </a:lnTo>
                  <a:lnTo>
                    <a:pt x="8458" y="25485"/>
                  </a:lnTo>
                  <a:lnTo>
                    <a:pt x="8236" y="24594"/>
                  </a:lnTo>
                  <a:lnTo>
                    <a:pt x="8124" y="23648"/>
                  </a:lnTo>
                  <a:lnTo>
                    <a:pt x="8069" y="22702"/>
                  </a:lnTo>
                  <a:lnTo>
                    <a:pt x="8124" y="21812"/>
                  </a:lnTo>
                  <a:lnTo>
                    <a:pt x="8236" y="20866"/>
                  </a:lnTo>
                  <a:lnTo>
                    <a:pt x="8403" y="19976"/>
                  </a:lnTo>
                  <a:lnTo>
                    <a:pt x="8681" y="19086"/>
                  </a:lnTo>
                  <a:lnTo>
                    <a:pt x="9015" y="18195"/>
                  </a:lnTo>
                  <a:lnTo>
                    <a:pt x="9460" y="17361"/>
                  </a:lnTo>
                  <a:lnTo>
                    <a:pt x="9905" y="16526"/>
                  </a:lnTo>
                  <a:lnTo>
                    <a:pt x="10461" y="15691"/>
                  </a:lnTo>
                  <a:lnTo>
                    <a:pt x="11073" y="14912"/>
                  </a:lnTo>
                  <a:lnTo>
                    <a:pt x="11797" y="14133"/>
                  </a:lnTo>
                  <a:lnTo>
                    <a:pt x="12520" y="13354"/>
                  </a:lnTo>
                  <a:lnTo>
                    <a:pt x="13355" y="12631"/>
                  </a:lnTo>
                  <a:lnTo>
                    <a:pt x="14189" y="11908"/>
                  </a:lnTo>
                  <a:lnTo>
                    <a:pt x="15135" y="11240"/>
                  </a:lnTo>
                  <a:lnTo>
                    <a:pt x="16137" y="10572"/>
                  </a:lnTo>
                  <a:lnTo>
                    <a:pt x="17138" y="9960"/>
                  </a:lnTo>
                  <a:lnTo>
                    <a:pt x="18196" y="9348"/>
                  </a:lnTo>
                  <a:lnTo>
                    <a:pt x="19364" y="8792"/>
                  </a:lnTo>
                  <a:lnTo>
                    <a:pt x="20533" y="8235"/>
                  </a:lnTo>
                  <a:lnTo>
                    <a:pt x="21757" y="7735"/>
                  </a:lnTo>
                  <a:lnTo>
                    <a:pt x="23036" y="7289"/>
                  </a:lnTo>
                  <a:lnTo>
                    <a:pt x="24316" y="6844"/>
                  </a:lnTo>
                  <a:lnTo>
                    <a:pt x="25652" y="6455"/>
                  </a:lnTo>
                  <a:lnTo>
                    <a:pt x="27043" y="6065"/>
                  </a:lnTo>
                  <a:lnTo>
                    <a:pt x="28434" y="5731"/>
                  </a:lnTo>
                  <a:lnTo>
                    <a:pt x="29880" y="5453"/>
                  </a:lnTo>
                  <a:lnTo>
                    <a:pt x="31383" y="5231"/>
                  </a:lnTo>
                  <a:lnTo>
                    <a:pt x="32885" y="5008"/>
                  </a:lnTo>
                  <a:lnTo>
                    <a:pt x="34443" y="4841"/>
                  </a:lnTo>
                  <a:lnTo>
                    <a:pt x="36001" y="4730"/>
                  </a:lnTo>
                  <a:lnTo>
                    <a:pt x="37559" y="4674"/>
                  </a:lnTo>
                  <a:lnTo>
                    <a:pt x="39173" y="4619"/>
                  </a:lnTo>
                  <a:close/>
                  <a:moveTo>
                    <a:pt x="37114" y="0"/>
                  </a:moveTo>
                  <a:lnTo>
                    <a:pt x="35167" y="111"/>
                  </a:lnTo>
                  <a:lnTo>
                    <a:pt x="33163" y="223"/>
                  </a:lnTo>
                  <a:lnTo>
                    <a:pt x="31272" y="445"/>
                  </a:lnTo>
                  <a:lnTo>
                    <a:pt x="29324" y="668"/>
                  </a:lnTo>
                  <a:lnTo>
                    <a:pt x="27488" y="1002"/>
                  </a:lnTo>
                  <a:lnTo>
                    <a:pt x="25652" y="1336"/>
                  </a:lnTo>
                  <a:lnTo>
                    <a:pt x="23871" y="1781"/>
                  </a:lnTo>
                  <a:lnTo>
                    <a:pt x="22146" y="2226"/>
                  </a:lnTo>
                  <a:lnTo>
                    <a:pt x="20477" y="2727"/>
                  </a:lnTo>
                  <a:lnTo>
                    <a:pt x="18808" y="3283"/>
                  </a:lnTo>
                  <a:lnTo>
                    <a:pt x="17194" y="3840"/>
                  </a:lnTo>
                  <a:lnTo>
                    <a:pt x="15692" y="4507"/>
                  </a:lnTo>
                  <a:lnTo>
                    <a:pt x="14189" y="5175"/>
                  </a:lnTo>
                  <a:lnTo>
                    <a:pt x="12798" y="5898"/>
                  </a:lnTo>
                  <a:lnTo>
                    <a:pt x="11407" y="6622"/>
                  </a:lnTo>
                  <a:lnTo>
                    <a:pt x="10127" y="7456"/>
                  </a:lnTo>
                  <a:lnTo>
                    <a:pt x="8903" y="8235"/>
                  </a:lnTo>
                  <a:lnTo>
                    <a:pt x="7735" y="9126"/>
                  </a:lnTo>
                  <a:lnTo>
                    <a:pt x="6622" y="10016"/>
                  </a:lnTo>
                  <a:lnTo>
                    <a:pt x="5620" y="10906"/>
                  </a:lnTo>
                  <a:lnTo>
                    <a:pt x="4674" y="11908"/>
                  </a:lnTo>
                  <a:lnTo>
                    <a:pt x="3840" y="12854"/>
                  </a:lnTo>
                  <a:lnTo>
                    <a:pt x="3061" y="13855"/>
                  </a:lnTo>
                  <a:lnTo>
                    <a:pt x="2337" y="14912"/>
                  </a:lnTo>
                  <a:lnTo>
                    <a:pt x="1725" y="15970"/>
                  </a:lnTo>
                  <a:lnTo>
                    <a:pt x="1225" y="17027"/>
                  </a:lnTo>
                  <a:lnTo>
                    <a:pt x="779" y="18140"/>
                  </a:lnTo>
                  <a:lnTo>
                    <a:pt x="446" y="19253"/>
                  </a:lnTo>
                  <a:lnTo>
                    <a:pt x="223" y="20421"/>
                  </a:lnTo>
                  <a:lnTo>
                    <a:pt x="56" y="21534"/>
                  </a:lnTo>
                  <a:lnTo>
                    <a:pt x="0" y="22702"/>
                  </a:lnTo>
                  <a:lnTo>
                    <a:pt x="56" y="23927"/>
                  </a:lnTo>
                  <a:lnTo>
                    <a:pt x="223" y="25039"/>
                  </a:lnTo>
                  <a:lnTo>
                    <a:pt x="501" y="26208"/>
                  </a:lnTo>
                  <a:lnTo>
                    <a:pt x="835" y="27321"/>
                  </a:lnTo>
                  <a:lnTo>
                    <a:pt x="1280" y="28434"/>
                  </a:lnTo>
                  <a:lnTo>
                    <a:pt x="1837" y="29491"/>
                  </a:lnTo>
                  <a:lnTo>
                    <a:pt x="2449" y="30548"/>
                  </a:lnTo>
                  <a:lnTo>
                    <a:pt x="3172" y="31605"/>
                  </a:lnTo>
                  <a:lnTo>
                    <a:pt x="3951" y="32607"/>
                  </a:lnTo>
                  <a:lnTo>
                    <a:pt x="4786" y="33553"/>
                  </a:lnTo>
                  <a:lnTo>
                    <a:pt x="5787" y="34554"/>
                  </a:lnTo>
                  <a:lnTo>
                    <a:pt x="6789" y="35445"/>
                  </a:lnTo>
                  <a:lnTo>
                    <a:pt x="7902" y="36335"/>
                  </a:lnTo>
                  <a:lnTo>
                    <a:pt x="9070" y="37225"/>
                  </a:lnTo>
                  <a:lnTo>
                    <a:pt x="10294" y="38004"/>
                  </a:lnTo>
                  <a:lnTo>
                    <a:pt x="11630" y="38839"/>
                  </a:lnTo>
                  <a:lnTo>
                    <a:pt x="12965" y="39562"/>
                  </a:lnTo>
                  <a:lnTo>
                    <a:pt x="14412" y="40285"/>
                  </a:lnTo>
                  <a:lnTo>
                    <a:pt x="15914" y="40953"/>
                  </a:lnTo>
                  <a:lnTo>
                    <a:pt x="17417" y="41621"/>
                  </a:lnTo>
                  <a:lnTo>
                    <a:pt x="19030" y="42177"/>
                  </a:lnTo>
                  <a:lnTo>
                    <a:pt x="20699" y="42734"/>
                  </a:lnTo>
                  <a:lnTo>
                    <a:pt x="22369" y="43235"/>
                  </a:lnTo>
                  <a:lnTo>
                    <a:pt x="24094" y="43680"/>
                  </a:lnTo>
                  <a:lnTo>
                    <a:pt x="25874" y="44125"/>
                  </a:lnTo>
                  <a:lnTo>
                    <a:pt x="27710" y="44459"/>
                  </a:lnTo>
                  <a:lnTo>
                    <a:pt x="29602" y="44737"/>
                  </a:lnTo>
                  <a:lnTo>
                    <a:pt x="31494" y="45015"/>
                  </a:lnTo>
                  <a:lnTo>
                    <a:pt x="33442" y="45238"/>
                  </a:lnTo>
                  <a:lnTo>
                    <a:pt x="35389" y="45349"/>
                  </a:lnTo>
                  <a:lnTo>
                    <a:pt x="37392" y="45460"/>
                  </a:lnTo>
                  <a:lnTo>
                    <a:pt x="41454" y="45460"/>
                  </a:lnTo>
                  <a:lnTo>
                    <a:pt x="43457" y="45349"/>
                  </a:lnTo>
                  <a:lnTo>
                    <a:pt x="45405" y="45238"/>
                  </a:lnTo>
                  <a:lnTo>
                    <a:pt x="47352" y="45015"/>
                  </a:lnTo>
                  <a:lnTo>
                    <a:pt x="49244" y="44737"/>
                  </a:lnTo>
                  <a:lnTo>
                    <a:pt x="51080" y="44459"/>
                  </a:lnTo>
                  <a:lnTo>
                    <a:pt x="52916" y="44125"/>
                  </a:lnTo>
                  <a:lnTo>
                    <a:pt x="54697" y="43680"/>
                  </a:lnTo>
                  <a:lnTo>
                    <a:pt x="56422" y="43235"/>
                  </a:lnTo>
                  <a:lnTo>
                    <a:pt x="58147" y="42734"/>
                  </a:lnTo>
                  <a:lnTo>
                    <a:pt x="59760" y="42177"/>
                  </a:lnTo>
                  <a:lnTo>
                    <a:pt x="61374" y="41621"/>
                  </a:lnTo>
                  <a:lnTo>
                    <a:pt x="62876" y="40953"/>
                  </a:lnTo>
                  <a:lnTo>
                    <a:pt x="64379" y="40285"/>
                  </a:lnTo>
                  <a:lnTo>
                    <a:pt x="65770" y="39562"/>
                  </a:lnTo>
                  <a:lnTo>
                    <a:pt x="67161" y="38839"/>
                  </a:lnTo>
                  <a:lnTo>
                    <a:pt x="68441" y="38004"/>
                  </a:lnTo>
                  <a:lnTo>
                    <a:pt x="69665" y="37225"/>
                  </a:lnTo>
                  <a:lnTo>
                    <a:pt x="70833" y="36335"/>
                  </a:lnTo>
                  <a:lnTo>
                    <a:pt x="71946" y="35445"/>
                  </a:lnTo>
                  <a:lnTo>
                    <a:pt x="72948" y="34554"/>
                  </a:lnTo>
                  <a:lnTo>
                    <a:pt x="73894" y="33553"/>
                  </a:lnTo>
                  <a:lnTo>
                    <a:pt x="74728" y="32607"/>
                  </a:lnTo>
                  <a:lnTo>
                    <a:pt x="75507" y="31605"/>
                  </a:lnTo>
                  <a:lnTo>
                    <a:pt x="76231" y="30548"/>
                  </a:lnTo>
                  <a:lnTo>
                    <a:pt x="76843" y="29491"/>
                  </a:lnTo>
                  <a:lnTo>
                    <a:pt x="77343" y="28434"/>
                  </a:lnTo>
                  <a:lnTo>
                    <a:pt x="77789" y="27321"/>
                  </a:lnTo>
                  <a:lnTo>
                    <a:pt x="78122" y="26208"/>
                  </a:lnTo>
                  <a:lnTo>
                    <a:pt x="78401" y="25039"/>
                  </a:lnTo>
                  <a:lnTo>
                    <a:pt x="78512" y="23927"/>
                  </a:lnTo>
                  <a:lnTo>
                    <a:pt x="78568" y="22702"/>
                  </a:lnTo>
                  <a:lnTo>
                    <a:pt x="78512" y="21534"/>
                  </a:lnTo>
                  <a:lnTo>
                    <a:pt x="78345" y="20421"/>
                  </a:lnTo>
                  <a:lnTo>
                    <a:pt x="78067" y="19253"/>
                  </a:lnTo>
                  <a:lnTo>
                    <a:pt x="77733" y="18140"/>
                  </a:lnTo>
                  <a:lnTo>
                    <a:pt x="77288" y="17027"/>
                  </a:lnTo>
                  <a:lnTo>
                    <a:pt x="76787" y="15970"/>
                  </a:lnTo>
                  <a:lnTo>
                    <a:pt x="76119" y="14912"/>
                  </a:lnTo>
                  <a:lnTo>
                    <a:pt x="75452" y="13855"/>
                  </a:lnTo>
                  <a:lnTo>
                    <a:pt x="74617" y="12854"/>
                  </a:lnTo>
                  <a:lnTo>
                    <a:pt x="73782" y="11908"/>
                  </a:lnTo>
                  <a:lnTo>
                    <a:pt x="72836" y="10906"/>
                  </a:lnTo>
                  <a:lnTo>
                    <a:pt x="71779" y="10016"/>
                  </a:lnTo>
                  <a:lnTo>
                    <a:pt x="70666" y="9126"/>
                  </a:lnTo>
                  <a:lnTo>
                    <a:pt x="69498" y="8235"/>
                  </a:lnTo>
                  <a:lnTo>
                    <a:pt x="68274" y="7456"/>
                  </a:lnTo>
                  <a:lnTo>
                    <a:pt x="66994" y="6622"/>
                  </a:lnTo>
                  <a:lnTo>
                    <a:pt x="65603" y="5898"/>
                  </a:lnTo>
                  <a:lnTo>
                    <a:pt x="64156" y="5175"/>
                  </a:lnTo>
                  <a:lnTo>
                    <a:pt x="62710" y="4507"/>
                  </a:lnTo>
                  <a:lnTo>
                    <a:pt x="61152" y="3840"/>
                  </a:lnTo>
                  <a:lnTo>
                    <a:pt x="59538" y="3283"/>
                  </a:lnTo>
                  <a:lnTo>
                    <a:pt x="57924" y="2727"/>
                  </a:lnTo>
                  <a:lnTo>
                    <a:pt x="56199" y="2226"/>
                  </a:lnTo>
                  <a:lnTo>
                    <a:pt x="54474" y="1781"/>
                  </a:lnTo>
                  <a:lnTo>
                    <a:pt x="52694" y="1336"/>
                  </a:lnTo>
                  <a:lnTo>
                    <a:pt x="50858" y="1002"/>
                  </a:lnTo>
                  <a:lnTo>
                    <a:pt x="48966" y="668"/>
                  </a:lnTo>
                  <a:lnTo>
                    <a:pt x="47074" y="445"/>
                  </a:lnTo>
                  <a:lnTo>
                    <a:pt x="45127" y="223"/>
                  </a:lnTo>
                  <a:lnTo>
                    <a:pt x="43179" y="111"/>
                  </a:lnTo>
                  <a:lnTo>
                    <a:pt x="41176" y="0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" name="Google Shape;17368;p84">
              <a:extLst>
                <a:ext uri="{FF2B5EF4-FFF2-40B4-BE49-F238E27FC236}">
                  <a16:creationId xmlns:a16="http://schemas.microsoft.com/office/drawing/2014/main" id="{AA75AF79-74D8-5800-CC22-D6C09EDE4A66}"/>
                </a:ext>
              </a:extLst>
            </p:cNvPr>
            <p:cNvSpPr/>
            <p:nvPr/>
          </p:nvSpPr>
          <p:spPr>
            <a:xfrm>
              <a:off x="1409025" y="2385925"/>
              <a:ext cx="1562175" cy="904200"/>
            </a:xfrm>
            <a:custGeom>
              <a:avLst/>
              <a:gdLst/>
              <a:ahLst/>
              <a:cxnLst/>
              <a:rect l="l" t="t" r="r" b="b"/>
              <a:pathLst>
                <a:path w="62487" h="36168" extrusionOk="0">
                  <a:moveTo>
                    <a:pt x="29546" y="0"/>
                  </a:moveTo>
                  <a:lnTo>
                    <a:pt x="27933" y="111"/>
                  </a:lnTo>
                  <a:lnTo>
                    <a:pt x="26375" y="223"/>
                  </a:lnTo>
                  <a:lnTo>
                    <a:pt x="24872" y="390"/>
                  </a:lnTo>
                  <a:lnTo>
                    <a:pt x="23370" y="557"/>
                  </a:lnTo>
                  <a:lnTo>
                    <a:pt x="21868" y="835"/>
                  </a:lnTo>
                  <a:lnTo>
                    <a:pt x="20421" y="1113"/>
                  </a:lnTo>
                  <a:lnTo>
                    <a:pt x="19030" y="1391"/>
                  </a:lnTo>
                  <a:lnTo>
                    <a:pt x="17639" y="1781"/>
                  </a:lnTo>
                  <a:lnTo>
                    <a:pt x="16303" y="2170"/>
                  </a:lnTo>
                  <a:lnTo>
                    <a:pt x="14968" y="2615"/>
                  </a:lnTo>
                  <a:lnTo>
                    <a:pt x="13688" y="3061"/>
                  </a:lnTo>
                  <a:lnTo>
                    <a:pt x="12464" y="3561"/>
                  </a:lnTo>
                  <a:lnTo>
                    <a:pt x="11296" y="4118"/>
                  </a:lnTo>
                  <a:lnTo>
                    <a:pt x="10183" y="4674"/>
                  </a:lnTo>
                  <a:lnTo>
                    <a:pt x="9126" y="5286"/>
                  </a:lnTo>
                  <a:lnTo>
                    <a:pt x="8068" y="5898"/>
                  </a:lnTo>
                  <a:lnTo>
                    <a:pt x="7067" y="6566"/>
                  </a:lnTo>
                  <a:lnTo>
                    <a:pt x="6176" y="7234"/>
                  </a:lnTo>
                  <a:lnTo>
                    <a:pt x="5286" y="7957"/>
                  </a:lnTo>
                  <a:lnTo>
                    <a:pt x="4507" y="8680"/>
                  </a:lnTo>
                  <a:lnTo>
                    <a:pt x="3728" y="9459"/>
                  </a:lnTo>
                  <a:lnTo>
                    <a:pt x="3061" y="10238"/>
                  </a:lnTo>
                  <a:lnTo>
                    <a:pt x="2448" y="11017"/>
                  </a:lnTo>
                  <a:lnTo>
                    <a:pt x="1892" y="11852"/>
                  </a:lnTo>
                  <a:lnTo>
                    <a:pt x="1391" y="12687"/>
                  </a:lnTo>
                  <a:lnTo>
                    <a:pt x="1002" y="13577"/>
                  </a:lnTo>
                  <a:lnTo>
                    <a:pt x="668" y="14412"/>
                  </a:lnTo>
                  <a:lnTo>
                    <a:pt x="390" y="15302"/>
                  </a:lnTo>
                  <a:lnTo>
                    <a:pt x="167" y="16248"/>
                  </a:lnTo>
                  <a:lnTo>
                    <a:pt x="56" y="17138"/>
                  </a:lnTo>
                  <a:lnTo>
                    <a:pt x="0" y="18084"/>
                  </a:lnTo>
                  <a:lnTo>
                    <a:pt x="56" y="19030"/>
                  </a:lnTo>
                  <a:lnTo>
                    <a:pt x="223" y="19920"/>
                  </a:lnTo>
                  <a:lnTo>
                    <a:pt x="390" y="20810"/>
                  </a:lnTo>
                  <a:lnTo>
                    <a:pt x="668" y="21701"/>
                  </a:lnTo>
                  <a:lnTo>
                    <a:pt x="1057" y="22591"/>
                  </a:lnTo>
                  <a:lnTo>
                    <a:pt x="1447" y="23481"/>
                  </a:lnTo>
                  <a:lnTo>
                    <a:pt x="1948" y="24316"/>
                  </a:lnTo>
                  <a:lnTo>
                    <a:pt x="2504" y="25095"/>
                  </a:lnTo>
                  <a:lnTo>
                    <a:pt x="3172" y="25930"/>
                  </a:lnTo>
                  <a:lnTo>
                    <a:pt x="3840" y="26709"/>
                  </a:lnTo>
                  <a:lnTo>
                    <a:pt x="4619" y="27432"/>
                  </a:lnTo>
                  <a:lnTo>
                    <a:pt x="5398" y="28211"/>
                  </a:lnTo>
                  <a:lnTo>
                    <a:pt x="6288" y="28879"/>
                  </a:lnTo>
                  <a:lnTo>
                    <a:pt x="7234" y="29602"/>
                  </a:lnTo>
                  <a:lnTo>
                    <a:pt x="8235" y="30214"/>
                  </a:lnTo>
                  <a:lnTo>
                    <a:pt x="9237" y="30882"/>
                  </a:lnTo>
                  <a:lnTo>
                    <a:pt x="10350" y="31438"/>
                  </a:lnTo>
                  <a:lnTo>
                    <a:pt x="11463" y="32050"/>
                  </a:lnTo>
                  <a:lnTo>
                    <a:pt x="12631" y="32551"/>
                  </a:lnTo>
                  <a:lnTo>
                    <a:pt x="13855" y="33052"/>
                  </a:lnTo>
                  <a:lnTo>
                    <a:pt x="15135" y="33553"/>
                  </a:lnTo>
                  <a:lnTo>
                    <a:pt x="16470" y="33998"/>
                  </a:lnTo>
                  <a:lnTo>
                    <a:pt x="17806" y="34387"/>
                  </a:lnTo>
                  <a:lnTo>
                    <a:pt x="19197" y="34721"/>
                  </a:lnTo>
                  <a:lnTo>
                    <a:pt x="20588" y="35055"/>
                  </a:lnTo>
                  <a:lnTo>
                    <a:pt x="22090" y="35333"/>
                  </a:lnTo>
                  <a:lnTo>
                    <a:pt x="23537" y="35611"/>
                  </a:lnTo>
                  <a:lnTo>
                    <a:pt x="25039" y="35778"/>
                  </a:lnTo>
                  <a:lnTo>
                    <a:pt x="26597" y="35945"/>
                  </a:lnTo>
                  <a:lnTo>
                    <a:pt x="28155" y="36057"/>
                  </a:lnTo>
                  <a:lnTo>
                    <a:pt x="29769" y="36168"/>
                  </a:lnTo>
                  <a:lnTo>
                    <a:pt x="32941" y="36168"/>
                  </a:lnTo>
                  <a:lnTo>
                    <a:pt x="34554" y="36057"/>
                  </a:lnTo>
                  <a:lnTo>
                    <a:pt x="36112" y="35945"/>
                  </a:lnTo>
                  <a:lnTo>
                    <a:pt x="37614" y="35778"/>
                  </a:lnTo>
                  <a:lnTo>
                    <a:pt x="39172" y="35611"/>
                  </a:lnTo>
                  <a:lnTo>
                    <a:pt x="40619" y="35333"/>
                  </a:lnTo>
                  <a:lnTo>
                    <a:pt x="42066" y="35055"/>
                  </a:lnTo>
                  <a:lnTo>
                    <a:pt x="43513" y="34721"/>
                  </a:lnTo>
                  <a:lnTo>
                    <a:pt x="44848" y="34387"/>
                  </a:lnTo>
                  <a:lnTo>
                    <a:pt x="46239" y="33998"/>
                  </a:lnTo>
                  <a:lnTo>
                    <a:pt x="47519" y="33553"/>
                  </a:lnTo>
                  <a:lnTo>
                    <a:pt x="48799" y="33052"/>
                  </a:lnTo>
                  <a:lnTo>
                    <a:pt x="50023" y="32551"/>
                  </a:lnTo>
                  <a:lnTo>
                    <a:pt x="51191" y="32050"/>
                  </a:lnTo>
                  <a:lnTo>
                    <a:pt x="52304" y="31438"/>
                  </a:lnTo>
                  <a:lnTo>
                    <a:pt x="53417" y="30882"/>
                  </a:lnTo>
                  <a:lnTo>
                    <a:pt x="54418" y="30214"/>
                  </a:lnTo>
                  <a:lnTo>
                    <a:pt x="55420" y="29602"/>
                  </a:lnTo>
                  <a:lnTo>
                    <a:pt x="56310" y="28879"/>
                  </a:lnTo>
                  <a:lnTo>
                    <a:pt x="57201" y="28211"/>
                  </a:lnTo>
                  <a:lnTo>
                    <a:pt x="57980" y="27432"/>
                  </a:lnTo>
                  <a:lnTo>
                    <a:pt x="58759" y="26709"/>
                  </a:lnTo>
                  <a:lnTo>
                    <a:pt x="59426" y="25930"/>
                  </a:lnTo>
                  <a:lnTo>
                    <a:pt x="60038" y="25095"/>
                  </a:lnTo>
                  <a:lnTo>
                    <a:pt x="60595" y="24316"/>
                  </a:lnTo>
                  <a:lnTo>
                    <a:pt x="61096" y="23481"/>
                  </a:lnTo>
                  <a:lnTo>
                    <a:pt x="61485" y="22591"/>
                  </a:lnTo>
                  <a:lnTo>
                    <a:pt x="61875" y="21701"/>
                  </a:lnTo>
                  <a:lnTo>
                    <a:pt x="62097" y="20810"/>
                  </a:lnTo>
                  <a:lnTo>
                    <a:pt x="62320" y="19920"/>
                  </a:lnTo>
                  <a:lnTo>
                    <a:pt x="62431" y="19030"/>
                  </a:lnTo>
                  <a:lnTo>
                    <a:pt x="62487" y="18084"/>
                  </a:lnTo>
                  <a:lnTo>
                    <a:pt x="62431" y="17138"/>
                  </a:lnTo>
                  <a:lnTo>
                    <a:pt x="62320" y="16248"/>
                  </a:lnTo>
                  <a:lnTo>
                    <a:pt x="62097" y="15302"/>
                  </a:lnTo>
                  <a:lnTo>
                    <a:pt x="61819" y="14412"/>
                  </a:lnTo>
                  <a:lnTo>
                    <a:pt x="61485" y="13577"/>
                  </a:lnTo>
                  <a:lnTo>
                    <a:pt x="61040" y="12687"/>
                  </a:lnTo>
                  <a:lnTo>
                    <a:pt x="60539" y="11852"/>
                  </a:lnTo>
                  <a:lnTo>
                    <a:pt x="59983" y="11017"/>
                  </a:lnTo>
                  <a:lnTo>
                    <a:pt x="59371" y="10238"/>
                  </a:lnTo>
                  <a:lnTo>
                    <a:pt x="58647" y="9459"/>
                  </a:lnTo>
                  <a:lnTo>
                    <a:pt x="57868" y="8680"/>
                  </a:lnTo>
                  <a:lnTo>
                    <a:pt x="57089" y="7957"/>
                  </a:lnTo>
                  <a:lnTo>
                    <a:pt x="56199" y="7234"/>
                  </a:lnTo>
                  <a:lnTo>
                    <a:pt x="55253" y="6566"/>
                  </a:lnTo>
                  <a:lnTo>
                    <a:pt x="54307" y="5898"/>
                  </a:lnTo>
                  <a:lnTo>
                    <a:pt x="53250" y="5286"/>
                  </a:lnTo>
                  <a:lnTo>
                    <a:pt x="52137" y="4674"/>
                  </a:lnTo>
                  <a:lnTo>
                    <a:pt x="51024" y="4118"/>
                  </a:lnTo>
                  <a:lnTo>
                    <a:pt x="49856" y="3561"/>
                  </a:lnTo>
                  <a:lnTo>
                    <a:pt x="48632" y="3061"/>
                  </a:lnTo>
                  <a:lnTo>
                    <a:pt x="47352" y="2615"/>
                  </a:lnTo>
                  <a:lnTo>
                    <a:pt x="46016" y="2170"/>
                  </a:lnTo>
                  <a:lnTo>
                    <a:pt x="44681" y="1781"/>
                  </a:lnTo>
                  <a:lnTo>
                    <a:pt x="43290" y="1391"/>
                  </a:lnTo>
                  <a:lnTo>
                    <a:pt x="41899" y="1113"/>
                  </a:lnTo>
                  <a:lnTo>
                    <a:pt x="40452" y="835"/>
                  </a:lnTo>
                  <a:lnTo>
                    <a:pt x="38950" y="557"/>
                  </a:lnTo>
                  <a:lnTo>
                    <a:pt x="37448" y="390"/>
                  </a:lnTo>
                  <a:lnTo>
                    <a:pt x="35890" y="223"/>
                  </a:lnTo>
                  <a:lnTo>
                    <a:pt x="34332" y="111"/>
                  </a:lnTo>
                  <a:lnTo>
                    <a:pt x="32774" y="0"/>
                  </a:lnTo>
                  <a:close/>
                </a:path>
              </a:pathLst>
            </a:custGeom>
            <a:solidFill>
              <a:srgbClr val="FFF3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" name="Google Shape;17369;p84">
              <a:extLst>
                <a:ext uri="{FF2B5EF4-FFF2-40B4-BE49-F238E27FC236}">
                  <a16:creationId xmlns:a16="http://schemas.microsoft.com/office/drawing/2014/main" id="{9BEE00D5-EDA5-36BB-FFCB-D1291508EB3D}"/>
                </a:ext>
              </a:extLst>
            </p:cNvPr>
            <p:cNvSpPr/>
            <p:nvPr/>
          </p:nvSpPr>
          <p:spPr>
            <a:xfrm>
              <a:off x="1207325" y="2838025"/>
              <a:ext cx="1964200" cy="709450"/>
            </a:xfrm>
            <a:custGeom>
              <a:avLst/>
              <a:gdLst/>
              <a:ahLst/>
              <a:cxnLst/>
              <a:rect l="l" t="t" r="r" b="b"/>
              <a:pathLst>
                <a:path w="78568" h="28378" extrusionOk="0">
                  <a:moveTo>
                    <a:pt x="56" y="0"/>
                  </a:moveTo>
                  <a:lnTo>
                    <a:pt x="0" y="5676"/>
                  </a:lnTo>
                  <a:lnTo>
                    <a:pt x="56" y="6844"/>
                  </a:lnTo>
                  <a:lnTo>
                    <a:pt x="223" y="7957"/>
                  </a:lnTo>
                  <a:lnTo>
                    <a:pt x="501" y="9125"/>
                  </a:lnTo>
                  <a:lnTo>
                    <a:pt x="835" y="10238"/>
                  </a:lnTo>
                  <a:lnTo>
                    <a:pt x="1280" y="11351"/>
                  </a:lnTo>
                  <a:lnTo>
                    <a:pt x="1836" y="12408"/>
                  </a:lnTo>
                  <a:lnTo>
                    <a:pt x="2448" y="13466"/>
                  </a:lnTo>
                  <a:lnTo>
                    <a:pt x="3172" y="14523"/>
                  </a:lnTo>
                  <a:lnTo>
                    <a:pt x="3951" y="15524"/>
                  </a:lnTo>
                  <a:lnTo>
                    <a:pt x="4841" y="16470"/>
                  </a:lnTo>
                  <a:lnTo>
                    <a:pt x="5787" y="17472"/>
                  </a:lnTo>
                  <a:lnTo>
                    <a:pt x="6788" y="18362"/>
                  </a:lnTo>
                  <a:lnTo>
                    <a:pt x="7901" y="19252"/>
                  </a:lnTo>
                  <a:lnTo>
                    <a:pt x="9070" y="20143"/>
                  </a:lnTo>
                  <a:lnTo>
                    <a:pt x="10294" y="20922"/>
                  </a:lnTo>
                  <a:lnTo>
                    <a:pt x="11629" y="21756"/>
                  </a:lnTo>
                  <a:lnTo>
                    <a:pt x="12965" y="22480"/>
                  </a:lnTo>
                  <a:lnTo>
                    <a:pt x="14411" y="23203"/>
                  </a:lnTo>
                  <a:lnTo>
                    <a:pt x="15914" y="23871"/>
                  </a:lnTo>
                  <a:lnTo>
                    <a:pt x="17472" y="24538"/>
                  </a:lnTo>
                  <a:lnTo>
                    <a:pt x="19030" y="25095"/>
                  </a:lnTo>
                  <a:lnTo>
                    <a:pt x="20699" y="25651"/>
                  </a:lnTo>
                  <a:lnTo>
                    <a:pt x="22368" y="26152"/>
                  </a:lnTo>
                  <a:lnTo>
                    <a:pt x="24149" y="26597"/>
                  </a:lnTo>
                  <a:lnTo>
                    <a:pt x="25929" y="27042"/>
                  </a:lnTo>
                  <a:lnTo>
                    <a:pt x="27766" y="27376"/>
                  </a:lnTo>
                  <a:lnTo>
                    <a:pt x="29602" y="27710"/>
                  </a:lnTo>
                  <a:lnTo>
                    <a:pt x="31494" y="27933"/>
                  </a:lnTo>
                  <a:lnTo>
                    <a:pt x="33441" y="28155"/>
                  </a:lnTo>
                  <a:lnTo>
                    <a:pt x="35389" y="28266"/>
                  </a:lnTo>
                  <a:lnTo>
                    <a:pt x="37392" y="28378"/>
                  </a:lnTo>
                  <a:lnTo>
                    <a:pt x="41454" y="28378"/>
                  </a:lnTo>
                  <a:lnTo>
                    <a:pt x="43457" y="28266"/>
                  </a:lnTo>
                  <a:lnTo>
                    <a:pt x="45404" y="28155"/>
                  </a:lnTo>
                  <a:lnTo>
                    <a:pt x="47352" y="27933"/>
                  </a:lnTo>
                  <a:lnTo>
                    <a:pt x="49244" y="27710"/>
                  </a:lnTo>
                  <a:lnTo>
                    <a:pt x="51080" y="27376"/>
                  </a:lnTo>
                  <a:lnTo>
                    <a:pt x="52916" y="27042"/>
                  </a:lnTo>
                  <a:lnTo>
                    <a:pt x="54697" y="26597"/>
                  </a:lnTo>
                  <a:lnTo>
                    <a:pt x="56421" y="26152"/>
                  </a:lnTo>
                  <a:lnTo>
                    <a:pt x="58146" y="25651"/>
                  </a:lnTo>
                  <a:lnTo>
                    <a:pt x="59760" y="25095"/>
                  </a:lnTo>
                  <a:lnTo>
                    <a:pt x="61374" y="24538"/>
                  </a:lnTo>
                  <a:lnTo>
                    <a:pt x="62932" y="23871"/>
                  </a:lnTo>
                  <a:lnTo>
                    <a:pt x="64378" y="23203"/>
                  </a:lnTo>
                  <a:lnTo>
                    <a:pt x="65825" y="22480"/>
                  </a:lnTo>
                  <a:lnTo>
                    <a:pt x="67160" y="21756"/>
                  </a:lnTo>
                  <a:lnTo>
                    <a:pt x="68440" y="20922"/>
                  </a:lnTo>
                  <a:lnTo>
                    <a:pt x="69664" y="20143"/>
                  </a:lnTo>
                  <a:lnTo>
                    <a:pt x="70833" y="19252"/>
                  </a:lnTo>
                  <a:lnTo>
                    <a:pt x="71946" y="18362"/>
                  </a:lnTo>
                  <a:lnTo>
                    <a:pt x="72947" y="17472"/>
                  </a:lnTo>
                  <a:lnTo>
                    <a:pt x="73893" y="16470"/>
                  </a:lnTo>
                  <a:lnTo>
                    <a:pt x="74783" y="15524"/>
                  </a:lnTo>
                  <a:lnTo>
                    <a:pt x="75562" y="14523"/>
                  </a:lnTo>
                  <a:lnTo>
                    <a:pt x="76230" y="13466"/>
                  </a:lnTo>
                  <a:lnTo>
                    <a:pt x="76842" y="12408"/>
                  </a:lnTo>
                  <a:lnTo>
                    <a:pt x="77399" y="11351"/>
                  </a:lnTo>
                  <a:lnTo>
                    <a:pt x="77788" y="10238"/>
                  </a:lnTo>
                  <a:lnTo>
                    <a:pt x="78122" y="9125"/>
                  </a:lnTo>
                  <a:lnTo>
                    <a:pt x="78400" y="7957"/>
                  </a:lnTo>
                  <a:lnTo>
                    <a:pt x="78511" y="6844"/>
                  </a:lnTo>
                  <a:lnTo>
                    <a:pt x="78567" y="5676"/>
                  </a:lnTo>
                  <a:lnTo>
                    <a:pt x="78567" y="1169"/>
                  </a:lnTo>
                  <a:lnTo>
                    <a:pt x="78400" y="2337"/>
                  </a:lnTo>
                  <a:lnTo>
                    <a:pt x="78178" y="3450"/>
                  </a:lnTo>
                  <a:lnTo>
                    <a:pt x="77844" y="4563"/>
                  </a:lnTo>
                  <a:lnTo>
                    <a:pt x="77399" y="5676"/>
                  </a:lnTo>
                  <a:lnTo>
                    <a:pt x="76842" y="6788"/>
                  </a:lnTo>
                  <a:lnTo>
                    <a:pt x="76230" y="7846"/>
                  </a:lnTo>
                  <a:lnTo>
                    <a:pt x="75562" y="8847"/>
                  </a:lnTo>
                  <a:lnTo>
                    <a:pt x="74783" y="9849"/>
                  </a:lnTo>
                  <a:lnTo>
                    <a:pt x="73893" y="10850"/>
                  </a:lnTo>
                  <a:lnTo>
                    <a:pt x="72947" y="11796"/>
                  </a:lnTo>
                  <a:lnTo>
                    <a:pt x="71946" y="12742"/>
                  </a:lnTo>
                  <a:lnTo>
                    <a:pt x="70888" y="13632"/>
                  </a:lnTo>
                  <a:lnTo>
                    <a:pt x="69720" y="14467"/>
                  </a:lnTo>
                  <a:lnTo>
                    <a:pt x="68496" y="15302"/>
                  </a:lnTo>
                  <a:lnTo>
                    <a:pt x="67160" y="16081"/>
                  </a:lnTo>
                  <a:lnTo>
                    <a:pt x="65825" y="16860"/>
                  </a:lnTo>
                  <a:lnTo>
                    <a:pt x="64378" y="17527"/>
                  </a:lnTo>
                  <a:lnTo>
                    <a:pt x="62932" y="18251"/>
                  </a:lnTo>
                  <a:lnTo>
                    <a:pt x="61374" y="18863"/>
                  </a:lnTo>
                  <a:lnTo>
                    <a:pt x="59816" y="19475"/>
                  </a:lnTo>
                  <a:lnTo>
                    <a:pt x="58146" y="19976"/>
                  </a:lnTo>
                  <a:lnTo>
                    <a:pt x="56477" y="20476"/>
                  </a:lnTo>
                  <a:lnTo>
                    <a:pt x="54752" y="20977"/>
                  </a:lnTo>
                  <a:lnTo>
                    <a:pt x="52916" y="21367"/>
                  </a:lnTo>
                  <a:lnTo>
                    <a:pt x="51135" y="21701"/>
                  </a:lnTo>
                  <a:lnTo>
                    <a:pt x="49244" y="22034"/>
                  </a:lnTo>
                  <a:lnTo>
                    <a:pt x="47352" y="22257"/>
                  </a:lnTo>
                  <a:lnTo>
                    <a:pt x="45404" y="22480"/>
                  </a:lnTo>
                  <a:lnTo>
                    <a:pt x="43457" y="22647"/>
                  </a:lnTo>
                  <a:lnTo>
                    <a:pt x="41454" y="22702"/>
                  </a:lnTo>
                  <a:lnTo>
                    <a:pt x="39451" y="22758"/>
                  </a:lnTo>
                  <a:lnTo>
                    <a:pt x="37447" y="22702"/>
                  </a:lnTo>
                  <a:lnTo>
                    <a:pt x="35444" y="22647"/>
                  </a:lnTo>
                  <a:lnTo>
                    <a:pt x="33441" y="22480"/>
                  </a:lnTo>
                  <a:lnTo>
                    <a:pt x="31549" y="22257"/>
                  </a:lnTo>
                  <a:lnTo>
                    <a:pt x="29602" y="22034"/>
                  </a:lnTo>
                  <a:lnTo>
                    <a:pt x="27766" y="21701"/>
                  </a:lnTo>
                  <a:lnTo>
                    <a:pt x="25929" y="21367"/>
                  </a:lnTo>
                  <a:lnTo>
                    <a:pt x="24149" y="20977"/>
                  </a:lnTo>
                  <a:lnTo>
                    <a:pt x="22424" y="20476"/>
                  </a:lnTo>
                  <a:lnTo>
                    <a:pt x="20699" y="19976"/>
                  </a:lnTo>
                  <a:lnTo>
                    <a:pt x="19030" y="19475"/>
                  </a:lnTo>
                  <a:lnTo>
                    <a:pt x="17472" y="18863"/>
                  </a:lnTo>
                  <a:lnTo>
                    <a:pt x="15914" y="18251"/>
                  </a:lnTo>
                  <a:lnTo>
                    <a:pt x="14411" y="17527"/>
                  </a:lnTo>
                  <a:lnTo>
                    <a:pt x="13020" y="16860"/>
                  </a:lnTo>
                  <a:lnTo>
                    <a:pt x="11629" y="16081"/>
                  </a:lnTo>
                  <a:lnTo>
                    <a:pt x="10350" y="15302"/>
                  </a:lnTo>
                  <a:lnTo>
                    <a:pt x="9070" y="14467"/>
                  </a:lnTo>
                  <a:lnTo>
                    <a:pt x="7901" y="13632"/>
                  </a:lnTo>
                  <a:lnTo>
                    <a:pt x="6844" y="12742"/>
                  </a:lnTo>
                  <a:lnTo>
                    <a:pt x="5787" y="11796"/>
                  </a:lnTo>
                  <a:lnTo>
                    <a:pt x="4841" y="10850"/>
                  </a:lnTo>
                  <a:lnTo>
                    <a:pt x="3951" y="9849"/>
                  </a:lnTo>
                  <a:lnTo>
                    <a:pt x="3172" y="8847"/>
                  </a:lnTo>
                  <a:lnTo>
                    <a:pt x="2448" y="7846"/>
                  </a:lnTo>
                  <a:lnTo>
                    <a:pt x="1836" y="6788"/>
                  </a:lnTo>
                  <a:lnTo>
                    <a:pt x="1280" y="5676"/>
                  </a:lnTo>
                  <a:lnTo>
                    <a:pt x="890" y="4563"/>
                  </a:lnTo>
                  <a:lnTo>
                    <a:pt x="501" y="3450"/>
                  </a:lnTo>
                  <a:lnTo>
                    <a:pt x="278" y="2337"/>
                  </a:lnTo>
                  <a:lnTo>
                    <a:pt x="111" y="1169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BF9D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" name="Google Shape;17370;p84">
              <a:extLst>
                <a:ext uri="{FF2B5EF4-FFF2-40B4-BE49-F238E27FC236}">
                  <a16:creationId xmlns:a16="http://schemas.microsoft.com/office/drawing/2014/main" id="{AB7C6F3F-13A4-368E-14E6-A646CE1AF826}"/>
                </a:ext>
              </a:extLst>
            </p:cNvPr>
            <p:cNvSpPr/>
            <p:nvPr/>
          </p:nvSpPr>
          <p:spPr>
            <a:xfrm>
              <a:off x="1208700" y="2269075"/>
              <a:ext cx="1962825" cy="1137900"/>
            </a:xfrm>
            <a:custGeom>
              <a:avLst/>
              <a:gdLst/>
              <a:ahLst/>
              <a:cxnLst/>
              <a:rect l="l" t="t" r="r" b="b"/>
              <a:pathLst>
                <a:path w="78513" h="45516" extrusionOk="0">
                  <a:moveTo>
                    <a:pt x="40787" y="4674"/>
                  </a:moveTo>
                  <a:lnTo>
                    <a:pt x="42345" y="4785"/>
                  </a:lnTo>
                  <a:lnTo>
                    <a:pt x="43903" y="4897"/>
                  </a:lnTo>
                  <a:lnTo>
                    <a:pt x="45461" y="5064"/>
                  </a:lnTo>
                  <a:lnTo>
                    <a:pt x="46963" y="5231"/>
                  </a:lnTo>
                  <a:lnTo>
                    <a:pt x="48465" y="5509"/>
                  </a:lnTo>
                  <a:lnTo>
                    <a:pt x="49912" y="5787"/>
                  </a:lnTo>
                  <a:lnTo>
                    <a:pt x="51303" y="6065"/>
                  </a:lnTo>
                  <a:lnTo>
                    <a:pt x="52694" y="6455"/>
                  </a:lnTo>
                  <a:lnTo>
                    <a:pt x="54029" y="6844"/>
                  </a:lnTo>
                  <a:lnTo>
                    <a:pt x="55365" y="7289"/>
                  </a:lnTo>
                  <a:lnTo>
                    <a:pt x="56645" y="7735"/>
                  </a:lnTo>
                  <a:lnTo>
                    <a:pt x="57869" y="8235"/>
                  </a:lnTo>
                  <a:lnTo>
                    <a:pt x="59037" y="8792"/>
                  </a:lnTo>
                  <a:lnTo>
                    <a:pt x="60150" y="9348"/>
                  </a:lnTo>
                  <a:lnTo>
                    <a:pt x="61263" y="9960"/>
                  </a:lnTo>
                  <a:lnTo>
                    <a:pt x="62320" y="10572"/>
                  </a:lnTo>
                  <a:lnTo>
                    <a:pt x="63266" y="11240"/>
                  </a:lnTo>
                  <a:lnTo>
                    <a:pt x="64212" y="11908"/>
                  </a:lnTo>
                  <a:lnTo>
                    <a:pt x="65102" y="12631"/>
                  </a:lnTo>
                  <a:lnTo>
                    <a:pt x="65881" y="13354"/>
                  </a:lnTo>
                  <a:lnTo>
                    <a:pt x="66660" y="14133"/>
                  </a:lnTo>
                  <a:lnTo>
                    <a:pt x="67384" y="14912"/>
                  </a:lnTo>
                  <a:lnTo>
                    <a:pt x="67996" y="15691"/>
                  </a:lnTo>
                  <a:lnTo>
                    <a:pt x="68552" y="16526"/>
                  </a:lnTo>
                  <a:lnTo>
                    <a:pt x="69053" y="17361"/>
                  </a:lnTo>
                  <a:lnTo>
                    <a:pt x="69498" y="18251"/>
                  </a:lnTo>
                  <a:lnTo>
                    <a:pt x="69832" y="19086"/>
                  </a:lnTo>
                  <a:lnTo>
                    <a:pt x="70110" y="19976"/>
                  </a:lnTo>
                  <a:lnTo>
                    <a:pt x="70333" y="20922"/>
                  </a:lnTo>
                  <a:lnTo>
                    <a:pt x="70444" y="21812"/>
                  </a:lnTo>
                  <a:lnTo>
                    <a:pt x="70500" y="22758"/>
                  </a:lnTo>
                  <a:lnTo>
                    <a:pt x="70444" y="23704"/>
                  </a:lnTo>
                  <a:lnTo>
                    <a:pt x="70333" y="24594"/>
                  </a:lnTo>
                  <a:lnTo>
                    <a:pt x="70110" y="25484"/>
                  </a:lnTo>
                  <a:lnTo>
                    <a:pt x="69888" y="26375"/>
                  </a:lnTo>
                  <a:lnTo>
                    <a:pt x="69498" y="27265"/>
                  </a:lnTo>
                  <a:lnTo>
                    <a:pt x="69109" y="28155"/>
                  </a:lnTo>
                  <a:lnTo>
                    <a:pt x="68608" y="28990"/>
                  </a:lnTo>
                  <a:lnTo>
                    <a:pt x="68051" y="29769"/>
                  </a:lnTo>
                  <a:lnTo>
                    <a:pt x="67439" y="30604"/>
                  </a:lnTo>
                  <a:lnTo>
                    <a:pt x="66772" y="31383"/>
                  </a:lnTo>
                  <a:lnTo>
                    <a:pt x="65993" y="32106"/>
                  </a:lnTo>
                  <a:lnTo>
                    <a:pt x="65214" y="32885"/>
                  </a:lnTo>
                  <a:lnTo>
                    <a:pt x="64323" y="33553"/>
                  </a:lnTo>
                  <a:lnTo>
                    <a:pt x="63433" y="34276"/>
                  </a:lnTo>
                  <a:lnTo>
                    <a:pt x="62431" y="34888"/>
                  </a:lnTo>
                  <a:lnTo>
                    <a:pt x="61430" y="35556"/>
                  </a:lnTo>
                  <a:lnTo>
                    <a:pt x="60317" y="36112"/>
                  </a:lnTo>
                  <a:lnTo>
                    <a:pt x="59204" y="36724"/>
                  </a:lnTo>
                  <a:lnTo>
                    <a:pt x="58036" y="37225"/>
                  </a:lnTo>
                  <a:lnTo>
                    <a:pt x="56812" y="37726"/>
                  </a:lnTo>
                  <a:lnTo>
                    <a:pt x="55532" y="38227"/>
                  </a:lnTo>
                  <a:lnTo>
                    <a:pt x="54252" y="38672"/>
                  </a:lnTo>
                  <a:lnTo>
                    <a:pt x="52861" y="39061"/>
                  </a:lnTo>
                  <a:lnTo>
                    <a:pt x="51526" y="39395"/>
                  </a:lnTo>
                  <a:lnTo>
                    <a:pt x="50079" y="39729"/>
                  </a:lnTo>
                  <a:lnTo>
                    <a:pt x="48632" y="40007"/>
                  </a:lnTo>
                  <a:lnTo>
                    <a:pt x="47185" y="40285"/>
                  </a:lnTo>
                  <a:lnTo>
                    <a:pt x="45627" y="40452"/>
                  </a:lnTo>
                  <a:lnTo>
                    <a:pt x="44125" y="40619"/>
                  </a:lnTo>
                  <a:lnTo>
                    <a:pt x="42567" y="40731"/>
                  </a:lnTo>
                  <a:lnTo>
                    <a:pt x="40954" y="40842"/>
                  </a:lnTo>
                  <a:lnTo>
                    <a:pt x="37782" y="40842"/>
                  </a:lnTo>
                  <a:lnTo>
                    <a:pt x="36168" y="40731"/>
                  </a:lnTo>
                  <a:lnTo>
                    <a:pt x="34610" y="40619"/>
                  </a:lnTo>
                  <a:lnTo>
                    <a:pt x="33052" y="40452"/>
                  </a:lnTo>
                  <a:lnTo>
                    <a:pt x="31550" y="40285"/>
                  </a:lnTo>
                  <a:lnTo>
                    <a:pt x="30103" y="40007"/>
                  </a:lnTo>
                  <a:lnTo>
                    <a:pt x="28601" y="39729"/>
                  </a:lnTo>
                  <a:lnTo>
                    <a:pt x="27210" y="39395"/>
                  </a:lnTo>
                  <a:lnTo>
                    <a:pt x="25819" y="39061"/>
                  </a:lnTo>
                  <a:lnTo>
                    <a:pt x="24483" y="38672"/>
                  </a:lnTo>
                  <a:lnTo>
                    <a:pt x="23148" y="38227"/>
                  </a:lnTo>
                  <a:lnTo>
                    <a:pt x="21868" y="37726"/>
                  </a:lnTo>
                  <a:lnTo>
                    <a:pt x="20644" y="37225"/>
                  </a:lnTo>
                  <a:lnTo>
                    <a:pt x="19476" y="36724"/>
                  </a:lnTo>
                  <a:lnTo>
                    <a:pt x="18363" y="36112"/>
                  </a:lnTo>
                  <a:lnTo>
                    <a:pt x="17250" y="35556"/>
                  </a:lnTo>
                  <a:lnTo>
                    <a:pt x="16248" y="34888"/>
                  </a:lnTo>
                  <a:lnTo>
                    <a:pt x="15247" y="34276"/>
                  </a:lnTo>
                  <a:lnTo>
                    <a:pt x="14301" y="33553"/>
                  </a:lnTo>
                  <a:lnTo>
                    <a:pt x="13411" y="32885"/>
                  </a:lnTo>
                  <a:lnTo>
                    <a:pt x="12632" y="32106"/>
                  </a:lnTo>
                  <a:lnTo>
                    <a:pt x="11853" y="31383"/>
                  </a:lnTo>
                  <a:lnTo>
                    <a:pt x="11185" y="30604"/>
                  </a:lnTo>
                  <a:lnTo>
                    <a:pt x="10517" y="29769"/>
                  </a:lnTo>
                  <a:lnTo>
                    <a:pt x="9961" y="28990"/>
                  </a:lnTo>
                  <a:lnTo>
                    <a:pt x="9460" y="28155"/>
                  </a:lnTo>
                  <a:lnTo>
                    <a:pt x="9070" y="27265"/>
                  </a:lnTo>
                  <a:lnTo>
                    <a:pt x="8681" y="26375"/>
                  </a:lnTo>
                  <a:lnTo>
                    <a:pt x="8403" y="25484"/>
                  </a:lnTo>
                  <a:lnTo>
                    <a:pt x="8236" y="24594"/>
                  </a:lnTo>
                  <a:lnTo>
                    <a:pt x="8069" y="23704"/>
                  </a:lnTo>
                  <a:lnTo>
                    <a:pt x="8013" y="22758"/>
                  </a:lnTo>
                  <a:lnTo>
                    <a:pt x="8069" y="21812"/>
                  </a:lnTo>
                  <a:lnTo>
                    <a:pt x="8180" y="20922"/>
                  </a:lnTo>
                  <a:lnTo>
                    <a:pt x="8403" y="19976"/>
                  </a:lnTo>
                  <a:lnTo>
                    <a:pt x="8681" y="19086"/>
                  </a:lnTo>
                  <a:lnTo>
                    <a:pt x="9015" y="18251"/>
                  </a:lnTo>
                  <a:lnTo>
                    <a:pt x="9404" y="17361"/>
                  </a:lnTo>
                  <a:lnTo>
                    <a:pt x="9905" y="16526"/>
                  </a:lnTo>
                  <a:lnTo>
                    <a:pt x="10461" y="15691"/>
                  </a:lnTo>
                  <a:lnTo>
                    <a:pt x="11074" y="14912"/>
                  </a:lnTo>
                  <a:lnTo>
                    <a:pt x="11741" y="14133"/>
                  </a:lnTo>
                  <a:lnTo>
                    <a:pt x="12520" y="13354"/>
                  </a:lnTo>
                  <a:lnTo>
                    <a:pt x="13299" y="12631"/>
                  </a:lnTo>
                  <a:lnTo>
                    <a:pt x="14189" y="11908"/>
                  </a:lnTo>
                  <a:lnTo>
                    <a:pt x="15080" y="11240"/>
                  </a:lnTo>
                  <a:lnTo>
                    <a:pt x="16081" y="10572"/>
                  </a:lnTo>
                  <a:lnTo>
                    <a:pt x="17139" y="9960"/>
                  </a:lnTo>
                  <a:lnTo>
                    <a:pt x="18196" y="9348"/>
                  </a:lnTo>
                  <a:lnTo>
                    <a:pt x="19309" y="8792"/>
                  </a:lnTo>
                  <a:lnTo>
                    <a:pt x="20477" y="8235"/>
                  </a:lnTo>
                  <a:lnTo>
                    <a:pt x="21701" y="7735"/>
                  </a:lnTo>
                  <a:lnTo>
                    <a:pt x="22981" y="7289"/>
                  </a:lnTo>
                  <a:lnTo>
                    <a:pt x="24316" y="6844"/>
                  </a:lnTo>
                  <a:lnTo>
                    <a:pt x="25652" y="6455"/>
                  </a:lnTo>
                  <a:lnTo>
                    <a:pt x="27043" y="6065"/>
                  </a:lnTo>
                  <a:lnTo>
                    <a:pt x="28434" y="5787"/>
                  </a:lnTo>
                  <a:lnTo>
                    <a:pt x="29881" y="5509"/>
                  </a:lnTo>
                  <a:lnTo>
                    <a:pt x="31383" y="5231"/>
                  </a:lnTo>
                  <a:lnTo>
                    <a:pt x="32885" y="5064"/>
                  </a:lnTo>
                  <a:lnTo>
                    <a:pt x="34388" y="4897"/>
                  </a:lnTo>
                  <a:lnTo>
                    <a:pt x="35946" y="4785"/>
                  </a:lnTo>
                  <a:lnTo>
                    <a:pt x="37559" y="4674"/>
                  </a:lnTo>
                  <a:close/>
                  <a:moveTo>
                    <a:pt x="39117" y="0"/>
                  </a:moveTo>
                  <a:lnTo>
                    <a:pt x="37114" y="56"/>
                  </a:lnTo>
                  <a:lnTo>
                    <a:pt x="35111" y="111"/>
                  </a:lnTo>
                  <a:lnTo>
                    <a:pt x="33164" y="278"/>
                  </a:lnTo>
                  <a:lnTo>
                    <a:pt x="31216" y="445"/>
                  </a:lnTo>
                  <a:lnTo>
                    <a:pt x="29324" y="724"/>
                  </a:lnTo>
                  <a:lnTo>
                    <a:pt x="27432" y="1002"/>
                  </a:lnTo>
                  <a:lnTo>
                    <a:pt x="25652" y="1391"/>
                  </a:lnTo>
                  <a:lnTo>
                    <a:pt x="23871" y="1781"/>
                  </a:lnTo>
                  <a:lnTo>
                    <a:pt x="22091" y="2226"/>
                  </a:lnTo>
                  <a:lnTo>
                    <a:pt x="20421" y="2727"/>
                  </a:lnTo>
                  <a:lnTo>
                    <a:pt x="18808" y="3283"/>
                  </a:lnTo>
                  <a:lnTo>
                    <a:pt x="17194" y="3895"/>
                  </a:lnTo>
                  <a:lnTo>
                    <a:pt x="15636" y="4507"/>
                  </a:lnTo>
                  <a:lnTo>
                    <a:pt x="14189" y="5175"/>
                  </a:lnTo>
                  <a:lnTo>
                    <a:pt x="12743" y="5898"/>
                  </a:lnTo>
                  <a:lnTo>
                    <a:pt x="11407" y="6677"/>
                  </a:lnTo>
                  <a:lnTo>
                    <a:pt x="10128" y="7456"/>
                  </a:lnTo>
                  <a:lnTo>
                    <a:pt x="8848" y="8291"/>
                  </a:lnTo>
                  <a:lnTo>
                    <a:pt x="7735" y="9126"/>
                  </a:lnTo>
                  <a:lnTo>
                    <a:pt x="6622" y="10016"/>
                  </a:lnTo>
                  <a:lnTo>
                    <a:pt x="5621" y="10962"/>
                  </a:lnTo>
                  <a:lnTo>
                    <a:pt x="4675" y="11908"/>
                  </a:lnTo>
                  <a:lnTo>
                    <a:pt x="3784" y="12909"/>
                  </a:lnTo>
                  <a:lnTo>
                    <a:pt x="3005" y="13911"/>
                  </a:lnTo>
                  <a:lnTo>
                    <a:pt x="2338" y="14912"/>
                  </a:lnTo>
                  <a:lnTo>
                    <a:pt x="1726" y="15970"/>
                  </a:lnTo>
                  <a:lnTo>
                    <a:pt x="1169" y="17082"/>
                  </a:lnTo>
                  <a:lnTo>
                    <a:pt x="780" y="18195"/>
                  </a:lnTo>
                  <a:lnTo>
                    <a:pt x="390" y="19308"/>
                  </a:lnTo>
                  <a:lnTo>
                    <a:pt x="168" y="20421"/>
                  </a:lnTo>
                  <a:lnTo>
                    <a:pt x="1" y="21590"/>
                  </a:lnTo>
                  <a:lnTo>
                    <a:pt x="1" y="22758"/>
                  </a:lnTo>
                  <a:lnTo>
                    <a:pt x="56" y="23927"/>
                  </a:lnTo>
                  <a:lnTo>
                    <a:pt x="223" y="25095"/>
                  </a:lnTo>
                  <a:lnTo>
                    <a:pt x="446" y="26208"/>
                  </a:lnTo>
                  <a:lnTo>
                    <a:pt x="835" y="27321"/>
                  </a:lnTo>
                  <a:lnTo>
                    <a:pt x="1225" y="28434"/>
                  </a:lnTo>
                  <a:lnTo>
                    <a:pt x="1781" y="29546"/>
                  </a:lnTo>
                  <a:lnTo>
                    <a:pt x="2393" y="30604"/>
                  </a:lnTo>
                  <a:lnTo>
                    <a:pt x="3117" y="31605"/>
                  </a:lnTo>
                  <a:lnTo>
                    <a:pt x="3896" y="32607"/>
                  </a:lnTo>
                  <a:lnTo>
                    <a:pt x="4786" y="33608"/>
                  </a:lnTo>
                  <a:lnTo>
                    <a:pt x="5732" y="34554"/>
                  </a:lnTo>
                  <a:lnTo>
                    <a:pt x="6789" y="35500"/>
                  </a:lnTo>
                  <a:lnTo>
                    <a:pt x="7846" y="36390"/>
                  </a:lnTo>
                  <a:lnTo>
                    <a:pt x="9015" y="37225"/>
                  </a:lnTo>
                  <a:lnTo>
                    <a:pt x="10295" y="38060"/>
                  </a:lnTo>
                  <a:lnTo>
                    <a:pt x="11574" y="38839"/>
                  </a:lnTo>
                  <a:lnTo>
                    <a:pt x="12965" y="39618"/>
                  </a:lnTo>
                  <a:lnTo>
                    <a:pt x="14356" y="40285"/>
                  </a:lnTo>
                  <a:lnTo>
                    <a:pt x="15859" y="41009"/>
                  </a:lnTo>
                  <a:lnTo>
                    <a:pt x="17417" y="41621"/>
                  </a:lnTo>
                  <a:lnTo>
                    <a:pt x="18975" y="42233"/>
                  </a:lnTo>
                  <a:lnTo>
                    <a:pt x="20644" y="42734"/>
                  </a:lnTo>
                  <a:lnTo>
                    <a:pt x="22369" y="43234"/>
                  </a:lnTo>
                  <a:lnTo>
                    <a:pt x="24094" y="43735"/>
                  </a:lnTo>
                  <a:lnTo>
                    <a:pt x="25874" y="44125"/>
                  </a:lnTo>
                  <a:lnTo>
                    <a:pt x="27711" y="44459"/>
                  </a:lnTo>
                  <a:lnTo>
                    <a:pt x="29547" y="44792"/>
                  </a:lnTo>
                  <a:lnTo>
                    <a:pt x="31494" y="45015"/>
                  </a:lnTo>
                  <a:lnTo>
                    <a:pt x="33386" y="45238"/>
                  </a:lnTo>
                  <a:lnTo>
                    <a:pt x="35389" y="45405"/>
                  </a:lnTo>
                  <a:lnTo>
                    <a:pt x="37392" y="45460"/>
                  </a:lnTo>
                  <a:lnTo>
                    <a:pt x="39396" y="45516"/>
                  </a:lnTo>
                  <a:lnTo>
                    <a:pt x="41399" y="45460"/>
                  </a:lnTo>
                  <a:lnTo>
                    <a:pt x="43402" y="45405"/>
                  </a:lnTo>
                  <a:lnTo>
                    <a:pt x="45349" y="45238"/>
                  </a:lnTo>
                  <a:lnTo>
                    <a:pt x="47297" y="45015"/>
                  </a:lnTo>
                  <a:lnTo>
                    <a:pt x="49189" y="44792"/>
                  </a:lnTo>
                  <a:lnTo>
                    <a:pt x="51080" y="44459"/>
                  </a:lnTo>
                  <a:lnTo>
                    <a:pt x="52861" y="44125"/>
                  </a:lnTo>
                  <a:lnTo>
                    <a:pt x="54697" y="43735"/>
                  </a:lnTo>
                  <a:lnTo>
                    <a:pt x="56422" y="43234"/>
                  </a:lnTo>
                  <a:lnTo>
                    <a:pt x="58091" y="42734"/>
                  </a:lnTo>
                  <a:lnTo>
                    <a:pt x="59761" y="42233"/>
                  </a:lnTo>
                  <a:lnTo>
                    <a:pt x="61319" y="41621"/>
                  </a:lnTo>
                  <a:lnTo>
                    <a:pt x="62877" y="41009"/>
                  </a:lnTo>
                  <a:lnTo>
                    <a:pt x="64323" y="40285"/>
                  </a:lnTo>
                  <a:lnTo>
                    <a:pt x="65770" y="39618"/>
                  </a:lnTo>
                  <a:lnTo>
                    <a:pt x="67105" y="38839"/>
                  </a:lnTo>
                  <a:lnTo>
                    <a:pt x="68441" y="38060"/>
                  </a:lnTo>
                  <a:lnTo>
                    <a:pt x="69665" y="37225"/>
                  </a:lnTo>
                  <a:lnTo>
                    <a:pt x="70833" y="36390"/>
                  </a:lnTo>
                  <a:lnTo>
                    <a:pt x="71891" y="35500"/>
                  </a:lnTo>
                  <a:lnTo>
                    <a:pt x="72892" y="34554"/>
                  </a:lnTo>
                  <a:lnTo>
                    <a:pt x="73838" y="33608"/>
                  </a:lnTo>
                  <a:lnTo>
                    <a:pt x="74728" y="32607"/>
                  </a:lnTo>
                  <a:lnTo>
                    <a:pt x="75507" y="31605"/>
                  </a:lnTo>
                  <a:lnTo>
                    <a:pt x="76175" y="30604"/>
                  </a:lnTo>
                  <a:lnTo>
                    <a:pt x="76787" y="29546"/>
                  </a:lnTo>
                  <a:lnTo>
                    <a:pt x="77344" y="28434"/>
                  </a:lnTo>
                  <a:lnTo>
                    <a:pt x="77789" y="27321"/>
                  </a:lnTo>
                  <a:lnTo>
                    <a:pt x="78123" y="26208"/>
                  </a:lnTo>
                  <a:lnTo>
                    <a:pt x="78345" y="25095"/>
                  </a:lnTo>
                  <a:lnTo>
                    <a:pt x="78512" y="23927"/>
                  </a:lnTo>
                  <a:lnTo>
                    <a:pt x="78512" y="22758"/>
                  </a:lnTo>
                  <a:lnTo>
                    <a:pt x="78456" y="21590"/>
                  </a:lnTo>
                  <a:lnTo>
                    <a:pt x="78345" y="20421"/>
                  </a:lnTo>
                  <a:lnTo>
                    <a:pt x="78067" y="19308"/>
                  </a:lnTo>
                  <a:lnTo>
                    <a:pt x="77733" y="18140"/>
                  </a:lnTo>
                  <a:lnTo>
                    <a:pt x="77288" y="17082"/>
                  </a:lnTo>
                  <a:lnTo>
                    <a:pt x="76732" y="15970"/>
                  </a:lnTo>
                  <a:lnTo>
                    <a:pt x="76120" y="14912"/>
                  </a:lnTo>
                  <a:lnTo>
                    <a:pt x="75396" y="13911"/>
                  </a:lnTo>
                  <a:lnTo>
                    <a:pt x="74617" y="12909"/>
                  </a:lnTo>
                  <a:lnTo>
                    <a:pt x="73727" y="11908"/>
                  </a:lnTo>
                  <a:lnTo>
                    <a:pt x="72781" y="10962"/>
                  </a:lnTo>
                  <a:lnTo>
                    <a:pt x="71779" y="10016"/>
                  </a:lnTo>
                  <a:lnTo>
                    <a:pt x="70667" y="9126"/>
                  </a:lnTo>
                  <a:lnTo>
                    <a:pt x="69498" y="8291"/>
                  </a:lnTo>
                  <a:lnTo>
                    <a:pt x="68274" y="7456"/>
                  </a:lnTo>
                  <a:lnTo>
                    <a:pt x="66939" y="6677"/>
                  </a:lnTo>
                  <a:lnTo>
                    <a:pt x="65603" y="5898"/>
                  </a:lnTo>
                  <a:lnTo>
                    <a:pt x="64156" y="5175"/>
                  </a:lnTo>
                  <a:lnTo>
                    <a:pt x="62654" y="4507"/>
                  </a:lnTo>
                  <a:lnTo>
                    <a:pt x="61096" y="3895"/>
                  </a:lnTo>
                  <a:lnTo>
                    <a:pt x="59538" y="3283"/>
                  </a:lnTo>
                  <a:lnTo>
                    <a:pt x="57869" y="2727"/>
                  </a:lnTo>
                  <a:lnTo>
                    <a:pt x="56200" y="2226"/>
                  </a:lnTo>
                  <a:lnTo>
                    <a:pt x="54419" y="1781"/>
                  </a:lnTo>
                  <a:lnTo>
                    <a:pt x="52638" y="1391"/>
                  </a:lnTo>
                  <a:lnTo>
                    <a:pt x="50802" y="1002"/>
                  </a:lnTo>
                  <a:lnTo>
                    <a:pt x="48966" y="724"/>
                  </a:lnTo>
                  <a:lnTo>
                    <a:pt x="47074" y="445"/>
                  </a:lnTo>
                  <a:lnTo>
                    <a:pt x="45127" y="278"/>
                  </a:lnTo>
                  <a:lnTo>
                    <a:pt x="43124" y="111"/>
                  </a:lnTo>
                  <a:lnTo>
                    <a:pt x="41176" y="56"/>
                  </a:lnTo>
                  <a:lnTo>
                    <a:pt x="39117" y="0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" name="Google Shape;17371;p84">
              <a:extLst>
                <a:ext uri="{FF2B5EF4-FFF2-40B4-BE49-F238E27FC236}">
                  <a16:creationId xmlns:a16="http://schemas.microsoft.com/office/drawing/2014/main" id="{DC631E51-67E2-F65B-5535-04980E0D0B6B}"/>
                </a:ext>
              </a:extLst>
            </p:cNvPr>
            <p:cNvSpPr/>
            <p:nvPr/>
          </p:nvSpPr>
          <p:spPr>
            <a:xfrm>
              <a:off x="4096550" y="3591975"/>
              <a:ext cx="1560800" cy="904200"/>
            </a:xfrm>
            <a:custGeom>
              <a:avLst/>
              <a:gdLst/>
              <a:ahLst/>
              <a:cxnLst/>
              <a:rect l="l" t="t" r="r" b="b"/>
              <a:pathLst>
                <a:path w="62432" h="36168" extrusionOk="0">
                  <a:moveTo>
                    <a:pt x="29491" y="0"/>
                  </a:moveTo>
                  <a:lnTo>
                    <a:pt x="27933" y="56"/>
                  </a:lnTo>
                  <a:lnTo>
                    <a:pt x="26319" y="223"/>
                  </a:lnTo>
                  <a:lnTo>
                    <a:pt x="24817" y="334"/>
                  </a:lnTo>
                  <a:lnTo>
                    <a:pt x="23315" y="557"/>
                  </a:lnTo>
                  <a:lnTo>
                    <a:pt x="21812" y="779"/>
                  </a:lnTo>
                  <a:lnTo>
                    <a:pt x="20365" y="1113"/>
                  </a:lnTo>
                  <a:lnTo>
                    <a:pt x="18974" y="1391"/>
                  </a:lnTo>
                  <a:lnTo>
                    <a:pt x="17583" y="1781"/>
                  </a:lnTo>
                  <a:lnTo>
                    <a:pt x="16248" y="2170"/>
                  </a:lnTo>
                  <a:lnTo>
                    <a:pt x="14913" y="2615"/>
                  </a:lnTo>
                  <a:lnTo>
                    <a:pt x="13633" y="3061"/>
                  </a:lnTo>
                  <a:lnTo>
                    <a:pt x="12464" y="3561"/>
                  </a:lnTo>
                  <a:lnTo>
                    <a:pt x="11240" y="4118"/>
                  </a:lnTo>
                  <a:lnTo>
                    <a:pt x="10127" y="4674"/>
                  </a:lnTo>
                  <a:lnTo>
                    <a:pt x="9070" y="5286"/>
                  </a:lnTo>
                  <a:lnTo>
                    <a:pt x="8013" y="5898"/>
                  </a:lnTo>
                  <a:lnTo>
                    <a:pt x="7067" y="6566"/>
                  </a:lnTo>
                  <a:lnTo>
                    <a:pt x="6121" y="7234"/>
                  </a:lnTo>
                  <a:lnTo>
                    <a:pt x="5231" y="7957"/>
                  </a:lnTo>
                  <a:lnTo>
                    <a:pt x="4452" y="8681"/>
                  </a:lnTo>
                  <a:lnTo>
                    <a:pt x="3673" y="9460"/>
                  </a:lnTo>
                  <a:lnTo>
                    <a:pt x="3005" y="10239"/>
                  </a:lnTo>
                  <a:lnTo>
                    <a:pt x="2393" y="11018"/>
                  </a:lnTo>
                  <a:lnTo>
                    <a:pt x="1837" y="11852"/>
                  </a:lnTo>
                  <a:lnTo>
                    <a:pt x="1336" y="12687"/>
                  </a:lnTo>
                  <a:lnTo>
                    <a:pt x="946" y="13577"/>
                  </a:lnTo>
                  <a:lnTo>
                    <a:pt x="612" y="14412"/>
                  </a:lnTo>
                  <a:lnTo>
                    <a:pt x="334" y="15302"/>
                  </a:lnTo>
                  <a:lnTo>
                    <a:pt x="112" y="16248"/>
                  </a:lnTo>
                  <a:lnTo>
                    <a:pt x="0" y="17138"/>
                  </a:lnTo>
                  <a:lnTo>
                    <a:pt x="0" y="18084"/>
                  </a:lnTo>
                  <a:lnTo>
                    <a:pt x="0" y="19030"/>
                  </a:lnTo>
                  <a:lnTo>
                    <a:pt x="167" y="19920"/>
                  </a:lnTo>
                  <a:lnTo>
                    <a:pt x="334" y="20811"/>
                  </a:lnTo>
                  <a:lnTo>
                    <a:pt x="612" y="21701"/>
                  </a:lnTo>
                  <a:lnTo>
                    <a:pt x="1002" y="22591"/>
                  </a:lnTo>
                  <a:lnTo>
                    <a:pt x="1391" y="23426"/>
                  </a:lnTo>
                  <a:lnTo>
                    <a:pt x="1892" y="24316"/>
                  </a:lnTo>
                  <a:lnTo>
                    <a:pt x="2449" y="25095"/>
                  </a:lnTo>
                  <a:lnTo>
                    <a:pt x="3116" y="25930"/>
                  </a:lnTo>
                  <a:lnTo>
                    <a:pt x="3784" y="26709"/>
                  </a:lnTo>
                  <a:lnTo>
                    <a:pt x="4563" y="27432"/>
                  </a:lnTo>
                  <a:lnTo>
                    <a:pt x="5342" y="28155"/>
                  </a:lnTo>
                  <a:lnTo>
                    <a:pt x="6232" y="28879"/>
                  </a:lnTo>
                  <a:lnTo>
                    <a:pt x="7178" y="29602"/>
                  </a:lnTo>
                  <a:lnTo>
                    <a:pt x="8180" y="30214"/>
                  </a:lnTo>
                  <a:lnTo>
                    <a:pt x="9181" y="30882"/>
                  </a:lnTo>
                  <a:lnTo>
                    <a:pt x="10294" y="31438"/>
                  </a:lnTo>
                  <a:lnTo>
                    <a:pt x="11407" y="32050"/>
                  </a:lnTo>
                  <a:lnTo>
                    <a:pt x="12576" y="32551"/>
                  </a:lnTo>
                  <a:lnTo>
                    <a:pt x="13855" y="33052"/>
                  </a:lnTo>
                  <a:lnTo>
                    <a:pt x="15079" y="33553"/>
                  </a:lnTo>
                  <a:lnTo>
                    <a:pt x="16415" y="33998"/>
                  </a:lnTo>
                  <a:lnTo>
                    <a:pt x="17750" y="34387"/>
                  </a:lnTo>
                  <a:lnTo>
                    <a:pt x="19141" y="34721"/>
                  </a:lnTo>
                  <a:lnTo>
                    <a:pt x="20588" y="35055"/>
                  </a:lnTo>
                  <a:lnTo>
                    <a:pt x="22035" y="35333"/>
                  </a:lnTo>
                  <a:lnTo>
                    <a:pt x="23481" y="35612"/>
                  </a:lnTo>
                  <a:lnTo>
                    <a:pt x="24984" y="35778"/>
                  </a:lnTo>
                  <a:lnTo>
                    <a:pt x="26542" y="35945"/>
                  </a:lnTo>
                  <a:lnTo>
                    <a:pt x="28100" y="36057"/>
                  </a:lnTo>
                  <a:lnTo>
                    <a:pt x="29713" y="36112"/>
                  </a:lnTo>
                  <a:lnTo>
                    <a:pt x="31327" y="36168"/>
                  </a:lnTo>
                  <a:lnTo>
                    <a:pt x="32885" y="36112"/>
                  </a:lnTo>
                  <a:lnTo>
                    <a:pt x="34499" y="36057"/>
                  </a:lnTo>
                  <a:lnTo>
                    <a:pt x="36057" y="35945"/>
                  </a:lnTo>
                  <a:lnTo>
                    <a:pt x="37615" y="35778"/>
                  </a:lnTo>
                  <a:lnTo>
                    <a:pt x="39117" y="35612"/>
                  </a:lnTo>
                  <a:lnTo>
                    <a:pt x="40564" y="35333"/>
                  </a:lnTo>
                  <a:lnTo>
                    <a:pt x="42010" y="35055"/>
                  </a:lnTo>
                  <a:lnTo>
                    <a:pt x="43457" y="34721"/>
                  </a:lnTo>
                  <a:lnTo>
                    <a:pt x="44848" y="34387"/>
                  </a:lnTo>
                  <a:lnTo>
                    <a:pt x="46184" y="33998"/>
                  </a:lnTo>
                  <a:lnTo>
                    <a:pt x="47463" y="33553"/>
                  </a:lnTo>
                  <a:lnTo>
                    <a:pt x="48743" y="33052"/>
                  </a:lnTo>
                  <a:lnTo>
                    <a:pt x="49967" y="32551"/>
                  </a:lnTo>
                  <a:lnTo>
                    <a:pt x="51136" y="32050"/>
                  </a:lnTo>
                  <a:lnTo>
                    <a:pt x="52249" y="31438"/>
                  </a:lnTo>
                  <a:lnTo>
                    <a:pt x="53361" y="30882"/>
                  </a:lnTo>
                  <a:lnTo>
                    <a:pt x="54363" y="30214"/>
                  </a:lnTo>
                  <a:lnTo>
                    <a:pt x="55365" y="29547"/>
                  </a:lnTo>
                  <a:lnTo>
                    <a:pt x="56255" y="28879"/>
                  </a:lnTo>
                  <a:lnTo>
                    <a:pt x="57145" y="28155"/>
                  </a:lnTo>
                  <a:lnTo>
                    <a:pt x="57924" y="27432"/>
                  </a:lnTo>
                  <a:lnTo>
                    <a:pt x="58703" y="26709"/>
                  </a:lnTo>
                  <a:lnTo>
                    <a:pt x="59371" y="25930"/>
                  </a:lnTo>
                  <a:lnTo>
                    <a:pt x="59983" y="25095"/>
                  </a:lnTo>
                  <a:lnTo>
                    <a:pt x="60539" y="24316"/>
                  </a:lnTo>
                  <a:lnTo>
                    <a:pt x="61040" y="23426"/>
                  </a:lnTo>
                  <a:lnTo>
                    <a:pt x="61485" y="22591"/>
                  </a:lnTo>
                  <a:lnTo>
                    <a:pt x="61819" y="21701"/>
                  </a:lnTo>
                  <a:lnTo>
                    <a:pt x="62097" y="20811"/>
                  </a:lnTo>
                  <a:lnTo>
                    <a:pt x="62264" y="19920"/>
                  </a:lnTo>
                  <a:lnTo>
                    <a:pt x="62375" y="18974"/>
                  </a:lnTo>
                  <a:lnTo>
                    <a:pt x="62431" y="18084"/>
                  </a:lnTo>
                  <a:lnTo>
                    <a:pt x="62375" y="17138"/>
                  </a:lnTo>
                  <a:lnTo>
                    <a:pt x="62264" y="16248"/>
                  </a:lnTo>
                  <a:lnTo>
                    <a:pt x="62042" y="15302"/>
                  </a:lnTo>
                  <a:lnTo>
                    <a:pt x="61763" y="14412"/>
                  </a:lnTo>
                  <a:lnTo>
                    <a:pt x="61430" y="13577"/>
                  </a:lnTo>
                  <a:lnTo>
                    <a:pt x="60984" y="12687"/>
                  </a:lnTo>
                  <a:lnTo>
                    <a:pt x="60484" y="11852"/>
                  </a:lnTo>
                  <a:lnTo>
                    <a:pt x="59927" y="11018"/>
                  </a:lnTo>
                  <a:lnTo>
                    <a:pt x="59315" y="10239"/>
                  </a:lnTo>
                  <a:lnTo>
                    <a:pt x="58592" y="9460"/>
                  </a:lnTo>
                  <a:lnTo>
                    <a:pt x="57868" y="8681"/>
                  </a:lnTo>
                  <a:lnTo>
                    <a:pt x="57034" y="7957"/>
                  </a:lnTo>
                  <a:lnTo>
                    <a:pt x="56144" y="7234"/>
                  </a:lnTo>
                  <a:lnTo>
                    <a:pt x="55198" y="6566"/>
                  </a:lnTo>
                  <a:lnTo>
                    <a:pt x="54252" y="5898"/>
                  </a:lnTo>
                  <a:lnTo>
                    <a:pt x="53194" y="5286"/>
                  </a:lnTo>
                  <a:lnTo>
                    <a:pt x="52137" y="4674"/>
                  </a:lnTo>
                  <a:lnTo>
                    <a:pt x="50969" y="4118"/>
                  </a:lnTo>
                  <a:lnTo>
                    <a:pt x="49800" y="3561"/>
                  </a:lnTo>
                  <a:lnTo>
                    <a:pt x="48576" y="3061"/>
                  </a:lnTo>
                  <a:lnTo>
                    <a:pt x="47296" y="2615"/>
                  </a:lnTo>
                  <a:lnTo>
                    <a:pt x="45961" y="2170"/>
                  </a:lnTo>
                  <a:lnTo>
                    <a:pt x="44626" y="1781"/>
                  </a:lnTo>
                  <a:lnTo>
                    <a:pt x="43235" y="1391"/>
                  </a:lnTo>
                  <a:lnTo>
                    <a:pt x="41843" y="1058"/>
                  </a:lnTo>
                  <a:lnTo>
                    <a:pt x="40397" y="779"/>
                  </a:lnTo>
                  <a:lnTo>
                    <a:pt x="38894" y="557"/>
                  </a:lnTo>
                  <a:lnTo>
                    <a:pt x="37392" y="334"/>
                  </a:lnTo>
                  <a:lnTo>
                    <a:pt x="35834" y="223"/>
                  </a:lnTo>
                  <a:lnTo>
                    <a:pt x="34276" y="56"/>
                  </a:lnTo>
                  <a:lnTo>
                    <a:pt x="32718" y="0"/>
                  </a:ln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" name="Google Shape;17372;p84">
              <a:extLst>
                <a:ext uri="{FF2B5EF4-FFF2-40B4-BE49-F238E27FC236}">
                  <a16:creationId xmlns:a16="http://schemas.microsoft.com/office/drawing/2014/main" id="{44504AF3-5682-0AAF-D465-3DEB52514D03}"/>
                </a:ext>
              </a:extLst>
            </p:cNvPr>
            <p:cNvSpPr/>
            <p:nvPr/>
          </p:nvSpPr>
          <p:spPr>
            <a:xfrm>
              <a:off x="4096550" y="3591975"/>
              <a:ext cx="1560800" cy="904200"/>
            </a:xfrm>
            <a:custGeom>
              <a:avLst/>
              <a:gdLst/>
              <a:ahLst/>
              <a:cxnLst/>
              <a:rect l="l" t="t" r="r" b="b"/>
              <a:pathLst>
                <a:path w="62432" h="36168" fill="none" extrusionOk="0">
                  <a:moveTo>
                    <a:pt x="31104" y="0"/>
                  </a:moveTo>
                  <a:lnTo>
                    <a:pt x="31104" y="0"/>
                  </a:lnTo>
                  <a:lnTo>
                    <a:pt x="29491" y="0"/>
                  </a:lnTo>
                  <a:lnTo>
                    <a:pt x="27933" y="56"/>
                  </a:lnTo>
                  <a:lnTo>
                    <a:pt x="26319" y="223"/>
                  </a:lnTo>
                  <a:lnTo>
                    <a:pt x="24817" y="334"/>
                  </a:lnTo>
                  <a:lnTo>
                    <a:pt x="23315" y="557"/>
                  </a:lnTo>
                  <a:lnTo>
                    <a:pt x="21812" y="779"/>
                  </a:lnTo>
                  <a:lnTo>
                    <a:pt x="20365" y="1113"/>
                  </a:lnTo>
                  <a:lnTo>
                    <a:pt x="18974" y="1391"/>
                  </a:lnTo>
                  <a:lnTo>
                    <a:pt x="17583" y="1781"/>
                  </a:lnTo>
                  <a:lnTo>
                    <a:pt x="16248" y="2170"/>
                  </a:lnTo>
                  <a:lnTo>
                    <a:pt x="14913" y="2615"/>
                  </a:lnTo>
                  <a:lnTo>
                    <a:pt x="13633" y="3061"/>
                  </a:lnTo>
                  <a:lnTo>
                    <a:pt x="12464" y="3561"/>
                  </a:lnTo>
                  <a:lnTo>
                    <a:pt x="11240" y="4118"/>
                  </a:lnTo>
                  <a:lnTo>
                    <a:pt x="10127" y="4674"/>
                  </a:lnTo>
                  <a:lnTo>
                    <a:pt x="9070" y="5286"/>
                  </a:lnTo>
                  <a:lnTo>
                    <a:pt x="8013" y="5898"/>
                  </a:lnTo>
                  <a:lnTo>
                    <a:pt x="7067" y="6566"/>
                  </a:lnTo>
                  <a:lnTo>
                    <a:pt x="6121" y="7234"/>
                  </a:lnTo>
                  <a:lnTo>
                    <a:pt x="5231" y="7957"/>
                  </a:lnTo>
                  <a:lnTo>
                    <a:pt x="4452" y="8681"/>
                  </a:lnTo>
                  <a:lnTo>
                    <a:pt x="3673" y="9460"/>
                  </a:lnTo>
                  <a:lnTo>
                    <a:pt x="3005" y="10239"/>
                  </a:lnTo>
                  <a:lnTo>
                    <a:pt x="2393" y="11018"/>
                  </a:lnTo>
                  <a:lnTo>
                    <a:pt x="1837" y="11852"/>
                  </a:lnTo>
                  <a:lnTo>
                    <a:pt x="1336" y="12687"/>
                  </a:lnTo>
                  <a:lnTo>
                    <a:pt x="946" y="13577"/>
                  </a:lnTo>
                  <a:lnTo>
                    <a:pt x="612" y="14412"/>
                  </a:lnTo>
                  <a:lnTo>
                    <a:pt x="334" y="15302"/>
                  </a:lnTo>
                  <a:lnTo>
                    <a:pt x="112" y="16248"/>
                  </a:lnTo>
                  <a:lnTo>
                    <a:pt x="0" y="17138"/>
                  </a:lnTo>
                  <a:lnTo>
                    <a:pt x="0" y="18084"/>
                  </a:lnTo>
                  <a:lnTo>
                    <a:pt x="0" y="18084"/>
                  </a:lnTo>
                  <a:lnTo>
                    <a:pt x="0" y="19030"/>
                  </a:lnTo>
                  <a:lnTo>
                    <a:pt x="167" y="19920"/>
                  </a:lnTo>
                  <a:lnTo>
                    <a:pt x="334" y="20811"/>
                  </a:lnTo>
                  <a:lnTo>
                    <a:pt x="612" y="21701"/>
                  </a:lnTo>
                  <a:lnTo>
                    <a:pt x="1002" y="22591"/>
                  </a:lnTo>
                  <a:lnTo>
                    <a:pt x="1391" y="23426"/>
                  </a:lnTo>
                  <a:lnTo>
                    <a:pt x="1892" y="24316"/>
                  </a:lnTo>
                  <a:lnTo>
                    <a:pt x="2449" y="25095"/>
                  </a:lnTo>
                  <a:lnTo>
                    <a:pt x="3116" y="25930"/>
                  </a:lnTo>
                  <a:lnTo>
                    <a:pt x="3784" y="26709"/>
                  </a:lnTo>
                  <a:lnTo>
                    <a:pt x="4563" y="27432"/>
                  </a:lnTo>
                  <a:lnTo>
                    <a:pt x="5342" y="28155"/>
                  </a:lnTo>
                  <a:lnTo>
                    <a:pt x="6232" y="28879"/>
                  </a:lnTo>
                  <a:lnTo>
                    <a:pt x="7178" y="29602"/>
                  </a:lnTo>
                  <a:lnTo>
                    <a:pt x="8180" y="30214"/>
                  </a:lnTo>
                  <a:lnTo>
                    <a:pt x="9181" y="30882"/>
                  </a:lnTo>
                  <a:lnTo>
                    <a:pt x="9181" y="30882"/>
                  </a:lnTo>
                  <a:lnTo>
                    <a:pt x="10294" y="31438"/>
                  </a:lnTo>
                  <a:lnTo>
                    <a:pt x="11407" y="32050"/>
                  </a:lnTo>
                  <a:lnTo>
                    <a:pt x="12576" y="32551"/>
                  </a:lnTo>
                  <a:lnTo>
                    <a:pt x="13855" y="33052"/>
                  </a:lnTo>
                  <a:lnTo>
                    <a:pt x="15079" y="33553"/>
                  </a:lnTo>
                  <a:lnTo>
                    <a:pt x="16415" y="33998"/>
                  </a:lnTo>
                  <a:lnTo>
                    <a:pt x="17750" y="34387"/>
                  </a:lnTo>
                  <a:lnTo>
                    <a:pt x="19141" y="34721"/>
                  </a:lnTo>
                  <a:lnTo>
                    <a:pt x="20588" y="35055"/>
                  </a:lnTo>
                  <a:lnTo>
                    <a:pt x="22035" y="35333"/>
                  </a:lnTo>
                  <a:lnTo>
                    <a:pt x="23481" y="35612"/>
                  </a:lnTo>
                  <a:lnTo>
                    <a:pt x="24984" y="35778"/>
                  </a:lnTo>
                  <a:lnTo>
                    <a:pt x="26542" y="35945"/>
                  </a:lnTo>
                  <a:lnTo>
                    <a:pt x="28100" y="36057"/>
                  </a:lnTo>
                  <a:lnTo>
                    <a:pt x="29713" y="36112"/>
                  </a:lnTo>
                  <a:lnTo>
                    <a:pt x="31327" y="36168"/>
                  </a:lnTo>
                  <a:lnTo>
                    <a:pt x="31327" y="36168"/>
                  </a:lnTo>
                  <a:lnTo>
                    <a:pt x="32885" y="36112"/>
                  </a:lnTo>
                  <a:lnTo>
                    <a:pt x="34499" y="36057"/>
                  </a:lnTo>
                  <a:lnTo>
                    <a:pt x="36057" y="35945"/>
                  </a:lnTo>
                  <a:lnTo>
                    <a:pt x="37615" y="35778"/>
                  </a:lnTo>
                  <a:lnTo>
                    <a:pt x="39117" y="35612"/>
                  </a:lnTo>
                  <a:lnTo>
                    <a:pt x="40564" y="35333"/>
                  </a:lnTo>
                  <a:lnTo>
                    <a:pt x="42010" y="35055"/>
                  </a:lnTo>
                  <a:lnTo>
                    <a:pt x="43457" y="34721"/>
                  </a:lnTo>
                  <a:lnTo>
                    <a:pt x="44848" y="34387"/>
                  </a:lnTo>
                  <a:lnTo>
                    <a:pt x="46184" y="33998"/>
                  </a:lnTo>
                  <a:lnTo>
                    <a:pt x="47463" y="33553"/>
                  </a:lnTo>
                  <a:lnTo>
                    <a:pt x="48743" y="33052"/>
                  </a:lnTo>
                  <a:lnTo>
                    <a:pt x="49967" y="32551"/>
                  </a:lnTo>
                  <a:lnTo>
                    <a:pt x="51136" y="32050"/>
                  </a:lnTo>
                  <a:lnTo>
                    <a:pt x="52249" y="31438"/>
                  </a:lnTo>
                  <a:lnTo>
                    <a:pt x="53361" y="30882"/>
                  </a:lnTo>
                  <a:lnTo>
                    <a:pt x="54363" y="30214"/>
                  </a:lnTo>
                  <a:lnTo>
                    <a:pt x="55365" y="29547"/>
                  </a:lnTo>
                  <a:lnTo>
                    <a:pt x="56255" y="28879"/>
                  </a:lnTo>
                  <a:lnTo>
                    <a:pt x="57145" y="28155"/>
                  </a:lnTo>
                  <a:lnTo>
                    <a:pt x="57924" y="27432"/>
                  </a:lnTo>
                  <a:lnTo>
                    <a:pt x="58703" y="26709"/>
                  </a:lnTo>
                  <a:lnTo>
                    <a:pt x="59371" y="25930"/>
                  </a:lnTo>
                  <a:lnTo>
                    <a:pt x="59983" y="25095"/>
                  </a:lnTo>
                  <a:lnTo>
                    <a:pt x="60539" y="24316"/>
                  </a:lnTo>
                  <a:lnTo>
                    <a:pt x="61040" y="23426"/>
                  </a:lnTo>
                  <a:lnTo>
                    <a:pt x="61485" y="22591"/>
                  </a:lnTo>
                  <a:lnTo>
                    <a:pt x="61819" y="21701"/>
                  </a:lnTo>
                  <a:lnTo>
                    <a:pt x="62097" y="20811"/>
                  </a:lnTo>
                  <a:lnTo>
                    <a:pt x="62264" y="19920"/>
                  </a:lnTo>
                  <a:lnTo>
                    <a:pt x="62375" y="18974"/>
                  </a:lnTo>
                  <a:lnTo>
                    <a:pt x="62431" y="18084"/>
                  </a:lnTo>
                  <a:lnTo>
                    <a:pt x="62431" y="18084"/>
                  </a:lnTo>
                  <a:lnTo>
                    <a:pt x="62375" y="17138"/>
                  </a:lnTo>
                  <a:lnTo>
                    <a:pt x="62264" y="16248"/>
                  </a:lnTo>
                  <a:lnTo>
                    <a:pt x="62042" y="15302"/>
                  </a:lnTo>
                  <a:lnTo>
                    <a:pt x="61763" y="14412"/>
                  </a:lnTo>
                  <a:lnTo>
                    <a:pt x="61430" y="13577"/>
                  </a:lnTo>
                  <a:lnTo>
                    <a:pt x="60984" y="12687"/>
                  </a:lnTo>
                  <a:lnTo>
                    <a:pt x="60484" y="11852"/>
                  </a:lnTo>
                  <a:lnTo>
                    <a:pt x="59927" y="11018"/>
                  </a:lnTo>
                  <a:lnTo>
                    <a:pt x="59315" y="10239"/>
                  </a:lnTo>
                  <a:lnTo>
                    <a:pt x="58592" y="9460"/>
                  </a:lnTo>
                  <a:lnTo>
                    <a:pt x="57868" y="8681"/>
                  </a:lnTo>
                  <a:lnTo>
                    <a:pt x="57034" y="7957"/>
                  </a:lnTo>
                  <a:lnTo>
                    <a:pt x="56144" y="7234"/>
                  </a:lnTo>
                  <a:lnTo>
                    <a:pt x="55198" y="6566"/>
                  </a:lnTo>
                  <a:lnTo>
                    <a:pt x="54252" y="5898"/>
                  </a:lnTo>
                  <a:lnTo>
                    <a:pt x="53194" y="5286"/>
                  </a:lnTo>
                  <a:lnTo>
                    <a:pt x="53194" y="5286"/>
                  </a:lnTo>
                  <a:lnTo>
                    <a:pt x="52137" y="4674"/>
                  </a:lnTo>
                  <a:lnTo>
                    <a:pt x="50969" y="4118"/>
                  </a:lnTo>
                  <a:lnTo>
                    <a:pt x="49800" y="3561"/>
                  </a:lnTo>
                  <a:lnTo>
                    <a:pt x="48576" y="3061"/>
                  </a:lnTo>
                  <a:lnTo>
                    <a:pt x="47296" y="2615"/>
                  </a:lnTo>
                  <a:lnTo>
                    <a:pt x="45961" y="2170"/>
                  </a:lnTo>
                  <a:lnTo>
                    <a:pt x="44626" y="1781"/>
                  </a:lnTo>
                  <a:lnTo>
                    <a:pt x="43235" y="1391"/>
                  </a:lnTo>
                  <a:lnTo>
                    <a:pt x="41843" y="1058"/>
                  </a:lnTo>
                  <a:lnTo>
                    <a:pt x="40397" y="779"/>
                  </a:lnTo>
                  <a:lnTo>
                    <a:pt x="38894" y="557"/>
                  </a:lnTo>
                  <a:lnTo>
                    <a:pt x="37392" y="334"/>
                  </a:lnTo>
                  <a:lnTo>
                    <a:pt x="35834" y="223"/>
                  </a:lnTo>
                  <a:lnTo>
                    <a:pt x="34276" y="56"/>
                  </a:lnTo>
                  <a:lnTo>
                    <a:pt x="32718" y="0"/>
                  </a:lnTo>
                  <a:lnTo>
                    <a:pt x="3110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" name="Google Shape;17373;p84">
              <a:extLst>
                <a:ext uri="{FF2B5EF4-FFF2-40B4-BE49-F238E27FC236}">
                  <a16:creationId xmlns:a16="http://schemas.microsoft.com/office/drawing/2014/main" id="{37E602D4-1083-8219-58BD-4993884250C0}"/>
                </a:ext>
              </a:extLst>
            </p:cNvPr>
            <p:cNvSpPr/>
            <p:nvPr/>
          </p:nvSpPr>
          <p:spPr>
            <a:xfrm>
              <a:off x="4103500" y="3374975"/>
              <a:ext cx="1562175" cy="904200"/>
            </a:xfrm>
            <a:custGeom>
              <a:avLst/>
              <a:gdLst/>
              <a:ahLst/>
              <a:cxnLst/>
              <a:rect l="l" t="t" r="r" b="b"/>
              <a:pathLst>
                <a:path w="62487" h="36168" extrusionOk="0">
                  <a:moveTo>
                    <a:pt x="31160" y="0"/>
                  </a:moveTo>
                  <a:lnTo>
                    <a:pt x="29547" y="56"/>
                  </a:lnTo>
                  <a:lnTo>
                    <a:pt x="27933" y="111"/>
                  </a:lnTo>
                  <a:lnTo>
                    <a:pt x="26375" y="223"/>
                  </a:lnTo>
                  <a:lnTo>
                    <a:pt x="24873" y="390"/>
                  </a:lnTo>
                  <a:lnTo>
                    <a:pt x="23315" y="556"/>
                  </a:lnTo>
                  <a:lnTo>
                    <a:pt x="21868" y="835"/>
                  </a:lnTo>
                  <a:lnTo>
                    <a:pt x="20421" y="1113"/>
                  </a:lnTo>
                  <a:lnTo>
                    <a:pt x="18975" y="1447"/>
                  </a:lnTo>
                  <a:lnTo>
                    <a:pt x="17639" y="1781"/>
                  </a:lnTo>
                  <a:lnTo>
                    <a:pt x="16248" y="2170"/>
                  </a:lnTo>
                  <a:lnTo>
                    <a:pt x="14968" y="2615"/>
                  </a:lnTo>
                  <a:lnTo>
                    <a:pt x="13689" y="3116"/>
                  </a:lnTo>
                  <a:lnTo>
                    <a:pt x="12464" y="3617"/>
                  </a:lnTo>
                  <a:lnTo>
                    <a:pt x="11296" y="4118"/>
                  </a:lnTo>
                  <a:lnTo>
                    <a:pt x="10183" y="4730"/>
                  </a:lnTo>
                  <a:lnTo>
                    <a:pt x="9070" y="5286"/>
                  </a:lnTo>
                  <a:lnTo>
                    <a:pt x="8069" y="5954"/>
                  </a:lnTo>
                  <a:lnTo>
                    <a:pt x="7067" y="6622"/>
                  </a:lnTo>
                  <a:lnTo>
                    <a:pt x="6177" y="7289"/>
                  </a:lnTo>
                  <a:lnTo>
                    <a:pt x="5287" y="8013"/>
                  </a:lnTo>
                  <a:lnTo>
                    <a:pt x="4508" y="8736"/>
                  </a:lnTo>
                  <a:lnTo>
                    <a:pt x="3729" y="9459"/>
                  </a:lnTo>
                  <a:lnTo>
                    <a:pt x="3061" y="10238"/>
                  </a:lnTo>
                  <a:lnTo>
                    <a:pt x="2449" y="11073"/>
                  </a:lnTo>
                  <a:lnTo>
                    <a:pt x="1892" y="11908"/>
                  </a:lnTo>
                  <a:lnTo>
                    <a:pt x="1392" y="12742"/>
                  </a:lnTo>
                  <a:lnTo>
                    <a:pt x="1002" y="13577"/>
                  </a:lnTo>
                  <a:lnTo>
                    <a:pt x="613" y="14467"/>
                  </a:lnTo>
                  <a:lnTo>
                    <a:pt x="390" y="15357"/>
                  </a:lnTo>
                  <a:lnTo>
                    <a:pt x="167" y="16248"/>
                  </a:lnTo>
                  <a:lnTo>
                    <a:pt x="56" y="17194"/>
                  </a:lnTo>
                  <a:lnTo>
                    <a:pt x="1" y="18084"/>
                  </a:lnTo>
                  <a:lnTo>
                    <a:pt x="56" y="19030"/>
                  </a:lnTo>
                  <a:lnTo>
                    <a:pt x="167" y="19920"/>
                  </a:lnTo>
                  <a:lnTo>
                    <a:pt x="390" y="20866"/>
                  </a:lnTo>
                  <a:lnTo>
                    <a:pt x="668" y="21756"/>
                  </a:lnTo>
                  <a:lnTo>
                    <a:pt x="1002" y="22591"/>
                  </a:lnTo>
                  <a:lnTo>
                    <a:pt x="1447" y="23481"/>
                  </a:lnTo>
                  <a:lnTo>
                    <a:pt x="1948" y="24316"/>
                  </a:lnTo>
                  <a:lnTo>
                    <a:pt x="2504" y="25151"/>
                  </a:lnTo>
                  <a:lnTo>
                    <a:pt x="3117" y="25929"/>
                  </a:lnTo>
                  <a:lnTo>
                    <a:pt x="3840" y="26708"/>
                  </a:lnTo>
                  <a:lnTo>
                    <a:pt x="4619" y="27487"/>
                  </a:lnTo>
                  <a:lnTo>
                    <a:pt x="5398" y="28211"/>
                  </a:lnTo>
                  <a:lnTo>
                    <a:pt x="6288" y="28934"/>
                  </a:lnTo>
                  <a:lnTo>
                    <a:pt x="7234" y="29602"/>
                  </a:lnTo>
                  <a:lnTo>
                    <a:pt x="8180" y="30270"/>
                  </a:lnTo>
                  <a:lnTo>
                    <a:pt x="9237" y="30882"/>
                  </a:lnTo>
                  <a:lnTo>
                    <a:pt x="10350" y="31494"/>
                  </a:lnTo>
                  <a:lnTo>
                    <a:pt x="11463" y="32050"/>
                  </a:lnTo>
                  <a:lnTo>
                    <a:pt x="12631" y="32607"/>
                  </a:lnTo>
                  <a:lnTo>
                    <a:pt x="13856" y="33107"/>
                  </a:lnTo>
                  <a:lnTo>
                    <a:pt x="15135" y="33553"/>
                  </a:lnTo>
                  <a:lnTo>
                    <a:pt x="16471" y="33998"/>
                  </a:lnTo>
                  <a:lnTo>
                    <a:pt x="17806" y="34387"/>
                  </a:lnTo>
                  <a:lnTo>
                    <a:pt x="19197" y="34777"/>
                  </a:lnTo>
                  <a:lnTo>
                    <a:pt x="20588" y="35111"/>
                  </a:lnTo>
                  <a:lnTo>
                    <a:pt x="22035" y="35389"/>
                  </a:lnTo>
                  <a:lnTo>
                    <a:pt x="23537" y="35611"/>
                  </a:lnTo>
                  <a:lnTo>
                    <a:pt x="25040" y="35834"/>
                  </a:lnTo>
                  <a:lnTo>
                    <a:pt x="26598" y="35945"/>
                  </a:lnTo>
                  <a:lnTo>
                    <a:pt x="28156" y="36112"/>
                  </a:lnTo>
                  <a:lnTo>
                    <a:pt x="29714" y="36168"/>
                  </a:lnTo>
                  <a:lnTo>
                    <a:pt x="32941" y="36168"/>
                  </a:lnTo>
                  <a:lnTo>
                    <a:pt x="34554" y="36112"/>
                  </a:lnTo>
                  <a:lnTo>
                    <a:pt x="36112" y="35945"/>
                  </a:lnTo>
                  <a:lnTo>
                    <a:pt x="37615" y="35834"/>
                  </a:lnTo>
                  <a:lnTo>
                    <a:pt x="39117" y="35611"/>
                  </a:lnTo>
                  <a:lnTo>
                    <a:pt x="40620" y="35389"/>
                  </a:lnTo>
                  <a:lnTo>
                    <a:pt x="42066" y="35111"/>
                  </a:lnTo>
                  <a:lnTo>
                    <a:pt x="43457" y="34777"/>
                  </a:lnTo>
                  <a:lnTo>
                    <a:pt x="44848" y="34387"/>
                  </a:lnTo>
                  <a:lnTo>
                    <a:pt x="46184" y="33998"/>
                  </a:lnTo>
                  <a:lnTo>
                    <a:pt x="47519" y="33553"/>
                  </a:lnTo>
                  <a:lnTo>
                    <a:pt x="48799" y="33107"/>
                  </a:lnTo>
                  <a:lnTo>
                    <a:pt x="50023" y="32607"/>
                  </a:lnTo>
                  <a:lnTo>
                    <a:pt x="51192" y="32050"/>
                  </a:lnTo>
                  <a:lnTo>
                    <a:pt x="52304" y="31494"/>
                  </a:lnTo>
                  <a:lnTo>
                    <a:pt x="53362" y="30882"/>
                  </a:lnTo>
                  <a:lnTo>
                    <a:pt x="54419" y="30270"/>
                  </a:lnTo>
                  <a:lnTo>
                    <a:pt x="55420" y="29602"/>
                  </a:lnTo>
                  <a:lnTo>
                    <a:pt x="56311" y="28934"/>
                  </a:lnTo>
                  <a:lnTo>
                    <a:pt x="57201" y="28211"/>
                  </a:lnTo>
                  <a:lnTo>
                    <a:pt x="57980" y="27487"/>
                  </a:lnTo>
                  <a:lnTo>
                    <a:pt x="58759" y="26708"/>
                  </a:lnTo>
                  <a:lnTo>
                    <a:pt x="59427" y="25929"/>
                  </a:lnTo>
                  <a:lnTo>
                    <a:pt x="60039" y="25151"/>
                  </a:lnTo>
                  <a:lnTo>
                    <a:pt x="60595" y="24316"/>
                  </a:lnTo>
                  <a:lnTo>
                    <a:pt x="61096" y="23481"/>
                  </a:lnTo>
                  <a:lnTo>
                    <a:pt x="61485" y="22591"/>
                  </a:lnTo>
                  <a:lnTo>
                    <a:pt x="61875" y="21756"/>
                  </a:lnTo>
                  <a:lnTo>
                    <a:pt x="62097" y="20866"/>
                  </a:lnTo>
                  <a:lnTo>
                    <a:pt x="62320" y="19920"/>
                  </a:lnTo>
                  <a:lnTo>
                    <a:pt x="62431" y="19030"/>
                  </a:lnTo>
                  <a:lnTo>
                    <a:pt x="62487" y="18084"/>
                  </a:lnTo>
                  <a:lnTo>
                    <a:pt x="62431" y="17194"/>
                  </a:lnTo>
                  <a:lnTo>
                    <a:pt x="62264" y="16248"/>
                  </a:lnTo>
                  <a:lnTo>
                    <a:pt x="62097" y="15357"/>
                  </a:lnTo>
                  <a:lnTo>
                    <a:pt x="61819" y="14467"/>
                  </a:lnTo>
                  <a:lnTo>
                    <a:pt x="61430" y="13577"/>
                  </a:lnTo>
                  <a:lnTo>
                    <a:pt x="61040" y="12742"/>
                  </a:lnTo>
                  <a:lnTo>
                    <a:pt x="60540" y="11852"/>
                  </a:lnTo>
                  <a:lnTo>
                    <a:pt x="59983" y="11073"/>
                  </a:lnTo>
                  <a:lnTo>
                    <a:pt x="59315" y="10238"/>
                  </a:lnTo>
                  <a:lnTo>
                    <a:pt x="58648" y="9459"/>
                  </a:lnTo>
                  <a:lnTo>
                    <a:pt x="57869" y="8736"/>
                  </a:lnTo>
                  <a:lnTo>
                    <a:pt x="57090" y="8013"/>
                  </a:lnTo>
                  <a:lnTo>
                    <a:pt x="56199" y="7289"/>
                  </a:lnTo>
                  <a:lnTo>
                    <a:pt x="55253" y="6622"/>
                  </a:lnTo>
                  <a:lnTo>
                    <a:pt x="54308" y="5954"/>
                  </a:lnTo>
                  <a:lnTo>
                    <a:pt x="53250" y="5286"/>
                  </a:lnTo>
                  <a:lnTo>
                    <a:pt x="52138" y="4730"/>
                  </a:lnTo>
                  <a:lnTo>
                    <a:pt x="51025" y="4118"/>
                  </a:lnTo>
                  <a:lnTo>
                    <a:pt x="49856" y="3617"/>
                  </a:lnTo>
                  <a:lnTo>
                    <a:pt x="48632" y="3116"/>
                  </a:lnTo>
                  <a:lnTo>
                    <a:pt x="47352" y="2615"/>
                  </a:lnTo>
                  <a:lnTo>
                    <a:pt x="46017" y="2170"/>
                  </a:lnTo>
                  <a:lnTo>
                    <a:pt x="44681" y="1781"/>
                  </a:lnTo>
                  <a:lnTo>
                    <a:pt x="43290" y="1447"/>
                  </a:lnTo>
                  <a:lnTo>
                    <a:pt x="41899" y="1113"/>
                  </a:lnTo>
                  <a:lnTo>
                    <a:pt x="40453" y="835"/>
                  </a:lnTo>
                  <a:lnTo>
                    <a:pt x="38950" y="556"/>
                  </a:lnTo>
                  <a:lnTo>
                    <a:pt x="37448" y="390"/>
                  </a:lnTo>
                  <a:lnTo>
                    <a:pt x="35890" y="223"/>
                  </a:lnTo>
                  <a:lnTo>
                    <a:pt x="34332" y="111"/>
                  </a:lnTo>
                  <a:lnTo>
                    <a:pt x="32718" y="56"/>
                  </a:lnTo>
                  <a:lnTo>
                    <a:pt x="31160" y="0"/>
                  </a:lnTo>
                  <a:close/>
                </a:path>
              </a:pathLst>
            </a:custGeom>
            <a:solidFill>
              <a:srgbClr val="DFEC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" name="Google Shape;17374;p84">
              <a:extLst>
                <a:ext uri="{FF2B5EF4-FFF2-40B4-BE49-F238E27FC236}">
                  <a16:creationId xmlns:a16="http://schemas.microsoft.com/office/drawing/2014/main" id="{479239E0-6CC1-37BF-2A9B-C85F63A9C7EE}"/>
                </a:ext>
              </a:extLst>
            </p:cNvPr>
            <p:cNvSpPr/>
            <p:nvPr/>
          </p:nvSpPr>
          <p:spPr>
            <a:xfrm>
              <a:off x="3901800" y="3827050"/>
              <a:ext cx="1964200" cy="710875"/>
            </a:xfrm>
            <a:custGeom>
              <a:avLst/>
              <a:gdLst/>
              <a:ahLst/>
              <a:cxnLst/>
              <a:rect l="l" t="t" r="r" b="b"/>
              <a:pathLst>
                <a:path w="78568" h="28435" extrusionOk="0">
                  <a:moveTo>
                    <a:pt x="56" y="1"/>
                  </a:moveTo>
                  <a:lnTo>
                    <a:pt x="0" y="5676"/>
                  </a:lnTo>
                  <a:lnTo>
                    <a:pt x="56" y="6845"/>
                  </a:lnTo>
                  <a:lnTo>
                    <a:pt x="223" y="8013"/>
                  </a:lnTo>
                  <a:lnTo>
                    <a:pt x="501" y="9126"/>
                  </a:lnTo>
                  <a:lnTo>
                    <a:pt x="835" y="10239"/>
                  </a:lnTo>
                  <a:lnTo>
                    <a:pt x="1280" y="11352"/>
                  </a:lnTo>
                  <a:lnTo>
                    <a:pt x="1837" y="12409"/>
                  </a:lnTo>
                  <a:lnTo>
                    <a:pt x="2449" y="13466"/>
                  </a:lnTo>
                  <a:lnTo>
                    <a:pt x="3172" y="14524"/>
                  </a:lnTo>
                  <a:lnTo>
                    <a:pt x="3951" y="15525"/>
                  </a:lnTo>
                  <a:lnTo>
                    <a:pt x="4841" y="16527"/>
                  </a:lnTo>
                  <a:lnTo>
                    <a:pt x="5787" y="17473"/>
                  </a:lnTo>
                  <a:lnTo>
                    <a:pt x="6789" y="18363"/>
                  </a:lnTo>
                  <a:lnTo>
                    <a:pt x="7902" y="19309"/>
                  </a:lnTo>
                  <a:lnTo>
                    <a:pt x="9070" y="20144"/>
                  </a:lnTo>
                  <a:lnTo>
                    <a:pt x="10294" y="20978"/>
                  </a:lnTo>
                  <a:lnTo>
                    <a:pt x="11630" y="21757"/>
                  </a:lnTo>
                  <a:lnTo>
                    <a:pt x="12965" y="22536"/>
                  </a:lnTo>
                  <a:lnTo>
                    <a:pt x="14412" y="23204"/>
                  </a:lnTo>
                  <a:lnTo>
                    <a:pt x="15914" y="23927"/>
                  </a:lnTo>
                  <a:lnTo>
                    <a:pt x="17416" y="24539"/>
                  </a:lnTo>
                  <a:lnTo>
                    <a:pt x="19030" y="25151"/>
                  </a:lnTo>
                  <a:lnTo>
                    <a:pt x="20699" y="25652"/>
                  </a:lnTo>
                  <a:lnTo>
                    <a:pt x="22369" y="26153"/>
                  </a:lnTo>
                  <a:lnTo>
                    <a:pt x="24094" y="26654"/>
                  </a:lnTo>
                  <a:lnTo>
                    <a:pt x="25930" y="27043"/>
                  </a:lnTo>
                  <a:lnTo>
                    <a:pt x="27710" y="27377"/>
                  </a:lnTo>
                  <a:lnTo>
                    <a:pt x="29602" y="27711"/>
                  </a:lnTo>
                  <a:lnTo>
                    <a:pt x="31494" y="27933"/>
                  </a:lnTo>
                  <a:lnTo>
                    <a:pt x="33442" y="28156"/>
                  </a:lnTo>
                  <a:lnTo>
                    <a:pt x="35389" y="28323"/>
                  </a:lnTo>
                  <a:lnTo>
                    <a:pt x="37392" y="28379"/>
                  </a:lnTo>
                  <a:lnTo>
                    <a:pt x="39395" y="28434"/>
                  </a:lnTo>
                  <a:lnTo>
                    <a:pt x="41454" y="28379"/>
                  </a:lnTo>
                  <a:lnTo>
                    <a:pt x="43457" y="28323"/>
                  </a:lnTo>
                  <a:lnTo>
                    <a:pt x="45405" y="28156"/>
                  </a:lnTo>
                  <a:lnTo>
                    <a:pt x="47352" y="27933"/>
                  </a:lnTo>
                  <a:lnTo>
                    <a:pt x="49244" y="27711"/>
                  </a:lnTo>
                  <a:lnTo>
                    <a:pt x="51080" y="27377"/>
                  </a:lnTo>
                  <a:lnTo>
                    <a:pt x="52916" y="27043"/>
                  </a:lnTo>
                  <a:lnTo>
                    <a:pt x="54697" y="26654"/>
                  </a:lnTo>
                  <a:lnTo>
                    <a:pt x="56422" y="26153"/>
                  </a:lnTo>
                  <a:lnTo>
                    <a:pt x="58147" y="25652"/>
                  </a:lnTo>
                  <a:lnTo>
                    <a:pt x="59760" y="25151"/>
                  </a:lnTo>
                  <a:lnTo>
                    <a:pt x="61374" y="24539"/>
                  </a:lnTo>
                  <a:lnTo>
                    <a:pt x="62876" y="23927"/>
                  </a:lnTo>
                  <a:lnTo>
                    <a:pt x="64379" y="23204"/>
                  </a:lnTo>
                  <a:lnTo>
                    <a:pt x="65825" y="22536"/>
                  </a:lnTo>
                  <a:lnTo>
                    <a:pt x="67161" y="21757"/>
                  </a:lnTo>
                  <a:lnTo>
                    <a:pt x="68441" y="20978"/>
                  </a:lnTo>
                  <a:lnTo>
                    <a:pt x="69665" y="20144"/>
                  </a:lnTo>
                  <a:lnTo>
                    <a:pt x="70833" y="19309"/>
                  </a:lnTo>
                  <a:lnTo>
                    <a:pt x="71946" y="18363"/>
                  </a:lnTo>
                  <a:lnTo>
                    <a:pt x="72948" y="17473"/>
                  </a:lnTo>
                  <a:lnTo>
                    <a:pt x="73894" y="16527"/>
                  </a:lnTo>
                  <a:lnTo>
                    <a:pt x="74728" y="15525"/>
                  </a:lnTo>
                  <a:lnTo>
                    <a:pt x="75507" y="14524"/>
                  </a:lnTo>
                  <a:lnTo>
                    <a:pt x="76231" y="13466"/>
                  </a:lnTo>
                  <a:lnTo>
                    <a:pt x="76843" y="12409"/>
                  </a:lnTo>
                  <a:lnTo>
                    <a:pt x="77343" y="11352"/>
                  </a:lnTo>
                  <a:lnTo>
                    <a:pt x="77789" y="10239"/>
                  </a:lnTo>
                  <a:lnTo>
                    <a:pt x="78122" y="9126"/>
                  </a:lnTo>
                  <a:lnTo>
                    <a:pt x="78401" y="8013"/>
                  </a:lnTo>
                  <a:lnTo>
                    <a:pt x="78512" y="6845"/>
                  </a:lnTo>
                  <a:lnTo>
                    <a:pt x="78568" y="5676"/>
                  </a:lnTo>
                  <a:lnTo>
                    <a:pt x="78568" y="1169"/>
                  </a:lnTo>
                  <a:lnTo>
                    <a:pt x="78401" y="2338"/>
                  </a:lnTo>
                  <a:lnTo>
                    <a:pt x="78178" y="3506"/>
                  </a:lnTo>
                  <a:lnTo>
                    <a:pt x="77789" y="4619"/>
                  </a:lnTo>
                  <a:lnTo>
                    <a:pt x="77399" y="5676"/>
                  </a:lnTo>
                  <a:lnTo>
                    <a:pt x="76843" y="6789"/>
                  </a:lnTo>
                  <a:lnTo>
                    <a:pt x="76231" y="7846"/>
                  </a:lnTo>
                  <a:lnTo>
                    <a:pt x="75563" y="8848"/>
                  </a:lnTo>
                  <a:lnTo>
                    <a:pt x="74784" y="9905"/>
                  </a:lnTo>
                  <a:lnTo>
                    <a:pt x="73894" y="10851"/>
                  </a:lnTo>
                  <a:lnTo>
                    <a:pt x="72948" y="11797"/>
                  </a:lnTo>
                  <a:lnTo>
                    <a:pt x="71946" y="12743"/>
                  </a:lnTo>
                  <a:lnTo>
                    <a:pt x="70833" y="13633"/>
                  </a:lnTo>
                  <a:lnTo>
                    <a:pt x="69720" y="14468"/>
                  </a:lnTo>
                  <a:lnTo>
                    <a:pt x="68496" y="15303"/>
                  </a:lnTo>
                  <a:lnTo>
                    <a:pt x="67161" y="16082"/>
                  </a:lnTo>
                  <a:lnTo>
                    <a:pt x="65825" y="16861"/>
                  </a:lnTo>
                  <a:lnTo>
                    <a:pt x="64379" y="17584"/>
                  </a:lnTo>
                  <a:lnTo>
                    <a:pt x="62932" y="18252"/>
                  </a:lnTo>
                  <a:lnTo>
                    <a:pt x="61374" y="18864"/>
                  </a:lnTo>
                  <a:lnTo>
                    <a:pt x="59760" y="19476"/>
                  </a:lnTo>
                  <a:lnTo>
                    <a:pt x="58147" y="20032"/>
                  </a:lnTo>
                  <a:lnTo>
                    <a:pt x="56477" y="20533"/>
                  </a:lnTo>
                  <a:lnTo>
                    <a:pt x="54697" y="20978"/>
                  </a:lnTo>
                  <a:lnTo>
                    <a:pt x="52916" y="21368"/>
                  </a:lnTo>
                  <a:lnTo>
                    <a:pt x="51136" y="21757"/>
                  </a:lnTo>
                  <a:lnTo>
                    <a:pt x="49244" y="22035"/>
                  </a:lnTo>
                  <a:lnTo>
                    <a:pt x="47352" y="22314"/>
                  </a:lnTo>
                  <a:lnTo>
                    <a:pt x="45405" y="22481"/>
                  </a:lnTo>
                  <a:lnTo>
                    <a:pt x="43457" y="22647"/>
                  </a:lnTo>
                  <a:lnTo>
                    <a:pt x="41454" y="22759"/>
                  </a:lnTo>
                  <a:lnTo>
                    <a:pt x="37392" y="22759"/>
                  </a:lnTo>
                  <a:lnTo>
                    <a:pt x="35445" y="22647"/>
                  </a:lnTo>
                  <a:lnTo>
                    <a:pt x="33442" y="22481"/>
                  </a:lnTo>
                  <a:lnTo>
                    <a:pt x="31494" y="22314"/>
                  </a:lnTo>
                  <a:lnTo>
                    <a:pt x="29602" y="22035"/>
                  </a:lnTo>
                  <a:lnTo>
                    <a:pt x="27766" y="21757"/>
                  </a:lnTo>
                  <a:lnTo>
                    <a:pt x="25930" y="21368"/>
                  </a:lnTo>
                  <a:lnTo>
                    <a:pt x="24149" y="20978"/>
                  </a:lnTo>
                  <a:lnTo>
                    <a:pt x="22369" y="20533"/>
                  </a:lnTo>
                  <a:lnTo>
                    <a:pt x="20699" y="20032"/>
                  </a:lnTo>
                  <a:lnTo>
                    <a:pt x="19030" y="19476"/>
                  </a:lnTo>
                  <a:lnTo>
                    <a:pt x="17472" y="18864"/>
                  </a:lnTo>
                  <a:lnTo>
                    <a:pt x="15914" y="18252"/>
                  </a:lnTo>
                  <a:lnTo>
                    <a:pt x="14412" y="17584"/>
                  </a:lnTo>
                  <a:lnTo>
                    <a:pt x="12965" y="16861"/>
                  </a:lnTo>
                  <a:lnTo>
                    <a:pt x="11630" y="16082"/>
                  </a:lnTo>
                  <a:lnTo>
                    <a:pt x="10294" y="15303"/>
                  </a:lnTo>
                  <a:lnTo>
                    <a:pt x="9070" y="14468"/>
                  </a:lnTo>
                  <a:lnTo>
                    <a:pt x="7902" y="13633"/>
                  </a:lnTo>
                  <a:lnTo>
                    <a:pt x="6789" y="12743"/>
                  </a:lnTo>
                  <a:lnTo>
                    <a:pt x="5787" y="11797"/>
                  </a:lnTo>
                  <a:lnTo>
                    <a:pt x="4841" y="10851"/>
                  </a:lnTo>
                  <a:lnTo>
                    <a:pt x="3951" y="9905"/>
                  </a:lnTo>
                  <a:lnTo>
                    <a:pt x="3172" y="8848"/>
                  </a:lnTo>
                  <a:lnTo>
                    <a:pt x="2449" y="7846"/>
                  </a:lnTo>
                  <a:lnTo>
                    <a:pt x="1837" y="6789"/>
                  </a:lnTo>
                  <a:lnTo>
                    <a:pt x="1280" y="5676"/>
                  </a:lnTo>
                  <a:lnTo>
                    <a:pt x="835" y="4619"/>
                  </a:lnTo>
                  <a:lnTo>
                    <a:pt x="501" y="3506"/>
                  </a:lnTo>
                  <a:lnTo>
                    <a:pt x="223" y="2338"/>
                  </a:lnTo>
                  <a:lnTo>
                    <a:pt x="112" y="1169"/>
                  </a:lnTo>
                  <a:lnTo>
                    <a:pt x="56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7375;p84">
              <a:extLst>
                <a:ext uri="{FF2B5EF4-FFF2-40B4-BE49-F238E27FC236}">
                  <a16:creationId xmlns:a16="http://schemas.microsoft.com/office/drawing/2014/main" id="{89E2E1E5-C882-DF8C-E080-923807CF5A15}"/>
                </a:ext>
              </a:extLst>
            </p:cNvPr>
            <p:cNvSpPr/>
            <p:nvPr/>
          </p:nvSpPr>
          <p:spPr>
            <a:xfrm>
              <a:off x="3903200" y="3258125"/>
              <a:ext cx="1962800" cy="1137900"/>
            </a:xfrm>
            <a:custGeom>
              <a:avLst/>
              <a:gdLst/>
              <a:ahLst/>
              <a:cxnLst/>
              <a:rect l="l" t="t" r="r" b="b"/>
              <a:pathLst>
                <a:path w="78512" h="45516" extrusionOk="0">
                  <a:moveTo>
                    <a:pt x="39172" y="4674"/>
                  </a:moveTo>
                  <a:lnTo>
                    <a:pt x="40730" y="4730"/>
                  </a:lnTo>
                  <a:lnTo>
                    <a:pt x="42344" y="4785"/>
                  </a:lnTo>
                  <a:lnTo>
                    <a:pt x="43902" y="4897"/>
                  </a:lnTo>
                  <a:lnTo>
                    <a:pt x="45460" y="5064"/>
                  </a:lnTo>
                  <a:lnTo>
                    <a:pt x="46962" y="5230"/>
                  </a:lnTo>
                  <a:lnTo>
                    <a:pt x="48465" y="5509"/>
                  </a:lnTo>
                  <a:lnTo>
                    <a:pt x="49911" y="5787"/>
                  </a:lnTo>
                  <a:lnTo>
                    <a:pt x="51302" y="6121"/>
                  </a:lnTo>
                  <a:lnTo>
                    <a:pt x="52693" y="6455"/>
                  </a:lnTo>
                  <a:lnTo>
                    <a:pt x="54029" y="6844"/>
                  </a:lnTo>
                  <a:lnTo>
                    <a:pt x="55364" y="7289"/>
                  </a:lnTo>
                  <a:lnTo>
                    <a:pt x="56644" y="7790"/>
                  </a:lnTo>
                  <a:lnTo>
                    <a:pt x="57868" y="8291"/>
                  </a:lnTo>
                  <a:lnTo>
                    <a:pt x="59037" y="8792"/>
                  </a:lnTo>
                  <a:lnTo>
                    <a:pt x="60150" y="9404"/>
                  </a:lnTo>
                  <a:lnTo>
                    <a:pt x="61262" y="9960"/>
                  </a:lnTo>
                  <a:lnTo>
                    <a:pt x="62320" y="10628"/>
                  </a:lnTo>
                  <a:lnTo>
                    <a:pt x="63265" y="11296"/>
                  </a:lnTo>
                  <a:lnTo>
                    <a:pt x="64211" y="11963"/>
                  </a:lnTo>
                  <a:lnTo>
                    <a:pt x="65102" y="12687"/>
                  </a:lnTo>
                  <a:lnTo>
                    <a:pt x="65881" y="13410"/>
                  </a:lnTo>
                  <a:lnTo>
                    <a:pt x="66660" y="14133"/>
                  </a:lnTo>
                  <a:lnTo>
                    <a:pt x="67327" y="14912"/>
                  </a:lnTo>
                  <a:lnTo>
                    <a:pt x="67995" y="15747"/>
                  </a:lnTo>
                  <a:lnTo>
                    <a:pt x="68552" y="16526"/>
                  </a:lnTo>
                  <a:lnTo>
                    <a:pt x="69052" y="17416"/>
                  </a:lnTo>
                  <a:lnTo>
                    <a:pt x="69442" y="18251"/>
                  </a:lnTo>
                  <a:lnTo>
                    <a:pt x="69831" y="19141"/>
                  </a:lnTo>
                  <a:lnTo>
                    <a:pt x="70109" y="20031"/>
                  </a:lnTo>
                  <a:lnTo>
                    <a:pt x="70276" y="20922"/>
                  </a:lnTo>
                  <a:lnTo>
                    <a:pt x="70443" y="21868"/>
                  </a:lnTo>
                  <a:lnTo>
                    <a:pt x="70499" y="22758"/>
                  </a:lnTo>
                  <a:lnTo>
                    <a:pt x="70443" y="23704"/>
                  </a:lnTo>
                  <a:lnTo>
                    <a:pt x="70332" y="24594"/>
                  </a:lnTo>
                  <a:lnTo>
                    <a:pt x="70109" y="25540"/>
                  </a:lnTo>
                  <a:lnTo>
                    <a:pt x="69887" y="26430"/>
                  </a:lnTo>
                  <a:lnTo>
                    <a:pt x="69497" y="27265"/>
                  </a:lnTo>
                  <a:lnTo>
                    <a:pt x="69108" y="28155"/>
                  </a:lnTo>
                  <a:lnTo>
                    <a:pt x="68607" y="28990"/>
                  </a:lnTo>
                  <a:lnTo>
                    <a:pt x="68051" y="29825"/>
                  </a:lnTo>
                  <a:lnTo>
                    <a:pt x="67439" y="30603"/>
                  </a:lnTo>
                  <a:lnTo>
                    <a:pt x="66771" y="31382"/>
                  </a:lnTo>
                  <a:lnTo>
                    <a:pt x="65992" y="32161"/>
                  </a:lnTo>
                  <a:lnTo>
                    <a:pt x="65213" y="32885"/>
                  </a:lnTo>
                  <a:lnTo>
                    <a:pt x="64323" y="33608"/>
                  </a:lnTo>
                  <a:lnTo>
                    <a:pt x="63432" y="34276"/>
                  </a:lnTo>
                  <a:lnTo>
                    <a:pt x="62431" y="34944"/>
                  </a:lnTo>
                  <a:lnTo>
                    <a:pt x="61374" y="35556"/>
                  </a:lnTo>
                  <a:lnTo>
                    <a:pt x="60316" y="36168"/>
                  </a:lnTo>
                  <a:lnTo>
                    <a:pt x="59204" y="36724"/>
                  </a:lnTo>
                  <a:lnTo>
                    <a:pt x="58035" y="37281"/>
                  </a:lnTo>
                  <a:lnTo>
                    <a:pt x="56811" y="37781"/>
                  </a:lnTo>
                  <a:lnTo>
                    <a:pt x="55531" y="38227"/>
                  </a:lnTo>
                  <a:lnTo>
                    <a:pt x="54196" y="38672"/>
                  </a:lnTo>
                  <a:lnTo>
                    <a:pt x="52860" y="39061"/>
                  </a:lnTo>
                  <a:lnTo>
                    <a:pt x="51469" y="39451"/>
                  </a:lnTo>
                  <a:lnTo>
                    <a:pt x="50078" y="39785"/>
                  </a:lnTo>
                  <a:lnTo>
                    <a:pt x="48632" y="40063"/>
                  </a:lnTo>
                  <a:lnTo>
                    <a:pt x="47129" y="40285"/>
                  </a:lnTo>
                  <a:lnTo>
                    <a:pt x="45627" y="40508"/>
                  </a:lnTo>
                  <a:lnTo>
                    <a:pt x="44124" y="40619"/>
                  </a:lnTo>
                  <a:lnTo>
                    <a:pt x="42566" y="40786"/>
                  </a:lnTo>
                  <a:lnTo>
                    <a:pt x="40953" y="40842"/>
                  </a:lnTo>
                  <a:lnTo>
                    <a:pt x="37726" y="40842"/>
                  </a:lnTo>
                  <a:lnTo>
                    <a:pt x="36168" y="40786"/>
                  </a:lnTo>
                  <a:lnTo>
                    <a:pt x="34610" y="40619"/>
                  </a:lnTo>
                  <a:lnTo>
                    <a:pt x="33052" y="40508"/>
                  </a:lnTo>
                  <a:lnTo>
                    <a:pt x="31549" y="40285"/>
                  </a:lnTo>
                  <a:lnTo>
                    <a:pt x="30047" y="40063"/>
                  </a:lnTo>
                  <a:lnTo>
                    <a:pt x="28600" y="39785"/>
                  </a:lnTo>
                  <a:lnTo>
                    <a:pt x="27209" y="39451"/>
                  </a:lnTo>
                  <a:lnTo>
                    <a:pt x="25818" y="39061"/>
                  </a:lnTo>
                  <a:lnTo>
                    <a:pt x="24483" y="38672"/>
                  </a:lnTo>
                  <a:lnTo>
                    <a:pt x="23147" y="38227"/>
                  </a:lnTo>
                  <a:lnTo>
                    <a:pt x="21868" y="37781"/>
                  </a:lnTo>
                  <a:lnTo>
                    <a:pt x="20643" y="37281"/>
                  </a:lnTo>
                  <a:lnTo>
                    <a:pt x="19475" y="36724"/>
                  </a:lnTo>
                  <a:lnTo>
                    <a:pt x="18362" y="36168"/>
                  </a:lnTo>
                  <a:lnTo>
                    <a:pt x="17249" y="35556"/>
                  </a:lnTo>
                  <a:lnTo>
                    <a:pt x="16192" y="34944"/>
                  </a:lnTo>
                  <a:lnTo>
                    <a:pt x="15246" y="34276"/>
                  </a:lnTo>
                  <a:lnTo>
                    <a:pt x="14300" y="33608"/>
                  </a:lnTo>
                  <a:lnTo>
                    <a:pt x="13410" y="32885"/>
                  </a:lnTo>
                  <a:lnTo>
                    <a:pt x="12631" y="32161"/>
                  </a:lnTo>
                  <a:lnTo>
                    <a:pt x="11852" y="31382"/>
                  </a:lnTo>
                  <a:lnTo>
                    <a:pt x="11129" y="30603"/>
                  </a:lnTo>
                  <a:lnTo>
                    <a:pt x="10516" y="29825"/>
                  </a:lnTo>
                  <a:lnTo>
                    <a:pt x="9960" y="28990"/>
                  </a:lnTo>
                  <a:lnTo>
                    <a:pt x="9459" y="28155"/>
                  </a:lnTo>
                  <a:lnTo>
                    <a:pt x="9014" y="27265"/>
                  </a:lnTo>
                  <a:lnTo>
                    <a:pt x="8680" y="26430"/>
                  </a:lnTo>
                  <a:lnTo>
                    <a:pt x="8402" y="25540"/>
                  </a:lnTo>
                  <a:lnTo>
                    <a:pt x="8179" y="24594"/>
                  </a:lnTo>
                  <a:lnTo>
                    <a:pt x="8068" y="23704"/>
                  </a:lnTo>
                  <a:lnTo>
                    <a:pt x="8013" y="22758"/>
                  </a:lnTo>
                  <a:lnTo>
                    <a:pt x="8068" y="21868"/>
                  </a:lnTo>
                  <a:lnTo>
                    <a:pt x="8179" y="20922"/>
                  </a:lnTo>
                  <a:lnTo>
                    <a:pt x="8402" y="20031"/>
                  </a:lnTo>
                  <a:lnTo>
                    <a:pt x="8625" y="19141"/>
                  </a:lnTo>
                  <a:lnTo>
                    <a:pt x="9014" y="18251"/>
                  </a:lnTo>
                  <a:lnTo>
                    <a:pt x="9404" y="17416"/>
                  </a:lnTo>
                  <a:lnTo>
                    <a:pt x="9904" y="16582"/>
                  </a:lnTo>
                  <a:lnTo>
                    <a:pt x="10461" y="15747"/>
                  </a:lnTo>
                  <a:lnTo>
                    <a:pt x="11073" y="14912"/>
                  </a:lnTo>
                  <a:lnTo>
                    <a:pt x="11741" y="14133"/>
                  </a:lnTo>
                  <a:lnTo>
                    <a:pt x="12520" y="13410"/>
                  </a:lnTo>
                  <a:lnTo>
                    <a:pt x="13299" y="12687"/>
                  </a:lnTo>
                  <a:lnTo>
                    <a:pt x="14189" y="11963"/>
                  </a:lnTo>
                  <a:lnTo>
                    <a:pt x="15079" y="11296"/>
                  </a:lnTo>
                  <a:lnTo>
                    <a:pt x="16081" y="10628"/>
                  </a:lnTo>
                  <a:lnTo>
                    <a:pt x="17082" y="9960"/>
                  </a:lnTo>
                  <a:lnTo>
                    <a:pt x="18195" y="9404"/>
                  </a:lnTo>
                  <a:lnTo>
                    <a:pt x="19308" y="8792"/>
                  </a:lnTo>
                  <a:lnTo>
                    <a:pt x="20476" y="8291"/>
                  </a:lnTo>
                  <a:lnTo>
                    <a:pt x="21701" y="7790"/>
                  </a:lnTo>
                  <a:lnTo>
                    <a:pt x="22980" y="7289"/>
                  </a:lnTo>
                  <a:lnTo>
                    <a:pt x="24260" y="6844"/>
                  </a:lnTo>
                  <a:lnTo>
                    <a:pt x="25651" y="6455"/>
                  </a:lnTo>
                  <a:lnTo>
                    <a:pt x="26987" y="6121"/>
                  </a:lnTo>
                  <a:lnTo>
                    <a:pt x="28433" y="5787"/>
                  </a:lnTo>
                  <a:lnTo>
                    <a:pt x="29880" y="5509"/>
                  </a:lnTo>
                  <a:lnTo>
                    <a:pt x="31327" y="5230"/>
                  </a:lnTo>
                  <a:lnTo>
                    <a:pt x="32885" y="5064"/>
                  </a:lnTo>
                  <a:lnTo>
                    <a:pt x="34387" y="4897"/>
                  </a:lnTo>
                  <a:lnTo>
                    <a:pt x="35945" y="4785"/>
                  </a:lnTo>
                  <a:lnTo>
                    <a:pt x="37559" y="4730"/>
                  </a:lnTo>
                  <a:lnTo>
                    <a:pt x="39172" y="4674"/>
                  </a:lnTo>
                  <a:close/>
                  <a:moveTo>
                    <a:pt x="39117" y="0"/>
                  </a:moveTo>
                  <a:lnTo>
                    <a:pt x="37114" y="56"/>
                  </a:lnTo>
                  <a:lnTo>
                    <a:pt x="35110" y="111"/>
                  </a:lnTo>
                  <a:lnTo>
                    <a:pt x="33163" y="278"/>
                  </a:lnTo>
                  <a:lnTo>
                    <a:pt x="31215" y="501"/>
                  </a:lnTo>
                  <a:lnTo>
                    <a:pt x="29324" y="723"/>
                  </a:lnTo>
                  <a:lnTo>
                    <a:pt x="27432" y="1057"/>
                  </a:lnTo>
                  <a:lnTo>
                    <a:pt x="25651" y="1391"/>
                  </a:lnTo>
                  <a:lnTo>
                    <a:pt x="23871" y="1781"/>
                  </a:lnTo>
                  <a:lnTo>
                    <a:pt x="22090" y="2281"/>
                  </a:lnTo>
                  <a:lnTo>
                    <a:pt x="20421" y="2782"/>
                  </a:lnTo>
                  <a:lnTo>
                    <a:pt x="18752" y="3339"/>
                  </a:lnTo>
                  <a:lnTo>
                    <a:pt x="17194" y="3895"/>
                  </a:lnTo>
                  <a:lnTo>
                    <a:pt x="15636" y="4563"/>
                  </a:lnTo>
                  <a:lnTo>
                    <a:pt x="14189" y="5230"/>
                  </a:lnTo>
                  <a:lnTo>
                    <a:pt x="12742" y="5954"/>
                  </a:lnTo>
                  <a:lnTo>
                    <a:pt x="11407" y="6677"/>
                  </a:lnTo>
                  <a:lnTo>
                    <a:pt x="10071" y="7456"/>
                  </a:lnTo>
                  <a:lnTo>
                    <a:pt x="8847" y="8291"/>
                  </a:lnTo>
                  <a:lnTo>
                    <a:pt x="7679" y="9181"/>
                  </a:lnTo>
                  <a:lnTo>
                    <a:pt x="6621" y="10071"/>
                  </a:lnTo>
                  <a:lnTo>
                    <a:pt x="5620" y="10962"/>
                  </a:lnTo>
                  <a:lnTo>
                    <a:pt x="4674" y="11908"/>
                  </a:lnTo>
                  <a:lnTo>
                    <a:pt x="3784" y="12909"/>
                  </a:lnTo>
                  <a:lnTo>
                    <a:pt x="3005" y="13911"/>
                  </a:lnTo>
                  <a:lnTo>
                    <a:pt x="2337" y="14968"/>
                  </a:lnTo>
                  <a:lnTo>
                    <a:pt x="1725" y="16025"/>
                  </a:lnTo>
                  <a:lnTo>
                    <a:pt x="1169" y="17082"/>
                  </a:lnTo>
                  <a:lnTo>
                    <a:pt x="723" y="18195"/>
                  </a:lnTo>
                  <a:lnTo>
                    <a:pt x="390" y="19308"/>
                  </a:lnTo>
                  <a:lnTo>
                    <a:pt x="167" y="20421"/>
                  </a:lnTo>
                  <a:lnTo>
                    <a:pt x="0" y="21589"/>
                  </a:lnTo>
                  <a:lnTo>
                    <a:pt x="0" y="22758"/>
                  </a:lnTo>
                  <a:lnTo>
                    <a:pt x="56" y="23926"/>
                  </a:lnTo>
                  <a:lnTo>
                    <a:pt x="167" y="25095"/>
                  </a:lnTo>
                  <a:lnTo>
                    <a:pt x="445" y="26263"/>
                  </a:lnTo>
                  <a:lnTo>
                    <a:pt x="779" y="27376"/>
                  </a:lnTo>
                  <a:lnTo>
                    <a:pt x="1224" y="28433"/>
                  </a:lnTo>
                  <a:lnTo>
                    <a:pt x="1781" y="29546"/>
                  </a:lnTo>
                  <a:lnTo>
                    <a:pt x="2393" y="30603"/>
                  </a:lnTo>
                  <a:lnTo>
                    <a:pt x="3116" y="31605"/>
                  </a:lnTo>
                  <a:lnTo>
                    <a:pt x="3895" y="32662"/>
                  </a:lnTo>
                  <a:lnTo>
                    <a:pt x="4785" y="33608"/>
                  </a:lnTo>
                  <a:lnTo>
                    <a:pt x="5731" y="34554"/>
                  </a:lnTo>
                  <a:lnTo>
                    <a:pt x="6733" y="35500"/>
                  </a:lnTo>
                  <a:lnTo>
                    <a:pt x="7846" y="36390"/>
                  </a:lnTo>
                  <a:lnTo>
                    <a:pt x="9014" y="37225"/>
                  </a:lnTo>
                  <a:lnTo>
                    <a:pt x="10238" y="38060"/>
                  </a:lnTo>
                  <a:lnTo>
                    <a:pt x="11574" y="38839"/>
                  </a:lnTo>
                  <a:lnTo>
                    <a:pt x="12909" y="39618"/>
                  </a:lnTo>
                  <a:lnTo>
                    <a:pt x="14356" y="40341"/>
                  </a:lnTo>
                  <a:lnTo>
                    <a:pt x="15858" y="41009"/>
                  </a:lnTo>
                  <a:lnTo>
                    <a:pt x="17416" y="41621"/>
                  </a:lnTo>
                  <a:lnTo>
                    <a:pt x="18974" y="42233"/>
                  </a:lnTo>
                  <a:lnTo>
                    <a:pt x="20643" y="42789"/>
                  </a:lnTo>
                  <a:lnTo>
                    <a:pt x="22313" y="43290"/>
                  </a:lnTo>
                  <a:lnTo>
                    <a:pt x="24093" y="43735"/>
                  </a:lnTo>
                  <a:lnTo>
                    <a:pt x="25874" y="44125"/>
                  </a:lnTo>
                  <a:lnTo>
                    <a:pt x="27710" y="44514"/>
                  </a:lnTo>
                  <a:lnTo>
                    <a:pt x="29546" y="44792"/>
                  </a:lnTo>
                  <a:lnTo>
                    <a:pt x="31438" y="45071"/>
                  </a:lnTo>
                  <a:lnTo>
                    <a:pt x="33386" y="45238"/>
                  </a:lnTo>
                  <a:lnTo>
                    <a:pt x="35389" y="45404"/>
                  </a:lnTo>
                  <a:lnTo>
                    <a:pt x="37336" y="45516"/>
                  </a:lnTo>
                  <a:lnTo>
                    <a:pt x="41398" y="45516"/>
                  </a:lnTo>
                  <a:lnTo>
                    <a:pt x="43401" y="45404"/>
                  </a:lnTo>
                  <a:lnTo>
                    <a:pt x="45349" y="45238"/>
                  </a:lnTo>
                  <a:lnTo>
                    <a:pt x="47296" y="45071"/>
                  </a:lnTo>
                  <a:lnTo>
                    <a:pt x="49188" y="44792"/>
                  </a:lnTo>
                  <a:lnTo>
                    <a:pt x="51080" y="44514"/>
                  </a:lnTo>
                  <a:lnTo>
                    <a:pt x="52860" y="44125"/>
                  </a:lnTo>
                  <a:lnTo>
                    <a:pt x="54641" y="43735"/>
                  </a:lnTo>
                  <a:lnTo>
                    <a:pt x="56421" y="43290"/>
                  </a:lnTo>
                  <a:lnTo>
                    <a:pt x="58091" y="42789"/>
                  </a:lnTo>
                  <a:lnTo>
                    <a:pt x="59704" y="42233"/>
                  </a:lnTo>
                  <a:lnTo>
                    <a:pt x="61318" y="41621"/>
                  </a:lnTo>
                  <a:lnTo>
                    <a:pt x="62876" y="41009"/>
                  </a:lnTo>
                  <a:lnTo>
                    <a:pt x="64323" y="40341"/>
                  </a:lnTo>
                  <a:lnTo>
                    <a:pt x="65769" y="39618"/>
                  </a:lnTo>
                  <a:lnTo>
                    <a:pt x="67105" y="38839"/>
                  </a:lnTo>
                  <a:lnTo>
                    <a:pt x="68440" y="38060"/>
                  </a:lnTo>
                  <a:lnTo>
                    <a:pt x="69664" y="37225"/>
                  </a:lnTo>
                  <a:lnTo>
                    <a:pt x="70777" y="36390"/>
                  </a:lnTo>
                  <a:lnTo>
                    <a:pt x="71890" y="35500"/>
                  </a:lnTo>
                  <a:lnTo>
                    <a:pt x="72892" y="34554"/>
                  </a:lnTo>
                  <a:lnTo>
                    <a:pt x="73838" y="33608"/>
                  </a:lnTo>
                  <a:lnTo>
                    <a:pt x="74728" y="32662"/>
                  </a:lnTo>
                  <a:lnTo>
                    <a:pt x="75507" y="31605"/>
                  </a:lnTo>
                  <a:lnTo>
                    <a:pt x="76175" y="30603"/>
                  </a:lnTo>
                  <a:lnTo>
                    <a:pt x="76787" y="29546"/>
                  </a:lnTo>
                  <a:lnTo>
                    <a:pt x="77343" y="28433"/>
                  </a:lnTo>
                  <a:lnTo>
                    <a:pt x="77733" y="27376"/>
                  </a:lnTo>
                  <a:lnTo>
                    <a:pt x="78122" y="26263"/>
                  </a:lnTo>
                  <a:lnTo>
                    <a:pt x="78345" y="25095"/>
                  </a:lnTo>
                  <a:lnTo>
                    <a:pt x="78512" y="23926"/>
                  </a:lnTo>
                  <a:lnTo>
                    <a:pt x="78512" y="22758"/>
                  </a:lnTo>
                  <a:lnTo>
                    <a:pt x="78456" y="21589"/>
                  </a:lnTo>
                  <a:lnTo>
                    <a:pt x="78289" y="20421"/>
                  </a:lnTo>
                  <a:lnTo>
                    <a:pt x="78066" y="19308"/>
                  </a:lnTo>
                  <a:lnTo>
                    <a:pt x="77733" y="18195"/>
                  </a:lnTo>
                  <a:lnTo>
                    <a:pt x="77287" y="17082"/>
                  </a:lnTo>
                  <a:lnTo>
                    <a:pt x="76731" y="16025"/>
                  </a:lnTo>
                  <a:lnTo>
                    <a:pt x="76119" y="14968"/>
                  </a:lnTo>
                  <a:lnTo>
                    <a:pt x="75396" y="13911"/>
                  </a:lnTo>
                  <a:lnTo>
                    <a:pt x="74617" y="12909"/>
                  </a:lnTo>
                  <a:lnTo>
                    <a:pt x="73726" y="11908"/>
                  </a:lnTo>
                  <a:lnTo>
                    <a:pt x="72780" y="10962"/>
                  </a:lnTo>
                  <a:lnTo>
                    <a:pt x="71779" y="10071"/>
                  </a:lnTo>
                  <a:lnTo>
                    <a:pt x="70666" y="9181"/>
                  </a:lnTo>
                  <a:lnTo>
                    <a:pt x="69497" y="8291"/>
                  </a:lnTo>
                  <a:lnTo>
                    <a:pt x="68218" y="7456"/>
                  </a:lnTo>
                  <a:lnTo>
                    <a:pt x="66938" y="6677"/>
                  </a:lnTo>
                  <a:lnTo>
                    <a:pt x="65547" y="5954"/>
                  </a:lnTo>
                  <a:lnTo>
                    <a:pt x="64156" y="5230"/>
                  </a:lnTo>
                  <a:lnTo>
                    <a:pt x="62653" y="4563"/>
                  </a:lnTo>
                  <a:lnTo>
                    <a:pt x="61095" y="3895"/>
                  </a:lnTo>
                  <a:lnTo>
                    <a:pt x="59537" y="3339"/>
                  </a:lnTo>
                  <a:lnTo>
                    <a:pt x="57868" y="2782"/>
                  </a:lnTo>
                  <a:lnTo>
                    <a:pt x="56143" y="2281"/>
                  </a:lnTo>
                  <a:lnTo>
                    <a:pt x="54418" y="1781"/>
                  </a:lnTo>
                  <a:lnTo>
                    <a:pt x="52638" y="1391"/>
                  </a:lnTo>
                  <a:lnTo>
                    <a:pt x="50802" y="1057"/>
                  </a:lnTo>
                  <a:lnTo>
                    <a:pt x="48965" y="723"/>
                  </a:lnTo>
                  <a:lnTo>
                    <a:pt x="47018" y="501"/>
                  </a:lnTo>
                  <a:lnTo>
                    <a:pt x="45126" y="278"/>
                  </a:lnTo>
                  <a:lnTo>
                    <a:pt x="43123" y="111"/>
                  </a:lnTo>
                  <a:lnTo>
                    <a:pt x="41120" y="56"/>
                  </a:lnTo>
                  <a:lnTo>
                    <a:pt x="39117" y="0"/>
                  </a:lnTo>
                  <a:close/>
                </a:path>
              </a:pathLst>
            </a:custGeom>
            <a:solidFill>
              <a:srgbClr val="D7600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7376;p84">
              <a:extLst>
                <a:ext uri="{FF2B5EF4-FFF2-40B4-BE49-F238E27FC236}">
                  <a16:creationId xmlns:a16="http://schemas.microsoft.com/office/drawing/2014/main" id="{79AC7122-7A92-31BA-370E-E2AF4E071609}"/>
                </a:ext>
              </a:extLst>
            </p:cNvPr>
            <p:cNvSpPr/>
            <p:nvPr/>
          </p:nvSpPr>
          <p:spPr>
            <a:xfrm>
              <a:off x="4082625" y="3162125"/>
              <a:ext cx="1560800" cy="904225"/>
            </a:xfrm>
            <a:custGeom>
              <a:avLst/>
              <a:gdLst/>
              <a:ahLst/>
              <a:cxnLst/>
              <a:rect l="l" t="t" r="r" b="b"/>
              <a:pathLst>
                <a:path w="62432" h="36169" extrusionOk="0">
                  <a:moveTo>
                    <a:pt x="29491" y="1"/>
                  </a:moveTo>
                  <a:lnTo>
                    <a:pt x="27933" y="56"/>
                  </a:lnTo>
                  <a:lnTo>
                    <a:pt x="26375" y="168"/>
                  </a:lnTo>
                  <a:lnTo>
                    <a:pt x="24817" y="335"/>
                  </a:lnTo>
                  <a:lnTo>
                    <a:pt x="23315" y="557"/>
                  </a:lnTo>
                  <a:lnTo>
                    <a:pt x="21868" y="780"/>
                  </a:lnTo>
                  <a:lnTo>
                    <a:pt x="20366" y="1058"/>
                  </a:lnTo>
                  <a:lnTo>
                    <a:pt x="18975" y="1392"/>
                  </a:lnTo>
                  <a:lnTo>
                    <a:pt x="17584" y="1781"/>
                  </a:lnTo>
                  <a:lnTo>
                    <a:pt x="16249" y="2171"/>
                  </a:lnTo>
                  <a:lnTo>
                    <a:pt x="14969" y="2616"/>
                  </a:lnTo>
                  <a:lnTo>
                    <a:pt x="13689" y="3061"/>
                  </a:lnTo>
                  <a:lnTo>
                    <a:pt x="12465" y="3562"/>
                  </a:lnTo>
                  <a:lnTo>
                    <a:pt x="11296" y="4118"/>
                  </a:lnTo>
                  <a:lnTo>
                    <a:pt x="10128" y="4675"/>
                  </a:lnTo>
                  <a:lnTo>
                    <a:pt x="9071" y="5287"/>
                  </a:lnTo>
                  <a:lnTo>
                    <a:pt x="8069" y="5899"/>
                  </a:lnTo>
                  <a:lnTo>
                    <a:pt x="7068" y="6567"/>
                  </a:lnTo>
                  <a:lnTo>
                    <a:pt x="6122" y="7234"/>
                  </a:lnTo>
                  <a:lnTo>
                    <a:pt x="5287" y="7958"/>
                  </a:lnTo>
                  <a:lnTo>
                    <a:pt x="4452" y="8681"/>
                  </a:lnTo>
                  <a:lnTo>
                    <a:pt x="3729" y="9460"/>
                  </a:lnTo>
                  <a:lnTo>
                    <a:pt x="3061" y="10239"/>
                  </a:lnTo>
                  <a:lnTo>
                    <a:pt x="2394" y="11018"/>
                  </a:lnTo>
                  <a:lnTo>
                    <a:pt x="1837" y="11853"/>
                  </a:lnTo>
                  <a:lnTo>
                    <a:pt x="1392" y="12687"/>
                  </a:lnTo>
                  <a:lnTo>
                    <a:pt x="947" y="13522"/>
                  </a:lnTo>
                  <a:lnTo>
                    <a:pt x="613" y="14412"/>
                  </a:lnTo>
                  <a:lnTo>
                    <a:pt x="335" y="15302"/>
                  </a:lnTo>
                  <a:lnTo>
                    <a:pt x="168" y="16193"/>
                  </a:lnTo>
                  <a:lnTo>
                    <a:pt x="57" y="17139"/>
                  </a:lnTo>
                  <a:lnTo>
                    <a:pt x="1" y="18085"/>
                  </a:lnTo>
                  <a:lnTo>
                    <a:pt x="57" y="18975"/>
                  </a:lnTo>
                  <a:lnTo>
                    <a:pt x="168" y="19921"/>
                  </a:lnTo>
                  <a:lnTo>
                    <a:pt x="390" y="20811"/>
                  </a:lnTo>
                  <a:lnTo>
                    <a:pt x="669" y="21701"/>
                  </a:lnTo>
                  <a:lnTo>
                    <a:pt x="1002" y="22592"/>
                  </a:lnTo>
                  <a:lnTo>
                    <a:pt x="1448" y="23426"/>
                  </a:lnTo>
                  <a:lnTo>
                    <a:pt x="1948" y="24261"/>
                  </a:lnTo>
                  <a:lnTo>
                    <a:pt x="2505" y="25096"/>
                  </a:lnTo>
                  <a:lnTo>
                    <a:pt x="3117" y="25875"/>
                  </a:lnTo>
                  <a:lnTo>
                    <a:pt x="3840" y="26709"/>
                  </a:lnTo>
                  <a:lnTo>
                    <a:pt x="4564" y="27433"/>
                  </a:lnTo>
                  <a:lnTo>
                    <a:pt x="5398" y="28156"/>
                  </a:lnTo>
                  <a:lnTo>
                    <a:pt x="6289" y="28879"/>
                  </a:lnTo>
                  <a:lnTo>
                    <a:pt x="7179" y="29547"/>
                  </a:lnTo>
                  <a:lnTo>
                    <a:pt x="8180" y="30215"/>
                  </a:lnTo>
                  <a:lnTo>
                    <a:pt x="9238" y="30827"/>
                  </a:lnTo>
                  <a:lnTo>
                    <a:pt x="10295" y="31439"/>
                  </a:lnTo>
                  <a:lnTo>
                    <a:pt x="11463" y="31995"/>
                  </a:lnTo>
                  <a:lnTo>
                    <a:pt x="12632" y="32552"/>
                  </a:lnTo>
                  <a:lnTo>
                    <a:pt x="13856" y="33052"/>
                  </a:lnTo>
                  <a:lnTo>
                    <a:pt x="15136" y="33553"/>
                  </a:lnTo>
                  <a:lnTo>
                    <a:pt x="16415" y="33943"/>
                  </a:lnTo>
                  <a:lnTo>
                    <a:pt x="17806" y="34388"/>
                  </a:lnTo>
                  <a:lnTo>
                    <a:pt x="19142" y="34722"/>
                  </a:lnTo>
                  <a:lnTo>
                    <a:pt x="20589" y="35056"/>
                  </a:lnTo>
                  <a:lnTo>
                    <a:pt x="22035" y="35334"/>
                  </a:lnTo>
                  <a:lnTo>
                    <a:pt x="23538" y="35556"/>
                  </a:lnTo>
                  <a:lnTo>
                    <a:pt x="25040" y="35779"/>
                  </a:lnTo>
                  <a:lnTo>
                    <a:pt x="26542" y="35946"/>
                  </a:lnTo>
                  <a:lnTo>
                    <a:pt x="28156" y="36057"/>
                  </a:lnTo>
                  <a:lnTo>
                    <a:pt x="29714" y="36113"/>
                  </a:lnTo>
                  <a:lnTo>
                    <a:pt x="31328" y="36168"/>
                  </a:lnTo>
                  <a:lnTo>
                    <a:pt x="32941" y="36113"/>
                  </a:lnTo>
                  <a:lnTo>
                    <a:pt x="34499" y="36057"/>
                  </a:lnTo>
                  <a:lnTo>
                    <a:pt x="36057" y="35946"/>
                  </a:lnTo>
                  <a:lnTo>
                    <a:pt x="37615" y="35779"/>
                  </a:lnTo>
                  <a:lnTo>
                    <a:pt x="39118" y="35556"/>
                  </a:lnTo>
                  <a:lnTo>
                    <a:pt x="40620" y="35334"/>
                  </a:lnTo>
                  <a:lnTo>
                    <a:pt x="42067" y="35056"/>
                  </a:lnTo>
                  <a:lnTo>
                    <a:pt x="43458" y="34722"/>
                  </a:lnTo>
                  <a:lnTo>
                    <a:pt x="44849" y="34388"/>
                  </a:lnTo>
                  <a:lnTo>
                    <a:pt x="46184" y="33943"/>
                  </a:lnTo>
                  <a:lnTo>
                    <a:pt x="47520" y="33553"/>
                  </a:lnTo>
                  <a:lnTo>
                    <a:pt x="48744" y="33052"/>
                  </a:lnTo>
                  <a:lnTo>
                    <a:pt x="49968" y="32552"/>
                  </a:lnTo>
                  <a:lnTo>
                    <a:pt x="51136" y="31995"/>
                  </a:lnTo>
                  <a:lnTo>
                    <a:pt x="52305" y="31439"/>
                  </a:lnTo>
                  <a:lnTo>
                    <a:pt x="53362" y="30827"/>
                  </a:lnTo>
                  <a:lnTo>
                    <a:pt x="54419" y="30215"/>
                  </a:lnTo>
                  <a:lnTo>
                    <a:pt x="55365" y="29547"/>
                  </a:lnTo>
                  <a:lnTo>
                    <a:pt x="56311" y="28879"/>
                  </a:lnTo>
                  <a:lnTo>
                    <a:pt x="57146" y="28156"/>
                  </a:lnTo>
                  <a:lnTo>
                    <a:pt x="57980" y="27433"/>
                  </a:lnTo>
                  <a:lnTo>
                    <a:pt x="58704" y="26654"/>
                  </a:lnTo>
                  <a:lnTo>
                    <a:pt x="59427" y="25875"/>
                  </a:lnTo>
                  <a:lnTo>
                    <a:pt x="60039" y="25096"/>
                  </a:lnTo>
                  <a:lnTo>
                    <a:pt x="60596" y="24261"/>
                  </a:lnTo>
                  <a:lnTo>
                    <a:pt x="61041" y="23426"/>
                  </a:lnTo>
                  <a:lnTo>
                    <a:pt x="61486" y="22592"/>
                  </a:lnTo>
                  <a:lnTo>
                    <a:pt x="61820" y="21701"/>
                  </a:lnTo>
                  <a:lnTo>
                    <a:pt x="62098" y="20811"/>
                  </a:lnTo>
                  <a:lnTo>
                    <a:pt x="62265" y="19921"/>
                  </a:lnTo>
                  <a:lnTo>
                    <a:pt x="62432" y="18975"/>
                  </a:lnTo>
                  <a:lnTo>
                    <a:pt x="62432" y="18085"/>
                  </a:lnTo>
                  <a:lnTo>
                    <a:pt x="62376" y="17139"/>
                  </a:lnTo>
                  <a:lnTo>
                    <a:pt x="62265" y="16193"/>
                  </a:lnTo>
                  <a:lnTo>
                    <a:pt x="62042" y="15302"/>
                  </a:lnTo>
                  <a:lnTo>
                    <a:pt x="61764" y="14412"/>
                  </a:lnTo>
                  <a:lnTo>
                    <a:pt x="61430" y="13522"/>
                  </a:lnTo>
                  <a:lnTo>
                    <a:pt x="60985" y="12687"/>
                  </a:lnTo>
                  <a:lnTo>
                    <a:pt x="60484" y="11853"/>
                  </a:lnTo>
                  <a:lnTo>
                    <a:pt x="59928" y="11018"/>
                  </a:lnTo>
                  <a:lnTo>
                    <a:pt x="59316" y="10239"/>
                  </a:lnTo>
                  <a:lnTo>
                    <a:pt x="58648" y="9460"/>
                  </a:lnTo>
                  <a:lnTo>
                    <a:pt x="57869" y="8681"/>
                  </a:lnTo>
                  <a:lnTo>
                    <a:pt x="57034" y="7958"/>
                  </a:lnTo>
                  <a:lnTo>
                    <a:pt x="56200" y="7234"/>
                  </a:lnTo>
                  <a:lnTo>
                    <a:pt x="55254" y="6567"/>
                  </a:lnTo>
                  <a:lnTo>
                    <a:pt x="54252" y="5899"/>
                  </a:lnTo>
                  <a:lnTo>
                    <a:pt x="53251" y="5287"/>
                  </a:lnTo>
                  <a:lnTo>
                    <a:pt x="52138" y="4675"/>
                  </a:lnTo>
                  <a:lnTo>
                    <a:pt x="51025" y="4118"/>
                  </a:lnTo>
                  <a:lnTo>
                    <a:pt x="49801" y="3562"/>
                  </a:lnTo>
                  <a:lnTo>
                    <a:pt x="48577" y="3061"/>
                  </a:lnTo>
                  <a:lnTo>
                    <a:pt x="47297" y="2616"/>
                  </a:lnTo>
                  <a:lnTo>
                    <a:pt x="46017" y="2171"/>
                  </a:lnTo>
                  <a:lnTo>
                    <a:pt x="44682" y="1781"/>
                  </a:lnTo>
                  <a:lnTo>
                    <a:pt x="43291" y="1392"/>
                  </a:lnTo>
                  <a:lnTo>
                    <a:pt x="41844" y="1058"/>
                  </a:lnTo>
                  <a:lnTo>
                    <a:pt x="40397" y="780"/>
                  </a:lnTo>
                  <a:lnTo>
                    <a:pt x="38951" y="557"/>
                  </a:lnTo>
                  <a:lnTo>
                    <a:pt x="37393" y="335"/>
                  </a:lnTo>
                  <a:lnTo>
                    <a:pt x="35890" y="168"/>
                  </a:lnTo>
                  <a:lnTo>
                    <a:pt x="34332" y="56"/>
                  </a:lnTo>
                  <a:lnTo>
                    <a:pt x="32719" y="1"/>
                  </a:lnTo>
                  <a:close/>
                </a:path>
              </a:pathLst>
            </a:custGeom>
            <a:solidFill>
              <a:srgbClr val="DFEC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" name="Google Shape;17377;p84">
              <a:extLst>
                <a:ext uri="{FF2B5EF4-FFF2-40B4-BE49-F238E27FC236}">
                  <a16:creationId xmlns:a16="http://schemas.microsoft.com/office/drawing/2014/main" id="{5B35C0DB-5DFD-5782-317D-77C1FCF2F07F}"/>
                </a:ext>
              </a:extLst>
            </p:cNvPr>
            <p:cNvSpPr/>
            <p:nvPr/>
          </p:nvSpPr>
          <p:spPr>
            <a:xfrm>
              <a:off x="3880925" y="3614225"/>
              <a:ext cx="1964200" cy="709475"/>
            </a:xfrm>
            <a:custGeom>
              <a:avLst/>
              <a:gdLst/>
              <a:ahLst/>
              <a:cxnLst/>
              <a:rect l="l" t="t" r="r" b="b"/>
              <a:pathLst>
                <a:path w="78568" h="28379" extrusionOk="0">
                  <a:moveTo>
                    <a:pt x="1" y="1"/>
                  </a:moveTo>
                  <a:lnTo>
                    <a:pt x="1" y="5620"/>
                  </a:lnTo>
                  <a:lnTo>
                    <a:pt x="56" y="6789"/>
                  </a:lnTo>
                  <a:lnTo>
                    <a:pt x="223" y="7957"/>
                  </a:lnTo>
                  <a:lnTo>
                    <a:pt x="446" y="9126"/>
                  </a:lnTo>
                  <a:lnTo>
                    <a:pt x="835" y="10239"/>
                  </a:lnTo>
                  <a:lnTo>
                    <a:pt x="1281" y="11296"/>
                  </a:lnTo>
                  <a:lnTo>
                    <a:pt x="1781" y="12409"/>
                  </a:lnTo>
                  <a:lnTo>
                    <a:pt x="2449" y="13466"/>
                  </a:lnTo>
                  <a:lnTo>
                    <a:pt x="3117" y="14468"/>
                  </a:lnTo>
                  <a:lnTo>
                    <a:pt x="3896" y="15525"/>
                  </a:lnTo>
                  <a:lnTo>
                    <a:pt x="4786" y="16471"/>
                  </a:lnTo>
                  <a:lnTo>
                    <a:pt x="5732" y="17417"/>
                  </a:lnTo>
                  <a:lnTo>
                    <a:pt x="6789" y="18363"/>
                  </a:lnTo>
                  <a:lnTo>
                    <a:pt x="7846" y="19253"/>
                  </a:lnTo>
                  <a:lnTo>
                    <a:pt x="9070" y="20088"/>
                  </a:lnTo>
                  <a:lnTo>
                    <a:pt x="10295" y="20922"/>
                  </a:lnTo>
                  <a:lnTo>
                    <a:pt x="11574" y="21701"/>
                  </a:lnTo>
                  <a:lnTo>
                    <a:pt x="12965" y="22480"/>
                  </a:lnTo>
                  <a:lnTo>
                    <a:pt x="14412" y="23204"/>
                  </a:lnTo>
                  <a:lnTo>
                    <a:pt x="15859" y="23871"/>
                  </a:lnTo>
                  <a:lnTo>
                    <a:pt x="17417" y="24483"/>
                  </a:lnTo>
                  <a:lnTo>
                    <a:pt x="19030" y="25095"/>
                  </a:lnTo>
                  <a:lnTo>
                    <a:pt x="20644" y="25652"/>
                  </a:lnTo>
                  <a:lnTo>
                    <a:pt x="22369" y="26153"/>
                  </a:lnTo>
                  <a:lnTo>
                    <a:pt x="24094" y="26598"/>
                  </a:lnTo>
                  <a:lnTo>
                    <a:pt x="25874" y="26987"/>
                  </a:lnTo>
                  <a:lnTo>
                    <a:pt x="27711" y="27377"/>
                  </a:lnTo>
                  <a:lnTo>
                    <a:pt x="29603" y="27655"/>
                  </a:lnTo>
                  <a:lnTo>
                    <a:pt x="31494" y="27933"/>
                  </a:lnTo>
                  <a:lnTo>
                    <a:pt x="33442" y="28100"/>
                  </a:lnTo>
                  <a:lnTo>
                    <a:pt x="35389" y="28267"/>
                  </a:lnTo>
                  <a:lnTo>
                    <a:pt x="37392" y="28378"/>
                  </a:lnTo>
                  <a:lnTo>
                    <a:pt x="41399" y="28378"/>
                  </a:lnTo>
                  <a:lnTo>
                    <a:pt x="43402" y="28267"/>
                  </a:lnTo>
                  <a:lnTo>
                    <a:pt x="45405" y="28100"/>
                  </a:lnTo>
                  <a:lnTo>
                    <a:pt x="47297" y="27933"/>
                  </a:lnTo>
                  <a:lnTo>
                    <a:pt x="49189" y="27655"/>
                  </a:lnTo>
                  <a:lnTo>
                    <a:pt x="51081" y="27377"/>
                  </a:lnTo>
                  <a:lnTo>
                    <a:pt x="52917" y="26987"/>
                  </a:lnTo>
                  <a:lnTo>
                    <a:pt x="54697" y="26598"/>
                  </a:lnTo>
                  <a:lnTo>
                    <a:pt x="56422" y="26153"/>
                  </a:lnTo>
                  <a:lnTo>
                    <a:pt x="58091" y="25652"/>
                  </a:lnTo>
                  <a:lnTo>
                    <a:pt x="59761" y="25095"/>
                  </a:lnTo>
                  <a:lnTo>
                    <a:pt x="61319" y="24483"/>
                  </a:lnTo>
                  <a:lnTo>
                    <a:pt x="62877" y="23871"/>
                  </a:lnTo>
                  <a:lnTo>
                    <a:pt x="64379" y="23204"/>
                  </a:lnTo>
                  <a:lnTo>
                    <a:pt x="65770" y="22480"/>
                  </a:lnTo>
                  <a:lnTo>
                    <a:pt x="67161" y="21701"/>
                  </a:lnTo>
                  <a:lnTo>
                    <a:pt x="68441" y="20922"/>
                  </a:lnTo>
                  <a:lnTo>
                    <a:pt x="69665" y="20088"/>
                  </a:lnTo>
                  <a:lnTo>
                    <a:pt x="70834" y="19253"/>
                  </a:lnTo>
                  <a:lnTo>
                    <a:pt x="71891" y="18363"/>
                  </a:lnTo>
                  <a:lnTo>
                    <a:pt x="72948" y="17417"/>
                  </a:lnTo>
                  <a:lnTo>
                    <a:pt x="73894" y="16471"/>
                  </a:lnTo>
                  <a:lnTo>
                    <a:pt x="74729" y="15525"/>
                  </a:lnTo>
                  <a:lnTo>
                    <a:pt x="75508" y="14468"/>
                  </a:lnTo>
                  <a:lnTo>
                    <a:pt x="76231" y="13466"/>
                  </a:lnTo>
                  <a:lnTo>
                    <a:pt x="76843" y="12409"/>
                  </a:lnTo>
                  <a:lnTo>
                    <a:pt x="77344" y="11296"/>
                  </a:lnTo>
                  <a:lnTo>
                    <a:pt x="77789" y="10239"/>
                  </a:lnTo>
                  <a:lnTo>
                    <a:pt x="78123" y="9126"/>
                  </a:lnTo>
                  <a:lnTo>
                    <a:pt x="78345" y="7957"/>
                  </a:lnTo>
                  <a:lnTo>
                    <a:pt x="78512" y="6789"/>
                  </a:lnTo>
                  <a:lnTo>
                    <a:pt x="78568" y="5620"/>
                  </a:lnTo>
                  <a:lnTo>
                    <a:pt x="78568" y="1"/>
                  </a:lnTo>
                  <a:lnTo>
                    <a:pt x="78512" y="1169"/>
                  </a:lnTo>
                  <a:lnTo>
                    <a:pt x="78401" y="2282"/>
                  </a:lnTo>
                  <a:lnTo>
                    <a:pt x="78123" y="3450"/>
                  </a:lnTo>
                  <a:lnTo>
                    <a:pt x="77789" y="4563"/>
                  </a:lnTo>
                  <a:lnTo>
                    <a:pt x="77344" y="5676"/>
                  </a:lnTo>
                  <a:lnTo>
                    <a:pt x="76843" y="6733"/>
                  </a:lnTo>
                  <a:lnTo>
                    <a:pt x="76231" y="7791"/>
                  </a:lnTo>
                  <a:lnTo>
                    <a:pt x="75508" y="8848"/>
                  </a:lnTo>
                  <a:lnTo>
                    <a:pt x="74729" y="9849"/>
                  </a:lnTo>
                  <a:lnTo>
                    <a:pt x="73894" y="10851"/>
                  </a:lnTo>
                  <a:lnTo>
                    <a:pt x="72948" y="11797"/>
                  </a:lnTo>
                  <a:lnTo>
                    <a:pt x="71946" y="12687"/>
                  </a:lnTo>
                  <a:lnTo>
                    <a:pt x="70834" y="13577"/>
                  </a:lnTo>
                  <a:lnTo>
                    <a:pt x="69665" y="14468"/>
                  </a:lnTo>
                  <a:lnTo>
                    <a:pt x="68441" y="15302"/>
                  </a:lnTo>
                  <a:lnTo>
                    <a:pt x="67161" y="16081"/>
                  </a:lnTo>
                  <a:lnTo>
                    <a:pt x="65770" y="16805"/>
                  </a:lnTo>
                  <a:lnTo>
                    <a:pt x="64379" y="17528"/>
                  </a:lnTo>
                  <a:lnTo>
                    <a:pt x="62877" y="18196"/>
                  </a:lnTo>
                  <a:lnTo>
                    <a:pt x="61374" y="18863"/>
                  </a:lnTo>
                  <a:lnTo>
                    <a:pt x="59761" y="19420"/>
                  </a:lnTo>
                  <a:lnTo>
                    <a:pt x="58147" y="19976"/>
                  </a:lnTo>
                  <a:lnTo>
                    <a:pt x="56422" y="20477"/>
                  </a:lnTo>
                  <a:lnTo>
                    <a:pt x="54697" y="20922"/>
                  </a:lnTo>
                  <a:lnTo>
                    <a:pt x="52917" y="21367"/>
                  </a:lnTo>
                  <a:lnTo>
                    <a:pt x="51081" y="21701"/>
                  </a:lnTo>
                  <a:lnTo>
                    <a:pt x="49244" y="22035"/>
                  </a:lnTo>
                  <a:lnTo>
                    <a:pt x="47352" y="22258"/>
                  </a:lnTo>
                  <a:lnTo>
                    <a:pt x="45405" y="22480"/>
                  </a:lnTo>
                  <a:lnTo>
                    <a:pt x="43457" y="22591"/>
                  </a:lnTo>
                  <a:lnTo>
                    <a:pt x="41454" y="22703"/>
                  </a:lnTo>
                  <a:lnTo>
                    <a:pt x="37392" y="22703"/>
                  </a:lnTo>
                  <a:lnTo>
                    <a:pt x="35389" y="22591"/>
                  </a:lnTo>
                  <a:lnTo>
                    <a:pt x="33442" y="22480"/>
                  </a:lnTo>
                  <a:lnTo>
                    <a:pt x="31494" y="22258"/>
                  </a:lnTo>
                  <a:lnTo>
                    <a:pt x="29603" y="22035"/>
                  </a:lnTo>
                  <a:lnTo>
                    <a:pt x="27711" y="21701"/>
                  </a:lnTo>
                  <a:lnTo>
                    <a:pt x="25874" y="21367"/>
                  </a:lnTo>
                  <a:lnTo>
                    <a:pt x="24094" y="20922"/>
                  </a:lnTo>
                  <a:lnTo>
                    <a:pt x="22369" y="20477"/>
                  </a:lnTo>
                  <a:lnTo>
                    <a:pt x="20700" y="19976"/>
                  </a:lnTo>
                  <a:lnTo>
                    <a:pt x="19030" y="19420"/>
                  </a:lnTo>
                  <a:lnTo>
                    <a:pt x="17417" y="18863"/>
                  </a:lnTo>
                  <a:lnTo>
                    <a:pt x="15915" y="18196"/>
                  </a:lnTo>
                  <a:lnTo>
                    <a:pt x="14412" y="17528"/>
                  </a:lnTo>
                  <a:lnTo>
                    <a:pt x="12965" y="16805"/>
                  </a:lnTo>
                  <a:lnTo>
                    <a:pt x="11630" y="16081"/>
                  </a:lnTo>
                  <a:lnTo>
                    <a:pt x="10295" y="15302"/>
                  </a:lnTo>
                  <a:lnTo>
                    <a:pt x="9070" y="14468"/>
                  </a:lnTo>
                  <a:lnTo>
                    <a:pt x="7902" y="13577"/>
                  </a:lnTo>
                  <a:lnTo>
                    <a:pt x="6789" y="12687"/>
                  </a:lnTo>
                  <a:lnTo>
                    <a:pt x="5788" y="11797"/>
                  </a:lnTo>
                  <a:lnTo>
                    <a:pt x="4786" y="10851"/>
                  </a:lnTo>
                  <a:lnTo>
                    <a:pt x="3951" y="9849"/>
                  </a:lnTo>
                  <a:lnTo>
                    <a:pt x="3172" y="8848"/>
                  </a:lnTo>
                  <a:lnTo>
                    <a:pt x="2449" y="7791"/>
                  </a:lnTo>
                  <a:lnTo>
                    <a:pt x="1837" y="6733"/>
                  </a:lnTo>
                  <a:lnTo>
                    <a:pt x="1281" y="5676"/>
                  </a:lnTo>
                  <a:lnTo>
                    <a:pt x="835" y="4563"/>
                  </a:lnTo>
                  <a:lnTo>
                    <a:pt x="502" y="3450"/>
                  </a:lnTo>
                  <a:lnTo>
                    <a:pt x="223" y="2282"/>
                  </a:lnTo>
                  <a:lnTo>
                    <a:pt x="56" y="116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" name="Google Shape;17378;p84">
              <a:extLst>
                <a:ext uri="{FF2B5EF4-FFF2-40B4-BE49-F238E27FC236}">
                  <a16:creationId xmlns:a16="http://schemas.microsoft.com/office/drawing/2014/main" id="{13F1BDFB-A5A2-F3C4-9277-720F3402FC87}"/>
                </a:ext>
              </a:extLst>
            </p:cNvPr>
            <p:cNvSpPr/>
            <p:nvPr/>
          </p:nvSpPr>
          <p:spPr>
            <a:xfrm>
              <a:off x="3880925" y="3045275"/>
              <a:ext cx="1964200" cy="1136525"/>
            </a:xfrm>
            <a:custGeom>
              <a:avLst/>
              <a:gdLst/>
              <a:ahLst/>
              <a:cxnLst/>
              <a:rect l="l" t="t" r="r" b="b"/>
              <a:pathLst>
                <a:path w="78568" h="45461" extrusionOk="0">
                  <a:moveTo>
                    <a:pt x="40787" y="4675"/>
                  </a:moveTo>
                  <a:lnTo>
                    <a:pt x="42400" y="4730"/>
                  </a:lnTo>
                  <a:lnTo>
                    <a:pt x="43958" y="4842"/>
                  </a:lnTo>
                  <a:lnTo>
                    <a:pt x="45461" y="5009"/>
                  </a:lnTo>
                  <a:lnTo>
                    <a:pt x="47019" y="5231"/>
                  </a:lnTo>
                  <a:lnTo>
                    <a:pt x="48465" y="5454"/>
                  </a:lnTo>
                  <a:lnTo>
                    <a:pt x="49912" y="5732"/>
                  </a:lnTo>
                  <a:lnTo>
                    <a:pt x="51359" y="6066"/>
                  </a:lnTo>
                  <a:lnTo>
                    <a:pt x="52750" y="6455"/>
                  </a:lnTo>
                  <a:lnTo>
                    <a:pt x="54085" y="6845"/>
                  </a:lnTo>
                  <a:lnTo>
                    <a:pt x="55365" y="7290"/>
                  </a:lnTo>
                  <a:lnTo>
                    <a:pt x="56645" y="7735"/>
                  </a:lnTo>
                  <a:lnTo>
                    <a:pt x="57869" y="8236"/>
                  </a:lnTo>
                  <a:lnTo>
                    <a:pt x="59093" y="8792"/>
                  </a:lnTo>
                  <a:lnTo>
                    <a:pt x="60206" y="9349"/>
                  </a:lnTo>
                  <a:lnTo>
                    <a:pt x="61319" y="9961"/>
                  </a:lnTo>
                  <a:lnTo>
                    <a:pt x="62320" y="10573"/>
                  </a:lnTo>
                  <a:lnTo>
                    <a:pt x="63322" y="11241"/>
                  </a:lnTo>
                  <a:lnTo>
                    <a:pt x="64268" y="11908"/>
                  </a:lnTo>
                  <a:lnTo>
                    <a:pt x="65102" y="12632"/>
                  </a:lnTo>
                  <a:lnTo>
                    <a:pt x="65937" y="13355"/>
                  </a:lnTo>
                  <a:lnTo>
                    <a:pt x="66716" y="14134"/>
                  </a:lnTo>
                  <a:lnTo>
                    <a:pt x="67384" y="14913"/>
                  </a:lnTo>
                  <a:lnTo>
                    <a:pt x="67996" y="15692"/>
                  </a:lnTo>
                  <a:lnTo>
                    <a:pt x="68552" y="16527"/>
                  </a:lnTo>
                  <a:lnTo>
                    <a:pt x="69053" y="17361"/>
                  </a:lnTo>
                  <a:lnTo>
                    <a:pt x="69498" y="18196"/>
                  </a:lnTo>
                  <a:lnTo>
                    <a:pt x="69832" y="19086"/>
                  </a:lnTo>
                  <a:lnTo>
                    <a:pt x="70110" y="19976"/>
                  </a:lnTo>
                  <a:lnTo>
                    <a:pt x="70333" y="20867"/>
                  </a:lnTo>
                  <a:lnTo>
                    <a:pt x="70444" y="21813"/>
                  </a:lnTo>
                  <a:lnTo>
                    <a:pt x="70500" y="22759"/>
                  </a:lnTo>
                  <a:lnTo>
                    <a:pt x="70500" y="23649"/>
                  </a:lnTo>
                  <a:lnTo>
                    <a:pt x="70333" y="24595"/>
                  </a:lnTo>
                  <a:lnTo>
                    <a:pt x="70166" y="25485"/>
                  </a:lnTo>
                  <a:lnTo>
                    <a:pt x="69888" y="26375"/>
                  </a:lnTo>
                  <a:lnTo>
                    <a:pt x="69554" y="27266"/>
                  </a:lnTo>
                  <a:lnTo>
                    <a:pt x="69109" y="28100"/>
                  </a:lnTo>
                  <a:lnTo>
                    <a:pt x="68664" y="28935"/>
                  </a:lnTo>
                  <a:lnTo>
                    <a:pt x="68107" y="29770"/>
                  </a:lnTo>
                  <a:lnTo>
                    <a:pt x="67495" y="30549"/>
                  </a:lnTo>
                  <a:lnTo>
                    <a:pt x="66772" y="31328"/>
                  </a:lnTo>
                  <a:lnTo>
                    <a:pt x="66048" y="32107"/>
                  </a:lnTo>
                  <a:lnTo>
                    <a:pt x="65214" y="32830"/>
                  </a:lnTo>
                  <a:lnTo>
                    <a:pt x="64379" y="33553"/>
                  </a:lnTo>
                  <a:lnTo>
                    <a:pt x="63433" y="34221"/>
                  </a:lnTo>
                  <a:lnTo>
                    <a:pt x="62487" y="34889"/>
                  </a:lnTo>
                  <a:lnTo>
                    <a:pt x="61430" y="35501"/>
                  </a:lnTo>
                  <a:lnTo>
                    <a:pt x="60373" y="36113"/>
                  </a:lnTo>
                  <a:lnTo>
                    <a:pt x="59204" y="36669"/>
                  </a:lnTo>
                  <a:lnTo>
                    <a:pt x="58036" y="37226"/>
                  </a:lnTo>
                  <a:lnTo>
                    <a:pt x="56812" y="37726"/>
                  </a:lnTo>
                  <a:lnTo>
                    <a:pt x="55588" y="38227"/>
                  </a:lnTo>
                  <a:lnTo>
                    <a:pt x="54252" y="38617"/>
                  </a:lnTo>
                  <a:lnTo>
                    <a:pt x="52917" y="39062"/>
                  </a:lnTo>
                  <a:lnTo>
                    <a:pt x="51526" y="39396"/>
                  </a:lnTo>
                  <a:lnTo>
                    <a:pt x="50135" y="39730"/>
                  </a:lnTo>
                  <a:lnTo>
                    <a:pt x="48688" y="40008"/>
                  </a:lnTo>
                  <a:lnTo>
                    <a:pt x="47186" y="40230"/>
                  </a:lnTo>
                  <a:lnTo>
                    <a:pt x="45683" y="40453"/>
                  </a:lnTo>
                  <a:lnTo>
                    <a:pt x="44125" y="40620"/>
                  </a:lnTo>
                  <a:lnTo>
                    <a:pt x="42567" y="40731"/>
                  </a:lnTo>
                  <a:lnTo>
                    <a:pt x="41009" y="40787"/>
                  </a:lnTo>
                  <a:lnTo>
                    <a:pt x="39396" y="40842"/>
                  </a:lnTo>
                  <a:lnTo>
                    <a:pt x="37782" y="40787"/>
                  </a:lnTo>
                  <a:lnTo>
                    <a:pt x="36224" y="40731"/>
                  </a:lnTo>
                  <a:lnTo>
                    <a:pt x="34610" y="40620"/>
                  </a:lnTo>
                  <a:lnTo>
                    <a:pt x="33108" y="40453"/>
                  </a:lnTo>
                  <a:lnTo>
                    <a:pt x="31606" y="40230"/>
                  </a:lnTo>
                  <a:lnTo>
                    <a:pt x="30103" y="40008"/>
                  </a:lnTo>
                  <a:lnTo>
                    <a:pt x="28657" y="39730"/>
                  </a:lnTo>
                  <a:lnTo>
                    <a:pt x="27210" y="39396"/>
                  </a:lnTo>
                  <a:lnTo>
                    <a:pt x="25874" y="39062"/>
                  </a:lnTo>
                  <a:lnTo>
                    <a:pt x="24483" y="38617"/>
                  </a:lnTo>
                  <a:lnTo>
                    <a:pt x="23204" y="38227"/>
                  </a:lnTo>
                  <a:lnTo>
                    <a:pt x="21924" y="37726"/>
                  </a:lnTo>
                  <a:lnTo>
                    <a:pt x="20700" y="37226"/>
                  </a:lnTo>
                  <a:lnTo>
                    <a:pt x="19531" y="36669"/>
                  </a:lnTo>
                  <a:lnTo>
                    <a:pt x="18363" y="36113"/>
                  </a:lnTo>
                  <a:lnTo>
                    <a:pt x="17306" y="35501"/>
                  </a:lnTo>
                  <a:lnTo>
                    <a:pt x="16248" y="34889"/>
                  </a:lnTo>
                  <a:lnTo>
                    <a:pt x="15247" y="34221"/>
                  </a:lnTo>
                  <a:lnTo>
                    <a:pt x="14357" y="33553"/>
                  </a:lnTo>
                  <a:lnTo>
                    <a:pt x="13466" y="32830"/>
                  </a:lnTo>
                  <a:lnTo>
                    <a:pt x="12632" y="32107"/>
                  </a:lnTo>
                  <a:lnTo>
                    <a:pt x="11908" y="31383"/>
                  </a:lnTo>
                  <a:lnTo>
                    <a:pt x="11185" y="30549"/>
                  </a:lnTo>
                  <a:lnTo>
                    <a:pt x="10573" y="29770"/>
                  </a:lnTo>
                  <a:lnTo>
                    <a:pt x="10016" y="28935"/>
                  </a:lnTo>
                  <a:lnTo>
                    <a:pt x="9516" y="28100"/>
                  </a:lnTo>
                  <a:lnTo>
                    <a:pt x="9070" y="27266"/>
                  </a:lnTo>
                  <a:lnTo>
                    <a:pt x="8737" y="26375"/>
                  </a:lnTo>
                  <a:lnTo>
                    <a:pt x="8458" y="25485"/>
                  </a:lnTo>
                  <a:lnTo>
                    <a:pt x="8236" y="24595"/>
                  </a:lnTo>
                  <a:lnTo>
                    <a:pt x="8125" y="23649"/>
                  </a:lnTo>
                  <a:lnTo>
                    <a:pt x="8069" y="22759"/>
                  </a:lnTo>
                  <a:lnTo>
                    <a:pt x="8125" y="21813"/>
                  </a:lnTo>
                  <a:lnTo>
                    <a:pt x="8236" y="20867"/>
                  </a:lnTo>
                  <a:lnTo>
                    <a:pt x="8403" y="19976"/>
                  </a:lnTo>
                  <a:lnTo>
                    <a:pt x="8681" y="19086"/>
                  </a:lnTo>
                  <a:lnTo>
                    <a:pt x="9015" y="18196"/>
                  </a:lnTo>
                  <a:lnTo>
                    <a:pt x="9460" y="17361"/>
                  </a:lnTo>
                  <a:lnTo>
                    <a:pt x="9905" y="16527"/>
                  </a:lnTo>
                  <a:lnTo>
                    <a:pt x="10462" y="15692"/>
                  </a:lnTo>
                  <a:lnTo>
                    <a:pt x="11129" y="14913"/>
                  </a:lnTo>
                  <a:lnTo>
                    <a:pt x="11797" y="14134"/>
                  </a:lnTo>
                  <a:lnTo>
                    <a:pt x="12520" y="13355"/>
                  </a:lnTo>
                  <a:lnTo>
                    <a:pt x="13355" y="12632"/>
                  </a:lnTo>
                  <a:lnTo>
                    <a:pt x="14190" y="11908"/>
                  </a:lnTo>
                  <a:lnTo>
                    <a:pt x="15136" y="11241"/>
                  </a:lnTo>
                  <a:lnTo>
                    <a:pt x="16137" y="10573"/>
                  </a:lnTo>
                  <a:lnTo>
                    <a:pt x="17139" y="9961"/>
                  </a:lnTo>
                  <a:lnTo>
                    <a:pt x="18196" y="9349"/>
                  </a:lnTo>
                  <a:lnTo>
                    <a:pt x="19364" y="8792"/>
                  </a:lnTo>
                  <a:lnTo>
                    <a:pt x="20533" y="8236"/>
                  </a:lnTo>
                  <a:lnTo>
                    <a:pt x="21757" y="7735"/>
                  </a:lnTo>
                  <a:lnTo>
                    <a:pt x="23037" y="7290"/>
                  </a:lnTo>
                  <a:lnTo>
                    <a:pt x="24317" y="6845"/>
                  </a:lnTo>
                  <a:lnTo>
                    <a:pt x="25652" y="6455"/>
                  </a:lnTo>
                  <a:lnTo>
                    <a:pt x="27043" y="6066"/>
                  </a:lnTo>
                  <a:lnTo>
                    <a:pt x="28434" y="5732"/>
                  </a:lnTo>
                  <a:lnTo>
                    <a:pt x="29936" y="5454"/>
                  </a:lnTo>
                  <a:lnTo>
                    <a:pt x="31383" y="5231"/>
                  </a:lnTo>
                  <a:lnTo>
                    <a:pt x="32885" y="5009"/>
                  </a:lnTo>
                  <a:lnTo>
                    <a:pt x="34443" y="4842"/>
                  </a:lnTo>
                  <a:lnTo>
                    <a:pt x="36001" y="4730"/>
                  </a:lnTo>
                  <a:lnTo>
                    <a:pt x="37559" y="4675"/>
                  </a:lnTo>
                  <a:close/>
                  <a:moveTo>
                    <a:pt x="37114" y="1"/>
                  </a:moveTo>
                  <a:lnTo>
                    <a:pt x="35167" y="112"/>
                  </a:lnTo>
                  <a:lnTo>
                    <a:pt x="33164" y="223"/>
                  </a:lnTo>
                  <a:lnTo>
                    <a:pt x="31272" y="446"/>
                  </a:lnTo>
                  <a:lnTo>
                    <a:pt x="29324" y="724"/>
                  </a:lnTo>
                  <a:lnTo>
                    <a:pt x="27488" y="1002"/>
                  </a:lnTo>
                  <a:lnTo>
                    <a:pt x="25652" y="1392"/>
                  </a:lnTo>
                  <a:lnTo>
                    <a:pt x="23871" y="1781"/>
                  </a:lnTo>
                  <a:lnTo>
                    <a:pt x="22146" y="2226"/>
                  </a:lnTo>
                  <a:lnTo>
                    <a:pt x="20477" y="2727"/>
                  </a:lnTo>
                  <a:lnTo>
                    <a:pt x="18808" y="3284"/>
                  </a:lnTo>
                  <a:lnTo>
                    <a:pt x="17194" y="3896"/>
                  </a:lnTo>
                  <a:lnTo>
                    <a:pt x="15692" y="4508"/>
                  </a:lnTo>
                  <a:lnTo>
                    <a:pt x="14190" y="5176"/>
                  </a:lnTo>
                  <a:lnTo>
                    <a:pt x="12799" y="5899"/>
                  </a:lnTo>
                  <a:lnTo>
                    <a:pt x="11407" y="6622"/>
                  </a:lnTo>
                  <a:lnTo>
                    <a:pt x="10128" y="7457"/>
                  </a:lnTo>
                  <a:lnTo>
                    <a:pt x="8904" y="8236"/>
                  </a:lnTo>
                  <a:lnTo>
                    <a:pt x="7735" y="9126"/>
                  </a:lnTo>
                  <a:lnTo>
                    <a:pt x="6622" y="10016"/>
                  </a:lnTo>
                  <a:lnTo>
                    <a:pt x="5621" y="10962"/>
                  </a:lnTo>
                  <a:lnTo>
                    <a:pt x="4675" y="11908"/>
                  </a:lnTo>
                  <a:lnTo>
                    <a:pt x="3840" y="12854"/>
                  </a:lnTo>
                  <a:lnTo>
                    <a:pt x="3061" y="13856"/>
                  </a:lnTo>
                  <a:lnTo>
                    <a:pt x="2338" y="14913"/>
                  </a:lnTo>
                  <a:lnTo>
                    <a:pt x="1726" y="15970"/>
                  </a:lnTo>
                  <a:lnTo>
                    <a:pt x="1225" y="17027"/>
                  </a:lnTo>
                  <a:lnTo>
                    <a:pt x="780" y="18140"/>
                  </a:lnTo>
                  <a:lnTo>
                    <a:pt x="446" y="19253"/>
                  </a:lnTo>
                  <a:lnTo>
                    <a:pt x="223" y="20422"/>
                  </a:lnTo>
                  <a:lnTo>
                    <a:pt x="56" y="21590"/>
                  </a:lnTo>
                  <a:lnTo>
                    <a:pt x="1" y="22759"/>
                  </a:lnTo>
                  <a:lnTo>
                    <a:pt x="56" y="23927"/>
                  </a:lnTo>
                  <a:lnTo>
                    <a:pt x="223" y="25040"/>
                  </a:lnTo>
                  <a:lnTo>
                    <a:pt x="502" y="26208"/>
                  </a:lnTo>
                  <a:lnTo>
                    <a:pt x="835" y="27321"/>
                  </a:lnTo>
                  <a:lnTo>
                    <a:pt x="1281" y="28434"/>
                  </a:lnTo>
                  <a:lnTo>
                    <a:pt x="1837" y="29491"/>
                  </a:lnTo>
                  <a:lnTo>
                    <a:pt x="2449" y="30549"/>
                  </a:lnTo>
                  <a:lnTo>
                    <a:pt x="3172" y="31606"/>
                  </a:lnTo>
                  <a:lnTo>
                    <a:pt x="3951" y="32607"/>
                  </a:lnTo>
                  <a:lnTo>
                    <a:pt x="4786" y="33609"/>
                  </a:lnTo>
                  <a:lnTo>
                    <a:pt x="5788" y="34555"/>
                  </a:lnTo>
                  <a:lnTo>
                    <a:pt x="6789" y="35445"/>
                  </a:lnTo>
                  <a:lnTo>
                    <a:pt x="7902" y="36335"/>
                  </a:lnTo>
                  <a:lnTo>
                    <a:pt x="9070" y="37226"/>
                  </a:lnTo>
                  <a:lnTo>
                    <a:pt x="10295" y="38060"/>
                  </a:lnTo>
                  <a:lnTo>
                    <a:pt x="11630" y="38839"/>
                  </a:lnTo>
                  <a:lnTo>
                    <a:pt x="12965" y="39563"/>
                  </a:lnTo>
                  <a:lnTo>
                    <a:pt x="14412" y="40286"/>
                  </a:lnTo>
                  <a:lnTo>
                    <a:pt x="15915" y="40954"/>
                  </a:lnTo>
                  <a:lnTo>
                    <a:pt x="17417" y="41621"/>
                  </a:lnTo>
                  <a:lnTo>
                    <a:pt x="19030" y="42178"/>
                  </a:lnTo>
                  <a:lnTo>
                    <a:pt x="20700" y="42734"/>
                  </a:lnTo>
                  <a:lnTo>
                    <a:pt x="22369" y="43235"/>
                  </a:lnTo>
                  <a:lnTo>
                    <a:pt x="24094" y="43680"/>
                  </a:lnTo>
                  <a:lnTo>
                    <a:pt x="25874" y="44125"/>
                  </a:lnTo>
                  <a:lnTo>
                    <a:pt x="27711" y="44459"/>
                  </a:lnTo>
                  <a:lnTo>
                    <a:pt x="29603" y="44793"/>
                  </a:lnTo>
                  <a:lnTo>
                    <a:pt x="31494" y="45016"/>
                  </a:lnTo>
                  <a:lnTo>
                    <a:pt x="33442" y="45238"/>
                  </a:lnTo>
                  <a:lnTo>
                    <a:pt x="35389" y="45349"/>
                  </a:lnTo>
                  <a:lnTo>
                    <a:pt x="37392" y="45461"/>
                  </a:lnTo>
                  <a:lnTo>
                    <a:pt x="41454" y="45461"/>
                  </a:lnTo>
                  <a:lnTo>
                    <a:pt x="43457" y="45349"/>
                  </a:lnTo>
                  <a:lnTo>
                    <a:pt x="45405" y="45238"/>
                  </a:lnTo>
                  <a:lnTo>
                    <a:pt x="47352" y="45016"/>
                  </a:lnTo>
                  <a:lnTo>
                    <a:pt x="49244" y="44793"/>
                  </a:lnTo>
                  <a:lnTo>
                    <a:pt x="51081" y="44459"/>
                  </a:lnTo>
                  <a:lnTo>
                    <a:pt x="52917" y="44125"/>
                  </a:lnTo>
                  <a:lnTo>
                    <a:pt x="54697" y="43680"/>
                  </a:lnTo>
                  <a:lnTo>
                    <a:pt x="56422" y="43235"/>
                  </a:lnTo>
                  <a:lnTo>
                    <a:pt x="58147" y="42734"/>
                  </a:lnTo>
                  <a:lnTo>
                    <a:pt x="59761" y="42178"/>
                  </a:lnTo>
                  <a:lnTo>
                    <a:pt x="61374" y="41621"/>
                  </a:lnTo>
                  <a:lnTo>
                    <a:pt x="62877" y="40954"/>
                  </a:lnTo>
                  <a:lnTo>
                    <a:pt x="64379" y="40286"/>
                  </a:lnTo>
                  <a:lnTo>
                    <a:pt x="65770" y="39563"/>
                  </a:lnTo>
                  <a:lnTo>
                    <a:pt x="67161" y="38839"/>
                  </a:lnTo>
                  <a:lnTo>
                    <a:pt x="68441" y="38060"/>
                  </a:lnTo>
                  <a:lnTo>
                    <a:pt x="69665" y="37226"/>
                  </a:lnTo>
                  <a:lnTo>
                    <a:pt x="70834" y="36335"/>
                  </a:lnTo>
                  <a:lnTo>
                    <a:pt x="71946" y="35445"/>
                  </a:lnTo>
                  <a:lnTo>
                    <a:pt x="72948" y="34555"/>
                  </a:lnTo>
                  <a:lnTo>
                    <a:pt x="73894" y="33609"/>
                  </a:lnTo>
                  <a:lnTo>
                    <a:pt x="74729" y="32607"/>
                  </a:lnTo>
                  <a:lnTo>
                    <a:pt x="75508" y="31606"/>
                  </a:lnTo>
                  <a:lnTo>
                    <a:pt x="76231" y="30549"/>
                  </a:lnTo>
                  <a:lnTo>
                    <a:pt x="76843" y="29491"/>
                  </a:lnTo>
                  <a:lnTo>
                    <a:pt x="77344" y="28434"/>
                  </a:lnTo>
                  <a:lnTo>
                    <a:pt x="77789" y="27321"/>
                  </a:lnTo>
                  <a:lnTo>
                    <a:pt x="78123" y="26208"/>
                  </a:lnTo>
                  <a:lnTo>
                    <a:pt x="78401" y="25040"/>
                  </a:lnTo>
                  <a:lnTo>
                    <a:pt x="78512" y="23927"/>
                  </a:lnTo>
                  <a:lnTo>
                    <a:pt x="78568" y="22759"/>
                  </a:lnTo>
                  <a:lnTo>
                    <a:pt x="78512" y="21590"/>
                  </a:lnTo>
                  <a:lnTo>
                    <a:pt x="78345" y="20422"/>
                  </a:lnTo>
                  <a:lnTo>
                    <a:pt x="78067" y="19253"/>
                  </a:lnTo>
                  <a:lnTo>
                    <a:pt x="77733" y="18140"/>
                  </a:lnTo>
                  <a:lnTo>
                    <a:pt x="77288" y="17027"/>
                  </a:lnTo>
                  <a:lnTo>
                    <a:pt x="76787" y="15970"/>
                  </a:lnTo>
                  <a:lnTo>
                    <a:pt x="76120" y="14913"/>
                  </a:lnTo>
                  <a:lnTo>
                    <a:pt x="75452" y="13856"/>
                  </a:lnTo>
                  <a:lnTo>
                    <a:pt x="74617" y="12854"/>
                  </a:lnTo>
                  <a:lnTo>
                    <a:pt x="73783" y="11908"/>
                  </a:lnTo>
                  <a:lnTo>
                    <a:pt x="72837" y="10962"/>
                  </a:lnTo>
                  <a:lnTo>
                    <a:pt x="71779" y="10016"/>
                  </a:lnTo>
                  <a:lnTo>
                    <a:pt x="70667" y="9126"/>
                  </a:lnTo>
                  <a:lnTo>
                    <a:pt x="69498" y="8236"/>
                  </a:lnTo>
                  <a:lnTo>
                    <a:pt x="68274" y="7457"/>
                  </a:lnTo>
                  <a:lnTo>
                    <a:pt x="66994" y="6622"/>
                  </a:lnTo>
                  <a:lnTo>
                    <a:pt x="65603" y="5899"/>
                  </a:lnTo>
                  <a:lnTo>
                    <a:pt x="64156" y="5176"/>
                  </a:lnTo>
                  <a:lnTo>
                    <a:pt x="62710" y="4508"/>
                  </a:lnTo>
                  <a:lnTo>
                    <a:pt x="61152" y="3896"/>
                  </a:lnTo>
                  <a:lnTo>
                    <a:pt x="59538" y="3284"/>
                  </a:lnTo>
                  <a:lnTo>
                    <a:pt x="57925" y="2727"/>
                  </a:lnTo>
                  <a:lnTo>
                    <a:pt x="56200" y="2226"/>
                  </a:lnTo>
                  <a:lnTo>
                    <a:pt x="54475" y="1781"/>
                  </a:lnTo>
                  <a:lnTo>
                    <a:pt x="52694" y="1392"/>
                  </a:lnTo>
                  <a:lnTo>
                    <a:pt x="50858" y="1002"/>
                  </a:lnTo>
                  <a:lnTo>
                    <a:pt x="48966" y="724"/>
                  </a:lnTo>
                  <a:lnTo>
                    <a:pt x="47074" y="446"/>
                  </a:lnTo>
                  <a:lnTo>
                    <a:pt x="45127" y="223"/>
                  </a:lnTo>
                  <a:lnTo>
                    <a:pt x="43179" y="112"/>
                  </a:lnTo>
                  <a:lnTo>
                    <a:pt x="41176" y="1"/>
                  </a:lnTo>
                  <a:close/>
                </a:path>
              </a:pathLst>
            </a:custGeom>
            <a:solidFill>
              <a:srgbClr val="D7600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" name="Google Shape;17379;p84">
              <a:extLst>
                <a:ext uri="{FF2B5EF4-FFF2-40B4-BE49-F238E27FC236}">
                  <a16:creationId xmlns:a16="http://schemas.microsoft.com/office/drawing/2014/main" id="{5E3DF52F-FF7A-85AC-BF97-E61DB86C62E7}"/>
                </a:ext>
              </a:extLst>
            </p:cNvPr>
            <p:cNvSpPr/>
            <p:nvPr/>
          </p:nvSpPr>
          <p:spPr>
            <a:xfrm>
              <a:off x="4061775" y="2947900"/>
              <a:ext cx="1560800" cy="904225"/>
            </a:xfrm>
            <a:custGeom>
              <a:avLst/>
              <a:gdLst/>
              <a:ahLst/>
              <a:cxnLst/>
              <a:rect l="l" t="t" r="r" b="b"/>
              <a:pathLst>
                <a:path w="62432" h="36169" extrusionOk="0">
                  <a:moveTo>
                    <a:pt x="29491" y="1"/>
                  </a:moveTo>
                  <a:lnTo>
                    <a:pt x="27933" y="112"/>
                  </a:lnTo>
                  <a:lnTo>
                    <a:pt x="26319" y="223"/>
                  </a:lnTo>
                  <a:lnTo>
                    <a:pt x="24817" y="390"/>
                  </a:lnTo>
                  <a:lnTo>
                    <a:pt x="23314" y="557"/>
                  </a:lnTo>
                  <a:lnTo>
                    <a:pt x="21812" y="835"/>
                  </a:lnTo>
                  <a:lnTo>
                    <a:pt x="20365" y="1114"/>
                  </a:lnTo>
                  <a:lnTo>
                    <a:pt x="18974" y="1447"/>
                  </a:lnTo>
                  <a:lnTo>
                    <a:pt x="17583" y="1781"/>
                  </a:lnTo>
                  <a:lnTo>
                    <a:pt x="16248" y="2171"/>
                  </a:lnTo>
                  <a:lnTo>
                    <a:pt x="14912" y="2616"/>
                  </a:lnTo>
                  <a:lnTo>
                    <a:pt x="13688" y="3061"/>
                  </a:lnTo>
                  <a:lnTo>
                    <a:pt x="12464" y="3618"/>
                  </a:lnTo>
                  <a:lnTo>
                    <a:pt x="11240" y="4118"/>
                  </a:lnTo>
                  <a:lnTo>
                    <a:pt x="10127" y="4675"/>
                  </a:lnTo>
                  <a:lnTo>
                    <a:pt x="9070" y="5287"/>
                  </a:lnTo>
                  <a:lnTo>
                    <a:pt x="8013" y="5899"/>
                  </a:lnTo>
                  <a:lnTo>
                    <a:pt x="7067" y="6567"/>
                  </a:lnTo>
                  <a:lnTo>
                    <a:pt x="6121" y="7290"/>
                  </a:lnTo>
                  <a:lnTo>
                    <a:pt x="5231" y="7958"/>
                  </a:lnTo>
                  <a:lnTo>
                    <a:pt x="4452" y="8681"/>
                  </a:lnTo>
                  <a:lnTo>
                    <a:pt x="3673" y="9460"/>
                  </a:lnTo>
                  <a:lnTo>
                    <a:pt x="3005" y="10239"/>
                  </a:lnTo>
                  <a:lnTo>
                    <a:pt x="2393" y="11018"/>
                  </a:lnTo>
                  <a:lnTo>
                    <a:pt x="1836" y="11853"/>
                  </a:lnTo>
                  <a:lnTo>
                    <a:pt x="1336" y="12687"/>
                  </a:lnTo>
                  <a:lnTo>
                    <a:pt x="946" y="13578"/>
                  </a:lnTo>
                  <a:lnTo>
                    <a:pt x="612" y="14412"/>
                  </a:lnTo>
                  <a:lnTo>
                    <a:pt x="334" y="15302"/>
                  </a:lnTo>
                  <a:lnTo>
                    <a:pt x="112" y="16248"/>
                  </a:lnTo>
                  <a:lnTo>
                    <a:pt x="0" y="17139"/>
                  </a:lnTo>
                  <a:lnTo>
                    <a:pt x="0" y="18085"/>
                  </a:lnTo>
                  <a:lnTo>
                    <a:pt x="0" y="19031"/>
                  </a:lnTo>
                  <a:lnTo>
                    <a:pt x="167" y="19921"/>
                  </a:lnTo>
                  <a:lnTo>
                    <a:pt x="334" y="20811"/>
                  </a:lnTo>
                  <a:lnTo>
                    <a:pt x="612" y="21701"/>
                  </a:lnTo>
                  <a:lnTo>
                    <a:pt x="1002" y="22592"/>
                  </a:lnTo>
                  <a:lnTo>
                    <a:pt x="1391" y="23482"/>
                  </a:lnTo>
                  <a:lnTo>
                    <a:pt x="1892" y="24317"/>
                  </a:lnTo>
                  <a:lnTo>
                    <a:pt x="2449" y="25096"/>
                  </a:lnTo>
                  <a:lnTo>
                    <a:pt x="3116" y="25930"/>
                  </a:lnTo>
                  <a:lnTo>
                    <a:pt x="3784" y="26709"/>
                  </a:lnTo>
                  <a:lnTo>
                    <a:pt x="4563" y="27433"/>
                  </a:lnTo>
                  <a:lnTo>
                    <a:pt x="5342" y="28212"/>
                  </a:lnTo>
                  <a:lnTo>
                    <a:pt x="6232" y="28879"/>
                  </a:lnTo>
                  <a:lnTo>
                    <a:pt x="7178" y="29603"/>
                  </a:lnTo>
                  <a:lnTo>
                    <a:pt x="8180" y="30215"/>
                  </a:lnTo>
                  <a:lnTo>
                    <a:pt x="9181" y="30882"/>
                  </a:lnTo>
                  <a:lnTo>
                    <a:pt x="10294" y="31494"/>
                  </a:lnTo>
                  <a:lnTo>
                    <a:pt x="11407" y="32051"/>
                  </a:lnTo>
                  <a:lnTo>
                    <a:pt x="12631" y="32552"/>
                  </a:lnTo>
                  <a:lnTo>
                    <a:pt x="13855" y="33052"/>
                  </a:lnTo>
                  <a:lnTo>
                    <a:pt x="15079" y="33553"/>
                  </a:lnTo>
                  <a:lnTo>
                    <a:pt x="16415" y="33998"/>
                  </a:lnTo>
                  <a:lnTo>
                    <a:pt x="17750" y="34388"/>
                  </a:lnTo>
                  <a:lnTo>
                    <a:pt x="19141" y="34722"/>
                  </a:lnTo>
                  <a:lnTo>
                    <a:pt x="20588" y="35056"/>
                  </a:lnTo>
                  <a:lnTo>
                    <a:pt x="22035" y="35334"/>
                  </a:lnTo>
                  <a:lnTo>
                    <a:pt x="23481" y="35612"/>
                  </a:lnTo>
                  <a:lnTo>
                    <a:pt x="24984" y="35779"/>
                  </a:lnTo>
                  <a:lnTo>
                    <a:pt x="26542" y="35946"/>
                  </a:lnTo>
                  <a:lnTo>
                    <a:pt x="28100" y="36057"/>
                  </a:lnTo>
                  <a:lnTo>
                    <a:pt x="29713" y="36168"/>
                  </a:lnTo>
                  <a:lnTo>
                    <a:pt x="32885" y="36168"/>
                  </a:lnTo>
                  <a:lnTo>
                    <a:pt x="34499" y="36057"/>
                  </a:lnTo>
                  <a:lnTo>
                    <a:pt x="36057" y="35946"/>
                  </a:lnTo>
                  <a:lnTo>
                    <a:pt x="37615" y="35779"/>
                  </a:lnTo>
                  <a:lnTo>
                    <a:pt x="39117" y="35612"/>
                  </a:lnTo>
                  <a:lnTo>
                    <a:pt x="40564" y="35334"/>
                  </a:lnTo>
                  <a:lnTo>
                    <a:pt x="42010" y="35056"/>
                  </a:lnTo>
                  <a:lnTo>
                    <a:pt x="43457" y="34722"/>
                  </a:lnTo>
                  <a:lnTo>
                    <a:pt x="44848" y="34388"/>
                  </a:lnTo>
                  <a:lnTo>
                    <a:pt x="46183" y="33998"/>
                  </a:lnTo>
                  <a:lnTo>
                    <a:pt x="47463" y="33553"/>
                  </a:lnTo>
                  <a:lnTo>
                    <a:pt x="48743" y="33052"/>
                  </a:lnTo>
                  <a:lnTo>
                    <a:pt x="49967" y="32552"/>
                  </a:lnTo>
                  <a:lnTo>
                    <a:pt x="51136" y="32051"/>
                  </a:lnTo>
                  <a:lnTo>
                    <a:pt x="52249" y="31494"/>
                  </a:lnTo>
                  <a:lnTo>
                    <a:pt x="53361" y="30882"/>
                  </a:lnTo>
                  <a:lnTo>
                    <a:pt x="54363" y="30215"/>
                  </a:lnTo>
                  <a:lnTo>
                    <a:pt x="55364" y="29603"/>
                  </a:lnTo>
                  <a:lnTo>
                    <a:pt x="56255" y="28879"/>
                  </a:lnTo>
                  <a:lnTo>
                    <a:pt x="57145" y="28212"/>
                  </a:lnTo>
                  <a:lnTo>
                    <a:pt x="57980" y="27433"/>
                  </a:lnTo>
                  <a:lnTo>
                    <a:pt x="58703" y="26709"/>
                  </a:lnTo>
                  <a:lnTo>
                    <a:pt x="59371" y="25930"/>
                  </a:lnTo>
                  <a:lnTo>
                    <a:pt x="59983" y="25096"/>
                  </a:lnTo>
                  <a:lnTo>
                    <a:pt x="60539" y="24317"/>
                  </a:lnTo>
                  <a:lnTo>
                    <a:pt x="61040" y="23482"/>
                  </a:lnTo>
                  <a:lnTo>
                    <a:pt x="61485" y="22592"/>
                  </a:lnTo>
                  <a:lnTo>
                    <a:pt x="61819" y="21701"/>
                  </a:lnTo>
                  <a:lnTo>
                    <a:pt x="62097" y="20811"/>
                  </a:lnTo>
                  <a:lnTo>
                    <a:pt x="62264" y="19921"/>
                  </a:lnTo>
                  <a:lnTo>
                    <a:pt x="62375" y="19031"/>
                  </a:lnTo>
                  <a:lnTo>
                    <a:pt x="62431" y="18085"/>
                  </a:lnTo>
                  <a:lnTo>
                    <a:pt x="62375" y="17139"/>
                  </a:lnTo>
                  <a:lnTo>
                    <a:pt x="62264" y="16248"/>
                  </a:lnTo>
                  <a:lnTo>
                    <a:pt x="62042" y="15302"/>
                  </a:lnTo>
                  <a:lnTo>
                    <a:pt x="61763" y="14412"/>
                  </a:lnTo>
                  <a:lnTo>
                    <a:pt x="61430" y="13578"/>
                  </a:lnTo>
                  <a:lnTo>
                    <a:pt x="60984" y="12687"/>
                  </a:lnTo>
                  <a:lnTo>
                    <a:pt x="60484" y="11853"/>
                  </a:lnTo>
                  <a:lnTo>
                    <a:pt x="59927" y="11018"/>
                  </a:lnTo>
                  <a:lnTo>
                    <a:pt x="59315" y="10239"/>
                  </a:lnTo>
                  <a:lnTo>
                    <a:pt x="58592" y="9460"/>
                  </a:lnTo>
                  <a:lnTo>
                    <a:pt x="57868" y="8681"/>
                  </a:lnTo>
                  <a:lnTo>
                    <a:pt x="57034" y="7958"/>
                  </a:lnTo>
                  <a:lnTo>
                    <a:pt x="56143" y="7290"/>
                  </a:lnTo>
                  <a:lnTo>
                    <a:pt x="55198" y="6567"/>
                  </a:lnTo>
                  <a:lnTo>
                    <a:pt x="54252" y="5899"/>
                  </a:lnTo>
                  <a:lnTo>
                    <a:pt x="53194" y="5287"/>
                  </a:lnTo>
                  <a:lnTo>
                    <a:pt x="52137" y="4675"/>
                  </a:lnTo>
                  <a:lnTo>
                    <a:pt x="50969" y="4118"/>
                  </a:lnTo>
                  <a:lnTo>
                    <a:pt x="49800" y="3618"/>
                  </a:lnTo>
                  <a:lnTo>
                    <a:pt x="48576" y="3061"/>
                  </a:lnTo>
                  <a:lnTo>
                    <a:pt x="47296" y="2616"/>
                  </a:lnTo>
                  <a:lnTo>
                    <a:pt x="46017" y="2171"/>
                  </a:lnTo>
                  <a:lnTo>
                    <a:pt x="44626" y="1781"/>
                  </a:lnTo>
                  <a:lnTo>
                    <a:pt x="43234" y="1447"/>
                  </a:lnTo>
                  <a:lnTo>
                    <a:pt x="41843" y="1114"/>
                  </a:lnTo>
                  <a:lnTo>
                    <a:pt x="40397" y="835"/>
                  </a:lnTo>
                  <a:lnTo>
                    <a:pt x="38894" y="557"/>
                  </a:lnTo>
                  <a:lnTo>
                    <a:pt x="37392" y="390"/>
                  </a:lnTo>
                  <a:lnTo>
                    <a:pt x="35834" y="223"/>
                  </a:lnTo>
                  <a:lnTo>
                    <a:pt x="34276" y="112"/>
                  </a:lnTo>
                  <a:lnTo>
                    <a:pt x="32718" y="1"/>
                  </a:lnTo>
                  <a:close/>
                </a:path>
              </a:pathLst>
            </a:custGeom>
            <a:solidFill>
              <a:srgbClr val="DFEC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" name="Google Shape;17380;p84">
              <a:extLst>
                <a:ext uri="{FF2B5EF4-FFF2-40B4-BE49-F238E27FC236}">
                  <a16:creationId xmlns:a16="http://schemas.microsoft.com/office/drawing/2014/main" id="{3E7098CA-E5A6-1563-404B-DB26704E0250}"/>
                </a:ext>
              </a:extLst>
            </p:cNvPr>
            <p:cNvSpPr/>
            <p:nvPr/>
          </p:nvSpPr>
          <p:spPr>
            <a:xfrm>
              <a:off x="3860075" y="3400000"/>
              <a:ext cx="1964200" cy="709475"/>
            </a:xfrm>
            <a:custGeom>
              <a:avLst/>
              <a:gdLst/>
              <a:ahLst/>
              <a:cxnLst/>
              <a:rect l="l" t="t" r="r" b="b"/>
              <a:pathLst>
                <a:path w="78568" h="28379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  <a:moveTo>
                    <a:pt x="0" y="1"/>
                  </a:moveTo>
                  <a:lnTo>
                    <a:pt x="0" y="5676"/>
                  </a:lnTo>
                  <a:lnTo>
                    <a:pt x="56" y="6845"/>
                  </a:lnTo>
                  <a:lnTo>
                    <a:pt x="167" y="7958"/>
                  </a:lnTo>
                  <a:lnTo>
                    <a:pt x="445" y="9126"/>
                  </a:lnTo>
                  <a:lnTo>
                    <a:pt x="779" y="10239"/>
                  </a:lnTo>
                  <a:lnTo>
                    <a:pt x="1224" y="11352"/>
                  </a:lnTo>
                  <a:lnTo>
                    <a:pt x="1781" y="12409"/>
                  </a:lnTo>
                  <a:lnTo>
                    <a:pt x="2393" y="13466"/>
                  </a:lnTo>
                  <a:lnTo>
                    <a:pt x="3116" y="14523"/>
                  </a:lnTo>
                  <a:lnTo>
                    <a:pt x="3895" y="15525"/>
                  </a:lnTo>
                  <a:lnTo>
                    <a:pt x="4785" y="16526"/>
                  </a:lnTo>
                  <a:lnTo>
                    <a:pt x="5731" y="17472"/>
                  </a:lnTo>
                  <a:lnTo>
                    <a:pt x="6733" y="18363"/>
                  </a:lnTo>
                  <a:lnTo>
                    <a:pt x="7846" y="19253"/>
                  </a:lnTo>
                  <a:lnTo>
                    <a:pt x="9014" y="20143"/>
                  </a:lnTo>
                  <a:lnTo>
                    <a:pt x="10238" y="20978"/>
                  </a:lnTo>
                  <a:lnTo>
                    <a:pt x="11574" y="21757"/>
                  </a:lnTo>
                  <a:lnTo>
                    <a:pt x="12909" y="22480"/>
                  </a:lnTo>
                  <a:lnTo>
                    <a:pt x="14356" y="23204"/>
                  </a:lnTo>
                  <a:lnTo>
                    <a:pt x="15858" y="23871"/>
                  </a:lnTo>
                  <a:lnTo>
                    <a:pt x="17416" y="24539"/>
                  </a:lnTo>
                  <a:lnTo>
                    <a:pt x="18974" y="25095"/>
                  </a:lnTo>
                  <a:lnTo>
                    <a:pt x="20643" y="25652"/>
                  </a:lnTo>
                  <a:lnTo>
                    <a:pt x="22313" y="26153"/>
                  </a:lnTo>
                  <a:lnTo>
                    <a:pt x="24093" y="26598"/>
                  </a:lnTo>
                  <a:lnTo>
                    <a:pt x="25874" y="27043"/>
                  </a:lnTo>
                  <a:lnTo>
                    <a:pt x="27710" y="27377"/>
                  </a:lnTo>
                  <a:lnTo>
                    <a:pt x="29546" y="27711"/>
                  </a:lnTo>
                  <a:lnTo>
                    <a:pt x="31438" y="27933"/>
                  </a:lnTo>
                  <a:lnTo>
                    <a:pt x="33386" y="28156"/>
                  </a:lnTo>
                  <a:lnTo>
                    <a:pt x="35389" y="28267"/>
                  </a:lnTo>
                  <a:lnTo>
                    <a:pt x="37336" y="28378"/>
                  </a:lnTo>
                  <a:lnTo>
                    <a:pt x="41398" y="28378"/>
                  </a:lnTo>
                  <a:lnTo>
                    <a:pt x="43401" y="28267"/>
                  </a:lnTo>
                  <a:lnTo>
                    <a:pt x="45349" y="28156"/>
                  </a:lnTo>
                  <a:lnTo>
                    <a:pt x="47296" y="27933"/>
                  </a:lnTo>
                  <a:lnTo>
                    <a:pt x="49188" y="27711"/>
                  </a:lnTo>
                  <a:lnTo>
                    <a:pt x="51080" y="27377"/>
                  </a:lnTo>
                  <a:lnTo>
                    <a:pt x="52860" y="27043"/>
                  </a:lnTo>
                  <a:lnTo>
                    <a:pt x="54641" y="26598"/>
                  </a:lnTo>
                  <a:lnTo>
                    <a:pt x="56422" y="26153"/>
                  </a:lnTo>
                  <a:lnTo>
                    <a:pt x="58091" y="25652"/>
                  </a:lnTo>
                  <a:lnTo>
                    <a:pt x="59704" y="25095"/>
                  </a:lnTo>
                  <a:lnTo>
                    <a:pt x="61318" y="24539"/>
                  </a:lnTo>
                  <a:lnTo>
                    <a:pt x="62876" y="23871"/>
                  </a:lnTo>
                  <a:lnTo>
                    <a:pt x="64323" y="23204"/>
                  </a:lnTo>
                  <a:lnTo>
                    <a:pt x="65769" y="22480"/>
                  </a:lnTo>
                  <a:lnTo>
                    <a:pt x="67105" y="21757"/>
                  </a:lnTo>
                  <a:lnTo>
                    <a:pt x="68440" y="20978"/>
                  </a:lnTo>
                  <a:lnTo>
                    <a:pt x="69664" y="20143"/>
                  </a:lnTo>
                  <a:lnTo>
                    <a:pt x="70777" y="19253"/>
                  </a:lnTo>
                  <a:lnTo>
                    <a:pt x="71890" y="18363"/>
                  </a:lnTo>
                  <a:lnTo>
                    <a:pt x="72892" y="17472"/>
                  </a:lnTo>
                  <a:lnTo>
                    <a:pt x="73838" y="16526"/>
                  </a:lnTo>
                  <a:lnTo>
                    <a:pt x="74728" y="15525"/>
                  </a:lnTo>
                  <a:lnTo>
                    <a:pt x="75507" y="14523"/>
                  </a:lnTo>
                  <a:lnTo>
                    <a:pt x="76175" y="13466"/>
                  </a:lnTo>
                  <a:lnTo>
                    <a:pt x="76787" y="12409"/>
                  </a:lnTo>
                  <a:lnTo>
                    <a:pt x="77343" y="11352"/>
                  </a:lnTo>
                  <a:lnTo>
                    <a:pt x="77733" y="10239"/>
                  </a:lnTo>
                  <a:lnTo>
                    <a:pt x="78122" y="9126"/>
                  </a:lnTo>
                  <a:lnTo>
                    <a:pt x="78345" y="7958"/>
                  </a:lnTo>
                  <a:lnTo>
                    <a:pt x="78512" y="6845"/>
                  </a:lnTo>
                  <a:lnTo>
                    <a:pt x="78512" y="5676"/>
                  </a:lnTo>
                  <a:lnTo>
                    <a:pt x="78567" y="1"/>
                  </a:lnTo>
                  <a:lnTo>
                    <a:pt x="78512" y="1169"/>
                  </a:lnTo>
                  <a:lnTo>
                    <a:pt x="78345" y="2338"/>
                  </a:lnTo>
                  <a:lnTo>
                    <a:pt x="78122" y="3450"/>
                  </a:lnTo>
                  <a:lnTo>
                    <a:pt x="77788" y="4563"/>
                  </a:lnTo>
                  <a:lnTo>
                    <a:pt x="77343" y="5676"/>
                  </a:lnTo>
                  <a:lnTo>
                    <a:pt x="76842" y="6789"/>
                  </a:lnTo>
                  <a:lnTo>
                    <a:pt x="76230" y="7846"/>
                  </a:lnTo>
                  <a:lnTo>
                    <a:pt x="75507" y="8848"/>
                  </a:lnTo>
                  <a:lnTo>
                    <a:pt x="74728" y="9849"/>
                  </a:lnTo>
                  <a:lnTo>
                    <a:pt x="73893" y="10851"/>
                  </a:lnTo>
                  <a:lnTo>
                    <a:pt x="72947" y="11797"/>
                  </a:lnTo>
                  <a:lnTo>
                    <a:pt x="71890" y="12743"/>
                  </a:lnTo>
                  <a:lnTo>
                    <a:pt x="70833" y="13633"/>
                  </a:lnTo>
                  <a:lnTo>
                    <a:pt x="69664" y="14468"/>
                  </a:lnTo>
                  <a:lnTo>
                    <a:pt x="68440" y="15302"/>
                  </a:lnTo>
                  <a:lnTo>
                    <a:pt x="67161" y="16081"/>
                  </a:lnTo>
                  <a:lnTo>
                    <a:pt x="65769" y="16860"/>
                  </a:lnTo>
                  <a:lnTo>
                    <a:pt x="64378" y="17528"/>
                  </a:lnTo>
                  <a:lnTo>
                    <a:pt x="62876" y="18251"/>
                  </a:lnTo>
                  <a:lnTo>
                    <a:pt x="61318" y="18863"/>
                  </a:lnTo>
                  <a:lnTo>
                    <a:pt x="59760" y="19476"/>
                  </a:lnTo>
                  <a:lnTo>
                    <a:pt x="58091" y="20032"/>
                  </a:lnTo>
                  <a:lnTo>
                    <a:pt x="56422" y="20533"/>
                  </a:lnTo>
                  <a:lnTo>
                    <a:pt x="54697" y="20978"/>
                  </a:lnTo>
                  <a:lnTo>
                    <a:pt x="52916" y="21367"/>
                  </a:lnTo>
                  <a:lnTo>
                    <a:pt x="51080" y="21701"/>
                  </a:lnTo>
                  <a:lnTo>
                    <a:pt x="49188" y="22035"/>
                  </a:lnTo>
                  <a:lnTo>
                    <a:pt x="47296" y="22313"/>
                  </a:lnTo>
                  <a:lnTo>
                    <a:pt x="45404" y="22480"/>
                  </a:lnTo>
                  <a:lnTo>
                    <a:pt x="43401" y="22647"/>
                  </a:lnTo>
                  <a:lnTo>
                    <a:pt x="41398" y="22703"/>
                  </a:lnTo>
                  <a:lnTo>
                    <a:pt x="39395" y="22758"/>
                  </a:lnTo>
                  <a:lnTo>
                    <a:pt x="37392" y="22703"/>
                  </a:lnTo>
                  <a:lnTo>
                    <a:pt x="35389" y="22647"/>
                  </a:lnTo>
                  <a:lnTo>
                    <a:pt x="33386" y="22480"/>
                  </a:lnTo>
                  <a:lnTo>
                    <a:pt x="31494" y="22313"/>
                  </a:lnTo>
                  <a:lnTo>
                    <a:pt x="29602" y="22035"/>
                  </a:lnTo>
                  <a:lnTo>
                    <a:pt x="27710" y="21701"/>
                  </a:lnTo>
                  <a:lnTo>
                    <a:pt x="25874" y="21367"/>
                  </a:lnTo>
                  <a:lnTo>
                    <a:pt x="24093" y="20978"/>
                  </a:lnTo>
                  <a:lnTo>
                    <a:pt x="22368" y="20533"/>
                  </a:lnTo>
                  <a:lnTo>
                    <a:pt x="20643" y="20032"/>
                  </a:lnTo>
                  <a:lnTo>
                    <a:pt x="19030" y="19476"/>
                  </a:lnTo>
                  <a:lnTo>
                    <a:pt x="17416" y="18863"/>
                  </a:lnTo>
                  <a:lnTo>
                    <a:pt x="15858" y="18251"/>
                  </a:lnTo>
                  <a:lnTo>
                    <a:pt x="14356" y="17528"/>
                  </a:lnTo>
                  <a:lnTo>
                    <a:pt x="12965" y="16860"/>
                  </a:lnTo>
                  <a:lnTo>
                    <a:pt x="11574" y="16081"/>
                  </a:lnTo>
                  <a:lnTo>
                    <a:pt x="10294" y="15302"/>
                  </a:lnTo>
                  <a:lnTo>
                    <a:pt x="9014" y="14468"/>
                  </a:lnTo>
                  <a:lnTo>
                    <a:pt x="7846" y="13633"/>
                  </a:lnTo>
                  <a:lnTo>
                    <a:pt x="6789" y="12743"/>
                  </a:lnTo>
                  <a:lnTo>
                    <a:pt x="5731" y="11797"/>
                  </a:lnTo>
                  <a:lnTo>
                    <a:pt x="4785" y="10851"/>
                  </a:lnTo>
                  <a:lnTo>
                    <a:pt x="3895" y="9849"/>
                  </a:lnTo>
                  <a:lnTo>
                    <a:pt x="3116" y="8848"/>
                  </a:lnTo>
                  <a:lnTo>
                    <a:pt x="2393" y="7846"/>
                  </a:lnTo>
                  <a:lnTo>
                    <a:pt x="1781" y="6789"/>
                  </a:lnTo>
                  <a:lnTo>
                    <a:pt x="1280" y="5676"/>
                  </a:lnTo>
                  <a:lnTo>
                    <a:pt x="835" y="4563"/>
                  </a:lnTo>
                  <a:lnTo>
                    <a:pt x="445" y="3450"/>
                  </a:lnTo>
                  <a:lnTo>
                    <a:pt x="223" y="2338"/>
                  </a:lnTo>
                  <a:lnTo>
                    <a:pt x="56" y="116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BF9D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" name="Google Shape;17381;p84">
              <a:extLst>
                <a:ext uri="{FF2B5EF4-FFF2-40B4-BE49-F238E27FC236}">
                  <a16:creationId xmlns:a16="http://schemas.microsoft.com/office/drawing/2014/main" id="{DDDC8CCC-0D27-07A9-A0B5-2F12C5DDFD7E}"/>
                </a:ext>
              </a:extLst>
            </p:cNvPr>
            <p:cNvSpPr/>
            <p:nvPr/>
          </p:nvSpPr>
          <p:spPr>
            <a:xfrm>
              <a:off x="3860075" y="2831050"/>
              <a:ext cx="1964200" cy="1137925"/>
            </a:xfrm>
            <a:custGeom>
              <a:avLst/>
              <a:gdLst/>
              <a:ahLst/>
              <a:cxnLst/>
              <a:rect l="l" t="t" r="r" b="b"/>
              <a:pathLst>
                <a:path w="78568" h="45517" extrusionOk="0">
                  <a:moveTo>
                    <a:pt x="40786" y="4675"/>
                  </a:moveTo>
                  <a:lnTo>
                    <a:pt x="42344" y="4786"/>
                  </a:lnTo>
                  <a:lnTo>
                    <a:pt x="43902" y="4897"/>
                  </a:lnTo>
                  <a:lnTo>
                    <a:pt x="45460" y="5064"/>
                  </a:lnTo>
                  <a:lnTo>
                    <a:pt x="46962" y="5231"/>
                  </a:lnTo>
                  <a:lnTo>
                    <a:pt x="48465" y="5509"/>
                  </a:lnTo>
                  <a:lnTo>
                    <a:pt x="49911" y="5788"/>
                  </a:lnTo>
                  <a:lnTo>
                    <a:pt x="51302" y="6121"/>
                  </a:lnTo>
                  <a:lnTo>
                    <a:pt x="52694" y="6455"/>
                  </a:lnTo>
                  <a:lnTo>
                    <a:pt x="54085" y="6845"/>
                  </a:lnTo>
                  <a:lnTo>
                    <a:pt x="55364" y="7290"/>
                  </a:lnTo>
                  <a:lnTo>
                    <a:pt x="56644" y="7735"/>
                  </a:lnTo>
                  <a:lnTo>
                    <a:pt x="57868" y="8292"/>
                  </a:lnTo>
                  <a:lnTo>
                    <a:pt x="59037" y="8792"/>
                  </a:lnTo>
                  <a:lnTo>
                    <a:pt x="60205" y="9349"/>
                  </a:lnTo>
                  <a:lnTo>
                    <a:pt x="61262" y="9961"/>
                  </a:lnTo>
                  <a:lnTo>
                    <a:pt x="62320" y="10573"/>
                  </a:lnTo>
                  <a:lnTo>
                    <a:pt x="63266" y="11241"/>
                  </a:lnTo>
                  <a:lnTo>
                    <a:pt x="64211" y="11964"/>
                  </a:lnTo>
                  <a:lnTo>
                    <a:pt x="65102" y="12632"/>
                  </a:lnTo>
                  <a:lnTo>
                    <a:pt x="65936" y="13355"/>
                  </a:lnTo>
                  <a:lnTo>
                    <a:pt x="66660" y="14134"/>
                  </a:lnTo>
                  <a:lnTo>
                    <a:pt x="67383" y="14913"/>
                  </a:lnTo>
                  <a:lnTo>
                    <a:pt x="67995" y="15692"/>
                  </a:lnTo>
                  <a:lnTo>
                    <a:pt x="68552" y="16527"/>
                  </a:lnTo>
                  <a:lnTo>
                    <a:pt x="69052" y="17361"/>
                  </a:lnTo>
                  <a:lnTo>
                    <a:pt x="69498" y="18252"/>
                  </a:lnTo>
                  <a:lnTo>
                    <a:pt x="69831" y="19086"/>
                  </a:lnTo>
                  <a:lnTo>
                    <a:pt x="70110" y="19976"/>
                  </a:lnTo>
                  <a:lnTo>
                    <a:pt x="70332" y="20922"/>
                  </a:lnTo>
                  <a:lnTo>
                    <a:pt x="70443" y="21813"/>
                  </a:lnTo>
                  <a:lnTo>
                    <a:pt x="70499" y="22759"/>
                  </a:lnTo>
                  <a:lnTo>
                    <a:pt x="70443" y="23705"/>
                  </a:lnTo>
                  <a:lnTo>
                    <a:pt x="70332" y="24595"/>
                  </a:lnTo>
                  <a:lnTo>
                    <a:pt x="70165" y="25485"/>
                  </a:lnTo>
                  <a:lnTo>
                    <a:pt x="69887" y="26375"/>
                  </a:lnTo>
                  <a:lnTo>
                    <a:pt x="69553" y="27266"/>
                  </a:lnTo>
                  <a:lnTo>
                    <a:pt x="69108" y="28156"/>
                  </a:lnTo>
                  <a:lnTo>
                    <a:pt x="68607" y="28991"/>
                  </a:lnTo>
                  <a:lnTo>
                    <a:pt x="68051" y="29770"/>
                  </a:lnTo>
                  <a:lnTo>
                    <a:pt x="67439" y="30604"/>
                  </a:lnTo>
                  <a:lnTo>
                    <a:pt x="66771" y="31383"/>
                  </a:lnTo>
                  <a:lnTo>
                    <a:pt x="66048" y="32107"/>
                  </a:lnTo>
                  <a:lnTo>
                    <a:pt x="65213" y="32886"/>
                  </a:lnTo>
                  <a:lnTo>
                    <a:pt x="64323" y="33553"/>
                  </a:lnTo>
                  <a:lnTo>
                    <a:pt x="63432" y="34277"/>
                  </a:lnTo>
                  <a:lnTo>
                    <a:pt x="62431" y="34889"/>
                  </a:lnTo>
                  <a:lnTo>
                    <a:pt x="61429" y="35556"/>
                  </a:lnTo>
                  <a:lnTo>
                    <a:pt x="60317" y="36168"/>
                  </a:lnTo>
                  <a:lnTo>
                    <a:pt x="59204" y="36725"/>
                  </a:lnTo>
                  <a:lnTo>
                    <a:pt x="58035" y="37226"/>
                  </a:lnTo>
                  <a:lnTo>
                    <a:pt x="56811" y="37726"/>
                  </a:lnTo>
                  <a:lnTo>
                    <a:pt x="55531" y="38227"/>
                  </a:lnTo>
                  <a:lnTo>
                    <a:pt x="54251" y="38672"/>
                  </a:lnTo>
                  <a:lnTo>
                    <a:pt x="52916" y="39062"/>
                  </a:lnTo>
                  <a:lnTo>
                    <a:pt x="51525" y="39396"/>
                  </a:lnTo>
                  <a:lnTo>
                    <a:pt x="50078" y="39730"/>
                  </a:lnTo>
                  <a:lnTo>
                    <a:pt x="48632" y="40008"/>
                  </a:lnTo>
                  <a:lnTo>
                    <a:pt x="47185" y="40286"/>
                  </a:lnTo>
                  <a:lnTo>
                    <a:pt x="45683" y="40453"/>
                  </a:lnTo>
                  <a:lnTo>
                    <a:pt x="44125" y="40620"/>
                  </a:lnTo>
                  <a:lnTo>
                    <a:pt x="42567" y="40731"/>
                  </a:lnTo>
                  <a:lnTo>
                    <a:pt x="40953" y="40842"/>
                  </a:lnTo>
                  <a:lnTo>
                    <a:pt x="37781" y="40842"/>
                  </a:lnTo>
                  <a:lnTo>
                    <a:pt x="36168" y="40731"/>
                  </a:lnTo>
                  <a:lnTo>
                    <a:pt x="34610" y="40620"/>
                  </a:lnTo>
                  <a:lnTo>
                    <a:pt x="33052" y="40453"/>
                  </a:lnTo>
                  <a:lnTo>
                    <a:pt x="31549" y="40286"/>
                  </a:lnTo>
                  <a:lnTo>
                    <a:pt x="30103" y="40008"/>
                  </a:lnTo>
                  <a:lnTo>
                    <a:pt x="28656" y="39730"/>
                  </a:lnTo>
                  <a:lnTo>
                    <a:pt x="27209" y="39396"/>
                  </a:lnTo>
                  <a:lnTo>
                    <a:pt x="25818" y="39062"/>
                  </a:lnTo>
                  <a:lnTo>
                    <a:pt x="24483" y="38672"/>
                  </a:lnTo>
                  <a:lnTo>
                    <a:pt x="23147" y="38227"/>
                  </a:lnTo>
                  <a:lnTo>
                    <a:pt x="21923" y="37726"/>
                  </a:lnTo>
                  <a:lnTo>
                    <a:pt x="20699" y="37226"/>
                  </a:lnTo>
                  <a:lnTo>
                    <a:pt x="19475" y="36725"/>
                  </a:lnTo>
                  <a:lnTo>
                    <a:pt x="18362" y="36168"/>
                  </a:lnTo>
                  <a:lnTo>
                    <a:pt x="17249" y="35556"/>
                  </a:lnTo>
                  <a:lnTo>
                    <a:pt x="16248" y="34889"/>
                  </a:lnTo>
                  <a:lnTo>
                    <a:pt x="15246" y="34277"/>
                  </a:lnTo>
                  <a:lnTo>
                    <a:pt x="14300" y="33553"/>
                  </a:lnTo>
                  <a:lnTo>
                    <a:pt x="13410" y="32886"/>
                  </a:lnTo>
                  <a:lnTo>
                    <a:pt x="12631" y="32107"/>
                  </a:lnTo>
                  <a:lnTo>
                    <a:pt x="11852" y="31383"/>
                  </a:lnTo>
                  <a:lnTo>
                    <a:pt x="11184" y="30604"/>
                  </a:lnTo>
                  <a:lnTo>
                    <a:pt x="10517" y="29770"/>
                  </a:lnTo>
                  <a:lnTo>
                    <a:pt x="9960" y="28991"/>
                  </a:lnTo>
                  <a:lnTo>
                    <a:pt x="9459" y="28156"/>
                  </a:lnTo>
                  <a:lnTo>
                    <a:pt x="9070" y="27266"/>
                  </a:lnTo>
                  <a:lnTo>
                    <a:pt x="8680" y="26375"/>
                  </a:lnTo>
                  <a:lnTo>
                    <a:pt x="8402" y="25485"/>
                  </a:lnTo>
                  <a:lnTo>
                    <a:pt x="8235" y="24595"/>
                  </a:lnTo>
                  <a:lnTo>
                    <a:pt x="8068" y="23705"/>
                  </a:lnTo>
                  <a:lnTo>
                    <a:pt x="8068" y="22759"/>
                  </a:lnTo>
                  <a:lnTo>
                    <a:pt x="8068" y="21813"/>
                  </a:lnTo>
                  <a:lnTo>
                    <a:pt x="8180" y="20922"/>
                  </a:lnTo>
                  <a:lnTo>
                    <a:pt x="8402" y="19976"/>
                  </a:lnTo>
                  <a:lnTo>
                    <a:pt x="8680" y="19086"/>
                  </a:lnTo>
                  <a:lnTo>
                    <a:pt x="9014" y="18252"/>
                  </a:lnTo>
                  <a:lnTo>
                    <a:pt x="9404" y="17361"/>
                  </a:lnTo>
                  <a:lnTo>
                    <a:pt x="9904" y="16527"/>
                  </a:lnTo>
                  <a:lnTo>
                    <a:pt x="10461" y="15692"/>
                  </a:lnTo>
                  <a:lnTo>
                    <a:pt x="11073" y="14913"/>
                  </a:lnTo>
                  <a:lnTo>
                    <a:pt x="11741" y="14134"/>
                  </a:lnTo>
                  <a:lnTo>
                    <a:pt x="12520" y="13355"/>
                  </a:lnTo>
                  <a:lnTo>
                    <a:pt x="13299" y="12632"/>
                  </a:lnTo>
                  <a:lnTo>
                    <a:pt x="14189" y="11964"/>
                  </a:lnTo>
                  <a:lnTo>
                    <a:pt x="15135" y="11241"/>
                  </a:lnTo>
                  <a:lnTo>
                    <a:pt x="16081" y="10573"/>
                  </a:lnTo>
                  <a:lnTo>
                    <a:pt x="17138" y="9961"/>
                  </a:lnTo>
                  <a:lnTo>
                    <a:pt x="18195" y="9349"/>
                  </a:lnTo>
                  <a:lnTo>
                    <a:pt x="19308" y="8792"/>
                  </a:lnTo>
                  <a:lnTo>
                    <a:pt x="20532" y="8292"/>
                  </a:lnTo>
                  <a:lnTo>
                    <a:pt x="21756" y="7735"/>
                  </a:lnTo>
                  <a:lnTo>
                    <a:pt x="22980" y="7290"/>
                  </a:lnTo>
                  <a:lnTo>
                    <a:pt x="24316" y="6845"/>
                  </a:lnTo>
                  <a:lnTo>
                    <a:pt x="25651" y="6455"/>
                  </a:lnTo>
                  <a:lnTo>
                    <a:pt x="27042" y="6121"/>
                  </a:lnTo>
                  <a:lnTo>
                    <a:pt x="28433" y="5788"/>
                  </a:lnTo>
                  <a:lnTo>
                    <a:pt x="29880" y="5509"/>
                  </a:lnTo>
                  <a:lnTo>
                    <a:pt x="31382" y="5231"/>
                  </a:lnTo>
                  <a:lnTo>
                    <a:pt x="32885" y="5064"/>
                  </a:lnTo>
                  <a:lnTo>
                    <a:pt x="34387" y="4897"/>
                  </a:lnTo>
                  <a:lnTo>
                    <a:pt x="36001" y="4786"/>
                  </a:lnTo>
                  <a:lnTo>
                    <a:pt x="37559" y="4675"/>
                  </a:lnTo>
                  <a:close/>
                  <a:moveTo>
                    <a:pt x="39117" y="1"/>
                  </a:moveTo>
                  <a:lnTo>
                    <a:pt x="37114" y="56"/>
                  </a:lnTo>
                  <a:lnTo>
                    <a:pt x="35111" y="112"/>
                  </a:lnTo>
                  <a:lnTo>
                    <a:pt x="33163" y="279"/>
                  </a:lnTo>
                  <a:lnTo>
                    <a:pt x="31216" y="446"/>
                  </a:lnTo>
                  <a:lnTo>
                    <a:pt x="29324" y="724"/>
                  </a:lnTo>
                  <a:lnTo>
                    <a:pt x="27487" y="1002"/>
                  </a:lnTo>
                  <a:lnTo>
                    <a:pt x="25651" y="1392"/>
                  </a:lnTo>
                  <a:lnTo>
                    <a:pt x="23871" y="1781"/>
                  </a:lnTo>
                  <a:lnTo>
                    <a:pt x="22146" y="2226"/>
                  </a:lnTo>
                  <a:lnTo>
                    <a:pt x="20421" y="2727"/>
                  </a:lnTo>
                  <a:lnTo>
                    <a:pt x="18807" y="3284"/>
                  </a:lnTo>
                  <a:lnTo>
                    <a:pt x="17194" y="3896"/>
                  </a:lnTo>
                  <a:lnTo>
                    <a:pt x="15636" y="4508"/>
                  </a:lnTo>
                  <a:lnTo>
                    <a:pt x="14189" y="5176"/>
                  </a:lnTo>
                  <a:lnTo>
                    <a:pt x="12742" y="5899"/>
                  </a:lnTo>
                  <a:lnTo>
                    <a:pt x="11407" y="6678"/>
                  </a:lnTo>
                  <a:lnTo>
                    <a:pt x="10127" y="7457"/>
                  </a:lnTo>
                  <a:lnTo>
                    <a:pt x="8903" y="8292"/>
                  </a:lnTo>
                  <a:lnTo>
                    <a:pt x="7734" y="9126"/>
                  </a:lnTo>
                  <a:lnTo>
                    <a:pt x="6622" y="10016"/>
                  </a:lnTo>
                  <a:lnTo>
                    <a:pt x="5620" y="10962"/>
                  </a:lnTo>
                  <a:lnTo>
                    <a:pt x="4674" y="11908"/>
                  </a:lnTo>
                  <a:lnTo>
                    <a:pt x="3784" y="12910"/>
                  </a:lnTo>
                  <a:lnTo>
                    <a:pt x="3005" y="13911"/>
                  </a:lnTo>
                  <a:lnTo>
                    <a:pt x="2337" y="14913"/>
                  </a:lnTo>
                  <a:lnTo>
                    <a:pt x="1725" y="15970"/>
                  </a:lnTo>
                  <a:lnTo>
                    <a:pt x="1169" y="17083"/>
                  </a:lnTo>
                  <a:lnTo>
                    <a:pt x="779" y="18196"/>
                  </a:lnTo>
                  <a:lnTo>
                    <a:pt x="445" y="19309"/>
                  </a:lnTo>
                  <a:lnTo>
                    <a:pt x="167" y="20422"/>
                  </a:lnTo>
                  <a:lnTo>
                    <a:pt x="56" y="21590"/>
                  </a:lnTo>
                  <a:lnTo>
                    <a:pt x="0" y="22759"/>
                  </a:lnTo>
                  <a:lnTo>
                    <a:pt x="56" y="23927"/>
                  </a:lnTo>
                  <a:lnTo>
                    <a:pt x="223" y="25096"/>
                  </a:lnTo>
                  <a:lnTo>
                    <a:pt x="445" y="26208"/>
                  </a:lnTo>
                  <a:lnTo>
                    <a:pt x="835" y="27321"/>
                  </a:lnTo>
                  <a:lnTo>
                    <a:pt x="1280" y="28434"/>
                  </a:lnTo>
                  <a:lnTo>
                    <a:pt x="1781" y="29547"/>
                  </a:lnTo>
                  <a:lnTo>
                    <a:pt x="2393" y="30604"/>
                  </a:lnTo>
                  <a:lnTo>
                    <a:pt x="3116" y="31606"/>
                  </a:lnTo>
                  <a:lnTo>
                    <a:pt x="3895" y="32607"/>
                  </a:lnTo>
                  <a:lnTo>
                    <a:pt x="4785" y="33609"/>
                  </a:lnTo>
                  <a:lnTo>
                    <a:pt x="5731" y="34555"/>
                  </a:lnTo>
                  <a:lnTo>
                    <a:pt x="6789" y="35501"/>
                  </a:lnTo>
                  <a:lnTo>
                    <a:pt x="7846" y="36391"/>
                  </a:lnTo>
                  <a:lnTo>
                    <a:pt x="9014" y="37226"/>
                  </a:lnTo>
                  <a:lnTo>
                    <a:pt x="10294" y="38060"/>
                  </a:lnTo>
                  <a:lnTo>
                    <a:pt x="11574" y="38839"/>
                  </a:lnTo>
                  <a:lnTo>
                    <a:pt x="12965" y="39618"/>
                  </a:lnTo>
                  <a:lnTo>
                    <a:pt x="14356" y="40286"/>
                  </a:lnTo>
                  <a:lnTo>
                    <a:pt x="15858" y="41009"/>
                  </a:lnTo>
                  <a:lnTo>
                    <a:pt x="17416" y="41621"/>
                  </a:lnTo>
                  <a:lnTo>
                    <a:pt x="19030" y="42234"/>
                  </a:lnTo>
                  <a:lnTo>
                    <a:pt x="20643" y="42790"/>
                  </a:lnTo>
                  <a:lnTo>
                    <a:pt x="22368" y="43291"/>
                  </a:lnTo>
                  <a:lnTo>
                    <a:pt x="24093" y="43736"/>
                  </a:lnTo>
                  <a:lnTo>
                    <a:pt x="25874" y="44125"/>
                  </a:lnTo>
                  <a:lnTo>
                    <a:pt x="27710" y="44459"/>
                  </a:lnTo>
                  <a:lnTo>
                    <a:pt x="29602" y="44793"/>
                  </a:lnTo>
                  <a:lnTo>
                    <a:pt x="31494" y="45071"/>
                  </a:lnTo>
                  <a:lnTo>
                    <a:pt x="33386" y="45238"/>
                  </a:lnTo>
                  <a:lnTo>
                    <a:pt x="35389" y="45405"/>
                  </a:lnTo>
                  <a:lnTo>
                    <a:pt x="37392" y="45461"/>
                  </a:lnTo>
                  <a:lnTo>
                    <a:pt x="39395" y="45516"/>
                  </a:lnTo>
                  <a:lnTo>
                    <a:pt x="41398" y="45461"/>
                  </a:lnTo>
                  <a:lnTo>
                    <a:pt x="43401" y="45405"/>
                  </a:lnTo>
                  <a:lnTo>
                    <a:pt x="45404" y="45238"/>
                  </a:lnTo>
                  <a:lnTo>
                    <a:pt x="47296" y="45071"/>
                  </a:lnTo>
                  <a:lnTo>
                    <a:pt x="49188" y="44793"/>
                  </a:lnTo>
                  <a:lnTo>
                    <a:pt x="51080" y="44459"/>
                  </a:lnTo>
                  <a:lnTo>
                    <a:pt x="52916" y="44125"/>
                  </a:lnTo>
                  <a:lnTo>
                    <a:pt x="54697" y="43736"/>
                  </a:lnTo>
                  <a:lnTo>
                    <a:pt x="56422" y="43291"/>
                  </a:lnTo>
                  <a:lnTo>
                    <a:pt x="58091" y="42790"/>
                  </a:lnTo>
                  <a:lnTo>
                    <a:pt x="59760" y="42234"/>
                  </a:lnTo>
                  <a:lnTo>
                    <a:pt x="61318" y="41621"/>
                  </a:lnTo>
                  <a:lnTo>
                    <a:pt x="62876" y="41009"/>
                  </a:lnTo>
                  <a:lnTo>
                    <a:pt x="64378" y="40286"/>
                  </a:lnTo>
                  <a:lnTo>
                    <a:pt x="65769" y="39618"/>
                  </a:lnTo>
                  <a:lnTo>
                    <a:pt x="67161" y="38839"/>
                  </a:lnTo>
                  <a:lnTo>
                    <a:pt x="68440" y="38060"/>
                  </a:lnTo>
                  <a:lnTo>
                    <a:pt x="69664" y="37226"/>
                  </a:lnTo>
                  <a:lnTo>
                    <a:pt x="70833" y="36391"/>
                  </a:lnTo>
                  <a:lnTo>
                    <a:pt x="71890" y="35501"/>
                  </a:lnTo>
                  <a:lnTo>
                    <a:pt x="72947" y="34555"/>
                  </a:lnTo>
                  <a:lnTo>
                    <a:pt x="73893" y="33609"/>
                  </a:lnTo>
                  <a:lnTo>
                    <a:pt x="74728" y="32607"/>
                  </a:lnTo>
                  <a:lnTo>
                    <a:pt x="75507" y="31606"/>
                  </a:lnTo>
                  <a:lnTo>
                    <a:pt x="76230" y="30604"/>
                  </a:lnTo>
                  <a:lnTo>
                    <a:pt x="76842" y="29547"/>
                  </a:lnTo>
                  <a:lnTo>
                    <a:pt x="77343" y="28434"/>
                  </a:lnTo>
                  <a:lnTo>
                    <a:pt x="77788" y="27321"/>
                  </a:lnTo>
                  <a:lnTo>
                    <a:pt x="78122" y="26208"/>
                  </a:lnTo>
                  <a:lnTo>
                    <a:pt x="78345" y="25096"/>
                  </a:lnTo>
                  <a:lnTo>
                    <a:pt x="78512" y="23927"/>
                  </a:lnTo>
                  <a:lnTo>
                    <a:pt x="78567" y="22759"/>
                  </a:lnTo>
                  <a:lnTo>
                    <a:pt x="78512" y="21590"/>
                  </a:lnTo>
                  <a:lnTo>
                    <a:pt x="78345" y="20422"/>
                  </a:lnTo>
                  <a:lnTo>
                    <a:pt x="78066" y="19309"/>
                  </a:lnTo>
                  <a:lnTo>
                    <a:pt x="77733" y="18196"/>
                  </a:lnTo>
                  <a:lnTo>
                    <a:pt x="77287" y="17083"/>
                  </a:lnTo>
                  <a:lnTo>
                    <a:pt x="76731" y="15970"/>
                  </a:lnTo>
                  <a:lnTo>
                    <a:pt x="76119" y="14913"/>
                  </a:lnTo>
                  <a:lnTo>
                    <a:pt x="75396" y="13911"/>
                  </a:lnTo>
                  <a:lnTo>
                    <a:pt x="74617" y="12910"/>
                  </a:lnTo>
                  <a:lnTo>
                    <a:pt x="73726" y="11908"/>
                  </a:lnTo>
                  <a:lnTo>
                    <a:pt x="72780" y="10962"/>
                  </a:lnTo>
                  <a:lnTo>
                    <a:pt x="71779" y="10016"/>
                  </a:lnTo>
                  <a:lnTo>
                    <a:pt x="70666" y="9126"/>
                  </a:lnTo>
                  <a:lnTo>
                    <a:pt x="69498" y="8292"/>
                  </a:lnTo>
                  <a:lnTo>
                    <a:pt x="68273" y="7457"/>
                  </a:lnTo>
                  <a:lnTo>
                    <a:pt x="66938" y="6678"/>
                  </a:lnTo>
                  <a:lnTo>
                    <a:pt x="65603" y="5899"/>
                  </a:lnTo>
                  <a:lnTo>
                    <a:pt x="64156" y="5176"/>
                  </a:lnTo>
                  <a:lnTo>
                    <a:pt x="62653" y="4508"/>
                  </a:lnTo>
                  <a:lnTo>
                    <a:pt x="61151" y="3896"/>
                  </a:lnTo>
                  <a:lnTo>
                    <a:pt x="59538" y="3284"/>
                  </a:lnTo>
                  <a:lnTo>
                    <a:pt x="57868" y="2727"/>
                  </a:lnTo>
                  <a:lnTo>
                    <a:pt x="56199" y="2226"/>
                  </a:lnTo>
                  <a:lnTo>
                    <a:pt x="54418" y="1781"/>
                  </a:lnTo>
                  <a:lnTo>
                    <a:pt x="52638" y="1392"/>
                  </a:lnTo>
                  <a:lnTo>
                    <a:pt x="50802" y="1002"/>
                  </a:lnTo>
                  <a:lnTo>
                    <a:pt x="48965" y="724"/>
                  </a:lnTo>
                  <a:lnTo>
                    <a:pt x="47074" y="446"/>
                  </a:lnTo>
                  <a:lnTo>
                    <a:pt x="45126" y="279"/>
                  </a:lnTo>
                  <a:lnTo>
                    <a:pt x="43179" y="112"/>
                  </a:lnTo>
                  <a:lnTo>
                    <a:pt x="41176" y="56"/>
                  </a:lnTo>
                  <a:lnTo>
                    <a:pt x="39117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17382;p84">
              <a:extLst>
                <a:ext uri="{FF2B5EF4-FFF2-40B4-BE49-F238E27FC236}">
                  <a16:creationId xmlns:a16="http://schemas.microsoft.com/office/drawing/2014/main" id="{39B605B7-E3C8-914F-7B65-C1F6696863A7}"/>
                </a:ext>
              </a:extLst>
            </p:cNvPr>
            <p:cNvSpPr/>
            <p:nvPr/>
          </p:nvSpPr>
          <p:spPr>
            <a:xfrm>
              <a:off x="4167500" y="2733675"/>
              <a:ext cx="1562175" cy="904225"/>
            </a:xfrm>
            <a:custGeom>
              <a:avLst/>
              <a:gdLst/>
              <a:ahLst/>
              <a:cxnLst/>
              <a:rect l="l" t="t" r="r" b="b"/>
              <a:pathLst>
                <a:path w="62487" h="36169" extrusionOk="0">
                  <a:moveTo>
                    <a:pt x="31160" y="1"/>
                  </a:moveTo>
                  <a:lnTo>
                    <a:pt x="29546" y="56"/>
                  </a:lnTo>
                  <a:lnTo>
                    <a:pt x="27933" y="112"/>
                  </a:lnTo>
                  <a:lnTo>
                    <a:pt x="26375" y="223"/>
                  </a:lnTo>
                  <a:lnTo>
                    <a:pt x="24872" y="390"/>
                  </a:lnTo>
                  <a:lnTo>
                    <a:pt x="23370" y="613"/>
                  </a:lnTo>
                  <a:lnTo>
                    <a:pt x="21868" y="835"/>
                  </a:lnTo>
                  <a:lnTo>
                    <a:pt x="20421" y="1114"/>
                  </a:lnTo>
                  <a:lnTo>
                    <a:pt x="18974" y="1448"/>
                  </a:lnTo>
                  <a:lnTo>
                    <a:pt x="17639" y="1781"/>
                  </a:lnTo>
                  <a:lnTo>
                    <a:pt x="16303" y="2227"/>
                  </a:lnTo>
                  <a:lnTo>
                    <a:pt x="14968" y="2616"/>
                  </a:lnTo>
                  <a:lnTo>
                    <a:pt x="13688" y="3117"/>
                  </a:lnTo>
                  <a:lnTo>
                    <a:pt x="12464" y="3618"/>
                  </a:lnTo>
                  <a:lnTo>
                    <a:pt x="11296" y="4174"/>
                  </a:lnTo>
                  <a:lnTo>
                    <a:pt x="10183" y="4730"/>
                  </a:lnTo>
                  <a:lnTo>
                    <a:pt x="9125" y="5343"/>
                  </a:lnTo>
                  <a:lnTo>
                    <a:pt x="8068" y="5955"/>
                  </a:lnTo>
                  <a:lnTo>
                    <a:pt x="7067" y="6622"/>
                  </a:lnTo>
                  <a:lnTo>
                    <a:pt x="6176" y="7290"/>
                  </a:lnTo>
                  <a:lnTo>
                    <a:pt x="5286" y="8013"/>
                  </a:lnTo>
                  <a:lnTo>
                    <a:pt x="4507" y="8737"/>
                  </a:lnTo>
                  <a:lnTo>
                    <a:pt x="3728" y="9460"/>
                  </a:lnTo>
                  <a:lnTo>
                    <a:pt x="3060" y="10239"/>
                  </a:lnTo>
                  <a:lnTo>
                    <a:pt x="2448" y="11074"/>
                  </a:lnTo>
                  <a:lnTo>
                    <a:pt x="1892" y="11908"/>
                  </a:lnTo>
                  <a:lnTo>
                    <a:pt x="1391" y="12743"/>
                  </a:lnTo>
                  <a:lnTo>
                    <a:pt x="1002" y="13578"/>
                  </a:lnTo>
                  <a:lnTo>
                    <a:pt x="612" y="14468"/>
                  </a:lnTo>
                  <a:lnTo>
                    <a:pt x="390" y="15358"/>
                  </a:lnTo>
                  <a:lnTo>
                    <a:pt x="167" y="16248"/>
                  </a:lnTo>
                  <a:lnTo>
                    <a:pt x="56" y="17194"/>
                  </a:lnTo>
                  <a:lnTo>
                    <a:pt x="0" y="18085"/>
                  </a:lnTo>
                  <a:lnTo>
                    <a:pt x="56" y="19031"/>
                  </a:lnTo>
                  <a:lnTo>
                    <a:pt x="223" y="19977"/>
                  </a:lnTo>
                  <a:lnTo>
                    <a:pt x="390" y="20867"/>
                  </a:lnTo>
                  <a:lnTo>
                    <a:pt x="668" y="21757"/>
                  </a:lnTo>
                  <a:lnTo>
                    <a:pt x="1057" y="22647"/>
                  </a:lnTo>
                  <a:lnTo>
                    <a:pt x="1447" y="23482"/>
                  </a:lnTo>
                  <a:lnTo>
                    <a:pt x="1948" y="24317"/>
                  </a:lnTo>
                  <a:lnTo>
                    <a:pt x="2504" y="25151"/>
                  </a:lnTo>
                  <a:lnTo>
                    <a:pt x="3172" y="25930"/>
                  </a:lnTo>
                  <a:lnTo>
                    <a:pt x="3839" y="26709"/>
                  </a:lnTo>
                  <a:lnTo>
                    <a:pt x="4618" y="27488"/>
                  </a:lnTo>
                  <a:lnTo>
                    <a:pt x="5397" y="28212"/>
                  </a:lnTo>
                  <a:lnTo>
                    <a:pt x="6288" y="28935"/>
                  </a:lnTo>
                  <a:lnTo>
                    <a:pt x="7234" y="29603"/>
                  </a:lnTo>
                  <a:lnTo>
                    <a:pt x="8180" y="30270"/>
                  </a:lnTo>
                  <a:lnTo>
                    <a:pt x="9237" y="30882"/>
                  </a:lnTo>
                  <a:lnTo>
                    <a:pt x="10350" y="31495"/>
                  </a:lnTo>
                  <a:lnTo>
                    <a:pt x="11462" y="32051"/>
                  </a:lnTo>
                  <a:lnTo>
                    <a:pt x="12631" y="32607"/>
                  </a:lnTo>
                  <a:lnTo>
                    <a:pt x="13855" y="33108"/>
                  </a:lnTo>
                  <a:lnTo>
                    <a:pt x="15135" y="33553"/>
                  </a:lnTo>
                  <a:lnTo>
                    <a:pt x="16470" y="33998"/>
                  </a:lnTo>
                  <a:lnTo>
                    <a:pt x="17806" y="34388"/>
                  </a:lnTo>
                  <a:lnTo>
                    <a:pt x="19197" y="34777"/>
                  </a:lnTo>
                  <a:lnTo>
                    <a:pt x="20588" y="35111"/>
                  </a:lnTo>
                  <a:lnTo>
                    <a:pt x="22035" y="35390"/>
                  </a:lnTo>
                  <a:lnTo>
                    <a:pt x="23537" y="35612"/>
                  </a:lnTo>
                  <a:lnTo>
                    <a:pt x="25039" y="35835"/>
                  </a:lnTo>
                  <a:lnTo>
                    <a:pt x="26597" y="36002"/>
                  </a:lnTo>
                  <a:lnTo>
                    <a:pt x="28155" y="36113"/>
                  </a:lnTo>
                  <a:lnTo>
                    <a:pt x="29769" y="36169"/>
                  </a:lnTo>
                  <a:lnTo>
                    <a:pt x="32940" y="36169"/>
                  </a:lnTo>
                  <a:lnTo>
                    <a:pt x="34554" y="36113"/>
                  </a:lnTo>
                  <a:lnTo>
                    <a:pt x="36112" y="36002"/>
                  </a:lnTo>
                  <a:lnTo>
                    <a:pt x="37614" y="35835"/>
                  </a:lnTo>
                  <a:lnTo>
                    <a:pt x="39172" y="35612"/>
                  </a:lnTo>
                  <a:lnTo>
                    <a:pt x="40619" y="35390"/>
                  </a:lnTo>
                  <a:lnTo>
                    <a:pt x="42066" y="35111"/>
                  </a:lnTo>
                  <a:lnTo>
                    <a:pt x="43512" y="34777"/>
                  </a:lnTo>
                  <a:lnTo>
                    <a:pt x="44848" y="34388"/>
                  </a:lnTo>
                  <a:lnTo>
                    <a:pt x="46239" y="33998"/>
                  </a:lnTo>
                  <a:lnTo>
                    <a:pt x="47519" y="33553"/>
                  </a:lnTo>
                  <a:lnTo>
                    <a:pt x="48799" y="33108"/>
                  </a:lnTo>
                  <a:lnTo>
                    <a:pt x="50023" y="32607"/>
                  </a:lnTo>
                  <a:lnTo>
                    <a:pt x="51191" y="32051"/>
                  </a:lnTo>
                  <a:lnTo>
                    <a:pt x="52304" y="31495"/>
                  </a:lnTo>
                  <a:lnTo>
                    <a:pt x="53417" y="30882"/>
                  </a:lnTo>
                  <a:lnTo>
                    <a:pt x="54418" y="30270"/>
                  </a:lnTo>
                  <a:lnTo>
                    <a:pt x="55420" y="29603"/>
                  </a:lnTo>
                  <a:lnTo>
                    <a:pt x="56310" y="28935"/>
                  </a:lnTo>
                  <a:lnTo>
                    <a:pt x="57201" y="28212"/>
                  </a:lnTo>
                  <a:lnTo>
                    <a:pt x="57980" y="27488"/>
                  </a:lnTo>
                  <a:lnTo>
                    <a:pt x="58759" y="26709"/>
                  </a:lnTo>
                  <a:lnTo>
                    <a:pt x="59426" y="25930"/>
                  </a:lnTo>
                  <a:lnTo>
                    <a:pt x="60038" y="25151"/>
                  </a:lnTo>
                  <a:lnTo>
                    <a:pt x="60595" y="24317"/>
                  </a:lnTo>
                  <a:lnTo>
                    <a:pt x="61095" y="23482"/>
                  </a:lnTo>
                  <a:lnTo>
                    <a:pt x="61485" y="22647"/>
                  </a:lnTo>
                  <a:lnTo>
                    <a:pt x="61874" y="21757"/>
                  </a:lnTo>
                  <a:lnTo>
                    <a:pt x="62097" y="20867"/>
                  </a:lnTo>
                  <a:lnTo>
                    <a:pt x="62320" y="19977"/>
                  </a:lnTo>
                  <a:lnTo>
                    <a:pt x="62431" y="19031"/>
                  </a:lnTo>
                  <a:lnTo>
                    <a:pt x="62487" y="18085"/>
                  </a:lnTo>
                  <a:lnTo>
                    <a:pt x="62431" y="17194"/>
                  </a:lnTo>
                  <a:lnTo>
                    <a:pt x="62320" y="16248"/>
                  </a:lnTo>
                  <a:lnTo>
                    <a:pt x="62097" y="15358"/>
                  </a:lnTo>
                  <a:lnTo>
                    <a:pt x="61819" y="14468"/>
                  </a:lnTo>
                  <a:lnTo>
                    <a:pt x="61485" y="13578"/>
                  </a:lnTo>
                  <a:lnTo>
                    <a:pt x="61040" y="12743"/>
                  </a:lnTo>
                  <a:lnTo>
                    <a:pt x="60539" y="11908"/>
                  </a:lnTo>
                  <a:lnTo>
                    <a:pt x="59983" y="11074"/>
                  </a:lnTo>
                  <a:lnTo>
                    <a:pt x="59371" y="10239"/>
                  </a:lnTo>
                  <a:lnTo>
                    <a:pt x="58647" y="9460"/>
                  </a:lnTo>
                  <a:lnTo>
                    <a:pt x="57868" y="8737"/>
                  </a:lnTo>
                  <a:lnTo>
                    <a:pt x="57089" y="8013"/>
                  </a:lnTo>
                  <a:lnTo>
                    <a:pt x="56199" y="7290"/>
                  </a:lnTo>
                  <a:lnTo>
                    <a:pt x="55253" y="6622"/>
                  </a:lnTo>
                  <a:lnTo>
                    <a:pt x="54307" y="5955"/>
                  </a:lnTo>
                  <a:lnTo>
                    <a:pt x="53250" y="5343"/>
                  </a:lnTo>
                  <a:lnTo>
                    <a:pt x="52137" y="4730"/>
                  </a:lnTo>
                  <a:lnTo>
                    <a:pt x="51024" y="4174"/>
                  </a:lnTo>
                  <a:lnTo>
                    <a:pt x="49856" y="3618"/>
                  </a:lnTo>
                  <a:lnTo>
                    <a:pt x="48632" y="3117"/>
                  </a:lnTo>
                  <a:lnTo>
                    <a:pt x="47352" y="2616"/>
                  </a:lnTo>
                  <a:lnTo>
                    <a:pt x="46016" y="2227"/>
                  </a:lnTo>
                  <a:lnTo>
                    <a:pt x="44681" y="1781"/>
                  </a:lnTo>
                  <a:lnTo>
                    <a:pt x="43290" y="1448"/>
                  </a:lnTo>
                  <a:lnTo>
                    <a:pt x="41899" y="1114"/>
                  </a:lnTo>
                  <a:lnTo>
                    <a:pt x="40452" y="835"/>
                  </a:lnTo>
                  <a:lnTo>
                    <a:pt x="38950" y="613"/>
                  </a:lnTo>
                  <a:lnTo>
                    <a:pt x="37447" y="390"/>
                  </a:lnTo>
                  <a:lnTo>
                    <a:pt x="35889" y="223"/>
                  </a:lnTo>
                  <a:lnTo>
                    <a:pt x="34331" y="112"/>
                  </a:lnTo>
                  <a:lnTo>
                    <a:pt x="32773" y="56"/>
                  </a:lnTo>
                  <a:lnTo>
                    <a:pt x="31160" y="1"/>
                  </a:lnTo>
                  <a:close/>
                </a:path>
              </a:pathLst>
            </a:custGeom>
            <a:solidFill>
              <a:srgbClr val="FFF3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" name="Google Shape;17383;p84">
              <a:extLst>
                <a:ext uri="{FF2B5EF4-FFF2-40B4-BE49-F238E27FC236}">
                  <a16:creationId xmlns:a16="http://schemas.microsoft.com/office/drawing/2014/main" id="{107CA0D3-7571-E06D-3E33-F382E8681847}"/>
                </a:ext>
              </a:extLst>
            </p:cNvPr>
            <p:cNvSpPr/>
            <p:nvPr/>
          </p:nvSpPr>
          <p:spPr>
            <a:xfrm>
              <a:off x="3965775" y="3185775"/>
              <a:ext cx="1964225" cy="710875"/>
            </a:xfrm>
            <a:custGeom>
              <a:avLst/>
              <a:gdLst/>
              <a:ahLst/>
              <a:cxnLst/>
              <a:rect l="l" t="t" r="r" b="b"/>
              <a:pathLst>
                <a:path w="78569" h="28435" extrusionOk="0">
                  <a:moveTo>
                    <a:pt x="57" y="1"/>
                  </a:moveTo>
                  <a:lnTo>
                    <a:pt x="1" y="5676"/>
                  </a:lnTo>
                  <a:lnTo>
                    <a:pt x="57" y="6845"/>
                  </a:lnTo>
                  <a:lnTo>
                    <a:pt x="224" y="8013"/>
                  </a:lnTo>
                  <a:lnTo>
                    <a:pt x="502" y="9126"/>
                  </a:lnTo>
                  <a:lnTo>
                    <a:pt x="836" y="10239"/>
                  </a:lnTo>
                  <a:lnTo>
                    <a:pt x="1281" y="11352"/>
                  </a:lnTo>
                  <a:lnTo>
                    <a:pt x="1837" y="12465"/>
                  </a:lnTo>
                  <a:lnTo>
                    <a:pt x="2449" y="13522"/>
                  </a:lnTo>
                  <a:lnTo>
                    <a:pt x="3173" y="14523"/>
                  </a:lnTo>
                  <a:lnTo>
                    <a:pt x="3952" y="15525"/>
                  </a:lnTo>
                  <a:lnTo>
                    <a:pt x="4842" y="16527"/>
                  </a:lnTo>
                  <a:lnTo>
                    <a:pt x="5788" y="17472"/>
                  </a:lnTo>
                  <a:lnTo>
                    <a:pt x="6789" y="18418"/>
                  </a:lnTo>
                  <a:lnTo>
                    <a:pt x="7902" y="19309"/>
                  </a:lnTo>
                  <a:lnTo>
                    <a:pt x="9071" y="20143"/>
                  </a:lnTo>
                  <a:lnTo>
                    <a:pt x="10295" y="20978"/>
                  </a:lnTo>
                  <a:lnTo>
                    <a:pt x="11630" y="21757"/>
                  </a:lnTo>
                  <a:lnTo>
                    <a:pt x="12966" y="22536"/>
                  </a:lnTo>
                  <a:lnTo>
                    <a:pt x="14412" y="23204"/>
                  </a:lnTo>
                  <a:lnTo>
                    <a:pt x="15915" y="23927"/>
                  </a:lnTo>
                  <a:lnTo>
                    <a:pt x="17417" y="24539"/>
                  </a:lnTo>
                  <a:lnTo>
                    <a:pt x="19031" y="25151"/>
                  </a:lnTo>
                  <a:lnTo>
                    <a:pt x="20700" y="25652"/>
                  </a:lnTo>
                  <a:lnTo>
                    <a:pt x="22369" y="26208"/>
                  </a:lnTo>
                  <a:lnTo>
                    <a:pt x="24150" y="26653"/>
                  </a:lnTo>
                  <a:lnTo>
                    <a:pt x="25930" y="27043"/>
                  </a:lnTo>
                  <a:lnTo>
                    <a:pt x="27767" y="27377"/>
                  </a:lnTo>
                  <a:lnTo>
                    <a:pt x="29603" y="27711"/>
                  </a:lnTo>
                  <a:lnTo>
                    <a:pt x="31495" y="27989"/>
                  </a:lnTo>
                  <a:lnTo>
                    <a:pt x="33442" y="28156"/>
                  </a:lnTo>
                  <a:lnTo>
                    <a:pt x="35390" y="28323"/>
                  </a:lnTo>
                  <a:lnTo>
                    <a:pt x="37393" y="28378"/>
                  </a:lnTo>
                  <a:lnTo>
                    <a:pt x="39451" y="28434"/>
                  </a:lnTo>
                  <a:lnTo>
                    <a:pt x="41455" y="28378"/>
                  </a:lnTo>
                  <a:lnTo>
                    <a:pt x="43458" y="28323"/>
                  </a:lnTo>
                  <a:lnTo>
                    <a:pt x="45405" y="28156"/>
                  </a:lnTo>
                  <a:lnTo>
                    <a:pt x="47353" y="27989"/>
                  </a:lnTo>
                  <a:lnTo>
                    <a:pt x="49244" y="27711"/>
                  </a:lnTo>
                  <a:lnTo>
                    <a:pt x="51081" y="27377"/>
                  </a:lnTo>
                  <a:lnTo>
                    <a:pt x="52917" y="27043"/>
                  </a:lnTo>
                  <a:lnTo>
                    <a:pt x="54697" y="26653"/>
                  </a:lnTo>
                  <a:lnTo>
                    <a:pt x="56422" y="26208"/>
                  </a:lnTo>
                  <a:lnTo>
                    <a:pt x="58147" y="25652"/>
                  </a:lnTo>
                  <a:lnTo>
                    <a:pt x="59761" y="25151"/>
                  </a:lnTo>
                  <a:lnTo>
                    <a:pt x="61375" y="24539"/>
                  </a:lnTo>
                  <a:lnTo>
                    <a:pt x="62877" y="23927"/>
                  </a:lnTo>
                  <a:lnTo>
                    <a:pt x="64379" y="23204"/>
                  </a:lnTo>
                  <a:lnTo>
                    <a:pt x="65826" y="22536"/>
                  </a:lnTo>
                  <a:lnTo>
                    <a:pt x="67161" y="21757"/>
                  </a:lnTo>
                  <a:lnTo>
                    <a:pt x="68441" y="20978"/>
                  </a:lnTo>
                  <a:lnTo>
                    <a:pt x="69665" y="20143"/>
                  </a:lnTo>
                  <a:lnTo>
                    <a:pt x="70834" y="19309"/>
                  </a:lnTo>
                  <a:lnTo>
                    <a:pt x="71947" y="18418"/>
                  </a:lnTo>
                  <a:lnTo>
                    <a:pt x="72948" y="17472"/>
                  </a:lnTo>
                  <a:lnTo>
                    <a:pt x="73894" y="16527"/>
                  </a:lnTo>
                  <a:lnTo>
                    <a:pt x="74784" y="15525"/>
                  </a:lnTo>
                  <a:lnTo>
                    <a:pt x="75563" y="14523"/>
                  </a:lnTo>
                  <a:lnTo>
                    <a:pt x="76231" y="13522"/>
                  </a:lnTo>
                  <a:lnTo>
                    <a:pt x="76843" y="12465"/>
                  </a:lnTo>
                  <a:lnTo>
                    <a:pt x="77344" y="11352"/>
                  </a:lnTo>
                  <a:lnTo>
                    <a:pt x="77789" y="10239"/>
                  </a:lnTo>
                  <a:lnTo>
                    <a:pt x="78123" y="9126"/>
                  </a:lnTo>
                  <a:lnTo>
                    <a:pt x="78401" y="8013"/>
                  </a:lnTo>
                  <a:lnTo>
                    <a:pt x="78512" y="6845"/>
                  </a:lnTo>
                  <a:lnTo>
                    <a:pt x="78568" y="5676"/>
                  </a:lnTo>
                  <a:lnTo>
                    <a:pt x="78568" y="1169"/>
                  </a:lnTo>
                  <a:lnTo>
                    <a:pt x="78401" y="2338"/>
                  </a:lnTo>
                  <a:lnTo>
                    <a:pt x="78179" y="3506"/>
                  </a:lnTo>
                  <a:lnTo>
                    <a:pt x="77845" y="4619"/>
                  </a:lnTo>
                  <a:lnTo>
                    <a:pt x="77400" y="5732"/>
                  </a:lnTo>
                  <a:lnTo>
                    <a:pt x="76843" y="6789"/>
                  </a:lnTo>
                  <a:lnTo>
                    <a:pt x="76231" y="7846"/>
                  </a:lnTo>
                  <a:lnTo>
                    <a:pt x="75563" y="8903"/>
                  </a:lnTo>
                  <a:lnTo>
                    <a:pt x="74784" y="9905"/>
                  </a:lnTo>
                  <a:lnTo>
                    <a:pt x="73894" y="10851"/>
                  </a:lnTo>
                  <a:lnTo>
                    <a:pt x="72948" y="11797"/>
                  </a:lnTo>
                  <a:lnTo>
                    <a:pt x="71947" y="12743"/>
                  </a:lnTo>
                  <a:lnTo>
                    <a:pt x="70889" y="13633"/>
                  </a:lnTo>
                  <a:lnTo>
                    <a:pt x="69721" y="14468"/>
                  </a:lnTo>
                  <a:lnTo>
                    <a:pt x="68497" y="15302"/>
                  </a:lnTo>
                  <a:lnTo>
                    <a:pt x="67161" y="16081"/>
                  </a:lnTo>
                  <a:lnTo>
                    <a:pt x="65826" y="16860"/>
                  </a:lnTo>
                  <a:lnTo>
                    <a:pt x="64379" y="17584"/>
                  </a:lnTo>
                  <a:lnTo>
                    <a:pt x="62933" y="18251"/>
                  </a:lnTo>
                  <a:lnTo>
                    <a:pt x="61375" y="18863"/>
                  </a:lnTo>
                  <a:lnTo>
                    <a:pt x="59817" y="19476"/>
                  </a:lnTo>
                  <a:lnTo>
                    <a:pt x="58147" y="20032"/>
                  </a:lnTo>
                  <a:lnTo>
                    <a:pt x="56478" y="20533"/>
                  </a:lnTo>
                  <a:lnTo>
                    <a:pt x="54697" y="20978"/>
                  </a:lnTo>
                  <a:lnTo>
                    <a:pt x="52917" y="21367"/>
                  </a:lnTo>
                  <a:lnTo>
                    <a:pt x="51136" y="21757"/>
                  </a:lnTo>
                  <a:lnTo>
                    <a:pt x="49244" y="22035"/>
                  </a:lnTo>
                  <a:lnTo>
                    <a:pt x="47353" y="22313"/>
                  </a:lnTo>
                  <a:lnTo>
                    <a:pt x="45405" y="22536"/>
                  </a:lnTo>
                  <a:lnTo>
                    <a:pt x="43458" y="22647"/>
                  </a:lnTo>
                  <a:lnTo>
                    <a:pt x="41455" y="22758"/>
                  </a:lnTo>
                  <a:lnTo>
                    <a:pt x="37448" y="22758"/>
                  </a:lnTo>
                  <a:lnTo>
                    <a:pt x="35445" y="22647"/>
                  </a:lnTo>
                  <a:lnTo>
                    <a:pt x="33442" y="22536"/>
                  </a:lnTo>
                  <a:lnTo>
                    <a:pt x="31550" y="22313"/>
                  </a:lnTo>
                  <a:lnTo>
                    <a:pt x="29603" y="22035"/>
                  </a:lnTo>
                  <a:lnTo>
                    <a:pt x="27767" y="21757"/>
                  </a:lnTo>
                  <a:lnTo>
                    <a:pt x="25930" y="21367"/>
                  </a:lnTo>
                  <a:lnTo>
                    <a:pt x="24150" y="20978"/>
                  </a:lnTo>
                  <a:lnTo>
                    <a:pt x="22425" y="20533"/>
                  </a:lnTo>
                  <a:lnTo>
                    <a:pt x="20700" y="20032"/>
                  </a:lnTo>
                  <a:lnTo>
                    <a:pt x="19031" y="19476"/>
                  </a:lnTo>
                  <a:lnTo>
                    <a:pt x="17473" y="18863"/>
                  </a:lnTo>
                  <a:lnTo>
                    <a:pt x="15915" y="18251"/>
                  </a:lnTo>
                  <a:lnTo>
                    <a:pt x="14412" y="17584"/>
                  </a:lnTo>
                  <a:lnTo>
                    <a:pt x="13021" y="16860"/>
                  </a:lnTo>
                  <a:lnTo>
                    <a:pt x="11630" y="16081"/>
                  </a:lnTo>
                  <a:lnTo>
                    <a:pt x="10350" y="15302"/>
                  </a:lnTo>
                  <a:lnTo>
                    <a:pt x="9071" y="14468"/>
                  </a:lnTo>
                  <a:lnTo>
                    <a:pt x="7902" y="13633"/>
                  </a:lnTo>
                  <a:lnTo>
                    <a:pt x="6789" y="12743"/>
                  </a:lnTo>
                  <a:lnTo>
                    <a:pt x="5788" y="11797"/>
                  </a:lnTo>
                  <a:lnTo>
                    <a:pt x="4842" y="10851"/>
                  </a:lnTo>
                  <a:lnTo>
                    <a:pt x="3952" y="9905"/>
                  </a:lnTo>
                  <a:lnTo>
                    <a:pt x="3173" y="8903"/>
                  </a:lnTo>
                  <a:lnTo>
                    <a:pt x="2449" y="7846"/>
                  </a:lnTo>
                  <a:lnTo>
                    <a:pt x="1837" y="6789"/>
                  </a:lnTo>
                  <a:lnTo>
                    <a:pt x="1281" y="5732"/>
                  </a:lnTo>
                  <a:lnTo>
                    <a:pt x="836" y="4619"/>
                  </a:lnTo>
                  <a:lnTo>
                    <a:pt x="502" y="3506"/>
                  </a:lnTo>
                  <a:lnTo>
                    <a:pt x="279" y="2338"/>
                  </a:lnTo>
                  <a:lnTo>
                    <a:pt x="112" y="1169"/>
                  </a:lnTo>
                  <a:lnTo>
                    <a:pt x="57" y="1"/>
                  </a:lnTo>
                  <a:close/>
                </a:path>
              </a:pathLst>
            </a:custGeom>
            <a:solidFill>
              <a:srgbClr val="BF9D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" name="Google Shape;17384;p84">
              <a:extLst>
                <a:ext uri="{FF2B5EF4-FFF2-40B4-BE49-F238E27FC236}">
                  <a16:creationId xmlns:a16="http://schemas.microsoft.com/office/drawing/2014/main" id="{1F94867F-2B0D-5FB1-B7F7-ECFD3D739883}"/>
                </a:ext>
              </a:extLst>
            </p:cNvPr>
            <p:cNvSpPr/>
            <p:nvPr/>
          </p:nvSpPr>
          <p:spPr>
            <a:xfrm>
              <a:off x="3967175" y="2616825"/>
              <a:ext cx="1962825" cy="1137925"/>
            </a:xfrm>
            <a:custGeom>
              <a:avLst/>
              <a:gdLst/>
              <a:ahLst/>
              <a:cxnLst/>
              <a:rect l="l" t="t" r="r" b="b"/>
              <a:pathLst>
                <a:path w="78513" h="45517" extrusionOk="0">
                  <a:moveTo>
                    <a:pt x="39173" y="4675"/>
                  </a:moveTo>
                  <a:lnTo>
                    <a:pt x="40786" y="4730"/>
                  </a:lnTo>
                  <a:lnTo>
                    <a:pt x="42344" y="4786"/>
                  </a:lnTo>
                  <a:lnTo>
                    <a:pt x="43902" y="4897"/>
                  </a:lnTo>
                  <a:lnTo>
                    <a:pt x="45460" y="5064"/>
                  </a:lnTo>
                  <a:lnTo>
                    <a:pt x="46963" y="5287"/>
                  </a:lnTo>
                  <a:lnTo>
                    <a:pt x="48465" y="5509"/>
                  </a:lnTo>
                  <a:lnTo>
                    <a:pt x="49912" y="5788"/>
                  </a:lnTo>
                  <a:lnTo>
                    <a:pt x="51303" y="6122"/>
                  </a:lnTo>
                  <a:lnTo>
                    <a:pt x="52694" y="6455"/>
                  </a:lnTo>
                  <a:lnTo>
                    <a:pt x="54029" y="6901"/>
                  </a:lnTo>
                  <a:lnTo>
                    <a:pt x="55365" y="7290"/>
                  </a:lnTo>
                  <a:lnTo>
                    <a:pt x="56645" y="7791"/>
                  </a:lnTo>
                  <a:lnTo>
                    <a:pt x="57869" y="8292"/>
                  </a:lnTo>
                  <a:lnTo>
                    <a:pt x="59037" y="8848"/>
                  </a:lnTo>
                  <a:lnTo>
                    <a:pt x="60150" y="9404"/>
                  </a:lnTo>
                  <a:lnTo>
                    <a:pt x="61263" y="10017"/>
                  </a:lnTo>
                  <a:lnTo>
                    <a:pt x="62320" y="10629"/>
                  </a:lnTo>
                  <a:lnTo>
                    <a:pt x="63266" y="11296"/>
                  </a:lnTo>
                  <a:lnTo>
                    <a:pt x="64212" y="11964"/>
                  </a:lnTo>
                  <a:lnTo>
                    <a:pt x="65102" y="12687"/>
                  </a:lnTo>
                  <a:lnTo>
                    <a:pt x="65881" y="13411"/>
                  </a:lnTo>
                  <a:lnTo>
                    <a:pt x="66660" y="14134"/>
                  </a:lnTo>
                  <a:lnTo>
                    <a:pt x="67384" y="14913"/>
                  </a:lnTo>
                  <a:lnTo>
                    <a:pt x="67996" y="15748"/>
                  </a:lnTo>
                  <a:lnTo>
                    <a:pt x="68552" y="16582"/>
                  </a:lnTo>
                  <a:lnTo>
                    <a:pt x="69053" y="17417"/>
                  </a:lnTo>
                  <a:lnTo>
                    <a:pt x="69498" y="18252"/>
                  </a:lnTo>
                  <a:lnTo>
                    <a:pt x="69832" y="19142"/>
                  </a:lnTo>
                  <a:lnTo>
                    <a:pt x="70110" y="20032"/>
                  </a:lnTo>
                  <a:lnTo>
                    <a:pt x="70333" y="20922"/>
                  </a:lnTo>
                  <a:lnTo>
                    <a:pt x="70444" y="21868"/>
                  </a:lnTo>
                  <a:lnTo>
                    <a:pt x="70500" y="22759"/>
                  </a:lnTo>
                  <a:lnTo>
                    <a:pt x="70444" y="23705"/>
                  </a:lnTo>
                  <a:lnTo>
                    <a:pt x="70333" y="24651"/>
                  </a:lnTo>
                  <a:lnTo>
                    <a:pt x="70110" y="25541"/>
                  </a:lnTo>
                  <a:lnTo>
                    <a:pt x="69887" y="26431"/>
                  </a:lnTo>
                  <a:lnTo>
                    <a:pt x="69498" y="27321"/>
                  </a:lnTo>
                  <a:lnTo>
                    <a:pt x="69108" y="28156"/>
                  </a:lnTo>
                  <a:lnTo>
                    <a:pt x="68608" y="28991"/>
                  </a:lnTo>
                  <a:lnTo>
                    <a:pt x="68051" y="29825"/>
                  </a:lnTo>
                  <a:lnTo>
                    <a:pt x="67439" y="30604"/>
                  </a:lnTo>
                  <a:lnTo>
                    <a:pt x="66772" y="31383"/>
                  </a:lnTo>
                  <a:lnTo>
                    <a:pt x="65993" y="32162"/>
                  </a:lnTo>
                  <a:lnTo>
                    <a:pt x="65214" y="32886"/>
                  </a:lnTo>
                  <a:lnTo>
                    <a:pt x="64323" y="33609"/>
                  </a:lnTo>
                  <a:lnTo>
                    <a:pt x="63433" y="34277"/>
                  </a:lnTo>
                  <a:lnTo>
                    <a:pt x="62431" y="34944"/>
                  </a:lnTo>
                  <a:lnTo>
                    <a:pt x="61430" y="35556"/>
                  </a:lnTo>
                  <a:lnTo>
                    <a:pt x="60317" y="36169"/>
                  </a:lnTo>
                  <a:lnTo>
                    <a:pt x="59204" y="36725"/>
                  </a:lnTo>
                  <a:lnTo>
                    <a:pt x="58036" y="37281"/>
                  </a:lnTo>
                  <a:lnTo>
                    <a:pt x="56812" y="37782"/>
                  </a:lnTo>
                  <a:lnTo>
                    <a:pt x="55532" y="38227"/>
                  </a:lnTo>
                  <a:lnTo>
                    <a:pt x="54252" y="38672"/>
                  </a:lnTo>
                  <a:lnTo>
                    <a:pt x="52861" y="39062"/>
                  </a:lnTo>
                  <a:lnTo>
                    <a:pt x="51525" y="39451"/>
                  </a:lnTo>
                  <a:lnTo>
                    <a:pt x="50079" y="39785"/>
                  </a:lnTo>
                  <a:lnTo>
                    <a:pt x="48632" y="40064"/>
                  </a:lnTo>
                  <a:lnTo>
                    <a:pt x="47185" y="40286"/>
                  </a:lnTo>
                  <a:lnTo>
                    <a:pt x="45627" y="40509"/>
                  </a:lnTo>
                  <a:lnTo>
                    <a:pt x="44125" y="40676"/>
                  </a:lnTo>
                  <a:lnTo>
                    <a:pt x="42567" y="40787"/>
                  </a:lnTo>
                  <a:lnTo>
                    <a:pt x="40953" y="40843"/>
                  </a:lnTo>
                  <a:lnTo>
                    <a:pt x="37782" y="40843"/>
                  </a:lnTo>
                  <a:lnTo>
                    <a:pt x="36168" y="40787"/>
                  </a:lnTo>
                  <a:lnTo>
                    <a:pt x="34610" y="40676"/>
                  </a:lnTo>
                  <a:lnTo>
                    <a:pt x="33052" y="40509"/>
                  </a:lnTo>
                  <a:lnTo>
                    <a:pt x="31550" y="40286"/>
                  </a:lnTo>
                  <a:lnTo>
                    <a:pt x="30048" y="40064"/>
                  </a:lnTo>
                  <a:lnTo>
                    <a:pt x="28601" y="39785"/>
                  </a:lnTo>
                  <a:lnTo>
                    <a:pt x="27210" y="39451"/>
                  </a:lnTo>
                  <a:lnTo>
                    <a:pt x="25819" y="39062"/>
                  </a:lnTo>
                  <a:lnTo>
                    <a:pt x="24483" y="38672"/>
                  </a:lnTo>
                  <a:lnTo>
                    <a:pt x="23148" y="38227"/>
                  </a:lnTo>
                  <a:lnTo>
                    <a:pt x="21868" y="37782"/>
                  </a:lnTo>
                  <a:lnTo>
                    <a:pt x="20644" y="37281"/>
                  </a:lnTo>
                  <a:lnTo>
                    <a:pt x="19475" y="36725"/>
                  </a:lnTo>
                  <a:lnTo>
                    <a:pt x="18363" y="36169"/>
                  </a:lnTo>
                  <a:lnTo>
                    <a:pt x="17250" y="35556"/>
                  </a:lnTo>
                  <a:lnTo>
                    <a:pt x="16193" y="34944"/>
                  </a:lnTo>
                  <a:lnTo>
                    <a:pt x="15247" y="34277"/>
                  </a:lnTo>
                  <a:lnTo>
                    <a:pt x="14301" y="33609"/>
                  </a:lnTo>
                  <a:lnTo>
                    <a:pt x="13410" y="32886"/>
                  </a:lnTo>
                  <a:lnTo>
                    <a:pt x="12631" y="32162"/>
                  </a:lnTo>
                  <a:lnTo>
                    <a:pt x="11852" y="31383"/>
                  </a:lnTo>
                  <a:lnTo>
                    <a:pt x="11185" y="30604"/>
                  </a:lnTo>
                  <a:lnTo>
                    <a:pt x="10517" y="29825"/>
                  </a:lnTo>
                  <a:lnTo>
                    <a:pt x="9961" y="28991"/>
                  </a:lnTo>
                  <a:lnTo>
                    <a:pt x="9460" y="28156"/>
                  </a:lnTo>
                  <a:lnTo>
                    <a:pt x="9070" y="27321"/>
                  </a:lnTo>
                  <a:lnTo>
                    <a:pt x="8681" y="26431"/>
                  </a:lnTo>
                  <a:lnTo>
                    <a:pt x="8403" y="25541"/>
                  </a:lnTo>
                  <a:lnTo>
                    <a:pt x="8236" y="24651"/>
                  </a:lnTo>
                  <a:lnTo>
                    <a:pt x="8069" y="23705"/>
                  </a:lnTo>
                  <a:lnTo>
                    <a:pt x="8013" y="22759"/>
                  </a:lnTo>
                  <a:lnTo>
                    <a:pt x="8069" y="21868"/>
                  </a:lnTo>
                  <a:lnTo>
                    <a:pt x="8180" y="20922"/>
                  </a:lnTo>
                  <a:lnTo>
                    <a:pt x="8403" y="20032"/>
                  </a:lnTo>
                  <a:lnTo>
                    <a:pt x="8625" y="19142"/>
                  </a:lnTo>
                  <a:lnTo>
                    <a:pt x="9015" y="18252"/>
                  </a:lnTo>
                  <a:lnTo>
                    <a:pt x="9404" y="17417"/>
                  </a:lnTo>
                  <a:lnTo>
                    <a:pt x="9905" y="16582"/>
                  </a:lnTo>
                  <a:lnTo>
                    <a:pt x="10461" y="15748"/>
                  </a:lnTo>
                  <a:lnTo>
                    <a:pt x="11073" y="14913"/>
                  </a:lnTo>
                  <a:lnTo>
                    <a:pt x="11741" y="14134"/>
                  </a:lnTo>
                  <a:lnTo>
                    <a:pt x="12520" y="13411"/>
                  </a:lnTo>
                  <a:lnTo>
                    <a:pt x="13299" y="12687"/>
                  </a:lnTo>
                  <a:lnTo>
                    <a:pt x="14189" y="11964"/>
                  </a:lnTo>
                  <a:lnTo>
                    <a:pt x="15080" y="11296"/>
                  </a:lnTo>
                  <a:lnTo>
                    <a:pt x="16081" y="10629"/>
                  </a:lnTo>
                  <a:lnTo>
                    <a:pt x="17138" y="10017"/>
                  </a:lnTo>
                  <a:lnTo>
                    <a:pt x="18196" y="9404"/>
                  </a:lnTo>
                  <a:lnTo>
                    <a:pt x="19309" y="8848"/>
                  </a:lnTo>
                  <a:lnTo>
                    <a:pt x="20477" y="8292"/>
                  </a:lnTo>
                  <a:lnTo>
                    <a:pt x="21701" y="7791"/>
                  </a:lnTo>
                  <a:lnTo>
                    <a:pt x="22981" y="7290"/>
                  </a:lnTo>
                  <a:lnTo>
                    <a:pt x="24316" y="6901"/>
                  </a:lnTo>
                  <a:lnTo>
                    <a:pt x="25652" y="6455"/>
                  </a:lnTo>
                  <a:lnTo>
                    <a:pt x="26987" y="6122"/>
                  </a:lnTo>
                  <a:lnTo>
                    <a:pt x="28434" y="5788"/>
                  </a:lnTo>
                  <a:lnTo>
                    <a:pt x="29881" y="5509"/>
                  </a:lnTo>
                  <a:lnTo>
                    <a:pt x="31383" y="5287"/>
                  </a:lnTo>
                  <a:lnTo>
                    <a:pt x="32885" y="5064"/>
                  </a:lnTo>
                  <a:lnTo>
                    <a:pt x="34388" y="4897"/>
                  </a:lnTo>
                  <a:lnTo>
                    <a:pt x="35946" y="4786"/>
                  </a:lnTo>
                  <a:lnTo>
                    <a:pt x="37559" y="4730"/>
                  </a:lnTo>
                  <a:lnTo>
                    <a:pt x="39173" y="4675"/>
                  </a:lnTo>
                  <a:close/>
                  <a:moveTo>
                    <a:pt x="39117" y="1"/>
                  </a:moveTo>
                  <a:lnTo>
                    <a:pt x="37114" y="56"/>
                  </a:lnTo>
                  <a:lnTo>
                    <a:pt x="35111" y="168"/>
                  </a:lnTo>
                  <a:lnTo>
                    <a:pt x="33163" y="279"/>
                  </a:lnTo>
                  <a:lnTo>
                    <a:pt x="31216" y="502"/>
                  </a:lnTo>
                  <a:lnTo>
                    <a:pt x="29324" y="724"/>
                  </a:lnTo>
                  <a:lnTo>
                    <a:pt x="27432" y="1058"/>
                  </a:lnTo>
                  <a:lnTo>
                    <a:pt x="25652" y="1392"/>
                  </a:lnTo>
                  <a:lnTo>
                    <a:pt x="23871" y="1837"/>
                  </a:lnTo>
                  <a:lnTo>
                    <a:pt x="22091" y="2282"/>
                  </a:lnTo>
                  <a:lnTo>
                    <a:pt x="20421" y="2783"/>
                  </a:lnTo>
                  <a:lnTo>
                    <a:pt x="18808" y="3339"/>
                  </a:lnTo>
                  <a:lnTo>
                    <a:pt x="17194" y="3896"/>
                  </a:lnTo>
                  <a:lnTo>
                    <a:pt x="15636" y="4564"/>
                  </a:lnTo>
                  <a:lnTo>
                    <a:pt x="14189" y="5231"/>
                  </a:lnTo>
                  <a:lnTo>
                    <a:pt x="12743" y="5955"/>
                  </a:lnTo>
                  <a:lnTo>
                    <a:pt x="11407" y="6678"/>
                  </a:lnTo>
                  <a:lnTo>
                    <a:pt x="10072" y="7457"/>
                  </a:lnTo>
                  <a:lnTo>
                    <a:pt x="8848" y="8292"/>
                  </a:lnTo>
                  <a:lnTo>
                    <a:pt x="7679" y="9182"/>
                  </a:lnTo>
                  <a:lnTo>
                    <a:pt x="6622" y="10072"/>
                  </a:lnTo>
                  <a:lnTo>
                    <a:pt x="5620" y="10962"/>
                  </a:lnTo>
                  <a:lnTo>
                    <a:pt x="4675" y="11908"/>
                  </a:lnTo>
                  <a:lnTo>
                    <a:pt x="3784" y="12910"/>
                  </a:lnTo>
                  <a:lnTo>
                    <a:pt x="3005" y="13911"/>
                  </a:lnTo>
                  <a:lnTo>
                    <a:pt x="2338" y="14969"/>
                  </a:lnTo>
                  <a:lnTo>
                    <a:pt x="1726" y="16026"/>
                  </a:lnTo>
                  <a:lnTo>
                    <a:pt x="1169" y="17083"/>
                  </a:lnTo>
                  <a:lnTo>
                    <a:pt x="780" y="18196"/>
                  </a:lnTo>
                  <a:lnTo>
                    <a:pt x="390" y="19309"/>
                  </a:lnTo>
                  <a:lnTo>
                    <a:pt x="168" y="20477"/>
                  </a:lnTo>
                  <a:lnTo>
                    <a:pt x="1" y="21590"/>
                  </a:lnTo>
                  <a:lnTo>
                    <a:pt x="1" y="22759"/>
                  </a:lnTo>
                  <a:lnTo>
                    <a:pt x="56" y="23927"/>
                  </a:lnTo>
                  <a:lnTo>
                    <a:pt x="223" y="25096"/>
                  </a:lnTo>
                  <a:lnTo>
                    <a:pt x="446" y="26264"/>
                  </a:lnTo>
                  <a:lnTo>
                    <a:pt x="780" y="27377"/>
                  </a:lnTo>
                  <a:lnTo>
                    <a:pt x="1225" y="28490"/>
                  </a:lnTo>
                  <a:lnTo>
                    <a:pt x="1781" y="29547"/>
                  </a:lnTo>
                  <a:lnTo>
                    <a:pt x="2393" y="30604"/>
                  </a:lnTo>
                  <a:lnTo>
                    <a:pt x="3117" y="31661"/>
                  </a:lnTo>
                  <a:lnTo>
                    <a:pt x="3896" y="32663"/>
                  </a:lnTo>
                  <a:lnTo>
                    <a:pt x="4786" y="33609"/>
                  </a:lnTo>
                  <a:lnTo>
                    <a:pt x="5732" y="34555"/>
                  </a:lnTo>
                  <a:lnTo>
                    <a:pt x="6733" y="35501"/>
                  </a:lnTo>
                  <a:lnTo>
                    <a:pt x="7846" y="36391"/>
                  </a:lnTo>
                  <a:lnTo>
                    <a:pt x="9015" y="37226"/>
                  </a:lnTo>
                  <a:lnTo>
                    <a:pt x="10294" y="38060"/>
                  </a:lnTo>
                  <a:lnTo>
                    <a:pt x="11574" y="38839"/>
                  </a:lnTo>
                  <a:lnTo>
                    <a:pt x="12965" y="39618"/>
                  </a:lnTo>
                  <a:lnTo>
                    <a:pt x="14356" y="40342"/>
                  </a:lnTo>
                  <a:lnTo>
                    <a:pt x="15859" y="41009"/>
                  </a:lnTo>
                  <a:lnTo>
                    <a:pt x="17417" y="41621"/>
                  </a:lnTo>
                  <a:lnTo>
                    <a:pt x="18975" y="42234"/>
                  </a:lnTo>
                  <a:lnTo>
                    <a:pt x="20644" y="42790"/>
                  </a:lnTo>
                  <a:lnTo>
                    <a:pt x="22369" y="43291"/>
                  </a:lnTo>
                  <a:lnTo>
                    <a:pt x="24094" y="43736"/>
                  </a:lnTo>
                  <a:lnTo>
                    <a:pt x="25874" y="44125"/>
                  </a:lnTo>
                  <a:lnTo>
                    <a:pt x="27711" y="44515"/>
                  </a:lnTo>
                  <a:lnTo>
                    <a:pt x="29547" y="44793"/>
                  </a:lnTo>
                  <a:lnTo>
                    <a:pt x="31494" y="45071"/>
                  </a:lnTo>
                  <a:lnTo>
                    <a:pt x="33386" y="45294"/>
                  </a:lnTo>
                  <a:lnTo>
                    <a:pt x="35389" y="45405"/>
                  </a:lnTo>
                  <a:lnTo>
                    <a:pt x="37392" y="45516"/>
                  </a:lnTo>
                  <a:lnTo>
                    <a:pt x="41399" y="45516"/>
                  </a:lnTo>
                  <a:lnTo>
                    <a:pt x="43402" y="45405"/>
                  </a:lnTo>
                  <a:lnTo>
                    <a:pt x="45349" y="45294"/>
                  </a:lnTo>
                  <a:lnTo>
                    <a:pt x="47297" y="45071"/>
                  </a:lnTo>
                  <a:lnTo>
                    <a:pt x="49188" y="44793"/>
                  </a:lnTo>
                  <a:lnTo>
                    <a:pt x="51080" y="44515"/>
                  </a:lnTo>
                  <a:lnTo>
                    <a:pt x="52861" y="44125"/>
                  </a:lnTo>
                  <a:lnTo>
                    <a:pt x="54641" y="43736"/>
                  </a:lnTo>
                  <a:lnTo>
                    <a:pt x="56422" y="43291"/>
                  </a:lnTo>
                  <a:lnTo>
                    <a:pt x="58091" y="42790"/>
                  </a:lnTo>
                  <a:lnTo>
                    <a:pt x="59761" y="42234"/>
                  </a:lnTo>
                  <a:lnTo>
                    <a:pt x="61319" y="41621"/>
                  </a:lnTo>
                  <a:lnTo>
                    <a:pt x="62877" y="41009"/>
                  </a:lnTo>
                  <a:lnTo>
                    <a:pt x="64323" y="40342"/>
                  </a:lnTo>
                  <a:lnTo>
                    <a:pt x="65770" y="39618"/>
                  </a:lnTo>
                  <a:lnTo>
                    <a:pt x="67105" y="38839"/>
                  </a:lnTo>
                  <a:lnTo>
                    <a:pt x="68441" y="38060"/>
                  </a:lnTo>
                  <a:lnTo>
                    <a:pt x="69665" y="37226"/>
                  </a:lnTo>
                  <a:lnTo>
                    <a:pt x="70833" y="36391"/>
                  </a:lnTo>
                  <a:lnTo>
                    <a:pt x="71891" y="35501"/>
                  </a:lnTo>
                  <a:lnTo>
                    <a:pt x="72892" y="34555"/>
                  </a:lnTo>
                  <a:lnTo>
                    <a:pt x="73838" y="33609"/>
                  </a:lnTo>
                  <a:lnTo>
                    <a:pt x="74728" y="32663"/>
                  </a:lnTo>
                  <a:lnTo>
                    <a:pt x="75507" y="31661"/>
                  </a:lnTo>
                  <a:lnTo>
                    <a:pt x="76175" y="30604"/>
                  </a:lnTo>
                  <a:lnTo>
                    <a:pt x="76787" y="29547"/>
                  </a:lnTo>
                  <a:lnTo>
                    <a:pt x="77344" y="28490"/>
                  </a:lnTo>
                  <a:lnTo>
                    <a:pt x="77789" y="27377"/>
                  </a:lnTo>
                  <a:lnTo>
                    <a:pt x="78123" y="26264"/>
                  </a:lnTo>
                  <a:lnTo>
                    <a:pt x="78345" y="25096"/>
                  </a:lnTo>
                  <a:lnTo>
                    <a:pt x="78512" y="23927"/>
                  </a:lnTo>
                  <a:lnTo>
                    <a:pt x="78512" y="22759"/>
                  </a:lnTo>
                  <a:lnTo>
                    <a:pt x="78456" y="21590"/>
                  </a:lnTo>
                  <a:lnTo>
                    <a:pt x="78345" y="20477"/>
                  </a:lnTo>
                  <a:lnTo>
                    <a:pt x="78067" y="19309"/>
                  </a:lnTo>
                  <a:lnTo>
                    <a:pt x="77733" y="18196"/>
                  </a:lnTo>
                  <a:lnTo>
                    <a:pt x="77288" y="17083"/>
                  </a:lnTo>
                  <a:lnTo>
                    <a:pt x="76731" y="16026"/>
                  </a:lnTo>
                  <a:lnTo>
                    <a:pt x="76119" y="14969"/>
                  </a:lnTo>
                  <a:lnTo>
                    <a:pt x="75396" y="13911"/>
                  </a:lnTo>
                  <a:lnTo>
                    <a:pt x="74617" y="12910"/>
                  </a:lnTo>
                  <a:lnTo>
                    <a:pt x="73727" y="11908"/>
                  </a:lnTo>
                  <a:lnTo>
                    <a:pt x="72781" y="10962"/>
                  </a:lnTo>
                  <a:lnTo>
                    <a:pt x="71779" y="10072"/>
                  </a:lnTo>
                  <a:lnTo>
                    <a:pt x="70666" y="9182"/>
                  </a:lnTo>
                  <a:lnTo>
                    <a:pt x="69498" y="8292"/>
                  </a:lnTo>
                  <a:lnTo>
                    <a:pt x="68274" y="7457"/>
                  </a:lnTo>
                  <a:lnTo>
                    <a:pt x="66938" y="6678"/>
                  </a:lnTo>
                  <a:lnTo>
                    <a:pt x="65547" y="5955"/>
                  </a:lnTo>
                  <a:lnTo>
                    <a:pt x="64156" y="5231"/>
                  </a:lnTo>
                  <a:lnTo>
                    <a:pt x="62654" y="4564"/>
                  </a:lnTo>
                  <a:lnTo>
                    <a:pt x="61096" y="3896"/>
                  </a:lnTo>
                  <a:lnTo>
                    <a:pt x="59538" y="3339"/>
                  </a:lnTo>
                  <a:lnTo>
                    <a:pt x="57869" y="2783"/>
                  </a:lnTo>
                  <a:lnTo>
                    <a:pt x="56199" y="2282"/>
                  </a:lnTo>
                  <a:lnTo>
                    <a:pt x="54419" y="1837"/>
                  </a:lnTo>
                  <a:lnTo>
                    <a:pt x="52638" y="1392"/>
                  </a:lnTo>
                  <a:lnTo>
                    <a:pt x="50802" y="1058"/>
                  </a:lnTo>
                  <a:lnTo>
                    <a:pt x="48966" y="724"/>
                  </a:lnTo>
                  <a:lnTo>
                    <a:pt x="47074" y="502"/>
                  </a:lnTo>
                  <a:lnTo>
                    <a:pt x="45127" y="279"/>
                  </a:lnTo>
                  <a:lnTo>
                    <a:pt x="43123" y="168"/>
                  </a:lnTo>
                  <a:lnTo>
                    <a:pt x="41176" y="56"/>
                  </a:lnTo>
                  <a:lnTo>
                    <a:pt x="39117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17385;p84">
              <a:extLst>
                <a:ext uri="{FF2B5EF4-FFF2-40B4-BE49-F238E27FC236}">
                  <a16:creationId xmlns:a16="http://schemas.microsoft.com/office/drawing/2014/main" id="{63A15023-EB3C-0010-70AD-452937026B01}"/>
                </a:ext>
              </a:extLst>
            </p:cNvPr>
            <p:cNvSpPr/>
            <p:nvPr/>
          </p:nvSpPr>
          <p:spPr>
            <a:xfrm>
              <a:off x="1780425" y="4568500"/>
              <a:ext cx="1560800" cy="849975"/>
            </a:xfrm>
            <a:custGeom>
              <a:avLst/>
              <a:gdLst/>
              <a:ahLst/>
              <a:cxnLst/>
              <a:rect l="l" t="t" r="r" b="b"/>
              <a:pathLst>
                <a:path w="62432" h="33999" extrusionOk="0">
                  <a:moveTo>
                    <a:pt x="45906" y="0"/>
                  </a:moveTo>
                  <a:lnTo>
                    <a:pt x="44570" y="779"/>
                  </a:lnTo>
                  <a:lnTo>
                    <a:pt x="43124" y="1558"/>
                  </a:lnTo>
                  <a:lnTo>
                    <a:pt x="41621" y="2282"/>
                  </a:lnTo>
                  <a:lnTo>
                    <a:pt x="40063" y="2949"/>
                  </a:lnTo>
                  <a:lnTo>
                    <a:pt x="38450" y="3562"/>
                  </a:lnTo>
                  <a:lnTo>
                    <a:pt x="36780" y="4118"/>
                  </a:lnTo>
                  <a:lnTo>
                    <a:pt x="35055" y="4674"/>
                  </a:lnTo>
                  <a:lnTo>
                    <a:pt x="33275" y="5120"/>
                  </a:lnTo>
                  <a:lnTo>
                    <a:pt x="31439" y="5565"/>
                  </a:lnTo>
                  <a:lnTo>
                    <a:pt x="29602" y="5954"/>
                  </a:lnTo>
                  <a:lnTo>
                    <a:pt x="27655" y="6288"/>
                  </a:lnTo>
                  <a:lnTo>
                    <a:pt x="25708" y="6511"/>
                  </a:lnTo>
                  <a:lnTo>
                    <a:pt x="23760" y="6733"/>
                  </a:lnTo>
                  <a:lnTo>
                    <a:pt x="21701" y="6900"/>
                  </a:lnTo>
                  <a:lnTo>
                    <a:pt x="19698" y="7011"/>
                  </a:lnTo>
                  <a:lnTo>
                    <a:pt x="15970" y="7011"/>
                  </a:lnTo>
                  <a:lnTo>
                    <a:pt x="14412" y="6956"/>
                  </a:lnTo>
                  <a:lnTo>
                    <a:pt x="12798" y="6844"/>
                  </a:lnTo>
                  <a:lnTo>
                    <a:pt x="11240" y="6733"/>
                  </a:lnTo>
                  <a:lnTo>
                    <a:pt x="9682" y="6566"/>
                  </a:lnTo>
                  <a:lnTo>
                    <a:pt x="8180" y="6344"/>
                  </a:lnTo>
                  <a:lnTo>
                    <a:pt x="6678" y="6121"/>
                  </a:lnTo>
                  <a:lnTo>
                    <a:pt x="5231" y="5843"/>
                  </a:lnTo>
                  <a:lnTo>
                    <a:pt x="4063" y="6956"/>
                  </a:lnTo>
                  <a:lnTo>
                    <a:pt x="3506" y="7568"/>
                  </a:lnTo>
                  <a:lnTo>
                    <a:pt x="3005" y="8124"/>
                  </a:lnTo>
                  <a:lnTo>
                    <a:pt x="2560" y="8736"/>
                  </a:lnTo>
                  <a:lnTo>
                    <a:pt x="2115" y="9348"/>
                  </a:lnTo>
                  <a:lnTo>
                    <a:pt x="1726" y="9960"/>
                  </a:lnTo>
                  <a:lnTo>
                    <a:pt x="1336" y="10572"/>
                  </a:lnTo>
                  <a:lnTo>
                    <a:pt x="1058" y="11240"/>
                  </a:lnTo>
                  <a:lnTo>
                    <a:pt x="780" y="11852"/>
                  </a:lnTo>
                  <a:lnTo>
                    <a:pt x="557" y="12520"/>
                  </a:lnTo>
                  <a:lnTo>
                    <a:pt x="335" y="13188"/>
                  </a:lnTo>
                  <a:lnTo>
                    <a:pt x="168" y="13855"/>
                  </a:lnTo>
                  <a:lnTo>
                    <a:pt x="56" y="14523"/>
                  </a:lnTo>
                  <a:lnTo>
                    <a:pt x="1" y="15246"/>
                  </a:lnTo>
                  <a:lnTo>
                    <a:pt x="1" y="15914"/>
                  </a:lnTo>
                  <a:lnTo>
                    <a:pt x="56" y="16860"/>
                  </a:lnTo>
                  <a:lnTo>
                    <a:pt x="168" y="17750"/>
                  </a:lnTo>
                  <a:lnTo>
                    <a:pt x="390" y="18696"/>
                  </a:lnTo>
                  <a:lnTo>
                    <a:pt x="668" y="19587"/>
                  </a:lnTo>
                  <a:lnTo>
                    <a:pt x="1002" y="20421"/>
                  </a:lnTo>
                  <a:lnTo>
                    <a:pt x="1447" y="21312"/>
                  </a:lnTo>
                  <a:lnTo>
                    <a:pt x="1948" y="22146"/>
                  </a:lnTo>
                  <a:lnTo>
                    <a:pt x="2505" y="22981"/>
                  </a:lnTo>
                  <a:lnTo>
                    <a:pt x="3117" y="23760"/>
                  </a:lnTo>
                  <a:lnTo>
                    <a:pt x="3840" y="24539"/>
                  </a:lnTo>
                  <a:lnTo>
                    <a:pt x="4563" y="25318"/>
                  </a:lnTo>
                  <a:lnTo>
                    <a:pt x="5398" y="26041"/>
                  </a:lnTo>
                  <a:lnTo>
                    <a:pt x="6288" y="26764"/>
                  </a:lnTo>
                  <a:lnTo>
                    <a:pt x="7179" y="27432"/>
                  </a:lnTo>
                  <a:lnTo>
                    <a:pt x="8180" y="28100"/>
                  </a:lnTo>
                  <a:lnTo>
                    <a:pt x="9237" y="28712"/>
                  </a:lnTo>
                  <a:lnTo>
                    <a:pt x="10295" y="29324"/>
                  </a:lnTo>
                  <a:lnTo>
                    <a:pt x="11463" y="29880"/>
                  </a:lnTo>
                  <a:lnTo>
                    <a:pt x="12632" y="30437"/>
                  </a:lnTo>
                  <a:lnTo>
                    <a:pt x="13856" y="30938"/>
                  </a:lnTo>
                  <a:lnTo>
                    <a:pt x="15135" y="31383"/>
                  </a:lnTo>
                  <a:lnTo>
                    <a:pt x="16415" y="31828"/>
                  </a:lnTo>
                  <a:lnTo>
                    <a:pt x="17751" y="32217"/>
                  </a:lnTo>
                  <a:lnTo>
                    <a:pt x="19142" y="32607"/>
                  </a:lnTo>
                  <a:lnTo>
                    <a:pt x="20588" y="32885"/>
                  </a:lnTo>
                  <a:lnTo>
                    <a:pt x="22035" y="33219"/>
                  </a:lnTo>
                  <a:lnTo>
                    <a:pt x="23537" y="33442"/>
                  </a:lnTo>
                  <a:lnTo>
                    <a:pt x="25040" y="33664"/>
                  </a:lnTo>
                  <a:lnTo>
                    <a:pt x="26542" y="33775"/>
                  </a:lnTo>
                  <a:lnTo>
                    <a:pt x="28156" y="33887"/>
                  </a:lnTo>
                  <a:lnTo>
                    <a:pt x="29714" y="33998"/>
                  </a:lnTo>
                  <a:lnTo>
                    <a:pt x="32941" y="33998"/>
                  </a:lnTo>
                  <a:lnTo>
                    <a:pt x="34499" y="33942"/>
                  </a:lnTo>
                  <a:lnTo>
                    <a:pt x="36057" y="33775"/>
                  </a:lnTo>
                  <a:lnTo>
                    <a:pt x="37615" y="33664"/>
                  </a:lnTo>
                  <a:lnTo>
                    <a:pt x="39117" y="33442"/>
                  </a:lnTo>
                  <a:lnTo>
                    <a:pt x="40620" y="33219"/>
                  </a:lnTo>
                  <a:lnTo>
                    <a:pt x="42066" y="32885"/>
                  </a:lnTo>
                  <a:lnTo>
                    <a:pt x="43457" y="32607"/>
                  </a:lnTo>
                  <a:lnTo>
                    <a:pt x="44849" y="32217"/>
                  </a:lnTo>
                  <a:lnTo>
                    <a:pt x="46184" y="31828"/>
                  </a:lnTo>
                  <a:lnTo>
                    <a:pt x="47519" y="31383"/>
                  </a:lnTo>
                  <a:lnTo>
                    <a:pt x="48743" y="30938"/>
                  </a:lnTo>
                  <a:lnTo>
                    <a:pt x="49968" y="30437"/>
                  </a:lnTo>
                  <a:lnTo>
                    <a:pt x="51136" y="29880"/>
                  </a:lnTo>
                  <a:lnTo>
                    <a:pt x="52305" y="29324"/>
                  </a:lnTo>
                  <a:lnTo>
                    <a:pt x="53362" y="28712"/>
                  </a:lnTo>
                  <a:lnTo>
                    <a:pt x="54419" y="28100"/>
                  </a:lnTo>
                  <a:lnTo>
                    <a:pt x="55365" y="27432"/>
                  </a:lnTo>
                  <a:lnTo>
                    <a:pt x="56311" y="26764"/>
                  </a:lnTo>
                  <a:lnTo>
                    <a:pt x="57145" y="26041"/>
                  </a:lnTo>
                  <a:lnTo>
                    <a:pt x="57980" y="25318"/>
                  </a:lnTo>
                  <a:lnTo>
                    <a:pt x="58703" y="24539"/>
                  </a:lnTo>
                  <a:lnTo>
                    <a:pt x="59427" y="23760"/>
                  </a:lnTo>
                  <a:lnTo>
                    <a:pt x="60039" y="22981"/>
                  </a:lnTo>
                  <a:lnTo>
                    <a:pt x="60595" y="22146"/>
                  </a:lnTo>
                  <a:lnTo>
                    <a:pt x="61040" y="21312"/>
                  </a:lnTo>
                  <a:lnTo>
                    <a:pt x="61486" y="20477"/>
                  </a:lnTo>
                  <a:lnTo>
                    <a:pt x="61819" y="19587"/>
                  </a:lnTo>
                  <a:lnTo>
                    <a:pt x="62098" y="18696"/>
                  </a:lnTo>
                  <a:lnTo>
                    <a:pt x="62265" y="17806"/>
                  </a:lnTo>
                  <a:lnTo>
                    <a:pt x="62376" y="16860"/>
                  </a:lnTo>
                  <a:lnTo>
                    <a:pt x="62432" y="15914"/>
                  </a:lnTo>
                  <a:lnTo>
                    <a:pt x="62376" y="15024"/>
                  </a:lnTo>
                  <a:lnTo>
                    <a:pt x="62265" y="14078"/>
                  </a:lnTo>
                  <a:lnTo>
                    <a:pt x="62042" y="13188"/>
                  </a:lnTo>
                  <a:lnTo>
                    <a:pt x="61764" y="12297"/>
                  </a:lnTo>
                  <a:lnTo>
                    <a:pt x="61430" y="11407"/>
                  </a:lnTo>
                  <a:lnTo>
                    <a:pt x="60985" y="10572"/>
                  </a:lnTo>
                  <a:lnTo>
                    <a:pt x="60484" y="9738"/>
                  </a:lnTo>
                  <a:lnTo>
                    <a:pt x="59928" y="8903"/>
                  </a:lnTo>
                  <a:lnTo>
                    <a:pt x="59316" y="8069"/>
                  </a:lnTo>
                  <a:lnTo>
                    <a:pt x="58592" y="7290"/>
                  </a:lnTo>
                  <a:lnTo>
                    <a:pt x="57869" y="6566"/>
                  </a:lnTo>
                  <a:lnTo>
                    <a:pt x="57034" y="5843"/>
                  </a:lnTo>
                  <a:lnTo>
                    <a:pt x="56144" y="5120"/>
                  </a:lnTo>
                  <a:lnTo>
                    <a:pt x="55254" y="4452"/>
                  </a:lnTo>
                  <a:lnTo>
                    <a:pt x="54252" y="3784"/>
                  </a:lnTo>
                  <a:lnTo>
                    <a:pt x="53195" y="3116"/>
                  </a:lnTo>
                  <a:lnTo>
                    <a:pt x="51526" y="2226"/>
                  </a:lnTo>
                  <a:lnTo>
                    <a:pt x="49745" y="1447"/>
                  </a:lnTo>
                  <a:lnTo>
                    <a:pt x="47909" y="668"/>
                  </a:lnTo>
                  <a:lnTo>
                    <a:pt x="45906" y="0"/>
                  </a:ln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" name="Google Shape;17386;p84">
              <a:extLst>
                <a:ext uri="{FF2B5EF4-FFF2-40B4-BE49-F238E27FC236}">
                  <a16:creationId xmlns:a16="http://schemas.microsoft.com/office/drawing/2014/main" id="{EFDA9091-14E3-F239-43A9-0A7038E9E277}"/>
                </a:ext>
              </a:extLst>
            </p:cNvPr>
            <p:cNvSpPr/>
            <p:nvPr/>
          </p:nvSpPr>
          <p:spPr>
            <a:xfrm>
              <a:off x="1780425" y="4568500"/>
              <a:ext cx="1560800" cy="849975"/>
            </a:xfrm>
            <a:custGeom>
              <a:avLst/>
              <a:gdLst/>
              <a:ahLst/>
              <a:cxnLst/>
              <a:rect l="l" t="t" r="r" b="b"/>
              <a:pathLst>
                <a:path w="62432" h="33999" fill="none" extrusionOk="0">
                  <a:moveTo>
                    <a:pt x="45906" y="0"/>
                  </a:moveTo>
                  <a:lnTo>
                    <a:pt x="45906" y="0"/>
                  </a:lnTo>
                  <a:lnTo>
                    <a:pt x="44570" y="779"/>
                  </a:lnTo>
                  <a:lnTo>
                    <a:pt x="43124" y="1558"/>
                  </a:lnTo>
                  <a:lnTo>
                    <a:pt x="41621" y="2282"/>
                  </a:lnTo>
                  <a:lnTo>
                    <a:pt x="40063" y="2949"/>
                  </a:lnTo>
                  <a:lnTo>
                    <a:pt x="38450" y="3562"/>
                  </a:lnTo>
                  <a:lnTo>
                    <a:pt x="36780" y="4118"/>
                  </a:lnTo>
                  <a:lnTo>
                    <a:pt x="35055" y="4674"/>
                  </a:lnTo>
                  <a:lnTo>
                    <a:pt x="33275" y="5120"/>
                  </a:lnTo>
                  <a:lnTo>
                    <a:pt x="31439" y="5565"/>
                  </a:lnTo>
                  <a:lnTo>
                    <a:pt x="29602" y="5954"/>
                  </a:lnTo>
                  <a:lnTo>
                    <a:pt x="27655" y="6288"/>
                  </a:lnTo>
                  <a:lnTo>
                    <a:pt x="25708" y="6511"/>
                  </a:lnTo>
                  <a:lnTo>
                    <a:pt x="23760" y="6733"/>
                  </a:lnTo>
                  <a:lnTo>
                    <a:pt x="21701" y="6900"/>
                  </a:lnTo>
                  <a:lnTo>
                    <a:pt x="19698" y="7011"/>
                  </a:lnTo>
                  <a:lnTo>
                    <a:pt x="17584" y="7011"/>
                  </a:lnTo>
                  <a:lnTo>
                    <a:pt x="17584" y="7011"/>
                  </a:lnTo>
                  <a:lnTo>
                    <a:pt x="15970" y="7011"/>
                  </a:lnTo>
                  <a:lnTo>
                    <a:pt x="14412" y="6956"/>
                  </a:lnTo>
                  <a:lnTo>
                    <a:pt x="12798" y="6844"/>
                  </a:lnTo>
                  <a:lnTo>
                    <a:pt x="11240" y="6733"/>
                  </a:lnTo>
                  <a:lnTo>
                    <a:pt x="9682" y="6566"/>
                  </a:lnTo>
                  <a:lnTo>
                    <a:pt x="8180" y="6344"/>
                  </a:lnTo>
                  <a:lnTo>
                    <a:pt x="6678" y="6121"/>
                  </a:lnTo>
                  <a:lnTo>
                    <a:pt x="5231" y="5843"/>
                  </a:lnTo>
                  <a:lnTo>
                    <a:pt x="5231" y="5843"/>
                  </a:lnTo>
                  <a:lnTo>
                    <a:pt x="4063" y="6956"/>
                  </a:lnTo>
                  <a:lnTo>
                    <a:pt x="3506" y="7568"/>
                  </a:lnTo>
                  <a:lnTo>
                    <a:pt x="3005" y="8124"/>
                  </a:lnTo>
                  <a:lnTo>
                    <a:pt x="2560" y="8736"/>
                  </a:lnTo>
                  <a:lnTo>
                    <a:pt x="2115" y="9348"/>
                  </a:lnTo>
                  <a:lnTo>
                    <a:pt x="1726" y="9960"/>
                  </a:lnTo>
                  <a:lnTo>
                    <a:pt x="1336" y="10572"/>
                  </a:lnTo>
                  <a:lnTo>
                    <a:pt x="1058" y="11240"/>
                  </a:lnTo>
                  <a:lnTo>
                    <a:pt x="780" y="11852"/>
                  </a:lnTo>
                  <a:lnTo>
                    <a:pt x="557" y="12520"/>
                  </a:lnTo>
                  <a:lnTo>
                    <a:pt x="335" y="13188"/>
                  </a:lnTo>
                  <a:lnTo>
                    <a:pt x="168" y="13855"/>
                  </a:lnTo>
                  <a:lnTo>
                    <a:pt x="56" y="14523"/>
                  </a:lnTo>
                  <a:lnTo>
                    <a:pt x="1" y="15246"/>
                  </a:lnTo>
                  <a:lnTo>
                    <a:pt x="1" y="15914"/>
                  </a:lnTo>
                  <a:lnTo>
                    <a:pt x="1" y="15914"/>
                  </a:lnTo>
                  <a:lnTo>
                    <a:pt x="56" y="16860"/>
                  </a:lnTo>
                  <a:lnTo>
                    <a:pt x="168" y="17750"/>
                  </a:lnTo>
                  <a:lnTo>
                    <a:pt x="390" y="18696"/>
                  </a:lnTo>
                  <a:lnTo>
                    <a:pt x="668" y="19587"/>
                  </a:lnTo>
                  <a:lnTo>
                    <a:pt x="1002" y="20421"/>
                  </a:lnTo>
                  <a:lnTo>
                    <a:pt x="1447" y="21312"/>
                  </a:lnTo>
                  <a:lnTo>
                    <a:pt x="1948" y="22146"/>
                  </a:lnTo>
                  <a:lnTo>
                    <a:pt x="2505" y="22981"/>
                  </a:lnTo>
                  <a:lnTo>
                    <a:pt x="3117" y="23760"/>
                  </a:lnTo>
                  <a:lnTo>
                    <a:pt x="3840" y="24539"/>
                  </a:lnTo>
                  <a:lnTo>
                    <a:pt x="4563" y="25318"/>
                  </a:lnTo>
                  <a:lnTo>
                    <a:pt x="5398" y="26041"/>
                  </a:lnTo>
                  <a:lnTo>
                    <a:pt x="6288" y="26764"/>
                  </a:lnTo>
                  <a:lnTo>
                    <a:pt x="7179" y="27432"/>
                  </a:lnTo>
                  <a:lnTo>
                    <a:pt x="8180" y="28100"/>
                  </a:lnTo>
                  <a:lnTo>
                    <a:pt x="9237" y="28712"/>
                  </a:lnTo>
                  <a:lnTo>
                    <a:pt x="9237" y="28712"/>
                  </a:lnTo>
                  <a:lnTo>
                    <a:pt x="10295" y="29324"/>
                  </a:lnTo>
                  <a:lnTo>
                    <a:pt x="11463" y="29880"/>
                  </a:lnTo>
                  <a:lnTo>
                    <a:pt x="12632" y="30437"/>
                  </a:lnTo>
                  <a:lnTo>
                    <a:pt x="13856" y="30938"/>
                  </a:lnTo>
                  <a:lnTo>
                    <a:pt x="15135" y="31383"/>
                  </a:lnTo>
                  <a:lnTo>
                    <a:pt x="16415" y="31828"/>
                  </a:lnTo>
                  <a:lnTo>
                    <a:pt x="17751" y="32217"/>
                  </a:lnTo>
                  <a:lnTo>
                    <a:pt x="19142" y="32607"/>
                  </a:lnTo>
                  <a:lnTo>
                    <a:pt x="20588" y="32885"/>
                  </a:lnTo>
                  <a:lnTo>
                    <a:pt x="22035" y="33219"/>
                  </a:lnTo>
                  <a:lnTo>
                    <a:pt x="23537" y="33442"/>
                  </a:lnTo>
                  <a:lnTo>
                    <a:pt x="25040" y="33664"/>
                  </a:lnTo>
                  <a:lnTo>
                    <a:pt x="26542" y="33775"/>
                  </a:lnTo>
                  <a:lnTo>
                    <a:pt x="28156" y="33887"/>
                  </a:lnTo>
                  <a:lnTo>
                    <a:pt x="29714" y="33998"/>
                  </a:lnTo>
                  <a:lnTo>
                    <a:pt x="31327" y="33998"/>
                  </a:lnTo>
                  <a:lnTo>
                    <a:pt x="31327" y="33998"/>
                  </a:lnTo>
                  <a:lnTo>
                    <a:pt x="32941" y="33998"/>
                  </a:lnTo>
                  <a:lnTo>
                    <a:pt x="34499" y="33942"/>
                  </a:lnTo>
                  <a:lnTo>
                    <a:pt x="36057" y="33775"/>
                  </a:lnTo>
                  <a:lnTo>
                    <a:pt x="37615" y="33664"/>
                  </a:lnTo>
                  <a:lnTo>
                    <a:pt x="39117" y="33442"/>
                  </a:lnTo>
                  <a:lnTo>
                    <a:pt x="40620" y="33219"/>
                  </a:lnTo>
                  <a:lnTo>
                    <a:pt x="42066" y="32885"/>
                  </a:lnTo>
                  <a:lnTo>
                    <a:pt x="43457" y="32607"/>
                  </a:lnTo>
                  <a:lnTo>
                    <a:pt x="44849" y="32217"/>
                  </a:lnTo>
                  <a:lnTo>
                    <a:pt x="46184" y="31828"/>
                  </a:lnTo>
                  <a:lnTo>
                    <a:pt x="47519" y="31383"/>
                  </a:lnTo>
                  <a:lnTo>
                    <a:pt x="48743" y="30938"/>
                  </a:lnTo>
                  <a:lnTo>
                    <a:pt x="49968" y="30437"/>
                  </a:lnTo>
                  <a:lnTo>
                    <a:pt x="51136" y="29880"/>
                  </a:lnTo>
                  <a:lnTo>
                    <a:pt x="52305" y="29324"/>
                  </a:lnTo>
                  <a:lnTo>
                    <a:pt x="53362" y="28712"/>
                  </a:lnTo>
                  <a:lnTo>
                    <a:pt x="54419" y="28100"/>
                  </a:lnTo>
                  <a:lnTo>
                    <a:pt x="55365" y="27432"/>
                  </a:lnTo>
                  <a:lnTo>
                    <a:pt x="56311" y="26764"/>
                  </a:lnTo>
                  <a:lnTo>
                    <a:pt x="57145" y="26041"/>
                  </a:lnTo>
                  <a:lnTo>
                    <a:pt x="57980" y="25318"/>
                  </a:lnTo>
                  <a:lnTo>
                    <a:pt x="58703" y="24539"/>
                  </a:lnTo>
                  <a:lnTo>
                    <a:pt x="59427" y="23760"/>
                  </a:lnTo>
                  <a:lnTo>
                    <a:pt x="60039" y="22981"/>
                  </a:lnTo>
                  <a:lnTo>
                    <a:pt x="60595" y="22146"/>
                  </a:lnTo>
                  <a:lnTo>
                    <a:pt x="61040" y="21312"/>
                  </a:lnTo>
                  <a:lnTo>
                    <a:pt x="61486" y="20477"/>
                  </a:lnTo>
                  <a:lnTo>
                    <a:pt x="61819" y="19587"/>
                  </a:lnTo>
                  <a:lnTo>
                    <a:pt x="62098" y="18696"/>
                  </a:lnTo>
                  <a:lnTo>
                    <a:pt x="62265" y="17806"/>
                  </a:lnTo>
                  <a:lnTo>
                    <a:pt x="62376" y="16860"/>
                  </a:lnTo>
                  <a:lnTo>
                    <a:pt x="62432" y="15914"/>
                  </a:lnTo>
                  <a:lnTo>
                    <a:pt x="62432" y="15914"/>
                  </a:lnTo>
                  <a:lnTo>
                    <a:pt x="62376" y="15024"/>
                  </a:lnTo>
                  <a:lnTo>
                    <a:pt x="62265" y="14078"/>
                  </a:lnTo>
                  <a:lnTo>
                    <a:pt x="62042" y="13188"/>
                  </a:lnTo>
                  <a:lnTo>
                    <a:pt x="61764" y="12297"/>
                  </a:lnTo>
                  <a:lnTo>
                    <a:pt x="61430" y="11407"/>
                  </a:lnTo>
                  <a:lnTo>
                    <a:pt x="60985" y="10572"/>
                  </a:lnTo>
                  <a:lnTo>
                    <a:pt x="60484" y="9738"/>
                  </a:lnTo>
                  <a:lnTo>
                    <a:pt x="59928" y="8903"/>
                  </a:lnTo>
                  <a:lnTo>
                    <a:pt x="59316" y="8069"/>
                  </a:lnTo>
                  <a:lnTo>
                    <a:pt x="58592" y="7290"/>
                  </a:lnTo>
                  <a:lnTo>
                    <a:pt x="57869" y="6566"/>
                  </a:lnTo>
                  <a:lnTo>
                    <a:pt x="57034" y="5843"/>
                  </a:lnTo>
                  <a:lnTo>
                    <a:pt x="56144" y="5120"/>
                  </a:lnTo>
                  <a:lnTo>
                    <a:pt x="55254" y="4452"/>
                  </a:lnTo>
                  <a:lnTo>
                    <a:pt x="54252" y="3784"/>
                  </a:lnTo>
                  <a:lnTo>
                    <a:pt x="53195" y="3116"/>
                  </a:lnTo>
                  <a:lnTo>
                    <a:pt x="53195" y="3116"/>
                  </a:lnTo>
                  <a:lnTo>
                    <a:pt x="51526" y="2226"/>
                  </a:lnTo>
                  <a:lnTo>
                    <a:pt x="49745" y="1447"/>
                  </a:lnTo>
                  <a:lnTo>
                    <a:pt x="47909" y="668"/>
                  </a:lnTo>
                  <a:lnTo>
                    <a:pt x="4590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" name="Google Shape;17387;p84">
              <a:extLst>
                <a:ext uri="{FF2B5EF4-FFF2-40B4-BE49-F238E27FC236}">
                  <a16:creationId xmlns:a16="http://schemas.microsoft.com/office/drawing/2014/main" id="{E9B5C0BA-33D4-9D95-13A4-A305F6C26EFC}"/>
                </a:ext>
              </a:extLst>
            </p:cNvPr>
            <p:cNvSpPr/>
            <p:nvPr/>
          </p:nvSpPr>
          <p:spPr>
            <a:xfrm>
              <a:off x="1911200" y="4523975"/>
              <a:ext cx="1016875" cy="219825"/>
            </a:xfrm>
            <a:custGeom>
              <a:avLst/>
              <a:gdLst/>
              <a:ahLst/>
              <a:cxnLst/>
              <a:rect l="l" t="t" r="r" b="b"/>
              <a:pathLst>
                <a:path w="40675" h="8793" extrusionOk="0">
                  <a:moveTo>
                    <a:pt x="32273" y="1"/>
                  </a:moveTo>
                  <a:lnTo>
                    <a:pt x="30047" y="724"/>
                  </a:lnTo>
                  <a:lnTo>
                    <a:pt x="27710" y="1336"/>
                  </a:lnTo>
                  <a:lnTo>
                    <a:pt x="25317" y="1893"/>
                  </a:lnTo>
                  <a:lnTo>
                    <a:pt x="22869" y="2338"/>
                  </a:lnTo>
                  <a:lnTo>
                    <a:pt x="20310" y="2672"/>
                  </a:lnTo>
                  <a:lnTo>
                    <a:pt x="17750" y="2950"/>
                  </a:lnTo>
                  <a:lnTo>
                    <a:pt x="15079" y="3117"/>
                  </a:lnTo>
                  <a:lnTo>
                    <a:pt x="10071" y="3117"/>
                  </a:lnTo>
                  <a:lnTo>
                    <a:pt x="7790" y="3006"/>
                  </a:lnTo>
                  <a:lnTo>
                    <a:pt x="6622" y="3451"/>
                  </a:lnTo>
                  <a:lnTo>
                    <a:pt x="5564" y="4007"/>
                  </a:lnTo>
                  <a:lnTo>
                    <a:pt x="4507" y="4564"/>
                  </a:lnTo>
                  <a:lnTo>
                    <a:pt x="3506" y="5120"/>
                  </a:lnTo>
                  <a:lnTo>
                    <a:pt x="2560" y="5732"/>
                  </a:lnTo>
                  <a:lnTo>
                    <a:pt x="1669" y="6344"/>
                  </a:lnTo>
                  <a:lnTo>
                    <a:pt x="779" y="6956"/>
                  </a:lnTo>
                  <a:lnTo>
                    <a:pt x="0" y="7624"/>
                  </a:lnTo>
                  <a:lnTo>
                    <a:pt x="1447" y="7902"/>
                  </a:lnTo>
                  <a:lnTo>
                    <a:pt x="2949" y="8125"/>
                  </a:lnTo>
                  <a:lnTo>
                    <a:pt x="4451" y="8347"/>
                  </a:lnTo>
                  <a:lnTo>
                    <a:pt x="6009" y="8514"/>
                  </a:lnTo>
                  <a:lnTo>
                    <a:pt x="7567" y="8625"/>
                  </a:lnTo>
                  <a:lnTo>
                    <a:pt x="9181" y="8737"/>
                  </a:lnTo>
                  <a:lnTo>
                    <a:pt x="10739" y="8792"/>
                  </a:lnTo>
                  <a:lnTo>
                    <a:pt x="14467" y="8792"/>
                  </a:lnTo>
                  <a:lnTo>
                    <a:pt x="16470" y="8681"/>
                  </a:lnTo>
                  <a:lnTo>
                    <a:pt x="18529" y="8514"/>
                  </a:lnTo>
                  <a:lnTo>
                    <a:pt x="20477" y="8292"/>
                  </a:lnTo>
                  <a:lnTo>
                    <a:pt x="22424" y="8069"/>
                  </a:lnTo>
                  <a:lnTo>
                    <a:pt x="24371" y="7735"/>
                  </a:lnTo>
                  <a:lnTo>
                    <a:pt x="26208" y="7346"/>
                  </a:lnTo>
                  <a:lnTo>
                    <a:pt x="28044" y="6901"/>
                  </a:lnTo>
                  <a:lnTo>
                    <a:pt x="29824" y="6455"/>
                  </a:lnTo>
                  <a:lnTo>
                    <a:pt x="31549" y="5899"/>
                  </a:lnTo>
                  <a:lnTo>
                    <a:pt x="33219" y="5343"/>
                  </a:lnTo>
                  <a:lnTo>
                    <a:pt x="34832" y="4730"/>
                  </a:lnTo>
                  <a:lnTo>
                    <a:pt x="36390" y="4063"/>
                  </a:lnTo>
                  <a:lnTo>
                    <a:pt x="37893" y="3339"/>
                  </a:lnTo>
                  <a:lnTo>
                    <a:pt x="39339" y="2560"/>
                  </a:lnTo>
                  <a:lnTo>
                    <a:pt x="40675" y="1781"/>
                  </a:lnTo>
                  <a:lnTo>
                    <a:pt x="38672" y="1225"/>
                  </a:lnTo>
                  <a:lnTo>
                    <a:pt x="36613" y="724"/>
                  </a:lnTo>
                  <a:lnTo>
                    <a:pt x="34498" y="335"/>
                  </a:lnTo>
                  <a:lnTo>
                    <a:pt x="32273" y="1"/>
                  </a:lnTo>
                  <a:close/>
                </a:path>
              </a:pathLst>
            </a:custGeom>
            <a:solidFill>
              <a:srgbClr val="B9985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" name="Google Shape;17388;p84">
              <a:extLst>
                <a:ext uri="{FF2B5EF4-FFF2-40B4-BE49-F238E27FC236}">
                  <a16:creationId xmlns:a16="http://schemas.microsoft.com/office/drawing/2014/main" id="{750A8149-B23C-7C7A-BE47-5DA01BE314D3}"/>
                </a:ext>
              </a:extLst>
            </p:cNvPr>
            <p:cNvSpPr/>
            <p:nvPr/>
          </p:nvSpPr>
          <p:spPr>
            <a:xfrm>
              <a:off x="1911200" y="4523975"/>
              <a:ext cx="1016875" cy="219825"/>
            </a:xfrm>
            <a:custGeom>
              <a:avLst/>
              <a:gdLst/>
              <a:ahLst/>
              <a:cxnLst/>
              <a:rect l="l" t="t" r="r" b="b"/>
              <a:pathLst>
                <a:path w="40675" h="8793" fill="none" extrusionOk="0">
                  <a:moveTo>
                    <a:pt x="32273" y="1"/>
                  </a:moveTo>
                  <a:lnTo>
                    <a:pt x="32273" y="1"/>
                  </a:lnTo>
                  <a:lnTo>
                    <a:pt x="30047" y="724"/>
                  </a:lnTo>
                  <a:lnTo>
                    <a:pt x="27710" y="1336"/>
                  </a:lnTo>
                  <a:lnTo>
                    <a:pt x="25317" y="1893"/>
                  </a:lnTo>
                  <a:lnTo>
                    <a:pt x="22869" y="2338"/>
                  </a:lnTo>
                  <a:lnTo>
                    <a:pt x="20310" y="2672"/>
                  </a:lnTo>
                  <a:lnTo>
                    <a:pt x="17750" y="2950"/>
                  </a:lnTo>
                  <a:lnTo>
                    <a:pt x="15079" y="3117"/>
                  </a:lnTo>
                  <a:lnTo>
                    <a:pt x="12408" y="3117"/>
                  </a:lnTo>
                  <a:lnTo>
                    <a:pt x="12408" y="3117"/>
                  </a:lnTo>
                  <a:lnTo>
                    <a:pt x="10071" y="3117"/>
                  </a:lnTo>
                  <a:lnTo>
                    <a:pt x="7790" y="3006"/>
                  </a:lnTo>
                  <a:lnTo>
                    <a:pt x="7790" y="3006"/>
                  </a:lnTo>
                  <a:lnTo>
                    <a:pt x="6622" y="3451"/>
                  </a:lnTo>
                  <a:lnTo>
                    <a:pt x="5564" y="4007"/>
                  </a:lnTo>
                  <a:lnTo>
                    <a:pt x="4507" y="4564"/>
                  </a:lnTo>
                  <a:lnTo>
                    <a:pt x="3506" y="5120"/>
                  </a:lnTo>
                  <a:lnTo>
                    <a:pt x="2560" y="5732"/>
                  </a:lnTo>
                  <a:lnTo>
                    <a:pt x="1669" y="6344"/>
                  </a:lnTo>
                  <a:lnTo>
                    <a:pt x="779" y="6956"/>
                  </a:lnTo>
                  <a:lnTo>
                    <a:pt x="0" y="7624"/>
                  </a:lnTo>
                  <a:lnTo>
                    <a:pt x="0" y="7624"/>
                  </a:lnTo>
                  <a:lnTo>
                    <a:pt x="1447" y="7902"/>
                  </a:lnTo>
                  <a:lnTo>
                    <a:pt x="2949" y="8125"/>
                  </a:lnTo>
                  <a:lnTo>
                    <a:pt x="4451" y="8347"/>
                  </a:lnTo>
                  <a:lnTo>
                    <a:pt x="6009" y="8514"/>
                  </a:lnTo>
                  <a:lnTo>
                    <a:pt x="7567" y="8625"/>
                  </a:lnTo>
                  <a:lnTo>
                    <a:pt x="9181" y="8737"/>
                  </a:lnTo>
                  <a:lnTo>
                    <a:pt x="10739" y="8792"/>
                  </a:lnTo>
                  <a:lnTo>
                    <a:pt x="12353" y="8792"/>
                  </a:lnTo>
                  <a:lnTo>
                    <a:pt x="12353" y="8792"/>
                  </a:lnTo>
                  <a:lnTo>
                    <a:pt x="14467" y="8792"/>
                  </a:lnTo>
                  <a:lnTo>
                    <a:pt x="16470" y="8681"/>
                  </a:lnTo>
                  <a:lnTo>
                    <a:pt x="18529" y="8514"/>
                  </a:lnTo>
                  <a:lnTo>
                    <a:pt x="20477" y="8292"/>
                  </a:lnTo>
                  <a:lnTo>
                    <a:pt x="22424" y="8069"/>
                  </a:lnTo>
                  <a:lnTo>
                    <a:pt x="24371" y="7735"/>
                  </a:lnTo>
                  <a:lnTo>
                    <a:pt x="26208" y="7346"/>
                  </a:lnTo>
                  <a:lnTo>
                    <a:pt x="28044" y="6901"/>
                  </a:lnTo>
                  <a:lnTo>
                    <a:pt x="29824" y="6455"/>
                  </a:lnTo>
                  <a:lnTo>
                    <a:pt x="31549" y="5899"/>
                  </a:lnTo>
                  <a:lnTo>
                    <a:pt x="33219" y="5343"/>
                  </a:lnTo>
                  <a:lnTo>
                    <a:pt x="34832" y="4730"/>
                  </a:lnTo>
                  <a:lnTo>
                    <a:pt x="36390" y="4063"/>
                  </a:lnTo>
                  <a:lnTo>
                    <a:pt x="37893" y="3339"/>
                  </a:lnTo>
                  <a:lnTo>
                    <a:pt x="39339" y="2560"/>
                  </a:lnTo>
                  <a:lnTo>
                    <a:pt x="40675" y="1781"/>
                  </a:lnTo>
                  <a:lnTo>
                    <a:pt x="40675" y="1781"/>
                  </a:lnTo>
                  <a:lnTo>
                    <a:pt x="38672" y="1225"/>
                  </a:lnTo>
                  <a:lnTo>
                    <a:pt x="36613" y="724"/>
                  </a:lnTo>
                  <a:lnTo>
                    <a:pt x="34498" y="335"/>
                  </a:lnTo>
                  <a:lnTo>
                    <a:pt x="32273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" name="Google Shape;17389;p84">
              <a:extLst>
                <a:ext uri="{FF2B5EF4-FFF2-40B4-BE49-F238E27FC236}">
                  <a16:creationId xmlns:a16="http://schemas.microsoft.com/office/drawing/2014/main" id="{E9D570F5-D169-0F78-9052-AA949C6BBEB9}"/>
                </a:ext>
              </a:extLst>
            </p:cNvPr>
            <p:cNvSpPr/>
            <p:nvPr/>
          </p:nvSpPr>
          <p:spPr>
            <a:xfrm>
              <a:off x="2105950" y="4514250"/>
              <a:ext cx="612075" cy="87650"/>
            </a:xfrm>
            <a:custGeom>
              <a:avLst/>
              <a:gdLst/>
              <a:ahLst/>
              <a:cxnLst/>
              <a:rect l="l" t="t" r="r" b="b"/>
              <a:pathLst>
                <a:path w="24483" h="3506" extrusionOk="0">
                  <a:moveTo>
                    <a:pt x="18084" y="0"/>
                  </a:moveTo>
                  <a:lnTo>
                    <a:pt x="15580" y="56"/>
                  </a:lnTo>
                  <a:lnTo>
                    <a:pt x="13132" y="223"/>
                  </a:lnTo>
                  <a:lnTo>
                    <a:pt x="10739" y="501"/>
                  </a:lnTo>
                  <a:lnTo>
                    <a:pt x="8402" y="891"/>
                  </a:lnTo>
                  <a:lnTo>
                    <a:pt x="6176" y="1391"/>
                  </a:lnTo>
                  <a:lnTo>
                    <a:pt x="4006" y="1948"/>
                  </a:lnTo>
                  <a:lnTo>
                    <a:pt x="1948" y="2616"/>
                  </a:lnTo>
                  <a:lnTo>
                    <a:pt x="0" y="3395"/>
                  </a:lnTo>
                  <a:lnTo>
                    <a:pt x="2281" y="3506"/>
                  </a:lnTo>
                  <a:lnTo>
                    <a:pt x="7289" y="3506"/>
                  </a:lnTo>
                  <a:lnTo>
                    <a:pt x="9960" y="3339"/>
                  </a:lnTo>
                  <a:lnTo>
                    <a:pt x="12520" y="3061"/>
                  </a:lnTo>
                  <a:lnTo>
                    <a:pt x="15079" y="2727"/>
                  </a:lnTo>
                  <a:lnTo>
                    <a:pt x="17527" y="2282"/>
                  </a:lnTo>
                  <a:lnTo>
                    <a:pt x="19920" y="1725"/>
                  </a:lnTo>
                  <a:lnTo>
                    <a:pt x="22257" y="1113"/>
                  </a:lnTo>
                  <a:lnTo>
                    <a:pt x="24483" y="390"/>
                  </a:lnTo>
                  <a:lnTo>
                    <a:pt x="22925" y="223"/>
                  </a:lnTo>
                  <a:lnTo>
                    <a:pt x="21311" y="112"/>
                  </a:lnTo>
                  <a:lnTo>
                    <a:pt x="19697" y="56"/>
                  </a:lnTo>
                  <a:lnTo>
                    <a:pt x="18084" y="0"/>
                  </a:lnTo>
                  <a:close/>
                </a:path>
              </a:pathLst>
            </a:custGeom>
            <a:solidFill>
              <a:srgbClr val="F7B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" name="Google Shape;17390;p84">
              <a:extLst>
                <a:ext uri="{FF2B5EF4-FFF2-40B4-BE49-F238E27FC236}">
                  <a16:creationId xmlns:a16="http://schemas.microsoft.com/office/drawing/2014/main" id="{72497C66-76DF-8245-C02B-8245937C9403}"/>
                </a:ext>
              </a:extLst>
            </p:cNvPr>
            <p:cNvSpPr/>
            <p:nvPr/>
          </p:nvSpPr>
          <p:spPr>
            <a:xfrm>
              <a:off x="2105950" y="4514250"/>
              <a:ext cx="612075" cy="87650"/>
            </a:xfrm>
            <a:custGeom>
              <a:avLst/>
              <a:gdLst/>
              <a:ahLst/>
              <a:cxnLst/>
              <a:rect l="l" t="t" r="r" b="b"/>
              <a:pathLst>
                <a:path w="24483" h="3506" fill="none" extrusionOk="0">
                  <a:moveTo>
                    <a:pt x="18084" y="0"/>
                  </a:moveTo>
                  <a:lnTo>
                    <a:pt x="18084" y="0"/>
                  </a:lnTo>
                  <a:lnTo>
                    <a:pt x="15580" y="56"/>
                  </a:lnTo>
                  <a:lnTo>
                    <a:pt x="13132" y="223"/>
                  </a:lnTo>
                  <a:lnTo>
                    <a:pt x="10739" y="501"/>
                  </a:lnTo>
                  <a:lnTo>
                    <a:pt x="8402" y="891"/>
                  </a:lnTo>
                  <a:lnTo>
                    <a:pt x="6176" y="1391"/>
                  </a:lnTo>
                  <a:lnTo>
                    <a:pt x="4006" y="1948"/>
                  </a:lnTo>
                  <a:lnTo>
                    <a:pt x="1948" y="2616"/>
                  </a:lnTo>
                  <a:lnTo>
                    <a:pt x="0" y="3395"/>
                  </a:lnTo>
                  <a:lnTo>
                    <a:pt x="0" y="3395"/>
                  </a:lnTo>
                  <a:lnTo>
                    <a:pt x="2281" y="3506"/>
                  </a:lnTo>
                  <a:lnTo>
                    <a:pt x="4618" y="3506"/>
                  </a:lnTo>
                  <a:lnTo>
                    <a:pt x="4618" y="3506"/>
                  </a:lnTo>
                  <a:lnTo>
                    <a:pt x="7289" y="3506"/>
                  </a:lnTo>
                  <a:lnTo>
                    <a:pt x="9960" y="3339"/>
                  </a:lnTo>
                  <a:lnTo>
                    <a:pt x="12520" y="3061"/>
                  </a:lnTo>
                  <a:lnTo>
                    <a:pt x="15079" y="2727"/>
                  </a:lnTo>
                  <a:lnTo>
                    <a:pt x="17527" y="2282"/>
                  </a:lnTo>
                  <a:lnTo>
                    <a:pt x="19920" y="1725"/>
                  </a:lnTo>
                  <a:lnTo>
                    <a:pt x="22257" y="1113"/>
                  </a:lnTo>
                  <a:lnTo>
                    <a:pt x="24483" y="390"/>
                  </a:lnTo>
                  <a:lnTo>
                    <a:pt x="24483" y="390"/>
                  </a:lnTo>
                  <a:lnTo>
                    <a:pt x="22925" y="223"/>
                  </a:lnTo>
                  <a:lnTo>
                    <a:pt x="21311" y="112"/>
                  </a:lnTo>
                  <a:lnTo>
                    <a:pt x="19697" y="56"/>
                  </a:lnTo>
                  <a:lnTo>
                    <a:pt x="1808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17391;p84">
              <a:extLst>
                <a:ext uri="{FF2B5EF4-FFF2-40B4-BE49-F238E27FC236}">
                  <a16:creationId xmlns:a16="http://schemas.microsoft.com/office/drawing/2014/main" id="{E051E765-3606-C403-2F6B-F9B57E7127D8}"/>
                </a:ext>
              </a:extLst>
            </p:cNvPr>
            <p:cNvSpPr/>
            <p:nvPr/>
          </p:nvSpPr>
          <p:spPr>
            <a:xfrm>
              <a:off x="1772075" y="4313925"/>
              <a:ext cx="1560800" cy="904225"/>
            </a:xfrm>
            <a:custGeom>
              <a:avLst/>
              <a:gdLst/>
              <a:ahLst/>
              <a:cxnLst/>
              <a:rect l="l" t="t" r="r" b="b"/>
              <a:pathLst>
                <a:path w="62432" h="36169" extrusionOk="0">
                  <a:moveTo>
                    <a:pt x="31105" y="1"/>
                  </a:moveTo>
                  <a:lnTo>
                    <a:pt x="29491" y="56"/>
                  </a:lnTo>
                  <a:lnTo>
                    <a:pt x="27933" y="112"/>
                  </a:lnTo>
                  <a:lnTo>
                    <a:pt x="26375" y="223"/>
                  </a:lnTo>
                  <a:lnTo>
                    <a:pt x="24817" y="390"/>
                  </a:lnTo>
                  <a:lnTo>
                    <a:pt x="23315" y="557"/>
                  </a:lnTo>
                  <a:lnTo>
                    <a:pt x="21868" y="835"/>
                  </a:lnTo>
                  <a:lnTo>
                    <a:pt x="20422" y="1114"/>
                  </a:lnTo>
                  <a:lnTo>
                    <a:pt x="18975" y="1448"/>
                  </a:lnTo>
                  <a:lnTo>
                    <a:pt x="17584" y="1781"/>
                  </a:lnTo>
                  <a:lnTo>
                    <a:pt x="16248" y="2171"/>
                  </a:lnTo>
                  <a:lnTo>
                    <a:pt x="14969" y="2616"/>
                  </a:lnTo>
                  <a:lnTo>
                    <a:pt x="13689" y="3117"/>
                  </a:lnTo>
                  <a:lnTo>
                    <a:pt x="12465" y="3618"/>
                  </a:lnTo>
                  <a:lnTo>
                    <a:pt x="11296" y="4118"/>
                  </a:lnTo>
                  <a:lnTo>
                    <a:pt x="10183" y="4730"/>
                  </a:lnTo>
                  <a:lnTo>
                    <a:pt x="9071" y="5287"/>
                  </a:lnTo>
                  <a:lnTo>
                    <a:pt x="8069" y="5955"/>
                  </a:lnTo>
                  <a:lnTo>
                    <a:pt x="7067" y="6567"/>
                  </a:lnTo>
                  <a:lnTo>
                    <a:pt x="6177" y="7290"/>
                  </a:lnTo>
                  <a:lnTo>
                    <a:pt x="5287" y="8013"/>
                  </a:lnTo>
                  <a:lnTo>
                    <a:pt x="4452" y="8737"/>
                  </a:lnTo>
                  <a:lnTo>
                    <a:pt x="3729" y="9460"/>
                  </a:lnTo>
                  <a:lnTo>
                    <a:pt x="3061" y="10239"/>
                  </a:lnTo>
                  <a:lnTo>
                    <a:pt x="2449" y="11074"/>
                  </a:lnTo>
                  <a:lnTo>
                    <a:pt x="1893" y="11853"/>
                  </a:lnTo>
                  <a:lnTo>
                    <a:pt x="1392" y="12743"/>
                  </a:lnTo>
                  <a:lnTo>
                    <a:pt x="947" y="13578"/>
                  </a:lnTo>
                  <a:lnTo>
                    <a:pt x="613" y="14468"/>
                  </a:lnTo>
                  <a:lnTo>
                    <a:pt x="335" y="15358"/>
                  </a:lnTo>
                  <a:lnTo>
                    <a:pt x="168" y="16248"/>
                  </a:lnTo>
                  <a:lnTo>
                    <a:pt x="57" y="17139"/>
                  </a:lnTo>
                  <a:lnTo>
                    <a:pt x="1" y="18085"/>
                  </a:lnTo>
                  <a:lnTo>
                    <a:pt x="57" y="19031"/>
                  </a:lnTo>
                  <a:lnTo>
                    <a:pt x="168" y="19921"/>
                  </a:lnTo>
                  <a:lnTo>
                    <a:pt x="390" y="20867"/>
                  </a:lnTo>
                  <a:lnTo>
                    <a:pt x="669" y="21757"/>
                  </a:lnTo>
                  <a:lnTo>
                    <a:pt x="1002" y="22592"/>
                  </a:lnTo>
                  <a:lnTo>
                    <a:pt x="1448" y="23482"/>
                  </a:lnTo>
                  <a:lnTo>
                    <a:pt x="1948" y="24317"/>
                  </a:lnTo>
                  <a:lnTo>
                    <a:pt x="2505" y="25151"/>
                  </a:lnTo>
                  <a:lnTo>
                    <a:pt x="3117" y="25930"/>
                  </a:lnTo>
                  <a:lnTo>
                    <a:pt x="3840" y="26709"/>
                  </a:lnTo>
                  <a:lnTo>
                    <a:pt x="4564" y="27488"/>
                  </a:lnTo>
                  <a:lnTo>
                    <a:pt x="5398" y="28212"/>
                  </a:lnTo>
                  <a:lnTo>
                    <a:pt x="6288" y="28935"/>
                  </a:lnTo>
                  <a:lnTo>
                    <a:pt x="7234" y="29603"/>
                  </a:lnTo>
                  <a:lnTo>
                    <a:pt x="8180" y="30270"/>
                  </a:lnTo>
                  <a:lnTo>
                    <a:pt x="9238" y="30882"/>
                  </a:lnTo>
                  <a:lnTo>
                    <a:pt x="10295" y="31495"/>
                  </a:lnTo>
                  <a:lnTo>
                    <a:pt x="11463" y="32051"/>
                  </a:lnTo>
                  <a:lnTo>
                    <a:pt x="12632" y="32607"/>
                  </a:lnTo>
                  <a:lnTo>
                    <a:pt x="13856" y="33108"/>
                  </a:lnTo>
                  <a:lnTo>
                    <a:pt x="15136" y="33553"/>
                  </a:lnTo>
                  <a:lnTo>
                    <a:pt x="16415" y="33998"/>
                  </a:lnTo>
                  <a:lnTo>
                    <a:pt x="17806" y="34388"/>
                  </a:lnTo>
                  <a:lnTo>
                    <a:pt x="19197" y="34777"/>
                  </a:lnTo>
                  <a:lnTo>
                    <a:pt x="20589" y="35056"/>
                  </a:lnTo>
                  <a:lnTo>
                    <a:pt x="22035" y="35389"/>
                  </a:lnTo>
                  <a:lnTo>
                    <a:pt x="23538" y="35612"/>
                  </a:lnTo>
                  <a:lnTo>
                    <a:pt x="25040" y="35835"/>
                  </a:lnTo>
                  <a:lnTo>
                    <a:pt x="26598" y="35946"/>
                  </a:lnTo>
                  <a:lnTo>
                    <a:pt x="28156" y="36057"/>
                  </a:lnTo>
                  <a:lnTo>
                    <a:pt x="29714" y="36168"/>
                  </a:lnTo>
                  <a:lnTo>
                    <a:pt x="32941" y="36168"/>
                  </a:lnTo>
                  <a:lnTo>
                    <a:pt x="34555" y="36057"/>
                  </a:lnTo>
                  <a:lnTo>
                    <a:pt x="36113" y="35946"/>
                  </a:lnTo>
                  <a:lnTo>
                    <a:pt x="37615" y="35835"/>
                  </a:lnTo>
                  <a:lnTo>
                    <a:pt x="39117" y="35612"/>
                  </a:lnTo>
                  <a:lnTo>
                    <a:pt x="40620" y="35389"/>
                  </a:lnTo>
                  <a:lnTo>
                    <a:pt x="42067" y="35056"/>
                  </a:lnTo>
                  <a:lnTo>
                    <a:pt x="43458" y="34777"/>
                  </a:lnTo>
                  <a:lnTo>
                    <a:pt x="44849" y="34388"/>
                  </a:lnTo>
                  <a:lnTo>
                    <a:pt x="46184" y="33998"/>
                  </a:lnTo>
                  <a:lnTo>
                    <a:pt x="47519" y="33553"/>
                  </a:lnTo>
                  <a:lnTo>
                    <a:pt x="48744" y="33108"/>
                  </a:lnTo>
                  <a:lnTo>
                    <a:pt x="49968" y="32607"/>
                  </a:lnTo>
                  <a:lnTo>
                    <a:pt x="51192" y="32051"/>
                  </a:lnTo>
                  <a:lnTo>
                    <a:pt x="52305" y="31495"/>
                  </a:lnTo>
                  <a:lnTo>
                    <a:pt x="53362" y="30882"/>
                  </a:lnTo>
                  <a:lnTo>
                    <a:pt x="54419" y="30270"/>
                  </a:lnTo>
                  <a:lnTo>
                    <a:pt x="55365" y="29603"/>
                  </a:lnTo>
                  <a:lnTo>
                    <a:pt x="56311" y="28935"/>
                  </a:lnTo>
                  <a:lnTo>
                    <a:pt x="57146" y="28212"/>
                  </a:lnTo>
                  <a:lnTo>
                    <a:pt x="57980" y="27488"/>
                  </a:lnTo>
                  <a:lnTo>
                    <a:pt x="58704" y="26709"/>
                  </a:lnTo>
                  <a:lnTo>
                    <a:pt x="59427" y="25930"/>
                  </a:lnTo>
                  <a:lnTo>
                    <a:pt x="60039" y="25151"/>
                  </a:lnTo>
                  <a:lnTo>
                    <a:pt x="60595" y="24317"/>
                  </a:lnTo>
                  <a:lnTo>
                    <a:pt x="61096" y="23482"/>
                  </a:lnTo>
                  <a:lnTo>
                    <a:pt x="61486" y="22592"/>
                  </a:lnTo>
                  <a:lnTo>
                    <a:pt x="61820" y="21757"/>
                  </a:lnTo>
                  <a:lnTo>
                    <a:pt x="62098" y="20867"/>
                  </a:lnTo>
                  <a:lnTo>
                    <a:pt x="62320" y="19921"/>
                  </a:lnTo>
                  <a:lnTo>
                    <a:pt x="62432" y="19031"/>
                  </a:lnTo>
                  <a:lnTo>
                    <a:pt x="62432" y="18085"/>
                  </a:lnTo>
                  <a:lnTo>
                    <a:pt x="62376" y="17194"/>
                  </a:lnTo>
                  <a:lnTo>
                    <a:pt x="62265" y="16248"/>
                  </a:lnTo>
                  <a:lnTo>
                    <a:pt x="62042" y="15358"/>
                  </a:lnTo>
                  <a:lnTo>
                    <a:pt x="61764" y="14468"/>
                  </a:lnTo>
                  <a:lnTo>
                    <a:pt x="61430" y="13578"/>
                  </a:lnTo>
                  <a:lnTo>
                    <a:pt x="60985" y="12743"/>
                  </a:lnTo>
                  <a:lnTo>
                    <a:pt x="60484" y="11853"/>
                  </a:lnTo>
                  <a:lnTo>
                    <a:pt x="59928" y="11074"/>
                  </a:lnTo>
                  <a:lnTo>
                    <a:pt x="59316" y="10239"/>
                  </a:lnTo>
                  <a:lnTo>
                    <a:pt x="58648" y="9460"/>
                  </a:lnTo>
                  <a:lnTo>
                    <a:pt x="57869" y="8737"/>
                  </a:lnTo>
                  <a:lnTo>
                    <a:pt x="57034" y="8013"/>
                  </a:lnTo>
                  <a:lnTo>
                    <a:pt x="56200" y="7290"/>
                  </a:lnTo>
                  <a:lnTo>
                    <a:pt x="55254" y="6622"/>
                  </a:lnTo>
                  <a:lnTo>
                    <a:pt x="54252" y="5955"/>
                  </a:lnTo>
                  <a:lnTo>
                    <a:pt x="53251" y="5287"/>
                  </a:lnTo>
                  <a:lnTo>
                    <a:pt x="52138" y="4730"/>
                  </a:lnTo>
                  <a:lnTo>
                    <a:pt x="51025" y="4118"/>
                  </a:lnTo>
                  <a:lnTo>
                    <a:pt x="49801" y="3618"/>
                  </a:lnTo>
                  <a:lnTo>
                    <a:pt x="48577" y="3117"/>
                  </a:lnTo>
                  <a:lnTo>
                    <a:pt x="47297" y="2616"/>
                  </a:lnTo>
                  <a:lnTo>
                    <a:pt x="46017" y="2171"/>
                  </a:lnTo>
                  <a:lnTo>
                    <a:pt x="44682" y="1781"/>
                  </a:lnTo>
                  <a:lnTo>
                    <a:pt x="43291" y="1448"/>
                  </a:lnTo>
                  <a:lnTo>
                    <a:pt x="41844" y="1114"/>
                  </a:lnTo>
                  <a:lnTo>
                    <a:pt x="40397" y="835"/>
                  </a:lnTo>
                  <a:lnTo>
                    <a:pt x="38951" y="557"/>
                  </a:lnTo>
                  <a:lnTo>
                    <a:pt x="37393" y="390"/>
                  </a:lnTo>
                  <a:lnTo>
                    <a:pt x="35890" y="223"/>
                  </a:lnTo>
                  <a:lnTo>
                    <a:pt x="34332" y="112"/>
                  </a:lnTo>
                  <a:lnTo>
                    <a:pt x="32719" y="56"/>
                  </a:lnTo>
                  <a:lnTo>
                    <a:pt x="31105" y="1"/>
                  </a:lnTo>
                  <a:close/>
                </a:path>
              </a:pathLst>
            </a:custGeom>
            <a:solidFill>
              <a:srgbClr val="FFF3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17392;p84">
              <a:extLst>
                <a:ext uri="{FF2B5EF4-FFF2-40B4-BE49-F238E27FC236}">
                  <a16:creationId xmlns:a16="http://schemas.microsoft.com/office/drawing/2014/main" id="{12FC2EDB-0325-0DB2-29CB-CE5AE80999ED}"/>
                </a:ext>
              </a:extLst>
            </p:cNvPr>
            <p:cNvSpPr/>
            <p:nvPr/>
          </p:nvSpPr>
          <p:spPr>
            <a:xfrm>
              <a:off x="1772075" y="4766025"/>
              <a:ext cx="1560800" cy="594025"/>
            </a:xfrm>
            <a:custGeom>
              <a:avLst/>
              <a:gdLst/>
              <a:ahLst/>
              <a:cxnLst/>
              <a:rect l="l" t="t" r="r" b="b"/>
              <a:pathLst>
                <a:path w="62432" h="23761" extrusionOk="0">
                  <a:moveTo>
                    <a:pt x="1" y="1"/>
                  </a:moveTo>
                  <a:lnTo>
                    <a:pt x="1" y="5676"/>
                  </a:lnTo>
                  <a:lnTo>
                    <a:pt x="57" y="6622"/>
                  </a:lnTo>
                  <a:lnTo>
                    <a:pt x="168" y="7512"/>
                  </a:lnTo>
                  <a:lnTo>
                    <a:pt x="390" y="8403"/>
                  </a:lnTo>
                  <a:lnTo>
                    <a:pt x="669" y="9293"/>
                  </a:lnTo>
                  <a:lnTo>
                    <a:pt x="1002" y="10183"/>
                  </a:lnTo>
                  <a:lnTo>
                    <a:pt x="1448" y="11018"/>
                  </a:lnTo>
                  <a:lnTo>
                    <a:pt x="1948" y="11853"/>
                  </a:lnTo>
                  <a:lnTo>
                    <a:pt x="2505" y="12687"/>
                  </a:lnTo>
                  <a:lnTo>
                    <a:pt x="3117" y="13522"/>
                  </a:lnTo>
                  <a:lnTo>
                    <a:pt x="3840" y="14301"/>
                  </a:lnTo>
                  <a:lnTo>
                    <a:pt x="4564" y="15024"/>
                  </a:lnTo>
                  <a:lnTo>
                    <a:pt x="5398" y="15747"/>
                  </a:lnTo>
                  <a:lnTo>
                    <a:pt x="6233" y="16471"/>
                  </a:lnTo>
                  <a:lnTo>
                    <a:pt x="7179" y="17139"/>
                  </a:lnTo>
                  <a:lnTo>
                    <a:pt x="8180" y="17806"/>
                  </a:lnTo>
                  <a:lnTo>
                    <a:pt x="9238" y="18474"/>
                  </a:lnTo>
                  <a:lnTo>
                    <a:pt x="10295" y="19030"/>
                  </a:lnTo>
                  <a:lnTo>
                    <a:pt x="11463" y="19642"/>
                  </a:lnTo>
                  <a:lnTo>
                    <a:pt x="12632" y="20143"/>
                  </a:lnTo>
                  <a:lnTo>
                    <a:pt x="13856" y="20644"/>
                  </a:lnTo>
                  <a:lnTo>
                    <a:pt x="15136" y="21145"/>
                  </a:lnTo>
                  <a:lnTo>
                    <a:pt x="16415" y="21590"/>
                  </a:lnTo>
                  <a:lnTo>
                    <a:pt x="17751" y="21979"/>
                  </a:lnTo>
                  <a:lnTo>
                    <a:pt x="19142" y="22313"/>
                  </a:lnTo>
                  <a:lnTo>
                    <a:pt x="20589" y="22647"/>
                  </a:lnTo>
                  <a:lnTo>
                    <a:pt x="22035" y="22925"/>
                  </a:lnTo>
                  <a:lnTo>
                    <a:pt x="23538" y="23204"/>
                  </a:lnTo>
                  <a:lnTo>
                    <a:pt x="25040" y="23371"/>
                  </a:lnTo>
                  <a:lnTo>
                    <a:pt x="26542" y="23537"/>
                  </a:lnTo>
                  <a:lnTo>
                    <a:pt x="28100" y="23649"/>
                  </a:lnTo>
                  <a:lnTo>
                    <a:pt x="29714" y="23704"/>
                  </a:lnTo>
                  <a:lnTo>
                    <a:pt x="31328" y="23760"/>
                  </a:lnTo>
                  <a:lnTo>
                    <a:pt x="32941" y="23704"/>
                  </a:lnTo>
                  <a:lnTo>
                    <a:pt x="34499" y="23649"/>
                  </a:lnTo>
                  <a:lnTo>
                    <a:pt x="36057" y="23537"/>
                  </a:lnTo>
                  <a:lnTo>
                    <a:pt x="37615" y="23371"/>
                  </a:lnTo>
                  <a:lnTo>
                    <a:pt x="39117" y="23204"/>
                  </a:lnTo>
                  <a:lnTo>
                    <a:pt x="40620" y="22925"/>
                  </a:lnTo>
                  <a:lnTo>
                    <a:pt x="42067" y="22647"/>
                  </a:lnTo>
                  <a:lnTo>
                    <a:pt x="43458" y="22313"/>
                  </a:lnTo>
                  <a:lnTo>
                    <a:pt x="44849" y="21979"/>
                  </a:lnTo>
                  <a:lnTo>
                    <a:pt x="46184" y="21590"/>
                  </a:lnTo>
                  <a:lnTo>
                    <a:pt x="47464" y="21145"/>
                  </a:lnTo>
                  <a:lnTo>
                    <a:pt x="48744" y="20644"/>
                  </a:lnTo>
                  <a:lnTo>
                    <a:pt x="49968" y="20143"/>
                  </a:lnTo>
                  <a:lnTo>
                    <a:pt x="51136" y="19642"/>
                  </a:lnTo>
                  <a:lnTo>
                    <a:pt x="52305" y="19030"/>
                  </a:lnTo>
                  <a:lnTo>
                    <a:pt x="53362" y="18474"/>
                  </a:lnTo>
                  <a:lnTo>
                    <a:pt x="54364" y="17806"/>
                  </a:lnTo>
                  <a:lnTo>
                    <a:pt x="55365" y="17194"/>
                  </a:lnTo>
                  <a:lnTo>
                    <a:pt x="56311" y="16471"/>
                  </a:lnTo>
                  <a:lnTo>
                    <a:pt x="57146" y="15803"/>
                  </a:lnTo>
                  <a:lnTo>
                    <a:pt x="57980" y="15024"/>
                  </a:lnTo>
                  <a:lnTo>
                    <a:pt x="58704" y="14301"/>
                  </a:lnTo>
                  <a:lnTo>
                    <a:pt x="59371" y="13522"/>
                  </a:lnTo>
                  <a:lnTo>
                    <a:pt x="60039" y="12687"/>
                  </a:lnTo>
                  <a:lnTo>
                    <a:pt x="60595" y="11908"/>
                  </a:lnTo>
                  <a:lnTo>
                    <a:pt x="61041" y="11074"/>
                  </a:lnTo>
                  <a:lnTo>
                    <a:pt x="61486" y="10183"/>
                  </a:lnTo>
                  <a:lnTo>
                    <a:pt x="61820" y="9293"/>
                  </a:lnTo>
                  <a:lnTo>
                    <a:pt x="62098" y="8403"/>
                  </a:lnTo>
                  <a:lnTo>
                    <a:pt x="62265" y="7512"/>
                  </a:lnTo>
                  <a:lnTo>
                    <a:pt x="62376" y="6622"/>
                  </a:lnTo>
                  <a:lnTo>
                    <a:pt x="62432" y="5676"/>
                  </a:lnTo>
                  <a:lnTo>
                    <a:pt x="62432" y="947"/>
                  </a:lnTo>
                  <a:lnTo>
                    <a:pt x="62320" y="1837"/>
                  </a:lnTo>
                  <a:lnTo>
                    <a:pt x="62098" y="2783"/>
                  </a:lnTo>
                  <a:lnTo>
                    <a:pt x="61820" y="3673"/>
                  </a:lnTo>
                  <a:lnTo>
                    <a:pt x="61486" y="4508"/>
                  </a:lnTo>
                  <a:lnTo>
                    <a:pt x="61096" y="5398"/>
                  </a:lnTo>
                  <a:lnTo>
                    <a:pt x="60595" y="6233"/>
                  </a:lnTo>
                  <a:lnTo>
                    <a:pt x="60039" y="7067"/>
                  </a:lnTo>
                  <a:lnTo>
                    <a:pt x="59427" y="7846"/>
                  </a:lnTo>
                  <a:lnTo>
                    <a:pt x="58704" y="8625"/>
                  </a:lnTo>
                  <a:lnTo>
                    <a:pt x="57980" y="9404"/>
                  </a:lnTo>
                  <a:lnTo>
                    <a:pt x="57146" y="10128"/>
                  </a:lnTo>
                  <a:lnTo>
                    <a:pt x="56311" y="10851"/>
                  </a:lnTo>
                  <a:lnTo>
                    <a:pt x="55365" y="11519"/>
                  </a:lnTo>
                  <a:lnTo>
                    <a:pt x="54419" y="12186"/>
                  </a:lnTo>
                  <a:lnTo>
                    <a:pt x="53362" y="12798"/>
                  </a:lnTo>
                  <a:lnTo>
                    <a:pt x="52305" y="13411"/>
                  </a:lnTo>
                  <a:lnTo>
                    <a:pt x="51192" y="13967"/>
                  </a:lnTo>
                  <a:lnTo>
                    <a:pt x="49968" y="14523"/>
                  </a:lnTo>
                  <a:lnTo>
                    <a:pt x="48744" y="15024"/>
                  </a:lnTo>
                  <a:lnTo>
                    <a:pt x="47519" y="15469"/>
                  </a:lnTo>
                  <a:lnTo>
                    <a:pt x="46184" y="15914"/>
                  </a:lnTo>
                  <a:lnTo>
                    <a:pt x="44849" y="16304"/>
                  </a:lnTo>
                  <a:lnTo>
                    <a:pt x="43458" y="16693"/>
                  </a:lnTo>
                  <a:lnTo>
                    <a:pt x="42067" y="16972"/>
                  </a:lnTo>
                  <a:lnTo>
                    <a:pt x="40620" y="17305"/>
                  </a:lnTo>
                  <a:lnTo>
                    <a:pt x="39117" y="17528"/>
                  </a:lnTo>
                  <a:lnTo>
                    <a:pt x="37615" y="17751"/>
                  </a:lnTo>
                  <a:lnTo>
                    <a:pt x="36113" y="17862"/>
                  </a:lnTo>
                  <a:lnTo>
                    <a:pt x="34555" y="17973"/>
                  </a:lnTo>
                  <a:lnTo>
                    <a:pt x="32941" y="18084"/>
                  </a:lnTo>
                  <a:lnTo>
                    <a:pt x="29714" y="18084"/>
                  </a:lnTo>
                  <a:lnTo>
                    <a:pt x="28156" y="17973"/>
                  </a:lnTo>
                  <a:lnTo>
                    <a:pt x="26598" y="17862"/>
                  </a:lnTo>
                  <a:lnTo>
                    <a:pt x="25040" y="17751"/>
                  </a:lnTo>
                  <a:lnTo>
                    <a:pt x="23538" y="17528"/>
                  </a:lnTo>
                  <a:lnTo>
                    <a:pt x="22035" y="17305"/>
                  </a:lnTo>
                  <a:lnTo>
                    <a:pt x="20589" y="16972"/>
                  </a:lnTo>
                  <a:lnTo>
                    <a:pt x="19197" y="16693"/>
                  </a:lnTo>
                  <a:lnTo>
                    <a:pt x="17806" y="16304"/>
                  </a:lnTo>
                  <a:lnTo>
                    <a:pt x="16415" y="15914"/>
                  </a:lnTo>
                  <a:lnTo>
                    <a:pt x="15136" y="15469"/>
                  </a:lnTo>
                  <a:lnTo>
                    <a:pt x="13856" y="15024"/>
                  </a:lnTo>
                  <a:lnTo>
                    <a:pt x="12632" y="14523"/>
                  </a:lnTo>
                  <a:lnTo>
                    <a:pt x="11463" y="13967"/>
                  </a:lnTo>
                  <a:lnTo>
                    <a:pt x="10295" y="13411"/>
                  </a:lnTo>
                  <a:lnTo>
                    <a:pt x="9238" y="12798"/>
                  </a:lnTo>
                  <a:lnTo>
                    <a:pt x="8180" y="12186"/>
                  </a:lnTo>
                  <a:lnTo>
                    <a:pt x="7234" y="11519"/>
                  </a:lnTo>
                  <a:lnTo>
                    <a:pt x="6288" y="10851"/>
                  </a:lnTo>
                  <a:lnTo>
                    <a:pt x="5398" y="10128"/>
                  </a:lnTo>
                  <a:lnTo>
                    <a:pt x="4564" y="9404"/>
                  </a:lnTo>
                  <a:lnTo>
                    <a:pt x="3840" y="8625"/>
                  </a:lnTo>
                  <a:lnTo>
                    <a:pt x="3117" y="7846"/>
                  </a:lnTo>
                  <a:lnTo>
                    <a:pt x="2505" y="7067"/>
                  </a:lnTo>
                  <a:lnTo>
                    <a:pt x="1948" y="6233"/>
                  </a:lnTo>
                  <a:lnTo>
                    <a:pt x="1448" y="5398"/>
                  </a:lnTo>
                  <a:lnTo>
                    <a:pt x="1002" y="4508"/>
                  </a:lnTo>
                  <a:lnTo>
                    <a:pt x="669" y="3673"/>
                  </a:lnTo>
                  <a:lnTo>
                    <a:pt x="390" y="2783"/>
                  </a:lnTo>
                  <a:lnTo>
                    <a:pt x="168" y="1837"/>
                  </a:lnTo>
                  <a:lnTo>
                    <a:pt x="57" y="94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DFEC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17393;p84">
              <a:extLst>
                <a:ext uri="{FF2B5EF4-FFF2-40B4-BE49-F238E27FC236}">
                  <a16:creationId xmlns:a16="http://schemas.microsoft.com/office/drawing/2014/main" id="{2B8E0E34-3B01-2671-6FCC-5501C99CDF31}"/>
                </a:ext>
              </a:extLst>
            </p:cNvPr>
            <p:cNvSpPr/>
            <p:nvPr/>
          </p:nvSpPr>
          <p:spPr>
            <a:xfrm>
              <a:off x="1570375" y="4766025"/>
              <a:ext cx="1964200" cy="710850"/>
            </a:xfrm>
            <a:custGeom>
              <a:avLst/>
              <a:gdLst/>
              <a:ahLst/>
              <a:cxnLst/>
              <a:rect l="l" t="t" r="r" b="b"/>
              <a:pathLst>
                <a:path w="78568" h="28434" extrusionOk="0">
                  <a:moveTo>
                    <a:pt x="1" y="1"/>
                  </a:moveTo>
                  <a:lnTo>
                    <a:pt x="1" y="5676"/>
                  </a:lnTo>
                  <a:lnTo>
                    <a:pt x="56" y="6845"/>
                  </a:lnTo>
                  <a:lnTo>
                    <a:pt x="223" y="8013"/>
                  </a:lnTo>
                  <a:lnTo>
                    <a:pt x="446" y="9126"/>
                  </a:lnTo>
                  <a:lnTo>
                    <a:pt x="835" y="10239"/>
                  </a:lnTo>
                  <a:lnTo>
                    <a:pt x="1280" y="11352"/>
                  </a:lnTo>
                  <a:lnTo>
                    <a:pt x="1781" y="12465"/>
                  </a:lnTo>
                  <a:lnTo>
                    <a:pt x="2449" y="13522"/>
                  </a:lnTo>
                  <a:lnTo>
                    <a:pt x="3117" y="14523"/>
                  </a:lnTo>
                  <a:lnTo>
                    <a:pt x="3951" y="15525"/>
                  </a:lnTo>
                  <a:lnTo>
                    <a:pt x="4786" y="16526"/>
                  </a:lnTo>
                  <a:lnTo>
                    <a:pt x="5732" y="17472"/>
                  </a:lnTo>
                  <a:lnTo>
                    <a:pt x="6789" y="18418"/>
                  </a:lnTo>
                  <a:lnTo>
                    <a:pt x="7902" y="19309"/>
                  </a:lnTo>
                  <a:lnTo>
                    <a:pt x="9070" y="20143"/>
                  </a:lnTo>
                  <a:lnTo>
                    <a:pt x="10295" y="20978"/>
                  </a:lnTo>
                  <a:lnTo>
                    <a:pt x="11574" y="21757"/>
                  </a:lnTo>
                  <a:lnTo>
                    <a:pt x="12965" y="22536"/>
                  </a:lnTo>
                  <a:lnTo>
                    <a:pt x="14412" y="23204"/>
                  </a:lnTo>
                  <a:lnTo>
                    <a:pt x="15859" y="23927"/>
                  </a:lnTo>
                  <a:lnTo>
                    <a:pt x="17417" y="24539"/>
                  </a:lnTo>
                  <a:lnTo>
                    <a:pt x="19030" y="25151"/>
                  </a:lnTo>
                  <a:lnTo>
                    <a:pt x="20644" y="25652"/>
                  </a:lnTo>
                  <a:lnTo>
                    <a:pt x="22369" y="26153"/>
                  </a:lnTo>
                  <a:lnTo>
                    <a:pt x="24094" y="26653"/>
                  </a:lnTo>
                  <a:lnTo>
                    <a:pt x="25874" y="27043"/>
                  </a:lnTo>
                  <a:lnTo>
                    <a:pt x="27711" y="27377"/>
                  </a:lnTo>
                  <a:lnTo>
                    <a:pt x="29602" y="27711"/>
                  </a:lnTo>
                  <a:lnTo>
                    <a:pt x="31494" y="27933"/>
                  </a:lnTo>
                  <a:lnTo>
                    <a:pt x="33442" y="28156"/>
                  </a:lnTo>
                  <a:lnTo>
                    <a:pt x="35389" y="28323"/>
                  </a:lnTo>
                  <a:lnTo>
                    <a:pt x="37392" y="28378"/>
                  </a:lnTo>
                  <a:lnTo>
                    <a:pt x="39396" y="28434"/>
                  </a:lnTo>
                  <a:lnTo>
                    <a:pt x="41399" y="28378"/>
                  </a:lnTo>
                  <a:lnTo>
                    <a:pt x="43402" y="28323"/>
                  </a:lnTo>
                  <a:lnTo>
                    <a:pt x="45405" y="28156"/>
                  </a:lnTo>
                  <a:lnTo>
                    <a:pt x="47297" y="27933"/>
                  </a:lnTo>
                  <a:lnTo>
                    <a:pt x="49244" y="27711"/>
                  </a:lnTo>
                  <a:lnTo>
                    <a:pt x="51080" y="27377"/>
                  </a:lnTo>
                  <a:lnTo>
                    <a:pt x="52917" y="27043"/>
                  </a:lnTo>
                  <a:lnTo>
                    <a:pt x="54697" y="26653"/>
                  </a:lnTo>
                  <a:lnTo>
                    <a:pt x="56422" y="26153"/>
                  </a:lnTo>
                  <a:lnTo>
                    <a:pt x="58091" y="25652"/>
                  </a:lnTo>
                  <a:lnTo>
                    <a:pt x="59761" y="25151"/>
                  </a:lnTo>
                  <a:lnTo>
                    <a:pt x="61374" y="24539"/>
                  </a:lnTo>
                  <a:lnTo>
                    <a:pt x="62877" y="23927"/>
                  </a:lnTo>
                  <a:lnTo>
                    <a:pt x="64379" y="23204"/>
                  </a:lnTo>
                  <a:lnTo>
                    <a:pt x="65770" y="22536"/>
                  </a:lnTo>
                  <a:lnTo>
                    <a:pt x="67161" y="21757"/>
                  </a:lnTo>
                  <a:lnTo>
                    <a:pt x="68441" y="20978"/>
                  </a:lnTo>
                  <a:lnTo>
                    <a:pt x="69665" y="20143"/>
                  </a:lnTo>
                  <a:lnTo>
                    <a:pt x="70834" y="19253"/>
                  </a:lnTo>
                  <a:lnTo>
                    <a:pt x="71946" y="18363"/>
                  </a:lnTo>
                  <a:lnTo>
                    <a:pt x="72948" y="17472"/>
                  </a:lnTo>
                  <a:lnTo>
                    <a:pt x="73894" y="16526"/>
                  </a:lnTo>
                  <a:lnTo>
                    <a:pt x="74728" y="15525"/>
                  </a:lnTo>
                  <a:lnTo>
                    <a:pt x="75507" y="14523"/>
                  </a:lnTo>
                  <a:lnTo>
                    <a:pt x="76231" y="13466"/>
                  </a:lnTo>
                  <a:lnTo>
                    <a:pt x="76843" y="12409"/>
                  </a:lnTo>
                  <a:lnTo>
                    <a:pt x="77344" y="11352"/>
                  </a:lnTo>
                  <a:lnTo>
                    <a:pt x="77789" y="10239"/>
                  </a:lnTo>
                  <a:lnTo>
                    <a:pt x="78123" y="9126"/>
                  </a:lnTo>
                  <a:lnTo>
                    <a:pt x="78401" y="8013"/>
                  </a:lnTo>
                  <a:lnTo>
                    <a:pt x="78512" y="6845"/>
                  </a:lnTo>
                  <a:lnTo>
                    <a:pt x="78568" y="5676"/>
                  </a:lnTo>
                  <a:lnTo>
                    <a:pt x="78568" y="1"/>
                  </a:lnTo>
                  <a:lnTo>
                    <a:pt x="78512" y="1169"/>
                  </a:lnTo>
                  <a:lnTo>
                    <a:pt x="78401" y="2338"/>
                  </a:lnTo>
                  <a:lnTo>
                    <a:pt x="78123" y="3450"/>
                  </a:lnTo>
                  <a:lnTo>
                    <a:pt x="77789" y="4619"/>
                  </a:lnTo>
                  <a:lnTo>
                    <a:pt x="77399" y="5676"/>
                  </a:lnTo>
                  <a:lnTo>
                    <a:pt x="76843" y="6789"/>
                  </a:lnTo>
                  <a:lnTo>
                    <a:pt x="76231" y="7846"/>
                  </a:lnTo>
                  <a:lnTo>
                    <a:pt x="75563" y="8848"/>
                  </a:lnTo>
                  <a:lnTo>
                    <a:pt x="74784" y="9849"/>
                  </a:lnTo>
                  <a:lnTo>
                    <a:pt x="73894" y="10851"/>
                  </a:lnTo>
                  <a:lnTo>
                    <a:pt x="72948" y="11797"/>
                  </a:lnTo>
                  <a:lnTo>
                    <a:pt x="71946" y="12743"/>
                  </a:lnTo>
                  <a:lnTo>
                    <a:pt x="70834" y="13633"/>
                  </a:lnTo>
                  <a:lnTo>
                    <a:pt x="69665" y="14468"/>
                  </a:lnTo>
                  <a:lnTo>
                    <a:pt x="68441" y="15302"/>
                  </a:lnTo>
                  <a:lnTo>
                    <a:pt x="67161" y="16081"/>
                  </a:lnTo>
                  <a:lnTo>
                    <a:pt x="65826" y="16860"/>
                  </a:lnTo>
                  <a:lnTo>
                    <a:pt x="64379" y="17584"/>
                  </a:lnTo>
                  <a:lnTo>
                    <a:pt x="62877" y="18251"/>
                  </a:lnTo>
                  <a:lnTo>
                    <a:pt x="61374" y="18863"/>
                  </a:lnTo>
                  <a:lnTo>
                    <a:pt x="59761" y="19476"/>
                  </a:lnTo>
                  <a:lnTo>
                    <a:pt x="58147" y="20032"/>
                  </a:lnTo>
                  <a:lnTo>
                    <a:pt x="56422" y="20533"/>
                  </a:lnTo>
                  <a:lnTo>
                    <a:pt x="54697" y="20978"/>
                  </a:lnTo>
                  <a:lnTo>
                    <a:pt x="52917" y="21367"/>
                  </a:lnTo>
                  <a:lnTo>
                    <a:pt x="51080" y="21757"/>
                  </a:lnTo>
                  <a:lnTo>
                    <a:pt x="49244" y="22035"/>
                  </a:lnTo>
                  <a:lnTo>
                    <a:pt x="47352" y="22313"/>
                  </a:lnTo>
                  <a:lnTo>
                    <a:pt x="45405" y="22480"/>
                  </a:lnTo>
                  <a:lnTo>
                    <a:pt x="43457" y="22647"/>
                  </a:lnTo>
                  <a:lnTo>
                    <a:pt x="41454" y="22758"/>
                  </a:lnTo>
                  <a:lnTo>
                    <a:pt x="37392" y="22758"/>
                  </a:lnTo>
                  <a:lnTo>
                    <a:pt x="35389" y="22647"/>
                  </a:lnTo>
                  <a:lnTo>
                    <a:pt x="33442" y="22480"/>
                  </a:lnTo>
                  <a:lnTo>
                    <a:pt x="31494" y="22313"/>
                  </a:lnTo>
                  <a:lnTo>
                    <a:pt x="29602" y="22035"/>
                  </a:lnTo>
                  <a:lnTo>
                    <a:pt x="27711" y="21757"/>
                  </a:lnTo>
                  <a:lnTo>
                    <a:pt x="25930" y="21367"/>
                  </a:lnTo>
                  <a:lnTo>
                    <a:pt x="24094" y="20978"/>
                  </a:lnTo>
                  <a:lnTo>
                    <a:pt x="22369" y="20533"/>
                  </a:lnTo>
                  <a:lnTo>
                    <a:pt x="20700" y="20032"/>
                  </a:lnTo>
                  <a:lnTo>
                    <a:pt x="19030" y="19476"/>
                  </a:lnTo>
                  <a:lnTo>
                    <a:pt x="17417" y="18863"/>
                  </a:lnTo>
                  <a:lnTo>
                    <a:pt x="15914" y="18251"/>
                  </a:lnTo>
                  <a:lnTo>
                    <a:pt x="14412" y="17584"/>
                  </a:lnTo>
                  <a:lnTo>
                    <a:pt x="12965" y="16860"/>
                  </a:lnTo>
                  <a:lnTo>
                    <a:pt x="11630" y="16081"/>
                  </a:lnTo>
                  <a:lnTo>
                    <a:pt x="10295" y="15302"/>
                  </a:lnTo>
                  <a:lnTo>
                    <a:pt x="9070" y="14468"/>
                  </a:lnTo>
                  <a:lnTo>
                    <a:pt x="7902" y="13633"/>
                  </a:lnTo>
                  <a:lnTo>
                    <a:pt x="6789" y="12743"/>
                  </a:lnTo>
                  <a:lnTo>
                    <a:pt x="5788" y="11797"/>
                  </a:lnTo>
                  <a:lnTo>
                    <a:pt x="4842" y="10851"/>
                  </a:lnTo>
                  <a:lnTo>
                    <a:pt x="3951" y="9905"/>
                  </a:lnTo>
                  <a:lnTo>
                    <a:pt x="3172" y="8848"/>
                  </a:lnTo>
                  <a:lnTo>
                    <a:pt x="2449" y="7846"/>
                  </a:lnTo>
                  <a:lnTo>
                    <a:pt x="1837" y="6789"/>
                  </a:lnTo>
                  <a:lnTo>
                    <a:pt x="1280" y="5676"/>
                  </a:lnTo>
                  <a:lnTo>
                    <a:pt x="835" y="4619"/>
                  </a:lnTo>
                  <a:lnTo>
                    <a:pt x="501" y="3506"/>
                  </a:lnTo>
                  <a:lnTo>
                    <a:pt x="223" y="2338"/>
                  </a:lnTo>
                  <a:lnTo>
                    <a:pt x="56" y="116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" name="Google Shape;17394;p84">
              <a:extLst>
                <a:ext uri="{FF2B5EF4-FFF2-40B4-BE49-F238E27FC236}">
                  <a16:creationId xmlns:a16="http://schemas.microsoft.com/office/drawing/2014/main" id="{E730B22C-E174-9ED3-4229-1E1046BA9405}"/>
                </a:ext>
              </a:extLst>
            </p:cNvPr>
            <p:cNvSpPr/>
            <p:nvPr/>
          </p:nvSpPr>
          <p:spPr>
            <a:xfrm>
              <a:off x="1570375" y="4197075"/>
              <a:ext cx="1964200" cy="1137925"/>
            </a:xfrm>
            <a:custGeom>
              <a:avLst/>
              <a:gdLst/>
              <a:ahLst/>
              <a:cxnLst/>
              <a:rect l="l" t="t" r="r" b="b"/>
              <a:pathLst>
                <a:path w="78568" h="45517" extrusionOk="0">
                  <a:moveTo>
                    <a:pt x="39173" y="4675"/>
                  </a:moveTo>
                  <a:lnTo>
                    <a:pt x="40787" y="4730"/>
                  </a:lnTo>
                  <a:lnTo>
                    <a:pt x="42400" y="4786"/>
                  </a:lnTo>
                  <a:lnTo>
                    <a:pt x="43958" y="4897"/>
                  </a:lnTo>
                  <a:lnTo>
                    <a:pt x="45461" y="5064"/>
                  </a:lnTo>
                  <a:lnTo>
                    <a:pt x="47019" y="5231"/>
                  </a:lnTo>
                  <a:lnTo>
                    <a:pt x="48465" y="5509"/>
                  </a:lnTo>
                  <a:lnTo>
                    <a:pt x="49912" y="5788"/>
                  </a:lnTo>
                  <a:lnTo>
                    <a:pt x="51359" y="6122"/>
                  </a:lnTo>
                  <a:lnTo>
                    <a:pt x="52750" y="6455"/>
                  </a:lnTo>
                  <a:lnTo>
                    <a:pt x="54085" y="6845"/>
                  </a:lnTo>
                  <a:lnTo>
                    <a:pt x="55365" y="7290"/>
                  </a:lnTo>
                  <a:lnTo>
                    <a:pt x="56645" y="7791"/>
                  </a:lnTo>
                  <a:lnTo>
                    <a:pt x="57869" y="8292"/>
                  </a:lnTo>
                  <a:lnTo>
                    <a:pt x="59093" y="8792"/>
                  </a:lnTo>
                  <a:lnTo>
                    <a:pt x="60206" y="9404"/>
                  </a:lnTo>
                  <a:lnTo>
                    <a:pt x="61319" y="9961"/>
                  </a:lnTo>
                  <a:lnTo>
                    <a:pt x="62320" y="10629"/>
                  </a:lnTo>
                  <a:lnTo>
                    <a:pt x="63322" y="11296"/>
                  </a:lnTo>
                  <a:lnTo>
                    <a:pt x="64268" y="11964"/>
                  </a:lnTo>
                  <a:lnTo>
                    <a:pt x="65102" y="12687"/>
                  </a:lnTo>
                  <a:lnTo>
                    <a:pt x="65937" y="13411"/>
                  </a:lnTo>
                  <a:lnTo>
                    <a:pt x="66716" y="14134"/>
                  </a:lnTo>
                  <a:lnTo>
                    <a:pt x="67384" y="14913"/>
                  </a:lnTo>
                  <a:lnTo>
                    <a:pt x="67996" y="15748"/>
                  </a:lnTo>
                  <a:lnTo>
                    <a:pt x="68552" y="16527"/>
                  </a:lnTo>
                  <a:lnTo>
                    <a:pt x="69053" y="17417"/>
                  </a:lnTo>
                  <a:lnTo>
                    <a:pt x="69498" y="18252"/>
                  </a:lnTo>
                  <a:lnTo>
                    <a:pt x="69832" y="19142"/>
                  </a:lnTo>
                  <a:lnTo>
                    <a:pt x="70110" y="20032"/>
                  </a:lnTo>
                  <a:lnTo>
                    <a:pt x="70333" y="20922"/>
                  </a:lnTo>
                  <a:lnTo>
                    <a:pt x="70444" y="21868"/>
                  </a:lnTo>
                  <a:lnTo>
                    <a:pt x="70500" y="22759"/>
                  </a:lnTo>
                  <a:lnTo>
                    <a:pt x="70500" y="23705"/>
                  </a:lnTo>
                  <a:lnTo>
                    <a:pt x="70388" y="24595"/>
                  </a:lnTo>
                  <a:lnTo>
                    <a:pt x="70166" y="25541"/>
                  </a:lnTo>
                  <a:lnTo>
                    <a:pt x="69888" y="26431"/>
                  </a:lnTo>
                  <a:lnTo>
                    <a:pt x="69554" y="27266"/>
                  </a:lnTo>
                  <a:lnTo>
                    <a:pt x="69164" y="28156"/>
                  </a:lnTo>
                  <a:lnTo>
                    <a:pt x="68663" y="28991"/>
                  </a:lnTo>
                  <a:lnTo>
                    <a:pt x="68107" y="29825"/>
                  </a:lnTo>
                  <a:lnTo>
                    <a:pt x="67495" y="30604"/>
                  </a:lnTo>
                  <a:lnTo>
                    <a:pt x="66772" y="31383"/>
                  </a:lnTo>
                  <a:lnTo>
                    <a:pt x="66048" y="32162"/>
                  </a:lnTo>
                  <a:lnTo>
                    <a:pt x="65214" y="32886"/>
                  </a:lnTo>
                  <a:lnTo>
                    <a:pt x="64379" y="33609"/>
                  </a:lnTo>
                  <a:lnTo>
                    <a:pt x="63433" y="34277"/>
                  </a:lnTo>
                  <a:lnTo>
                    <a:pt x="62487" y="34944"/>
                  </a:lnTo>
                  <a:lnTo>
                    <a:pt x="61430" y="35556"/>
                  </a:lnTo>
                  <a:lnTo>
                    <a:pt x="60373" y="36169"/>
                  </a:lnTo>
                  <a:lnTo>
                    <a:pt x="59260" y="36725"/>
                  </a:lnTo>
                  <a:lnTo>
                    <a:pt x="58036" y="37281"/>
                  </a:lnTo>
                  <a:lnTo>
                    <a:pt x="56812" y="37782"/>
                  </a:lnTo>
                  <a:lnTo>
                    <a:pt x="55587" y="38227"/>
                  </a:lnTo>
                  <a:lnTo>
                    <a:pt x="54252" y="38672"/>
                  </a:lnTo>
                  <a:lnTo>
                    <a:pt x="52917" y="39062"/>
                  </a:lnTo>
                  <a:lnTo>
                    <a:pt x="51526" y="39451"/>
                  </a:lnTo>
                  <a:lnTo>
                    <a:pt x="50135" y="39730"/>
                  </a:lnTo>
                  <a:lnTo>
                    <a:pt x="48688" y="40063"/>
                  </a:lnTo>
                  <a:lnTo>
                    <a:pt x="47185" y="40286"/>
                  </a:lnTo>
                  <a:lnTo>
                    <a:pt x="45683" y="40509"/>
                  </a:lnTo>
                  <a:lnTo>
                    <a:pt x="44181" y="40620"/>
                  </a:lnTo>
                  <a:lnTo>
                    <a:pt x="42623" y="40731"/>
                  </a:lnTo>
                  <a:lnTo>
                    <a:pt x="41009" y="40842"/>
                  </a:lnTo>
                  <a:lnTo>
                    <a:pt x="37782" y="40842"/>
                  </a:lnTo>
                  <a:lnTo>
                    <a:pt x="36224" y="40731"/>
                  </a:lnTo>
                  <a:lnTo>
                    <a:pt x="34666" y="40620"/>
                  </a:lnTo>
                  <a:lnTo>
                    <a:pt x="33108" y="40509"/>
                  </a:lnTo>
                  <a:lnTo>
                    <a:pt x="31606" y="40286"/>
                  </a:lnTo>
                  <a:lnTo>
                    <a:pt x="30103" y="40063"/>
                  </a:lnTo>
                  <a:lnTo>
                    <a:pt x="28657" y="39730"/>
                  </a:lnTo>
                  <a:lnTo>
                    <a:pt x="27265" y="39451"/>
                  </a:lnTo>
                  <a:lnTo>
                    <a:pt x="25874" y="39062"/>
                  </a:lnTo>
                  <a:lnTo>
                    <a:pt x="24483" y="38672"/>
                  </a:lnTo>
                  <a:lnTo>
                    <a:pt x="23204" y="38227"/>
                  </a:lnTo>
                  <a:lnTo>
                    <a:pt x="21924" y="37782"/>
                  </a:lnTo>
                  <a:lnTo>
                    <a:pt x="20700" y="37281"/>
                  </a:lnTo>
                  <a:lnTo>
                    <a:pt x="19531" y="36725"/>
                  </a:lnTo>
                  <a:lnTo>
                    <a:pt x="18363" y="36169"/>
                  </a:lnTo>
                  <a:lnTo>
                    <a:pt x="17306" y="35556"/>
                  </a:lnTo>
                  <a:lnTo>
                    <a:pt x="16248" y="34944"/>
                  </a:lnTo>
                  <a:lnTo>
                    <a:pt x="15302" y="34277"/>
                  </a:lnTo>
                  <a:lnTo>
                    <a:pt x="14356" y="33609"/>
                  </a:lnTo>
                  <a:lnTo>
                    <a:pt x="13466" y="32886"/>
                  </a:lnTo>
                  <a:lnTo>
                    <a:pt x="12632" y="32162"/>
                  </a:lnTo>
                  <a:lnTo>
                    <a:pt x="11908" y="31383"/>
                  </a:lnTo>
                  <a:lnTo>
                    <a:pt x="11185" y="30604"/>
                  </a:lnTo>
                  <a:lnTo>
                    <a:pt x="10573" y="29825"/>
                  </a:lnTo>
                  <a:lnTo>
                    <a:pt x="10016" y="28991"/>
                  </a:lnTo>
                  <a:lnTo>
                    <a:pt x="9516" y="28156"/>
                  </a:lnTo>
                  <a:lnTo>
                    <a:pt x="9070" y="27266"/>
                  </a:lnTo>
                  <a:lnTo>
                    <a:pt x="8737" y="26431"/>
                  </a:lnTo>
                  <a:lnTo>
                    <a:pt x="8458" y="25541"/>
                  </a:lnTo>
                  <a:lnTo>
                    <a:pt x="8236" y="24595"/>
                  </a:lnTo>
                  <a:lnTo>
                    <a:pt x="8125" y="23705"/>
                  </a:lnTo>
                  <a:lnTo>
                    <a:pt x="8069" y="22759"/>
                  </a:lnTo>
                  <a:lnTo>
                    <a:pt x="8125" y="21813"/>
                  </a:lnTo>
                  <a:lnTo>
                    <a:pt x="8236" y="20922"/>
                  </a:lnTo>
                  <a:lnTo>
                    <a:pt x="8403" y="20032"/>
                  </a:lnTo>
                  <a:lnTo>
                    <a:pt x="8681" y="19142"/>
                  </a:lnTo>
                  <a:lnTo>
                    <a:pt x="9015" y="18252"/>
                  </a:lnTo>
                  <a:lnTo>
                    <a:pt x="9460" y="17417"/>
                  </a:lnTo>
                  <a:lnTo>
                    <a:pt x="9961" y="16527"/>
                  </a:lnTo>
                  <a:lnTo>
                    <a:pt x="10517" y="15748"/>
                  </a:lnTo>
                  <a:lnTo>
                    <a:pt x="11129" y="14913"/>
                  </a:lnTo>
                  <a:lnTo>
                    <a:pt x="11797" y="14134"/>
                  </a:lnTo>
                  <a:lnTo>
                    <a:pt x="12520" y="13411"/>
                  </a:lnTo>
                  <a:lnTo>
                    <a:pt x="13355" y="12687"/>
                  </a:lnTo>
                  <a:lnTo>
                    <a:pt x="14245" y="11964"/>
                  </a:lnTo>
                  <a:lnTo>
                    <a:pt x="15135" y="11241"/>
                  </a:lnTo>
                  <a:lnTo>
                    <a:pt x="16137" y="10629"/>
                  </a:lnTo>
                  <a:lnTo>
                    <a:pt x="17139" y="9961"/>
                  </a:lnTo>
                  <a:lnTo>
                    <a:pt x="18251" y="9404"/>
                  </a:lnTo>
                  <a:lnTo>
                    <a:pt x="19364" y="8792"/>
                  </a:lnTo>
                  <a:lnTo>
                    <a:pt x="20533" y="8292"/>
                  </a:lnTo>
                  <a:lnTo>
                    <a:pt x="21757" y="7791"/>
                  </a:lnTo>
                  <a:lnTo>
                    <a:pt x="23037" y="7290"/>
                  </a:lnTo>
                  <a:lnTo>
                    <a:pt x="24316" y="6845"/>
                  </a:lnTo>
                  <a:lnTo>
                    <a:pt x="25652" y="6455"/>
                  </a:lnTo>
                  <a:lnTo>
                    <a:pt x="27043" y="6122"/>
                  </a:lnTo>
                  <a:lnTo>
                    <a:pt x="28490" y="5788"/>
                  </a:lnTo>
                  <a:lnTo>
                    <a:pt x="29936" y="5509"/>
                  </a:lnTo>
                  <a:lnTo>
                    <a:pt x="31383" y="5231"/>
                  </a:lnTo>
                  <a:lnTo>
                    <a:pt x="32885" y="5064"/>
                  </a:lnTo>
                  <a:lnTo>
                    <a:pt x="34443" y="4897"/>
                  </a:lnTo>
                  <a:lnTo>
                    <a:pt x="36001" y="4786"/>
                  </a:lnTo>
                  <a:lnTo>
                    <a:pt x="37559" y="4730"/>
                  </a:lnTo>
                  <a:lnTo>
                    <a:pt x="39173" y="4675"/>
                  </a:lnTo>
                  <a:close/>
                  <a:moveTo>
                    <a:pt x="39173" y="1"/>
                  </a:moveTo>
                  <a:lnTo>
                    <a:pt x="37170" y="56"/>
                  </a:lnTo>
                  <a:lnTo>
                    <a:pt x="35167" y="112"/>
                  </a:lnTo>
                  <a:lnTo>
                    <a:pt x="33219" y="279"/>
                  </a:lnTo>
                  <a:lnTo>
                    <a:pt x="31272" y="502"/>
                  </a:lnTo>
                  <a:lnTo>
                    <a:pt x="29380" y="724"/>
                  </a:lnTo>
                  <a:lnTo>
                    <a:pt x="27488" y="1058"/>
                  </a:lnTo>
                  <a:lnTo>
                    <a:pt x="25652" y="1392"/>
                  </a:lnTo>
                  <a:lnTo>
                    <a:pt x="23871" y="1781"/>
                  </a:lnTo>
                  <a:lnTo>
                    <a:pt x="22146" y="2282"/>
                  </a:lnTo>
                  <a:lnTo>
                    <a:pt x="20477" y="2783"/>
                  </a:lnTo>
                  <a:lnTo>
                    <a:pt x="18808" y="3339"/>
                  </a:lnTo>
                  <a:lnTo>
                    <a:pt x="17250" y="3896"/>
                  </a:lnTo>
                  <a:lnTo>
                    <a:pt x="15692" y="4564"/>
                  </a:lnTo>
                  <a:lnTo>
                    <a:pt x="14190" y="5231"/>
                  </a:lnTo>
                  <a:lnTo>
                    <a:pt x="12798" y="5955"/>
                  </a:lnTo>
                  <a:lnTo>
                    <a:pt x="11407" y="6678"/>
                  </a:lnTo>
                  <a:lnTo>
                    <a:pt x="10128" y="7457"/>
                  </a:lnTo>
                  <a:lnTo>
                    <a:pt x="8903" y="8292"/>
                  </a:lnTo>
                  <a:lnTo>
                    <a:pt x="7735" y="9182"/>
                  </a:lnTo>
                  <a:lnTo>
                    <a:pt x="6678" y="10072"/>
                  </a:lnTo>
                  <a:lnTo>
                    <a:pt x="5621" y="10962"/>
                  </a:lnTo>
                  <a:lnTo>
                    <a:pt x="4675" y="11908"/>
                  </a:lnTo>
                  <a:lnTo>
                    <a:pt x="3840" y="12910"/>
                  </a:lnTo>
                  <a:lnTo>
                    <a:pt x="3061" y="13911"/>
                  </a:lnTo>
                  <a:lnTo>
                    <a:pt x="2338" y="14969"/>
                  </a:lnTo>
                  <a:lnTo>
                    <a:pt x="1726" y="16026"/>
                  </a:lnTo>
                  <a:lnTo>
                    <a:pt x="1225" y="17083"/>
                  </a:lnTo>
                  <a:lnTo>
                    <a:pt x="780" y="18196"/>
                  </a:lnTo>
                  <a:lnTo>
                    <a:pt x="446" y="19309"/>
                  </a:lnTo>
                  <a:lnTo>
                    <a:pt x="223" y="20422"/>
                  </a:lnTo>
                  <a:lnTo>
                    <a:pt x="56" y="21590"/>
                  </a:lnTo>
                  <a:lnTo>
                    <a:pt x="1" y="22759"/>
                  </a:lnTo>
                  <a:lnTo>
                    <a:pt x="56" y="23927"/>
                  </a:lnTo>
                  <a:lnTo>
                    <a:pt x="223" y="25096"/>
                  </a:lnTo>
                  <a:lnTo>
                    <a:pt x="501" y="26264"/>
                  </a:lnTo>
                  <a:lnTo>
                    <a:pt x="835" y="27377"/>
                  </a:lnTo>
                  <a:lnTo>
                    <a:pt x="1280" y="28434"/>
                  </a:lnTo>
                  <a:lnTo>
                    <a:pt x="1837" y="29547"/>
                  </a:lnTo>
                  <a:lnTo>
                    <a:pt x="2449" y="30604"/>
                  </a:lnTo>
                  <a:lnTo>
                    <a:pt x="3172" y="31606"/>
                  </a:lnTo>
                  <a:lnTo>
                    <a:pt x="3951" y="32663"/>
                  </a:lnTo>
                  <a:lnTo>
                    <a:pt x="4842" y="33609"/>
                  </a:lnTo>
                  <a:lnTo>
                    <a:pt x="5788" y="34555"/>
                  </a:lnTo>
                  <a:lnTo>
                    <a:pt x="6789" y="35501"/>
                  </a:lnTo>
                  <a:lnTo>
                    <a:pt x="7902" y="36391"/>
                  </a:lnTo>
                  <a:lnTo>
                    <a:pt x="9070" y="37226"/>
                  </a:lnTo>
                  <a:lnTo>
                    <a:pt x="10295" y="38060"/>
                  </a:lnTo>
                  <a:lnTo>
                    <a:pt x="11630" y="38839"/>
                  </a:lnTo>
                  <a:lnTo>
                    <a:pt x="12965" y="39618"/>
                  </a:lnTo>
                  <a:lnTo>
                    <a:pt x="14412" y="40342"/>
                  </a:lnTo>
                  <a:lnTo>
                    <a:pt x="15914" y="41009"/>
                  </a:lnTo>
                  <a:lnTo>
                    <a:pt x="17417" y="41621"/>
                  </a:lnTo>
                  <a:lnTo>
                    <a:pt x="19030" y="42234"/>
                  </a:lnTo>
                  <a:lnTo>
                    <a:pt x="20700" y="42790"/>
                  </a:lnTo>
                  <a:lnTo>
                    <a:pt x="22369" y="43291"/>
                  </a:lnTo>
                  <a:lnTo>
                    <a:pt x="24094" y="43736"/>
                  </a:lnTo>
                  <a:lnTo>
                    <a:pt x="25930" y="44125"/>
                  </a:lnTo>
                  <a:lnTo>
                    <a:pt x="27711" y="44515"/>
                  </a:lnTo>
                  <a:lnTo>
                    <a:pt x="29602" y="44793"/>
                  </a:lnTo>
                  <a:lnTo>
                    <a:pt x="31494" y="45071"/>
                  </a:lnTo>
                  <a:lnTo>
                    <a:pt x="33442" y="45238"/>
                  </a:lnTo>
                  <a:lnTo>
                    <a:pt x="35389" y="45405"/>
                  </a:lnTo>
                  <a:lnTo>
                    <a:pt x="37392" y="45516"/>
                  </a:lnTo>
                  <a:lnTo>
                    <a:pt x="41454" y="45516"/>
                  </a:lnTo>
                  <a:lnTo>
                    <a:pt x="43457" y="45405"/>
                  </a:lnTo>
                  <a:lnTo>
                    <a:pt x="45405" y="45238"/>
                  </a:lnTo>
                  <a:lnTo>
                    <a:pt x="47352" y="45071"/>
                  </a:lnTo>
                  <a:lnTo>
                    <a:pt x="49244" y="44793"/>
                  </a:lnTo>
                  <a:lnTo>
                    <a:pt x="51080" y="44515"/>
                  </a:lnTo>
                  <a:lnTo>
                    <a:pt x="52917" y="44125"/>
                  </a:lnTo>
                  <a:lnTo>
                    <a:pt x="54697" y="43736"/>
                  </a:lnTo>
                  <a:lnTo>
                    <a:pt x="56422" y="43291"/>
                  </a:lnTo>
                  <a:lnTo>
                    <a:pt x="58147" y="42790"/>
                  </a:lnTo>
                  <a:lnTo>
                    <a:pt x="59761" y="42234"/>
                  </a:lnTo>
                  <a:lnTo>
                    <a:pt x="61374" y="41621"/>
                  </a:lnTo>
                  <a:lnTo>
                    <a:pt x="62877" y="41009"/>
                  </a:lnTo>
                  <a:lnTo>
                    <a:pt x="64379" y="40342"/>
                  </a:lnTo>
                  <a:lnTo>
                    <a:pt x="65826" y="39618"/>
                  </a:lnTo>
                  <a:lnTo>
                    <a:pt x="67161" y="38839"/>
                  </a:lnTo>
                  <a:lnTo>
                    <a:pt x="68441" y="38060"/>
                  </a:lnTo>
                  <a:lnTo>
                    <a:pt x="69665" y="37226"/>
                  </a:lnTo>
                  <a:lnTo>
                    <a:pt x="70834" y="36391"/>
                  </a:lnTo>
                  <a:lnTo>
                    <a:pt x="71946" y="35501"/>
                  </a:lnTo>
                  <a:lnTo>
                    <a:pt x="72948" y="34555"/>
                  </a:lnTo>
                  <a:lnTo>
                    <a:pt x="73894" y="33609"/>
                  </a:lnTo>
                  <a:lnTo>
                    <a:pt x="74784" y="32607"/>
                  </a:lnTo>
                  <a:lnTo>
                    <a:pt x="75563" y="31606"/>
                  </a:lnTo>
                  <a:lnTo>
                    <a:pt x="76231" y="30604"/>
                  </a:lnTo>
                  <a:lnTo>
                    <a:pt x="76843" y="29547"/>
                  </a:lnTo>
                  <a:lnTo>
                    <a:pt x="77399" y="28434"/>
                  </a:lnTo>
                  <a:lnTo>
                    <a:pt x="77789" y="27377"/>
                  </a:lnTo>
                  <a:lnTo>
                    <a:pt x="78123" y="26208"/>
                  </a:lnTo>
                  <a:lnTo>
                    <a:pt x="78401" y="25096"/>
                  </a:lnTo>
                  <a:lnTo>
                    <a:pt x="78512" y="23927"/>
                  </a:lnTo>
                  <a:lnTo>
                    <a:pt x="78568" y="22759"/>
                  </a:lnTo>
                  <a:lnTo>
                    <a:pt x="78512" y="21590"/>
                  </a:lnTo>
                  <a:lnTo>
                    <a:pt x="78345" y="20422"/>
                  </a:lnTo>
                  <a:lnTo>
                    <a:pt x="78123" y="19309"/>
                  </a:lnTo>
                  <a:lnTo>
                    <a:pt x="77733" y="18196"/>
                  </a:lnTo>
                  <a:lnTo>
                    <a:pt x="77288" y="17083"/>
                  </a:lnTo>
                  <a:lnTo>
                    <a:pt x="76787" y="16026"/>
                  </a:lnTo>
                  <a:lnTo>
                    <a:pt x="76175" y="14969"/>
                  </a:lnTo>
                  <a:lnTo>
                    <a:pt x="75452" y="13911"/>
                  </a:lnTo>
                  <a:lnTo>
                    <a:pt x="74673" y="12910"/>
                  </a:lnTo>
                  <a:lnTo>
                    <a:pt x="73783" y="11908"/>
                  </a:lnTo>
                  <a:lnTo>
                    <a:pt x="72837" y="10962"/>
                  </a:lnTo>
                  <a:lnTo>
                    <a:pt x="71779" y="10072"/>
                  </a:lnTo>
                  <a:lnTo>
                    <a:pt x="70722" y="9126"/>
                  </a:lnTo>
                  <a:lnTo>
                    <a:pt x="69554" y="8292"/>
                  </a:lnTo>
                  <a:lnTo>
                    <a:pt x="68274" y="7457"/>
                  </a:lnTo>
                  <a:lnTo>
                    <a:pt x="66994" y="6678"/>
                  </a:lnTo>
                  <a:lnTo>
                    <a:pt x="65603" y="5899"/>
                  </a:lnTo>
                  <a:lnTo>
                    <a:pt x="64212" y="5231"/>
                  </a:lnTo>
                  <a:lnTo>
                    <a:pt x="62710" y="4508"/>
                  </a:lnTo>
                  <a:lnTo>
                    <a:pt x="61152" y="3896"/>
                  </a:lnTo>
                  <a:lnTo>
                    <a:pt x="59538" y="3284"/>
                  </a:lnTo>
                  <a:lnTo>
                    <a:pt x="57924" y="2783"/>
                  </a:lnTo>
                  <a:lnTo>
                    <a:pt x="56200" y="2282"/>
                  </a:lnTo>
                  <a:lnTo>
                    <a:pt x="54475" y="1781"/>
                  </a:lnTo>
                  <a:lnTo>
                    <a:pt x="52694" y="1392"/>
                  </a:lnTo>
                  <a:lnTo>
                    <a:pt x="50858" y="1058"/>
                  </a:lnTo>
                  <a:lnTo>
                    <a:pt x="49022" y="724"/>
                  </a:lnTo>
                  <a:lnTo>
                    <a:pt x="47074" y="502"/>
                  </a:lnTo>
                  <a:lnTo>
                    <a:pt x="45182" y="279"/>
                  </a:lnTo>
                  <a:lnTo>
                    <a:pt x="43179" y="112"/>
                  </a:lnTo>
                  <a:lnTo>
                    <a:pt x="41176" y="56"/>
                  </a:lnTo>
                  <a:lnTo>
                    <a:pt x="39173" y="1"/>
                  </a:lnTo>
                  <a:close/>
                </a:path>
              </a:pathLst>
            </a:custGeom>
            <a:solidFill>
              <a:srgbClr val="D7600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" name="Google Shape;17395;p84">
              <a:extLst>
                <a:ext uri="{FF2B5EF4-FFF2-40B4-BE49-F238E27FC236}">
                  <a16:creationId xmlns:a16="http://schemas.microsoft.com/office/drawing/2014/main" id="{DA194022-8760-7AD4-DE40-01C60C8F1074}"/>
                </a:ext>
              </a:extLst>
            </p:cNvPr>
            <p:cNvSpPr/>
            <p:nvPr/>
          </p:nvSpPr>
          <p:spPr>
            <a:xfrm>
              <a:off x="3439975" y="4600500"/>
              <a:ext cx="1564950" cy="752575"/>
            </a:xfrm>
            <a:custGeom>
              <a:avLst/>
              <a:gdLst/>
              <a:ahLst/>
              <a:cxnLst/>
              <a:rect l="l" t="t" r="r" b="b"/>
              <a:pathLst>
                <a:path w="62598" h="30103" extrusionOk="0">
                  <a:moveTo>
                    <a:pt x="1280" y="0"/>
                  </a:moveTo>
                  <a:lnTo>
                    <a:pt x="1113" y="835"/>
                  </a:lnTo>
                  <a:lnTo>
                    <a:pt x="1110" y="887"/>
                  </a:lnTo>
                  <a:lnTo>
                    <a:pt x="1110" y="887"/>
                  </a:lnTo>
                  <a:lnTo>
                    <a:pt x="1280" y="0"/>
                  </a:lnTo>
                  <a:close/>
                  <a:moveTo>
                    <a:pt x="1110" y="887"/>
                  </a:moveTo>
                  <a:lnTo>
                    <a:pt x="223" y="5509"/>
                  </a:lnTo>
                  <a:lnTo>
                    <a:pt x="56" y="6399"/>
                  </a:lnTo>
                  <a:lnTo>
                    <a:pt x="0" y="7289"/>
                  </a:lnTo>
                  <a:lnTo>
                    <a:pt x="56" y="8180"/>
                  </a:lnTo>
                  <a:lnTo>
                    <a:pt x="111" y="9070"/>
                  </a:lnTo>
                  <a:lnTo>
                    <a:pt x="278" y="9960"/>
                  </a:lnTo>
                  <a:lnTo>
                    <a:pt x="501" y="10850"/>
                  </a:lnTo>
                  <a:lnTo>
                    <a:pt x="835" y="11796"/>
                  </a:lnTo>
                  <a:lnTo>
                    <a:pt x="1169" y="12687"/>
                  </a:lnTo>
                  <a:lnTo>
                    <a:pt x="1614" y="13633"/>
                  </a:lnTo>
                  <a:lnTo>
                    <a:pt x="2170" y="14523"/>
                  </a:lnTo>
                  <a:lnTo>
                    <a:pt x="2782" y="15413"/>
                  </a:lnTo>
                  <a:lnTo>
                    <a:pt x="3450" y="16359"/>
                  </a:lnTo>
                  <a:lnTo>
                    <a:pt x="4173" y="17249"/>
                  </a:lnTo>
                  <a:lnTo>
                    <a:pt x="5008" y="18140"/>
                  </a:lnTo>
                  <a:lnTo>
                    <a:pt x="5898" y="19030"/>
                  </a:lnTo>
                  <a:lnTo>
                    <a:pt x="6844" y="19920"/>
                  </a:lnTo>
                  <a:lnTo>
                    <a:pt x="7901" y="20755"/>
                  </a:lnTo>
                  <a:lnTo>
                    <a:pt x="8959" y="21534"/>
                  </a:lnTo>
                  <a:lnTo>
                    <a:pt x="10071" y="22313"/>
                  </a:lnTo>
                  <a:lnTo>
                    <a:pt x="11240" y="23092"/>
                  </a:lnTo>
                  <a:lnTo>
                    <a:pt x="12464" y="23815"/>
                  </a:lnTo>
                  <a:lnTo>
                    <a:pt x="13688" y="24483"/>
                  </a:lnTo>
                  <a:lnTo>
                    <a:pt x="14968" y="25095"/>
                  </a:lnTo>
                  <a:lnTo>
                    <a:pt x="16303" y="25707"/>
                  </a:lnTo>
                  <a:lnTo>
                    <a:pt x="17639" y="26263"/>
                  </a:lnTo>
                  <a:lnTo>
                    <a:pt x="19030" y="26820"/>
                  </a:lnTo>
                  <a:lnTo>
                    <a:pt x="20421" y="27321"/>
                  </a:lnTo>
                  <a:lnTo>
                    <a:pt x="21812" y="27766"/>
                  </a:lnTo>
                  <a:lnTo>
                    <a:pt x="23259" y="28211"/>
                  </a:lnTo>
                  <a:lnTo>
                    <a:pt x="24705" y="28545"/>
                  </a:lnTo>
                  <a:lnTo>
                    <a:pt x="26152" y="28879"/>
                  </a:lnTo>
                  <a:lnTo>
                    <a:pt x="27599" y="29213"/>
                  </a:lnTo>
                  <a:lnTo>
                    <a:pt x="29101" y="29435"/>
                  </a:lnTo>
                  <a:lnTo>
                    <a:pt x="30548" y="29658"/>
                  </a:lnTo>
                  <a:lnTo>
                    <a:pt x="32050" y="29825"/>
                  </a:lnTo>
                  <a:lnTo>
                    <a:pt x="33497" y="29992"/>
                  </a:lnTo>
                  <a:lnTo>
                    <a:pt x="34999" y="30047"/>
                  </a:lnTo>
                  <a:lnTo>
                    <a:pt x="36446" y="30103"/>
                  </a:lnTo>
                  <a:lnTo>
                    <a:pt x="37948" y="30103"/>
                  </a:lnTo>
                  <a:lnTo>
                    <a:pt x="39395" y="30047"/>
                  </a:lnTo>
                  <a:lnTo>
                    <a:pt x="40842" y="29992"/>
                  </a:lnTo>
                  <a:lnTo>
                    <a:pt x="42233" y="29880"/>
                  </a:lnTo>
                  <a:lnTo>
                    <a:pt x="43624" y="29658"/>
                  </a:lnTo>
                  <a:lnTo>
                    <a:pt x="45015" y="29435"/>
                  </a:lnTo>
                  <a:lnTo>
                    <a:pt x="46350" y="29157"/>
                  </a:lnTo>
                  <a:lnTo>
                    <a:pt x="47686" y="28879"/>
                  </a:lnTo>
                  <a:lnTo>
                    <a:pt x="48965" y="28489"/>
                  </a:lnTo>
                  <a:lnTo>
                    <a:pt x="50245" y="28100"/>
                  </a:lnTo>
                  <a:lnTo>
                    <a:pt x="51469" y="27599"/>
                  </a:lnTo>
                  <a:lnTo>
                    <a:pt x="52582" y="27154"/>
                  </a:lnTo>
                  <a:lnTo>
                    <a:pt x="53639" y="26597"/>
                  </a:lnTo>
                  <a:lnTo>
                    <a:pt x="54641" y="26041"/>
                  </a:lnTo>
                  <a:lnTo>
                    <a:pt x="55587" y="25429"/>
                  </a:lnTo>
                  <a:lnTo>
                    <a:pt x="56477" y="24817"/>
                  </a:lnTo>
                  <a:lnTo>
                    <a:pt x="57256" y="24205"/>
                  </a:lnTo>
                  <a:lnTo>
                    <a:pt x="58035" y="23481"/>
                  </a:lnTo>
                  <a:lnTo>
                    <a:pt x="58703" y="22814"/>
                  </a:lnTo>
                  <a:lnTo>
                    <a:pt x="59315" y="22090"/>
                  </a:lnTo>
                  <a:lnTo>
                    <a:pt x="59871" y="21311"/>
                  </a:lnTo>
                  <a:lnTo>
                    <a:pt x="60317" y="20532"/>
                  </a:lnTo>
                  <a:lnTo>
                    <a:pt x="60706" y="19753"/>
                  </a:lnTo>
                  <a:lnTo>
                    <a:pt x="61040" y="18974"/>
                  </a:lnTo>
                  <a:lnTo>
                    <a:pt x="61318" y="18140"/>
                  </a:lnTo>
                  <a:lnTo>
                    <a:pt x="61541" y="17305"/>
                  </a:lnTo>
                  <a:lnTo>
                    <a:pt x="62598" y="11741"/>
                  </a:lnTo>
                  <a:lnTo>
                    <a:pt x="62375" y="12575"/>
                  </a:lnTo>
                  <a:lnTo>
                    <a:pt x="62097" y="13410"/>
                  </a:lnTo>
                  <a:lnTo>
                    <a:pt x="61763" y="14189"/>
                  </a:lnTo>
                  <a:lnTo>
                    <a:pt x="61374" y="15024"/>
                  </a:lnTo>
                  <a:lnTo>
                    <a:pt x="60929" y="15747"/>
                  </a:lnTo>
                  <a:lnTo>
                    <a:pt x="60372" y="16526"/>
                  </a:lnTo>
                  <a:lnTo>
                    <a:pt x="59760" y="17249"/>
                  </a:lnTo>
                  <a:lnTo>
                    <a:pt x="59092" y="17973"/>
                  </a:lnTo>
                  <a:lnTo>
                    <a:pt x="58369" y="18640"/>
                  </a:lnTo>
                  <a:lnTo>
                    <a:pt x="57534" y="19308"/>
                  </a:lnTo>
                  <a:lnTo>
                    <a:pt x="56644" y="19920"/>
                  </a:lnTo>
                  <a:lnTo>
                    <a:pt x="55698" y="20477"/>
                  </a:lnTo>
                  <a:lnTo>
                    <a:pt x="54697" y="21033"/>
                  </a:lnTo>
                  <a:lnTo>
                    <a:pt x="53639" y="21590"/>
                  </a:lnTo>
                  <a:lnTo>
                    <a:pt x="52527" y="22090"/>
                  </a:lnTo>
                  <a:lnTo>
                    <a:pt x="51302" y="22535"/>
                  </a:lnTo>
                  <a:lnTo>
                    <a:pt x="50023" y="22925"/>
                  </a:lnTo>
                  <a:lnTo>
                    <a:pt x="48743" y="23314"/>
                  </a:lnTo>
                  <a:lnTo>
                    <a:pt x="47407" y="23648"/>
                  </a:lnTo>
                  <a:lnTo>
                    <a:pt x="46072" y="23871"/>
                  </a:lnTo>
                  <a:lnTo>
                    <a:pt x="44681" y="24149"/>
                  </a:lnTo>
                  <a:lnTo>
                    <a:pt x="43290" y="24316"/>
                  </a:lnTo>
                  <a:lnTo>
                    <a:pt x="41899" y="24427"/>
                  </a:lnTo>
                  <a:lnTo>
                    <a:pt x="40452" y="24539"/>
                  </a:lnTo>
                  <a:lnTo>
                    <a:pt x="36056" y="24539"/>
                  </a:lnTo>
                  <a:lnTo>
                    <a:pt x="34610" y="24427"/>
                  </a:lnTo>
                  <a:lnTo>
                    <a:pt x="33107" y="24316"/>
                  </a:lnTo>
                  <a:lnTo>
                    <a:pt x="31605" y="24093"/>
                  </a:lnTo>
                  <a:lnTo>
                    <a:pt x="30158" y="23926"/>
                  </a:lnTo>
                  <a:lnTo>
                    <a:pt x="28656" y="23648"/>
                  </a:lnTo>
                  <a:lnTo>
                    <a:pt x="27209" y="23370"/>
                  </a:lnTo>
                  <a:lnTo>
                    <a:pt x="25763" y="22981"/>
                  </a:lnTo>
                  <a:lnTo>
                    <a:pt x="24316" y="22647"/>
                  </a:lnTo>
                  <a:lnTo>
                    <a:pt x="22869" y="22202"/>
                  </a:lnTo>
                  <a:lnTo>
                    <a:pt x="21478" y="21756"/>
                  </a:lnTo>
                  <a:lnTo>
                    <a:pt x="20087" y="21256"/>
                  </a:lnTo>
                  <a:lnTo>
                    <a:pt x="18696" y="20755"/>
                  </a:lnTo>
                  <a:lnTo>
                    <a:pt x="17361" y="20143"/>
                  </a:lnTo>
                  <a:lnTo>
                    <a:pt x="16081" y="19586"/>
                  </a:lnTo>
                  <a:lnTo>
                    <a:pt x="14801" y="18919"/>
                  </a:lnTo>
                  <a:lnTo>
                    <a:pt x="13521" y="18251"/>
                  </a:lnTo>
                  <a:lnTo>
                    <a:pt x="12353" y="17528"/>
                  </a:lnTo>
                  <a:lnTo>
                    <a:pt x="11184" y="16804"/>
                  </a:lnTo>
                  <a:lnTo>
                    <a:pt x="10016" y="16025"/>
                  </a:lnTo>
                  <a:lnTo>
                    <a:pt x="8959" y="15191"/>
                  </a:lnTo>
                  <a:lnTo>
                    <a:pt x="7957" y="14356"/>
                  </a:lnTo>
                  <a:lnTo>
                    <a:pt x="6955" y="13466"/>
                  </a:lnTo>
                  <a:lnTo>
                    <a:pt x="6065" y="12575"/>
                  </a:lnTo>
                  <a:lnTo>
                    <a:pt x="5231" y="11685"/>
                  </a:lnTo>
                  <a:lnTo>
                    <a:pt x="4507" y="10795"/>
                  </a:lnTo>
                  <a:lnTo>
                    <a:pt x="3839" y="9905"/>
                  </a:lnTo>
                  <a:lnTo>
                    <a:pt x="3227" y="8959"/>
                  </a:lnTo>
                  <a:lnTo>
                    <a:pt x="2727" y="8068"/>
                  </a:lnTo>
                  <a:lnTo>
                    <a:pt x="2226" y="7122"/>
                  </a:lnTo>
                  <a:lnTo>
                    <a:pt x="1892" y="6232"/>
                  </a:lnTo>
                  <a:lnTo>
                    <a:pt x="1558" y="5342"/>
                  </a:lnTo>
                  <a:lnTo>
                    <a:pt x="1336" y="4396"/>
                  </a:lnTo>
                  <a:lnTo>
                    <a:pt x="1169" y="3506"/>
                  </a:lnTo>
                  <a:lnTo>
                    <a:pt x="1113" y="2615"/>
                  </a:lnTo>
                  <a:lnTo>
                    <a:pt x="1057" y="1725"/>
                  </a:lnTo>
                  <a:lnTo>
                    <a:pt x="1110" y="887"/>
                  </a:lnTo>
                  <a:close/>
                </a:path>
              </a:pathLst>
            </a:custGeom>
            <a:solidFill>
              <a:srgbClr val="FFF3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17396;p84">
              <a:extLst>
                <a:ext uri="{FF2B5EF4-FFF2-40B4-BE49-F238E27FC236}">
                  <a16:creationId xmlns:a16="http://schemas.microsoft.com/office/drawing/2014/main" id="{7CF909C7-AFE0-2C2F-8163-86F59DDE719F}"/>
                </a:ext>
              </a:extLst>
            </p:cNvPr>
            <p:cNvSpPr/>
            <p:nvPr/>
          </p:nvSpPr>
          <p:spPr>
            <a:xfrm>
              <a:off x="3241050" y="4561550"/>
              <a:ext cx="1961425" cy="912550"/>
            </a:xfrm>
            <a:custGeom>
              <a:avLst/>
              <a:gdLst/>
              <a:ahLst/>
              <a:cxnLst/>
              <a:rect l="l" t="t" r="r" b="b"/>
              <a:pathLst>
                <a:path w="78457" h="36502" extrusionOk="0">
                  <a:moveTo>
                    <a:pt x="1280" y="0"/>
                  </a:moveTo>
                  <a:lnTo>
                    <a:pt x="223" y="5564"/>
                  </a:lnTo>
                  <a:lnTo>
                    <a:pt x="56" y="6677"/>
                  </a:lnTo>
                  <a:lnTo>
                    <a:pt x="0" y="7790"/>
                  </a:lnTo>
                  <a:lnTo>
                    <a:pt x="0" y="8903"/>
                  </a:lnTo>
                  <a:lnTo>
                    <a:pt x="112" y="10016"/>
                  </a:lnTo>
                  <a:lnTo>
                    <a:pt x="334" y="11129"/>
                  </a:lnTo>
                  <a:lnTo>
                    <a:pt x="612" y="12297"/>
                  </a:lnTo>
                  <a:lnTo>
                    <a:pt x="1002" y="13410"/>
                  </a:lnTo>
                  <a:lnTo>
                    <a:pt x="1447" y="14579"/>
                  </a:lnTo>
                  <a:lnTo>
                    <a:pt x="2059" y="15747"/>
                  </a:lnTo>
                  <a:lnTo>
                    <a:pt x="2671" y="16860"/>
                  </a:lnTo>
                  <a:lnTo>
                    <a:pt x="3450" y="18028"/>
                  </a:lnTo>
                  <a:lnTo>
                    <a:pt x="4285" y="19197"/>
                  </a:lnTo>
                  <a:lnTo>
                    <a:pt x="5231" y="20310"/>
                  </a:lnTo>
                  <a:lnTo>
                    <a:pt x="6288" y="21423"/>
                  </a:lnTo>
                  <a:lnTo>
                    <a:pt x="7401" y="22535"/>
                  </a:lnTo>
                  <a:lnTo>
                    <a:pt x="8625" y="23648"/>
                  </a:lnTo>
                  <a:lnTo>
                    <a:pt x="9905" y="24705"/>
                  </a:lnTo>
                  <a:lnTo>
                    <a:pt x="11296" y="25763"/>
                  </a:lnTo>
                  <a:lnTo>
                    <a:pt x="12687" y="26709"/>
                  </a:lnTo>
                  <a:lnTo>
                    <a:pt x="14133" y="27655"/>
                  </a:lnTo>
                  <a:lnTo>
                    <a:pt x="15691" y="28545"/>
                  </a:lnTo>
                  <a:lnTo>
                    <a:pt x="17249" y="29379"/>
                  </a:lnTo>
                  <a:lnTo>
                    <a:pt x="18863" y="30214"/>
                  </a:lnTo>
                  <a:lnTo>
                    <a:pt x="20477" y="30993"/>
                  </a:lnTo>
                  <a:lnTo>
                    <a:pt x="22202" y="31661"/>
                  </a:lnTo>
                  <a:lnTo>
                    <a:pt x="23871" y="32329"/>
                  </a:lnTo>
                  <a:lnTo>
                    <a:pt x="25651" y="32996"/>
                  </a:lnTo>
                  <a:lnTo>
                    <a:pt x="27432" y="33553"/>
                  </a:lnTo>
                  <a:lnTo>
                    <a:pt x="29213" y="34053"/>
                  </a:lnTo>
                  <a:lnTo>
                    <a:pt x="31049" y="34554"/>
                  </a:lnTo>
                  <a:lnTo>
                    <a:pt x="32885" y="34999"/>
                  </a:lnTo>
                  <a:lnTo>
                    <a:pt x="34721" y="35333"/>
                  </a:lnTo>
                  <a:lnTo>
                    <a:pt x="36557" y="35667"/>
                  </a:lnTo>
                  <a:lnTo>
                    <a:pt x="38449" y="35945"/>
                  </a:lnTo>
                  <a:lnTo>
                    <a:pt x="40285" y="36168"/>
                  </a:lnTo>
                  <a:lnTo>
                    <a:pt x="42177" y="36335"/>
                  </a:lnTo>
                  <a:lnTo>
                    <a:pt x="44013" y="36446"/>
                  </a:lnTo>
                  <a:lnTo>
                    <a:pt x="45850" y="36502"/>
                  </a:lnTo>
                  <a:lnTo>
                    <a:pt x="47741" y="36502"/>
                  </a:lnTo>
                  <a:lnTo>
                    <a:pt x="49522" y="36446"/>
                  </a:lnTo>
                  <a:lnTo>
                    <a:pt x="51358" y="36335"/>
                  </a:lnTo>
                  <a:lnTo>
                    <a:pt x="53139" y="36168"/>
                  </a:lnTo>
                  <a:lnTo>
                    <a:pt x="54919" y="35945"/>
                  </a:lnTo>
                  <a:lnTo>
                    <a:pt x="56644" y="35667"/>
                  </a:lnTo>
                  <a:lnTo>
                    <a:pt x="58314" y="35333"/>
                  </a:lnTo>
                  <a:lnTo>
                    <a:pt x="59983" y="34944"/>
                  </a:lnTo>
                  <a:lnTo>
                    <a:pt x="61652" y="34443"/>
                  </a:lnTo>
                  <a:lnTo>
                    <a:pt x="63210" y="33942"/>
                  </a:lnTo>
                  <a:lnTo>
                    <a:pt x="64712" y="33386"/>
                  </a:lnTo>
                  <a:lnTo>
                    <a:pt x="66159" y="32774"/>
                  </a:lnTo>
                  <a:lnTo>
                    <a:pt x="67495" y="32106"/>
                  </a:lnTo>
                  <a:lnTo>
                    <a:pt x="68774" y="31383"/>
                  </a:lnTo>
                  <a:lnTo>
                    <a:pt x="69943" y="30659"/>
                  </a:lnTo>
                  <a:lnTo>
                    <a:pt x="71056" y="29880"/>
                  </a:lnTo>
                  <a:lnTo>
                    <a:pt x="72057" y="29046"/>
                  </a:lnTo>
                  <a:lnTo>
                    <a:pt x="73003" y="28211"/>
                  </a:lnTo>
                  <a:lnTo>
                    <a:pt x="73838" y="27321"/>
                  </a:lnTo>
                  <a:lnTo>
                    <a:pt x="74617" y="26375"/>
                  </a:lnTo>
                  <a:lnTo>
                    <a:pt x="75284" y="25429"/>
                  </a:lnTo>
                  <a:lnTo>
                    <a:pt x="75897" y="24483"/>
                  </a:lnTo>
                  <a:lnTo>
                    <a:pt x="76397" y="23481"/>
                  </a:lnTo>
                  <a:lnTo>
                    <a:pt x="76787" y="22480"/>
                  </a:lnTo>
                  <a:lnTo>
                    <a:pt x="77121" y="21423"/>
                  </a:lnTo>
                  <a:lnTo>
                    <a:pt x="77399" y="20365"/>
                  </a:lnTo>
                  <a:lnTo>
                    <a:pt x="78456" y="14801"/>
                  </a:lnTo>
                  <a:lnTo>
                    <a:pt x="78233" y="15858"/>
                  </a:lnTo>
                  <a:lnTo>
                    <a:pt x="77900" y="16916"/>
                  </a:lnTo>
                  <a:lnTo>
                    <a:pt x="77455" y="17917"/>
                  </a:lnTo>
                  <a:lnTo>
                    <a:pt x="76954" y="18919"/>
                  </a:lnTo>
                  <a:lnTo>
                    <a:pt x="76342" y="19865"/>
                  </a:lnTo>
                  <a:lnTo>
                    <a:pt x="75674" y="20811"/>
                  </a:lnTo>
                  <a:lnTo>
                    <a:pt x="74895" y="21756"/>
                  </a:lnTo>
                  <a:lnTo>
                    <a:pt x="74060" y="22647"/>
                  </a:lnTo>
                  <a:lnTo>
                    <a:pt x="73114" y="23481"/>
                  </a:lnTo>
                  <a:lnTo>
                    <a:pt x="72113" y="24316"/>
                  </a:lnTo>
                  <a:lnTo>
                    <a:pt x="71000" y="25095"/>
                  </a:lnTo>
                  <a:lnTo>
                    <a:pt x="69831" y="25818"/>
                  </a:lnTo>
                  <a:lnTo>
                    <a:pt x="68552" y="26542"/>
                  </a:lnTo>
                  <a:lnTo>
                    <a:pt x="67216" y="27209"/>
                  </a:lnTo>
                  <a:lnTo>
                    <a:pt x="65770" y="27821"/>
                  </a:lnTo>
                  <a:lnTo>
                    <a:pt x="64267" y="28378"/>
                  </a:lnTo>
                  <a:lnTo>
                    <a:pt x="62709" y="28934"/>
                  </a:lnTo>
                  <a:lnTo>
                    <a:pt x="61040" y="29379"/>
                  </a:lnTo>
                  <a:lnTo>
                    <a:pt x="59371" y="29769"/>
                  </a:lnTo>
                  <a:lnTo>
                    <a:pt x="57701" y="30103"/>
                  </a:lnTo>
                  <a:lnTo>
                    <a:pt x="55977" y="30381"/>
                  </a:lnTo>
                  <a:lnTo>
                    <a:pt x="54196" y="30604"/>
                  </a:lnTo>
                  <a:lnTo>
                    <a:pt x="52415" y="30771"/>
                  </a:lnTo>
                  <a:lnTo>
                    <a:pt x="50635" y="30882"/>
                  </a:lnTo>
                  <a:lnTo>
                    <a:pt x="48799" y="30937"/>
                  </a:lnTo>
                  <a:lnTo>
                    <a:pt x="46962" y="30937"/>
                  </a:lnTo>
                  <a:lnTo>
                    <a:pt x="45071" y="30882"/>
                  </a:lnTo>
                  <a:lnTo>
                    <a:pt x="43234" y="30771"/>
                  </a:lnTo>
                  <a:lnTo>
                    <a:pt x="41343" y="30604"/>
                  </a:lnTo>
                  <a:lnTo>
                    <a:pt x="39506" y="30381"/>
                  </a:lnTo>
                  <a:lnTo>
                    <a:pt x="37615" y="30103"/>
                  </a:lnTo>
                  <a:lnTo>
                    <a:pt x="35778" y="29825"/>
                  </a:lnTo>
                  <a:lnTo>
                    <a:pt x="33942" y="29435"/>
                  </a:lnTo>
                  <a:lnTo>
                    <a:pt x="32106" y="28990"/>
                  </a:lnTo>
                  <a:lnTo>
                    <a:pt x="30270" y="28545"/>
                  </a:lnTo>
                  <a:lnTo>
                    <a:pt x="28489" y="27988"/>
                  </a:lnTo>
                  <a:lnTo>
                    <a:pt x="26709" y="27432"/>
                  </a:lnTo>
                  <a:lnTo>
                    <a:pt x="24984" y="26820"/>
                  </a:lnTo>
                  <a:lnTo>
                    <a:pt x="23259" y="26152"/>
                  </a:lnTo>
                  <a:lnTo>
                    <a:pt x="21534" y="25429"/>
                  </a:lnTo>
                  <a:lnTo>
                    <a:pt x="19920" y="24650"/>
                  </a:lnTo>
                  <a:lnTo>
                    <a:pt x="18307" y="23871"/>
                  </a:lnTo>
                  <a:lnTo>
                    <a:pt x="16749" y="22981"/>
                  </a:lnTo>
                  <a:lnTo>
                    <a:pt x="15191" y="22090"/>
                  </a:lnTo>
                  <a:lnTo>
                    <a:pt x="13744" y="21144"/>
                  </a:lnTo>
                  <a:lnTo>
                    <a:pt x="12353" y="20198"/>
                  </a:lnTo>
                  <a:lnTo>
                    <a:pt x="10962" y="19141"/>
                  </a:lnTo>
                  <a:lnTo>
                    <a:pt x="9682" y="18084"/>
                  </a:lnTo>
                  <a:lnTo>
                    <a:pt x="8458" y="16971"/>
                  </a:lnTo>
                  <a:lnTo>
                    <a:pt x="7345" y="15858"/>
                  </a:lnTo>
                  <a:lnTo>
                    <a:pt x="6288" y="14745"/>
                  </a:lnTo>
                  <a:lnTo>
                    <a:pt x="5342" y="13633"/>
                  </a:lnTo>
                  <a:lnTo>
                    <a:pt x="4507" y="12464"/>
                  </a:lnTo>
                  <a:lnTo>
                    <a:pt x="3784" y="11351"/>
                  </a:lnTo>
                  <a:lnTo>
                    <a:pt x="3116" y="10183"/>
                  </a:lnTo>
                  <a:lnTo>
                    <a:pt x="2560" y="9014"/>
                  </a:lnTo>
                  <a:lnTo>
                    <a:pt x="2059" y="7901"/>
                  </a:lnTo>
                  <a:lnTo>
                    <a:pt x="1670" y="6733"/>
                  </a:lnTo>
                  <a:lnTo>
                    <a:pt x="1391" y="5564"/>
                  </a:lnTo>
                  <a:lnTo>
                    <a:pt x="1169" y="4452"/>
                  </a:lnTo>
                  <a:lnTo>
                    <a:pt x="1057" y="3339"/>
                  </a:lnTo>
                  <a:lnTo>
                    <a:pt x="1057" y="2226"/>
                  </a:lnTo>
                  <a:lnTo>
                    <a:pt x="1113" y="1113"/>
                  </a:lnTo>
                  <a:lnTo>
                    <a:pt x="1280" y="0"/>
                  </a:lnTo>
                  <a:close/>
                </a:path>
              </a:pathLst>
            </a:custGeom>
            <a:solidFill>
              <a:srgbClr val="BF9D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17397;p84">
              <a:extLst>
                <a:ext uri="{FF2B5EF4-FFF2-40B4-BE49-F238E27FC236}">
                  <a16:creationId xmlns:a16="http://schemas.microsoft.com/office/drawing/2014/main" id="{FC35BE1E-D139-F776-8F73-CC59379065A4}"/>
                </a:ext>
              </a:extLst>
            </p:cNvPr>
            <p:cNvSpPr/>
            <p:nvPr/>
          </p:nvSpPr>
          <p:spPr>
            <a:xfrm>
              <a:off x="3267475" y="4158125"/>
              <a:ext cx="1940550" cy="1176875"/>
            </a:xfrm>
            <a:custGeom>
              <a:avLst/>
              <a:gdLst/>
              <a:ahLst/>
              <a:cxnLst/>
              <a:rect l="l" t="t" r="r" b="b"/>
              <a:pathLst>
                <a:path w="77622" h="47075" extrusionOk="0">
                  <a:moveTo>
                    <a:pt x="33219" y="4842"/>
                  </a:moveTo>
                  <a:lnTo>
                    <a:pt x="34666" y="4897"/>
                  </a:lnTo>
                  <a:lnTo>
                    <a:pt x="36168" y="5009"/>
                  </a:lnTo>
                  <a:lnTo>
                    <a:pt x="37615" y="5120"/>
                  </a:lnTo>
                  <a:lnTo>
                    <a:pt x="39117" y="5287"/>
                  </a:lnTo>
                  <a:lnTo>
                    <a:pt x="40619" y="5509"/>
                  </a:lnTo>
                  <a:lnTo>
                    <a:pt x="42066" y="5788"/>
                  </a:lnTo>
                  <a:lnTo>
                    <a:pt x="43568" y="6066"/>
                  </a:lnTo>
                  <a:lnTo>
                    <a:pt x="45015" y="6400"/>
                  </a:lnTo>
                  <a:lnTo>
                    <a:pt x="46462" y="6789"/>
                  </a:lnTo>
                  <a:lnTo>
                    <a:pt x="47853" y="7179"/>
                  </a:lnTo>
                  <a:lnTo>
                    <a:pt x="49300" y="7680"/>
                  </a:lnTo>
                  <a:lnTo>
                    <a:pt x="50691" y="8125"/>
                  </a:lnTo>
                  <a:lnTo>
                    <a:pt x="52026" y="8681"/>
                  </a:lnTo>
                  <a:lnTo>
                    <a:pt x="53362" y="9238"/>
                  </a:lnTo>
                  <a:lnTo>
                    <a:pt x="54697" y="9850"/>
                  </a:lnTo>
                  <a:lnTo>
                    <a:pt x="55977" y="10517"/>
                  </a:lnTo>
                  <a:lnTo>
                    <a:pt x="57201" y="11185"/>
                  </a:lnTo>
                  <a:lnTo>
                    <a:pt x="58425" y="11908"/>
                  </a:lnTo>
                  <a:lnTo>
                    <a:pt x="59593" y="12632"/>
                  </a:lnTo>
                  <a:lnTo>
                    <a:pt x="60706" y="13411"/>
                  </a:lnTo>
                  <a:lnTo>
                    <a:pt x="61764" y="14245"/>
                  </a:lnTo>
                  <a:lnTo>
                    <a:pt x="62821" y="15080"/>
                  </a:lnTo>
                  <a:lnTo>
                    <a:pt x="63767" y="15915"/>
                  </a:lnTo>
                  <a:lnTo>
                    <a:pt x="64657" y="16805"/>
                  </a:lnTo>
                  <a:lnTo>
                    <a:pt x="65492" y="17695"/>
                  </a:lnTo>
                  <a:lnTo>
                    <a:pt x="66215" y="18585"/>
                  </a:lnTo>
                  <a:lnTo>
                    <a:pt x="66883" y="19531"/>
                  </a:lnTo>
                  <a:lnTo>
                    <a:pt x="67495" y="20422"/>
                  </a:lnTo>
                  <a:lnTo>
                    <a:pt x="67995" y="21312"/>
                  </a:lnTo>
                  <a:lnTo>
                    <a:pt x="68496" y="22202"/>
                  </a:lnTo>
                  <a:lnTo>
                    <a:pt x="68830" y="23148"/>
                  </a:lnTo>
                  <a:lnTo>
                    <a:pt x="69164" y="24038"/>
                  </a:lnTo>
                  <a:lnTo>
                    <a:pt x="69387" y="24929"/>
                  </a:lnTo>
                  <a:lnTo>
                    <a:pt x="69553" y="25819"/>
                  </a:lnTo>
                  <a:lnTo>
                    <a:pt x="69665" y="26709"/>
                  </a:lnTo>
                  <a:lnTo>
                    <a:pt x="69665" y="27600"/>
                  </a:lnTo>
                  <a:lnTo>
                    <a:pt x="69609" y="28490"/>
                  </a:lnTo>
                  <a:lnTo>
                    <a:pt x="69498" y="29324"/>
                  </a:lnTo>
                  <a:lnTo>
                    <a:pt x="69331" y="30215"/>
                  </a:lnTo>
                  <a:lnTo>
                    <a:pt x="69053" y="30994"/>
                  </a:lnTo>
                  <a:lnTo>
                    <a:pt x="68719" y="31828"/>
                  </a:lnTo>
                  <a:lnTo>
                    <a:pt x="68329" y="32607"/>
                  </a:lnTo>
                  <a:lnTo>
                    <a:pt x="67829" y="33386"/>
                  </a:lnTo>
                  <a:lnTo>
                    <a:pt x="67328" y="34165"/>
                  </a:lnTo>
                  <a:lnTo>
                    <a:pt x="66716" y="34889"/>
                  </a:lnTo>
                  <a:lnTo>
                    <a:pt x="66048" y="35612"/>
                  </a:lnTo>
                  <a:lnTo>
                    <a:pt x="65269" y="36280"/>
                  </a:lnTo>
                  <a:lnTo>
                    <a:pt x="64490" y="36948"/>
                  </a:lnTo>
                  <a:lnTo>
                    <a:pt x="63600" y="37560"/>
                  </a:lnTo>
                  <a:lnTo>
                    <a:pt x="62654" y="38172"/>
                  </a:lnTo>
                  <a:lnTo>
                    <a:pt x="61652" y="38728"/>
                  </a:lnTo>
                  <a:lnTo>
                    <a:pt x="60539" y="39285"/>
                  </a:lnTo>
                  <a:lnTo>
                    <a:pt x="59427" y="39785"/>
                  </a:lnTo>
                  <a:lnTo>
                    <a:pt x="58202" y="40230"/>
                  </a:lnTo>
                  <a:lnTo>
                    <a:pt x="56923" y="40620"/>
                  </a:lnTo>
                  <a:lnTo>
                    <a:pt x="55643" y="41009"/>
                  </a:lnTo>
                  <a:lnTo>
                    <a:pt x="54307" y="41343"/>
                  </a:lnTo>
                  <a:lnTo>
                    <a:pt x="52972" y="41566"/>
                  </a:lnTo>
                  <a:lnTo>
                    <a:pt x="51581" y="41844"/>
                  </a:lnTo>
                  <a:lnTo>
                    <a:pt x="50190" y="42011"/>
                  </a:lnTo>
                  <a:lnTo>
                    <a:pt x="48799" y="42122"/>
                  </a:lnTo>
                  <a:lnTo>
                    <a:pt x="47352" y="42234"/>
                  </a:lnTo>
                  <a:lnTo>
                    <a:pt x="42956" y="42234"/>
                  </a:lnTo>
                  <a:lnTo>
                    <a:pt x="41510" y="42122"/>
                  </a:lnTo>
                  <a:lnTo>
                    <a:pt x="40007" y="42011"/>
                  </a:lnTo>
                  <a:lnTo>
                    <a:pt x="38505" y="41788"/>
                  </a:lnTo>
                  <a:lnTo>
                    <a:pt x="37058" y="41621"/>
                  </a:lnTo>
                  <a:lnTo>
                    <a:pt x="35556" y="41343"/>
                  </a:lnTo>
                  <a:lnTo>
                    <a:pt x="34109" y="41065"/>
                  </a:lnTo>
                  <a:lnTo>
                    <a:pt x="32663" y="40676"/>
                  </a:lnTo>
                  <a:lnTo>
                    <a:pt x="31216" y="40342"/>
                  </a:lnTo>
                  <a:lnTo>
                    <a:pt x="29769" y="39897"/>
                  </a:lnTo>
                  <a:lnTo>
                    <a:pt x="28378" y="39451"/>
                  </a:lnTo>
                  <a:lnTo>
                    <a:pt x="26987" y="38951"/>
                  </a:lnTo>
                  <a:lnTo>
                    <a:pt x="25596" y="38450"/>
                  </a:lnTo>
                  <a:lnTo>
                    <a:pt x="24261" y="37838"/>
                  </a:lnTo>
                  <a:lnTo>
                    <a:pt x="22981" y="37281"/>
                  </a:lnTo>
                  <a:lnTo>
                    <a:pt x="21701" y="36614"/>
                  </a:lnTo>
                  <a:lnTo>
                    <a:pt x="20421" y="35946"/>
                  </a:lnTo>
                  <a:lnTo>
                    <a:pt x="19253" y="35223"/>
                  </a:lnTo>
                  <a:lnTo>
                    <a:pt x="18084" y="34499"/>
                  </a:lnTo>
                  <a:lnTo>
                    <a:pt x="16916" y="33720"/>
                  </a:lnTo>
                  <a:lnTo>
                    <a:pt x="15859" y="32886"/>
                  </a:lnTo>
                  <a:lnTo>
                    <a:pt x="14857" y="32051"/>
                  </a:lnTo>
                  <a:lnTo>
                    <a:pt x="13855" y="31161"/>
                  </a:lnTo>
                  <a:lnTo>
                    <a:pt x="12965" y="30270"/>
                  </a:lnTo>
                  <a:lnTo>
                    <a:pt x="12131" y="29380"/>
                  </a:lnTo>
                  <a:lnTo>
                    <a:pt x="11407" y="28490"/>
                  </a:lnTo>
                  <a:lnTo>
                    <a:pt x="10739" y="27600"/>
                  </a:lnTo>
                  <a:lnTo>
                    <a:pt x="10127" y="26709"/>
                  </a:lnTo>
                  <a:lnTo>
                    <a:pt x="9627" y="25763"/>
                  </a:lnTo>
                  <a:lnTo>
                    <a:pt x="9181" y="24873"/>
                  </a:lnTo>
                  <a:lnTo>
                    <a:pt x="8792" y="23983"/>
                  </a:lnTo>
                  <a:lnTo>
                    <a:pt x="8514" y="23093"/>
                  </a:lnTo>
                  <a:lnTo>
                    <a:pt x="8236" y="22147"/>
                  </a:lnTo>
                  <a:lnTo>
                    <a:pt x="8069" y="21256"/>
                  </a:lnTo>
                  <a:lnTo>
                    <a:pt x="8013" y="20366"/>
                  </a:lnTo>
                  <a:lnTo>
                    <a:pt x="7957" y="19476"/>
                  </a:lnTo>
                  <a:lnTo>
                    <a:pt x="8013" y="18641"/>
                  </a:lnTo>
                  <a:lnTo>
                    <a:pt x="8124" y="17751"/>
                  </a:lnTo>
                  <a:lnTo>
                    <a:pt x="8347" y="16916"/>
                  </a:lnTo>
                  <a:lnTo>
                    <a:pt x="8625" y="16082"/>
                  </a:lnTo>
                  <a:lnTo>
                    <a:pt x="8959" y="15247"/>
                  </a:lnTo>
                  <a:lnTo>
                    <a:pt x="9348" y="14468"/>
                  </a:lnTo>
                  <a:lnTo>
                    <a:pt x="9794" y="13689"/>
                  </a:lnTo>
                  <a:lnTo>
                    <a:pt x="10350" y="12966"/>
                  </a:lnTo>
                  <a:lnTo>
                    <a:pt x="10962" y="12187"/>
                  </a:lnTo>
                  <a:lnTo>
                    <a:pt x="11630" y="11519"/>
                  </a:lnTo>
                  <a:lnTo>
                    <a:pt x="12353" y="10795"/>
                  </a:lnTo>
                  <a:lnTo>
                    <a:pt x="13188" y="10128"/>
                  </a:lnTo>
                  <a:lnTo>
                    <a:pt x="14022" y="9516"/>
                  </a:lnTo>
                  <a:lnTo>
                    <a:pt x="14968" y="8904"/>
                  </a:lnTo>
                  <a:lnTo>
                    <a:pt x="16025" y="8347"/>
                  </a:lnTo>
                  <a:lnTo>
                    <a:pt x="17083" y="7846"/>
                  </a:lnTo>
                  <a:lnTo>
                    <a:pt x="18196" y="7346"/>
                  </a:lnTo>
                  <a:lnTo>
                    <a:pt x="19420" y="6901"/>
                  </a:lnTo>
                  <a:lnTo>
                    <a:pt x="20699" y="6455"/>
                  </a:lnTo>
                  <a:lnTo>
                    <a:pt x="21979" y="6122"/>
                  </a:lnTo>
                  <a:lnTo>
                    <a:pt x="23315" y="5788"/>
                  </a:lnTo>
                  <a:lnTo>
                    <a:pt x="24650" y="5509"/>
                  </a:lnTo>
                  <a:lnTo>
                    <a:pt x="26041" y="5287"/>
                  </a:lnTo>
                  <a:lnTo>
                    <a:pt x="27432" y="5120"/>
                  </a:lnTo>
                  <a:lnTo>
                    <a:pt x="28879" y="4953"/>
                  </a:lnTo>
                  <a:lnTo>
                    <a:pt x="30270" y="4897"/>
                  </a:lnTo>
                  <a:lnTo>
                    <a:pt x="31772" y="4842"/>
                  </a:lnTo>
                  <a:close/>
                  <a:moveTo>
                    <a:pt x="29936" y="1"/>
                  </a:moveTo>
                  <a:lnTo>
                    <a:pt x="28100" y="56"/>
                  </a:lnTo>
                  <a:lnTo>
                    <a:pt x="26264" y="168"/>
                  </a:lnTo>
                  <a:lnTo>
                    <a:pt x="24483" y="335"/>
                  </a:lnTo>
                  <a:lnTo>
                    <a:pt x="22758" y="557"/>
                  </a:lnTo>
                  <a:lnTo>
                    <a:pt x="20978" y="835"/>
                  </a:lnTo>
                  <a:lnTo>
                    <a:pt x="19308" y="1169"/>
                  </a:lnTo>
                  <a:lnTo>
                    <a:pt x="17639" y="1614"/>
                  </a:lnTo>
                  <a:lnTo>
                    <a:pt x="16025" y="2060"/>
                  </a:lnTo>
                  <a:lnTo>
                    <a:pt x="14412" y="2560"/>
                  </a:lnTo>
                  <a:lnTo>
                    <a:pt x="12910" y="3172"/>
                  </a:lnTo>
                  <a:lnTo>
                    <a:pt x="11463" y="3785"/>
                  </a:lnTo>
                  <a:lnTo>
                    <a:pt x="10127" y="4452"/>
                  </a:lnTo>
                  <a:lnTo>
                    <a:pt x="8848" y="5176"/>
                  </a:lnTo>
                  <a:lnTo>
                    <a:pt x="7623" y="5899"/>
                  </a:lnTo>
                  <a:lnTo>
                    <a:pt x="6566" y="6678"/>
                  </a:lnTo>
                  <a:lnTo>
                    <a:pt x="5509" y="7513"/>
                  </a:lnTo>
                  <a:lnTo>
                    <a:pt x="4563" y="8403"/>
                  </a:lnTo>
                  <a:lnTo>
                    <a:pt x="3729" y="9293"/>
                  </a:lnTo>
                  <a:lnTo>
                    <a:pt x="2950" y="10183"/>
                  </a:lnTo>
                  <a:lnTo>
                    <a:pt x="2282" y="11129"/>
                  </a:lnTo>
                  <a:lnTo>
                    <a:pt x="1725" y="12131"/>
                  </a:lnTo>
                  <a:lnTo>
                    <a:pt x="1225" y="13132"/>
                  </a:lnTo>
                  <a:lnTo>
                    <a:pt x="779" y="14134"/>
                  </a:lnTo>
                  <a:lnTo>
                    <a:pt x="446" y="15191"/>
                  </a:lnTo>
                  <a:lnTo>
                    <a:pt x="223" y="16248"/>
                  </a:lnTo>
                  <a:lnTo>
                    <a:pt x="56" y="17361"/>
                  </a:lnTo>
                  <a:lnTo>
                    <a:pt x="0" y="18419"/>
                  </a:lnTo>
                  <a:lnTo>
                    <a:pt x="0" y="19531"/>
                  </a:lnTo>
                  <a:lnTo>
                    <a:pt x="167" y="20700"/>
                  </a:lnTo>
                  <a:lnTo>
                    <a:pt x="334" y="21813"/>
                  </a:lnTo>
                  <a:lnTo>
                    <a:pt x="668" y="22926"/>
                  </a:lnTo>
                  <a:lnTo>
                    <a:pt x="1002" y="24094"/>
                  </a:lnTo>
                  <a:lnTo>
                    <a:pt x="1503" y="25207"/>
                  </a:lnTo>
                  <a:lnTo>
                    <a:pt x="2059" y="26375"/>
                  </a:lnTo>
                  <a:lnTo>
                    <a:pt x="2727" y="27488"/>
                  </a:lnTo>
                  <a:lnTo>
                    <a:pt x="3506" y="28657"/>
                  </a:lnTo>
                  <a:lnTo>
                    <a:pt x="4341" y="29770"/>
                  </a:lnTo>
                  <a:lnTo>
                    <a:pt x="5286" y="30938"/>
                  </a:lnTo>
                  <a:lnTo>
                    <a:pt x="6288" y="32051"/>
                  </a:lnTo>
                  <a:lnTo>
                    <a:pt x="7401" y="33108"/>
                  </a:lnTo>
                  <a:lnTo>
                    <a:pt x="8625" y="34221"/>
                  </a:lnTo>
                  <a:lnTo>
                    <a:pt x="9905" y="35278"/>
                  </a:lnTo>
                  <a:lnTo>
                    <a:pt x="11296" y="36335"/>
                  </a:lnTo>
                  <a:lnTo>
                    <a:pt x="12687" y="37281"/>
                  </a:lnTo>
                  <a:lnTo>
                    <a:pt x="14134" y="38227"/>
                  </a:lnTo>
                  <a:lnTo>
                    <a:pt x="15692" y="39118"/>
                  </a:lnTo>
                  <a:lnTo>
                    <a:pt x="17250" y="40008"/>
                  </a:lnTo>
                  <a:lnTo>
                    <a:pt x="18863" y="40787"/>
                  </a:lnTo>
                  <a:lnTo>
                    <a:pt x="20477" y="41566"/>
                  </a:lnTo>
                  <a:lnTo>
                    <a:pt x="22202" y="42289"/>
                  </a:lnTo>
                  <a:lnTo>
                    <a:pt x="23927" y="42957"/>
                  </a:lnTo>
                  <a:lnTo>
                    <a:pt x="25652" y="43569"/>
                  </a:lnTo>
                  <a:lnTo>
                    <a:pt x="27432" y="44125"/>
                  </a:lnTo>
                  <a:lnTo>
                    <a:pt x="29213" y="44682"/>
                  </a:lnTo>
                  <a:lnTo>
                    <a:pt x="31049" y="45127"/>
                  </a:lnTo>
                  <a:lnTo>
                    <a:pt x="32885" y="45572"/>
                  </a:lnTo>
                  <a:lnTo>
                    <a:pt x="34721" y="45962"/>
                  </a:lnTo>
                  <a:lnTo>
                    <a:pt x="36558" y="46240"/>
                  </a:lnTo>
                  <a:lnTo>
                    <a:pt x="38449" y="46518"/>
                  </a:lnTo>
                  <a:lnTo>
                    <a:pt x="40286" y="46741"/>
                  </a:lnTo>
                  <a:lnTo>
                    <a:pt x="42177" y="46908"/>
                  </a:lnTo>
                  <a:lnTo>
                    <a:pt x="44014" y="47019"/>
                  </a:lnTo>
                  <a:lnTo>
                    <a:pt x="45905" y="47074"/>
                  </a:lnTo>
                  <a:lnTo>
                    <a:pt x="47742" y="47074"/>
                  </a:lnTo>
                  <a:lnTo>
                    <a:pt x="49578" y="47019"/>
                  </a:lnTo>
                  <a:lnTo>
                    <a:pt x="51358" y="46908"/>
                  </a:lnTo>
                  <a:lnTo>
                    <a:pt x="53139" y="46741"/>
                  </a:lnTo>
                  <a:lnTo>
                    <a:pt x="54920" y="46518"/>
                  </a:lnTo>
                  <a:lnTo>
                    <a:pt x="56644" y="46240"/>
                  </a:lnTo>
                  <a:lnTo>
                    <a:pt x="58314" y="45906"/>
                  </a:lnTo>
                  <a:lnTo>
                    <a:pt x="59983" y="45516"/>
                  </a:lnTo>
                  <a:lnTo>
                    <a:pt x="61652" y="45071"/>
                  </a:lnTo>
                  <a:lnTo>
                    <a:pt x="63210" y="44515"/>
                  </a:lnTo>
                  <a:lnTo>
                    <a:pt x="64768" y="43958"/>
                  </a:lnTo>
                  <a:lnTo>
                    <a:pt x="66159" y="43346"/>
                  </a:lnTo>
                  <a:lnTo>
                    <a:pt x="67550" y="42679"/>
                  </a:lnTo>
                  <a:lnTo>
                    <a:pt x="68830" y="41955"/>
                  </a:lnTo>
                  <a:lnTo>
                    <a:pt x="69999" y="41176"/>
                  </a:lnTo>
                  <a:lnTo>
                    <a:pt x="71111" y="40397"/>
                  </a:lnTo>
                  <a:lnTo>
                    <a:pt x="72113" y="39563"/>
                  </a:lnTo>
                  <a:lnTo>
                    <a:pt x="73059" y="38728"/>
                  </a:lnTo>
                  <a:lnTo>
                    <a:pt x="73894" y="37838"/>
                  </a:lnTo>
                  <a:lnTo>
                    <a:pt x="74673" y="36892"/>
                  </a:lnTo>
                  <a:lnTo>
                    <a:pt x="75340" y="35946"/>
                  </a:lnTo>
                  <a:lnTo>
                    <a:pt x="75952" y="35000"/>
                  </a:lnTo>
                  <a:lnTo>
                    <a:pt x="76453" y="33998"/>
                  </a:lnTo>
                  <a:lnTo>
                    <a:pt x="76843" y="32941"/>
                  </a:lnTo>
                  <a:lnTo>
                    <a:pt x="77176" y="31884"/>
                  </a:lnTo>
                  <a:lnTo>
                    <a:pt x="77399" y="30827"/>
                  </a:lnTo>
                  <a:lnTo>
                    <a:pt x="77566" y="29770"/>
                  </a:lnTo>
                  <a:lnTo>
                    <a:pt x="77622" y="28657"/>
                  </a:lnTo>
                  <a:lnTo>
                    <a:pt x="77622" y="27544"/>
                  </a:lnTo>
                  <a:lnTo>
                    <a:pt x="77510" y="26431"/>
                  </a:lnTo>
                  <a:lnTo>
                    <a:pt x="77288" y="25318"/>
                  </a:lnTo>
                  <a:lnTo>
                    <a:pt x="77010" y="24150"/>
                  </a:lnTo>
                  <a:lnTo>
                    <a:pt x="76620" y="23037"/>
                  </a:lnTo>
                  <a:lnTo>
                    <a:pt x="76119" y="21868"/>
                  </a:lnTo>
                  <a:lnTo>
                    <a:pt x="75563" y="20756"/>
                  </a:lnTo>
                  <a:lnTo>
                    <a:pt x="74895" y="19587"/>
                  </a:lnTo>
                  <a:lnTo>
                    <a:pt x="74172" y="18474"/>
                  </a:lnTo>
                  <a:lnTo>
                    <a:pt x="73337" y="17306"/>
                  </a:lnTo>
                  <a:lnTo>
                    <a:pt x="72391" y="16193"/>
                  </a:lnTo>
                  <a:lnTo>
                    <a:pt x="71334" y="15080"/>
                  </a:lnTo>
                  <a:lnTo>
                    <a:pt x="70221" y="13967"/>
                  </a:lnTo>
                  <a:lnTo>
                    <a:pt x="68997" y="12854"/>
                  </a:lnTo>
                  <a:lnTo>
                    <a:pt x="67717" y="11797"/>
                  </a:lnTo>
                  <a:lnTo>
                    <a:pt x="66382" y="10795"/>
                  </a:lnTo>
                  <a:lnTo>
                    <a:pt x="64935" y="9794"/>
                  </a:lnTo>
                  <a:lnTo>
                    <a:pt x="63488" y="8848"/>
                  </a:lnTo>
                  <a:lnTo>
                    <a:pt x="61986" y="7958"/>
                  </a:lnTo>
                  <a:lnTo>
                    <a:pt x="60372" y="7123"/>
                  </a:lnTo>
                  <a:lnTo>
                    <a:pt x="58815" y="6288"/>
                  </a:lnTo>
                  <a:lnTo>
                    <a:pt x="57145" y="5565"/>
                  </a:lnTo>
                  <a:lnTo>
                    <a:pt x="55476" y="4842"/>
                  </a:lnTo>
                  <a:lnTo>
                    <a:pt x="53751" y="4174"/>
                  </a:lnTo>
                  <a:lnTo>
                    <a:pt x="51970" y="3562"/>
                  </a:lnTo>
                  <a:lnTo>
                    <a:pt x="50190" y="2950"/>
                  </a:lnTo>
                  <a:lnTo>
                    <a:pt x="48409" y="2449"/>
                  </a:lnTo>
                  <a:lnTo>
                    <a:pt x="46573" y="1948"/>
                  </a:lnTo>
                  <a:lnTo>
                    <a:pt x="44737" y="1559"/>
                  </a:lnTo>
                  <a:lnTo>
                    <a:pt x="42901" y="1169"/>
                  </a:lnTo>
                  <a:lnTo>
                    <a:pt x="41065" y="835"/>
                  </a:lnTo>
                  <a:lnTo>
                    <a:pt x="39173" y="557"/>
                  </a:lnTo>
                  <a:lnTo>
                    <a:pt x="37337" y="335"/>
                  </a:lnTo>
                  <a:lnTo>
                    <a:pt x="35445" y="168"/>
                  </a:lnTo>
                  <a:lnTo>
                    <a:pt x="33608" y="56"/>
                  </a:lnTo>
                  <a:lnTo>
                    <a:pt x="31772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" name="Google Shape;17398;p84">
              <a:extLst>
                <a:ext uri="{FF2B5EF4-FFF2-40B4-BE49-F238E27FC236}">
                  <a16:creationId xmlns:a16="http://schemas.microsoft.com/office/drawing/2014/main" id="{9AA2B556-B7C6-723B-2DAF-08D44D696205}"/>
                </a:ext>
              </a:extLst>
            </p:cNvPr>
            <p:cNvSpPr/>
            <p:nvPr/>
          </p:nvSpPr>
          <p:spPr>
            <a:xfrm>
              <a:off x="3466400" y="4279150"/>
              <a:ext cx="1542700" cy="934825"/>
            </a:xfrm>
            <a:custGeom>
              <a:avLst/>
              <a:gdLst/>
              <a:ahLst/>
              <a:cxnLst/>
              <a:rect l="l" t="t" r="r" b="b"/>
              <a:pathLst>
                <a:path w="61708" h="37393" extrusionOk="0">
                  <a:moveTo>
                    <a:pt x="23815" y="1"/>
                  </a:moveTo>
                  <a:lnTo>
                    <a:pt x="22313" y="56"/>
                  </a:lnTo>
                  <a:lnTo>
                    <a:pt x="20922" y="112"/>
                  </a:lnTo>
                  <a:lnTo>
                    <a:pt x="19475" y="279"/>
                  </a:lnTo>
                  <a:lnTo>
                    <a:pt x="18084" y="446"/>
                  </a:lnTo>
                  <a:lnTo>
                    <a:pt x="16693" y="668"/>
                  </a:lnTo>
                  <a:lnTo>
                    <a:pt x="15358" y="947"/>
                  </a:lnTo>
                  <a:lnTo>
                    <a:pt x="14022" y="1281"/>
                  </a:lnTo>
                  <a:lnTo>
                    <a:pt x="12742" y="1614"/>
                  </a:lnTo>
                  <a:lnTo>
                    <a:pt x="11463" y="2060"/>
                  </a:lnTo>
                  <a:lnTo>
                    <a:pt x="10239" y="2505"/>
                  </a:lnTo>
                  <a:lnTo>
                    <a:pt x="9126" y="3005"/>
                  </a:lnTo>
                  <a:lnTo>
                    <a:pt x="8068" y="3506"/>
                  </a:lnTo>
                  <a:lnTo>
                    <a:pt x="7011" y="4063"/>
                  </a:lnTo>
                  <a:lnTo>
                    <a:pt x="6065" y="4675"/>
                  </a:lnTo>
                  <a:lnTo>
                    <a:pt x="5231" y="5287"/>
                  </a:lnTo>
                  <a:lnTo>
                    <a:pt x="4396" y="5954"/>
                  </a:lnTo>
                  <a:lnTo>
                    <a:pt x="3673" y="6678"/>
                  </a:lnTo>
                  <a:lnTo>
                    <a:pt x="3005" y="7346"/>
                  </a:lnTo>
                  <a:lnTo>
                    <a:pt x="2393" y="8125"/>
                  </a:lnTo>
                  <a:lnTo>
                    <a:pt x="1837" y="8848"/>
                  </a:lnTo>
                  <a:lnTo>
                    <a:pt x="1391" y="9627"/>
                  </a:lnTo>
                  <a:lnTo>
                    <a:pt x="1002" y="10406"/>
                  </a:lnTo>
                  <a:lnTo>
                    <a:pt x="668" y="11241"/>
                  </a:lnTo>
                  <a:lnTo>
                    <a:pt x="390" y="12075"/>
                  </a:lnTo>
                  <a:lnTo>
                    <a:pt x="167" y="12910"/>
                  </a:lnTo>
                  <a:lnTo>
                    <a:pt x="56" y="13800"/>
                  </a:lnTo>
                  <a:lnTo>
                    <a:pt x="0" y="14635"/>
                  </a:lnTo>
                  <a:lnTo>
                    <a:pt x="56" y="15525"/>
                  </a:lnTo>
                  <a:lnTo>
                    <a:pt x="112" y="16415"/>
                  </a:lnTo>
                  <a:lnTo>
                    <a:pt x="279" y="17306"/>
                  </a:lnTo>
                  <a:lnTo>
                    <a:pt x="557" y="18252"/>
                  </a:lnTo>
                  <a:lnTo>
                    <a:pt x="835" y="19142"/>
                  </a:lnTo>
                  <a:lnTo>
                    <a:pt x="1224" y="20032"/>
                  </a:lnTo>
                  <a:lnTo>
                    <a:pt x="1670" y="20922"/>
                  </a:lnTo>
                  <a:lnTo>
                    <a:pt x="2170" y="21868"/>
                  </a:lnTo>
                  <a:lnTo>
                    <a:pt x="2782" y="22759"/>
                  </a:lnTo>
                  <a:lnTo>
                    <a:pt x="3450" y="23649"/>
                  </a:lnTo>
                  <a:lnTo>
                    <a:pt x="4174" y="24539"/>
                  </a:lnTo>
                  <a:lnTo>
                    <a:pt x="5008" y="25429"/>
                  </a:lnTo>
                  <a:lnTo>
                    <a:pt x="5898" y="26320"/>
                  </a:lnTo>
                  <a:lnTo>
                    <a:pt x="6900" y="27210"/>
                  </a:lnTo>
                  <a:lnTo>
                    <a:pt x="7902" y="28045"/>
                  </a:lnTo>
                  <a:lnTo>
                    <a:pt x="8959" y="28879"/>
                  </a:lnTo>
                  <a:lnTo>
                    <a:pt x="10127" y="29658"/>
                  </a:lnTo>
                  <a:lnTo>
                    <a:pt x="11296" y="30382"/>
                  </a:lnTo>
                  <a:lnTo>
                    <a:pt x="12464" y="31105"/>
                  </a:lnTo>
                  <a:lnTo>
                    <a:pt x="13744" y="31773"/>
                  </a:lnTo>
                  <a:lnTo>
                    <a:pt x="15024" y="32440"/>
                  </a:lnTo>
                  <a:lnTo>
                    <a:pt x="16304" y="32997"/>
                  </a:lnTo>
                  <a:lnTo>
                    <a:pt x="17639" y="33609"/>
                  </a:lnTo>
                  <a:lnTo>
                    <a:pt x="19030" y="34110"/>
                  </a:lnTo>
                  <a:lnTo>
                    <a:pt x="20421" y="34610"/>
                  </a:lnTo>
                  <a:lnTo>
                    <a:pt x="21812" y="35056"/>
                  </a:lnTo>
                  <a:lnTo>
                    <a:pt x="23259" y="35501"/>
                  </a:lnTo>
                  <a:lnTo>
                    <a:pt x="24706" y="35835"/>
                  </a:lnTo>
                  <a:lnTo>
                    <a:pt x="26152" y="36224"/>
                  </a:lnTo>
                  <a:lnTo>
                    <a:pt x="27599" y="36502"/>
                  </a:lnTo>
                  <a:lnTo>
                    <a:pt x="29101" y="36780"/>
                  </a:lnTo>
                  <a:lnTo>
                    <a:pt x="30548" y="36947"/>
                  </a:lnTo>
                  <a:lnTo>
                    <a:pt x="32050" y="37170"/>
                  </a:lnTo>
                  <a:lnTo>
                    <a:pt x="33553" y="37281"/>
                  </a:lnTo>
                  <a:lnTo>
                    <a:pt x="34999" y="37393"/>
                  </a:lnTo>
                  <a:lnTo>
                    <a:pt x="39395" y="37393"/>
                  </a:lnTo>
                  <a:lnTo>
                    <a:pt x="40842" y="37281"/>
                  </a:lnTo>
                  <a:lnTo>
                    <a:pt x="42233" y="37170"/>
                  </a:lnTo>
                  <a:lnTo>
                    <a:pt x="43624" y="37003"/>
                  </a:lnTo>
                  <a:lnTo>
                    <a:pt x="45015" y="36725"/>
                  </a:lnTo>
                  <a:lnTo>
                    <a:pt x="46350" y="36502"/>
                  </a:lnTo>
                  <a:lnTo>
                    <a:pt x="47686" y="36168"/>
                  </a:lnTo>
                  <a:lnTo>
                    <a:pt x="48966" y="35779"/>
                  </a:lnTo>
                  <a:lnTo>
                    <a:pt x="50245" y="35389"/>
                  </a:lnTo>
                  <a:lnTo>
                    <a:pt x="51470" y="34944"/>
                  </a:lnTo>
                  <a:lnTo>
                    <a:pt x="52582" y="34444"/>
                  </a:lnTo>
                  <a:lnTo>
                    <a:pt x="53695" y="33887"/>
                  </a:lnTo>
                  <a:lnTo>
                    <a:pt x="54697" y="33331"/>
                  </a:lnTo>
                  <a:lnTo>
                    <a:pt x="55643" y="32719"/>
                  </a:lnTo>
                  <a:lnTo>
                    <a:pt x="56533" y="32107"/>
                  </a:lnTo>
                  <a:lnTo>
                    <a:pt x="57312" y="31439"/>
                  </a:lnTo>
                  <a:lnTo>
                    <a:pt x="58091" y="30771"/>
                  </a:lnTo>
                  <a:lnTo>
                    <a:pt x="58759" y="30048"/>
                  </a:lnTo>
                  <a:lnTo>
                    <a:pt x="59371" y="29324"/>
                  </a:lnTo>
                  <a:lnTo>
                    <a:pt x="59872" y="28545"/>
                  </a:lnTo>
                  <a:lnTo>
                    <a:pt x="60372" y="27766"/>
                  </a:lnTo>
                  <a:lnTo>
                    <a:pt x="60762" y="26987"/>
                  </a:lnTo>
                  <a:lnTo>
                    <a:pt x="61096" y="26153"/>
                  </a:lnTo>
                  <a:lnTo>
                    <a:pt x="61374" y="25374"/>
                  </a:lnTo>
                  <a:lnTo>
                    <a:pt x="61541" y="24483"/>
                  </a:lnTo>
                  <a:lnTo>
                    <a:pt x="61652" y="23649"/>
                  </a:lnTo>
                  <a:lnTo>
                    <a:pt x="61708" y="22759"/>
                  </a:lnTo>
                  <a:lnTo>
                    <a:pt x="61708" y="21868"/>
                  </a:lnTo>
                  <a:lnTo>
                    <a:pt x="61596" y="20978"/>
                  </a:lnTo>
                  <a:lnTo>
                    <a:pt x="61430" y="20088"/>
                  </a:lnTo>
                  <a:lnTo>
                    <a:pt x="61207" y="19197"/>
                  </a:lnTo>
                  <a:lnTo>
                    <a:pt x="60873" y="18307"/>
                  </a:lnTo>
                  <a:lnTo>
                    <a:pt x="60539" y="17361"/>
                  </a:lnTo>
                  <a:lnTo>
                    <a:pt x="60038" y="16471"/>
                  </a:lnTo>
                  <a:lnTo>
                    <a:pt x="59538" y="15581"/>
                  </a:lnTo>
                  <a:lnTo>
                    <a:pt x="58926" y="14690"/>
                  </a:lnTo>
                  <a:lnTo>
                    <a:pt x="58258" y="13744"/>
                  </a:lnTo>
                  <a:lnTo>
                    <a:pt x="57535" y="12854"/>
                  </a:lnTo>
                  <a:lnTo>
                    <a:pt x="56700" y="11964"/>
                  </a:lnTo>
                  <a:lnTo>
                    <a:pt x="55810" y="11074"/>
                  </a:lnTo>
                  <a:lnTo>
                    <a:pt x="54864" y="10239"/>
                  </a:lnTo>
                  <a:lnTo>
                    <a:pt x="53807" y="9404"/>
                  </a:lnTo>
                  <a:lnTo>
                    <a:pt x="52749" y="8570"/>
                  </a:lnTo>
                  <a:lnTo>
                    <a:pt x="51636" y="7791"/>
                  </a:lnTo>
                  <a:lnTo>
                    <a:pt x="50468" y="7067"/>
                  </a:lnTo>
                  <a:lnTo>
                    <a:pt x="49244" y="6344"/>
                  </a:lnTo>
                  <a:lnTo>
                    <a:pt x="48020" y="5676"/>
                  </a:lnTo>
                  <a:lnTo>
                    <a:pt x="46740" y="5009"/>
                  </a:lnTo>
                  <a:lnTo>
                    <a:pt x="45405" y="4397"/>
                  </a:lnTo>
                  <a:lnTo>
                    <a:pt x="44069" y="3840"/>
                  </a:lnTo>
                  <a:lnTo>
                    <a:pt x="42734" y="3284"/>
                  </a:lnTo>
                  <a:lnTo>
                    <a:pt x="41343" y="2839"/>
                  </a:lnTo>
                  <a:lnTo>
                    <a:pt x="39896" y="2338"/>
                  </a:lnTo>
                  <a:lnTo>
                    <a:pt x="38505" y="1948"/>
                  </a:lnTo>
                  <a:lnTo>
                    <a:pt x="37058" y="1559"/>
                  </a:lnTo>
                  <a:lnTo>
                    <a:pt x="35611" y="1225"/>
                  </a:lnTo>
                  <a:lnTo>
                    <a:pt x="34109" y="947"/>
                  </a:lnTo>
                  <a:lnTo>
                    <a:pt x="32662" y="668"/>
                  </a:lnTo>
                  <a:lnTo>
                    <a:pt x="31160" y="446"/>
                  </a:lnTo>
                  <a:lnTo>
                    <a:pt x="29658" y="279"/>
                  </a:lnTo>
                  <a:lnTo>
                    <a:pt x="28211" y="168"/>
                  </a:lnTo>
                  <a:lnTo>
                    <a:pt x="26709" y="56"/>
                  </a:lnTo>
                  <a:lnTo>
                    <a:pt x="25262" y="1"/>
                  </a:lnTo>
                  <a:close/>
                </a:path>
              </a:pathLst>
            </a:custGeom>
            <a:solidFill>
              <a:srgbClr val="FFF3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05" name="Google Shape;63331;p144">
            <a:extLst>
              <a:ext uri="{FF2B5EF4-FFF2-40B4-BE49-F238E27FC236}">
                <a16:creationId xmlns:a16="http://schemas.microsoft.com/office/drawing/2014/main" id="{BE5A6097-22E9-16EC-89BA-998A06467303}"/>
              </a:ext>
            </a:extLst>
          </p:cNvPr>
          <p:cNvGrpSpPr/>
          <p:nvPr/>
        </p:nvGrpSpPr>
        <p:grpSpPr>
          <a:xfrm>
            <a:off x="6485224" y="4803806"/>
            <a:ext cx="1085142" cy="737644"/>
            <a:chOff x="3174650" y="633450"/>
            <a:chExt cx="4207225" cy="2849950"/>
          </a:xfrm>
        </p:grpSpPr>
        <p:sp>
          <p:nvSpPr>
            <p:cNvPr id="206" name="Google Shape;63332;p144">
              <a:extLst>
                <a:ext uri="{FF2B5EF4-FFF2-40B4-BE49-F238E27FC236}">
                  <a16:creationId xmlns:a16="http://schemas.microsoft.com/office/drawing/2014/main" id="{E81300FA-8C8A-5595-59BA-74664AA90836}"/>
                </a:ext>
              </a:extLst>
            </p:cNvPr>
            <p:cNvSpPr/>
            <p:nvPr/>
          </p:nvSpPr>
          <p:spPr>
            <a:xfrm>
              <a:off x="5377450" y="633450"/>
              <a:ext cx="1125825" cy="2849950"/>
            </a:xfrm>
            <a:custGeom>
              <a:avLst/>
              <a:gdLst/>
              <a:ahLst/>
              <a:cxnLst/>
              <a:rect l="l" t="t" r="r" b="b"/>
              <a:pathLst>
                <a:path w="45033" h="113998" extrusionOk="0">
                  <a:moveTo>
                    <a:pt x="1" y="0"/>
                  </a:moveTo>
                  <a:lnTo>
                    <a:pt x="25446" y="0"/>
                  </a:lnTo>
                  <a:lnTo>
                    <a:pt x="45033" y="22611"/>
                  </a:lnTo>
                  <a:lnTo>
                    <a:pt x="45033" y="109526"/>
                  </a:lnTo>
                  <a:lnTo>
                    <a:pt x="45033" y="113997"/>
                  </a:lnTo>
                  <a:lnTo>
                    <a:pt x="45033" y="113997"/>
                  </a:lnTo>
                  <a:lnTo>
                    <a:pt x="1" y="113997"/>
                  </a:lnTo>
                  <a:lnTo>
                    <a:pt x="1" y="109526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FDF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63333;p144">
              <a:extLst>
                <a:ext uri="{FF2B5EF4-FFF2-40B4-BE49-F238E27FC236}">
                  <a16:creationId xmlns:a16="http://schemas.microsoft.com/office/drawing/2014/main" id="{B125ED98-2714-223B-2771-38E216243398}"/>
                </a:ext>
              </a:extLst>
            </p:cNvPr>
            <p:cNvSpPr/>
            <p:nvPr/>
          </p:nvSpPr>
          <p:spPr>
            <a:xfrm>
              <a:off x="3788725" y="1508875"/>
              <a:ext cx="1125825" cy="1974525"/>
            </a:xfrm>
            <a:custGeom>
              <a:avLst/>
              <a:gdLst/>
              <a:ahLst/>
              <a:cxnLst/>
              <a:rect l="l" t="t" r="r" b="b"/>
              <a:pathLst>
                <a:path w="45033" h="78981" extrusionOk="0">
                  <a:moveTo>
                    <a:pt x="45033" y="12219"/>
                  </a:moveTo>
                  <a:lnTo>
                    <a:pt x="45033" y="78980"/>
                  </a:lnTo>
                  <a:lnTo>
                    <a:pt x="1" y="78980"/>
                  </a:lnTo>
                  <a:lnTo>
                    <a:pt x="1" y="12219"/>
                  </a:lnTo>
                  <a:lnTo>
                    <a:pt x="10582" y="1"/>
                  </a:lnTo>
                  <a:lnTo>
                    <a:pt x="34452" y="1"/>
                  </a:lnTo>
                  <a:lnTo>
                    <a:pt x="45033" y="12219"/>
                  </a:lnTo>
                  <a:lnTo>
                    <a:pt x="45033" y="12219"/>
                  </a:lnTo>
                  <a:close/>
                </a:path>
              </a:pathLst>
            </a:custGeom>
            <a:solidFill>
              <a:srgbClr val="DFDF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208" name="Google Shape;63334;p144">
              <a:extLst>
                <a:ext uri="{FF2B5EF4-FFF2-40B4-BE49-F238E27FC236}">
                  <a16:creationId xmlns:a16="http://schemas.microsoft.com/office/drawing/2014/main" id="{1E10C7A8-1811-210A-B9B8-95AFBEC6DD19}"/>
                </a:ext>
              </a:extLst>
            </p:cNvPr>
            <p:cNvGrpSpPr/>
            <p:nvPr/>
          </p:nvGrpSpPr>
          <p:grpSpPr>
            <a:xfrm>
              <a:off x="4829500" y="1508875"/>
              <a:ext cx="1162050" cy="1974525"/>
              <a:chOff x="4829500" y="1508875"/>
              <a:chExt cx="1162050" cy="1974525"/>
            </a:xfrm>
          </p:grpSpPr>
          <p:sp>
            <p:nvSpPr>
              <p:cNvPr id="261" name="Google Shape;63335;p144">
                <a:extLst>
                  <a:ext uri="{FF2B5EF4-FFF2-40B4-BE49-F238E27FC236}">
                    <a16:creationId xmlns:a16="http://schemas.microsoft.com/office/drawing/2014/main" id="{CC96AAE4-CD0E-9F8F-C927-FE363E0CA90F}"/>
                  </a:ext>
                </a:extLst>
              </p:cNvPr>
              <p:cNvSpPr/>
              <p:nvPr/>
            </p:nvSpPr>
            <p:spPr>
              <a:xfrm>
                <a:off x="4846825" y="2230025"/>
                <a:ext cx="530650" cy="1253375"/>
              </a:xfrm>
              <a:custGeom>
                <a:avLst/>
                <a:gdLst/>
                <a:ahLst/>
                <a:cxnLst/>
                <a:rect l="l" t="t" r="r" b="b"/>
                <a:pathLst>
                  <a:path w="21226" h="50135" extrusionOk="0">
                    <a:moveTo>
                      <a:pt x="10645" y="50134"/>
                    </a:moveTo>
                    <a:lnTo>
                      <a:pt x="21226" y="50134"/>
                    </a:lnTo>
                    <a:lnTo>
                      <a:pt x="21226" y="1"/>
                    </a:lnTo>
                    <a:lnTo>
                      <a:pt x="1" y="1"/>
                    </a:lnTo>
                    <a:lnTo>
                      <a:pt x="1" y="50134"/>
                    </a:lnTo>
                    <a:lnTo>
                      <a:pt x="10645" y="50134"/>
                    </a:lnTo>
                    <a:lnTo>
                      <a:pt x="10645" y="50134"/>
                    </a:ln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2" name="Google Shape;63336;p144">
                <a:extLst>
                  <a:ext uri="{FF2B5EF4-FFF2-40B4-BE49-F238E27FC236}">
                    <a16:creationId xmlns:a16="http://schemas.microsoft.com/office/drawing/2014/main" id="{FDB0C8BA-06E5-70E8-F95A-EFE95E75982C}"/>
                  </a:ext>
                </a:extLst>
              </p:cNvPr>
              <p:cNvSpPr/>
              <p:nvPr/>
            </p:nvSpPr>
            <p:spPr>
              <a:xfrm>
                <a:off x="5654575" y="1508875"/>
                <a:ext cx="319650" cy="305500"/>
              </a:xfrm>
              <a:custGeom>
                <a:avLst/>
                <a:gdLst/>
                <a:ahLst/>
                <a:cxnLst/>
                <a:rect l="l" t="t" r="r" b="b"/>
                <a:pathLst>
                  <a:path w="12786" h="12220" extrusionOk="0">
                    <a:moveTo>
                      <a:pt x="2142" y="1"/>
                    </a:moveTo>
                    <a:lnTo>
                      <a:pt x="1" y="1"/>
                    </a:lnTo>
                    <a:lnTo>
                      <a:pt x="10582" y="12219"/>
                    </a:lnTo>
                    <a:lnTo>
                      <a:pt x="12786" y="12219"/>
                    </a:lnTo>
                    <a:lnTo>
                      <a:pt x="2142" y="1"/>
                    </a:lnTo>
                    <a:lnTo>
                      <a:pt x="2142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3" name="Google Shape;63337;p144">
                <a:extLst>
                  <a:ext uri="{FF2B5EF4-FFF2-40B4-BE49-F238E27FC236}">
                    <a16:creationId xmlns:a16="http://schemas.microsoft.com/office/drawing/2014/main" id="{098D5DE2-FEFD-EF47-BBB5-6EE9259C6052}"/>
                  </a:ext>
                </a:extLst>
              </p:cNvPr>
              <p:cNvSpPr/>
              <p:nvPr/>
            </p:nvSpPr>
            <p:spPr>
              <a:xfrm>
                <a:off x="5377450" y="1814350"/>
                <a:ext cx="596775" cy="1669050"/>
              </a:xfrm>
              <a:custGeom>
                <a:avLst/>
                <a:gdLst/>
                <a:ahLst/>
                <a:cxnLst/>
                <a:rect l="l" t="t" r="r" b="b"/>
                <a:pathLst>
                  <a:path w="23871" h="66762" extrusionOk="0">
                    <a:moveTo>
                      <a:pt x="1" y="66761"/>
                    </a:moveTo>
                    <a:lnTo>
                      <a:pt x="23871" y="66761"/>
                    </a:lnTo>
                    <a:lnTo>
                      <a:pt x="23871" y="0"/>
                    </a:lnTo>
                    <a:lnTo>
                      <a:pt x="13668" y="0"/>
                    </a:lnTo>
                    <a:lnTo>
                      <a:pt x="13668" y="16628"/>
                    </a:lnTo>
                    <a:lnTo>
                      <a:pt x="1" y="16628"/>
                    </a:lnTo>
                    <a:lnTo>
                      <a:pt x="1" y="66761"/>
                    </a:lnTo>
                    <a:lnTo>
                      <a:pt x="1" y="6676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4" name="Google Shape;63338;p144">
                <a:extLst>
                  <a:ext uri="{FF2B5EF4-FFF2-40B4-BE49-F238E27FC236}">
                    <a16:creationId xmlns:a16="http://schemas.microsoft.com/office/drawing/2014/main" id="{CED36A1A-D92F-F627-5229-7032B12C6192}"/>
                  </a:ext>
                </a:extLst>
              </p:cNvPr>
              <p:cNvSpPr/>
              <p:nvPr/>
            </p:nvSpPr>
            <p:spPr>
              <a:xfrm>
                <a:off x="5630950" y="2680350"/>
                <a:ext cx="882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3528" h="8063" extrusionOk="0">
                    <a:moveTo>
                      <a:pt x="1" y="8062"/>
                    </a:moveTo>
                    <a:lnTo>
                      <a:pt x="3528" y="8062"/>
                    </a:lnTo>
                    <a:lnTo>
                      <a:pt x="3528" y="1"/>
                    </a:lnTo>
                    <a:lnTo>
                      <a:pt x="1" y="1"/>
                    </a:lnTo>
                    <a:lnTo>
                      <a:pt x="1" y="8062"/>
                    </a:lnTo>
                    <a:lnTo>
                      <a:pt x="1" y="8062"/>
                    </a:lnTo>
                    <a:close/>
                  </a:path>
                </a:pathLst>
              </a:custGeom>
              <a:solidFill>
                <a:srgbClr val="2C3B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5" name="Google Shape;63339;p144">
                <a:extLst>
                  <a:ext uri="{FF2B5EF4-FFF2-40B4-BE49-F238E27FC236}">
                    <a16:creationId xmlns:a16="http://schemas.microsoft.com/office/drawing/2014/main" id="{4170E0CC-88FA-B551-3066-EAD7D6C3455A}"/>
                  </a:ext>
                </a:extLst>
              </p:cNvPr>
              <p:cNvSpPr/>
              <p:nvPr/>
            </p:nvSpPr>
            <p:spPr>
              <a:xfrm>
                <a:off x="5692375" y="2680350"/>
                <a:ext cx="26775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1071" h="8063" extrusionOk="0">
                    <a:moveTo>
                      <a:pt x="0" y="8062"/>
                    </a:moveTo>
                    <a:lnTo>
                      <a:pt x="1071" y="8062"/>
                    </a:lnTo>
                    <a:lnTo>
                      <a:pt x="1071" y="1"/>
                    </a:lnTo>
                    <a:lnTo>
                      <a:pt x="0" y="1"/>
                    </a:lnTo>
                    <a:lnTo>
                      <a:pt x="0" y="8062"/>
                    </a:lnTo>
                    <a:lnTo>
                      <a:pt x="0" y="8062"/>
                    </a:ln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6" name="Google Shape;63340;p144">
                <a:extLst>
                  <a:ext uri="{FF2B5EF4-FFF2-40B4-BE49-F238E27FC236}">
                    <a16:creationId xmlns:a16="http://schemas.microsoft.com/office/drawing/2014/main" id="{F274CA46-365C-5F4D-F72D-2C0ED954F52A}"/>
                  </a:ext>
                </a:extLst>
              </p:cNvPr>
              <p:cNvSpPr/>
              <p:nvPr/>
            </p:nvSpPr>
            <p:spPr>
              <a:xfrm>
                <a:off x="5443575" y="3083425"/>
                <a:ext cx="198425" cy="399975"/>
              </a:xfrm>
              <a:custGeom>
                <a:avLst/>
                <a:gdLst/>
                <a:ahLst/>
                <a:cxnLst/>
                <a:rect l="l" t="t" r="r" b="b"/>
                <a:pathLst>
                  <a:path w="7937" h="15999" extrusionOk="0">
                    <a:moveTo>
                      <a:pt x="3969" y="1"/>
                    </a:moveTo>
                    <a:lnTo>
                      <a:pt x="3969" y="1"/>
                    </a:lnTo>
                    <a:lnTo>
                      <a:pt x="4347" y="1"/>
                    </a:lnTo>
                    <a:lnTo>
                      <a:pt x="4788" y="64"/>
                    </a:lnTo>
                    <a:lnTo>
                      <a:pt x="5166" y="190"/>
                    </a:lnTo>
                    <a:lnTo>
                      <a:pt x="5480" y="316"/>
                    </a:lnTo>
                    <a:lnTo>
                      <a:pt x="5858" y="505"/>
                    </a:lnTo>
                    <a:lnTo>
                      <a:pt x="6173" y="757"/>
                    </a:lnTo>
                    <a:lnTo>
                      <a:pt x="6488" y="1009"/>
                    </a:lnTo>
                    <a:lnTo>
                      <a:pt x="6740" y="1261"/>
                    </a:lnTo>
                    <a:lnTo>
                      <a:pt x="6992" y="1575"/>
                    </a:lnTo>
                    <a:lnTo>
                      <a:pt x="7244" y="1953"/>
                    </a:lnTo>
                    <a:lnTo>
                      <a:pt x="7433" y="2268"/>
                    </a:lnTo>
                    <a:lnTo>
                      <a:pt x="7622" y="2709"/>
                    </a:lnTo>
                    <a:lnTo>
                      <a:pt x="7748" y="3087"/>
                    </a:lnTo>
                    <a:lnTo>
                      <a:pt x="7874" y="3528"/>
                    </a:lnTo>
                    <a:lnTo>
                      <a:pt x="7874" y="3969"/>
                    </a:lnTo>
                    <a:lnTo>
                      <a:pt x="7937" y="4410"/>
                    </a:lnTo>
                    <a:lnTo>
                      <a:pt x="7937" y="15998"/>
                    </a:lnTo>
                    <a:lnTo>
                      <a:pt x="1" y="15998"/>
                    </a:lnTo>
                    <a:lnTo>
                      <a:pt x="1" y="4410"/>
                    </a:lnTo>
                    <a:lnTo>
                      <a:pt x="1" y="4410"/>
                    </a:lnTo>
                    <a:lnTo>
                      <a:pt x="64" y="3969"/>
                    </a:lnTo>
                    <a:lnTo>
                      <a:pt x="127" y="3528"/>
                    </a:lnTo>
                    <a:lnTo>
                      <a:pt x="190" y="3087"/>
                    </a:lnTo>
                    <a:lnTo>
                      <a:pt x="316" y="2709"/>
                    </a:lnTo>
                    <a:lnTo>
                      <a:pt x="505" y="2268"/>
                    </a:lnTo>
                    <a:lnTo>
                      <a:pt x="694" y="1953"/>
                    </a:lnTo>
                    <a:lnTo>
                      <a:pt x="946" y="1575"/>
                    </a:lnTo>
                    <a:lnTo>
                      <a:pt x="1198" y="1261"/>
                    </a:lnTo>
                    <a:lnTo>
                      <a:pt x="1450" y="1009"/>
                    </a:lnTo>
                    <a:lnTo>
                      <a:pt x="1764" y="757"/>
                    </a:lnTo>
                    <a:lnTo>
                      <a:pt x="2079" y="505"/>
                    </a:lnTo>
                    <a:lnTo>
                      <a:pt x="2457" y="316"/>
                    </a:lnTo>
                    <a:lnTo>
                      <a:pt x="2772" y="190"/>
                    </a:lnTo>
                    <a:lnTo>
                      <a:pt x="3150" y="64"/>
                    </a:lnTo>
                    <a:lnTo>
                      <a:pt x="3591" y="1"/>
                    </a:lnTo>
                    <a:lnTo>
                      <a:pt x="3969" y="1"/>
                    </a:lnTo>
                    <a:lnTo>
                      <a:pt x="3969" y="1"/>
                    </a:ln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7" name="Google Shape;63341;p144">
                <a:extLst>
                  <a:ext uri="{FF2B5EF4-FFF2-40B4-BE49-F238E27FC236}">
                    <a16:creationId xmlns:a16="http://schemas.microsoft.com/office/drawing/2014/main" id="{6B88B398-E0DA-603B-0FE5-130D9C347C75}"/>
                  </a:ext>
                </a:extLst>
              </p:cNvPr>
              <p:cNvSpPr/>
              <p:nvPr/>
            </p:nvSpPr>
            <p:spPr>
              <a:xfrm>
                <a:off x="5443575" y="3086575"/>
                <a:ext cx="143325" cy="396825"/>
              </a:xfrm>
              <a:custGeom>
                <a:avLst/>
                <a:gdLst/>
                <a:ahLst/>
                <a:cxnLst/>
                <a:rect l="l" t="t" r="r" b="b"/>
                <a:pathLst>
                  <a:path w="5733" h="15873" extrusionOk="0">
                    <a:moveTo>
                      <a:pt x="2898" y="1"/>
                    </a:moveTo>
                    <a:lnTo>
                      <a:pt x="2898" y="1"/>
                    </a:lnTo>
                    <a:lnTo>
                      <a:pt x="3465" y="253"/>
                    </a:lnTo>
                    <a:lnTo>
                      <a:pt x="4032" y="631"/>
                    </a:lnTo>
                    <a:lnTo>
                      <a:pt x="4536" y="1072"/>
                    </a:lnTo>
                    <a:lnTo>
                      <a:pt x="4914" y="1575"/>
                    </a:lnTo>
                    <a:lnTo>
                      <a:pt x="5291" y="2205"/>
                    </a:lnTo>
                    <a:lnTo>
                      <a:pt x="5543" y="2835"/>
                    </a:lnTo>
                    <a:lnTo>
                      <a:pt x="5669" y="3528"/>
                    </a:lnTo>
                    <a:lnTo>
                      <a:pt x="5732" y="4284"/>
                    </a:lnTo>
                    <a:lnTo>
                      <a:pt x="5732" y="15872"/>
                    </a:lnTo>
                    <a:lnTo>
                      <a:pt x="1" y="15872"/>
                    </a:lnTo>
                    <a:lnTo>
                      <a:pt x="1" y="4284"/>
                    </a:lnTo>
                    <a:lnTo>
                      <a:pt x="1" y="4284"/>
                    </a:lnTo>
                    <a:lnTo>
                      <a:pt x="64" y="3528"/>
                    </a:lnTo>
                    <a:lnTo>
                      <a:pt x="253" y="2835"/>
                    </a:lnTo>
                    <a:lnTo>
                      <a:pt x="505" y="2205"/>
                    </a:lnTo>
                    <a:lnTo>
                      <a:pt x="820" y="1575"/>
                    </a:lnTo>
                    <a:lnTo>
                      <a:pt x="1261" y="1072"/>
                    </a:lnTo>
                    <a:lnTo>
                      <a:pt x="1764" y="631"/>
                    </a:lnTo>
                    <a:lnTo>
                      <a:pt x="2268" y="253"/>
                    </a:lnTo>
                    <a:lnTo>
                      <a:pt x="2898" y="1"/>
                    </a:lnTo>
                    <a:lnTo>
                      <a:pt x="2898" y="1"/>
                    </a:lnTo>
                    <a:close/>
                  </a:path>
                </a:pathLst>
              </a:custGeom>
              <a:solidFill>
                <a:srgbClr val="2C3B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8" name="Google Shape;63342;p144">
                <a:extLst>
                  <a:ext uri="{FF2B5EF4-FFF2-40B4-BE49-F238E27FC236}">
                    <a16:creationId xmlns:a16="http://schemas.microsoft.com/office/drawing/2014/main" id="{5F656C16-5F39-696E-F4DA-8014DEB9B4CF}"/>
                  </a:ext>
                </a:extLst>
              </p:cNvPr>
              <p:cNvSpPr/>
              <p:nvPr/>
            </p:nvSpPr>
            <p:spPr>
              <a:xfrm>
                <a:off x="5708100" y="3083425"/>
                <a:ext cx="198425" cy="399975"/>
              </a:xfrm>
              <a:custGeom>
                <a:avLst/>
                <a:gdLst/>
                <a:ahLst/>
                <a:cxnLst/>
                <a:rect l="l" t="t" r="r" b="b"/>
                <a:pathLst>
                  <a:path w="7937" h="15999" extrusionOk="0">
                    <a:moveTo>
                      <a:pt x="3969" y="1"/>
                    </a:moveTo>
                    <a:lnTo>
                      <a:pt x="3969" y="1"/>
                    </a:lnTo>
                    <a:lnTo>
                      <a:pt x="4410" y="1"/>
                    </a:lnTo>
                    <a:lnTo>
                      <a:pt x="4788" y="64"/>
                    </a:lnTo>
                    <a:lnTo>
                      <a:pt x="5166" y="190"/>
                    </a:lnTo>
                    <a:lnTo>
                      <a:pt x="5543" y="316"/>
                    </a:lnTo>
                    <a:lnTo>
                      <a:pt x="5858" y="505"/>
                    </a:lnTo>
                    <a:lnTo>
                      <a:pt x="6173" y="757"/>
                    </a:lnTo>
                    <a:lnTo>
                      <a:pt x="6488" y="1009"/>
                    </a:lnTo>
                    <a:lnTo>
                      <a:pt x="6803" y="1261"/>
                    </a:lnTo>
                    <a:lnTo>
                      <a:pt x="7055" y="1575"/>
                    </a:lnTo>
                    <a:lnTo>
                      <a:pt x="7244" y="1953"/>
                    </a:lnTo>
                    <a:lnTo>
                      <a:pt x="7433" y="2268"/>
                    </a:lnTo>
                    <a:lnTo>
                      <a:pt x="7622" y="2709"/>
                    </a:lnTo>
                    <a:lnTo>
                      <a:pt x="7748" y="3087"/>
                    </a:lnTo>
                    <a:lnTo>
                      <a:pt x="7874" y="3528"/>
                    </a:lnTo>
                    <a:lnTo>
                      <a:pt x="7937" y="3969"/>
                    </a:lnTo>
                    <a:lnTo>
                      <a:pt x="7937" y="4410"/>
                    </a:lnTo>
                    <a:lnTo>
                      <a:pt x="7937" y="15998"/>
                    </a:lnTo>
                    <a:lnTo>
                      <a:pt x="1" y="15998"/>
                    </a:lnTo>
                    <a:lnTo>
                      <a:pt x="1" y="4410"/>
                    </a:lnTo>
                    <a:lnTo>
                      <a:pt x="1" y="4410"/>
                    </a:lnTo>
                    <a:lnTo>
                      <a:pt x="64" y="3969"/>
                    </a:lnTo>
                    <a:lnTo>
                      <a:pt x="127" y="3528"/>
                    </a:lnTo>
                    <a:lnTo>
                      <a:pt x="190" y="3087"/>
                    </a:lnTo>
                    <a:lnTo>
                      <a:pt x="316" y="2709"/>
                    </a:lnTo>
                    <a:lnTo>
                      <a:pt x="505" y="2268"/>
                    </a:lnTo>
                    <a:lnTo>
                      <a:pt x="694" y="1953"/>
                    </a:lnTo>
                    <a:lnTo>
                      <a:pt x="946" y="1575"/>
                    </a:lnTo>
                    <a:lnTo>
                      <a:pt x="1198" y="1261"/>
                    </a:lnTo>
                    <a:lnTo>
                      <a:pt x="1450" y="1009"/>
                    </a:lnTo>
                    <a:lnTo>
                      <a:pt x="1764" y="757"/>
                    </a:lnTo>
                    <a:lnTo>
                      <a:pt x="2079" y="505"/>
                    </a:lnTo>
                    <a:lnTo>
                      <a:pt x="2457" y="316"/>
                    </a:lnTo>
                    <a:lnTo>
                      <a:pt x="2835" y="190"/>
                    </a:lnTo>
                    <a:lnTo>
                      <a:pt x="3213" y="64"/>
                    </a:lnTo>
                    <a:lnTo>
                      <a:pt x="3591" y="1"/>
                    </a:lnTo>
                    <a:lnTo>
                      <a:pt x="3969" y="1"/>
                    </a:lnTo>
                    <a:lnTo>
                      <a:pt x="3969" y="1"/>
                    </a:ln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9" name="Google Shape;63343;p144">
                <a:extLst>
                  <a:ext uri="{FF2B5EF4-FFF2-40B4-BE49-F238E27FC236}">
                    <a16:creationId xmlns:a16="http://schemas.microsoft.com/office/drawing/2014/main" id="{DDE5F58A-2642-3DFB-FA05-9279B33EAD30}"/>
                  </a:ext>
                </a:extLst>
              </p:cNvPr>
              <p:cNvSpPr/>
              <p:nvPr/>
            </p:nvSpPr>
            <p:spPr>
              <a:xfrm>
                <a:off x="5708100" y="3086575"/>
                <a:ext cx="143325" cy="396825"/>
              </a:xfrm>
              <a:custGeom>
                <a:avLst/>
                <a:gdLst/>
                <a:ahLst/>
                <a:cxnLst/>
                <a:rect l="l" t="t" r="r" b="b"/>
                <a:pathLst>
                  <a:path w="5733" h="15873" extrusionOk="0">
                    <a:moveTo>
                      <a:pt x="2898" y="1"/>
                    </a:moveTo>
                    <a:lnTo>
                      <a:pt x="2898" y="1"/>
                    </a:lnTo>
                    <a:lnTo>
                      <a:pt x="3465" y="253"/>
                    </a:lnTo>
                    <a:lnTo>
                      <a:pt x="4032" y="631"/>
                    </a:lnTo>
                    <a:lnTo>
                      <a:pt x="4536" y="1072"/>
                    </a:lnTo>
                    <a:lnTo>
                      <a:pt x="4914" y="1575"/>
                    </a:lnTo>
                    <a:lnTo>
                      <a:pt x="5291" y="2205"/>
                    </a:lnTo>
                    <a:lnTo>
                      <a:pt x="5543" y="2835"/>
                    </a:lnTo>
                    <a:lnTo>
                      <a:pt x="5669" y="3528"/>
                    </a:lnTo>
                    <a:lnTo>
                      <a:pt x="5732" y="4284"/>
                    </a:lnTo>
                    <a:lnTo>
                      <a:pt x="5732" y="15872"/>
                    </a:lnTo>
                    <a:lnTo>
                      <a:pt x="1" y="15872"/>
                    </a:lnTo>
                    <a:lnTo>
                      <a:pt x="1" y="4284"/>
                    </a:lnTo>
                    <a:lnTo>
                      <a:pt x="1" y="4284"/>
                    </a:lnTo>
                    <a:lnTo>
                      <a:pt x="64" y="3528"/>
                    </a:lnTo>
                    <a:lnTo>
                      <a:pt x="253" y="2835"/>
                    </a:lnTo>
                    <a:lnTo>
                      <a:pt x="505" y="2205"/>
                    </a:lnTo>
                    <a:lnTo>
                      <a:pt x="820" y="1575"/>
                    </a:lnTo>
                    <a:lnTo>
                      <a:pt x="1261" y="1072"/>
                    </a:lnTo>
                    <a:lnTo>
                      <a:pt x="1764" y="631"/>
                    </a:lnTo>
                    <a:lnTo>
                      <a:pt x="2268" y="253"/>
                    </a:lnTo>
                    <a:lnTo>
                      <a:pt x="2898" y="1"/>
                    </a:lnTo>
                    <a:lnTo>
                      <a:pt x="2898" y="1"/>
                    </a:lnTo>
                    <a:close/>
                  </a:path>
                </a:pathLst>
              </a:custGeom>
              <a:solidFill>
                <a:srgbClr val="2C3B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0" name="Google Shape;63344;p144">
                <a:extLst>
                  <a:ext uri="{FF2B5EF4-FFF2-40B4-BE49-F238E27FC236}">
                    <a16:creationId xmlns:a16="http://schemas.microsoft.com/office/drawing/2014/main" id="{F6F71FA4-30B7-66F7-2D4B-C521A7406F9F}"/>
                  </a:ext>
                </a:extLst>
              </p:cNvPr>
              <p:cNvSpPr/>
              <p:nvPr/>
            </p:nvSpPr>
            <p:spPr>
              <a:xfrm>
                <a:off x="5486100" y="2680350"/>
                <a:ext cx="86625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3465" h="8063" extrusionOk="0">
                    <a:moveTo>
                      <a:pt x="1" y="8062"/>
                    </a:moveTo>
                    <a:lnTo>
                      <a:pt x="3465" y="8062"/>
                    </a:lnTo>
                    <a:lnTo>
                      <a:pt x="3465" y="1"/>
                    </a:lnTo>
                    <a:lnTo>
                      <a:pt x="1" y="1"/>
                    </a:lnTo>
                    <a:lnTo>
                      <a:pt x="1" y="8062"/>
                    </a:lnTo>
                    <a:lnTo>
                      <a:pt x="1" y="8062"/>
                    </a:lnTo>
                    <a:close/>
                  </a:path>
                </a:pathLst>
              </a:custGeom>
              <a:solidFill>
                <a:srgbClr val="2C3B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1" name="Google Shape;63345;p144">
                <a:extLst>
                  <a:ext uri="{FF2B5EF4-FFF2-40B4-BE49-F238E27FC236}">
                    <a16:creationId xmlns:a16="http://schemas.microsoft.com/office/drawing/2014/main" id="{E03FF512-C2D5-8756-1834-44E7CA716359}"/>
                  </a:ext>
                </a:extLst>
              </p:cNvPr>
              <p:cNvSpPr/>
              <p:nvPr/>
            </p:nvSpPr>
            <p:spPr>
              <a:xfrm>
                <a:off x="5545925" y="2680350"/>
                <a:ext cx="26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1072" h="8063" extrusionOk="0">
                    <a:moveTo>
                      <a:pt x="1" y="8062"/>
                    </a:moveTo>
                    <a:lnTo>
                      <a:pt x="1072" y="8062"/>
                    </a:lnTo>
                    <a:lnTo>
                      <a:pt x="1072" y="1"/>
                    </a:lnTo>
                    <a:lnTo>
                      <a:pt x="1" y="1"/>
                    </a:lnTo>
                    <a:lnTo>
                      <a:pt x="1" y="8062"/>
                    </a:lnTo>
                    <a:lnTo>
                      <a:pt x="1" y="8062"/>
                    </a:ln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2" name="Google Shape;63346;p144">
                <a:extLst>
                  <a:ext uri="{FF2B5EF4-FFF2-40B4-BE49-F238E27FC236}">
                    <a16:creationId xmlns:a16="http://schemas.microsoft.com/office/drawing/2014/main" id="{1908074E-8A86-FB22-F817-2011B06A94B7}"/>
                  </a:ext>
                </a:extLst>
              </p:cNvPr>
              <p:cNvSpPr/>
              <p:nvPr/>
            </p:nvSpPr>
            <p:spPr>
              <a:xfrm>
                <a:off x="5777400" y="2680350"/>
                <a:ext cx="882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3528" h="8063" extrusionOk="0">
                    <a:moveTo>
                      <a:pt x="0" y="8062"/>
                    </a:moveTo>
                    <a:lnTo>
                      <a:pt x="3527" y="8062"/>
                    </a:lnTo>
                    <a:lnTo>
                      <a:pt x="3527" y="1"/>
                    </a:lnTo>
                    <a:lnTo>
                      <a:pt x="0" y="1"/>
                    </a:lnTo>
                    <a:lnTo>
                      <a:pt x="0" y="8062"/>
                    </a:lnTo>
                    <a:lnTo>
                      <a:pt x="0" y="8062"/>
                    </a:lnTo>
                    <a:close/>
                  </a:path>
                </a:pathLst>
              </a:custGeom>
              <a:solidFill>
                <a:srgbClr val="2C3B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3" name="Google Shape;63347;p144">
                <a:extLst>
                  <a:ext uri="{FF2B5EF4-FFF2-40B4-BE49-F238E27FC236}">
                    <a16:creationId xmlns:a16="http://schemas.microsoft.com/office/drawing/2014/main" id="{BFF68021-065C-6F6E-E939-4553460D5716}"/>
                  </a:ext>
                </a:extLst>
              </p:cNvPr>
              <p:cNvSpPr/>
              <p:nvPr/>
            </p:nvSpPr>
            <p:spPr>
              <a:xfrm>
                <a:off x="5837225" y="2680350"/>
                <a:ext cx="28375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1135" h="8063" extrusionOk="0">
                    <a:moveTo>
                      <a:pt x="1" y="8062"/>
                    </a:moveTo>
                    <a:lnTo>
                      <a:pt x="1134" y="8062"/>
                    </a:lnTo>
                    <a:lnTo>
                      <a:pt x="1134" y="1"/>
                    </a:lnTo>
                    <a:lnTo>
                      <a:pt x="1" y="1"/>
                    </a:lnTo>
                    <a:lnTo>
                      <a:pt x="1" y="8062"/>
                    </a:lnTo>
                    <a:lnTo>
                      <a:pt x="1" y="8062"/>
                    </a:ln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4" name="Google Shape;63348;p144">
                <a:extLst>
                  <a:ext uri="{FF2B5EF4-FFF2-40B4-BE49-F238E27FC236}">
                    <a16:creationId xmlns:a16="http://schemas.microsoft.com/office/drawing/2014/main" id="{EC70A335-B09F-7643-EFE2-E2CF8354D2DE}"/>
                  </a:ext>
                </a:extLst>
              </p:cNvPr>
              <p:cNvSpPr/>
              <p:nvPr/>
            </p:nvSpPr>
            <p:spPr>
              <a:xfrm>
                <a:off x="5630950" y="2299300"/>
                <a:ext cx="882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3528" h="8063" extrusionOk="0">
                    <a:moveTo>
                      <a:pt x="1" y="8063"/>
                    </a:moveTo>
                    <a:lnTo>
                      <a:pt x="3528" y="8063"/>
                    </a:lnTo>
                    <a:lnTo>
                      <a:pt x="3528" y="1"/>
                    </a:lnTo>
                    <a:lnTo>
                      <a:pt x="1" y="1"/>
                    </a:lnTo>
                    <a:lnTo>
                      <a:pt x="1" y="8063"/>
                    </a:lnTo>
                    <a:lnTo>
                      <a:pt x="1" y="8063"/>
                    </a:lnTo>
                    <a:close/>
                  </a:path>
                </a:pathLst>
              </a:custGeom>
              <a:solidFill>
                <a:srgbClr val="2C3B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5" name="Google Shape;63349;p144">
                <a:extLst>
                  <a:ext uri="{FF2B5EF4-FFF2-40B4-BE49-F238E27FC236}">
                    <a16:creationId xmlns:a16="http://schemas.microsoft.com/office/drawing/2014/main" id="{D6E124FF-DFE7-74E1-14E1-0DA71324C22A}"/>
                  </a:ext>
                </a:extLst>
              </p:cNvPr>
              <p:cNvSpPr/>
              <p:nvPr/>
            </p:nvSpPr>
            <p:spPr>
              <a:xfrm>
                <a:off x="5692375" y="2299300"/>
                <a:ext cx="26775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1071" h="8063" extrusionOk="0">
                    <a:moveTo>
                      <a:pt x="0" y="8063"/>
                    </a:moveTo>
                    <a:lnTo>
                      <a:pt x="1071" y="8063"/>
                    </a:lnTo>
                    <a:lnTo>
                      <a:pt x="1071" y="1"/>
                    </a:lnTo>
                    <a:lnTo>
                      <a:pt x="0" y="1"/>
                    </a:lnTo>
                    <a:lnTo>
                      <a:pt x="0" y="8063"/>
                    </a:lnTo>
                    <a:lnTo>
                      <a:pt x="0" y="8063"/>
                    </a:ln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6" name="Google Shape;63350;p144">
                <a:extLst>
                  <a:ext uri="{FF2B5EF4-FFF2-40B4-BE49-F238E27FC236}">
                    <a16:creationId xmlns:a16="http://schemas.microsoft.com/office/drawing/2014/main" id="{23681CDB-722B-BF64-1CEB-1573372CCFE7}"/>
                  </a:ext>
                </a:extLst>
              </p:cNvPr>
              <p:cNvSpPr/>
              <p:nvPr/>
            </p:nvSpPr>
            <p:spPr>
              <a:xfrm>
                <a:off x="5486100" y="2299300"/>
                <a:ext cx="86625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3465" h="8063" extrusionOk="0">
                    <a:moveTo>
                      <a:pt x="1" y="8063"/>
                    </a:moveTo>
                    <a:lnTo>
                      <a:pt x="3465" y="8063"/>
                    </a:lnTo>
                    <a:lnTo>
                      <a:pt x="3465" y="1"/>
                    </a:lnTo>
                    <a:lnTo>
                      <a:pt x="1" y="1"/>
                    </a:lnTo>
                    <a:lnTo>
                      <a:pt x="1" y="8063"/>
                    </a:lnTo>
                    <a:lnTo>
                      <a:pt x="1" y="8063"/>
                    </a:lnTo>
                    <a:close/>
                  </a:path>
                </a:pathLst>
              </a:custGeom>
              <a:solidFill>
                <a:srgbClr val="2C3B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7" name="Google Shape;63351;p144">
                <a:extLst>
                  <a:ext uri="{FF2B5EF4-FFF2-40B4-BE49-F238E27FC236}">
                    <a16:creationId xmlns:a16="http://schemas.microsoft.com/office/drawing/2014/main" id="{A765B723-C5D7-1305-60BB-3F8D920AB68C}"/>
                  </a:ext>
                </a:extLst>
              </p:cNvPr>
              <p:cNvSpPr/>
              <p:nvPr/>
            </p:nvSpPr>
            <p:spPr>
              <a:xfrm>
                <a:off x="5545925" y="2299300"/>
                <a:ext cx="26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1072" h="8063" extrusionOk="0">
                    <a:moveTo>
                      <a:pt x="1" y="8063"/>
                    </a:moveTo>
                    <a:lnTo>
                      <a:pt x="1072" y="8063"/>
                    </a:lnTo>
                    <a:lnTo>
                      <a:pt x="1072" y="1"/>
                    </a:lnTo>
                    <a:lnTo>
                      <a:pt x="1" y="1"/>
                    </a:lnTo>
                    <a:lnTo>
                      <a:pt x="1" y="8063"/>
                    </a:lnTo>
                    <a:lnTo>
                      <a:pt x="1" y="8063"/>
                    </a:ln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8" name="Google Shape;63352;p144">
                <a:extLst>
                  <a:ext uri="{FF2B5EF4-FFF2-40B4-BE49-F238E27FC236}">
                    <a16:creationId xmlns:a16="http://schemas.microsoft.com/office/drawing/2014/main" id="{896E04BF-EB16-A5A0-5DD3-F2DB6228026E}"/>
                  </a:ext>
                </a:extLst>
              </p:cNvPr>
              <p:cNvSpPr/>
              <p:nvPr/>
            </p:nvSpPr>
            <p:spPr>
              <a:xfrm>
                <a:off x="5777400" y="2299300"/>
                <a:ext cx="882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3528" h="8063" extrusionOk="0">
                    <a:moveTo>
                      <a:pt x="0" y="8063"/>
                    </a:moveTo>
                    <a:lnTo>
                      <a:pt x="3527" y="8063"/>
                    </a:lnTo>
                    <a:lnTo>
                      <a:pt x="3527" y="1"/>
                    </a:lnTo>
                    <a:lnTo>
                      <a:pt x="0" y="1"/>
                    </a:lnTo>
                    <a:lnTo>
                      <a:pt x="0" y="8063"/>
                    </a:lnTo>
                    <a:lnTo>
                      <a:pt x="0" y="8063"/>
                    </a:lnTo>
                    <a:close/>
                  </a:path>
                </a:pathLst>
              </a:custGeom>
              <a:solidFill>
                <a:srgbClr val="2C3B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9" name="Google Shape;63353;p144">
                <a:extLst>
                  <a:ext uri="{FF2B5EF4-FFF2-40B4-BE49-F238E27FC236}">
                    <a16:creationId xmlns:a16="http://schemas.microsoft.com/office/drawing/2014/main" id="{76210FF6-657F-AD87-7D4F-03F4F5617948}"/>
                  </a:ext>
                </a:extLst>
              </p:cNvPr>
              <p:cNvSpPr/>
              <p:nvPr/>
            </p:nvSpPr>
            <p:spPr>
              <a:xfrm>
                <a:off x="5837225" y="2299300"/>
                <a:ext cx="28375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1135" h="8063" extrusionOk="0">
                    <a:moveTo>
                      <a:pt x="1" y="8063"/>
                    </a:moveTo>
                    <a:lnTo>
                      <a:pt x="1134" y="8063"/>
                    </a:lnTo>
                    <a:lnTo>
                      <a:pt x="1134" y="1"/>
                    </a:lnTo>
                    <a:lnTo>
                      <a:pt x="1" y="1"/>
                    </a:lnTo>
                    <a:lnTo>
                      <a:pt x="1" y="8063"/>
                    </a:lnTo>
                    <a:lnTo>
                      <a:pt x="1" y="8063"/>
                    </a:ln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0" name="Google Shape;63354;p144">
                <a:extLst>
                  <a:ext uri="{FF2B5EF4-FFF2-40B4-BE49-F238E27FC236}">
                    <a16:creationId xmlns:a16="http://schemas.microsoft.com/office/drawing/2014/main" id="{CD036054-BB25-7E27-D64D-59790F5B05E5}"/>
                  </a:ext>
                </a:extLst>
              </p:cNvPr>
              <p:cNvSpPr/>
              <p:nvPr/>
            </p:nvSpPr>
            <p:spPr>
              <a:xfrm>
                <a:off x="5777400" y="1919850"/>
                <a:ext cx="88200" cy="199975"/>
              </a:xfrm>
              <a:custGeom>
                <a:avLst/>
                <a:gdLst/>
                <a:ahLst/>
                <a:cxnLst/>
                <a:rect l="l" t="t" r="r" b="b"/>
                <a:pathLst>
                  <a:path w="3528" h="7999" extrusionOk="0">
                    <a:moveTo>
                      <a:pt x="0" y="7999"/>
                    </a:moveTo>
                    <a:lnTo>
                      <a:pt x="3527" y="7999"/>
                    </a:lnTo>
                    <a:lnTo>
                      <a:pt x="3527" y="0"/>
                    </a:lnTo>
                    <a:lnTo>
                      <a:pt x="0" y="0"/>
                    </a:lnTo>
                    <a:lnTo>
                      <a:pt x="0" y="7999"/>
                    </a:lnTo>
                    <a:lnTo>
                      <a:pt x="0" y="7999"/>
                    </a:lnTo>
                    <a:close/>
                  </a:path>
                </a:pathLst>
              </a:custGeom>
              <a:solidFill>
                <a:srgbClr val="2C3B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1" name="Google Shape;63355;p144">
                <a:extLst>
                  <a:ext uri="{FF2B5EF4-FFF2-40B4-BE49-F238E27FC236}">
                    <a16:creationId xmlns:a16="http://schemas.microsoft.com/office/drawing/2014/main" id="{698B1BE1-FE00-21FB-B6AD-CD0259572831}"/>
                  </a:ext>
                </a:extLst>
              </p:cNvPr>
              <p:cNvSpPr/>
              <p:nvPr/>
            </p:nvSpPr>
            <p:spPr>
              <a:xfrm>
                <a:off x="5837225" y="1919850"/>
                <a:ext cx="28375" cy="199975"/>
              </a:xfrm>
              <a:custGeom>
                <a:avLst/>
                <a:gdLst/>
                <a:ahLst/>
                <a:cxnLst/>
                <a:rect l="l" t="t" r="r" b="b"/>
                <a:pathLst>
                  <a:path w="1135" h="7999" extrusionOk="0">
                    <a:moveTo>
                      <a:pt x="1" y="7999"/>
                    </a:moveTo>
                    <a:lnTo>
                      <a:pt x="1134" y="7999"/>
                    </a:lnTo>
                    <a:lnTo>
                      <a:pt x="1134" y="0"/>
                    </a:lnTo>
                    <a:lnTo>
                      <a:pt x="1" y="0"/>
                    </a:lnTo>
                    <a:lnTo>
                      <a:pt x="1" y="7999"/>
                    </a:lnTo>
                    <a:lnTo>
                      <a:pt x="1" y="7999"/>
                    </a:ln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2" name="Google Shape;63356;p144">
                <a:extLst>
                  <a:ext uri="{FF2B5EF4-FFF2-40B4-BE49-F238E27FC236}">
                    <a16:creationId xmlns:a16="http://schemas.microsoft.com/office/drawing/2014/main" id="{7673F247-E36B-E379-DE8E-08A5B444228F}"/>
                  </a:ext>
                </a:extLst>
              </p:cNvPr>
              <p:cNvSpPr/>
              <p:nvPr/>
            </p:nvSpPr>
            <p:spPr>
              <a:xfrm>
                <a:off x="5068850" y="2680350"/>
                <a:ext cx="86625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3465" h="8063" extrusionOk="0">
                    <a:moveTo>
                      <a:pt x="3464" y="8062"/>
                    </a:moveTo>
                    <a:lnTo>
                      <a:pt x="0" y="8062"/>
                    </a:lnTo>
                    <a:lnTo>
                      <a:pt x="0" y="1"/>
                    </a:lnTo>
                    <a:lnTo>
                      <a:pt x="3464" y="1"/>
                    </a:lnTo>
                    <a:lnTo>
                      <a:pt x="3464" y="8062"/>
                    </a:lnTo>
                    <a:lnTo>
                      <a:pt x="3464" y="8062"/>
                    </a:lnTo>
                    <a:close/>
                  </a:path>
                </a:pathLst>
              </a:custGeom>
              <a:solidFill>
                <a:srgbClr val="2C3B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3" name="Google Shape;63357;p144">
                <a:extLst>
                  <a:ext uri="{FF2B5EF4-FFF2-40B4-BE49-F238E27FC236}">
                    <a16:creationId xmlns:a16="http://schemas.microsoft.com/office/drawing/2014/main" id="{A1745E22-4DAF-7BF5-ABC8-44A9A172445E}"/>
                  </a:ext>
                </a:extLst>
              </p:cNvPr>
              <p:cNvSpPr/>
              <p:nvPr/>
            </p:nvSpPr>
            <p:spPr>
              <a:xfrm>
                <a:off x="5068850" y="2680350"/>
                <a:ext cx="26775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1071" h="8063" extrusionOk="0">
                    <a:moveTo>
                      <a:pt x="1071" y="8062"/>
                    </a:moveTo>
                    <a:lnTo>
                      <a:pt x="0" y="8062"/>
                    </a:lnTo>
                    <a:lnTo>
                      <a:pt x="0" y="1"/>
                    </a:lnTo>
                    <a:lnTo>
                      <a:pt x="1071" y="1"/>
                    </a:lnTo>
                    <a:lnTo>
                      <a:pt x="1071" y="8062"/>
                    </a:lnTo>
                    <a:lnTo>
                      <a:pt x="1071" y="80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4" name="Google Shape;63358;p144">
                <a:extLst>
                  <a:ext uri="{FF2B5EF4-FFF2-40B4-BE49-F238E27FC236}">
                    <a16:creationId xmlns:a16="http://schemas.microsoft.com/office/drawing/2014/main" id="{92F29248-1C31-A3E1-D7C4-47C187409F21}"/>
                  </a:ext>
                </a:extLst>
              </p:cNvPr>
              <p:cNvSpPr/>
              <p:nvPr/>
            </p:nvSpPr>
            <p:spPr>
              <a:xfrm>
                <a:off x="5068850" y="2299300"/>
                <a:ext cx="86625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3465" h="8063" extrusionOk="0">
                    <a:moveTo>
                      <a:pt x="3464" y="8063"/>
                    </a:moveTo>
                    <a:lnTo>
                      <a:pt x="0" y="8063"/>
                    </a:lnTo>
                    <a:lnTo>
                      <a:pt x="0" y="1"/>
                    </a:lnTo>
                    <a:lnTo>
                      <a:pt x="3464" y="1"/>
                    </a:lnTo>
                    <a:lnTo>
                      <a:pt x="3464" y="8063"/>
                    </a:lnTo>
                    <a:lnTo>
                      <a:pt x="3464" y="8063"/>
                    </a:lnTo>
                    <a:close/>
                  </a:path>
                </a:pathLst>
              </a:custGeom>
              <a:solidFill>
                <a:srgbClr val="2C3B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5" name="Google Shape;63359;p144">
                <a:extLst>
                  <a:ext uri="{FF2B5EF4-FFF2-40B4-BE49-F238E27FC236}">
                    <a16:creationId xmlns:a16="http://schemas.microsoft.com/office/drawing/2014/main" id="{561C709D-6309-0461-AA15-24E6A45F50CB}"/>
                  </a:ext>
                </a:extLst>
              </p:cNvPr>
              <p:cNvSpPr/>
              <p:nvPr/>
            </p:nvSpPr>
            <p:spPr>
              <a:xfrm>
                <a:off x="5068850" y="2299300"/>
                <a:ext cx="26775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1071" h="8063" extrusionOk="0">
                    <a:moveTo>
                      <a:pt x="1071" y="8063"/>
                    </a:moveTo>
                    <a:lnTo>
                      <a:pt x="0" y="8063"/>
                    </a:lnTo>
                    <a:lnTo>
                      <a:pt x="0" y="1"/>
                    </a:lnTo>
                    <a:lnTo>
                      <a:pt x="1071" y="1"/>
                    </a:lnTo>
                    <a:lnTo>
                      <a:pt x="1071" y="8063"/>
                    </a:lnTo>
                    <a:lnTo>
                      <a:pt x="1071" y="80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6" name="Google Shape;63360;p144">
                <a:extLst>
                  <a:ext uri="{FF2B5EF4-FFF2-40B4-BE49-F238E27FC236}">
                    <a16:creationId xmlns:a16="http://schemas.microsoft.com/office/drawing/2014/main" id="{03C35EA2-122A-9CBF-7A21-F82FC2BEC449}"/>
                  </a:ext>
                </a:extLst>
              </p:cNvPr>
              <p:cNvSpPr/>
              <p:nvPr/>
            </p:nvSpPr>
            <p:spPr>
              <a:xfrm>
                <a:off x="4829500" y="2992100"/>
                <a:ext cx="1162050" cy="36250"/>
              </a:xfrm>
              <a:custGeom>
                <a:avLst/>
                <a:gdLst/>
                <a:ahLst/>
                <a:cxnLst/>
                <a:rect l="l" t="t" r="r" b="b"/>
                <a:pathLst>
                  <a:path w="46482" h="1450" extrusionOk="0">
                    <a:moveTo>
                      <a:pt x="442" y="1"/>
                    </a:moveTo>
                    <a:lnTo>
                      <a:pt x="46041" y="1"/>
                    </a:lnTo>
                    <a:lnTo>
                      <a:pt x="46041" y="1"/>
                    </a:lnTo>
                    <a:lnTo>
                      <a:pt x="46230" y="1"/>
                    </a:lnTo>
                    <a:lnTo>
                      <a:pt x="46356" y="127"/>
                    </a:lnTo>
                    <a:lnTo>
                      <a:pt x="46419" y="253"/>
                    </a:lnTo>
                    <a:lnTo>
                      <a:pt x="46482" y="442"/>
                    </a:lnTo>
                    <a:lnTo>
                      <a:pt x="46482" y="946"/>
                    </a:lnTo>
                    <a:lnTo>
                      <a:pt x="46482" y="946"/>
                    </a:lnTo>
                    <a:lnTo>
                      <a:pt x="46419" y="1135"/>
                    </a:lnTo>
                    <a:lnTo>
                      <a:pt x="46356" y="1261"/>
                    </a:lnTo>
                    <a:lnTo>
                      <a:pt x="46230" y="1387"/>
                    </a:lnTo>
                    <a:lnTo>
                      <a:pt x="46041" y="1450"/>
                    </a:lnTo>
                    <a:lnTo>
                      <a:pt x="442" y="1450"/>
                    </a:lnTo>
                    <a:lnTo>
                      <a:pt x="442" y="1450"/>
                    </a:lnTo>
                    <a:lnTo>
                      <a:pt x="253" y="1387"/>
                    </a:lnTo>
                    <a:lnTo>
                      <a:pt x="127" y="1261"/>
                    </a:lnTo>
                    <a:lnTo>
                      <a:pt x="64" y="1135"/>
                    </a:lnTo>
                    <a:lnTo>
                      <a:pt x="1" y="946"/>
                    </a:lnTo>
                    <a:lnTo>
                      <a:pt x="1" y="442"/>
                    </a:lnTo>
                    <a:lnTo>
                      <a:pt x="1" y="442"/>
                    </a:lnTo>
                    <a:lnTo>
                      <a:pt x="64" y="253"/>
                    </a:lnTo>
                    <a:lnTo>
                      <a:pt x="127" y="127"/>
                    </a:lnTo>
                    <a:lnTo>
                      <a:pt x="253" y="1"/>
                    </a:lnTo>
                    <a:lnTo>
                      <a:pt x="442" y="1"/>
                    </a:lnTo>
                    <a:lnTo>
                      <a:pt x="442" y="1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7" name="Google Shape;63361;p144">
                <a:extLst>
                  <a:ext uri="{FF2B5EF4-FFF2-40B4-BE49-F238E27FC236}">
                    <a16:creationId xmlns:a16="http://schemas.microsoft.com/office/drawing/2014/main" id="{1FF64CD4-8820-5901-36EE-272F170AC154}"/>
                  </a:ext>
                </a:extLst>
              </p:cNvPr>
              <p:cNvSpPr/>
              <p:nvPr/>
            </p:nvSpPr>
            <p:spPr>
              <a:xfrm>
                <a:off x="4829500" y="2992100"/>
                <a:ext cx="565300" cy="36250"/>
              </a:xfrm>
              <a:custGeom>
                <a:avLst/>
                <a:gdLst/>
                <a:ahLst/>
                <a:cxnLst/>
                <a:rect l="l" t="t" r="r" b="b"/>
                <a:pathLst>
                  <a:path w="22612" h="1450" extrusionOk="0">
                    <a:moveTo>
                      <a:pt x="442" y="1"/>
                    </a:moveTo>
                    <a:lnTo>
                      <a:pt x="22171" y="1"/>
                    </a:lnTo>
                    <a:lnTo>
                      <a:pt x="22171" y="1"/>
                    </a:lnTo>
                    <a:lnTo>
                      <a:pt x="22360" y="1"/>
                    </a:lnTo>
                    <a:lnTo>
                      <a:pt x="22486" y="127"/>
                    </a:lnTo>
                    <a:lnTo>
                      <a:pt x="22549" y="253"/>
                    </a:lnTo>
                    <a:lnTo>
                      <a:pt x="22612" y="442"/>
                    </a:lnTo>
                    <a:lnTo>
                      <a:pt x="22612" y="946"/>
                    </a:lnTo>
                    <a:lnTo>
                      <a:pt x="22612" y="946"/>
                    </a:lnTo>
                    <a:lnTo>
                      <a:pt x="22549" y="1135"/>
                    </a:lnTo>
                    <a:lnTo>
                      <a:pt x="22486" y="1261"/>
                    </a:lnTo>
                    <a:lnTo>
                      <a:pt x="22360" y="1387"/>
                    </a:lnTo>
                    <a:lnTo>
                      <a:pt x="22171" y="1450"/>
                    </a:lnTo>
                    <a:lnTo>
                      <a:pt x="442" y="1450"/>
                    </a:lnTo>
                    <a:lnTo>
                      <a:pt x="442" y="1450"/>
                    </a:lnTo>
                    <a:lnTo>
                      <a:pt x="253" y="1387"/>
                    </a:lnTo>
                    <a:lnTo>
                      <a:pt x="127" y="1261"/>
                    </a:lnTo>
                    <a:lnTo>
                      <a:pt x="64" y="1135"/>
                    </a:lnTo>
                    <a:lnTo>
                      <a:pt x="1" y="946"/>
                    </a:lnTo>
                    <a:lnTo>
                      <a:pt x="1" y="442"/>
                    </a:lnTo>
                    <a:lnTo>
                      <a:pt x="1" y="442"/>
                    </a:lnTo>
                    <a:lnTo>
                      <a:pt x="64" y="253"/>
                    </a:lnTo>
                    <a:lnTo>
                      <a:pt x="127" y="127"/>
                    </a:lnTo>
                    <a:lnTo>
                      <a:pt x="253" y="1"/>
                    </a:lnTo>
                    <a:lnTo>
                      <a:pt x="442" y="1"/>
                    </a:lnTo>
                    <a:lnTo>
                      <a:pt x="442" y="1"/>
                    </a:lnTo>
                    <a:close/>
                  </a:path>
                </a:pathLst>
              </a:custGeom>
              <a:solidFill>
                <a:srgbClr val="8686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8" name="Google Shape;63362;p144">
                <a:extLst>
                  <a:ext uri="{FF2B5EF4-FFF2-40B4-BE49-F238E27FC236}">
                    <a16:creationId xmlns:a16="http://schemas.microsoft.com/office/drawing/2014/main" id="{20EBB634-35B2-178B-4B06-718CF156E59E}"/>
                  </a:ext>
                </a:extLst>
              </p:cNvPr>
              <p:cNvSpPr/>
              <p:nvPr/>
            </p:nvSpPr>
            <p:spPr>
              <a:xfrm>
                <a:off x="5013725" y="3083425"/>
                <a:ext cx="196850" cy="399975"/>
              </a:xfrm>
              <a:custGeom>
                <a:avLst/>
                <a:gdLst/>
                <a:ahLst/>
                <a:cxnLst/>
                <a:rect l="l" t="t" r="r" b="b"/>
                <a:pathLst>
                  <a:path w="7874" h="15999" extrusionOk="0">
                    <a:moveTo>
                      <a:pt x="3969" y="1"/>
                    </a:moveTo>
                    <a:lnTo>
                      <a:pt x="3969" y="1"/>
                    </a:lnTo>
                    <a:lnTo>
                      <a:pt x="3528" y="1"/>
                    </a:lnTo>
                    <a:lnTo>
                      <a:pt x="3150" y="64"/>
                    </a:lnTo>
                    <a:lnTo>
                      <a:pt x="2772" y="190"/>
                    </a:lnTo>
                    <a:lnTo>
                      <a:pt x="2394" y="316"/>
                    </a:lnTo>
                    <a:lnTo>
                      <a:pt x="2079" y="505"/>
                    </a:lnTo>
                    <a:lnTo>
                      <a:pt x="1701" y="757"/>
                    </a:lnTo>
                    <a:lnTo>
                      <a:pt x="1449" y="1009"/>
                    </a:lnTo>
                    <a:lnTo>
                      <a:pt x="1135" y="1261"/>
                    </a:lnTo>
                    <a:lnTo>
                      <a:pt x="883" y="1575"/>
                    </a:lnTo>
                    <a:lnTo>
                      <a:pt x="694" y="1953"/>
                    </a:lnTo>
                    <a:lnTo>
                      <a:pt x="442" y="2268"/>
                    </a:lnTo>
                    <a:lnTo>
                      <a:pt x="316" y="2709"/>
                    </a:lnTo>
                    <a:lnTo>
                      <a:pt x="190" y="3087"/>
                    </a:lnTo>
                    <a:lnTo>
                      <a:pt x="64" y="3528"/>
                    </a:lnTo>
                    <a:lnTo>
                      <a:pt x="1" y="3969"/>
                    </a:lnTo>
                    <a:lnTo>
                      <a:pt x="1" y="4410"/>
                    </a:lnTo>
                    <a:lnTo>
                      <a:pt x="1" y="15998"/>
                    </a:lnTo>
                    <a:lnTo>
                      <a:pt x="7874" y="15998"/>
                    </a:lnTo>
                    <a:lnTo>
                      <a:pt x="7874" y="4410"/>
                    </a:lnTo>
                    <a:lnTo>
                      <a:pt x="7874" y="4410"/>
                    </a:lnTo>
                    <a:lnTo>
                      <a:pt x="7874" y="3969"/>
                    </a:lnTo>
                    <a:lnTo>
                      <a:pt x="7811" y="3528"/>
                    </a:lnTo>
                    <a:lnTo>
                      <a:pt x="7685" y="3087"/>
                    </a:lnTo>
                    <a:lnTo>
                      <a:pt x="7559" y="2709"/>
                    </a:lnTo>
                    <a:lnTo>
                      <a:pt x="7433" y="2268"/>
                    </a:lnTo>
                    <a:lnTo>
                      <a:pt x="7244" y="1953"/>
                    </a:lnTo>
                    <a:lnTo>
                      <a:pt x="6992" y="1575"/>
                    </a:lnTo>
                    <a:lnTo>
                      <a:pt x="6740" y="1261"/>
                    </a:lnTo>
                    <a:lnTo>
                      <a:pt x="6425" y="1009"/>
                    </a:lnTo>
                    <a:lnTo>
                      <a:pt x="6173" y="757"/>
                    </a:lnTo>
                    <a:lnTo>
                      <a:pt x="5795" y="505"/>
                    </a:lnTo>
                    <a:lnTo>
                      <a:pt x="5480" y="316"/>
                    </a:lnTo>
                    <a:lnTo>
                      <a:pt x="5102" y="190"/>
                    </a:lnTo>
                    <a:lnTo>
                      <a:pt x="4725" y="64"/>
                    </a:lnTo>
                    <a:lnTo>
                      <a:pt x="4347" y="1"/>
                    </a:lnTo>
                    <a:lnTo>
                      <a:pt x="3969" y="1"/>
                    </a:lnTo>
                    <a:lnTo>
                      <a:pt x="3969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9" name="Google Shape;63363;p144">
                <a:extLst>
                  <a:ext uri="{FF2B5EF4-FFF2-40B4-BE49-F238E27FC236}">
                    <a16:creationId xmlns:a16="http://schemas.microsoft.com/office/drawing/2014/main" id="{2DE76269-017C-C953-7E27-1739CFF95EF7}"/>
                  </a:ext>
                </a:extLst>
              </p:cNvPr>
              <p:cNvSpPr/>
              <p:nvPr/>
            </p:nvSpPr>
            <p:spPr>
              <a:xfrm>
                <a:off x="5067275" y="3086575"/>
                <a:ext cx="143300" cy="396825"/>
              </a:xfrm>
              <a:custGeom>
                <a:avLst/>
                <a:gdLst/>
                <a:ahLst/>
                <a:cxnLst/>
                <a:rect l="l" t="t" r="r" b="b"/>
                <a:pathLst>
                  <a:path w="5732" h="15873" extrusionOk="0">
                    <a:moveTo>
                      <a:pt x="2897" y="1"/>
                    </a:moveTo>
                    <a:lnTo>
                      <a:pt x="2897" y="1"/>
                    </a:lnTo>
                    <a:lnTo>
                      <a:pt x="2268" y="253"/>
                    </a:lnTo>
                    <a:lnTo>
                      <a:pt x="1764" y="631"/>
                    </a:lnTo>
                    <a:lnTo>
                      <a:pt x="1260" y="1072"/>
                    </a:lnTo>
                    <a:lnTo>
                      <a:pt x="819" y="1575"/>
                    </a:lnTo>
                    <a:lnTo>
                      <a:pt x="504" y="2205"/>
                    </a:lnTo>
                    <a:lnTo>
                      <a:pt x="252" y="2835"/>
                    </a:lnTo>
                    <a:lnTo>
                      <a:pt x="63" y="3528"/>
                    </a:lnTo>
                    <a:lnTo>
                      <a:pt x="0" y="4284"/>
                    </a:lnTo>
                    <a:lnTo>
                      <a:pt x="0" y="15872"/>
                    </a:lnTo>
                    <a:lnTo>
                      <a:pt x="5732" y="15872"/>
                    </a:lnTo>
                    <a:lnTo>
                      <a:pt x="5732" y="4284"/>
                    </a:lnTo>
                    <a:lnTo>
                      <a:pt x="5732" y="4284"/>
                    </a:lnTo>
                    <a:lnTo>
                      <a:pt x="5669" y="3528"/>
                    </a:lnTo>
                    <a:lnTo>
                      <a:pt x="5543" y="2835"/>
                    </a:lnTo>
                    <a:lnTo>
                      <a:pt x="5291" y="2205"/>
                    </a:lnTo>
                    <a:lnTo>
                      <a:pt x="4913" y="1575"/>
                    </a:lnTo>
                    <a:lnTo>
                      <a:pt x="4535" y="1072"/>
                    </a:lnTo>
                    <a:lnTo>
                      <a:pt x="4031" y="631"/>
                    </a:lnTo>
                    <a:lnTo>
                      <a:pt x="3464" y="253"/>
                    </a:lnTo>
                    <a:lnTo>
                      <a:pt x="2897" y="1"/>
                    </a:lnTo>
                    <a:lnTo>
                      <a:pt x="2897" y="1"/>
                    </a:lnTo>
                    <a:close/>
                  </a:path>
                </a:pathLst>
              </a:custGeom>
              <a:solidFill>
                <a:srgbClr val="2C3B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0" name="Google Shape;63364;p144">
                <a:extLst>
                  <a:ext uri="{FF2B5EF4-FFF2-40B4-BE49-F238E27FC236}">
                    <a16:creationId xmlns:a16="http://schemas.microsoft.com/office/drawing/2014/main" id="{BA5CD260-7DE2-DC3B-A785-3DFDE54FE00B}"/>
                  </a:ext>
                </a:extLst>
              </p:cNvPr>
              <p:cNvSpPr/>
              <p:nvPr/>
            </p:nvSpPr>
            <p:spPr>
              <a:xfrm>
                <a:off x="5190075" y="1814350"/>
                <a:ext cx="529075" cy="415700"/>
              </a:xfrm>
              <a:custGeom>
                <a:avLst/>
                <a:gdLst/>
                <a:ahLst/>
                <a:cxnLst/>
                <a:rect l="l" t="t" r="r" b="b"/>
                <a:pathLst>
                  <a:path w="21163" h="16628" extrusionOk="0">
                    <a:moveTo>
                      <a:pt x="21163" y="16628"/>
                    </a:moveTo>
                    <a:lnTo>
                      <a:pt x="21163" y="0"/>
                    </a:lnTo>
                    <a:lnTo>
                      <a:pt x="1" y="0"/>
                    </a:lnTo>
                    <a:lnTo>
                      <a:pt x="1" y="16628"/>
                    </a:lnTo>
                    <a:lnTo>
                      <a:pt x="21163" y="16628"/>
                    </a:lnTo>
                    <a:lnTo>
                      <a:pt x="21163" y="16628"/>
                    </a:lnTo>
                    <a:close/>
                  </a:path>
                </a:pathLst>
              </a:custGeom>
              <a:solidFill>
                <a:srgbClr val="C8C8C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1" name="Google Shape;63365;p144">
                <a:extLst>
                  <a:ext uri="{FF2B5EF4-FFF2-40B4-BE49-F238E27FC236}">
                    <a16:creationId xmlns:a16="http://schemas.microsoft.com/office/drawing/2014/main" id="{46267B42-D100-7295-789C-25EE996A51A9}"/>
                  </a:ext>
                </a:extLst>
              </p:cNvPr>
              <p:cNvSpPr/>
              <p:nvPr/>
            </p:nvSpPr>
            <p:spPr>
              <a:xfrm>
                <a:off x="5390050" y="1508875"/>
                <a:ext cx="529075" cy="305500"/>
              </a:xfrm>
              <a:custGeom>
                <a:avLst/>
                <a:gdLst/>
                <a:ahLst/>
                <a:cxnLst/>
                <a:rect l="l" t="t" r="r" b="b"/>
                <a:pathLst>
                  <a:path w="21163" h="12220" extrusionOk="0">
                    <a:moveTo>
                      <a:pt x="21163" y="12219"/>
                    </a:moveTo>
                    <a:lnTo>
                      <a:pt x="10582" y="1"/>
                    </a:lnTo>
                    <a:lnTo>
                      <a:pt x="1" y="12219"/>
                    </a:lnTo>
                    <a:lnTo>
                      <a:pt x="21163" y="12219"/>
                    </a:lnTo>
                    <a:lnTo>
                      <a:pt x="21163" y="12219"/>
                    </a:ln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2" name="Google Shape;63366;p144">
                <a:extLst>
                  <a:ext uri="{FF2B5EF4-FFF2-40B4-BE49-F238E27FC236}">
                    <a16:creationId xmlns:a16="http://schemas.microsoft.com/office/drawing/2014/main" id="{A9EDF48C-CDDB-E045-2E94-724D12189E26}"/>
                  </a:ext>
                </a:extLst>
              </p:cNvPr>
              <p:cNvSpPr/>
              <p:nvPr/>
            </p:nvSpPr>
            <p:spPr>
              <a:xfrm>
                <a:off x="4846825" y="1814350"/>
                <a:ext cx="530650" cy="415700"/>
              </a:xfrm>
              <a:custGeom>
                <a:avLst/>
                <a:gdLst/>
                <a:ahLst/>
                <a:cxnLst/>
                <a:rect l="l" t="t" r="r" b="b"/>
                <a:pathLst>
                  <a:path w="21226" h="16628" extrusionOk="0">
                    <a:moveTo>
                      <a:pt x="10645" y="16628"/>
                    </a:moveTo>
                    <a:lnTo>
                      <a:pt x="21226" y="16628"/>
                    </a:lnTo>
                    <a:lnTo>
                      <a:pt x="21226" y="0"/>
                    </a:lnTo>
                    <a:lnTo>
                      <a:pt x="1" y="0"/>
                    </a:lnTo>
                    <a:lnTo>
                      <a:pt x="1" y="16628"/>
                    </a:lnTo>
                    <a:lnTo>
                      <a:pt x="10645" y="16628"/>
                    </a:lnTo>
                    <a:lnTo>
                      <a:pt x="10645" y="16628"/>
                    </a:lnTo>
                    <a:close/>
                    <a:moveTo>
                      <a:pt x="12345" y="12219"/>
                    </a:moveTo>
                    <a:lnTo>
                      <a:pt x="8881" y="12219"/>
                    </a:lnTo>
                    <a:lnTo>
                      <a:pt x="8881" y="4220"/>
                    </a:lnTo>
                    <a:lnTo>
                      <a:pt x="12345" y="4220"/>
                    </a:lnTo>
                    <a:lnTo>
                      <a:pt x="12345" y="12219"/>
                    </a:lnTo>
                    <a:lnTo>
                      <a:pt x="12345" y="12219"/>
                    </a:ln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3" name="Google Shape;63367;p144">
                <a:extLst>
                  <a:ext uri="{FF2B5EF4-FFF2-40B4-BE49-F238E27FC236}">
                    <a16:creationId xmlns:a16="http://schemas.microsoft.com/office/drawing/2014/main" id="{16D8C7A4-CBE6-87DD-AB59-EF7F85B3F85B}"/>
                  </a:ext>
                </a:extLst>
              </p:cNvPr>
              <p:cNvSpPr/>
              <p:nvPr/>
            </p:nvSpPr>
            <p:spPr>
              <a:xfrm>
                <a:off x="5377450" y="1814350"/>
                <a:ext cx="53575" cy="415700"/>
              </a:xfrm>
              <a:custGeom>
                <a:avLst/>
                <a:gdLst/>
                <a:ahLst/>
                <a:cxnLst/>
                <a:rect l="l" t="t" r="r" b="b"/>
                <a:pathLst>
                  <a:path w="2143" h="16628" extrusionOk="0">
                    <a:moveTo>
                      <a:pt x="1071" y="16628"/>
                    </a:moveTo>
                    <a:lnTo>
                      <a:pt x="1" y="16628"/>
                    </a:lnTo>
                    <a:lnTo>
                      <a:pt x="1" y="0"/>
                    </a:lnTo>
                    <a:lnTo>
                      <a:pt x="2142" y="0"/>
                    </a:lnTo>
                    <a:lnTo>
                      <a:pt x="2142" y="16628"/>
                    </a:lnTo>
                    <a:lnTo>
                      <a:pt x="1071" y="16628"/>
                    </a:lnTo>
                    <a:lnTo>
                      <a:pt x="1071" y="166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4" name="Google Shape;63368;p144">
                <a:extLst>
                  <a:ext uri="{FF2B5EF4-FFF2-40B4-BE49-F238E27FC236}">
                    <a16:creationId xmlns:a16="http://schemas.microsoft.com/office/drawing/2014/main" id="{998D5D28-2FA6-E879-71A0-E9B3F3A207F0}"/>
                  </a:ext>
                </a:extLst>
              </p:cNvPr>
              <p:cNvSpPr/>
              <p:nvPr/>
            </p:nvSpPr>
            <p:spPr>
              <a:xfrm>
                <a:off x="5068850" y="1919850"/>
                <a:ext cx="53550" cy="199975"/>
              </a:xfrm>
              <a:custGeom>
                <a:avLst/>
                <a:gdLst/>
                <a:ahLst/>
                <a:cxnLst/>
                <a:rect l="l" t="t" r="r" b="b"/>
                <a:pathLst>
                  <a:path w="2142" h="7999" extrusionOk="0">
                    <a:moveTo>
                      <a:pt x="2142" y="7999"/>
                    </a:moveTo>
                    <a:lnTo>
                      <a:pt x="0" y="7999"/>
                    </a:lnTo>
                    <a:lnTo>
                      <a:pt x="0" y="0"/>
                    </a:lnTo>
                    <a:lnTo>
                      <a:pt x="2142" y="0"/>
                    </a:lnTo>
                    <a:lnTo>
                      <a:pt x="2142" y="7999"/>
                    </a:lnTo>
                    <a:lnTo>
                      <a:pt x="2142" y="799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09" name="Google Shape;63369;p144">
              <a:extLst>
                <a:ext uri="{FF2B5EF4-FFF2-40B4-BE49-F238E27FC236}">
                  <a16:creationId xmlns:a16="http://schemas.microsoft.com/office/drawing/2014/main" id="{DCFB566E-8653-1868-EEC7-22BCF254FB4D}"/>
                </a:ext>
              </a:extLst>
            </p:cNvPr>
            <p:cNvGrpSpPr/>
            <p:nvPr/>
          </p:nvGrpSpPr>
          <p:grpSpPr>
            <a:xfrm>
              <a:off x="6219850" y="1888350"/>
              <a:ext cx="1162025" cy="1595050"/>
              <a:chOff x="6219850" y="1888350"/>
              <a:chExt cx="1162025" cy="1595050"/>
            </a:xfrm>
          </p:grpSpPr>
          <p:sp>
            <p:nvSpPr>
              <p:cNvPr id="236" name="Google Shape;63370;p144">
                <a:extLst>
                  <a:ext uri="{FF2B5EF4-FFF2-40B4-BE49-F238E27FC236}">
                    <a16:creationId xmlns:a16="http://schemas.microsoft.com/office/drawing/2014/main" id="{F80822D9-AF58-3E23-D8C6-2E76D4F53E7E}"/>
                  </a:ext>
                </a:extLst>
              </p:cNvPr>
              <p:cNvSpPr/>
              <p:nvPr/>
            </p:nvSpPr>
            <p:spPr>
              <a:xfrm>
                <a:off x="6238725" y="2195400"/>
                <a:ext cx="596800" cy="1288000"/>
              </a:xfrm>
              <a:custGeom>
                <a:avLst/>
                <a:gdLst/>
                <a:ahLst/>
                <a:cxnLst/>
                <a:rect l="l" t="t" r="r" b="b"/>
                <a:pathLst>
                  <a:path w="23872" h="51520" extrusionOk="0">
                    <a:moveTo>
                      <a:pt x="1" y="51519"/>
                    </a:moveTo>
                    <a:lnTo>
                      <a:pt x="23871" y="51519"/>
                    </a:lnTo>
                    <a:lnTo>
                      <a:pt x="23871" y="0"/>
                    </a:lnTo>
                    <a:lnTo>
                      <a:pt x="1" y="0"/>
                    </a:lnTo>
                    <a:lnTo>
                      <a:pt x="1" y="51519"/>
                    </a:lnTo>
                    <a:lnTo>
                      <a:pt x="1" y="51519"/>
                    </a:lnTo>
                    <a:close/>
                  </a:path>
                </a:pathLst>
              </a:custGeom>
              <a:solidFill>
                <a:srgbClr val="CF4D2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7" name="Google Shape;63371;p144">
                <a:extLst>
                  <a:ext uri="{FF2B5EF4-FFF2-40B4-BE49-F238E27FC236}">
                    <a16:creationId xmlns:a16="http://schemas.microsoft.com/office/drawing/2014/main" id="{0DC6C122-2375-8D42-A306-75E4D51FA864}"/>
                  </a:ext>
                </a:extLst>
              </p:cNvPr>
              <p:cNvSpPr/>
              <p:nvPr/>
            </p:nvSpPr>
            <p:spPr>
              <a:xfrm>
                <a:off x="6238725" y="2195400"/>
                <a:ext cx="264550" cy="1288000"/>
              </a:xfrm>
              <a:custGeom>
                <a:avLst/>
                <a:gdLst/>
                <a:ahLst/>
                <a:cxnLst/>
                <a:rect l="l" t="t" r="r" b="b"/>
                <a:pathLst>
                  <a:path w="10582" h="51520" extrusionOk="0">
                    <a:moveTo>
                      <a:pt x="1" y="51519"/>
                    </a:moveTo>
                    <a:lnTo>
                      <a:pt x="10582" y="51519"/>
                    </a:lnTo>
                    <a:lnTo>
                      <a:pt x="10582" y="0"/>
                    </a:lnTo>
                    <a:lnTo>
                      <a:pt x="1" y="0"/>
                    </a:lnTo>
                    <a:lnTo>
                      <a:pt x="1" y="51519"/>
                    </a:lnTo>
                    <a:lnTo>
                      <a:pt x="1" y="51519"/>
                    </a:lnTo>
                    <a:close/>
                  </a:path>
                </a:pathLst>
              </a:custGeom>
              <a:solidFill>
                <a:srgbClr val="93371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8" name="Google Shape;63372;p144">
                <a:extLst>
                  <a:ext uri="{FF2B5EF4-FFF2-40B4-BE49-F238E27FC236}">
                    <a16:creationId xmlns:a16="http://schemas.microsoft.com/office/drawing/2014/main" id="{F9670B7C-EA89-FF7A-0483-F6C68E81ECF8}"/>
                  </a:ext>
                </a:extLst>
              </p:cNvPr>
              <p:cNvSpPr/>
              <p:nvPr/>
            </p:nvSpPr>
            <p:spPr>
              <a:xfrm>
                <a:off x="6835500" y="1888350"/>
                <a:ext cx="529075" cy="1595050"/>
              </a:xfrm>
              <a:custGeom>
                <a:avLst/>
                <a:gdLst/>
                <a:ahLst/>
                <a:cxnLst/>
                <a:rect l="l" t="t" r="r" b="b"/>
                <a:pathLst>
                  <a:path w="21163" h="63802" extrusionOk="0">
                    <a:moveTo>
                      <a:pt x="21162" y="63801"/>
                    </a:moveTo>
                    <a:lnTo>
                      <a:pt x="0" y="63801"/>
                    </a:lnTo>
                    <a:lnTo>
                      <a:pt x="0" y="12282"/>
                    </a:lnTo>
                    <a:lnTo>
                      <a:pt x="10581" y="1"/>
                    </a:lnTo>
                    <a:lnTo>
                      <a:pt x="21162" y="12282"/>
                    </a:lnTo>
                    <a:lnTo>
                      <a:pt x="21162" y="63801"/>
                    </a:lnTo>
                    <a:lnTo>
                      <a:pt x="21162" y="63801"/>
                    </a:lnTo>
                    <a:close/>
                  </a:path>
                </a:pathLst>
              </a:custGeom>
              <a:solidFill>
                <a:srgbClr val="F2652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9" name="Google Shape;63373;p144">
                <a:extLst>
                  <a:ext uri="{FF2B5EF4-FFF2-40B4-BE49-F238E27FC236}">
                    <a16:creationId xmlns:a16="http://schemas.microsoft.com/office/drawing/2014/main" id="{59A1EC01-93C0-481A-9278-D6CB13934518}"/>
                  </a:ext>
                </a:extLst>
              </p:cNvPr>
              <p:cNvSpPr/>
              <p:nvPr/>
            </p:nvSpPr>
            <p:spPr>
              <a:xfrm>
                <a:off x="6238725" y="1888350"/>
                <a:ext cx="861325" cy="307075"/>
              </a:xfrm>
              <a:custGeom>
                <a:avLst/>
                <a:gdLst/>
                <a:ahLst/>
                <a:cxnLst/>
                <a:rect l="l" t="t" r="r" b="b"/>
                <a:pathLst>
                  <a:path w="34453" h="12283" extrusionOk="0">
                    <a:moveTo>
                      <a:pt x="10582" y="1"/>
                    </a:moveTo>
                    <a:lnTo>
                      <a:pt x="34452" y="1"/>
                    </a:lnTo>
                    <a:lnTo>
                      <a:pt x="23871" y="12282"/>
                    </a:lnTo>
                    <a:lnTo>
                      <a:pt x="1" y="12282"/>
                    </a:lnTo>
                    <a:lnTo>
                      <a:pt x="10582" y="1"/>
                    </a:lnTo>
                    <a:lnTo>
                      <a:pt x="10582" y="1"/>
                    </a:lnTo>
                    <a:close/>
                  </a:path>
                </a:pathLst>
              </a:custGeom>
              <a:solidFill>
                <a:srgbClr val="AB262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0" name="Google Shape;63374;p144">
                <a:extLst>
                  <a:ext uri="{FF2B5EF4-FFF2-40B4-BE49-F238E27FC236}">
                    <a16:creationId xmlns:a16="http://schemas.microsoft.com/office/drawing/2014/main" id="{375F8446-FE4E-3C62-5BF6-38D6A82B32BC}"/>
                  </a:ext>
                </a:extLst>
              </p:cNvPr>
              <p:cNvSpPr/>
              <p:nvPr/>
            </p:nvSpPr>
            <p:spPr>
              <a:xfrm>
                <a:off x="6597725" y="2680350"/>
                <a:ext cx="100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4032" h="8063" extrusionOk="0">
                    <a:moveTo>
                      <a:pt x="4032" y="8062"/>
                    </a:moveTo>
                    <a:lnTo>
                      <a:pt x="1" y="8062"/>
                    </a:lnTo>
                    <a:lnTo>
                      <a:pt x="1" y="1"/>
                    </a:lnTo>
                    <a:lnTo>
                      <a:pt x="4032" y="1"/>
                    </a:lnTo>
                    <a:lnTo>
                      <a:pt x="4032" y="8062"/>
                    </a:lnTo>
                    <a:lnTo>
                      <a:pt x="4032" y="8062"/>
                    </a:lnTo>
                    <a:close/>
                  </a:path>
                </a:pathLst>
              </a:custGeom>
              <a:solidFill>
                <a:srgbClr val="55240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1" name="Google Shape;63375;p144">
                <a:extLst>
                  <a:ext uri="{FF2B5EF4-FFF2-40B4-BE49-F238E27FC236}">
                    <a16:creationId xmlns:a16="http://schemas.microsoft.com/office/drawing/2014/main" id="{C11C1759-D892-CEE4-7B39-8607CFCB5641}"/>
                  </a:ext>
                </a:extLst>
              </p:cNvPr>
              <p:cNvSpPr/>
              <p:nvPr/>
            </p:nvSpPr>
            <p:spPr>
              <a:xfrm>
                <a:off x="6597725" y="2680350"/>
                <a:ext cx="26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1072" h="8063" extrusionOk="0">
                    <a:moveTo>
                      <a:pt x="1072" y="8062"/>
                    </a:moveTo>
                    <a:lnTo>
                      <a:pt x="1" y="8062"/>
                    </a:lnTo>
                    <a:lnTo>
                      <a:pt x="1" y="1"/>
                    </a:lnTo>
                    <a:lnTo>
                      <a:pt x="1072" y="1"/>
                    </a:lnTo>
                    <a:lnTo>
                      <a:pt x="1072" y="8062"/>
                    </a:lnTo>
                    <a:lnTo>
                      <a:pt x="1072" y="8062"/>
                    </a:lnTo>
                    <a:close/>
                  </a:path>
                </a:pathLst>
              </a:custGeom>
              <a:solidFill>
                <a:srgbClr val="F2652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2" name="Google Shape;63376;p144">
                <a:extLst>
                  <a:ext uri="{FF2B5EF4-FFF2-40B4-BE49-F238E27FC236}">
                    <a16:creationId xmlns:a16="http://schemas.microsoft.com/office/drawing/2014/main" id="{2EC296E1-8C9E-046C-7C79-80647C6FE86A}"/>
                  </a:ext>
                </a:extLst>
              </p:cNvPr>
              <p:cNvSpPr/>
              <p:nvPr/>
            </p:nvSpPr>
            <p:spPr>
              <a:xfrm>
                <a:off x="6374150" y="2680350"/>
                <a:ext cx="102375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4095" h="8063" extrusionOk="0">
                    <a:moveTo>
                      <a:pt x="4094" y="8062"/>
                    </a:moveTo>
                    <a:lnTo>
                      <a:pt x="0" y="8062"/>
                    </a:lnTo>
                    <a:lnTo>
                      <a:pt x="0" y="1"/>
                    </a:lnTo>
                    <a:lnTo>
                      <a:pt x="4094" y="1"/>
                    </a:lnTo>
                    <a:lnTo>
                      <a:pt x="4094" y="8062"/>
                    </a:lnTo>
                    <a:lnTo>
                      <a:pt x="4094" y="8062"/>
                    </a:lnTo>
                    <a:close/>
                  </a:path>
                </a:pathLst>
              </a:custGeom>
              <a:solidFill>
                <a:srgbClr val="55240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3" name="Google Shape;63377;p144">
                <a:extLst>
                  <a:ext uri="{FF2B5EF4-FFF2-40B4-BE49-F238E27FC236}">
                    <a16:creationId xmlns:a16="http://schemas.microsoft.com/office/drawing/2014/main" id="{15FE15BB-8400-3892-2992-DCA25B06018B}"/>
                  </a:ext>
                </a:extLst>
              </p:cNvPr>
              <p:cNvSpPr/>
              <p:nvPr/>
            </p:nvSpPr>
            <p:spPr>
              <a:xfrm>
                <a:off x="6374150" y="2680350"/>
                <a:ext cx="28375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1135" h="8063" extrusionOk="0">
                    <a:moveTo>
                      <a:pt x="1134" y="8062"/>
                    </a:moveTo>
                    <a:lnTo>
                      <a:pt x="0" y="8062"/>
                    </a:lnTo>
                    <a:lnTo>
                      <a:pt x="0" y="1"/>
                    </a:lnTo>
                    <a:lnTo>
                      <a:pt x="1134" y="1"/>
                    </a:lnTo>
                    <a:lnTo>
                      <a:pt x="1134" y="8062"/>
                    </a:lnTo>
                    <a:lnTo>
                      <a:pt x="1134" y="8062"/>
                    </a:lnTo>
                    <a:close/>
                  </a:path>
                </a:pathLst>
              </a:custGeom>
              <a:solidFill>
                <a:srgbClr val="F2652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4" name="Google Shape;63378;p144">
                <a:extLst>
                  <a:ext uri="{FF2B5EF4-FFF2-40B4-BE49-F238E27FC236}">
                    <a16:creationId xmlns:a16="http://schemas.microsoft.com/office/drawing/2014/main" id="{21502955-2066-19A5-6241-34E8D1E2E11D}"/>
                  </a:ext>
                </a:extLst>
              </p:cNvPr>
              <p:cNvSpPr/>
              <p:nvPr/>
            </p:nvSpPr>
            <p:spPr>
              <a:xfrm>
                <a:off x="6597725" y="2299300"/>
                <a:ext cx="100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4032" h="8063" extrusionOk="0">
                    <a:moveTo>
                      <a:pt x="4032" y="8063"/>
                    </a:moveTo>
                    <a:lnTo>
                      <a:pt x="1" y="8063"/>
                    </a:lnTo>
                    <a:lnTo>
                      <a:pt x="1" y="1"/>
                    </a:lnTo>
                    <a:lnTo>
                      <a:pt x="4032" y="1"/>
                    </a:lnTo>
                    <a:lnTo>
                      <a:pt x="4032" y="8063"/>
                    </a:lnTo>
                    <a:lnTo>
                      <a:pt x="4032" y="8063"/>
                    </a:lnTo>
                    <a:close/>
                  </a:path>
                </a:pathLst>
              </a:custGeom>
              <a:solidFill>
                <a:srgbClr val="55240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5" name="Google Shape;63379;p144">
                <a:extLst>
                  <a:ext uri="{FF2B5EF4-FFF2-40B4-BE49-F238E27FC236}">
                    <a16:creationId xmlns:a16="http://schemas.microsoft.com/office/drawing/2014/main" id="{992C9C89-1795-16E7-037D-DD80B7339D93}"/>
                  </a:ext>
                </a:extLst>
              </p:cNvPr>
              <p:cNvSpPr/>
              <p:nvPr/>
            </p:nvSpPr>
            <p:spPr>
              <a:xfrm>
                <a:off x="6597725" y="2299300"/>
                <a:ext cx="26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1072" h="8063" extrusionOk="0">
                    <a:moveTo>
                      <a:pt x="1072" y="8063"/>
                    </a:moveTo>
                    <a:lnTo>
                      <a:pt x="1" y="8063"/>
                    </a:lnTo>
                    <a:lnTo>
                      <a:pt x="1" y="1"/>
                    </a:lnTo>
                    <a:lnTo>
                      <a:pt x="1072" y="1"/>
                    </a:lnTo>
                    <a:lnTo>
                      <a:pt x="1072" y="8063"/>
                    </a:lnTo>
                    <a:lnTo>
                      <a:pt x="1072" y="8063"/>
                    </a:lnTo>
                    <a:close/>
                  </a:path>
                </a:pathLst>
              </a:custGeom>
              <a:solidFill>
                <a:srgbClr val="F2652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6" name="Google Shape;63380;p144">
                <a:extLst>
                  <a:ext uri="{FF2B5EF4-FFF2-40B4-BE49-F238E27FC236}">
                    <a16:creationId xmlns:a16="http://schemas.microsoft.com/office/drawing/2014/main" id="{FEF4DE2E-C630-8EC1-55F0-D50A60C5FCF4}"/>
                  </a:ext>
                </a:extLst>
              </p:cNvPr>
              <p:cNvSpPr/>
              <p:nvPr/>
            </p:nvSpPr>
            <p:spPr>
              <a:xfrm>
                <a:off x="6374150" y="2299300"/>
                <a:ext cx="102375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4095" h="8063" extrusionOk="0">
                    <a:moveTo>
                      <a:pt x="4094" y="8063"/>
                    </a:moveTo>
                    <a:lnTo>
                      <a:pt x="0" y="8063"/>
                    </a:lnTo>
                    <a:lnTo>
                      <a:pt x="0" y="1"/>
                    </a:lnTo>
                    <a:lnTo>
                      <a:pt x="4094" y="1"/>
                    </a:lnTo>
                    <a:lnTo>
                      <a:pt x="4094" y="8063"/>
                    </a:lnTo>
                    <a:lnTo>
                      <a:pt x="4094" y="8063"/>
                    </a:lnTo>
                    <a:close/>
                  </a:path>
                </a:pathLst>
              </a:custGeom>
              <a:solidFill>
                <a:srgbClr val="55240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7" name="Google Shape;63381;p144">
                <a:extLst>
                  <a:ext uri="{FF2B5EF4-FFF2-40B4-BE49-F238E27FC236}">
                    <a16:creationId xmlns:a16="http://schemas.microsoft.com/office/drawing/2014/main" id="{1475C97F-91B4-6165-3F35-091A88C45671}"/>
                  </a:ext>
                </a:extLst>
              </p:cNvPr>
              <p:cNvSpPr/>
              <p:nvPr/>
            </p:nvSpPr>
            <p:spPr>
              <a:xfrm>
                <a:off x="6374150" y="2299300"/>
                <a:ext cx="28375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1135" h="8063" extrusionOk="0">
                    <a:moveTo>
                      <a:pt x="1134" y="8063"/>
                    </a:moveTo>
                    <a:lnTo>
                      <a:pt x="0" y="8063"/>
                    </a:lnTo>
                    <a:lnTo>
                      <a:pt x="0" y="1"/>
                    </a:lnTo>
                    <a:lnTo>
                      <a:pt x="1134" y="1"/>
                    </a:lnTo>
                    <a:lnTo>
                      <a:pt x="1134" y="8063"/>
                    </a:lnTo>
                    <a:lnTo>
                      <a:pt x="1134" y="8063"/>
                    </a:lnTo>
                    <a:close/>
                  </a:path>
                </a:pathLst>
              </a:custGeom>
              <a:solidFill>
                <a:srgbClr val="F2652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8" name="Google Shape;63382;p144">
                <a:extLst>
                  <a:ext uri="{FF2B5EF4-FFF2-40B4-BE49-F238E27FC236}">
                    <a16:creationId xmlns:a16="http://schemas.microsoft.com/office/drawing/2014/main" id="{123224E3-6D4B-AC00-34BB-ECBE6BEA9B2B}"/>
                  </a:ext>
                </a:extLst>
              </p:cNvPr>
              <p:cNvSpPr/>
              <p:nvPr/>
            </p:nvSpPr>
            <p:spPr>
              <a:xfrm>
                <a:off x="7049625" y="2299300"/>
                <a:ext cx="100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4032" h="8063" extrusionOk="0">
                    <a:moveTo>
                      <a:pt x="1" y="8063"/>
                    </a:moveTo>
                    <a:lnTo>
                      <a:pt x="4032" y="8063"/>
                    </a:lnTo>
                    <a:lnTo>
                      <a:pt x="4032" y="1"/>
                    </a:lnTo>
                    <a:lnTo>
                      <a:pt x="1" y="1"/>
                    </a:lnTo>
                    <a:lnTo>
                      <a:pt x="1" y="8063"/>
                    </a:lnTo>
                    <a:lnTo>
                      <a:pt x="1" y="8063"/>
                    </a:lnTo>
                    <a:close/>
                  </a:path>
                </a:pathLst>
              </a:custGeom>
              <a:solidFill>
                <a:srgbClr val="55240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9" name="Google Shape;63383;p144">
                <a:extLst>
                  <a:ext uri="{FF2B5EF4-FFF2-40B4-BE49-F238E27FC236}">
                    <a16:creationId xmlns:a16="http://schemas.microsoft.com/office/drawing/2014/main" id="{6AEE7DD8-540D-2CF8-C4F4-91337AF60F82}"/>
                  </a:ext>
                </a:extLst>
              </p:cNvPr>
              <p:cNvSpPr/>
              <p:nvPr/>
            </p:nvSpPr>
            <p:spPr>
              <a:xfrm>
                <a:off x="7123625" y="2299300"/>
                <a:ext cx="26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1072" h="8063" extrusionOk="0">
                    <a:moveTo>
                      <a:pt x="1" y="8063"/>
                    </a:moveTo>
                    <a:lnTo>
                      <a:pt x="1072" y="8063"/>
                    </a:lnTo>
                    <a:lnTo>
                      <a:pt x="1072" y="1"/>
                    </a:lnTo>
                    <a:lnTo>
                      <a:pt x="1" y="1"/>
                    </a:lnTo>
                    <a:lnTo>
                      <a:pt x="1" y="8063"/>
                    </a:lnTo>
                    <a:lnTo>
                      <a:pt x="1" y="8063"/>
                    </a:lnTo>
                    <a:close/>
                  </a:path>
                </a:pathLst>
              </a:custGeom>
              <a:solidFill>
                <a:srgbClr val="93371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0" name="Google Shape;63384;p144">
                <a:extLst>
                  <a:ext uri="{FF2B5EF4-FFF2-40B4-BE49-F238E27FC236}">
                    <a16:creationId xmlns:a16="http://schemas.microsoft.com/office/drawing/2014/main" id="{E5C996CA-2377-75E9-474C-61D9A8299DCF}"/>
                  </a:ext>
                </a:extLst>
              </p:cNvPr>
              <p:cNvSpPr/>
              <p:nvPr/>
            </p:nvSpPr>
            <p:spPr>
              <a:xfrm>
                <a:off x="6219850" y="2992100"/>
                <a:ext cx="1162025" cy="36250"/>
              </a:xfrm>
              <a:custGeom>
                <a:avLst/>
                <a:gdLst/>
                <a:ahLst/>
                <a:cxnLst/>
                <a:rect l="l" t="t" r="r" b="b"/>
                <a:pathLst>
                  <a:path w="46481" h="1450" extrusionOk="0">
                    <a:moveTo>
                      <a:pt x="441" y="1"/>
                    </a:moveTo>
                    <a:lnTo>
                      <a:pt x="46040" y="1"/>
                    </a:lnTo>
                    <a:lnTo>
                      <a:pt x="46040" y="1"/>
                    </a:lnTo>
                    <a:lnTo>
                      <a:pt x="46229" y="1"/>
                    </a:lnTo>
                    <a:lnTo>
                      <a:pt x="46355" y="127"/>
                    </a:lnTo>
                    <a:lnTo>
                      <a:pt x="46481" y="253"/>
                    </a:lnTo>
                    <a:lnTo>
                      <a:pt x="46481" y="442"/>
                    </a:lnTo>
                    <a:lnTo>
                      <a:pt x="46481" y="946"/>
                    </a:lnTo>
                    <a:lnTo>
                      <a:pt x="46481" y="946"/>
                    </a:lnTo>
                    <a:lnTo>
                      <a:pt x="46481" y="1135"/>
                    </a:lnTo>
                    <a:lnTo>
                      <a:pt x="46355" y="1261"/>
                    </a:lnTo>
                    <a:lnTo>
                      <a:pt x="46229" y="1387"/>
                    </a:lnTo>
                    <a:lnTo>
                      <a:pt x="46040" y="1450"/>
                    </a:lnTo>
                    <a:lnTo>
                      <a:pt x="441" y="1450"/>
                    </a:lnTo>
                    <a:lnTo>
                      <a:pt x="441" y="1450"/>
                    </a:lnTo>
                    <a:lnTo>
                      <a:pt x="315" y="1387"/>
                    </a:lnTo>
                    <a:lnTo>
                      <a:pt x="126" y="1261"/>
                    </a:lnTo>
                    <a:lnTo>
                      <a:pt x="63" y="1135"/>
                    </a:lnTo>
                    <a:lnTo>
                      <a:pt x="0" y="946"/>
                    </a:lnTo>
                    <a:lnTo>
                      <a:pt x="0" y="442"/>
                    </a:lnTo>
                    <a:lnTo>
                      <a:pt x="0" y="442"/>
                    </a:lnTo>
                    <a:lnTo>
                      <a:pt x="63" y="253"/>
                    </a:lnTo>
                    <a:lnTo>
                      <a:pt x="126" y="127"/>
                    </a:lnTo>
                    <a:lnTo>
                      <a:pt x="315" y="1"/>
                    </a:lnTo>
                    <a:lnTo>
                      <a:pt x="441" y="1"/>
                    </a:lnTo>
                    <a:lnTo>
                      <a:pt x="441" y="1"/>
                    </a:lnTo>
                    <a:close/>
                  </a:path>
                </a:pathLst>
              </a:custGeom>
              <a:solidFill>
                <a:srgbClr val="FAB69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1" name="Google Shape;63385;p144">
                <a:extLst>
                  <a:ext uri="{FF2B5EF4-FFF2-40B4-BE49-F238E27FC236}">
                    <a16:creationId xmlns:a16="http://schemas.microsoft.com/office/drawing/2014/main" id="{41146768-E084-5840-1304-47ECA52511B2}"/>
                  </a:ext>
                </a:extLst>
              </p:cNvPr>
              <p:cNvSpPr/>
              <p:nvPr/>
            </p:nvSpPr>
            <p:spPr>
              <a:xfrm>
                <a:off x="7049625" y="2680350"/>
                <a:ext cx="100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4032" h="8063" extrusionOk="0">
                    <a:moveTo>
                      <a:pt x="1" y="8062"/>
                    </a:moveTo>
                    <a:lnTo>
                      <a:pt x="4032" y="8062"/>
                    </a:lnTo>
                    <a:lnTo>
                      <a:pt x="4032" y="1"/>
                    </a:lnTo>
                    <a:lnTo>
                      <a:pt x="1" y="1"/>
                    </a:lnTo>
                    <a:lnTo>
                      <a:pt x="1" y="8062"/>
                    </a:lnTo>
                    <a:lnTo>
                      <a:pt x="1" y="8062"/>
                    </a:lnTo>
                    <a:close/>
                  </a:path>
                </a:pathLst>
              </a:custGeom>
              <a:solidFill>
                <a:srgbClr val="55240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2" name="Google Shape;63386;p144">
                <a:extLst>
                  <a:ext uri="{FF2B5EF4-FFF2-40B4-BE49-F238E27FC236}">
                    <a16:creationId xmlns:a16="http://schemas.microsoft.com/office/drawing/2014/main" id="{47FC28EA-CB88-109B-39E5-07873641B072}"/>
                  </a:ext>
                </a:extLst>
              </p:cNvPr>
              <p:cNvSpPr/>
              <p:nvPr/>
            </p:nvSpPr>
            <p:spPr>
              <a:xfrm>
                <a:off x="7123625" y="2680350"/>
                <a:ext cx="26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1072" h="8063" extrusionOk="0">
                    <a:moveTo>
                      <a:pt x="1" y="8062"/>
                    </a:moveTo>
                    <a:lnTo>
                      <a:pt x="1072" y="8062"/>
                    </a:lnTo>
                    <a:lnTo>
                      <a:pt x="1072" y="1"/>
                    </a:lnTo>
                    <a:lnTo>
                      <a:pt x="1" y="1"/>
                    </a:lnTo>
                    <a:lnTo>
                      <a:pt x="1" y="8062"/>
                    </a:lnTo>
                    <a:lnTo>
                      <a:pt x="1" y="8062"/>
                    </a:lnTo>
                    <a:close/>
                  </a:path>
                </a:pathLst>
              </a:custGeom>
              <a:solidFill>
                <a:srgbClr val="93371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3" name="Google Shape;63387;p144">
                <a:extLst>
                  <a:ext uri="{FF2B5EF4-FFF2-40B4-BE49-F238E27FC236}">
                    <a16:creationId xmlns:a16="http://schemas.microsoft.com/office/drawing/2014/main" id="{12082F65-DDA0-BF6D-2CB6-1854EA12A9BF}"/>
                  </a:ext>
                </a:extLst>
              </p:cNvPr>
              <p:cNvSpPr/>
              <p:nvPr/>
            </p:nvSpPr>
            <p:spPr>
              <a:xfrm>
                <a:off x="6238725" y="1888350"/>
                <a:ext cx="264550" cy="307075"/>
              </a:xfrm>
              <a:custGeom>
                <a:avLst/>
                <a:gdLst/>
                <a:ahLst/>
                <a:cxnLst/>
                <a:rect l="l" t="t" r="r" b="b"/>
                <a:pathLst>
                  <a:path w="10582" h="12283" extrusionOk="0">
                    <a:moveTo>
                      <a:pt x="10582" y="1"/>
                    </a:moveTo>
                    <a:lnTo>
                      <a:pt x="10582" y="12282"/>
                    </a:lnTo>
                    <a:lnTo>
                      <a:pt x="1" y="12282"/>
                    </a:lnTo>
                    <a:lnTo>
                      <a:pt x="10582" y="1"/>
                    </a:lnTo>
                    <a:lnTo>
                      <a:pt x="10582" y="1"/>
                    </a:lnTo>
                    <a:close/>
                  </a:path>
                </a:pathLst>
              </a:custGeom>
              <a:solidFill>
                <a:srgbClr val="741C1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4" name="Google Shape;63388;p144">
                <a:extLst>
                  <a:ext uri="{FF2B5EF4-FFF2-40B4-BE49-F238E27FC236}">
                    <a16:creationId xmlns:a16="http://schemas.microsoft.com/office/drawing/2014/main" id="{4206D4C3-3121-FC18-BE90-B9C6129B72CF}"/>
                  </a:ext>
                </a:extLst>
              </p:cNvPr>
              <p:cNvSpPr/>
              <p:nvPr/>
            </p:nvSpPr>
            <p:spPr>
              <a:xfrm>
                <a:off x="6219850" y="2992100"/>
                <a:ext cx="632975" cy="36250"/>
              </a:xfrm>
              <a:custGeom>
                <a:avLst/>
                <a:gdLst/>
                <a:ahLst/>
                <a:cxnLst/>
                <a:rect l="l" t="t" r="r" b="b"/>
                <a:pathLst>
                  <a:path w="25319" h="1450" extrusionOk="0">
                    <a:moveTo>
                      <a:pt x="441" y="1"/>
                    </a:moveTo>
                    <a:lnTo>
                      <a:pt x="24878" y="1"/>
                    </a:lnTo>
                    <a:lnTo>
                      <a:pt x="24878" y="1"/>
                    </a:lnTo>
                    <a:lnTo>
                      <a:pt x="25067" y="1"/>
                    </a:lnTo>
                    <a:lnTo>
                      <a:pt x="25193" y="127"/>
                    </a:lnTo>
                    <a:lnTo>
                      <a:pt x="25256" y="253"/>
                    </a:lnTo>
                    <a:lnTo>
                      <a:pt x="25319" y="442"/>
                    </a:lnTo>
                    <a:lnTo>
                      <a:pt x="25319" y="946"/>
                    </a:lnTo>
                    <a:lnTo>
                      <a:pt x="25319" y="946"/>
                    </a:lnTo>
                    <a:lnTo>
                      <a:pt x="25256" y="1135"/>
                    </a:lnTo>
                    <a:lnTo>
                      <a:pt x="25193" y="1261"/>
                    </a:lnTo>
                    <a:lnTo>
                      <a:pt x="25067" y="1387"/>
                    </a:lnTo>
                    <a:lnTo>
                      <a:pt x="24878" y="1450"/>
                    </a:lnTo>
                    <a:lnTo>
                      <a:pt x="441" y="1450"/>
                    </a:lnTo>
                    <a:lnTo>
                      <a:pt x="441" y="1450"/>
                    </a:lnTo>
                    <a:lnTo>
                      <a:pt x="315" y="1387"/>
                    </a:lnTo>
                    <a:lnTo>
                      <a:pt x="126" y="1261"/>
                    </a:lnTo>
                    <a:lnTo>
                      <a:pt x="63" y="1135"/>
                    </a:lnTo>
                    <a:lnTo>
                      <a:pt x="0" y="946"/>
                    </a:lnTo>
                    <a:lnTo>
                      <a:pt x="0" y="442"/>
                    </a:lnTo>
                    <a:lnTo>
                      <a:pt x="0" y="442"/>
                    </a:lnTo>
                    <a:lnTo>
                      <a:pt x="63" y="253"/>
                    </a:lnTo>
                    <a:lnTo>
                      <a:pt x="126" y="127"/>
                    </a:lnTo>
                    <a:lnTo>
                      <a:pt x="315" y="1"/>
                    </a:lnTo>
                    <a:lnTo>
                      <a:pt x="441" y="1"/>
                    </a:lnTo>
                    <a:lnTo>
                      <a:pt x="441" y="1"/>
                    </a:lnTo>
                    <a:close/>
                  </a:path>
                </a:pathLst>
              </a:custGeom>
              <a:solidFill>
                <a:srgbClr val="F2652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5" name="Google Shape;63389;p144">
                <a:extLst>
                  <a:ext uri="{FF2B5EF4-FFF2-40B4-BE49-F238E27FC236}">
                    <a16:creationId xmlns:a16="http://schemas.microsoft.com/office/drawing/2014/main" id="{3A9DCD72-957C-8060-FA46-1E9E8ABE707E}"/>
                  </a:ext>
                </a:extLst>
              </p:cNvPr>
              <p:cNvSpPr/>
              <p:nvPr/>
            </p:nvSpPr>
            <p:spPr>
              <a:xfrm>
                <a:off x="7000825" y="3083425"/>
                <a:ext cx="196850" cy="399975"/>
              </a:xfrm>
              <a:custGeom>
                <a:avLst/>
                <a:gdLst/>
                <a:ahLst/>
                <a:cxnLst/>
                <a:rect l="l" t="t" r="r" b="b"/>
                <a:pathLst>
                  <a:path w="7874" h="15999" extrusionOk="0">
                    <a:moveTo>
                      <a:pt x="3968" y="1"/>
                    </a:moveTo>
                    <a:lnTo>
                      <a:pt x="3968" y="1"/>
                    </a:lnTo>
                    <a:lnTo>
                      <a:pt x="4346" y="1"/>
                    </a:lnTo>
                    <a:lnTo>
                      <a:pt x="4724" y="64"/>
                    </a:lnTo>
                    <a:lnTo>
                      <a:pt x="5102" y="190"/>
                    </a:lnTo>
                    <a:lnTo>
                      <a:pt x="5480" y="316"/>
                    </a:lnTo>
                    <a:lnTo>
                      <a:pt x="5858" y="505"/>
                    </a:lnTo>
                    <a:lnTo>
                      <a:pt x="6173" y="757"/>
                    </a:lnTo>
                    <a:lnTo>
                      <a:pt x="6487" y="1009"/>
                    </a:lnTo>
                    <a:lnTo>
                      <a:pt x="6739" y="1261"/>
                    </a:lnTo>
                    <a:lnTo>
                      <a:pt x="6991" y="1575"/>
                    </a:lnTo>
                    <a:lnTo>
                      <a:pt x="7243" y="1953"/>
                    </a:lnTo>
                    <a:lnTo>
                      <a:pt x="7432" y="2268"/>
                    </a:lnTo>
                    <a:lnTo>
                      <a:pt x="7621" y="2709"/>
                    </a:lnTo>
                    <a:lnTo>
                      <a:pt x="7747" y="3087"/>
                    </a:lnTo>
                    <a:lnTo>
                      <a:pt x="7810" y="3528"/>
                    </a:lnTo>
                    <a:lnTo>
                      <a:pt x="7873" y="3969"/>
                    </a:lnTo>
                    <a:lnTo>
                      <a:pt x="7873" y="4410"/>
                    </a:lnTo>
                    <a:lnTo>
                      <a:pt x="7873" y="15998"/>
                    </a:lnTo>
                    <a:lnTo>
                      <a:pt x="0" y="15998"/>
                    </a:lnTo>
                    <a:lnTo>
                      <a:pt x="0" y="4410"/>
                    </a:lnTo>
                    <a:lnTo>
                      <a:pt x="0" y="4410"/>
                    </a:lnTo>
                    <a:lnTo>
                      <a:pt x="0" y="3969"/>
                    </a:lnTo>
                    <a:lnTo>
                      <a:pt x="63" y="3528"/>
                    </a:lnTo>
                    <a:lnTo>
                      <a:pt x="189" y="3087"/>
                    </a:lnTo>
                    <a:lnTo>
                      <a:pt x="315" y="2709"/>
                    </a:lnTo>
                    <a:lnTo>
                      <a:pt x="504" y="2268"/>
                    </a:lnTo>
                    <a:lnTo>
                      <a:pt x="693" y="1953"/>
                    </a:lnTo>
                    <a:lnTo>
                      <a:pt x="882" y="1575"/>
                    </a:lnTo>
                    <a:lnTo>
                      <a:pt x="1134" y="1261"/>
                    </a:lnTo>
                    <a:lnTo>
                      <a:pt x="1449" y="1009"/>
                    </a:lnTo>
                    <a:lnTo>
                      <a:pt x="1764" y="757"/>
                    </a:lnTo>
                    <a:lnTo>
                      <a:pt x="2079" y="505"/>
                    </a:lnTo>
                    <a:lnTo>
                      <a:pt x="2394" y="316"/>
                    </a:lnTo>
                    <a:lnTo>
                      <a:pt x="2772" y="190"/>
                    </a:lnTo>
                    <a:lnTo>
                      <a:pt x="3149" y="64"/>
                    </a:lnTo>
                    <a:lnTo>
                      <a:pt x="3527" y="1"/>
                    </a:lnTo>
                    <a:lnTo>
                      <a:pt x="3968" y="1"/>
                    </a:lnTo>
                    <a:lnTo>
                      <a:pt x="3968" y="1"/>
                    </a:lnTo>
                    <a:close/>
                  </a:path>
                </a:pathLst>
              </a:custGeom>
              <a:solidFill>
                <a:srgbClr val="93371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6" name="Google Shape;63390;p144">
                <a:extLst>
                  <a:ext uri="{FF2B5EF4-FFF2-40B4-BE49-F238E27FC236}">
                    <a16:creationId xmlns:a16="http://schemas.microsoft.com/office/drawing/2014/main" id="{D3847814-DADC-DA0F-CF7C-6A99E52C1DEE}"/>
                  </a:ext>
                </a:extLst>
              </p:cNvPr>
              <p:cNvSpPr/>
              <p:nvPr/>
            </p:nvSpPr>
            <p:spPr>
              <a:xfrm>
                <a:off x="7000825" y="3086575"/>
                <a:ext cx="143300" cy="396825"/>
              </a:xfrm>
              <a:custGeom>
                <a:avLst/>
                <a:gdLst/>
                <a:ahLst/>
                <a:cxnLst/>
                <a:rect l="l" t="t" r="r" b="b"/>
                <a:pathLst>
                  <a:path w="5732" h="15873" extrusionOk="0">
                    <a:moveTo>
                      <a:pt x="2835" y="1"/>
                    </a:moveTo>
                    <a:lnTo>
                      <a:pt x="2835" y="1"/>
                    </a:lnTo>
                    <a:lnTo>
                      <a:pt x="3464" y="253"/>
                    </a:lnTo>
                    <a:lnTo>
                      <a:pt x="4031" y="631"/>
                    </a:lnTo>
                    <a:lnTo>
                      <a:pt x="4472" y="1072"/>
                    </a:lnTo>
                    <a:lnTo>
                      <a:pt x="4913" y="1575"/>
                    </a:lnTo>
                    <a:lnTo>
                      <a:pt x="5228" y="2205"/>
                    </a:lnTo>
                    <a:lnTo>
                      <a:pt x="5480" y="2835"/>
                    </a:lnTo>
                    <a:lnTo>
                      <a:pt x="5669" y="3528"/>
                    </a:lnTo>
                    <a:lnTo>
                      <a:pt x="5732" y="4284"/>
                    </a:lnTo>
                    <a:lnTo>
                      <a:pt x="5732" y="15872"/>
                    </a:lnTo>
                    <a:lnTo>
                      <a:pt x="0" y="15872"/>
                    </a:lnTo>
                    <a:lnTo>
                      <a:pt x="0" y="4284"/>
                    </a:lnTo>
                    <a:lnTo>
                      <a:pt x="0" y="4284"/>
                    </a:lnTo>
                    <a:lnTo>
                      <a:pt x="63" y="3528"/>
                    </a:lnTo>
                    <a:lnTo>
                      <a:pt x="189" y="2835"/>
                    </a:lnTo>
                    <a:lnTo>
                      <a:pt x="441" y="2205"/>
                    </a:lnTo>
                    <a:lnTo>
                      <a:pt x="819" y="1575"/>
                    </a:lnTo>
                    <a:lnTo>
                      <a:pt x="1197" y="1072"/>
                    </a:lnTo>
                    <a:lnTo>
                      <a:pt x="1701" y="631"/>
                    </a:lnTo>
                    <a:lnTo>
                      <a:pt x="2268" y="253"/>
                    </a:lnTo>
                    <a:lnTo>
                      <a:pt x="2835" y="1"/>
                    </a:lnTo>
                    <a:lnTo>
                      <a:pt x="2835" y="1"/>
                    </a:lnTo>
                    <a:close/>
                  </a:path>
                </a:pathLst>
              </a:custGeom>
              <a:solidFill>
                <a:srgbClr val="55240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7" name="Google Shape;63391;p144">
                <a:extLst>
                  <a:ext uri="{FF2B5EF4-FFF2-40B4-BE49-F238E27FC236}">
                    <a16:creationId xmlns:a16="http://schemas.microsoft.com/office/drawing/2014/main" id="{A5DEE9B5-8F41-0867-17D7-5CECAAD4AC28}"/>
                  </a:ext>
                </a:extLst>
              </p:cNvPr>
              <p:cNvSpPr/>
              <p:nvPr/>
            </p:nvSpPr>
            <p:spPr>
              <a:xfrm>
                <a:off x="6304875" y="3083425"/>
                <a:ext cx="198400" cy="399975"/>
              </a:xfrm>
              <a:custGeom>
                <a:avLst/>
                <a:gdLst/>
                <a:ahLst/>
                <a:cxnLst/>
                <a:rect l="l" t="t" r="r" b="b"/>
                <a:pathLst>
                  <a:path w="7936" h="15999" extrusionOk="0">
                    <a:moveTo>
                      <a:pt x="3968" y="1"/>
                    </a:moveTo>
                    <a:lnTo>
                      <a:pt x="3968" y="1"/>
                    </a:lnTo>
                    <a:lnTo>
                      <a:pt x="3590" y="1"/>
                    </a:lnTo>
                    <a:lnTo>
                      <a:pt x="3149" y="64"/>
                    </a:lnTo>
                    <a:lnTo>
                      <a:pt x="2771" y="190"/>
                    </a:lnTo>
                    <a:lnTo>
                      <a:pt x="2457" y="316"/>
                    </a:lnTo>
                    <a:lnTo>
                      <a:pt x="2079" y="505"/>
                    </a:lnTo>
                    <a:lnTo>
                      <a:pt x="1764" y="757"/>
                    </a:lnTo>
                    <a:lnTo>
                      <a:pt x="1449" y="1009"/>
                    </a:lnTo>
                    <a:lnTo>
                      <a:pt x="1197" y="1261"/>
                    </a:lnTo>
                    <a:lnTo>
                      <a:pt x="945" y="1575"/>
                    </a:lnTo>
                    <a:lnTo>
                      <a:pt x="693" y="1953"/>
                    </a:lnTo>
                    <a:lnTo>
                      <a:pt x="504" y="2268"/>
                    </a:lnTo>
                    <a:lnTo>
                      <a:pt x="315" y="2709"/>
                    </a:lnTo>
                    <a:lnTo>
                      <a:pt x="189" y="3087"/>
                    </a:lnTo>
                    <a:lnTo>
                      <a:pt x="126" y="3528"/>
                    </a:lnTo>
                    <a:lnTo>
                      <a:pt x="63" y="3969"/>
                    </a:lnTo>
                    <a:lnTo>
                      <a:pt x="0" y="4410"/>
                    </a:lnTo>
                    <a:lnTo>
                      <a:pt x="0" y="15998"/>
                    </a:lnTo>
                    <a:lnTo>
                      <a:pt x="7936" y="15998"/>
                    </a:lnTo>
                    <a:lnTo>
                      <a:pt x="7936" y="4410"/>
                    </a:lnTo>
                    <a:lnTo>
                      <a:pt x="7936" y="4410"/>
                    </a:lnTo>
                    <a:lnTo>
                      <a:pt x="7873" y="3969"/>
                    </a:lnTo>
                    <a:lnTo>
                      <a:pt x="7873" y="3528"/>
                    </a:lnTo>
                    <a:lnTo>
                      <a:pt x="7747" y="3087"/>
                    </a:lnTo>
                    <a:lnTo>
                      <a:pt x="7621" y="2709"/>
                    </a:lnTo>
                    <a:lnTo>
                      <a:pt x="7432" y="2268"/>
                    </a:lnTo>
                    <a:lnTo>
                      <a:pt x="7243" y="1953"/>
                    </a:lnTo>
                    <a:lnTo>
                      <a:pt x="6991" y="1575"/>
                    </a:lnTo>
                    <a:lnTo>
                      <a:pt x="6739" y="1261"/>
                    </a:lnTo>
                    <a:lnTo>
                      <a:pt x="6487" y="1009"/>
                    </a:lnTo>
                    <a:lnTo>
                      <a:pt x="6172" y="757"/>
                    </a:lnTo>
                    <a:lnTo>
                      <a:pt x="5858" y="505"/>
                    </a:lnTo>
                    <a:lnTo>
                      <a:pt x="5480" y="316"/>
                    </a:lnTo>
                    <a:lnTo>
                      <a:pt x="5165" y="190"/>
                    </a:lnTo>
                    <a:lnTo>
                      <a:pt x="4787" y="64"/>
                    </a:lnTo>
                    <a:lnTo>
                      <a:pt x="4346" y="1"/>
                    </a:lnTo>
                    <a:lnTo>
                      <a:pt x="3968" y="1"/>
                    </a:lnTo>
                    <a:lnTo>
                      <a:pt x="3968" y="1"/>
                    </a:lnTo>
                    <a:close/>
                  </a:path>
                </a:pathLst>
              </a:custGeom>
              <a:solidFill>
                <a:srgbClr val="F2652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8" name="Google Shape;63392;p144">
                <a:extLst>
                  <a:ext uri="{FF2B5EF4-FFF2-40B4-BE49-F238E27FC236}">
                    <a16:creationId xmlns:a16="http://schemas.microsoft.com/office/drawing/2014/main" id="{D57531BF-D31C-D5D5-1646-52A61A1EB6B6}"/>
                  </a:ext>
                </a:extLst>
              </p:cNvPr>
              <p:cNvSpPr/>
              <p:nvPr/>
            </p:nvSpPr>
            <p:spPr>
              <a:xfrm>
                <a:off x="6359975" y="3086575"/>
                <a:ext cx="143300" cy="396825"/>
              </a:xfrm>
              <a:custGeom>
                <a:avLst/>
                <a:gdLst/>
                <a:ahLst/>
                <a:cxnLst/>
                <a:rect l="l" t="t" r="r" b="b"/>
                <a:pathLst>
                  <a:path w="5732" h="15873" extrusionOk="0">
                    <a:moveTo>
                      <a:pt x="2835" y="1"/>
                    </a:moveTo>
                    <a:lnTo>
                      <a:pt x="2835" y="1"/>
                    </a:lnTo>
                    <a:lnTo>
                      <a:pt x="2268" y="253"/>
                    </a:lnTo>
                    <a:lnTo>
                      <a:pt x="1701" y="631"/>
                    </a:lnTo>
                    <a:lnTo>
                      <a:pt x="1197" y="1072"/>
                    </a:lnTo>
                    <a:lnTo>
                      <a:pt x="819" y="1575"/>
                    </a:lnTo>
                    <a:lnTo>
                      <a:pt x="441" y="2205"/>
                    </a:lnTo>
                    <a:lnTo>
                      <a:pt x="190" y="2835"/>
                    </a:lnTo>
                    <a:lnTo>
                      <a:pt x="64" y="3528"/>
                    </a:lnTo>
                    <a:lnTo>
                      <a:pt x="1" y="4284"/>
                    </a:lnTo>
                    <a:lnTo>
                      <a:pt x="1" y="15872"/>
                    </a:lnTo>
                    <a:lnTo>
                      <a:pt x="5732" y="15872"/>
                    </a:lnTo>
                    <a:lnTo>
                      <a:pt x="5732" y="4284"/>
                    </a:lnTo>
                    <a:lnTo>
                      <a:pt x="5732" y="4284"/>
                    </a:lnTo>
                    <a:lnTo>
                      <a:pt x="5669" y="3528"/>
                    </a:lnTo>
                    <a:lnTo>
                      <a:pt x="5480" y="2835"/>
                    </a:lnTo>
                    <a:lnTo>
                      <a:pt x="5228" y="2205"/>
                    </a:lnTo>
                    <a:lnTo>
                      <a:pt x="4913" y="1575"/>
                    </a:lnTo>
                    <a:lnTo>
                      <a:pt x="4472" y="1072"/>
                    </a:lnTo>
                    <a:lnTo>
                      <a:pt x="4031" y="631"/>
                    </a:lnTo>
                    <a:lnTo>
                      <a:pt x="3465" y="253"/>
                    </a:lnTo>
                    <a:lnTo>
                      <a:pt x="2835" y="1"/>
                    </a:lnTo>
                    <a:lnTo>
                      <a:pt x="2835" y="1"/>
                    </a:lnTo>
                    <a:close/>
                  </a:path>
                </a:pathLst>
              </a:custGeom>
              <a:solidFill>
                <a:srgbClr val="55240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9" name="Google Shape;63393;p144">
                <a:extLst>
                  <a:ext uri="{FF2B5EF4-FFF2-40B4-BE49-F238E27FC236}">
                    <a16:creationId xmlns:a16="http://schemas.microsoft.com/office/drawing/2014/main" id="{C9D8D8DD-B37C-F7A4-3404-77BFA8388F5D}"/>
                  </a:ext>
                </a:extLst>
              </p:cNvPr>
              <p:cNvSpPr/>
              <p:nvPr/>
            </p:nvSpPr>
            <p:spPr>
              <a:xfrm>
                <a:off x="6569400" y="3083425"/>
                <a:ext cx="196825" cy="399975"/>
              </a:xfrm>
              <a:custGeom>
                <a:avLst/>
                <a:gdLst/>
                <a:ahLst/>
                <a:cxnLst/>
                <a:rect l="l" t="t" r="r" b="b"/>
                <a:pathLst>
                  <a:path w="7873" h="15999" extrusionOk="0">
                    <a:moveTo>
                      <a:pt x="3968" y="1"/>
                    </a:moveTo>
                    <a:lnTo>
                      <a:pt x="3968" y="1"/>
                    </a:lnTo>
                    <a:lnTo>
                      <a:pt x="3527" y="1"/>
                    </a:lnTo>
                    <a:lnTo>
                      <a:pt x="3149" y="64"/>
                    </a:lnTo>
                    <a:lnTo>
                      <a:pt x="2771" y="190"/>
                    </a:lnTo>
                    <a:lnTo>
                      <a:pt x="2394" y="316"/>
                    </a:lnTo>
                    <a:lnTo>
                      <a:pt x="2079" y="505"/>
                    </a:lnTo>
                    <a:lnTo>
                      <a:pt x="1701" y="757"/>
                    </a:lnTo>
                    <a:lnTo>
                      <a:pt x="1449" y="1009"/>
                    </a:lnTo>
                    <a:lnTo>
                      <a:pt x="1134" y="1261"/>
                    </a:lnTo>
                    <a:lnTo>
                      <a:pt x="882" y="1575"/>
                    </a:lnTo>
                    <a:lnTo>
                      <a:pt x="693" y="1953"/>
                    </a:lnTo>
                    <a:lnTo>
                      <a:pt x="441" y="2268"/>
                    </a:lnTo>
                    <a:lnTo>
                      <a:pt x="315" y="2709"/>
                    </a:lnTo>
                    <a:lnTo>
                      <a:pt x="189" y="3087"/>
                    </a:lnTo>
                    <a:lnTo>
                      <a:pt x="63" y="3528"/>
                    </a:lnTo>
                    <a:lnTo>
                      <a:pt x="0" y="3969"/>
                    </a:lnTo>
                    <a:lnTo>
                      <a:pt x="0" y="4410"/>
                    </a:lnTo>
                    <a:lnTo>
                      <a:pt x="0" y="15998"/>
                    </a:lnTo>
                    <a:lnTo>
                      <a:pt x="7873" y="15998"/>
                    </a:lnTo>
                    <a:lnTo>
                      <a:pt x="7873" y="4410"/>
                    </a:lnTo>
                    <a:lnTo>
                      <a:pt x="7873" y="4410"/>
                    </a:lnTo>
                    <a:lnTo>
                      <a:pt x="7873" y="3969"/>
                    </a:lnTo>
                    <a:lnTo>
                      <a:pt x="7810" y="3528"/>
                    </a:lnTo>
                    <a:lnTo>
                      <a:pt x="7684" y="3087"/>
                    </a:lnTo>
                    <a:lnTo>
                      <a:pt x="7558" y="2709"/>
                    </a:lnTo>
                    <a:lnTo>
                      <a:pt x="7432" y="2268"/>
                    </a:lnTo>
                    <a:lnTo>
                      <a:pt x="7243" y="1953"/>
                    </a:lnTo>
                    <a:lnTo>
                      <a:pt x="6991" y="1575"/>
                    </a:lnTo>
                    <a:lnTo>
                      <a:pt x="6739" y="1261"/>
                    </a:lnTo>
                    <a:lnTo>
                      <a:pt x="6424" y="1009"/>
                    </a:lnTo>
                    <a:lnTo>
                      <a:pt x="6172" y="757"/>
                    </a:lnTo>
                    <a:lnTo>
                      <a:pt x="5795" y="505"/>
                    </a:lnTo>
                    <a:lnTo>
                      <a:pt x="5480" y="316"/>
                    </a:lnTo>
                    <a:lnTo>
                      <a:pt x="5102" y="190"/>
                    </a:lnTo>
                    <a:lnTo>
                      <a:pt x="4724" y="64"/>
                    </a:lnTo>
                    <a:lnTo>
                      <a:pt x="4346" y="1"/>
                    </a:lnTo>
                    <a:lnTo>
                      <a:pt x="3968" y="1"/>
                    </a:lnTo>
                    <a:lnTo>
                      <a:pt x="3968" y="1"/>
                    </a:lnTo>
                    <a:close/>
                  </a:path>
                </a:pathLst>
              </a:custGeom>
              <a:solidFill>
                <a:srgbClr val="F2652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0" name="Google Shape;63394;p144">
                <a:extLst>
                  <a:ext uri="{FF2B5EF4-FFF2-40B4-BE49-F238E27FC236}">
                    <a16:creationId xmlns:a16="http://schemas.microsoft.com/office/drawing/2014/main" id="{BC9743FE-819E-F474-B12E-AB656920EA88}"/>
                  </a:ext>
                </a:extLst>
              </p:cNvPr>
              <p:cNvSpPr/>
              <p:nvPr/>
            </p:nvSpPr>
            <p:spPr>
              <a:xfrm>
                <a:off x="6622925" y="3086575"/>
                <a:ext cx="143300" cy="396825"/>
              </a:xfrm>
              <a:custGeom>
                <a:avLst/>
                <a:gdLst/>
                <a:ahLst/>
                <a:cxnLst/>
                <a:rect l="l" t="t" r="r" b="b"/>
                <a:pathLst>
                  <a:path w="5732" h="15873" extrusionOk="0">
                    <a:moveTo>
                      <a:pt x="2898" y="1"/>
                    </a:moveTo>
                    <a:lnTo>
                      <a:pt x="2898" y="1"/>
                    </a:lnTo>
                    <a:lnTo>
                      <a:pt x="2268" y="253"/>
                    </a:lnTo>
                    <a:lnTo>
                      <a:pt x="1764" y="631"/>
                    </a:lnTo>
                    <a:lnTo>
                      <a:pt x="1260" y="1072"/>
                    </a:lnTo>
                    <a:lnTo>
                      <a:pt x="819" y="1575"/>
                    </a:lnTo>
                    <a:lnTo>
                      <a:pt x="504" y="2205"/>
                    </a:lnTo>
                    <a:lnTo>
                      <a:pt x="253" y="2835"/>
                    </a:lnTo>
                    <a:lnTo>
                      <a:pt x="64" y="3528"/>
                    </a:lnTo>
                    <a:lnTo>
                      <a:pt x="1" y="4284"/>
                    </a:lnTo>
                    <a:lnTo>
                      <a:pt x="1" y="15872"/>
                    </a:lnTo>
                    <a:lnTo>
                      <a:pt x="5732" y="15872"/>
                    </a:lnTo>
                    <a:lnTo>
                      <a:pt x="5732" y="4284"/>
                    </a:lnTo>
                    <a:lnTo>
                      <a:pt x="5732" y="4284"/>
                    </a:lnTo>
                    <a:lnTo>
                      <a:pt x="5669" y="3528"/>
                    </a:lnTo>
                    <a:lnTo>
                      <a:pt x="5543" y="2835"/>
                    </a:lnTo>
                    <a:lnTo>
                      <a:pt x="5291" y="2205"/>
                    </a:lnTo>
                    <a:lnTo>
                      <a:pt x="4913" y="1575"/>
                    </a:lnTo>
                    <a:lnTo>
                      <a:pt x="4535" y="1072"/>
                    </a:lnTo>
                    <a:lnTo>
                      <a:pt x="4031" y="631"/>
                    </a:lnTo>
                    <a:lnTo>
                      <a:pt x="3465" y="253"/>
                    </a:lnTo>
                    <a:lnTo>
                      <a:pt x="2898" y="1"/>
                    </a:lnTo>
                    <a:lnTo>
                      <a:pt x="2898" y="1"/>
                    </a:lnTo>
                    <a:close/>
                  </a:path>
                </a:pathLst>
              </a:custGeom>
              <a:solidFill>
                <a:srgbClr val="55240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10" name="Google Shape;63395;p144">
              <a:extLst>
                <a:ext uri="{FF2B5EF4-FFF2-40B4-BE49-F238E27FC236}">
                  <a16:creationId xmlns:a16="http://schemas.microsoft.com/office/drawing/2014/main" id="{74905C13-A233-BC79-A804-EBC4F39C0263}"/>
                </a:ext>
              </a:extLst>
            </p:cNvPr>
            <p:cNvGrpSpPr/>
            <p:nvPr/>
          </p:nvGrpSpPr>
          <p:grpSpPr>
            <a:xfrm>
              <a:off x="3174650" y="1888350"/>
              <a:ext cx="1162050" cy="1595050"/>
              <a:chOff x="3174650" y="1888350"/>
              <a:chExt cx="1162050" cy="1595050"/>
            </a:xfrm>
          </p:grpSpPr>
          <p:sp>
            <p:nvSpPr>
              <p:cNvPr id="211" name="Google Shape;63396;p144">
                <a:extLst>
                  <a:ext uri="{FF2B5EF4-FFF2-40B4-BE49-F238E27FC236}">
                    <a16:creationId xmlns:a16="http://schemas.microsoft.com/office/drawing/2014/main" id="{1AE601B9-59B5-B728-A656-1F685B55887A}"/>
                  </a:ext>
                </a:extLst>
              </p:cNvPr>
              <p:cNvSpPr/>
              <p:nvPr/>
            </p:nvSpPr>
            <p:spPr>
              <a:xfrm>
                <a:off x="3191975" y="2195400"/>
                <a:ext cx="596775" cy="1288000"/>
              </a:xfrm>
              <a:custGeom>
                <a:avLst/>
                <a:gdLst/>
                <a:ahLst/>
                <a:cxnLst/>
                <a:rect l="l" t="t" r="r" b="b"/>
                <a:pathLst>
                  <a:path w="23871" h="51520" extrusionOk="0">
                    <a:moveTo>
                      <a:pt x="1" y="51519"/>
                    </a:moveTo>
                    <a:lnTo>
                      <a:pt x="23871" y="51519"/>
                    </a:lnTo>
                    <a:lnTo>
                      <a:pt x="23871" y="0"/>
                    </a:lnTo>
                    <a:lnTo>
                      <a:pt x="1" y="0"/>
                    </a:lnTo>
                    <a:lnTo>
                      <a:pt x="1" y="51519"/>
                    </a:lnTo>
                    <a:lnTo>
                      <a:pt x="1" y="51519"/>
                    </a:lnTo>
                    <a:close/>
                  </a:path>
                </a:pathLst>
              </a:custGeom>
              <a:solidFill>
                <a:srgbClr val="EA8D2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2" name="Google Shape;63397;p144">
                <a:extLst>
                  <a:ext uri="{FF2B5EF4-FFF2-40B4-BE49-F238E27FC236}">
                    <a16:creationId xmlns:a16="http://schemas.microsoft.com/office/drawing/2014/main" id="{5CFE8DF9-709B-06AA-5D5D-3C813F9E8417}"/>
                  </a:ext>
                </a:extLst>
              </p:cNvPr>
              <p:cNvSpPr/>
              <p:nvPr/>
            </p:nvSpPr>
            <p:spPr>
              <a:xfrm>
                <a:off x="3191975" y="2195400"/>
                <a:ext cx="264550" cy="1288000"/>
              </a:xfrm>
              <a:custGeom>
                <a:avLst/>
                <a:gdLst/>
                <a:ahLst/>
                <a:cxnLst/>
                <a:rect l="l" t="t" r="r" b="b"/>
                <a:pathLst>
                  <a:path w="10582" h="51520" extrusionOk="0">
                    <a:moveTo>
                      <a:pt x="1" y="51519"/>
                    </a:moveTo>
                    <a:lnTo>
                      <a:pt x="10582" y="51519"/>
                    </a:lnTo>
                    <a:lnTo>
                      <a:pt x="10582" y="0"/>
                    </a:lnTo>
                    <a:lnTo>
                      <a:pt x="1" y="0"/>
                    </a:lnTo>
                    <a:lnTo>
                      <a:pt x="1" y="51519"/>
                    </a:lnTo>
                    <a:lnTo>
                      <a:pt x="1" y="51519"/>
                    </a:lnTo>
                    <a:close/>
                  </a:path>
                </a:pathLst>
              </a:custGeom>
              <a:solidFill>
                <a:srgbClr val="AD6A2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3" name="Google Shape;63398;p144">
                <a:extLst>
                  <a:ext uri="{FF2B5EF4-FFF2-40B4-BE49-F238E27FC236}">
                    <a16:creationId xmlns:a16="http://schemas.microsoft.com/office/drawing/2014/main" id="{7BE2A36A-691B-AF50-32BD-BC6C1C28F6DE}"/>
                  </a:ext>
                </a:extLst>
              </p:cNvPr>
              <p:cNvSpPr/>
              <p:nvPr/>
            </p:nvSpPr>
            <p:spPr>
              <a:xfrm>
                <a:off x="3788725" y="1888350"/>
                <a:ext cx="529075" cy="1595050"/>
              </a:xfrm>
              <a:custGeom>
                <a:avLst/>
                <a:gdLst/>
                <a:ahLst/>
                <a:cxnLst/>
                <a:rect l="l" t="t" r="r" b="b"/>
                <a:pathLst>
                  <a:path w="21163" h="63802" extrusionOk="0">
                    <a:moveTo>
                      <a:pt x="21163" y="63801"/>
                    </a:moveTo>
                    <a:lnTo>
                      <a:pt x="1" y="63801"/>
                    </a:lnTo>
                    <a:lnTo>
                      <a:pt x="1" y="12282"/>
                    </a:lnTo>
                    <a:lnTo>
                      <a:pt x="10582" y="1"/>
                    </a:lnTo>
                    <a:lnTo>
                      <a:pt x="21163" y="12282"/>
                    </a:lnTo>
                    <a:lnTo>
                      <a:pt x="21163" y="63801"/>
                    </a:lnTo>
                    <a:lnTo>
                      <a:pt x="21163" y="63801"/>
                    </a:lnTo>
                    <a:close/>
                  </a:path>
                </a:pathLst>
              </a:custGeom>
              <a:solidFill>
                <a:srgbClr val="FAA92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4" name="Google Shape;63399;p144">
                <a:extLst>
                  <a:ext uri="{FF2B5EF4-FFF2-40B4-BE49-F238E27FC236}">
                    <a16:creationId xmlns:a16="http://schemas.microsoft.com/office/drawing/2014/main" id="{05A75650-D0C8-0EC2-81DB-249FDE428C54}"/>
                  </a:ext>
                </a:extLst>
              </p:cNvPr>
              <p:cNvSpPr/>
              <p:nvPr/>
            </p:nvSpPr>
            <p:spPr>
              <a:xfrm>
                <a:off x="3191975" y="1888350"/>
                <a:ext cx="861300" cy="307075"/>
              </a:xfrm>
              <a:custGeom>
                <a:avLst/>
                <a:gdLst/>
                <a:ahLst/>
                <a:cxnLst/>
                <a:rect l="l" t="t" r="r" b="b"/>
                <a:pathLst>
                  <a:path w="34452" h="12283" extrusionOk="0">
                    <a:moveTo>
                      <a:pt x="10582" y="1"/>
                    </a:moveTo>
                    <a:lnTo>
                      <a:pt x="34452" y="1"/>
                    </a:lnTo>
                    <a:lnTo>
                      <a:pt x="23871" y="12282"/>
                    </a:lnTo>
                    <a:lnTo>
                      <a:pt x="1" y="12282"/>
                    </a:lnTo>
                    <a:lnTo>
                      <a:pt x="10582" y="1"/>
                    </a:lnTo>
                    <a:lnTo>
                      <a:pt x="10582" y="1"/>
                    </a:lnTo>
                    <a:close/>
                  </a:path>
                </a:pathLst>
              </a:custGeom>
              <a:solidFill>
                <a:srgbClr val="93371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5" name="Google Shape;63400;p144">
                <a:extLst>
                  <a:ext uri="{FF2B5EF4-FFF2-40B4-BE49-F238E27FC236}">
                    <a16:creationId xmlns:a16="http://schemas.microsoft.com/office/drawing/2014/main" id="{9626496A-F66C-A39C-B61B-8A5426391CAB}"/>
                  </a:ext>
                </a:extLst>
              </p:cNvPr>
              <p:cNvSpPr/>
              <p:nvPr/>
            </p:nvSpPr>
            <p:spPr>
              <a:xfrm>
                <a:off x="3550975" y="2680350"/>
                <a:ext cx="100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4032" h="8063" extrusionOk="0">
                    <a:moveTo>
                      <a:pt x="4031" y="8062"/>
                    </a:moveTo>
                    <a:lnTo>
                      <a:pt x="0" y="8062"/>
                    </a:lnTo>
                    <a:lnTo>
                      <a:pt x="0" y="1"/>
                    </a:lnTo>
                    <a:lnTo>
                      <a:pt x="4031" y="1"/>
                    </a:lnTo>
                    <a:lnTo>
                      <a:pt x="4031" y="8062"/>
                    </a:lnTo>
                    <a:lnTo>
                      <a:pt x="4031" y="8062"/>
                    </a:lnTo>
                    <a:close/>
                  </a:path>
                </a:pathLst>
              </a:custGeom>
              <a:solidFill>
                <a:srgbClr val="70461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6" name="Google Shape;63401;p144">
                <a:extLst>
                  <a:ext uri="{FF2B5EF4-FFF2-40B4-BE49-F238E27FC236}">
                    <a16:creationId xmlns:a16="http://schemas.microsoft.com/office/drawing/2014/main" id="{1CE52862-ACD9-7C00-2B5A-74BC8FAAC07F}"/>
                  </a:ext>
                </a:extLst>
              </p:cNvPr>
              <p:cNvSpPr/>
              <p:nvPr/>
            </p:nvSpPr>
            <p:spPr>
              <a:xfrm>
                <a:off x="3550975" y="2680350"/>
                <a:ext cx="26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1072" h="8063" extrusionOk="0">
                    <a:moveTo>
                      <a:pt x="1071" y="8062"/>
                    </a:moveTo>
                    <a:lnTo>
                      <a:pt x="0" y="8062"/>
                    </a:lnTo>
                    <a:lnTo>
                      <a:pt x="0" y="1"/>
                    </a:lnTo>
                    <a:lnTo>
                      <a:pt x="1071" y="1"/>
                    </a:lnTo>
                    <a:lnTo>
                      <a:pt x="1071" y="8062"/>
                    </a:lnTo>
                    <a:lnTo>
                      <a:pt x="1071" y="8062"/>
                    </a:lnTo>
                    <a:close/>
                  </a:path>
                </a:pathLst>
              </a:custGeom>
              <a:solidFill>
                <a:srgbClr val="FAA92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7" name="Google Shape;63402;p144">
                <a:extLst>
                  <a:ext uri="{FF2B5EF4-FFF2-40B4-BE49-F238E27FC236}">
                    <a16:creationId xmlns:a16="http://schemas.microsoft.com/office/drawing/2014/main" id="{C62B0AB6-0482-314F-F953-4E572E63882B}"/>
                  </a:ext>
                </a:extLst>
              </p:cNvPr>
              <p:cNvSpPr/>
              <p:nvPr/>
            </p:nvSpPr>
            <p:spPr>
              <a:xfrm>
                <a:off x="3328950" y="2680350"/>
                <a:ext cx="100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4032" h="8063" extrusionOk="0">
                    <a:moveTo>
                      <a:pt x="4032" y="8062"/>
                    </a:moveTo>
                    <a:lnTo>
                      <a:pt x="1" y="8062"/>
                    </a:lnTo>
                    <a:lnTo>
                      <a:pt x="1" y="1"/>
                    </a:lnTo>
                    <a:lnTo>
                      <a:pt x="4032" y="1"/>
                    </a:lnTo>
                    <a:lnTo>
                      <a:pt x="4032" y="8062"/>
                    </a:lnTo>
                    <a:lnTo>
                      <a:pt x="4032" y="8062"/>
                    </a:lnTo>
                    <a:close/>
                  </a:path>
                </a:pathLst>
              </a:custGeom>
              <a:solidFill>
                <a:srgbClr val="70461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8" name="Google Shape;63403;p144">
                <a:extLst>
                  <a:ext uri="{FF2B5EF4-FFF2-40B4-BE49-F238E27FC236}">
                    <a16:creationId xmlns:a16="http://schemas.microsoft.com/office/drawing/2014/main" id="{8BE86EA6-997B-511A-E469-FC8BA6682E44}"/>
                  </a:ext>
                </a:extLst>
              </p:cNvPr>
              <p:cNvSpPr/>
              <p:nvPr/>
            </p:nvSpPr>
            <p:spPr>
              <a:xfrm>
                <a:off x="3328950" y="2680350"/>
                <a:ext cx="26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1072" h="8063" extrusionOk="0">
                    <a:moveTo>
                      <a:pt x="1072" y="8062"/>
                    </a:moveTo>
                    <a:lnTo>
                      <a:pt x="1" y="8062"/>
                    </a:lnTo>
                    <a:lnTo>
                      <a:pt x="1" y="1"/>
                    </a:lnTo>
                    <a:lnTo>
                      <a:pt x="1072" y="1"/>
                    </a:lnTo>
                    <a:lnTo>
                      <a:pt x="1072" y="8062"/>
                    </a:lnTo>
                    <a:lnTo>
                      <a:pt x="1072" y="8062"/>
                    </a:lnTo>
                    <a:close/>
                  </a:path>
                </a:pathLst>
              </a:custGeom>
              <a:solidFill>
                <a:srgbClr val="FAA92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9" name="Google Shape;63404;p144">
                <a:extLst>
                  <a:ext uri="{FF2B5EF4-FFF2-40B4-BE49-F238E27FC236}">
                    <a16:creationId xmlns:a16="http://schemas.microsoft.com/office/drawing/2014/main" id="{0D6B083E-4187-8266-92AD-F4A0BC549C72}"/>
                  </a:ext>
                </a:extLst>
              </p:cNvPr>
              <p:cNvSpPr/>
              <p:nvPr/>
            </p:nvSpPr>
            <p:spPr>
              <a:xfrm>
                <a:off x="3550975" y="2299300"/>
                <a:ext cx="100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4032" h="8063" extrusionOk="0">
                    <a:moveTo>
                      <a:pt x="4031" y="8063"/>
                    </a:moveTo>
                    <a:lnTo>
                      <a:pt x="0" y="8063"/>
                    </a:lnTo>
                    <a:lnTo>
                      <a:pt x="0" y="1"/>
                    </a:lnTo>
                    <a:lnTo>
                      <a:pt x="4031" y="1"/>
                    </a:lnTo>
                    <a:lnTo>
                      <a:pt x="4031" y="8063"/>
                    </a:lnTo>
                    <a:lnTo>
                      <a:pt x="4031" y="8063"/>
                    </a:lnTo>
                    <a:close/>
                  </a:path>
                </a:pathLst>
              </a:custGeom>
              <a:solidFill>
                <a:srgbClr val="70461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0" name="Google Shape;63405;p144">
                <a:extLst>
                  <a:ext uri="{FF2B5EF4-FFF2-40B4-BE49-F238E27FC236}">
                    <a16:creationId xmlns:a16="http://schemas.microsoft.com/office/drawing/2014/main" id="{3E20DAF7-C8C7-C7ED-C8B0-BB525975F214}"/>
                  </a:ext>
                </a:extLst>
              </p:cNvPr>
              <p:cNvSpPr/>
              <p:nvPr/>
            </p:nvSpPr>
            <p:spPr>
              <a:xfrm>
                <a:off x="3550975" y="2299300"/>
                <a:ext cx="26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1072" h="8063" extrusionOk="0">
                    <a:moveTo>
                      <a:pt x="1071" y="8063"/>
                    </a:moveTo>
                    <a:lnTo>
                      <a:pt x="0" y="8063"/>
                    </a:lnTo>
                    <a:lnTo>
                      <a:pt x="0" y="1"/>
                    </a:lnTo>
                    <a:lnTo>
                      <a:pt x="1071" y="1"/>
                    </a:lnTo>
                    <a:lnTo>
                      <a:pt x="1071" y="8063"/>
                    </a:lnTo>
                    <a:lnTo>
                      <a:pt x="1071" y="8063"/>
                    </a:lnTo>
                    <a:close/>
                  </a:path>
                </a:pathLst>
              </a:custGeom>
              <a:solidFill>
                <a:srgbClr val="FAA92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1" name="Google Shape;63406;p144">
                <a:extLst>
                  <a:ext uri="{FF2B5EF4-FFF2-40B4-BE49-F238E27FC236}">
                    <a16:creationId xmlns:a16="http://schemas.microsoft.com/office/drawing/2014/main" id="{2526892A-7C90-1CB4-DEDB-1EEF268A60E9}"/>
                  </a:ext>
                </a:extLst>
              </p:cNvPr>
              <p:cNvSpPr/>
              <p:nvPr/>
            </p:nvSpPr>
            <p:spPr>
              <a:xfrm>
                <a:off x="3328950" y="2299300"/>
                <a:ext cx="100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4032" h="8063" extrusionOk="0">
                    <a:moveTo>
                      <a:pt x="4032" y="8063"/>
                    </a:moveTo>
                    <a:lnTo>
                      <a:pt x="1" y="8063"/>
                    </a:lnTo>
                    <a:lnTo>
                      <a:pt x="1" y="1"/>
                    </a:lnTo>
                    <a:lnTo>
                      <a:pt x="4032" y="1"/>
                    </a:lnTo>
                    <a:lnTo>
                      <a:pt x="4032" y="8063"/>
                    </a:lnTo>
                    <a:lnTo>
                      <a:pt x="4032" y="8063"/>
                    </a:lnTo>
                    <a:close/>
                  </a:path>
                </a:pathLst>
              </a:custGeom>
              <a:solidFill>
                <a:srgbClr val="70461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2" name="Google Shape;63407;p144">
                <a:extLst>
                  <a:ext uri="{FF2B5EF4-FFF2-40B4-BE49-F238E27FC236}">
                    <a16:creationId xmlns:a16="http://schemas.microsoft.com/office/drawing/2014/main" id="{338C516F-3012-8C89-501C-A5EDF906EEE3}"/>
                  </a:ext>
                </a:extLst>
              </p:cNvPr>
              <p:cNvSpPr/>
              <p:nvPr/>
            </p:nvSpPr>
            <p:spPr>
              <a:xfrm>
                <a:off x="3328950" y="2299300"/>
                <a:ext cx="26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1072" h="8063" extrusionOk="0">
                    <a:moveTo>
                      <a:pt x="1072" y="8063"/>
                    </a:moveTo>
                    <a:lnTo>
                      <a:pt x="1" y="8063"/>
                    </a:lnTo>
                    <a:lnTo>
                      <a:pt x="1" y="1"/>
                    </a:lnTo>
                    <a:lnTo>
                      <a:pt x="1072" y="1"/>
                    </a:lnTo>
                    <a:lnTo>
                      <a:pt x="1072" y="8063"/>
                    </a:lnTo>
                    <a:lnTo>
                      <a:pt x="1072" y="8063"/>
                    </a:lnTo>
                    <a:close/>
                  </a:path>
                </a:pathLst>
              </a:custGeom>
              <a:solidFill>
                <a:srgbClr val="FAA92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3" name="Google Shape;63408;p144">
                <a:extLst>
                  <a:ext uri="{FF2B5EF4-FFF2-40B4-BE49-F238E27FC236}">
                    <a16:creationId xmlns:a16="http://schemas.microsoft.com/office/drawing/2014/main" id="{93D8B59A-B3CD-6182-4C0E-D781189A2D36}"/>
                  </a:ext>
                </a:extLst>
              </p:cNvPr>
              <p:cNvSpPr/>
              <p:nvPr/>
            </p:nvSpPr>
            <p:spPr>
              <a:xfrm>
                <a:off x="4002875" y="2299300"/>
                <a:ext cx="100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4032" h="8063" extrusionOk="0">
                    <a:moveTo>
                      <a:pt x="0" y="8063"/>
                    </a:moveTo>
                    <a:lnTo>
                      <a:pt x="4031" y="8063"/>
                    </a:lnTo>
                    <a:lnTo>
                      <a:pt x="4031" y="1"/>
                    </a:lnTo>
                    <a:lnTo>
                      <a:pt x="0" y="1"/>
                    </a:lnTo>
                    <a:lnTo>
                      <a:pt x="0" y="8063"/>
                    </a:lnTo>
                    <a:lnTo>
                      <a:pt x="0" y="8063"/>
                    </a:lnTo>
                    <a:close/>
                  </a:path>
                </a:pathLst>
              </a:custGeom>
              <a:solidFill>
                <a:srgbClr val="70461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4" name="Google Shape;63409;p144">
                <a:extLst>
                  <a:ext uri="{FF2B5EF4-FFF2-40B4-BE49-F238E27FC236}">
                    <a16:creationId xmlns:a16="http://schemas.microsoft.com/office/drawing/2014/main" id="{7CBABECF-E433-9531-A7A4-EAC12A357991}"/>
                  </a:ext>
                </a:extLst>
              </p:cNvPr>
              <p:cNvSpPr/>
              <p:nvPr/>
            </p:nvSpPr>
            <p:spPr>
              <a:xfrm>
                <a:off x="4076875" y="2299300"/>
                <a:ext cx="26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1072" h="8063" extrusionOk="0">
                    <a:moveTo>
                      <a:pt x="0" y="8063"/>
                    </a:moveTo>
                    <a:lnTo>
                      <a:pt x="1071" y="8063"/>
                    </a:lnTo>
                    <a:lnTo>
                      <a:pt x="1071" y="1"/>
                    </a:lnTo>
                    <a:lnTo>
                      <a:pt x="0" y="1"/>
                    </a:lnTo>
                    <a:lnTo>
                      <a:pt x="0" y="8063"/>
                    </a:lnTo>
                    <a:lnTo>
                      <a:pt x="0" y="8063"/>
                    </a:lnTo>
                    <a:close/>
                  </a:path>
                </a:pathLst>
              </a:custGeom>
              <a:solidFill>
                <a:srgbClr val="AD6A2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5" name="Google Shape;63410;p144">
                <a:extLst>
                  <a:ext uri="{FF2B5EF4-FFF2-40B4-BE49-F238E27FC236}">
                    <a16:creationId xmlns:a16="http://schemas.microsoft.com/office/drawing/2014/main" id="{C4A59CD2-A464-DC9A-DA9F-1FE01C2E3878}"/>
                  </a:ext>
                </a:extLst>
              </p:cNvPr>
              <p:cNvSpPr/>
              <p:nvPr/>
            </p:nvSpPr>
            <p:spPr>
              <a:xfrm>
                <a:off x="3174650" y="2992100"/>
                <a:ext cx="1162050" cy="36250"/>
              </a:xfrm>
              <a:custGeom>
                <a:avLst/>
                <a:gdLst/>
                <a:ahLst/>
                <a:cxnLst/>
                <a:rect l="l" t="t" r="r" b="b"/>
                <a:pathLst>
                  <a:path w="46482" h="1450" extrusionOk="0">
                    <a:moveTo>
                      <a:pt x="442" y="1"/>
                    </a:moveTo>
                    <a:lnTo>
                      <a:pt x="45978" y="1"/>
                    </a:lnTo>
                    <a:lnTo>
                      <a:pt x="45978" y="1"/>
                    </a:lnTo>
                    <a:lnTo>
                      <a:pt x="46167" y="1"/>
                    </a:lnTo>
                    <a:lnTo>
                      <a:pt x="46293" y="127"/>
                    </a:lnTo>
                    <a:lnTo>
                      <a:pt x="46419" y="253"/>
                    </a:lnTo>
                    <a:lnTo>
                      <a:pt x="46482" y="442"/>
                    </a:lnTo>
                    <a:lnTo>
                      <a:pt x="46482" y="946"/>
                    </a:lnTo>
                    <a:lnTo>
                      <a:pt x="46482" y="946"/>
                    </a:lnTo>
                    <a:lnTo>
                      <a:pt x="46419" y="1135"/>
                    </a:lnTo>
                    <a:lnTo>
                      <a:pt x="46293" y="1261"/>
                    </a:lnTo>
                    <a:lnTo>
                      <a:pt x="46167" y="1387"/>
                    </a:lnTo>
                    <a:lnTo>
                      <a:pt x="45978" y="1450"/>
                    </a:lnTo>
                    <a:lnTo>
                      <a:pt x="442" y="1450"/>
                    </a:lnTo>
                    <a:lnTo>
                      <a:pt x="442" y="1450"/>
                    </a:lnTo>
                    <a:lnTo>
                      <a:pt x="253" y="1387"/>
                    </a:lnTo>
                    <a:lnTo>
                      <a:pt x="127" y="1261"/>
                    </a:lnTo>
                    <a:lnTo>
                      <a:pt x="1" y="1135"/>
                    </a:lnTo>
                    <a:lnTo>
                      <a:pt x="1" y="946"/>
                    </a:lnTo>
                    <a:lnTo>
                      <a:pt x="1" y="442"/>
                    </a:lnTo>
                    <a:lnTo>
                      <a:pt x="1" y="442"/>
                    </a:lnTo>
                    <a:lnTo>
                      <a:pt x="1" y="253"/>
                    </a:lnTo>
                    <a:lnTo>
                      <a:pt x="127" y="127"/>
                    </a:lnTo>
                    <a:lnTo>
                      <a:pt x="253" y="1"/>
                    </a:lnTo>
                    <a:lnTo>
                      <a:pt x="442" y="1"/>
                    </a:lnTo>
                    <a:lnTo>
                      <a:pt x="442" y="1"/>
                    </a:lnTo>
                    <a:close/>
                  </a:path>
                </a:pathLst>
              </a:custGeom>
              <a:solidFill>
                <a:srgbClr val="FFDC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6" name="Google Shape;63411;p144">
                <a:extLst>
                  <a:ext uri="{FF2B5EF4-FFF2-40B4-BE49-F238E27FC236}">
                    <a16:creationId xmlns:a16="http://schemas.microsoft.com/office/drawing/2014/main" id="{408E89A1-5D22-0F74-577F-B74F6E542679}"/>
                  </a:ext>
                </a:extLst>
              </p:cNvPr>
              <p:cNvSpPr/>
              <p:nvPr/>
            </p:nvSpPr>
            <p:spPr>
              <a:xfrm>
                <a:off x="3522625" y="3119650"/>
                <a:ext cx="198425" cy="363750"/>
              </a:xfrm>
              <a:custGeom>
                <a:avLst/>
                <a:gdLst/>
                <a:ahLst/>
                <a:cxnLst/>
                <a:rect l="l" t="t" r="r" b="b"/>
                <a:pathLst>
                  <a:path w="7937" h="14550" extrusionOk="0">
                    <a:moveTo>
                      <a:pt x="7937" y="14549"/>
                    </a:moveTo>
                    <a:lnTo>
                      <a:pt x="1" y="14549"/>
                    </a:lnTo>
                    <a:lnTo>
                      <a:pt x="1" y="0"/>
                    </a:lnTo>
                    <a:lnTo>
                      <a:pt x="7937" y="0"/>
                    </a:lnTo>
                    <a:lnTo>
                      <a:pt x="7937" y="14549"/>
                    </a:lnTo>
                    <a:lnTo>
                      <a:pt x="7937" y="14549"/>
                    </a:lnTo>
                    <a:close/>
                  </a:path>
                </a:pathLst>
              </a:custGeom>
              <a:solidFill>
                <a:srgbClr val="70461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7" name="Google Shape;63412;p144">
                <a:extLst>
                  <a:ext uri="{FF2B5EF4-FFF2-40B4-BE49-F238E27FC236}">
                    <a16:creationId xmlns:a16="http://schemas.microsoft.com/office/drawing/2014/main" id="{9DBC57BE-1ACD-5C23-8488-FF125F826499}"/>
                  </a:ext>
                </a:extLst>
              </p:cNvPr>
              <p:cNvSpPr/>
              <p:nvPr/>
            </p:nvSpPr>
            <p:spPr>
              <a:xfrm>
                <a:off x="3522625" y="3119650"/>
                <a:ext cx="26800" cy="363750"/>
              </a:xfrm>
              <a:custGeom>
                <a:avLst/>
                <a:gdLst/>
                <a:ahLst/>
                <a:cxnLst/>
                <a:rect l="l" t="t" r="r" b="b"/>
                <a:pathLst>
                  <a:path w="1072" h="14550" extrusionOk="0">
                    <a:moveTo>
                      <a:pt x="1071" y="14549"/>
                    </a:moveTo>
                    <a:lnTo>
                      <a:pt x="1" y="14549"/>
                    </a:lnTo>
                    <a:lnTo>
                      <a:pt x="1" y="0"/>
                    </a:lnTo>
                    <a:lnTo>
                      <a:pt x="1071" y="0"/>
                    </a:lnTo>
                    <a:lnTo>
                      <a:pt x="1071" y="14549"/>
                    </a:lnTo>
                    <a:lnTo>
                      <a:pt x="1071" y="14549"/>
                    </a:lnTo>
                    <a:close/>
                  </a:path>
                </a:pathLst>
              </a:custGeom>
              <a:solidFill>
                <a:srgbClr val="FAA92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8" name="Google Shape;63413;p144">
                <a:extLst>
                  <a:ext uri="{FF2B5EF4-FFF2-40B4-BE49-F238E27FC236}">
                    <a16:creationId xmlns:a16="http://schemas.microsoft.com/office/drawing/2014/main" id="{D729639D-8688-1EFE-E558-C2BC02D7EBCC}"/>
                  </a:ext>
                </a:extLst>
              </p:cNvPr>
              <p:cNvSpPr/>
              <p:nvPr/>
            </p:nvSpPr>
            <p:spPr>
              <a:xfrm>
                <a:off x="3259675" y="3119650"/>
                <a:ext cx="196850" cy="363750"/>
              </a:xfrm>
              <a:custGeom>
                <a:avLst/>
                <a:gdLst/>
                <a:ahLst/>
                <a:cxnLst/>
                <a:rect l="l" t="t" r="r" b="b"/>
                <a:pathLst>
                  <a:path w="7874" h="14550" extrusionOk="0">
                    <a:moveTo>
                      <a:pt x="7874" y="14549"/>
                    </a:moveTo>
                    <a:lnTo>
                      <a:pt x="1" y="14549"/>
                    </a:lnTo>
                    <a:lnTo>
                      <a:pt x="1" y="0"/>
                    </a:lnTo>
                    <a:lnTo>
                      <a:pt x="7874" y="0"/>
                    </a:lnTo>
                    <a:lnTo>
                      <a:pt x="7874" y="14549"/>
                    </a:lnTo>
                    <a:lnTo>
                      <a:pt x="7874" y="14549"/>
                    </a:lnTo>
                    <a:close/>
                  </a:path>
                </a:pathLst>
              </a:custGeom>
              <a:solidFill>
                <a:srgbClr val="70461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9" name="Google Shape;63414;p144">
                <a:extLst>
                  <a:ext uri="{FF2B5EF4-FFF2-40B4-BE49-F238E27FC236}">
                    <a16:creationId xmlns:a16="http://schemas.microsoft.com/office/drawing/2014/main" id="{147BC1BE-2EAD-12EC-D0CF-8BF08322944E}"/>
                  </a:ext>
                </a:extLst>
              </p:cNvPr>
              <p:cNvSpPr/>
              <p:nvPr/>
            </p:nvSpPr>
            <p:spPr>
              <a:xfrm>
                <a:off x="3259675" y="3119650"/>
                <a:ext cx="26800" cy="363750"/>
              </a:xfrm>
              <a:custGeom>
                <a:avLst/>
                <a:gdLst/>
                <a:ahLst/>
                <a:cxnLst/>
                <a:rect l="l" t="t" r="r" b="b"/>
                <a:pathLst>
                  <a:path w="1072" h="14550" extrusionOk="0">
                    <a:moveTo>
                      <a:pt x="1071" y="14549"/>
                    </a:moveTo>
                    <a:lnTo>
                      <a:pt x="1" y="14549"/>
                    </a:lnTo>
                    <a:lnTo>
                      <a:pt x="1" y="0"/>
                    </a:lnTo>
                    <a:lnTo>
                      <a:pt x="1071" y="0"/>
                    </a:lnTo>
                    <a:lnTo>
                      <a:pt x="1071" y="14549"/>
                    </a:lnTo>
                    <a:lnTo>
                      <a:pt x="1071" y="14549"/>
                    </a:lnTo>
                    <a:close/>
                  </a:path>
                </a:pathLst>
              </a:custGeom>
              <a:solidFill>
                <a:srgbClr val="FAA92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0" name="Google Shape;63415;p144">
                <a:extLst>
                  <a:ext uri="{FF2B5EF4-FFF2-40B4-BE49-F238E27FC236}">
                    <a16:creationId xmlns:a16="http://schemas.microsoft.com/office/drawing/2014/main" id="{325AC01E-17A3-4B4A-8AFD-5D675F83597F}"/>
                  </a:ext>
                </a:extLst>
              </p:cNvPr>
              <p:cNvSpPr/>
              <p:nvPr/>
            </p:nvSpPr>
            <p:spPr>
              <a:xfrm>
                <a:off x="4002875" y="2680350"/>
                <a:ext cx="100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4032" h="8063" extrusionOk="0">
                    <a:moveTo>
                      <a:pt x="0" y="8062"/>
                    </a:moveTo>
                    <a:lnTo>
                      <a:pt x="4031" y="8062"/>
                    </a:lnTo>
                    <a:lnTo>
                      <a:pt x="4031" y="1"/>
                    </a:lnTo>
                    <a:lnTo>
                      <a:pt x="0" y="1"/>
                    </a:lnTo>
                    <a:lnTo>
                      <a:pt x="0" y="8062"/>
                    </a:lnTo>
                    <a:lnTo>
                      <a:pt x="0" y="8062"/>
                    </a:lnTo>
                    <a:close/>
                  </a:path>
                </a:pathLst>
              </a:custGeom>
              <a:solidFill>
                <a:srgbClr val="70461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1" name="Google Shape;63416;p144">
                <a:extLst>
                  <a:ext uri="{FF2B5EF4-FFF2-40B4-BE49-F238E27FC236}">
                    <a16:creationId xmlns:a16="http://schemas.microsoft.com/office/drawing/2014/main" id="{F257E48B-4386-F426-B60B-E594DF7C90F5}"/>
                  </a:ext>
                </a:extLst>
              </p:cNvPr>
              <p:cNvSpPr/>
              <p:nvPr/>
            </p:nvSpPr>
            <p:spPr>
              <a:xfrm>
                <a:off x="4076875" y="2680350"/>
                <a:ext cx="26800" cy="201575"/>
              </a:xfrm>
              <a:custGeom>
                <a:avLst/>
                <a:gdLst/>
                <a:ahLst/>
                <a:cxnLst/>
                <a:rect l="l" t="t" r="r" b="b"/>
                <a:pathLst>
                  <a:path w="1072" h="8063" extrusionOk="0">
                    <a:moveTo>
                      <a:pt x="0" y="8062"/>
                    </a:moveTo>
                    <a:lnTo>
                      <a:pt x="1071" y="8062"/>
                    </a:lnTo>
                    <a:lnTo>
                      <a:pt x="1071" y="1"/>
                    </a:lnTo>
                    <a:lnTo>
                      <a:pt x="0" y="1"/>
                    </a:lnTo>
                    <a:lnTo>
                      <a:pt x="0" y="8062"/>
                    </a:lnTo>
                    <a:lnTo>
                      <a:pt x="0" y="8062"/>
                    </a:lnTo>
                    <a:close/>
                  </a:path>
                </a:pathLst>
              </a:custGeom>
              <a:solidFill>
                <a:srgbClr val="AD6A2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2" name="Google Shape;63417;p144">
                <a:extLst>
                  <a:ext uri="{FF2B5EF4-FFF2-40B4-BE49-F238E27FC236}">
                    <a16:creationId xmlns:a16="http://schemas.microsoft.com/office/drawing/2014/main" id="{A62FA041-BDB9-CA2D-1C25-D4C9500D5554}"/>
                  </a:ext>
                </a:extLst>
              </p:cNvPr>
              <p:cNvSpPr/>
              <p:nvPr/>
            </p:nvSpPr>
            <p:spPr>
              <a:xfrm>
                <a:off x="3191975" y="1888350"/>
                <a:ext cx="264550" cy="307075"/>
              </a:xfrm>
              <a:custGeom>
                <a:avLst/>
                <a:gdLst/>
                <a:ahLst/>
                <a:cxnLst/>
                <a:rect l="l" t="t" r="r" b="b"/>
                <a:pathLst>
                  <a:path w="10582" h="12283" extrusionOk="0">
                    <a:moveTo>
                      <a:pt x="10582" y="1"/>
                    </a:moveTo>
                    <a:lnTo>
                      <a:pt x="10582" y="12282"/>
                    </a:lnTo>
                    <a:lnTo>
                      <a:pt x="1" y="12282"/>
                    </a:lnTo>
                    <a:lnTo>
                      <a:pt x="10582" y="1"/>
                    </a:lnTo>
                    <a:lnTo>
                      <a:pt x="10582" y="1"/>
                    </a:lnTo>
                    <a:close/>
                  </a:path>
                </a:pathLst>
              </a:custGeom>
              <a:solidFill>
                <a:srgbClr val="55240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3" name="Google Shape;63418;p144">
                <a:extLst>
                  <a:ext uri="{FF2B5EF4-FFF2-40B4-BE49-F238E27FC236}">
                    <a16:creationId xmlns:a16="http://schemas.microsoft.com/office/drawing/2014/main" id="{478DCBF6-BAA3-3A6E-0400-81BB993DF1EF}"/>
                  </a:ext>
                </a:extLst>
              </p:cNvPr>
              <p:cNvSpPr/>
              <p:nvPr/>
            </p:nvSpPr>
            <p:spPr>
              <a:xfrm>
                <a:off x="3174650" y="2992100"/>
                <a:ext cx="631425" cy="36250"/>
              </a:xfrm>
              <a:custGeom>
                <a:avLst/>
                <a:gdLst/>
                <a:ahLst/>
                <a:cxnLst/>
                <a:rect l="l" t="t" r="r" b="b"/>
                <a:pathLst>
                  <a:path w="25257" h="1450" extrusionOk="0">
                    <a:moveTo>
                      <a:pt x="442" y="1"/>
                    </a:moveTo>
                    <a:lnTo>
                      <a:pt x="24816" y="1"/>
                    </a:lnTo>
                    <a:lnTo>
                      <a:pt x="24816" y="1"/>
                    </a:lnTo>
                    <a:lnTo>
                      <a:pt x="25005" y="1"/>
                    </a:lnTo>
                    <a:lnTo>
                      <a:pt x="25131" y="127"/>
                    </a:lnTo>
                    <a:lnTo>
                      <a:pt x="25257" y="253"/>
                    </a:lnTo>
                    <a:lnTo>
                      <a:pt x="25257" y="442"/>
                    </a:lnTo>
                    <a:lnTo>
                      <a:pt x="25257" y="946"/>
                    </a:lnTo>
                    <a:lnTo>
                      <a:pt x="25257" y="946"/>
                    </a:lnTo>
                    <a:lnTo>
                      <a:pt x="25257" y="1135"/>
                    </a:lnTo>
                    <a:lnTo>
                      <a:pt x="25131" y="1261"/>
                    </a:lnTo>
                    <a:lnTo>
                      <a:pt x="25005" y="1387"/>
                    </a:lnTo>
                    <a:lnTo>
                      <a:pt x="24816" y="1450"/>
                    </a:lnTo>
                    <a:lnTo>
                      <a:pt x="442" y="1450"/>
                    </a:lnTo>
                    <a:lnTo>
                      <a:pt x="442" y="1450"/>
                    </a:lnTo>
                    <a:lnTo>
                      <a:pt x="253" y="1387"/>
                    </a:lnTo>
                    <a:lnTo>
                      <a:pt x="127" y="1261"/>
                    </a:lnTo>
                    <a:lnTo>
                      <a:pt x="1" y="1135"/>
                    </a:lnTo>
                    <a:lnTo>
                      <a:pt x="1" y="946"/>
                    </a:lnTo>
                    <a:lnTo>
                      <a:pt x="1" y="442"/>
                    </a:lnTo>
                    <a:lnTo>
                      <a:pt x="1" y="442"/>
                    </a:lnTo>
                    <a:lnTo>
                      <a:pt x="1" y="253"/>
                    </a:lnTo>
                    <a:lnTo>
                      <a:pt x="127" y="127"/>
                    </a:lnTo>
                    <a:lnTo>
                      <a:pt x="253" y="1"/>
                    </a:lnTo>
                    <a:lnTo>
                      <a:pt x="442" y="1"/>
                    </a:lnTo>
                    <a:lnTo>
                      <a:pt x="442" y="1"/>
                    </a:lnTo>
                    <a:close/>
                  </a:path>
                </a:pathLst>
              </a:custGeom>
              <a:solidFill>
                <a:srgbClr val="FAA92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4" name="Google Shape;63419;p144">
                <a:extLst>
                  <a:ext uri="{FF2B5EF4-FFF2-40B4-BE49-F238E27FC236}">
                    <a16:creationId xmlns:a16="http://schemas.microsoft.com/office/drawing/2014/main" id="{E7549484-01DD-D102-B6A7-7E1F405B7D8F}"/>
                  </a:ext>
                </a:extLst>
              </p:cNvPr>
              <p:cNvSpPr/>
              <p:nvPr/>
            </p:nvSpPr>
            <p:spPr>
              <a:xfrm>
                <a:off x="4002875" y="3119650"/>
                <a:ext cx="100800" cy="251950"/>
              </a:xfrm>
              <a:custGeom>
                <a:avLst/>
                <a:gdLst/>
                <a:ahLst/>
                <a:cxnLst/>
                <a:rect l="l" t="t" r="r" b="b"/>
                <a:pathLst>
                  <a:path w="4032" h="10078" extrusionOk="0">
                    <a:moveTo>
                      <a:pt x="0" y="10078"/>
                    </a:moveTo>
                    <a:lnTo>
                      <a:pt x="4031" y="10078"/>
                    </a:lnTo>
                    <a:lnTo>
                      <a:pt x="4031" y="0"/>
                    </a:lnTo>
                    <a:lnTo>
                      <a:pt x="0" y="0"/>
                    </a:lnTo>
                    <a:lnTo>
                      <a:pt x="0" y="10078"/>
                    </a:lnTo>
                    <a:lnTo>
                      <a:pt x="0" y="10078"/>
                    </a:lnTo>
                    <a:close/>
                  </a:path>
                </a:pathLst>
              </a:custGeom>
              <a:solidFill>
                <a:srgbClr val="70461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5" name="Google Shape;63420;p144">
                <a:extLst>
                  <a:ext uri="{FF2B5EF4-FFF2-40B4-BE49-F238E27FC236}">
                    <a16:creationId xmlns:a16="http://schemas.microsoft.com/office/drawing/2014/main" id="{B1E8F11D-FE8B-7BEB-1C21-D3C83B6B36F9}"/>
                  </a:ext>
                </a:extLst>
              </p:cNvPr>
              <p:cNvSpPr/>
              <p:nvPr/>
            </p:nvSpPr>
            <p:spPr>
              <a:xfrm>
                <a:off x="4076875" y="3119650"/>
                <a:ext cx="26800" cy="251950"/>
              </a:xfrm>
              <a:custGeom>
                <a:avLst/>
                <a:gdLst/>
                <a:ahLst/>
                <a:cxnLst/>
                <a:rect l="l" t="t" r="r" b="b"/>
                <a:pathLst>
                  <a:path w="1072" h="10078" extrusionOk="0">
                    <a:moveTo>
                      <a:pt x="0" y="10078"/>
                    </a:moveTo>
                    <a:lnTo>
                      <a:pt x="1071" y="10078"/>
                    </a:lnTo>
                    <a:lnTo>
                      <a:pt x="1071" y="0"/>
                    </a:lnTo>
                    <a:lnTo>
                      <a:pt x="0" y="0"/>
                    </a:lnTo>
                    <a:lnTo>
                      <a:pt x="0" y="10078"/>
                    </a:lnTo>
                    <a:lnTo>
                      <a:pt x="0" y="10078"/>
                    </a:lnTo>
                    <a:close/>
                  </a:path>
                </a:pathLst>
              </a:custGeom>
              <a:solidFill>
                <a:srgbClr val="AD6A2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295" name="Google Shape;1061;p57">
            <a:extLst>
              <a:ext uri="{FF2B5EF4-FFF2-40B4-BE49-F238E27FC236}">
                <a16:creationId xmlns:a16="http://schemas.microsoft.com/office/drawing/2014/main" id="{7282377C-FB5C-6FA1-53B2-9C5A1B75FC52}"/>
              </a:ext>
            </a:extLst>
          </p:cNvPr>
          <p:cNvGrpSpPr/>
          <p:nvPr/>
        </p:nvGrpSpPr>
        <p:grpSpPr>
          <a:xfrm>
            <a:off x="10349115" y="3167487"/>
            <a:ext cx="1029035" cy="777026"/>
            <a:chOff x="7218447" y="3601973"/>
            <a:chExt cx="2413873" cy="1678146"/>
          </a:xfrm>
        </p:grpSpPr>
        <p:sp>
          <p:nvSpPr>
            <p:cNvPr id="296" name="Google Shape;1062;p57">
              <a:extLst>
                <a:ext uri="{FF2B5EF4-FFF2-40B4-BE49-F238E27FC236}">
                  <a16:creationId xmlns:a16="http://schemas.microsoft.com/office/drawing/2014/main" id="{8B30C39F-5E4C-4507-E82A-045B92113AA4}"/>
                </a:ext>
              </a:extLst>
            </p:cNvPr>
            <p:cNvSpPr/>
            <p:nvPr/>
          </p:nvSpPr>
          <p:spPr>
            <a:xfrm>
              <a:off x="8490269" y="5061853"/>
              <a:ext cx="37895" cy="62098"/>
            </a:xfrm>
            <a:custGeom>
              <a:avLst/>
              <a:gdLst/>
              <a:ahLst/>
              <a:cxnLst/>
              <a:rect l="l" t="t" r="r" b="b"/>
              <a:pathLst>
                <a:path w="4486" h="7351" extrusionOk="0">
                  <a:moveTo>
                    <a:pt x="1" y="1"/>
                  </a:moveTo>
                  <a:lnTo>
                    <a:pt x="27" y="2283"/>
                  </a:lnTo>
                  <a:lnTo>
                    <a:pt x="27" y="4087"/>
                  </a:lnTo>
                  <a:lnTo>
                    <a:pt x="27" y="5414"/>
                  </a:lnTo>
                  <a:lnTo>
                    <a:pt x="54" y="5546"/>
                  </a:lnTo>
                  <a:lnTo>
                    <a:pt x="80" y="5652"/>
                  </a:lnTo>
                  <a:lnTo>
                    <a:pt x="160" y="5759"/>
                  </a:lnTo>
                  <a:lnTo>
                    <a:pt x="240" y="5865"/>
                  </a:lnTo>
                  <a:lnTo>
                    <a:pt x="478" y="6104"/>
                  </a:lnTo>
                  <a:lnTo>
                    <a:pt x="797" y="6316"/>
                  </a:lnTo>
                  <a:lnTo>
                    <a:pt x="1142" y="6502"/>
                  </a:lnTo>
                  <a:lnTo>
                    <a:pt x="1566" y="6714"/>
                  </a:lnTo>
                  <a:lnTo>
                    <a:pt x="1991" y="6873"/>
                  </a:lnTo>
                  <a:lnTo>
                    <a:pt x="2442" y="7032"/>
                  </a:lnTo>
                  <a:lnTo>
                    <a:pt x="2866" y="7165"/>
                  </a:lnTo>
                  <a:lnTo>
                    <a:pt x="3291" y="7271"/>
                  </a:lnTo>
                  <a:lnTo>
                    <a:pt x="3663" y="7324"/>
                  </a:lnTo>
                  <a:lnTo>
                    <a:pt x="3981" y="7351"/>
                  </a:lnTo>
                  <a:lnTo>
                    <a:pt x="4246" y="7351"/>
                  </a:lnTo>
                  <a:lnTo>
                    <a:pt x="4326" y="7324"/>
                  </a:lnTo>
                  <a:lnTo>
                    <a:pt x="4405" y="7298"/>
                  </a:lnTo>
                  <a:lnTo>
                    <a:pt x="4459" y="7245"/>
                  </a:lnTo>
                  <a:lnTo>
                    <a:pt x="4485" y="7191"/>
                  </a:lnTo>
                  <a:lnTo>
                    <a:pt x="4485" y="7138"/>
                  </a:lnTo>
                  <a:lnTo>
                    <a:pt x="4432" y="7032"/>
                  </a:lnTo>
                  <a:lnTo>
                    <a:pt x="4352" y="6820"/>
                  </a:lnTo>
                  <a:lnTo>
                    <a:pt x="4273" y="6502"/>
                  </a:lnTo>
                  <a:lnTo>
                    <a:pt x="4246" y="6130"/>
                  </a:lnTo>
                  <a:lnTo>
                    <a:pt x="4193" y="5706"/>
                  </a:lnTo>
                  <a:lnTo>
                    <a:pt x="4193" y="4750"/>
                  </a:lnTo>
                  <a:lnTo>
                    <a:pt x="4220" y="3715"/>
                  </a:lnTo>
                  <a:lnTo>
                    <a:pt x="4273" y="2760"/>
                  </a:lnTo>
                  <a:lnTo>
                    <a:pt x="4352" y="1911"/>
                  </a:lnTo>
                  <a:lnTo>
                    <a:pt x="4405" y="1142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EEA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" name="Google Shape;1063;p57">
              <a:extLst>
                <a:ext uri="{FF2B5EF4-FFF2-40B4-BE49-F238E27FC236}">
                  <a16:creationId xmlns:a16="http://schemas.microsoft.com/office/drawing/2014/main" id="{B138C522-4490-0186-9F82-71D1E0BAD5F6}"/>
                </a:ext>
              </a:extLst>
            </p:cNvPr>
            <p:cNvSpPr/>
            <p:nvPr/>
          </p:nvSpPr>
          <p:spPr>
            <a:xfrm>
              <a:off x="8477496" y="5101303"/>
              <a:ext cx="107596" cy="45515"/>
            </a:xfrm>
            <a:custGeom>
              <a:avLst/>
              <a:gdLst/>
              <a:ahLst/>
              <a:cxnLst/>
              <a:rect l="l" t="t" r="r" b="b"/>
              <a:pathLst>
                <a:path w="12737" h="5388" extrusionOk="0">
                  <a:moveTo>
                    <a:pt x="1300" y="1"/>
                  </a:moveTo>
                  <a:lnTo>
                    <a:pt x="1141" y="27"/>
                  </a:lnTo>
                  <a:lnTo>
                    <a:pt x="982" y="107"/>
                  </a:lnTo>
                  <a:lnTo>
                    <a:pt x="849" y="186"/>
                  </a:lnTo>
                  <a:lnTo>
                    <a:pt x="717" y="293"/>
                  </a:lnTo>
                  <a:lnTo>
                    <a:pt x="611" y="399"/>
                  </a:lnTo>
                  <a:lnTo>
                    <a:pt x="504" y="531"/>
                  </a:lnTo>
                  <a:lnTo>
                    <a:pt x="425" y="691"/>
                  </a:lnTo>
                  <a:lnTo>
                    <a:pt x="266" y="1009"/>
                  </a:lnTo>
                  <a:lnTo>
                    <a:pt x="159" y="1327"/>
                  </a:lnTo>
                  <a:lnTo>
                    <a:pt x="53" y="1832"/>
                  </a:lnTo>
                  <a:lnTo>
                    <a:pt x="0" y="2097"/>
                  </a:lnTo>
                  <a:lnTo>
                    <a:pt x="27" y="2362"/>
                  </a:lnTo>
                  <a:lnTo>
                    <a:pt x="53" y="2628"/>
                  </a:lnTo>
                  <a:lnTo>
                    <a:pt x="133" y="2866"/>
                  </a:lnTo>
                  <a:lnTo>
                    <a:pt x="213" y="3079"/>
                  </a:lnTo>
                  <a:lnTo>
                    <a:pt x="319" y="3264"/>
                  </a:lnTo>
                  <a:lnTo>
                    <a:pt x="504" y="3556"/>
                  </a:lnTo>
                  <a:lnTo>
                    <a:pt x="611" y="3662"/>
                  </a:lnTo>
                  <a:lnTo>
                    <a:pt x="743" y="3769"/>
                  </a:lnTo>
                  <a:lnTo>
                    <a:pt x="929" y="3875"/>
                  </a:lnTo>
                  <a:lnTo>
                    <a:pt x="1115" y="3981"/>
                  </a:lnTo>
                  <a:lnTo>
                    <a:pt x="1327" y="4087"/>
                  </a:lnTo>
                  <a:lnTo>
                    <a:pt x="1566" y="4167"/>
                  </a:lnTo>
                  <a:lnTo>
                    <a:pt x="1831" y="4220"/>
                  </a:lnTo>
                  <a:lnTo>
                    <a:pt x="2070" y="4246"/>
                  </a:lnTo>
                  <a:lnTo>
                    <a:pt x="2680" y="4326"/>
                  </a:lnTo>
                  <a:lnTo>
                    <a:pt x="3105" y="4352"/>
                  </a:lnTo>
                  <a:lnTo>
                    <a:pt x="3317" y="4352"/>
                  </a:lnTo>
                  <a:lnTo>
                    <a:pt x="3556" y="4326"/>
                  </a:lnTo>
                  <a:lnTo>
                    <a:pt x="3848" y="4299"/>
                  </a:lnTo>
                  <a:lnTo>
                    <a:pt x="4246" y="4352"/>
                  </a:lnTo>
                  <a:lnTo>
                    <a:pt x="4750" y="4405"/>
                  </a:lnTo>
                  <a:lnTo>
                    <a:pt x="5307" y="4485"/>
                  </a:lnTo>
                  <a:lnTo>
                    <a:pt x="5917" y="4618"/>
                  </a:lnTo>
                  <a:lnTo>
                    <a:pt x="6528" y="4750"/>
                  </a:lnTo>
                  <a:lnTo>
                    <a:pt x="7112" y="4910"/>
                  </a:lnTo>
                  <a:lnTo>
                    <a:pt x="7695" y="5095"/>
                  </a:lnTo>
                  <a:lnTo>
                    <a:pt x="7961" y="5175"/>
                  </a:lnTo>
                  <a:lnTo>
                    <a:pt x="8279" y="5255"/>
                  </a:lnTo>
                  <a:lnTo>
                    <a:pt x="8624" y="5308"/>
                  </a:lnTo>
                  <a:lnTo>
                    <a:pt x="8995" y="5334"/>
                  </a:lnTo>
                  <a:lnTo>
                    <a:pt x="9367" y="5361"/>
                  </a:lnTo>
                  <a:lnTo>
                    <a:pt x="9738" y="5387"/>
                  </a:lnTo>
                  <a:lnTo>
                    <a:pt x="10136" y="5387"/>
                  </a:lnTo>
                  <a:lnTo>
                    <a:pt x="10508" y="5361"/>
                  </a:lnTo>
                  <a:lnTo>
                    <a:pt x="10879" y="5308"/>
                  </a:lnTo>
                  <a:lnTo>
                    <a:pt x="11251" y="5255"/>
                  </a:lnTo>
                  <a:lnTo>
                    <a:pt x="11569" y="5175"/>
                  </a:lnTo>
                  <a:lnTo>
                    <a:pt x="11888" y="5069"/>
                  </a:lnTo>
                  <a:lnTo>
                    <a:pt x="12153" y="4963"/>
                  </a:lnTo>
                  <a:lnTo>
                    <a:pt x="12392" y="4803"/>
                  </a:lnTo>
                  <a:lnTo>
                    <a:pt x="12578" y="4644"/>
                  </a:lnTo>
                  <a:lnTo>
                    <a:pt x="12710" y="4458"/>
                  </a:lnTo>
                  <a:lnTo>
                    <a:pt x="12737" y="4352"/>
                  </a:lnTo>
                  <a:lnTo>
                    <a:pt x="12710" y="4220"/>
                  </a:lnTo>
                  <a:lnTo>
                    <a:pt x="12657" y="4087"/>
                  </a:lnTo>
                  <a:lnTo>
                    <a:pt x="12578" y="3981"/>
                  </a:lnTo>
                  <a:lnTo>
                    <a:pt x="12445" y="3848"/>
                  </a:lnTo>
                  <a:lnTo>
                    <a:pt x="12312" y="3716"/>
                  </a:lnTo>
                  <a:lnTo>
                    <a:pt x="11941" y="3450"/>
                  </a:lnTo>
                  <a:lnTo>
                    <a:pt x="11463" y="3158"/>
                  </a:lnTo>
                  <a:lnTo>
                    <a:pt x="10932" y="2893"/>
                  </a:lnTo>
                  <a:lnTo>
                    <a:pt x="10349" y="2601"/>
                  </a:lnTo>
                  <a:lnTo>
                    <a:pt x="9738" y="2336"/>
                  </a:lnTo>
                  <a:lnTo>
                    <a:pt x="8491" y="1858"/>
                  </a:lnTo>
                  <a:lnTo>
                    <a:pt x="7324" y="1407"/>
                  </a:lnTo>
                  <a:lnTo>
                    <a:pt x="5917" y="903"/>
                  </a:lnTo>
                  <a:lnTo>
                    <a:pt x="5811" y="876"/>
                  </a:lnTo>
                  <a:lnTo>
                    <a:pt x="5705" y="876"/>
                  </a:lnTo>
                  <a:lnTo>
                    <a:pt x="5599" y="929"/>
                  </a:lnTo>
                  <a:lnTo>
                    <a:pt x="5519" y="982"/>
                  </a:lnTo>
                  <a:lnTo>
                    <a:pt x="5334" y="1195"/>
                  </a:lnTo>
                  <a:lnTo>
                    <a:pt x="5121" y="1407"/>
                  </a:lnTo>
                  <a:lnTo>
                    <a:pt x="5015" y="1513"/>
                  </a:lnTo>
                  <a:lnTo>
                    <a:pt x="4883" y="1619"/>
                  </a:lnTo>
                  <a:lnTo>
                    <a:pt x="4723" y="1725"/>
                  </a:lnTo>
                  <a:lnTo>
                    <a:pt x="4538" y="1805"/>
                  </a:lnTo>
                  <a:lnTo>
                    <a:pt x="4325" y="1832"/>
                  </a:lnTo>
                  <a:lnTo>
                    <a:pt x="4087" y="1858"/>
                  </a:lnTo>
                  <a:lnTo>
                    <a:pt x="3795" y="1832"/>
                  </a:lnTo>
                  <a:lnTo>
                    <a:pt x="3503" y="1778"/>
                  </a:lnTo>
                  <a:lnTo>
                    <a:pt x="3131" y="1672"/>
                  </a:lnTo>
                  <a:lnTo>
                    <a:pt x="2813" y="1540"/>
                  </a:lnTo>
                  <a:lnTo>
                    <a:pt x="2574" y="1434"/>
                  </a:lnTo>
                  <a:lnTo>
                    <a:pt x="2362" y="1274"/>
                  </a:lnTo>
                  <a:lnTo>
                    <a:pt x="2203" y="1142"/>
                  </a:lnTo>
                  <a:lnTo>
                    <a:pt x="2070" y="1009"/>
                  </a:lnTo>
                  <a:lnTo>
                    <a:pt x="1990" y="850"/>
                  </a:lnTo>
                  <a:lnTo>
                    <a:pt x="1911" y="717"/>
                  </a:lnTo>
                  <a:lnTo>
                    <a:pt x="1805" y="452"/>
                  </a:lnTo>
                  <a:lnTo>
                    <a:pt x="1752" y="239"/>
                  </a:lnTo>
                  <a:lnTo>
                    <a:pt x="1698" y="160"/>
                  </a:lnTo>
                  <a:lnTo>
                    <a:pt x="1645" y="80"/>
                  </a:lnTo>
                  <a:lnTo>
                    <a:pt x="1592" y="27"/>
                  </a:lnTo>
                  <a:lnTo>
                    <a:pt x="1486" y="1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" name="Google Shape;1064;p57">
              <a:extLst>
                <a:ext uri="{FF2B5EF4-FFF2-40B4-BE49-F238E27FC236}">
                  <a16:creationId xmlns:a16="http://schemas.microsoft.com/office/drawing/2014/main" id="{7164CF75-B099-7029-6CAB-42266A610FEE}"/>
                </a:ext>
              </a:extLst>
            </p:cNvPr>
            <p:cNvSpPr/>
            <p:nvPr/>
          </p:nvSpPr>
          <p:spPr>
            <a:xfrm>
              <a:off x="8128944" y="4935436"/>
              <a:ext cx="52459" cy="52907"/>
            </a:xfrm>
            <a:custGeom>
              <a:avLst/>
              <a:gdLst/>
              <a:ahLst/>
              <a:cxnLst/>
              <a:rect l="l" t="t" r="r" b="b"/>
              <a:pathLst>
                <a:path w="6210" h="6263" extrusionOk="0">
                  <a:moveTo>
                    <a:pt x="6130" y="0"/>
                  </a:moveTo>
                  <a:lnTo>
                    <a:pt x="3954" y="637"/>
                  </a:lnTo>
                  <a:lnTo>
                    <a:pt x="2202" y="1141"/>
                  </a:lnTo>
                  <a:lnTo>
                    <a:pt x="902" y="1513"/>
                  </a:lnTo>
                  <a:lnTo>
                    <a:pt x="823" y="1539"/>
                  </a:lnTo>
                  <a:lnTo>
                    <a:pt x="717" y="1619"/>
                  </a:lnTo>
                  <a:lnTo>
                    <a:pt x="610" y="1698"/>
                  </a:lnTo>
                  <a:lnTo>
                    <a:pt x="531" y="1831"/>
                  </a:lnTo>
                  <a:lnTo>
                    <a:pt x="398" y="2123"/>
                  </a:lnTo>
                  <a:lnTo>
                    <a:pt x="265" y="2468"/>
                  </a:lnTo>
                  <a:lnTo>
                    <a:pt x="159" y="2892"/>
                  </a:lnTo>
                  <a:lnTo>
                    <a:pt x="80" y="3317"/>
                  </a:lnTo>
                  <a:lnTo>
                    <a:pt x="27" y="3795"/>
                  </a:lnTo>
                  <a:lnTo>
                    <a:pt x="0" y="4246"/>
                  </a:lnTo>
                  <a:lnTo>
                    <a:pt x="0" y="4697"/>
                  </a:lnTo>
                  <a:lnTo>
                    <a:pt x="27" y="5121"/>
                  </a:lnTo>
                  <a:lnTo>
                    <a:pt x="53" y="5519"/>
                  </a:lnTo>
                  <a:lnTo>
                    <a:pt x="106" y="5838"/>
                  </a:lnTo>
                  <a:lnTo>
                    <a:pt x="186" y="6077"/>
                  </a:lnTo>
                  <a:lnTo>
                    <a:pt x="239" y="6156"/>
                  </a:lnTo>
                  <a:lnTo>
                    <a:pt x="292" y="6236"/>
                  </a:lnTo>
                  <a:lnTo>
                    <a:pt x="345" y="6262"/>
                  </a:lnTo>
                  <a:lnTo>
                    <a:pt x="398" y="6262"/>
                  </a:lnTo>
                  <a:lnTo>
                    <a:pt x="478" y="6236"/>
                  </a:lnTo>
                  <a:lnTo>
                    <a:pt x="531" y="6183"/>
                  </a:lnTo>
                  <a:lnTo>
                    <a:pt x="743" y="6050"/>
                  </a:lnTo>
                  <a:lnTo>
                    <a:pt x="1008" y="5891"/>
                  </a:lnTo>
                  <a:lnTo>
                    <a:pt x="1353" y="5758"/>
                  </a:lnTo>
                  <a:lnTo>
                    <a:pt x="1751" y="5599"/>
                  </a:lnTo>
                  <a:lnTo>
                    <a:pt x="2680" y="5334"/>
                  </a:lnTo>
                  <a:lnTo>
                    <a:pt x="3688" y="5095"/>
                  </a:lnTo>
                  <a:lnTo>
                    <a:pt x="4644" y="4883"/>
                  </a:lnTo>
                  <a:lnTo>
                    <a:pt x="5440" y="4723"/>
                  </a:lnTo>
                  <a:lnTo>
                    <a:pt x="6209" y="4564"/>
                  </a:lnTo>
                  <a:lnTo>
                    <a:pt x="6130" y="0"/>
                  </a:lnTo>
                  <a:close/>
                </a:path>
              </a:pathLst>
            </a:custGeom>
            <a:solidFill>
              <a:srgbClr val="EEA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" name="Google Shape;1065;p57">
              <a:extLst>
                <a:ext uri="{FF2B5EF4-FFF2-40B4-BE49-F238E27FC236}">
                  <a16:creationId xmlns:a16="http://schemas.microsoft.com/office/drawing/2014/main" id="{8C6412E9-E197-721B-774C-E02228DE48CF}"/>
                </a:ext>
              </a:extLst>
            </p:cNvPr>
            <p:cNvSpPr/>
            <p:nvPr/>
          </p:nvSpPr>
          <p:spPr>
            <a:xfrm>
              <a:off x="8105181" y="4941037"/>
              <a:ext cx="35201" cy="103119"/>
            </a:xfrm>
            <a:custGeom>
              <a:avLst/>
              <a:gdLst/>
              <a:ahLst/>
              <a:cxnLst/>
              <a:rect l="l" t="t" r="r" b="b"/>
              <a:pathLst>
                <a:path w="4167" h="12207" extrusionOk="0">
                  <a:moveTo>
                    <a:pt x="2627" y="1"/>
                  </a:moveTo>
                  <a:lnTo>
                    <a:pt x="2309" y="27"/>
                  </a:lnTo>
                  <a:lnTo>
                    <a:pt x="1778" y="80"/>
                  </a:lnTo>
                  <a:lnTo>
                    <a:pt x="1513" y="107"/>
                  </a:lnTo>
                  <a:lnTo>
                    <a:pt x="1274" y="186"/>
                  </a:lnTo>
                  <a:lnTo>
                    <a:pt x="1035" y="319"/>
                  </a:lnTo>
                  <a:lnTo>
                    <a:pt x="823" y="452"/>
                  </a:lnTo>
                  <a:lnTo>
                    <a:pt x="637" y="584"/>
                  </a:lnTo>
                  <a:lnTo>
                    <a:pt x="478" y="744"/>
                  </a:lnTo>
                  <a:lnTo>
                    <a:pt x="266" y="1009"/>
                  </a:lnTo>
                  <a:lnTo>
                    <a:pt x="186" y="1142"/>
                  </a:lnTo>
                  <a:lnTo>
                    <a:pt x="133" y="1301"/>
                  </a:lnTo>
                  <a:lnTo>
                    <a:pt x="80" y="1487"/>
                  </a:lnTo>
                  <a:lnTo>
                    <a:pt x="27" y="1725"/>
                  </a:lnTo>
                  <a:lnTo>
                    <a:pt x="0" y="1964"/>
                  </a:lnTo>
                  <a:lnTo>
                    <a:pt x="0" y="2203"/>
                  </a:lnTo>
                  <a:lnTo>
                    <a:pt x="0" y="2442"/>
                  </a:lnTo>
                  <a:lnTo>
                    <a:pt x="54" y="2707"/>
                  </a:lnTo>
                  <a:lnTo>
                    <a:pt x="133" y="3291"/>
                  </a:lnTo>
                  <a:lnTo>
                    <a:pt x="239" y="3715"/>
                  </a:lnTo>
                  <a:lnTo>
                    <a:pt x="319" y="3928"/>
                  </a:lnTo>
                  <a:lnTo>
                    <a:pt x="398" y="4140"/>
                  </a:lnTo>
                  <a:lnTo>
                    <a:pt x="478" y="4405"/>
                  </a:lnTo>
                  <a:lnTo>
                    <a:pt x="584" y="4803"/>
                  </a:lnTo>
                  <a:lnTo>
                    <a:pt x="664" y="5307"/>
                  </a:lnTo>
                  <a:lnTo>
                    <a:pt x="717" y="5865"/>
                  </a:lnTo>
                  <a:lnTo>
                    <a:pt x="797" y="6475"/>
                  </a:lnTo>
                  <a:lnTo>
                    <a:pt x="823" y="7112"/>
                  </a:lnTo>
                  <a:lnTo>
                    <a:pt x="850" y="7722"/>
                  </a:lnTo>
                  <a:lnTo>
                    <a:pt x="823" y="8332"/>
                  </a:lnTo>
                  <a:lnTo>
                    <a:pt x="823" y="8598"/>
                  </a:lnTo>
                  <a:lnTo>
                    <a:pt x="850" y="8916"/>
                  </a:lnTo>
                  <a:lnTo>
                    <a:pt x="876" y="9208"/>
                  </a:lnTo>
                  <a:lnTo>
                    <a:pt x="956" y="9526"/>
                  </a:lnTo>
                  <a:lnTo>
                    <a:pt x="1009" y="9845"/>
                  </a:lnTo>
                  <a:lnTo>
                    <a:pt x="1115" y="10137"/>
                  </a:lnTo>
                  <a:lnTo>
                    <a:pt x="1221" y="10455"/>
                  </a:lnTo>
                  <a:lnTo>
                    <a:pt x="1354" y="10720"/>
                  </a:lnTo>
                  <a:lnTo>
                    <a:pt x="1486" y="11012"/>
                  </a:lnTo>
                  <a:lnTo>
                    <a:pt x="1646" y="11251"/>
                  </a:lnTo>
                  <a:lnTo>
                    <a:pt x="1805" y="11490"/>
                  </a:lnTo>
                  <a:lnTo>
                    <a:pt x="1991" y="11702"/>
                  </a:lnTo>
                  <a:lnTo>
                    <a:pt x="2176" y="11888"/>
                  </a:lnTo>
                  <a:lnTo>
                    <a:pt x="2362" y="12021"/>
                  </a:lnTo>
                  <a:lnTo>
                    <a:pt x="2574" y="12127"/>
                  </a:lnTo>
                  <a:lnTo>
                    <a:pt x="2813" y="12206"/>
                  </a:lnTo>
                  <a:lnTo>
                    <a:pt x="2919" y="12180"/>
                  </a:lnTo>
                  <a:lnTo>
                    <a:pt x="3025" y="12153"/>
                  </a:lnTo>
                  <a:lnTo>
                    <a:pt x="3132" y="12074"/>
                  </a:lnTo>
                  <a:lnTo>
                    <a:pt x="3211" y="11968"/>
                  </a:lnTo>
                  <a:lnTo>
                    <a:pt x="3317" y="11808"/>
                  </a:lnTo>
                  <a:lnTo>
                    <a:pt x="3397" y="11649"/>
                  </a:lnTo>
                  <a:lnTo>
                    <a:pt x="3530" y="11251"/>
                  </a:lnTo>
                  <a:lnTo>
                    <a:pt x="3662" y="10774"/>
                  </a:lnTo>
                  <a:lnTo>
                    <a:pt x="3768" y="10243"/>
                  </a:lnTo>
                  <a:lnTo>
                    <a:pt x="3848" y="9633"/>
                  </a:lnTo>
                  <a:lnTo>
                    <a:pt x="3928" y="9022"/>
                  </a:lnTo>
                  <a:lnTo>
                    <a:pt x="4034" y="7802"/>
                  </a:lnTo>
                  <a:lnTo>
                    <a:pt x="4087" y="6661"/>
                  </a:lnTo>
                  <a:lnTo>
                    <a:pt x="4140" y="5759"/>
                  </a:lnTo>
                  <a:lnTo>
                    <a:pt x="4166" y="5254"/>
                  </a:lnTo>
                  <a:lnTo>
                    <a:pt x="4166" y="5122"/>
                  </a:lnTo>
                  <a:lnTo>
                    <a:pt x="4140" y="5016"/>
                  </a:lnTo>
                  <a:lnTo>
                    <a:pt x="4087" y="4909"/>
                  </a:lnTo>
                  <a:lnTo>
                    <a:pt x="4007" y="4830"/>
                  </a:lnTo>
                  <a:lnTo>
                    <a:pt x="3795" y="4671"/>
                  </a:lnTo>
                  <a:lnTo>
                    <a:pt x="3556" y="4538"/>
                  </a:lnTo>
                  <a:lnTo>
                    <a:pt x="3317" y="4352"/>
                  </a:lnTo>
                  <a:lnTo>
                    <a:pt x="3211" y="4273"/>
                  </a:lnTo>
                  <a:lnTo>
                    <a:pt x="3105" y="4166"/>
                  </a:lnTo>
                  <a:lnTo>
                    <a:pt x="3025" y="4034"/>
                  </a:lnTo>
                  <a:lnTo>
                    <a:pt x="2946" y="3901"/>
                  </a:lnTo>
                  <a:lnTo>
                    <a:pt x="2893" y="3742"/>
                  </a:lnTo>
                  <a:lnTo>
                    <a:pt x="2893" y="3530"/>
                  </a:lnTo>
                  <a:lnTo>
                    <a:pt x="2866" y="3105"/>
                  </a:lnTo>
                  <a:lnTo>
                    <a:pt x="2893" y="2734"/>
                  </a:lnTo>
                  <a:lnTo>
                    <a:pt x="2946" y="2389"/>
                  </a:lnTo>
                  <a:lnTo>
                    <a:pt x="2999" y="2123"/>
                  </a:lnTo>
                  <a:lnTo>
                    <a:pt x="3078" y="1885"/>
                  </a:lnTo>
                  <a:lnTo>
                    <a:pt x="3185" y="1699"/>
                  </a:lnTo>
                  <a:lnTo>
                    <a:pt x="3291" y="1540"/>
                  </a:lnTo>
                  <a:lnTo>
                    <a:pt x="3397" y="1407"/>
                  </a:lnTo>
                  <a:lnTo>
                    <a:pt x="3583" y="1221"/>
                  </a:lnTo>
                  <a:lnTo>
                    <a:pt x="3768" y="1062"/>
                  </a:lnTo>
                  <a:lnTo>
                    <a:pt x="3848" y="1009"/>
                  </a:lnTo>
                  <a:lnTo>
                    <a:pt x="3875" y="929"/>
                  </a:lnTo>
                  <a:lnTo>
                    <a:pt x="3901" y="850"/>
                  </a:lnTo>
                  <a:lnTo>
                    <a:pt x="3901" y="744"/>
                  </a:lnTo>
                  <a:lnTo>
                    <a:pt x="3848" y="584"/>
                  </a:lnTo>
                  <a:lnTo>
                    <a:pt x="3768" y="425"/>
                  </a:lnTo>
                  <a:lnTo>
                    <a:pt x="3689" y="292"/>
                  </a:lnTo>
                  <a:lnTo>
                    <a:pt x="3556" y="213"/>
                  </a:lnTo>
                  <a:lnTo>
                    <a:pt x="3423" y="133"/>
                  </a:lnTo>
                  <a:lnTo>
                    <a:pt x="3291" y="80"/>
                  </a:lnTo>
                  <a:lnTo>
                    <a:pt x="3132" y="27"/>
                  </a:lnTo>
                  <a:lnTo>
                    <a:pt x="2972" y="1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1066;p57">
              <a:extLst>
                <a:ext uri="{FF2B5EF4-FFF2-40B4-BE49-F238E27FC236}">
                  <a16:creationId xmlns:a16="http://schemas.microsoft.com/office/drawing/2014/main" id="{35CF15A5-7E1B-F4A9-9141-DE805D210CF9}"/>
                </a:ext>
              </a:extLst>
            </p:cNvPr>
            <p:cNvSpPr/>
            <p:nvPr/>
          </p:nvSpPr>
          <p:spPr>
            <a:xfrm>
              <a:off x="8154945" y="4581055"/>
              <a:ext cx="380391" cy="508599"/>
            </a:xfrm>
            <a:custGeom>
              <a:avLst/>
              <a:gdLst/>
              <a:ahLst/>
              <a:cxnLst/>
              <a:rect l="l" t="t" r="r" b="b"/>
              <a:pathLst>
                <a:path w="45030" h="60207" extrusionOk="0">
                  <a:moveTo>
                    <a:pt x="25924" y="0"/>
                  </a:moveTo>
                  <a:lnTo>
                    <a:pt x="25261" y="53"/>
                  </a:lnTo>
                  <a:lnTo>
                    <a:pt x="24651" y="133"/>
                  </a:lnTo>
                  <a:lnTo>
                    <a:pt x="24040" y="266"/>
                  </a:lnTo>
                  <a:lnTo>
                    <a:pt x="23457" y="451"/>
                  </a:lnTo>
                  <a:lnTo>
                    <a:pt x="23191" y="584"/>
                  </a:lnTo>
                  <a:lnTo>
                    <a:pt x="22926" y="690"/>
                  </a:lnTo>
                  <a:lnTo>
                    <a:pt x="22661" y="849"/>
                  </a:lnTo>
                  <a:lnTo>
                    <a:pt x="22395" y="1009"/>
                  </a:lnTo>
                  <a:lnTo>
                    <a:pt x="22156" y="1168"/>
                  </a:lnTo>
                  <a:lnTo>
                    <a:pt x="21944" y="1354"/>
                  </a:lnTo>
                  <a:lnTo>
                    <a:pt x="21705" y="1566"/>
                  </a:lnTo>
                  <a:lnTo>
                    <a:pt x="21493" y="1778"/>
                  </a:lnTo>
                  <a:lnTo>
                    <a:pt x="21307" y="2017"/>
                  </a:lnTo>
                  <a:lnTo>
                    <a:pt x="21122" y="2282"/>
                  </a:lnTo>
                  <a:lnTo>
                    <a:pt x="20936" y="2574"/>
                  </a:lnTo>
                  <a:lnTo>
                    <a:pt x="20777" y="2866"/>
                  </a:lnTo>
                  <a:lnTo>
                    <a:pt x="20644" y="3158"/>
                  </a:lnTo>
                  <a:lnTo>
                    <a:pt x="20511" y="3503"/>
                  </a:lnTo>
                  <a:lnTo>
                    <a:pt x="20246" y="4140"/>
                  </a:lnTo>
                  <a:lnTo>
                    <a:pt x="20007" y="4723"/>
                  </a:lnTo>
                  <a:lnTo>
                    <a:pt x="19795" y="5387"/>
                  </a:lnTo>
                  <a:lnTo>
                    <a:pt x="19636" y="6130"/>
                  </a:lnTo>
                  <a:lnTo>
                    <a:pt x="19476" y="6899"/>
                  </a:lnTo>
                  <a:lnTo>
                    <a:pt x="19370" y="7748"/>
                  </a:lnTo>
                  <a:lnTo>
                    <a:pt x="19264" y="8651"/>
                  </a:lnTo>
                  <a:lnTo>
                    <a:pt x="19211" y="9606"/>
                  </a:lnTo>
                  <a:lnTo>
                    <a:pt x="19158" y="10614"/>
                  </a:lnTo>
                  <a:lnTo>
                    <a:pt x="19132" y="11622"/>
                  </a:lnTo>
                  <a:lnTo>
                    <a:pt x="19132" y="12684"/>
                  </a:lnTo>
                  <a:lnTo>
                    <a:pt x="19158" y="14886"/>
                  </a:lnTo>
                  <a:lnTo>
                    <a:pt x="19238" y="17115"/>
                  </a:lnTo>
                  <a:lnTo>
                    <a:pt x="19344" y="19397"/>
                  </a:lnTo>
                  <a:lnTo>
                    <a:pt x="19636" y="23828"/>
                  </a:lnTo>
                  <a:lnTo>
                    <a:pt x="19901" y="27808"/>
                  </a:lnTo>
                  <a:lnTo>
                    <a:pt x="19981" y="29533"/>
                  </a:lnTo>
                  <a:lnTo>
                    <a:pt x="20034" y="31046"/>
                  </a:lnTo>
                  <a:lnTo>
                    <a:pt x="20007" y="31682"/>
                  </a:lnTo>
                  <a:lnTo>
                    <a:pt x="20007" y="32266"/>
                  </a:lnTo>
                  <a:lnTo>
                    <a:pt x="19954" y="32744"/>
                  </a:lnTo>
                  <a:lnTo>
                    <a:pt x="19874" y="33168"/>
                  </a:lnTo>
                  <a:lnTo>
                    <a:pt x="19848" y="33328"/>
                  </a:lnTo>
                  <a:lnTo>
                    <a:pt x="19768" y="33487"/>
                  </a:lnTo>
                  <a:lnTo>
                    <a:pt x="19662" y="33646"/>
                  </a:lnTo>
                  <a:lnTo>
                    <a:pt x="19556" y="33832"/>
                  </a:lnTo>
                  <a:lnTo>
                    <a:pt x="19238" y="34150"/>
                  </a:lnTo>
                  <a:lnTo>
                    <a:pt x="18840" y="34495"/>
                  </a:lnTo>
                  <a:lnTo>
                    <a:pt x="18362" y="34867"/>
                  </a:lnTo>
                  <a:lnTo>
                    <a:pt x="17831" y="35211"/>
                  </a:lnTo>
                  <a:lnTo>
                    <a:pt x="17221" y="35556"/>
                  </a:lnTo>
                  <a:lnTo>
                    <a:pt x="16531" y="35901"/>
                  </a:lnTo>
                  <a:lnTo>
                    <a:pt x="15815" y="36273"/>
                  </a:lnTo>
                  <a:lnTo>
                    <a:pt x="15045" y="36618"/>
                  </a:lnTo>
                  <a:lnTo>
                    <a:pt x="14249" y="36963"/>
                  </a:lnTo>
                  <a:lnTo>
                    <a:pt x="13400" y="37308"/>
                  </a:lnTo>
                  <a:lnTo>
                    <a:pt x="11675" y="37998"/>
                  </a:lnTo>
                  <a:lnTo>
                    <a:pt x="9871" y="38634"/>
                  </a:lnTo>
                  <a:lnTo>
                    <a:pt x="8067" y="39245"/>
                  </a:lnTo>
                  <a:lnTo>
                    <a:pt x="6342" y="39828"/>
                  </a:lnTo>
                  <a:lnTo>
                    <a:pt x="3237" y="40784"/>
                  </a:lnTo>
                  <a:lnTo>
                    <a:pt x="1008" y="41447"/>
                  </a:lnTo>
                  <a:lnTo>
                    <a:pt x="345" y="41633"/>
                  </a:lnTo>
                  <a:lnTo>
                    <a:pt x="53" y="41739"/>
                  </a:lnTo>
                  <a:lnTo>
                    <a:pt x="27" y="41792"/>
                  </a:lnTo>
                  <a:lnTo>
                    <a:pt x="0" y="41845"/>
                  </a:lnTo>
                  <a:lnTo>
                    <a:pt x="0" y="42031"/>
                  </a:lnTo>
                  <a:lnTo>
                    <a:pt x="53" y="42323"/>
                  </a:lnTo>
                  <a:lnTo>
                    <a:pt x="133" y="42668"/>
                  </a:lnTo>
                  <a:lnTo>
                    <a:pt x="265" y="43066"/>
                  </a:lnTo>
                  <a:lnTo>
                    <a:pt x="425" y="43517"/>
                  </a:lnTo>
                  <a:lnTo>
                    <a:pt x="637" y="43994"/>
                  </a:lnTo>
                  <a:lnTo>
                    <a:pt x="849" y="44472"/>
                  </a:lnTo>
                  <a:lnTo>
                    <a:pt x="1088" y="44950"/>
                  </a:lnTo>
                  <a:lnTo>
                    <a:pt x="1353" y="45427"/>
                  </a:lnTo>
                  <a:lnTo>
                    <a:pt x="1619" y="45852"/>
                  </a:lnTo>
                  <a:lnTo>
                    <a:pt x="1911" y="46250"/>
                  </a:lnTo>
                  <a:lnTo>
                    <a:pt x="2176" y="46568"/>
                  </a:lnTo>
                  <a:lnTo>
                    <a:pt x="2441" y="46834"/>
                  </a:lnTo>
                  <a:lnTo>
                    <a:pt x="2574" y="46940"/>
                  </a:lnTo>
                  <a:lnTo>
                    <a:pt x="2707" y="47019"/>
                  </a:lnTo>
                  <a:lnTo>
                    <a:pt x="2839" y="47046"/>
                  </a:lnTo>
                  <a:lnTo>
                    <a:pt x="2945" y="47072"/>
                  </a:lnTo>
                  <a:lnTo>
                    <a:pt x="3131" y="47072"/>
                  </a:lnTo>
                  <a:lnTo>
                    <a:pt x="3397" y="47019"/>
                  </a:lnTo>
                  <a:lnTo>
                    <a:pt x="4246" y="46887"/>
                  </a:lnTo>
                  <a:lnTo>
                    <a:pt x="5413" y="46621"/>
                  </a:lnTo>
                  <a:lnTo>
                    <a:pt x="6846" y="46250"/>
                  </a:lnTo>
                  <a:lnTo>
                    <a:pt x="8544" y="45799"/>
                  </a:lnTo>
                  <a:lnTo>
                    <a:pt x="10402" y="45268"/>
                  </a:lnTo>
                  <a:lnTo>
                    <a:pt x="12392" y="44658"/>
                  </a:lnTo>
                  <a:lnTo>
                    <a:pt x="14435" y="43968"/>
                  </a:lnTo>
                  <a:lnTo>
                    <a:pt x="16531" y="43225"/>
                  </a:lnTo>
                  <a:lnTo>
                    <a:pt x="17539" y="42853"/>
                  </a:lnTo>
                  <a:lnTo>
                    <a:pt x="18574" y="42429"/>
                  </a:lnTo>
                  <a:lnTo>
                    <a:pt x="19556" y="42004"/>
                  </a:lnTo>
                  <a:lnTo>
                    <a:pt x="20538" y="41580"/>
                  </a:lnTo>
                  <a:lnTo>
                    <a:pt x="21467" y="41129"/>
                  </a:lnTo>
                  <a:lnTo>
                    <a:pt x="22342" y="40678"/>
                  </a:lnTo>
                  <a:lnTo>
                    <a:pt x="23191" y="40226"/>
                  </a:lnTo>
                  <a:lnTo>
                    <a:pt x="23987" y="39749"/>
                  </a:lnTo>
                  <a:lnTo>
                    <a:pt x="24704" y="39271"/>
                  </a:lnTo>
                  <a:lnTo>
                    <a:pt x="25367" y="38767"/>
                  </a:lnTo>
                  <a:lnTo>
                    <a:pt x="25951" y="38289"/>
                  </a:lnTo>
                  <a:lnTo>
                    <a:pt x="26482" y="37785"/>
                  </a:lnTo>
                  <a:lnTo>
                    <a:pt x="26694" y="37547"/>
                  </a:lnTo>
                  <a:lnTo>
                    <a:pt x="26906" y="37281"/>
                  </a:lnTo>
                  <a:lnTo>
                    <a:pt x="27065" y="37042"/>
                  </a:lnTo>
                  <a:lnTo>
                    <a:pt x="27225" y="36777"/>
                  </a:lnTo>
                  <a:lnTo>
                    <a:pt x="27357" y="36512"/>
                  </a:lnTo>
                  <a:lnTo>
                    <a:pt x="27490" y="36140"/>
                  </a:lnTo>
                  <a:lnTo>
                    <a:pt x="27596" y="35689"/>
                  </a:lnTo>
                  <a:lnTo>
                    <a:pt x="27729" y="35185"/>
                  </a:lnTo>
                  <a:lnTo>
                    <a:pt x="27967" y="33964"/>
                  </a:lnTo>
                  <a:lnTo>
                    <a:pt x="28206" y="32505"/>
                  </a:lnTo>
                  <a:lnTo>
                    <a:pt x="28419" y="30913"/>
                  </a:lnTo>
                  <a:lnTo>
                    <a:pt x="28631" y="29188"/>
                  </a:lnTo>
                  <a:lnTo>
                    <a:pt x="28817" y="27384"/>
                  </a:lnTo>
                  <a:lnTo>
                    <a:pt x="29002" y="25553"/>
                  </a:lnTo>
                  <a:lnTo>
                    <a:pt x="29294" y="22050"/>
                  </a:lnTo>
                  <a:lnTo>
                    <a:pt x="29560" y="19052"/>
                  </a:lnTo>
                  <a:lnTo>
                    <a:pt x="29719" y="16929"/>
                  </a:lnTo>
                  <a:lnTo>
                    <a:pt x="29772" y="16319"/>
                  </a:lnTo>
                  <a:lnTo>
                    <a:pt x="29798" y="16107"/>
                  </a:lnTo>
                  <a:lnTo>
                    <a:pt x="30913" y="18574"/>
                  </a:lnTo>
                  <a:lnTo>
                    <a:pt x="32080" y="21148"/>
                  </a:lnTo>
                  <a:lnTo>
                    <a:pt x="33381" y="24147"/>
                  </a:lnTo>
                  <a:lnTo>
                    <a:pt x="34707" y="27278"/>
                  </a:lnTo>
                  <a:lnTo>
                    <a:pt x="35318" y="28764"/>
                  </a:lnTo>
                  <a:lnTo>
                    <a:pt x="35875" y="30170"/>
                  </a:lnTo>
                  <a:lnTo>
                    <a:pt x="36352" y="31417"/>
                  </a:lnTo>
                  <a:lnTo>
                    <a:pt x="36724" y="32478"/>
                  </a:lnTo>
                  <a:lnTo>
                    <a:pt x="36963" y="33301"/>
                  </a:lnTo>
                  <a:lnTo>
                    <a:pt x="37042" y="33619"/>
                  </a:lnTo>
                  <a:lnTo>
                    <a:pt x="37069" y="33885"/>
                  </a:lnTo>
                  <a:lnTo>
                    <a:pt x="37202" y="35822"/>
                  </a:lnTo>
                  <a:lnTo>
                    <a:pt x="37440" y="38953"/>
                  </a:lnTo>
                  <a:lnTo>
                    <a:pt x="38183" y="47072"/>
                  </a:lnTo>
                  <a:lnTo>
                    <a:pt x="38900" y="54900"/>
                  </a:lnTo>
                  <a:lnTo>
                    <a:pt x="39298" y="59066"/>
                  </a:lnTo>
                  <a:lnTo>
                    <a:pt x="39351" y="59199"/>
                  </a:lnTo>
                  <a:lnTo>
                    <a:pt x="39430" y="59331"/>
                  </a:lnTo>
                  <a:lnTo>
                    <a:pt x="39563" y="59437"/>
                  </a:lnTo>
                  <a:lnTo>
                    <a:pt x="39722" y="59570"/>
                  </a:lnTo>
                  <a:lnTo>
                    <a:pt x="39908" y="59650"/>
                  </a:lnTo>
                  <a:lnTo>
                    <a:pt x="40094" y="59756"/>
                  </a:lnTo>
                  <a:lnTo>
                    <a:pt x="40571" y="59915"/>
                  </a:lnTo>
                  <a:lnTo>
                    <a:pt x="41102" y="60048"/>
                  </a:lnTo>
                  <a:lnTo>
                    <a:pt x="41686" y="60154"/>
                  </a:lnTo>
                  <a:lnTo>
                    <a:pt x="42296" y="60207"/>
                  </a:lnTo>
                  <a:lnTo>
                    <a:pt x="42880" y="60207"/>
                  </a:lnTo>
                  <a:lnTo>
                    <a:pt x="43437" y="60154"/>
                  </a:lnTo>
                  <a:lnTo>
                    <a:pt x="43702" y="60127"/>
                  </a:lnTo>
                  <a:lnTo>
                    <a:pt x="43941" y="60074"/>
                  </a:lnTo>
                  <a:lnTo>
                    <a:pt x="44154" y="60021"/>
                  </a:lnTo>
                  <a:lnTo>
                    <a:pt x="44339" y="59942"/>
                  </a:lnTo>
                  <a:lnTo>
                    <a:pt x="44525" y="59835"/>
                  </a:lnTo>
                  <a:lnTo>
                    <a:pt x="44658" y="59756"/>
                  </a:lnTo>
                  <a:lnTo>
                    <a:pt x="44790" y="59623"/>
                  </a:lnTo>
                  <a:lnTo>
                    <a:pt x="44870" y="59490"/>
                  </a:lnTo>
                  <a:lnTo>
                    <a:pt x="44950" y="59358"/>
                  </a:lnTo>
                  <a:lnTo>
                    <a:pt x="44976" y="59199"/>
                  </a:lnTo>
                  <a:lnTo>
                    <a:pt x="45003" y="58694"/>
                  </a:lnTo>
                  <a:lnTo>
                    <a:pt x="45029" y="58084"/>
                  </a:lnTo>
                  <a:lnTo>
                    <a:pt x="45029" y="56625"/>
                  </a:lnTo>
                  <a:lnTo>
                    <a:pt x="44950" y="54847"/>
                  </a:lnTo>
                  <a:lnTo>
                    <a:pt x="44843" y="52830"/>
                  </a:lnTo>
                  <a:lnTo>
                    <a:pt x="44552" y="48028"/>
                  </a:lnTo>
                  <a:lnTo>
                    <a:pt x="44366" y="45427"/>
                  </a:lnTo>
                  <a:lnTo>
                    <a:pt x="44233" y="42800"/>
                  </a:lnTo>
                  <a:lnTo>
                    <a:pt x="44100" y="40200"/>
                  </a:lnTo>
                  <a:lnTo>
                    <a:pt x="43994" y="37653"/>
                  </a:lnTo>
                  <a:lnTo>
                    <a:pt x="43968" y="35265"/>
                  </a:lnTo>
                  <a:lnTo>
                    <a:pt x="43968" y="34124"/>
                  </a:lnTo>
                  <a:lnTo>
                    <a:pt x="43994" y="33036"/>
                  </a:lnTo>
                  <a:lnTo>
                    <a:pt x="43994" y="32293"/>
                  </a:lnTo>
                  <a:lnTo>
                    <a:pt x="43968" y="31497"/>
                  </a:lnTo>
                  <a:lnTo>
                    <a:pt x="43915" y="30648"/>
                  </a:lnTo>
                  <a:lnTo>
                    <a:pt x="43862" y="29798"/>
                  </a:lnTo>
                  <a:lnTo>
                    <a:pt x="43756" y="28896"/>
                  </a:lnTo>
                  <a:lnTo>
                    <a:pt x="43649" y="27941"/>
                  </a:lnTo>
                  <a:lnTo>
                    <a:pt x="43358" y="26004"/>
                  </a:lnTo>
                  <a:lnTo>
                    <a:pt x="43013" y="24014"/>
                  </a:lnTo>
                  <a:lnTo>
                    <a:pt x="42588" y="21944"/>
                  </a:lnTo>
                  <a:lnTo>
                    <a:pt x="42137" y="19848"/>
                  </a:lnTo>
                  <a:lnTo>
                    <a:pt x="41659" y="17778"/>
                  </a:lnTo>
                  <a:lnTo>
                    <a:pt x="41155" y="15735"/>
                  </a:lnTo>
                  <a:lnTo>
                    <a:pt x="40624" y="13745"/>
                  </a:lnTo>
                  <a:lnTo>
                    <a:pt x="40120" y="11835"/>
                  </a:lnTo>
                  <a:lnTo>
                    <a:pt x="39616" y="10030"/>
                  </a:lnTo>
                  <a:lnTo>
                    <a:pt x="38687" y="6899"/>
                  </a:lnTo>
                  <a:lnTo>
                    <a:pt x="37971" y="4538"/>
                  </a:lnTo>
                  <a:lnTo>
                    <a:pt x="37626" y="3450"/>
                  </a:lnTo>
                  <a:lnTo>
                    <a:pt x="37414" y="3344"/>
                  </a:lnTo>
                  <a:lnTo>
                    <a:pt x="36326" y="2786"/>
                  </a:lnTo>
                  <a:lnTo>
                    <a:pt x="35450" y="2388"/>
                  </a:lnTo>
                  <a:lnTo>
                    <a:pt x="34442" y="1964"/>
                  </a:lnTo>
                  <a:lnTo>
                    <a:pt x="33274" y="1513"/>
                  </a:lnTo>
                  <a:lnTo>
                    <a:pt x="32027" y="1062"/>
                  </a:lnTo>
                  <a:lnTo>
                    <a:pt x="31364" y="876"/>
                  </a:lnTo>
                  <a:lnTo>
                    <a:pt x="30701" y="664"/>
                  </a:lnTo>
                  <a:lnTo>
                    <a:pt x="30011" y="504"/>
                  </a:lnTo>
                  <a:lnTo>
                    <a:pt x="29321" y="345"/>
                  </a:lnTo>
                  <a:lnTo>
                    <a:pt x="28631" y="213"/>
                  </a:lnTo>
                  <a:lnTo>
                    <a:pt x="27941" y="106"/>
                  </a:lnTo>
                  <a:lnTo>
                    <a:pt x="27251" y="53"/>
                  </a:lnTo>
                  <a:lnTo>
                    <a:pt x="26588" y="0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" name="Google Shape;1067;p57">
              <a:extLst>
                <a:ext uri="{FF2B5EF4-FFF2-40B4-BE49-F238E27FC236}">
                  <a16:creationId xmlns:a16="http://schemas.microsoft.com/office/drawing/2014/main" id="{87048CED-E8EF-8551-6CE1-27378D2AF333}"/>
                </a:ext>
              </a:extLst>
            </p:cNvPr>
            <p:cNvSpPr/>
            <p:nvPr/>
          </p:nvSpPr>
          <p:spPr>
            <a:xfrm>
              <a:off x="8154945" y="4581055"/>
              <a:ext cx="380391" cy="508599"/>
            </a:xfrm>
            <a:custGeom>
              <a:avLst/>
              <a:gdLst/>
              <a:ahLst/>
              <a:cxnLst/>
              <a:rect l="l" t="t" r="r" b="b"/>
              <a:pathLst>
                <a:path w="45030" h="60207" fill="none" extrusionOk="0">
                  <a:moveTo>
                    <a:pt x="2945" y="47072"/>
                  </a:moveTo>
                  <a:lnTo>
                    <a:pt x="2945" y="47072"/>
                  </a:lnTo>
                  <a:lnTo>
                    <a:pt x="3131" y="47072"/>
                  </a:lnTo>
                  <a:lnTo>
                    <a:pt x="3397" y="47019"/>
                  </a:lnTo>
                  <a:lnTo>
                    <a:pt x="4246" y="46887"/>
                  </a:lnTo>
                  <a:lnTo>
                    <a:pt x="5413" y="46621"/>
                  </a:lnTo>
                  <a:lnTo>
                    <a:pt x="6846" y="46250"/>
                  </a:lnTo>
                  <a:lnTo>
                    <a:pt x="8544" y="45799"/>
                  </a:lnTo>
                  <a:lnTo>
                    <a:pt x="10402" y="45268"/>
                  </a:lnTo>
                  <a:lnTo>
                    <a:pt x="12392" y="44658"/>
                  </a:lnTo>
                  <a:lnTo>
                    <a:pt x="14435" y="43968"/>
                  </a:lnTo>
                  <a:lnTo>
                    <a:pt x="16531" y="43225"/>
                  </a:lnTo>
                  <a:lnTo>
                    <a:pt x="17539" y="42853"/>
                  </a:lnTo>
                  <a:lnTo>
                    <a:pt x="18574" y="42429"/>
                  </a:lnTo>
                  <a:lnTo>
                    <a:pt x="19556" y="42004"/>
                  </a:lnTo>
                  <a:lnTo>
                    <a:pt x="20538" y="41580"/>
                  </a:lnTo>
                  <a:lnTo>
                    <a:pt x="21467" y="41129"/>
                  </a:lnTo>
                  <a:lnTo>
                    <a:pt x="22342" y="40678"/>
                  </a:lnTo>
                  <a:lnTo>
                    <a:pt x="23191" y="40226"/>
                  </a:lnTo>
                  <a:lnTo>
                    <a:pt x="23987" y="39749"/>
                  </a:lnTo>
                  <a:lnTo>
                    <a:pt x="24704" y="39271"/>
                  </a:lnTo>
                  <a:lnTo>
                    <a:pt x="25367" y="38767"/>
                  </a:lnTo>
                  <a:lnTo>
                    <a:pt x="25951" y="38289"/>
                  </a:lnTo>
                  <a:lnTo>
                    <a:pt x="26482" y="37785"/>
                  </a:lnTo>
                  <a:lnTo>
                    <a:pt x="26694" y="37547"/>
                  </a:lnTo>
                  <a:lnTo>
                    <a:pt x="26906" y="37281"/>
                  </a:lnTo>
                  <a:lnTo>
                    <a:pt x="27065" y="37042"/>
                  </a:lnTo>
                  <a:lnTo>
                    <a:pt x="27225" y="36777"/>
                  </a:lnTo>
                  <a:lnTo>
                    <a:pt x="27225" y="36777"/>
                  </a:lnTo>
                  <a:lnTo>
                    <a:pt x="27357" y="36512"/>
                  </a:lnTo>
                  <a:lnTo>
                    <a:pt x="27490" y="36140"/>
                  </a:lnTo>
                  <a:lnTo>
                    <a:pt x="27596" y="35689"/>
                  </a:lnTo>
                  <a:lnTo>
                    <a:pt x="27729" y="35185"/>
                  </a:lnTo>
                  <a:lnTo>
                    <a:pt x="27967" y="33964"/>
                  </a:lnTo>
                  <a:lnTo>
                    <a:pt x="28206" y="32505"/>
                  </a:lnTo>
                  <a:lnTo>
                    <a:pt x="28419" y="30913"/>
                  </a:lnTo>
                  <a:lnTo>
                    <a:pt x="28631" y="29188"/>
                  </a:lnTo>
                  <a:lnTo>
                    <a:pt x="28817" y="27384"/>
                  </a:lnTo>
                  <a:lnTo>
                    <a:pt x="29002" y="25553"/>
                  </a:lnTo>
                  <a:lnTo>
                    <a:pt x="29294" y="22050"/>
                  </a:lnTo>
                  <a:lnTo>
                    <a:pt x="29560" y="19052"/>
                  </a:lnTo>
                  <a:lnTo>
                    <a:pt x="29719" y="16929"/>
                  </a:lnTo>
                  <a:lnTo>
                    <a:pt x="29772" y="16319"/>
                  </a:lnTo>
                  <a:lnTo>
                    <a:pt x="29798" y="16107"/>
                  </a:lnTo>
                  <a:lnTo>
                    <a:pt x="29798" y="16107"/>
                  </a:lnTo>
                  <a:lnTo>
                    <a:pt x="30913" y="18574"/>
                  </a:lnTo>
                  <a:lnTo>
                    <a:pt x="32080" y="21148"/>
                  </a:lnTo>
                  <a:lnTo>
                    <a:pt x="33381" y="24147"/>
                  </a:lnTo>
                  <a:lnTo>
                    <a:pt x="34707" y="27278"/>
                  </a:lnTo>
                  <a:lnTo>
                    <a:pt x="35318" y="28764"/>
                  </a:lnTo>
                  <a:lnTo>
                    <a:pt x="35875" y="30170"/>
                  </a:lnTo>
                  <a:lnTo>
                    <a:pt x="36352" y="31417"/>
                  </a:lnTo>
                  <a:lnTo>
                    <a:pt x="36724" y="32478"/>
                  </a:lnTo>
                  <a:lnTo>
                    <a:pt x="36963" y="33301"/>
                  </a:lnTo>
                  <a:lnTo>
                    <a:pt x="37042" y="33619"/>
                  </a:lnTo>
                  <a:lnTo>
                    <a:pt x="37069" y="33885"/>
                  </a:lnTo>
                  <a:lnTo>
                    <a:pt x="37069" y="33885"/>
                  </a:lnTo>
                  <a:lnTo>
                    <a:pt x="37202" y="35822"/>
                  </a:lnTo>
                  <a:lnTo>
                    <a:pt x="37440" y="38953"/>
                  </a:lnTo>
                  <a:lnTo>
                    <a:pt x="38183" y="47072"/>
                  </a:lnTo>
                  <a:lnTo>
                    <a:pt x="38900" y="54900"/>
                  </a:lnTo>
                  <a:lnTo>
                    <a:pt x="39298" y="59066"/>
                  </a:lnTo>
                  <a:lnTo>
                    <a:pt x="39298" y="59066"/>
                  </a:lnTo>
                  <a:lnTo>
                    <a:pt x="39351" y="59199"/>
                  </a:lnTo>
                  <a:lnTo>
                    <a:pt x="39430" y="59331"/>
                  </a:lnTo>
                  <a:lnTo>
                    <a:pt x="39563" y="59437"/>
                  </a:lnTo>
                  <a:lnTo>
                    <a:pt x="39722" y="59570"/>
                  </a:lnTo>
                  <a:lnTo>
                    <a:pt x="39722" y="59570"/>
                  </a:lnTo>
                  <a:lnTo>
                    <a:pt x="39908" y="59650"/>
                  </a:lnTo>
                  <a:lnTo>
                    <a:pt x="40094" y="59756"/>
                  </a:lnTo>
                  <a:lnTo>
                    <a:pt x="40571" y="59915"/>
                  </a:lnTo>
                  <a:lnTo>
                    <a:pt x="41102" y="60048"/>
                  </a:lnTo>
                  <a:lnTo>
                    <a:pt x="41686" y="60154"/>
                  </a:lnTo>
                  <a:lnTo>
                    <a:pt x="42296" y="60207"/>
                  </a:lnTo>
                  <a:lnTo>
                    <a:pt x="42880" y="60207"/>
                  </a:lnTo>
                  <a:lnTo>
                    <a:pt x="43437" y="60154"/>
                  </a:lnTo>
                  <a:lnTo>
                    <a:pt x="43702" y="60127"/>
                  </a:lnTo>
                  <a:lnTo>
                    <a:pt x="43941" y="60074"/>
                  </a:lnTo>
                  <a:lnTo>
                    <a:pt x="43941" y="60074"/>
                  </a:lnTo>
                  <a:lnTo>
                    <a:pt x="44154" y="60021"/>
                  </a:lnTo>
                  <a:lnTo>
                    <a:pt x="44339" y="59942"/>
                  </a:lnTo>
                  <a:lnTo>
                    <a:pt x="44525" y="59835"/>
                  </a:lnTo>
                  <a:lnTo>
                    <a:pt x="44658" y="59756"/>
                  </a:lnTo>
                  <a:lnTo>
                    <a:pt x="44790" y="59623"/>
                  </a:lnTo>
                  <a:lnTo>
                    <a:pt x="44870" y="59490"/>
                  </a:lnTo>
                  <a:lnTo>
                    <a:pt x="44950" y="59358"/>
                  </a:lnTo>
                  <a:lnTo>
                    <a:pt x="44976" y="59199"/>
                  </a:lnTo>
                  <a:lnTo>
                    <a:pt x="44976" y="59199"/>
                  </a:lnTo>
                  <a:lnTo>
                    <a:pt x="45003" y="58694"/>
                  </a:lnTo>
                  <a:lnTo>
                    <a:pt x="45029" y="58084"/>
                  </a:lnTo>
                  <a:lnTo>
                    <a:pt x="45029" y="56625"/>
                  </a:lnTo>
                  <a:lnTo>
                    <a:pt x="44950" y="54847"/>
                  </a:lnTo>
                  <a:lnTo>
                    <a:pt x="44843" y="52830"/>
                  </a:lnTo>
                  <a:lnTo>
                    <a:pt x="44843" y="52830"/>
                  </a:lnTo>
                  <a:lnTo>
                    <a:pt x="44552" y="48028"/>
                  </a:lnTo>
                  <a:lnTo>
                    <a:pt x="44366" y="45427"/>
                  </a:lnTo>
                  <a:lnTo>
                    <a:pt x="44233" y="42800"/>
                  </a:lnTo>
                  <a:lnTo>
                    <a:pt x="44100" y="40200"/>
                  </a:lnTo>
                  <a:lnTo>
                    <a:pt x="43994" y="37653"/>
                  </a:lnTo>
                  <a:lnTo>
                    <a:pt x="43968" y="35265"/>
                  </a:lnTo>
                  <a:lnTo>
                    <a:pt x="43968" y="34124"/>
                  </a:lnTo>
                  <a:lnTo>
                    <a:pt x="43994" y="33036"/>
                  </a:lnTo>
                  <a:lnTo>
                    <a:pt x="43994" y="33036"/>
                  </a:lnTo>
                  <a:lnTo>
                    <a:pt x="43994" y="32293"/>
                  </a:lnTo>
                  <a:lnTo>
                    <a:pt x="43968" y="31497"/>
                  </a:lnTo>
                  <a:lnTo>
                    <a:pt x="43915" y="30648"/>
                  </a:lnTo>
                  <a:lnTo>
                    <a:pt x="43862" y="29798"/>
                  </a:lnTo>
                  <a:lnTo>
                    <a:pt x="43756" y="28896"/>
                  </a:lnTo>
                  <a:lnTo>
                    <a:pt x="43649" y="27941"/>
                  </a:lnTo>
                  <a:lnTo>
                    <a:pt x="43358" y="26004"/>
                  </a:lnTo>
                  <a:lnTo>
                    <a:pt x="43013" y="24014"/>
                  </a:lnTo>
                  <a:lnTo>
                    <a:pt x="42588" y="21944"/>
                  </a:lnTo>
                  <a:lnTo>
                    <a:pt x="42137" y="19848"/>
                  </a:lnTo>
                  <a:lnTo>
                    <a:pt x="41659" y="17778"/>
                  </a:lnTo>
                  <a:lnTo>
                    <a:pt x="41155" y="15735"/>
                  </a:lnTo>
                  <a:lnTo>
                    <a:pt x="40624" y="13745"/>
                  </a:lnTo>
                  <a:lnTo>
                    <a:pt x="40120" y="11835"/>
                  </a:lnTo>
                  <a:lnTo>
                    <a:pt x="39616" y="10030"/>
                  </a:lnTo>
                  <a:lnTo>
                    <a:pt x="38687" y="6899"/>
                  </a:lnTo>
                  <a:lnTo>
                    <a:pt x="37971" y="4538"/>
                  </a:lnTo>
                  <a:lnTo>
                    <a:pt x="37971" y="4538"/>
                  </a:lnTo>
                  <a:lnTo>
                    <a:pt x="37626" y="3450"/>
                  </a:lnTo>
                  <a:lnTo>
                    <a:pt x="37626" y="3450"/>
                  </a:lnTo>
                  <a:lnTo>
                    <a:pt x="37414" y="3344"/>
                  </a:lnTo>
                  <a:lnTo>
                    <a:pt x="37414" y="3344"/>
                  </a:lnTo>
                  <a:lnTo>
                    <a:pt x="36326" y="2786"/>
                  </a:lnTo>
                  <a:lnTo>
                    <a:pt x="35450" y="2388"/>
                  </a:lnTo>
                  <a:lnTo>
                    <a:pt x="34442" y="1964"/>
                  </a:lnTo>
                  <a:lnTo>
                    <a:pt x="33274" y="1513"/>
                  </a:lnTo>
                  <a:lnTo>
                    <a:pt x="32027" y="1062"/>
                  </a:lnTo>
                  <a:lnTo>
                    <a:pt x="31364" y="876"/>
                  </a:lnTo>
                  <a:lnTo>
                    <a:pt x="30701" y="664"/>
                  </a:lnTo>
                  <a:lnTo>
                    <a:pt x="30011" y="504"/>
                  </a:lnTo>
                  <a:lnTo>
                    <a:pt x="29321" y="345"/>
                  </a:lnTo>
                  <a:lnTo>
                    <a:pt x="28631" y="213"/>
                  </a:lnTo>
                  <a:lnTo>
                    <a:pt x="27941" y="106"/>
                  </a:lnTo>
                  <a:lnTo>
                    <a:pt x="27251" y="53"/>
                  </a:lnTo>
                  <a:lnTo>
                    <a:pt x="26588" y="0"/>
                  </a:lnTo>
                  <a:lnTo>
                    <a:pt x="25924" y="0"/>
                  </a:lnTo>
                  <a:lnTo>
                    <a:pt x="25261" y="53"/>
                  </a:lnTo>
                  <a:lnTo>
                    <a:pt x="24651" y="133"/>
                  </a:lnTo>
                  <a:lnTo>
                    <a:pt x="24040" y="266"/>
                  </a:lnTo>
                  <a:lnTo>
                    <a:pt x="23457" y="451"/>
                  </a:lnTo>
                  <a:lnTo>
                    <a:pt x="23191" y="584"/>
                  </a:lnTo>
                  <a:lnTo>
                    <a:pt x="22926" y="690"/>
                  </a:lnTo>
                  <a:lnTo>
                    <a:pt x="22661" y="849"/>
                  </a:lnTo>
                  <a:lnTo>
                    <a:pt x="22395" y="1009"/>
                  </a:lnTo>
                  <a:lnTo>
                    <a:pt x="22156" y="1168"/>
                  </a:lnTo>
                  <a:lnTo>
                    <a:pt x="21944" y="1354"/>
                  </a:lnTo>
                  <a:lnTo>
                    <a:pt x="21705" y="1566"/>
                  </a:lnTo>
                  <a:lnTo>
                    <a:pt x="21493" y="1778"/>
                  </a:lnTo>
                  <a:lnTo>
                    <a:pt x="21307" y="2017"/>
                  </a:lnTo>
                  <a:lnTo>
                    <a:pt x="21122" y="2282"/>
                  </a:lnTo>
                  <a:lnTo>
                    <a:pt x="20936" y="2574"/>
                  </a:lnTo>
                  <a:lnTo>
                    <a:pt x="20777" y="2866"/>
                  </a:lnTo>
                  <a:lnTo>
                    <a:pt x="20644" y="3158"/>
                  </a:lnTo>
                  <a:lnTo>
                    <a:pt x="20511" y="3503"/>
                  </a:lnTo>
                  <a:lnTo>
                    <a:pt x="20511" y="3503"/>
                  </a:lnTo>
                  <a:lnTo>
                    <a:pt x="20246" y="4140"/>
                  </a:lnTo>
                  <a:lnTo>
                    <a:pt x="20246" y="4140"/>
                  </a:lnTo>
                  <a:lnTo>
                    <a:pt x="20007" y="4723"/>
                  </a:lnTo>
                  <a:lnTo>
                    <a:pt x="19795" y="5387"/>
                  </a:lnTo>
                  <a:lnTo>
                    <a:pt x="19636" y="6130"/>
                  </a:lnTo>
                  <a:lnTo>
                    <a:pt x="19476" y="6899"/>
                  </a:lnTo>
                  <a:lnTo>
                    <a:pt x="19370" y="7748"/>
                  </a:lnTo>
                  <a:lnTo>
                    <a:pt x="19264" y="8651"/>
                  </a:lnTo>
                  <a:lnTo>
                    <a:pt x="19211" y="9606"/>
                  </a:lnTo>
                  <a:lnTo>
                    <a:pt x="19158" y="10614"/>
                  </a:lnTo>
                  <a:lnTo>
                    <a:pt x="19132" y="11622"/>
                  </a:lnTo>
                  <a:lnTo>
                    <a:pt x="19132" y="12684"/>
                  </a:lnTo>
                  <a:lnTo>
                    <a:pt x="19158" y="14886"/>
                  </a:lnTo>
                  <a:lnTo>
                    <a:pt x="19238" y="17115"/>
                  </a:lnTo>
                  <a:lnTo>
                    <a:pt x="19344" y="19397"/>
                  </a:lnTo>
                  <a:lnTo>
                    <a:pt x="19636" y="23828"/>
                  </a:lnTo>
                  <a:lnTo>
                    <a:pt x="19901" y="27808"/>
                  </a:lnTo>
                  <a:lnTo>
                    <a:pt x="19981" y="29533"/>
                  </a:lnTo>
                  <a:lnTo>
                    <a:pt x="20034" y="31046"/>
                  </a:lnTo>
                  <a:lnTo>
                    <a:pt x="20007" y="31682"/>
                  </a:lnTo>
                  <a:lnTo>
                    <a:pt x="20007" y="32266"/>
                  </a:lnTo>
                  <a:lnTo>
                    <a:pt x="19954" y="32744"/>
                  </a:lnTo>
                  <a:lnTo>
                    <a:pt x="19874" y="33168"/>
                  </a:lnTo>
                  <a:lnTo>
                    <a:pt x="19874" y="33168"/>
                  </a:lnTo>
                  <a:lnTo>
                    <a:pt x="19848" y="33328"/>
                  </a:lnTo>
                  <a:lnTo>
                    <a:pt x="19768" y="33487"/>
                  </a:lnTo>
                  <a:lnTo>
                    <a:pt x="19662" y="33646"/>
                  </a:lnTo>
                  <a:lnTo>
                    <a:pt x="19556" y="33832"/>
                  </a:lnTo>
                  <a:lnTo>
                    <a:pt x="19238" y="34150"/>
                  </a:lnTo>
                  <a:lnTo>
                    <a:pt x="18840" y="34495"/>
                  </a:lnTo>
                  <a:lnTo>
                    <a:pt x="18362" y="34867"/>
                  </a:lnTo>
                  <a:lnTo>
                    <a:pt x="17831" y="35211"/>
                  </a:lnTo>
                  <a:lnTo>
                    <a:pt x="17221" y="35556"/>
                  </a:lnTo>
                  <a:lnTo>
                    <a:pt x="16531" y="35901"/>
                  </a:lnTo>
                  <a:lnTo>
                    <a:pt x="15815" y="36273"/>
                  </a:lnTo>
                  <a:lnTo>
                    <a:pt x="15045" y="36618"/>
                  </a:lnTo>
                  <a:lnTo>
                    <a:pt x="14249" y="36963"/>
                  </a:lnTo>
                  <a:lnTo>
                    <a:pt x="13400" y="37308"/>
                  </a:lnTo>
                  <a:lnTo>
                    <a:pt x="11675" y="37998"/>
                  </a:lnTo>
                  <a:lnTo>
                    <a:pt x="9871" y="38634"/>
                  </a:lnTo>
                  <a:lnTo>
                    <a:pt x="8067" y="39245"/>
                  </a:lnTo>
                  <a:lnTo>
                    <a:pt x="6342" y="39828"/>
                  </a:lnTo>
                  <a:lnTo>
                    <a:pt x="3237" y="40784"/>
                  </a:lnTo>
                  <a:lnTo>
                    <a:pt x="1008" y="41447"/>
                  </a:lnTo>
                  <a:lnTo>
                    <a:pt x="345" y="41633"/>
                  </a:lnTo>
                  <a:lnTo>
                    <a:pt x="53" y="41739"/>
                  </a:lnTo>
                  <a:lnTo>
                    <a:pt x="53" y="41739"/>
                  </a:lnTo>
                  <a:lnTo>
                    <a:pt x="27" y="41792"/>
                  </a:lnTo>
                  <a:lnTo>
                    <a:pt x="0" y="41845"/>
                  </a:lnTo>
                  <a:lnTo>
                    <a:pt x="0" y="42031"/>
                  </a:lnTo>
                  <a:lnTo>
                    <a:pt x="53" y="42323"/>
                  </a:lnTo>
                  <a:lnTo>
                    <a:pt x="133" y="42668"/>
                  </a:lnTo>
                  <a:lnTo>
                    <a:pt x="265" y="43066"/>
                  </a:lnTo>
                  <a:lnTo>
                    <a:pt x="425" y="43517"/>
                  </a:lnTo>
                  <a:lnTo>
                    <a:pt x="637" y="43994"/>
                  </a:lnTo>
                  <a:lnTo>
                    <a:pt x="849" y="44472"/>
                  </a:lnTo>
                  <a:lnTo>
                    <a:pt x="1088" y="44950"/>
                  </a:lnTo>
                  <a:lnTo>
                    <a:pt x="1353" y="45427"/>
                  </a:lnTo>
                  <a:lnTo>
                    <a:pt x="1619" y="45852"/>
                  </a:lnTo>
                  <a:lnTo>
                    <a:pt x="1911" y="46250"/>
                  </a:lnTo>
                  <a:lnTo>
                    <a:pt x="2176" y="46568"/>
                  </a:lnTo>
                  <a:lnTo>
                    <a:pt x="2441" y="46834"/>
                  </a:lnTo>
                  <a:lnTo>
                    <a:pt x="2574" y="46940"/>
                  </a:lnTo>
                  <a:lnTo>
                    <a:pt x="2707" y="47019"/>
                  </a:lnTo>
                  <a:lnTo>
                    <a:pt x="2839" y="47046"/>
                  </a:lnTo>
                  <a:lnTo>
                    <a:pt x="2945" y="47072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" name="Google Shape;1068;p57">
              <a:extLst>
                <a:ext uri="{FF2B5EF4-FFF2-40B4-BE49-F238E27FC236}">
                  <a16:creationId xmlns:a16="http://schemas.microsoft.com/office/drawing/2014/main" id="{A6DD5E87-E015-9CFE-20B8-770D8C1B8202}"/>
                </a:ext>
              </a:extLst>
            </p:cNvPr>
            <p:cNvSpPr/>
            <p:nvPr/>
          </p:nvSpPr>
          <p:spPr>
            <a:xfrm>
              <a:off x="8470992" y="4607057"/>
              <a:ext cx="5170" cy="12333"/>
            </a:xfrm>
            <a:custGeom>
              <a:avLst/>
              <a:gdLst/>
              <a:ahLst/>
              <a:cxnLst/>
              <a:rect l="l" t="t" r="r" b="b"/>
              <a:pathLst>
                <a:path w="612" h="1460" extrusionOk="0">
                  <a:moveTo>
                    <a:pt x="452" y="0"/>
                  </a:moveTo>
                  <a:lnTo>
                    <a:pt x="1" y="266"/>
                  </a:lnTo>
                  <a:lnTo>
                    <a:pt x="213" y="372"/>
                  </a:lnTo>
                  <a:lnTo>
                    <a:pt x="558" y="1460"/>
                  </a:lnTo>
                  <a:lnTo>
                    <a:pt x="585" y="1300"/>
                  </a:lnTo>
                  <a:lnTo>
                    <a:pt x="611" y="1115"/>
                  </a:lnTo>
                  <a:lnTo>
                    <a:pt x="611" y="770"/>
                  </a:lnTo>
                  <a:lnTo>
                    <a:pt x="558" y="398"/>
                  </a:lnTo>
                  <a:lnTo>
                    <a:pt x="45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" name="Google Shape;1069;p57">
              <a:extLst>
                <a:ext uri="{FF2B5EF4-FFF2-40B4-BE49-F238E27FC236}">
                  <a16:creationId xmlns:a16="http://schemas.microsoft.com/office/drawing/2014/main" id="{2976E6B7-11B5-2667-9CE5-93B89B196970}"/>
                </a:ext>
              </a:extLst>
            </p:cNvPr>
            <p:cNvSpPr/>
            <p:nvPr/>
          </p:nvSpPr>
          <p:spPr>
            <a:xfrm>
              <a:off x="8470992" y="4607057"/>
              <a:ext cx="55601" cy="248137"/>
            </a:xfrm>
            <a:custGeom>
              <a:avLst/>
              <a:gdLst/>
              <a:ahLst/>
              <a:cxnLst/>
              <a:rect l="l" t="t" r="r" b="b"/>
              <a:pathLst>
                <a:path w="6582" h="29374" fill="none" extrusionOk="0">
                  <a:moveTo>
                    <a:pt x="452" y="0"/>
                  </a:moveTo>
                  <a:lnTo>
                    <a:pt x="1" y="266"/>
                  </a:lnTo>
                  <a:lnTo>
                    <a:pt x="1" y="266"/>
                  </a:lnTo>
                  <a:lnTo>
                    <a:pt x="1" y="266"/>
                  </a:lnTo>
                  <a:lnTo>
                    <a:pt x="213" y="372"/>
                  </a:lnTo>
                  <a:lnTo>
                    <a:pt x="213" y="372"/>
                  </a:lnTo>
                  <a:lnTo>
                    <a:pt x="558" y="1460"/>
                  </a:lnTo>
                  <a:lnTo>
                    <a:pt x="558" y="1460"/>
                  </a:lnTo>
                  <a:lnTo>
                    <a:pt x="1248" y="3768"/>
                  </a:lnTo>
                  <a:lnTo>
                    <a:pt x="2150" y="6793"/>
                  </a:lnTo>
                  <a:lnTo>
                    <a:pt x="2628" y="8518"/>
                  </a:lnTo>
                  <a:lnTo>
                    <a:pt x="3132" y="10375"/>
                  </a:lnTo>
                  <a:lnTo>
                    <a:pt x="3636" y="12312"/>
                  </a:lnTo>
                  <a:lnTo>
                    <a:pt x="4140" y="14302"/>
                  </a:lnTo>
                  <a:lnTo>
                    <a:pt x="4618" y="16319"/>
                  </a:lnTo>
                  <a:lnTo>
                    <a:pt x="5069" y="18362"/>
                  </a:lnTo>
                  <a:lnTo>
                    <a:pt x="5493" y="20379"/>
                  </a:lnTo>
                  <a:lnTo>
                    <a:pt x="5865" y="22342"/>
                  </a:lnTo>
                  <a:lnTo>
                    <a:pt x="6157" y="24279"/>
                  </a:lnTo>
                  <a:lnTo>
                    <a:pt x="6289" y="25208"/>
                  </a:lnTo>
                  <a:lnTo>
                    <a:pt x="6396" y="26110"/>
                  </a:lnTo>
                  <a:lnTo>
                    <a:pt x="6475" y="26959"/>
                  </a:lnTo>
                  <a:lnTo>
                    <a:pt x="6528" y="27808"/>
                  </a:lnTo>
                  <a:lnTo>
                    <a:pt x="6555" y="28604"/>
                  </a:lnTo>
                  <a:lnTo>
                    <a:pt x="6581" y="29374"/>
                  </a:lnTo>
                  <a:lnTo>
                    <a:pt x="6581" y="29374"/>
                  </a:lnTo>
                  <a:lnTo>
                    <a:pt x="6555" y="28604"/>
                  </a:lnTo>
                  <a:lnTo>
                    <a:pt x="6528" y="27808"/>
                  </a:lnTo>
                  <a:lnTo>
                    <a:pt x="6475" y="26959"/>
                  </a:lnTo>
                  <a:lnTo>
                    <a:pt x="6396" y="26110"/>
                  </a:lnTo>
                  <a:lnTo>
                    <a:pt x="6289" y="25208"/>
                  </a:lnTo>
                  <a:lnTo>
                    <a:pt x="6157" y="24279"/>
                  </a:lnTo>
                  <a:lnTo>
                    <a:pt x="5865" y="22342"/>
                  </a:lnTo>
                  <a:lnTo>
                    <a:pt x="5493" y="20379"/>
                  </a:lnTo>
                  <a:lnTo>
                    <a:pt x="5069" y="18362"/>
                  </a:lnTo>
                  <a:lnTo>
                    <a:pt x="4618" y="16319"/>
                  </a:lnTo>
                  <a:lnTo>
                    <a:pt x="4140" y="14302"/>
                  </a:lnTo>
                  <a:lnTo>
                    <a:pt x="3636" y="12312"/>
                  </a:lnTo>
                  <a:lnTo>
                    <a:pt x="3132" y="10375"/>
                  </a:lnTo>
                  <a:lnTo>
                    <a:pt x="2628" y="8518"/>
                  </a:lnTo>
                  <a:lnTo>
                    <a:pt x="2150" y="6793"/>
                  </a:lnTo>
                  <a:lnTo>
                    <a:pt x="1248" y="3768"/>
                  </a:lnTo>
                  <a:lnTo>
                    <a:pt x="558" y="1460"/>
                  </a:lnTo>
                  <a:lnTo>
                    <a:pt x="558" y="1460"/>
                  </a:lnTo>
                  <a:lnTo>
                    <a:pt x="585" y="1300"/>
                  </a:lnTo>
                  <a:lnTo>
                    <a:pt x="611" y="1115"/>
                  </a:lnTo>
                  <a:lnTo>
                    <a:pt x="611" y="770"/>
                  </a:lnTo>
                  <a:lnTo>
                    <a:pt x="558" y="398"/>
                  </a:lnTo>
                  <a:lnTo>
                    <a:pt x="45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" name="Google Shape;1070;p57">
              <a:extLst>
                <a:ext uri="{FF2B5EF4-FFF2-40B4-BE49-F238E27FC236}">
                  <a16:creationId xmlns:a16="http://schemas.microsoft.com/office/drawing/2014/main" id="{18DB48AE-5D09-E973-CFD5-F301393F46B0}"/>
                </a:ext>
              </a:extLst>
            </p:cNvPr>
            <p:cNvSpPr/>
            <p:nvPr/>
          </p:nvSpPr>
          <p:spPr>
            <a:xfrm>
              <a:off x="8453514" y="4609295"/>
              <a:ext cx="80251" cy="418050"/>
            </a:xfrm>
            <a:custGeom>
              <a:avLst/>
              <a:gdLst/>
              <a:ahLst/>
              <a:cxnLst/>
              <a:rect l="l" t="t" r="r" b="b"/>
              <a:pathLst>
                <a:path w="9500" h="49488" extrusionOk="0">
                  <a:moveTo>
                    <a:pt x="2070" y="1"/>
                  </a:moveTo>
                  <a:lnTo>
                    <a:pt x="0" y="1195"/>
                  </a:lnTo>
                  <a:lnTo>
                    <a:pt x="345" y="1938"/>
                  </a:lnTo>
                  <a:lnTo>
                    <a:pt x="690" y="2760"/>
                  </a:lnTo>
                  <a:lnTo>
                    <a:pt x="1274" y="4220"/>
                  </a:lnTo>
                  <a:lnTo>
                    <a:pt x="1884" y="5865"/>
                  </a:lnTo>
                  <a:lnTo>
                    <a:pt x="2494" y="7616"/>
                  </a:lnTo>
                  <a:lnTo>
                    <a:pt x="3131" y="9447"/>
                  </a:lnTo>
                  <a:lnTo>
                    <a:pt x="3741" y="11357"/>
                  </a:lnTo>
                  <a:lnTo>
                    <a:pt x="4352" y="13294"/>
                  </a:lnTo>
                  <a:lnTo>
                    <a:pt x="4936" y="15231"/>
                  </a:lnTo>
                  <a:lnTo>
                    <a:pt x="5493" y="17168"/>
                  </a:lnTo>
                  <a:lnTo>
                    <a:pt x="6023" y="19026"/>
                  </a:lnTo>
                  <a:lnTo>
                    <a:pt x="6475" y="20777"/>
                  </a:lnTo>
                  <a:lnTo>
                    <a:pt x="6899" y="22449"/>
                  </a:lnTo>
                  <a:lnTo>
                    <a:pt x="7244" y="23935"/>
                  </a:lnTo>
                  <a:lnTo>
                    <a:pt x="7536" y="25288"/>
                  </a:lnTo>
                  <a:lnTo>
                    <a:pt x="7748" y="26402"/>
                  </a:lnTo>
                  <a:lnTo>
                    <a:pt x="7854" y="27278"/>
                  </a:lnTo>
                  <a:lnTo>
                    <a:pt x="7881" y="27623"/>
                  </a:lnTo>
                  <a:lnTo>
                    <a:pt x="7881" y="27888"/>
                  </a:lnTo>
                  <a:lnTo>
                    <a:pt x="7854" y="28552"/>
                  </a:lnTo>
                  <a:lnTo>
                    <a:pt x="7828" y="29480"/>
                  </a:lnTo>
                  <a:lnTo>
                    <a:pt x="7854" y="32028"/>
                  </a:lnTo>
                  <a:lnTo>
                    <a:pt x="7934" y="35212"/>
                  </a:lnTo>
                  <a:lnTo>
                    <a:pt x="7987" y="36937"/>
                  </a:lnTo>
                  <a:lnTo>
                    <a:pt x="8067" y="38714"/>
                  </a:lnTo>
                  <a:lnTo>
                    <a:pt x="8173" y="40492"/>
                  </a:lnTo>
                  <a:lnTo>
                    <a:pt x="8305" y="42217"/>
                  </a:lnTo>
                  <a:lnTo>
                    <a:pt x="8438" y="43862"/>
                  </a:lnTo>
                  <a:lnTo>
                    <a:pt x="8597" y="45401"/>
                  </a:lnTo>
                  <a:lnTo>
                    <a:pt x="8783" y="46754"/>
                  </a:lnTo>
                  <a:lnTo>
                    <a:pt x="8889" y="47365"/>
                  </a:lnTo>
                  <a:lnTo>
                    <a:pt x="8995" y="47922"/>
                  </a:lnTo>
                  <a:lnTo>
                    <a:pt x="9128" y="48426"/>
                  </a:lnTo>
                  <a:lnTo>
                    <a:pt x="9234" y="48851"/>
                  </a:lnTo>
                  <a:lnTo>
                    <a:pt x="9367" y="49222"/>
                  </a:lnTo>
                  <a:lnTo>
                    <a:pt x="9499" y="49487"/>
                  </a:lnTo>
                  <a:lnTo>
                    <a:pt x="9287" y="45958"/>
                  </a:lnTo>
                  <a:lnTo>
                    <a:pt x="8889" y="44976"/>
                  </a:lnTo>
                  <a:lnTo>
                    <a:pt x="8597" y="44154"/>
                  </a:lnTo>
                  <a:lnTo>
                    <a:pt x="8491" y="43809"/>
                  </a:lnTo>
                  <a:lnTo>
                    <a:pt x="8438" y="43517"/>
                  </a:lnTo>
                  <a:lnTo>
                    <a:pt x="8412" y="43331"/>
                  </a:lnTo>
                  <a:lnTo>
                    <a:pt x="8438" y="43252"/>
                  </a:lnTo>
                  <a:lnTo>
                    <a:pt x="8438" y="43199"/>
                  </a:lnTo>
                  <a:lnTo>
                    <a:pt x="8518" y="43172"/>
                  </a:lnTo>
                  <a:lnTo>
                    <a:pt x="8624" y="43119"/>
                  </a:lnTo>
                  <a:lnTo>
                    <a:pt x="9075" y="42960"/>
                  </a:lnTo>
                  <a:lnTo>
                    <a:pt x="8916" y="40015"/>
                  </a:lnTo>
                  <a:lnTo>
                    <a:pt x="8756" y="37096"/>
                  </a:lnTo>
                  <a:lnTo>
                    <a:pt x="8650" y="34257"/>
                  </a:lnTo>
                  <a:lnTo>
                    <a:pt x="8624" y="32903"/>
                  </a:lnTo>
                  <a:lnTo>
                    <a:pt x="8624" y="31577"/>
                  </a:lnTo>
                  <a:lnTo>
                    <a:pt x="8650" y="29693"/>
                  </a:lnTo>
                  <a:lnTo>
                    <a:pt x="8650" y="29109"/>
                  </a:lnTo>
                  <a:lnTo>
                    <a:pt x="8624" y="28339"/>
                  </a:lnTo>
                  <a:lnTo>
                    <a:pt x="8597" y="27543"/>
                  </a:lnTo>
                  <a:lnTo>
                    <a:pt x="8544" y="26694"/>
                  </a:lnTo>
                  <a:lnTo>
                    <a:pt x="8465" y="25845"/>
                  </a:lnTo>
                  <a:lnTo>
                    <a:pt x="8358" y="24943"/>
                  </a:lnTo>
                  <a:lnTo>
                    <a:pt x="8226" y="24014"/>
                  </a:lnTo>
                  <a:lnTo>
                    <a:pt x="7934" y="22077"/>
                  </a:lnTo>
                  <a:lnTo>
                    <a:pt x="7562" y="20114"/>
                  </a:lnTo>
                  <a:lnTo>
                    <a:pt x="7138" y="18097"/>
                  </a:lnTo>
                  <a:lnTo>
                    <a:pt x="6687" y="16054"/>
                  </a:lnTo>
                  <a:lnTo>
                    <a:pt x="6209" y="14037"/>
                  </a:lnTo>
                  <a:lnTo>
                    <a:pt x="5705" y="12047"/>
                  </a:lnTo>
                  <a:lnTo>
                    <a:pt x="5201" y="10110"/>
                  </a:lnTo>
                  <a:lnTo>
                    <a:pt x="4697" y="8253"/>
                  </a:lnTo>
                  <a:lnTo>
                    <a:pt x="4219" y="6528"/>
                  </a:lnTo>
                  <a:lnTo>
                    <a:pt x="3317" y="3503"/>
                  </a:lnTo>
                  <a:lnTo>
                    <a:pt x="2627" y="1195"/>
                  </a:lnTo>
                  <a:lnTo>
                    <a:pt x="2282" y="107"/>
                  </a:lnTo>
                  <a:lnTo>
                    <a:pt x="2070" y="1"/>
                  </a:lnTo>
                  <a:close/>
                </a:path>
              </a:pathLst>
            </a:custGeom>
            <a:solidFill>
              <a:srgbClr val="C929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" name="Google Shape;1071;p57">
              <a:extLst>
                <a:ext uri="{FF2B5EF4-FFF2-40B4-BE49-F238E27FC236}">
                  <a16:creationId xmlns:a16="http://schemas.microsoft.com/office/drawing/2014/main" id="{6692486D-B40E-87E2-6C22-D7C7940486EE}"/>
                </a:ext>
              </a:extLst>
            </p:cNvPr>
            <p:cNvSpPr/>
            <p:nvPr/>
          </p:nvSpPr>
          <p:spPr>
            <a:xfrm>
              <a:off x="8406664" y="4717111"/>
              <a:ext cx="35868" cy="80927"/>
            </a:xfrm>
            <a:custGeom>
              <a:avLst/>
              <a:gdLst/>
              <a:ahLst/>
              <a:cxnLst/>
              <a:rect l="l" t="t" r="r" b="b"/>
              <a:pathLst>
                <a:path w="4246" h="9580" extrusionOk="0">
                  <a:moveTo>
                    <a:pt x="0" y="1"/>
                  </a:moveTo>
                  <a:lnTo>
                    <a:pt x="4246" y="9580"/>
                  </a:lnTo>
                  <a:lnTo>
                    <a:pt x="2733" y="6104"/>
                  </a:lnTo>
                  <a:lnTo>
                    <a:pt x="1380" y="302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BEBEC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" name="Google Shape;1072;p57">
              <a:extLst>
                <a:ext uri="{FF2B5EF4-FFF2-40B4-BE49-F238E27FC236}">
                  <a16:creationId xmlns:a16="http://schemas.microsoft.com/office/drawing/2014/main" id="{32EC054A-1FE8-89CC-E7BD-6D45D60ECCD4}"/>
                </a:ext>
              </a:extLst>
            </p:cNvPr>
            <p:cNvSpPr/>
            <p:nvPr/>
          </p:nvSpPr>
          <p:spPr>
            <a:xfrm>
              <a:off x="8406664" y="4717111"/>
              <a:ext cx="35868" cy="80927"/>
            </a:xfrm>
            <a:custGeom>
              <a:avLst/>
              <a:gdLst/>
              <a:ahLst/>
              <a:cxnLst/>
              <a:rect l="l" t="t" r="r" b="b"/>
              <a:pathLst>
                <a:path w="4246" h="9580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4246" y="9580"/>
                  </a:lnTo>
                  <a:lnTo>
                    <a:pt x="4246" y="9580"/>
                  </a:lnTo>
                  <a:lnTo>
                    <a:pt x="4246" y="9580"/>
                  </a:lnTo>
                  <a:lnTo>
                    <a:pt x="2733" y="6104"/>
                  </a:lnTo>
                  <a:lnTo>
                    <a:pt x="1380" y="3026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" name="Google Shape;1073;p57">
              <a:extLst>
                <a:ext uri="{FF2B5EF4-FFF2-40B4-BE49-F238E27FC236}">
                  <a16:creationId xmlns:a16="http://schemas.microsoft.com/office/drawing/2014/main" id="{87740C5D-CE26-1340-B3C1-3400F32CBC07}"/>
                </a:ext>
              </a:extLst>
            </p:cNvPr>
            <p:cNvSpPr/>
            <p:nvPr/>
          </p:nvSpPr>
          <p:spPr>
            <a:xfrm>
              <a:off x="8406664" y="4689318"/>
              <a:ext cx="35868" cy="108719"/>
            </a:xfrm>
            <a:custGeom>
              <a:avLst/>
              <a:gdLst/>
              <a:ahLst/>
              <a:cxnLst/>
              <a:rect l="l" t="t" r="r" b="b"/>
              <a:pathLst>
                <a:path w="4246" h="12870" extrusionOk="0">
                  <a:moveTo>
                    <a:pt x="239" y="0"/>
                  </a:moveTo>
                  <a:lnTo>
                    <a:pt x="0" y="3291"/>
                  </a:lnTo>
                  <a:lnTo>
                    <a:pt x="1380" y="6316"/>
                  </a:lnTo>
                  <a:lnTo>
                    <a:pt x="2733" y="9394"/>
                  </a:lnTo>
                  <a:lnTo>
                    <a:pt x="4246" y="12870"/>
                  </a:lnTo>
                  <a:lnTo>
                    <a:pt x="4113" y="11702"/>
                  </a:lnTo>
                  <a:lnTo>
                    <a:pt x="3927" y="10561"/>
                  </a:lnTo>
                  <a:lnTo>
                    <a:pt x="3662" y="9394"/>
                  </a:lnTo>
                  <a:lnTo>
                    <a:pt x="3397" y="8279"/>
                  </a:lnTo>
                  <a:lnTo>
                    <a:pt x="3078" y="7165"/>
                  </a:lnTo>
                  <a:lnTo>
                    <a:pt x="2733" y="6103"/>
                  </a:lnTo>
                  <a:lnTo>
                    <a:pt x="2388" y="5095"/>
                  </a:lnTo>
                  <a:lnTo>
                    <a:pt x="2044" y="4140"/>
                  </a:lnTo>
                  <a:lnTo>
                    <a:pt x="1699" y="3264"/>
                  </a:lnTo>
                  <a:lnTo>
                    <a:pt x="1380" y="2468"/>
                  </a:lnTo>
                  <a:lnTo>
                    <a:pt x="796" y="1141"/>
                  </a:lnTo>
                  <a:lnTo>
                    <a:pt x="398" y="319"/>
                  </a:lnTo>
                  <a:lnTo>
                    <a:pt x="239" y="0"/>
                  </a:lnTo>
                  <a:close/>
                </a:path>
              </a:pathLst>
            </a:custGeom>
            <a:solidFill>
              <a:srgbClr val="C929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" name="Google Shape;1074;p57">
              <a:extLst>
                <a:ext uri="{FF2B5EF4-FFF2-40B4-BE49-F238E27FC236}">
                  <a16:creationId xmlns:a16="http://schemas.microsoft.com/office/drawing/2014/main" id="{BE9E0261-7B65-6E00-D28B-A987BF8E4A7D}"/>
                </a:ext>
              </a:extLst>
            </p:cNvPr>
            <p:cNvSpPr/>
            <p:nvPr/>
          </p:nvSpPr>
          <p:spPr>
            <a:xfrm>
              <a:off x="8406664" y="4689318"/>
              <a:ext cx="35868" cy="108719"/>
            </a:xfrm>
            <a:custGeom>
              <a:avLst/>
              <a:gdLst/>
              <a:ahLst/>
              <a:cxnLst/>
              <a:rect l="l" t="t" r="r" b="b"/>
              <a:pathLst>
                <a:path w="4246" h="12870" fill="none" extrusionOk="0">
                  <a:moveTo>
                    <a:pt x="239" y="0"/>
                  </a:moveTo>
                  <a:lnTo>
                    <a:pt x="0" y="3291"/>
                  </a:lnTo>
                  <a:lnTo>
                    <a:pt x="0" y="3291"/>
                  </a:lnTo>
                  <a:lnTo>
                    <a:pt x="0" y="3291"/>
                  </a:lnTo>
                  <a:lnTo>
                    <a:pt x="0" y="3291"/>
                  </a:lnTo>
                  <a:lnTo>
                    <a:pt x="0" y="3291"/>
                  </a:lnTo>
                  <a:lnTo>
                    <a:pt x="1380" y="6316"/>
                  </a:lnTo>
                  <a:lnTo>
                    <a:pt x="2733" y="9394"/>
                  </a:lnTo>
                  <a:lnTo>
                    <a:pt x="4246" y="12870"/>
                  </a:lnTo>
                  <a:lnTo>
                    <a:pt x="4246" y="12870"/>
                  </a:lnTo>
                  <a:lnTo>
                    <a:pt x="4246" y="12870"/>
                  </a:lnTo>
                  <a:lnTo>
                    <a:pt x="4113" y="11702"/>
                  </a:lnTo>
                  <a:lnTo>
                    <a:pt x="3927" y="10561"/>
                  </a:lnTo>
                  <a:lnTo>
                    <a:pt x="3662" y="9394"/>
                  </a:lnTo>
                  <a:lnTo>
                    <a:pt x="3397" y="8279"/>
                  </a:lnTo>
                  <a:lnTo>
                    <a:pt x="3078" y="7165"/>
                  </a:lnTo>
                  <a:lnTo>
                    <a:pt x="2733" y="6103"/>
                  </a:lnTo>
                  <a:lnTo>
                    <a:pt x="2388" y="5095"/>
                  </a:lnTo>
                  <a:lnTo>
                    <a:pt x="2044" y="4140"/>
                  </a:lnTo>
                  <a:lnTo>
                    <a:pt x="1699" y="3264"/>
                  </a:lnTo>
                  <a:lnTo>
                    <a:pt x="1380" y="2468"/>
                  </a:lnTo>
                  <a:lnTo>
                    <a:pt x="796" y="1141"/>
                  </a:lnTo>
                  <a:lnTo>
                    <a:pt x="398" y="319"/>
                  </a:lnTo>
                  <a:lnTo>
                    <a:pt x="239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" name="Google Shape;1075;p57">
              <a:extLst>
                <a:ext uri="{FF2B5EF4-FFF2-40B4-BE49-F238E27FC236}">
                  <a16:creationId xmlns:a16="http://schemas.microsoft.com/office/drawing/2014/main" id="{0A35F885-02C3-129A-81D9-F9BC559B2400}"/>
                </a:ext>
              </a:extLst>
            </p:cNvPr>
            <p:cNvSpPr/>
            <p:nvPr/>
          </p:nvSpPr>
          <p:spPr>
            <a:xfrm>
              <a:off x="7727037" y="4545863"/>
              <a:ext cx="58735" cy="32734"/>
            </a:xfrm>
            <a:custGeom>
              <a:avLst/>
              <a:gdLst/>
              <a:ahLst/>
              <a:cxnLst/>
              <a:rect l="l" t="t" r="r" b="b"/>
              <a:pathLst>
                <a:path w="6953" h="3875" extrusionOk="0">
                  <a:moveTo>
                    <a:pt x="3901" y="0"/>
                  </a:moveTo>
                  <a:lnTo>
                    <a:pt x="3716" y="53"/>
                  </a:lnTo>
                  <a:lnTo>
                    <a:pt x="3503" y="133"/>
                  </a:lnTo>
                  <a:lnTo>
                    <a:pt x="3105" y="292"/>
                  </a:lnTo>
                  <a:lnTo>
                    <a:pt x="2681" y="478"/>
                  </a:lnTo>
                  <a:lnTo>
                    <a:pt x="2230" y="717"/>
                  </a:lnTo>
                  <a:lnTo>
                    <a:pt x="1832" y="903"/>
                  </a:lnTo>
                  <a:lnTo>
                    <a:pt x="1646" y="956"/>
                  </a:lnTo>
                  <a:lnTo>
                    <a:pt x="1487" y="982"/>
                  </a:lnTo>
                  <a:lnTo>
                    <a:pt x="1354" y="982"/>
                  </a:lnTo>
                  <a:lnTo>
                    <a:pt x="1248" y="956"/>
                  </a:lnTo>
                  <a:lnTo>
                    <a:pt x="1195" y="929"/>
                  </a:lnTo>
                  <a:lnTo>
                    <a:pt x="1115" y="982"/>
                  </a:lnTo>
                  <a:lnTo>
                    <a:pt x="1036" y="1035"/>
                  </a:lnTo>
                  <a:lnTo>
                    <a:pt x="929" y="1141"/>
                  </a:lnTo>
                  <a:lnTo>
                    <a:pt x="717" y="1407"/>
                  </a:lnTo>
                  <a:lnTo>
                    <a:pt x="505" y="1725"/>
                  </a:lnTo>
                  <a:lnTo>
                    <a:pt x="160" y="2335"/>
                  </a:lnTo>
                  <a:lnTo>
                    <a:pt x="1" y="2627"/>
                  </a:lnTo>
                  <a:lnTo>
                    <a:pt x="293" y="2893"/>
                  </a:lnTo>
                  <a:lnTo>
                    <a:pt x="611" y="3131"/>
                  </a:lnTo>
                  <a:lnTo>
                    <a:pt x="956" y="3317"/>
                  </a:lnTo>
                  <a:lnTo>
                    <a:pt x="1328" y="3476"/>
                  </a:lnTo>
                  <a:lnTo>
                    <a:pt x="1726" y="3636"/>
                  </a:lnTo>
                  <a:lnTo>
                    <a:pt x="2124" y="3742"/>
                  </a:lnTo>
                  <a:lnTo>
                    <a:pt x="2522" y="3795"/>
                  </a:lnTo>
                  <a:lnTo>
                    <a:pt x="2920" y="3848"/>
                  </a:lnTo>
                  <a:lnTo>
                    <a:pt x="3318" y="3874"/>
                  </a:lnTo>
                  <a:lnTo>
                    <a:pt x="3716" y="3874"/>
                  </a:lnTo>
                  <a:lnTo>
                    <a:pt x="4087" y="3848"/>
                  </a:lnTo>
                  <a:lnTo>
                    <a:pt x="4459" y="3795"/>
                  </a:lnTo>
                  <a:lnTo>
                    <a:pt x="4804" y="3715"/>
                  </a:lnTo>
                  <a:lnTo>
                    <a:pt x="5122" y="3609"/>
                  </a:lnTo>
                  <a:lnTo>
                    <a:pt x="5414" y="3503"/>
                  </a:lnTo>
                  <a:lnTo>
                    <a:pt x="5653" y="3370"/>
                  </a:lnTo>
                  <a:lnTo>
                    <a:pt x="5918" y="3185"/>
                  </a:lnTo>
                  <a:lnTo>
                    <a:pt x="6130" y="2972"/>
                  </a:lnTo>
                  <a:lnTo>
                    <a:pt x="6343" y="2733"/>
                  </a:lnTo>
                  <a:lnTo>
                    <a:pt x="6528" y="2468"/>
                  </a:lnTo>
                  <a:lnTo>
                    <a:pt x="6661" y="2229"/>
                  </a:lnTo>
                  <a:lnTo>
                    <a:pt x="6794" y="1964"/>
                  </a:lnTo>
                  <a:lnTo>
                    <a:pt x="6873" y="1699"/>
                  </a:lnTo>
                  <a:lnTo>
                    <a:pt x="6926" y="1460"/>
                  </a:lnTo>
                  <a:lnTo>
                    <a:pt x="6953" y="1248"/>
                  </a:lnTo>
                  <a:lnTo>
                    <a:pt x="6953" y="1035"/>
                  </a:lnTo>
                  <a:lnTo>
                    <a:pt x="6900" y="876"/>
                  </a:lnTo>
                  <a:lnTo>
                    <a:pt x="6820" y="743"/>
                  </a:lnTo>
                  <a:lnTo>
                    <a:pt x="6741" y="690"/>
                  </a:lnTo>
                  <a:lnTo>
                    <a:pt x="6687" y="664"/>
                  </a:lnTo>
                  <a:lnTo>
                    <a:pt x="6502" y="637"/>
                  </a:lnTo>
                  <a:lnTo>
                    <a:pt x="6289" y="637"/>
                  </a:lnTo>
                  <a:lnTo>
                    <a:pt x="6024" y="743"/>
                  </a:lnTo>
                  <a:lnTo>
                    <a:pt x="5626" y="903"/>
                  </a:lnTo>
                  <a:lnTo>
                    <a:pt x="5308" y="1009"/>
                  </a:lnTo>
                  <a:lnTo>
                    <a:pt x="5042" y="1062"/>
                  </a:lnTo>
                  <a:lnTo>
                    <a:pt x="4830" y="1062"/>
                  </a:lnTo>
                  <a:lnTo>
                    <a:pt x="4671" y="1035"/>
                  </a:lnTo>
                  <a:lnTo>
                    <a:pt x="4565" y="982"/>
                  </a:lnTo>
                  <a:lnTo>
                    <a:pt x="4512" y="876"/>
                  </a:lnTo>
                  <a:lnTo>
                    <a:pt x="4459" y="770"/>
                  </a:lnTo>
                  <a:lnTo>
                    <a:pt x="4432" y="664"/>
                  </a:lnTo>
                  <a:lnTo>
                    <a:pt x="4432" y="531"/>
                  </a:lnTo>
                  <a:lnTo>
                    <a:pt x="4432" y="292"/>
                  </a:lnTo>
                  <a:lnTo>
                    <a:pt x="4406" y="186"/>
                  </a:lnTo>
                  <a:lnTo>
                    <a:pt x="4379" y="80"/>
                  </a:lnTo>
                  <a:lnTo>
                    <a:pt x="4326" y="27"/>
                  </a:lnTo>
                  <a:lnTo>
                    <a:pt x="4246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" name="Google Shape;1076;p57">
              <a:extLst>
                <a:ext uri="{FF2B5EF4-FFF2-40B4-BE49-F238E27FC236}">
                  <a16:creationId xmlns:a16="http://schemas.microsoft.com/office/drawing/2014/main" id="{AD1E2AF3-46FC-E386-7B59-FCA63622EAC4}"/>
                </a:ext>
              </a:extLst>
            </p:cNvPr>
            <p:cNvSpPr/>
            <p:nvPr/>
          </p:nvSpPr>
          <p:spPr>
            <a:xfrm>
              <a:off x="7727037" y="4545863"/>
              <a:ext cx="58735" cy="32734"/>
            </a:xfrm>
            <a:custGeom>
              <a:avLst/>
              <a:gdLst/>
              <a:ahLst/>
              <a:cxnLst/>
              <a:rect l="l" t="t" r="r" b="b"/>
              <a:pathLst>
                <a:path w="6953" h="3875" fill="none" extrusionOk="0">
                  <a:moveTo>
                    <a:pt x="1" y="2627"/>
                  </a:moveTo>
                  <a:lnTo>
                    <a:pt x="1" y="2627"/>
                  </a:lnTo>
                  <a:lnTo>
                    <a:pt x="293" y="2893"/>
                  </a:lnTo>
                  <a:lnTo>
                    <a:pt x="611" y="3131"/>
                  </a:lnTo>
                  <a:lnTo>
                    <a:pt x="956" y="3317"/>
                  </a:lnTo>
                  <a:lnTo>
                    <a:pt x="1328" y="3476"/>
                  </a:lnTo>
                  <a:lnTo>
                    <a:pt x="1726" y="3636"/>
                  </a:lnTo>
                  <a:lnTo>
                    <a:pt x="2124" y="3742"/>
                  </a:lnTo>
                  <a:lnTo>
                    <a:pt x="2522" y="3795"/>
                  </a:lnTo>
                  <a:lnTo>
                    <a:pt x="2920" y="3848"/>
                  </a:lnTo>
                  <a:lnTo>
                    <a:pt x="3318" y="3874"/>
                  </a:lnTo>
                  <a:lnTo>
                    <a:pt x="3716" y="3874"/>
                  </a:lnTo>
                  <a:lnTo>
                    <a:pt x="4087" y="3848"/>
                  </a:lnTo>
                  <a:lnTo>
                    <a:pt x="4459" y="3795"/>
                  </a:lnTo>
                  <a:lnTo>
                    <a:pt x="4804" y="3715"/>
                  </a:lnTo>
                  <a:lnTo>
                    <a:pt x="5122" y="3609"/>
                  </a:lnTo>
                  <a:lnTo>
                    <a:pt x="5414" y="3503"/>
                  </a:lnTo>
                  <a:lnTo>
                    <a:pt x="5653" y="3370"/>
                  </a:lnTo>
                  <a:lnTo>
                    <a:pt x="5653" y="3370"/>
                  </a:lnTo>
                  <a:lnTo>
                    <a:pt x="5918" y="3185"/>
                  </a:lnTo>
                  <a:lnTo>
                    <a:pt x="6130" y="2972"/>
                  </a:lnTo>
                  <a:lnTo>
                    <a:pt x="6343" y="2733"/>
                  </a:lnTo>
                  <a:lnTo>
                    <a:pt x="6528" y="2468"/>
                  </a:lnTo>
                  <a:lnTo>
                    <a:pt x="6661" y="2229"/>
                  </a:lnTo>
                  <a:lnTo>
                    <a:pt x="6794" y="1964"/>
                  </a:lnTo>
                  <a:lnTo>
                    <a:pt x="6873" y="1699"/>
                  </a:lnTo>
                  <a:lnTo>
                    <a:pt x="6926" y="1460"/>
                  </a:lnTo>
                  <a:lnTo>
                    <a:pt x="6953" y="1248"/>
                  </a:lnTo>
                  <a:lnTo>
                    <a:pt x="6953" y="1035"/>
                  </a:lnTo>
                  <a:lnTo>
                    <a:pt x="6900" y="876"/>
                  </a:lnTo>
                  <a:lnTo>
                    <a:pt x="6820" y="743"/>
                  </a:lnTo>
                  <a:lnTo>
                    <a:pt x="6741" y="690"/>
                  </a:lnTo>
                  <a:lnTo>
                    <a:pt x="6687" y="664"/>
                  </a:lnTo>
                  <a:lnTo>
                    <a:pt x="6502" y="637"/>
                  </a:lnTo>
                  <a:lnTo>
                    <a:pt x="6289" y="637"/>
                  </a:lnTo>
                  <a:lnTo>
                    <a:pt x="6024" y="743"/>
                  </a:lnTo>
                  <a:lnTo>
                    <a:pt x="6024" y="743"/>
                  </a:lnTo>
                  <a:lnTo>
                    <a:pt x="5626" y="903"/>
                  </a:lnTo>
                  <a:lnTo>
                    <a:pt x="5308" y="1009"/>
                  </a:lnTo>
                  <a:lnTo>
                    <a:pt x="5042" y="1062"/>
                  </a:lnTo>
                  <a:lnTo>
                    <a:pt x="4830" y="1062"/>
                  </a:lnTo>
                  <a:lnTo>
                    <a:pt x="4671" y="1035"/>
                  </a:lnTo>
                  <a:lnTo>
                    <a:pt x="4565" y="982"/>
                  </a:lnTo>
                  <a:lnTo>
                    <a:pt x="4512" y="876"/>
                  </a:lnTo>
                  <a:lnTo>
                    <a:pt x="4459" y="770"/>
                  </a:lnTo>
                  <a:lnTo>
                    <a:pt x="4432" y="664"/>
                  </a:lnTo>
                  <a:lnTo>
                    <a:pt x="4432" y="531"/>
                  </a:lnTo>
                  <a:lnTo>
                    <a:pt x="4432" y="292"/>
                  </a:lnTo>
                  <a:lnTo>
                    <a:pt x="4406" y="186"/>
                  </a:lnTo>
                  <a:lnTo>
                    <a:pt x="4379" y="80"/>
                  </a:lnTo>
                  <a:lnTo>
                    <a:pt x="4326" y="27"/>
                  </a:lnTo>
                  <a:lnTo>
                    <a:pt x="4246" y="0"/>
                  </a:lnTo>
                  <a:lnTo>
                    <a:pt x="4246" y="0"/>
                  </a:lnTo>
                  <a:lnTo>
                    <a:pt x="4087" y="0"/>
                  </a:lnTo>
                  <a:lnTo>
                    <a:pt x="3901" y="0"/>
                  </a:lnTo>
                  <a:lnTo>
                    <a:pt x="3716" y="53"/>
                  </a:lnTo>
                  <a:lnTo>
                    <a:pt x="3503" y="133"/>
                  </a:lnTo>
                  <a:lnTo>
                    <a:pt x="3105" y="292"/>
                  </a:lnTo>
                  <a:lnTo>
                    <a:pt x="2681" y="478"/>
                  </a:lnTo>
                  <a:lnTo>
                    <a:pt x="2681" y="478"/>
                  </a:lnTo>
                  <a:lnTo>
                    <a:pt x="2230" y="717"/>
                  </a:lnTo>
                  <a:lnTo>
                    <a:pt x="1832" y="903"/>
                  </a:lnTo>
                  <a:lnTo>
                    <a:pt x="1646" y="956"/>
                  </a:lnTo>
                  <a:lnTo>
                    <a:pt x="1487" y="982"/>
                  </a:lnTo>
                  <a:lnTo>
                    <a:pt x="1354" y="982"/>
                  </a:lnTo>
                  <a:lnTo>
                    <a:pt x="1248" y="956"/>
                  </a:lnTo>
                  <a:lnTo>
                    <a:pt x="1248" y="956"/>
                  </a:lnTo>
                  <a:lnTo>
                    <a:pt x="1195" y="929"/>
                  </a:lnTo>
                  <a:lnTo>
                    <a:pt x="1115" y="982"/>
                  </a:lnTo>
                  <a:lnTo>
                    <a:pt x="1036" y="1035"/>
                  </a:lnTo>
                  <a:lnTo>
                    <a:pt x="929" y="1141"/>
                  </a:lnTo>
                  <a:lnTo>
                    <a:pt x="717" y="1407"/>
                  </a:lnTo>
                  <a:lnTo>
                    <a:pt x="505" y="1725"/>
                  </a:lnTo>
                  <a:lnTo>
                    <a:pt x="160" y="2335"/>
                  </a:lnTo>
                  <a:lnTo>
                    <a:pt x="1" y="262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" name="Google Shape;1077;p57">
              <a:extLst>
                <a:ext uri="{FF2B5EF4-FFF2-40B4-BE49-F238E27FC236}">
                  <a16:creationId xmlns:a16="http://schemas.microsoft.com/office/drawing/2014/main" id="{C945C7BE-75E8-2705-B2C8-2049957F5EFC}"/>
                </a:ext>
              </a:extLst>
            </p:cNvPr>
            <p:cNvSpPr/>
            <p:nvPr/>
          </p:nvSpPr>
          <p:spPr>
            <a:xfrm>
              <a:off x="7691845" y="4091734"/>
              <a:ext cx="45735" cy="83841"/>
            </a:xfrm>
            <a:custGeom>
              <a:avLst/>
              <a:gdLst/>
              <a:ahLst/>
              <a:cxnLst/>
              <a:rect l="l" t="t" r="r" b="b"/>
              <a:pathLst>
                <a:path w="5414" h="9925" extrusionOk="0">
                  <a:moveTo>
                    <a:pt x="3212" y="1"/>
                  </a:moveTo>
                  <a:lnTo>
                    <a:pt x="2999" y="27"/>
                  </a:lnTo>
                  <a:lnTo>
                    <a:pt x="2787" y="54"/>
                  </a:lnTo>
                  <a:lnTo>
                    <a:pt x="2548" y="107"/>
                  </a:lnTo>
                  <a:lnTo>
                    <a:pt x="2336" y="186"/>
                  </a:lnTo>
                  <a:lnTo>
                    <a:pt x="2124" y="293"/>
                  </a:lnTo>
                  <a:lnTo>
                    <a:pt x="1938" y="399"/>
                  </a:lnTo>
                  <a:lnTo>
                    <a:pt x="1726" y="558"/>
                  </a:lnTo>
                  <a:lnTo>
                    <a:pt x="1540" y="717"/>
                  </a:lnTo>
                  <a:lnTo>
                    <a:pt x="1354" y="903"/>
                  </a:lnTo>
                  <a:lnTo>
                    <a:pt x="1168" y="1115"/>
                  </a:lnTo>
                  <a:lnTo>
                    <a:pt x="983" y="1380"/>
                  </a:lnTo>
                  <a:lnTo>
                    <a:pt x="850" y="1672"/>
                  </a:lnTo>
                  <a:lnTo>
                    <a:pt x="717" y="1991"/>
                  </a:lnTo>
                  <a:lnTo>
                    <a:pt x="638" y="2336"/>
                  </a:lnTo>
                  <a:lnTo>
                    <a:pt x="585" y="2707"/>
                  </a:lnTo>
                  <a:lnTo>
                    <a:pt x="558" y="3105"/>
                  </a:lnTo>
                  <a:lnTo>
                    <a:pt x="558" y="3530"/>
                  </a:lnTo>
                  <a:lnTo>
                    <a:pt x="532" y="4485"/>
                  </a:lnTo>
                  <a:lnTo>
                    <a:pt x="532" y="5599"/>
                  </a:lnTo>
                  <a:lnTo>
                    <a:pt x="505" y="6210"/>
                  </a:lnTo>
                  <a:lnTo>
                    <a:pt x="478" y="6847"/>
                  </a:lnTo>
                  <a:lnTo>
                    <a:pt x="425" y="7563"/>
                  </a:lnTo>
                  <a:lnTo>
                    <a:pt x="319" y="8306"/>
                  </a:lnTo>
                  <a:lnTo>
                    <a:pt x="187" y="9075"/>
                  </a:lnTo>
                  <a:lnTo>
                    <a:pt x="1" y="9925"/>
                  </a:lnTo>
                  <a:lnTo>
                    <a:pt x="160" y="9925"/>
                  </a:lnTo>
                  <a:lnTo>
                    <a:pt x="532" y="9871"/>
                  </a:lnTo>
                  <a:lnTo>
                    <a:pt x="1089" y="9765"/>
                  </a:lnTo>
                  <a:lnTo>
                    <a:pt x="1407" y="9659"/>
                  </a:lnTo>
                  <a:lnTo>
                    <a:pt x="1726" y="9553"/>
                  </a:lnTo>
                  <a:lnTo>
                    <a:pt x="2071" y="9394"/>
                  </a:lnTo>
                  <a:lnTo>
                    <a:pt x="2416" y="9235"/>
                  </a:lnTo>
                  <a:lnTo>
                    <a:pt x="2760" y="8996"/>
                  </a:lnTo>
                  <a:lnTo>
                    <a:pt x="3079" y="8757"/>
                  </a:lnTo>
                  <a:lnTo>
                    <a:pt x="3344" y="8439"/>
                  </a:lnTo>
                  <a:lnTo>
                    <a:pt x="3610" y="8094"/>
                  </a:lnTo>
                  <a:lnTo>
                    <a:pt x="3716" y="7908"/>
                  </a:lnTo>
                  <a:lnTo>
                    <a:pt x="3822" y="7696"/>
                  </a:lnTo>
                  <a:lnTo>
                    <a:pt x="3901" y="7483"/>
                  </a:lnTo>
                  <a:lnTo>
                    <a:pt x="3981" y="7245"/>
                  </a:lnTo>
                  <a:lnTo>
                    <a:pt x="4008" y="6979"/>
                  </a:lnTo>
                  <a:lnTo>
                    <a:pt x="4008" y="6502"/>
                  </a:lnTo>
                  <a:lnTo>
                    <a:pt x="4034" y="5865"/>
                  </a:lnTo>
                  <a:lnTo>
                    <a:pt x="4114" y="5122"/>
                  </a:lnTo>
                  <a:lnTo>
                    <a:pt x="4167" y="4750"/>
                  </a:lnTo>
                  <a:lnTo>
                    <a:pt x="4220" y="4352"/>
                  </a:lnTo>
                  <a:lnTo>
                    <a:pt x="4299" y="3954"/>
                  </a:lnTo>
                  <a:lnTo>
                    <a:pt x="4406" y="3556"/>
                  </a:lnTo>
                  <a:lnTo>
                    <a:pt x="4565" y="3185"/>
                  </a:lnTo>
                  <a:lnTo>
                    <a:pt x="4724" y="2813"/>
                  </a:lnTo>
                  <a:lnTo>
                    <a:pt x="4910" y="2495"/>
                  </a:lnTo>
                  <a:lnTo>
                    <a:pt x="5122" y="2177"/>
                  </a:lnTo>
                  <a:lnTo>
                    <a:pt x="5228" y="2044"/>
                  </a:lnTo>
                  <a:lnTo>
                    <a:pt x="5308" y="1911"/>
                  </a:lnTo>
                  <a:lnTo>
                    <a:pt x="5361" y="1752"/>
                  </a:lnTo>
                  <a:lnTo>
                    <a:pt x="5387" y="1593"/>
                  </a:lnTo>
                  <a:lnTo>
                    <a:pt x="5414" y="1460"/>
                  </a:lnTo>
                  <a:lnTo>
                    <a:pt x="5387" y="1301"/>
                  </a:lnTo>
                  <a:lnTo>
                    <a:pt x="5334" y="1168"/>
                  </a:lnTo>
                  <a:lnTo>
                    <a:pt x="5281" y="1036"/>
                  </a:lnTo>
                  <a:lnTo>
                    <a:pt x="5202" y="903"/>
                  </a:lnTo>
                  <a:lnTo>
                    <a:pt x="5095" y="770"/>
                  </a:lnTo>
                  <a:lnTo>
                    <a:pt x="4989" y="638"/>
                  </a:lnTo>
                  <a:lnTo>
                    <a:pt x="4857" y="531"/>
                  </a:lnTo>
                  <a:lnTo>
                    <a:pt x="4565" y="319"/>
                  </a:lnTo>
                  <a:lnTo>
                    <a:pt x="4220" y="160"/>
                  </a:lnTo>
                  <a:lnTo>
                    <a:pt x="3822" y="54"/>
                  </a:lnTo>
                  <a:lnTo>
                    <a:pt x="3610" y="27"/>
                  </a:lnTo>
                  <a:lnTo>
                    <a:pt x="3424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" name="Google Shape;1078;p57">
              <a:extLst>
                <a:ext uri="{FF2B5EF4-FFF2-40B4-BE49-F238E27FC236}">
                  <a16:creationId xmlns:a16="http://schemas.microsoft.com/office/drawing/2014/main" id="{27977EC2-C4A9-8D07-A003-39DB1D0B3149}"/>
                </a:ext>
              </a:extLst>
            </p:cNvPr>
            <p:cNvSpPr/>
            <p:nvPr/>
          </p:nvSpPr>
          <p:spPr>
            <a:xfrm>
              <a:off x="7292861" y="4853174"/>
              <a:ext cx="296110" cy="295434"/>
            </a:xfrm>
            <a:custGeom>
              <a:avLst/>
              <a:gdLst/>
              <a:ahLst/>
              <a:cxnLst/>
              <a:rect l="l" t="t" r="r" b="b"/>
              <a:pathLst>
                <a:path w="35053" h="34973" extrusionOk="0">
                  <a:moveTo>
                    <a:pt x="35053" y="0"/>
                  </a:moveTo>
                  <a:lnTo>
                    <a:pt x="33673" y="53"/>
                  </a:lnTo>
                  <a:lnTo>
                    <a:pt x="32213" y="106"/>
                  </a:lnTo>
                  <a:lnTo>
                    <a:pt x="30515" y="212"/>
                  </a:lnTo>
                  <a:lnTo>
                    <a:pt x="28737" y="372"/>
                  </a:lnTo>
                  <a:lnTo>
                    <a:pt x="27862" y="478"/>
                  </a:lnTo>
                  <a:lnTo>
                    <a:pt x="27039" y="610"/>
                  </a:lnTo>
                  <a:lnTo>
                    <a:pt x="26323" y="743"/>
                  </a:lnTo>
                  <a:lnTo>
                    <a:pt x="25659" y="902"/>
                  </a:lnTo>
                  <a:lnTo>
                    <a:pt x="25394" y="1008"/>
                  </a:lnTo>
                  <a:lnTo>
                    <a:pt x="25155" y="1088"/>
                  </a:lnTo>
                  <a:lnTo>
                    <a:pt x="24943" y="1194"/>
                  </a:lnTo>
                  <a:lnTo>
                    <a:pt x="24784" y="1300"/>
                  </a:lnTo>
                  <a:lnTo>
                    <a:pt x="24598" y="1433"/>
                  </a:lnTo>
                  <a:lnTo>
                    <a:pt x="24386" y="1645"/>
                  </a:lnTo>
                  <a:lnTo>
                    <a:pt x="23828" y="2256"/>
                  </a:lnTo>
                  <a:lnTo>
                    <a:pt x="23112" y="3078"/>
                  </a:lnTo>
                  <a:lnTo>
                    <a:pt x="22289" y="4086"/>
                  </a:lnTo>
                  <a:lnTo>
                    <a:pt x="20352" y="6501"/>
                  </a:lnTo>
                  <a:lnTo>
                    <a:pt x="18230" y="9208"/>
                  </a:lnTo>
                  <a:lnTo>
                    <a:pt x="14276" y="14382"/>
                  </a:lnTo>
                  <a:lnTo>
                    <a:pt x="12843" y="16239"/>
                  </a:lnTo>
                  <a:lnTo>
                    <a:pt x="12339" y="16876"/>
                  </a:lnTo>
                  <a:lnTo>
                    <a:pt x="12047" y="17247"/>
                  </a:lnTo>
                  <a:lnTo>
                    <a:pt x="11410" y="17911"/>
                  </a:lnTo>
                  <a:lnTo>
                    <a:pt x="10429" y="18893"/>
                  </a:lnTo>
                  <a:lnTo>
                    <a:pt x="9234" y="20087"/>
                  </a:lnTo>
                  <a:lnTo>
                    <a:pt x="7881" y="21387"/>
                  </a:lnTo>
                  <a:lnTo>
                    <a:pt x="6501" y="22687"/>
                  </a:lnTo>
                  <a:lnTo>
                    <a:pt x="5148" y="23881"/>
                  </a:lnTo>
                  <a:lnTo>
                    <a:pt x="4538" y="24412"/>
                  </a:lnTo>
                  <a:lnTo>
                    <a:pt x="3981" y="24863"/>
                  </a:lnTo>
                  <a:lnTo>
                    <a:pt x="3476" y="25234"/>
                  </a:lnTo>
                  <a:lnTo>
                    <a:pt x="3025" y="25526"/>
                  </a:lnTo>
                  <a:lnTo>
                    <a:pt x="2680" y="25712"/>
                  </a:lnTo>
                  <a:lnTo>
                    <a:pt x="2362" y="25871"/>
                  </a:lnTo>
                  <a:lnTo>
                    <a:pt x="1831" y="26110"/>
                  </a:lnTo>
                  <a:lnTo>
                    <a:pt x="1460" y="26216"/>
                  </a:lnTo>
                  <a:lnTo>
                    <a:pt x="1168" y="26296"/>
                  </a:lnTo>
                  <a:lnTo>
                    <a:pt x="903" y="26349"/>
                  </a:lnTo>
                  <a:lnTo>
                    <a:pt x="796" y="26402"/>
                  </a:lnTo>
                  <a:lnTo>
                    <a:pt x="690" y="26455"/>
                  </a:lnTo>
                  <a:lnTo>
                    <a:pt x="558" y="26535"/>
                  </a:lnTo>
                  <a:lnTo>
                    <a:pt x="425" y="26667"/>
                  </a:lnTo>
                  <a:lnTo>
                    <a:pt x="133" y="27012"/>
                  </a:lnTo>
                  <a:lnTo>
                    <a:pt x="54" y="27145"/>
                  </a:lnTo>
                  <a:lnTo>
                    <a:pt x="0" y="27304"/>
                  </a:lnTo>
                  <a:lnTo>
                    <a:pt x="0" y="27516"/>
                  </a:lnTo>
                  <a:lnTo>
                    <a:pt x="0" y="27729"/>
                  </a:lnTo>
                  <a:lnTo>
                    <a:pt x="54" y="27994"/>
                  </a:lnTo>
                  <a:lnTo>
                    <a:pt x="107" y="28259"/>
                  </a:lnTo>
                  <a:lnTo>
                    <a:pt x="292" y="28870"/>
                  </a:lnTo>
                  <a:lnTo>
                    <a:pt x="558" y="29533"/>
                  </a:lnTo>
                  <a:lnTo>
                    <a:pt x="876" y="30249"/>
                  </a:lnTo>
                  <a:lnTo>
                    <a:pt x="1248" y="30992"/>
                  </a:lnTo>
                  <a:lnTo>
                    <a:pt x="1619" y="31709"/>
                  </a:lnTo>
                  <a:lnTo>
                    <a:pt x="2017" y="32425"/>
                  </a:lnTo>
                  <a:lnTo>
                    <a:pt x="2442" y="33089"/>
                  </a:lnTo>
                  <a:lnTo>
                    <a:pt x="2813" y="33672"/>
                  </a:lnTo>
                  <a:lnTo>
                    <a:pt x="3158" y="34203"/>
                  </a:lnTo>
                  <a:lnTo>
                    <a:pt x="3476" y="34601"/>
                  </a:lnTo>
                  <a:lnTo>
                    <a:pt x="3715" y="34866"/>
                  </a:lnTo>
                  <a:lnTo>
                    <a:pt x="3821" y="34946"/>
                  </a:lnTo>
                  <a:lnTo>
                    <a:pt x="3901" y="34972"/>
                  </a:lnTo>
                  <a:lnTo>
                    <a:pt x="3954" y="34972"/>
                  </a:lnTo>
                  <a:lnTo>
                    <a:pt x="3981" y="34919"/>
                  </a:lnTo>
                  <a:lnTo>
                    <a:pt x="4166" y="33911"/>
                  </a:lnTo>
                  <a:lnTo>
                    <a:pt x="4432" y="32399"/>
                  </a:lnTo>
                  <a:lnTo>
                    <a:pt x="4644" y="30913"/>
                  </a:lnTo>
                  <a:lnTo>
                    <a:pt x="4777" y="29904"/>
                  </a:lnTo>
                  <a:lnTo>
                    <a:pt x="4856" y="29772"/>
                  </a:lnTo>
                  <a:lnTo>
                    <a:pt x="5015" y="29586"/>
                  </a:lnTo>
                  <a:lnTo>
                    <a:pt x="5652" y="28949"/>
                  </a:lnTo>
                  <a:lnTo>
                    <a:pt x="6634" y="28074"/>
                  </a:lnTo>
                  <a:lnTo>
                    <a:pt x="7908" y="26959"/>
                  </a:lnTo>
                  <a:lnTo>
                    <a:pt x="11145" y="24226"/>
                  </a:lnTo>
                  <a:lnTo>
                    <a:pt x="14939" y="21095"/>
                  </a:lnTo>
                  <a:lnTo>
                    <a:pt x="22528" y="14912"/>
                  </a:lnTo>
                  <a:lnTo>
                    <a:pt x="25500" y="12498"/>
                  </a:lnTo>
                  <a:lnTo>
                    <a:pt x="27358" y="10985"/>
                  </a:lnTo>
                  <a:lnTo>
                    <a:pt x="27915" y="10481"/>
                  </a:lnTo>
                  <a:lnTo>
                    <a:pt x="28472" y="9950"/>
                  </a:lnTo>
                  <a:lnTo>
                    <a:pt x="29029" y="9393"/>
                  </a:lnTo>
                  <a:lnTo>
                    <a:pt x="29560" y="8810"/>
                  </a:lnTo>
                  <a:lnTo>
                    <a:pt x="30064" y="8199"/>
                  </a:lnTo>
                  <a:lnTo>
                    <a:pt x="30568" y="7589"/>
                  </a:lnTo>
                  <a:lnTo>
                    <a:pt x="31046" y="6926"/>
                  </a:lnTo>
                  <a:lnTo>
                    <a:pt x="31523" y="6236"/>
                  </a:lnTo>
                  <a:lnTo>
                    <a:pt x="32001" y="5546"/>
                  </a:lnTo>
                  <a:lnTo>
                    <a:pt x="32452" y="4829"/>
                  </a:lnTo>
                  <a:lnTo>
                    <a:pt x="32903" y="4086"/>
                  </a:lnTo>
                  <a:lnTo>
                    <a:pt x="33328" y="3317"/>
                  </a:lnTo>
                  <a:lnTo>
                    <a:pt x="34203" y="1698"/>
                  </a:lnTo>
                  <a:lnTo>
                    <a:pt x="35053" y="0"/>
                  </a:lnTo>
                  <a:close/>
                </a:path>
              </a:pathLst>
            </a:custGeom>
            <a:solidFill>
              <a:srgbClr val="F5B1B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" name="Google Shape;1079;p57">
              <a:extLst>
                <a:ext uri="{FF2B5EF4-FFF2-40B4-BE49-F238E27FC236}">
                  <a16:creationId xmlns:a16="http://schemas.microsoft.com/office/drawing/2014/main" id="{98AF946D-861C-54AC-F55B-586EE05480F2}"/>
                </a:ext>
              </a:extLst>
            </p:cNvPr>
            <p:cNvSpPr/>
            <p:nvPr/>
          </p:nvSpPr>
          <p:spPr>
            <a:xfrm>
              <a:off x="7292861" y="4853174"/>
              <a:ext cx="296110" cy="295434"/>
            </a:xfrm>
            <a:custGeom>
              <a:avLst/>
              <a:gdLst/>
              <a:ahLst/>
              <a:cxnLst/>
              <a:rect l="l" t="t" r="r" b="b"/>
              <a:pathLst>
                <a:path w="35053" h="34973" fill="none" extrusionOk="0">
                  <a:moveTo>
                    <a:pt x="35053" y="0"/>
                  </a:moveTo>
                  <a:lnTo>
                    <a:pt x="35053" y="0"/>
                  </a:lnTo>
                  <a:lnTo>
                    <a:pt x="34203" y="1698"/>
                  </a:lnTo>
                  <a:lnTo>
                    <a:pt x="33328" y="3317"/>
                  </a:lnTo>
                  <a:lnTo>
                    <a:pt x="32903" y="4086"/>
                  </a:lnTo>
                  <a:lnTo>
                    <a:pt x="32452" y="4829"/>
                  </a:lnTo>
                  <a:lnTo>
                    <a:pt x="32001" y="5546"/>
                  </a:lnTo>
                  <a:lnTo>
                    <a:pt x="31523" y="6236"/>
                  </a:lnTo>
                  <a:lnTo>
                    <a:pt x="31046" y="6926"/>
                  </a:lnTo>
                  <a:lnTo>
                    <a:pt x="30568" y="7589"/>
                  </a:lnTo>
                  <a:lnTo>
                    <a:pt x="30064" y="8199"/>
                  </a:lnTo>
                  <a:lnTo>
                    <a:pt x="29560" y="8810"/>
                  </a:lnTo>
                  <a:lnTo>
                    <a:pt x="29029" y="9393"/>
                  </a:lnTo>
                  <a:lnTo>
                    <a:pt x="28472" y="9950"/>
                  </a:lnTo>
                  <a:lnTo>
                    <a:pt x="27915" y="10481"/>
                  </a:lnTo>
                  <a:lnTo>
                    <a:pt x="27358" y="10985"/>
                  </a:lnTo>
                  <a:lnTo>
                    <a:pt x="27358" y="10985"/>
                  </a:lnTo>
                  <a:lnTo>
                    <a:pt x="25500" y="12498"/>
                  </a:lnTo>
                  <a:lnTo>
                    <a:pt x="22528" y="14912"/>
                  </a:lnTo>
                  <a:lnTo>
                    <a:pt x="14939" y="21095"/>
                  </a:lnTo>
                  <a:lnTo>
                    <a:pt x="11145" y="24226"/>
                  </a:lnTo>
                  <a:lnTo>
                    <a:pt x="7908" y="26959"/>
                  </a:lnTo>
                  <a:lnTo>
                    <a:pt x="6634" y="28074"/>
                  </a:lnTo>
                  <a:lnTo>
                    <a:pt x="5652" y="28949"/>
                  </a:lnTo>
                  <a:lnTo>
                    <a:pt x="5015" y="29586"/>
                  </a:lnTo>
                  <a:lnTo>
                    <a:pt x="4856" y="29772"/>
                  </a:lnTo>
                  <a:lnTo>
                    <a:pt x="4777" y="29904"/>
                  </a:lnTo>
                  <a:lnTo>
                    <a:pt x="4777" y="29904"/>
                  </a:lnTo>
                  <a:lnTo>
                    <a:pt x="4644" y="30913"/>
                  </a:lnTo>
                  <a:lnTo>
                    <a:pt x="4432" y="32399"/>
                  </a:lnTo>
                  <a:lnTo>
                    <a:pt x="4166" y="33911"/>
                  </a:lnTo>
                  <a:lnTo>
                    <a:pt x="3981" y="34919"/>
                  </a:lnTo>
                  <a:lnTo>
                    <a:pt x="3981" y="34919"/>
                  </a:lnTo>
                  <a:lnTo>
                    <a:pt x="3954" y="34972"/>
                  </a:lnTo>
                  <a:lnTo>
                    <a:pt x="3901" y="34972"/>
                  </a:lnTo>
                  <a:lnTo>
                    <a:pt x="3821" y="34946"/>
                  </a:lnTo>
                  <a:lnTo>
                    <a:pt x="3715" y="34866"/>
                  </a:lnTo>
                  <a:lnTo>
                    <a:pt x="3476" y="34601"/>
                  </a:lnTo>
                  <a:lnTo>
                    <a:pt x="3158" y="34203"/>
                  </a:lnTo>
                  <a:lnTo>
                    <a:pt x="2813" y="33672"/>
                  </a:lnTo>
                  <a:lnTo>
                    <a:pt x="2442" y="33089"/>
                  </a:lnTo>
                  <a:lnTo>
                    <a:pt x="2017" y="32425"/>
                  </a:lnTo>
                  <a:lnTo>
                    <a:pt x="1619" y="31709"/>
                  </a:lnTo>
                  <a:lnTo>
                    <a:pt x="1248" y="30992"/>
                  </a:lnTo>
                  <a:lnTo>
                    <a:pt x="876" y="30249"/>
                  </a:lnTo>
                  <a:lnTo>
                    <a:pt x="558" y="29533"/>
                  </a:lnTo>
                  <a:lnTo>
                    <a:pt x="292" y="28870"/>
                  </a:lnTo>
                  <a:lnTo>
                    <a:pt x="107" y="28259"/>
                  </a:lnTo>
                  <a:lnTo>
                    <a:pt x="54" y="27994"/>
                  </a:lnTo>
                  <a:lnTo>
                    <a:pt x="0" y="27729"/>
                  </a:lnTo>
                  <a:lnTo>
                    <a:pt x="0" y="27516"/>
                  </a:lnTo>
                  <a:lnTo>
                    <a:pt x="0" y="27304"/>
                  </a:lnTo>
                  <a:lnTo>
                    <a:pt x="54" y="27145"/>
                  </a:lnTo>
                  <a:lnTo>
                    <a:pt x="133" y="27012"/>
                  </a:lnTo>
                  <a:lnTo>
                    <a:pt x="133" y="27012"/>
                  </a:lnTo>
                  <a:lnTo>
                    <a:pt x="425" y="26667"/>
                  </a:lnTo>
                  <a:lnTo>
                    <a:pt x="558" y="26535"/>
                  </a:lnTo>
                  <a:lnTo>
                    <a:pt x="690" y="26455"/>
                  </a:lnTo>
                  <a:lnTo>
                    <a:pt x="796" y="26402"/>
                  </a:lnTo>
                  <a:lnTo>
                    <a:pt x="903" y="26349"/>
                  </a:lnTo>
                  <a:lnTo>
                    <a:pt x="1168" y="26296"/>
                  </a:lnTo>
                  <a:lnTo>
                    <a:pt x="1460" y="26216"/>
                  </a:lnTo>
                  <a:lnTo>
                    <a:pt x="1831" y="26110"/>
                  </a:lnTo>
                  <a:lnTo>
                    <a:pt x="2362" y="25871"/>
                  </a:lnTo>
                  <a:lnTo>
                    <a:pt x="2680" y="25712"/>
                  </a:lnTo>
                  <a:lnTo>
                    <a:pt x="3025" y="25526"/>
                  </a:lnTo>
                  <a:lnTo>
                    <a:pt x="3025" y="25526"/>
                  </a:lnTo>
                  <a:lnTo>
                    <a:pt x="3476" y="25234"/>
                  </a:lnTo>
                  <a:lnTo>
                    <a:pt x="3981" y="24863"/>
                  </a:lnTo>
                  <a:lnTo>
                    <a:pt x="4538" y="24412"/>
                  </a:lnTo>
                  <a:lnTo>
                    <a:pt x="5148" y="23881"/>
                  </a:lnTo>
                  <a:lnTo>
                    <a:pt x="6501" y="22687"/>
                  </a:lnTo>
                  <a:lnTo>
                    <a:pt x="7881" y="21387"/>
                  </a:lnTo>
                  <a:lnTo>
                    <a:pt x="9234" y="20087"/>
                  </a:lnTo>
                  <a:lnTo>
                    <a:pt x="10429" y="18893"/>
                  </a:lnTo>
                  <a:lnTo>
                    <a:pt x="11410" y="17911"/>
                  </a:lnTo>
                  <a:lnTo>
                    <a:pt x="12047" y="17247"/>
                  </a:lnTo>
                  <a:lnTo>
                    <a:pt x="12047" y="17247"/>
                  </a:lnTo>
                  <a:lnTo>
                    <a:pt x="12339" y="16876"/>
                  </a:lnTo>
                  <a:lnTo>
                    <a:pt x="12843" y="16239"/>
                  </a:lnTo>
                  <a:lnTo>
                    <a:pt x="14276" y="14382"/>
                  </a:lnTo>
                  <a:lnTo>
                    <a:pt x="18230" y="9208"/>
                  </a:lnTo>
                  <a:lnTo>
                    <a:pt x="20352" y="6501"/>
                  </a:lnTo>
                  <a:lnTo>
                    <a:pt x="22289" y="4086"/>
                  </a:lnTo>
                  <a:lnTo>
                    <a:pt x="23112" y="3078"/>
                  </a:lnTo>
                  <a:lnTo>
                    <a:pt x="23828" y="2256"/>
                  </a:lnTo>
                  <a:lnTo>
                    <a:pt x="24386" y="1645"/>
                  </a:lnTo>
                  <a:lnTo>
                    <a:pt x="24598" y="1433"/>
                  </a:lnTo>
                  <a:lnTo>
                    <a:pt x="24784" y="1300"/>
                  </a:lnTo>
                  <a:lnTo>
                    <a:pt x="24784" y="1300"/>
                  </a:lnTo>
                  <a:lnTo>
                    <a:pt x="24943" y="1194"/>
                  </a:lnTo>
                  <a:lnTo>
                    <a:pt x="25155" y="1088"/>
                  </a:lnTo>
                  <a:lnTo>
                    <a:pt x="25394" y="1008"/>
                  </a:lnTo>
                  <a:lnTo>
                    <a:pt x="25659" y="902"/>
                  </a:lnTo>
                  <a:lnTo>
                    <a:pt x="26323" y="743"/>
                  </a:lnTo>
                  <a:lnTo>
                    <a:pt x="27039" y="610"/>
                  </a:lnTo>
                  <a:lnTo>
                    <a:pt x="27862" y="478"/>
                  </a:lnTo>
                  <a:lnTo>
                    <a:pt x="28737" y="372"/>
                  </a:lnTo>
                  <a:lnTo>
                    <a:pt x="30515" y="212"/>
                  </a:lnTo>
                  <a:lnTo>
                    <a:pt x="32213" y="106"/>
                  </a:lnTo>
                  <a:lnTo>
                    <a:pt x="33673" y="53"/>
                  </a:lnTo>
                  <a:lnTo>
                    <a:pt x="3505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" name="Google Shape;1080;p57">
              <a:extLst>
                <a:ext uri="{FF2B5EF4-FFF2-40B4-BE49-F238E27FC236}">
                  <a16:creationId xmlns:a16="http://schemas.microsoft.com/office/drawing/2014/main" id="{B8679927-12B4-0211-0C6C-BD06FBECB90F}"/>
                </a:ext>
              </a:extLst>
            </p:cNvPr>
            <p:cNvSpPr/>
            <p:nvPr/>
          </p:nvSpPr>
          <p:spPr>
            <a:xfrm>
              <a:off x="7278965" y="5080520"/>
              <a:ext cx="52907" cy="118586"/>
            </a:xfrm>
            <a:custGeom>
              <a:avLst/>
              <a:gdLst/>
              <a:ahLst/>
              <a:cxnLst/>
              <a:rect l="l" t="t" r="r" b="b"/>
              <a:pathLst>
                <a:path w="6263" h="14038" extrusionOk="0">
                  <a:moveTo>
                    <a:pt x="2150" y="1"/>
                  </a:moveTo>
                  <a:lnTo>
                    <a:pt x="1831" y="27"/>
                  </a:lnTo>
                  <a:lnTo>
                    <a:pt x="1513" y="107"/>
                  </a:lnTo>
                  <a:lnTo>
                    <a:pt x="1168" y="213"/>
                  </a:lnTo>
                  <a:lnTo>
                    <a:pt x="849" y="345"/>
                  </a:lnTo>
                  <a:lnTo>
                    <a:pt x="558" y="478"/>
                  </a:lnTo>
                  <a:lnTo>
                    <a:pt x="319" y="637"/>
                  </a:lnTo>
                  <a:lnTo>
                    <a:pt x="133" y="770"/>
                  </a:lnTo>
                  <a:lnTo>
                    <a:pt x="27" y="903"/>
                  </a:lnTo>
                  <a:lnTo>
                    <a:pt x="27" y="982"/>
                  </a:lnTo>
                  <a:lnTo>
                    <a:pt x="0" y="1088"/>
                  </a:lnTo>
                  <a:lnTo>
                    <a:pt x="0" y="1380"/>
                  </a:lnTo>
                  <a:lnTo>
                    <a:pt x="53" y="1725"/>
                  </a:lnTo>
                  <a:lnTo>
                    <a:pt x="106" y="2150"/>
                  </a:lnTo>
                  <a:lnTo>
                    <a:pt x="292" y="3079"/>
                  </a:lnTo>
                  <a:lnTo>
                    <a:pt x="451" y="4034"/>
                  </a:lnTo>
                  <a:lnTo>
                    <a:pt x="451" y="4060"/>
                  </a:lnTo>
                  <a:lnTo>
                    <a:pt x="531" y="4140"/>
                  </a:lnTo>
                  <a:lnTo>
                    <a:pt x="611" y="4166"/>
                  </a:lnTo>
                  <a:lnTo>
                    <a:pt x="717" y="4193"/>
                  </a:lnTo>
                  <a:lnTo>
                    <a:pt x="849" y="4193"/>
                  </a:lnTo>
                  <a:lnTo>
                    <a:pt x="1009" y="4166"/>
                  </a:lnTo>
                  <a:lnTo>
                    <a:pt x="1035" y="4193"/>
                  </a:lnTo>
                  <a:lnTo>
                    <a:pt x="1035" y="4219"/>
                  </a:lnTo>
                  <a:lnTo>
                    <a:pt x="1088" y="4326"/>
                  </a:lnTo>
                  <a:lnTo>
                    <a:pt x="1194" y="4777"/>
                  </a:lnTo>
                  <a:lnTo>
                    <a:pt x="1301" y="5440"/>
                  </a:lnTo>
                  <a:lnTo>
                    <a:pt x="1433" y="6263"/>
                  </a:lnTo>
                  <a:lnTo>
                    <a:pt x="1911" y="9553"/>
                  </a:lnTo>
                  <a:lnTo>
                    <a:pt x="1990" y="9845"/>
                  </a:lnTo>
                  <a:lnTo>
                    <a:pt x="2097" y="10190"/>
                  </a:lnTo>
                  <a:lnTo>
                    <a:pt x="2229" y="10535"/>
                  </a:lnTo>
                  <a:lnTo>
                    <a:pt x="2388" y="10906"/>
                  </a:lnTo>
                  <a:lnTo>
                    <a:pt x="2601" y="11278"/>
                  </a:lnTo>
                  <a:lnTo>
                    <a:pt x="2813" y="11649"/>
                  </a:lnTo>
                  <a:lnTo>
                    <a:pt x="3078" y="11994"/>
                  </a:lnTo>
                  <a:lnTo>
                    <a:pt x="3317" y="12366"/>
                  </a:lnTo>
                  <a:lnTo>
                    <a:pt x="3609" y="12710"/>
                  </a:lnTo>
                  <a:lnTo>
                    <a:pt x="3874" y="13002"/>
                  </a:lnTo>
                  <a:lnTo>
                    <a:pt x="4166" y="13294"/>
                  </a:lnTo>
                  <a:lnTo>
                    <a:pt x="4458" y="13533"/>
                  </a:lnTo>
                  <a:lnTo>
                    <a:pt x="4750" y="13745"/>
                  </a:lnTo>
                  <a:lnTo>
                    <a:pt x="5015" y="13905"/>
                  </a:lnTo>
                  <a:lnTo>
                    <a:pt x="5281" y="13984"/>
                  </a:lnTo>
                  <a:lnTo>
                    <a:pt x="5546" y="14037"/>
                  </a:lnTo>
                  <a:lnTo>
                    <a:pt x="5652" y="14011"/>
                  </a:lnTo>
                  <a:lnTo>
                    <a:pt x="5758" y="13958"/>
                  </a:lnTo>
                  <a:lnTo>
                    <a:pt x="5864" y="13905"/>
                  </a:lnTo>
                  <a:lnTo>
                    <a:pt x="5944" y="13825"/>
                  </a:lnTo>
                  <a:lnTo>
                    <a:pt x="6024" y="13745"/>
                  </a:lnTo>
                  <a:lnTo>
                    <a:pt x="6077" y="13639"/>
                  </a:lnTo>
                  <a:lnTo>
                    <a:pt x="6156" y="13400"/>
                  </a:lnTo>
                  <a:lnTo>
                    <a:pt x="6236" y="13109"/>
                  </a:lnTo>
                  <a:lnTo>
                    <a:pt x="6262" y="12817"/>
                  </a:lnTo>
                  <a:lnTo>
                    <a:pt x="6262" y="12472"/>
                  </a:lnTo>
                  <a:lnTo>
                    <a:pt x="6236" y="12100"/>
                  </a:lnTo>
                  <a:lnTo>
                    <a:pt x="6156" y="11384"/>
                  </a:lnTo>
                  <a:lnTo>
                    <a:pt x="6050" y="10694"/>
                  </a:lnTo>
                  <a:lnTo>
                    <a:pt x="5944" y="10137"/>
                  </a:lnTo>
                  <a:lnTo>
                    <a:pt x="5891" y="9739"/>
                  </a:lnTo>
                  <a:lnTo>
                    <a:pt x="5864" y="9606"/>
                  </a:lnTo>
                  <a:lnTo>
                    <a:pt x="5811" y="9447"/>
                  </a:lnTo>
                  <a:lnTo>
                    <a:pt x="5652" y="9128"/>
                  </a:lnTo>
                  <a:lnTo>
                    <a:pt x="5413" y="8783"/>
                  </a:lnTo>
                  <a:lnTo>
                    <a:pt x="5148" y="8359"/>
                  </a:lnTo>
                  <a:lnTo>
                    <a:pt x="4830" y="7908"/>
                  </a:lnTo>
                  <a:lnTo>
                    <a:pt x="4538" y="7404"/>
                  </a:lnTo>
                  <a:lnTo>
                    <a:pt x="4405" y="7112"/>
                  </a:lnTo>
                  <a:lnTo>
                    <a:pt x="4272" y="6820"/>
                  </a:lnTo>
                  <a:lnTo>
                    <a:pt x="4166" y="6501"/>
                  </a:lnTo>
                  <a:lnTo>
                    <a:pt x="4060" y="6156"/>
                  </a:lnTo>
                  <a:lnTo>
                    <a:pt x="4007" y="5812"/>
                  </a:lnTo>
                  <a:lnTo>
                    <a:pt x="3954" y="5520"/>
                  </a:lnTo>
                  <a:lnTo>
                    <a:pt x="3927" y="5228"/>
                  </a:lnTo>
                  <a:lnTo>
                    <a:pt x="3901" y="4936"/>
                  </a:lnTo>
                  <a:lnTo>
                    <a:pt x="3927" y="4697"/>
                  </a:lnTo>
                  <a:lnTo>
                    <a:pt x="3927" y="4458"/>
                  </a:lnTo>
                  <a:lnTo>
                    <a:pt x="4034" y="4034"/>
                  </a:lnTo>
                  <a:lnTo>
                    <a:pt x="4140" y="3662"/>
                  </a:lnTo>
                  <a:lnTo>
                    <a:pt x="4272" y="3344"/>
                  </a:lnTo>
                  <a:lnTo>
                    <a:pt x="4538" y="2840"/>
                  </a:lnTo>
                  <a:lnTo>
                    <a:pt x="4644" y="2495"/>
                  </a:lnTo>
                  <a:lnTo>
                    <a:pt x="4697" y="2256"/>
                  </a:lnTo>
                  <a:lnTo>
                    <a:pt x="4750" y="1964"/>
                  </a:lnTo>
                  <a:lnTo>
                    <a:pt x="4777" y="1646"/>
                  </a:lnTo>
                  <a:lnTo>
                    <a:pt x="4777" y="1301"/>
                  </a:lnTo>
                  <a:lnTo>
                    <a:pt x="4750" y="929"/>
                  </a:lnTo>
                  <a:lnTo>
                    <a:pt x="4670" y="531"/>
                  </a:lnTo>
                  <a:lnTo>
                    <a:pt x="4617" y="372"/>
                  </a:lnTo>
                  <a:lnTo>
                    <a:pt x="4511" y="239"/>
                  </a:lnTo>
                  <a:lnTo>
                    <a:pt x="4379" y="133"/>
                  </a:lnTo>
                  <a:lnTo>
                    <a:pt x="4219" y="107"/>
                  </a:lnTo>
                  <a:lnTo>
                    <a:pt x="3184" y="27"/>
                  </a:lnTo>
                  <a:lnTo>
                    <a:pt x="2627" y="1"/>
                  </a:lnTo>
                  <a:close/>
                </a:path>
              </a:pathLst>
            </a:custGeom>
            <a:solidFill>
              <a:srgbClr val="1F1E3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" name="Google Shape;1081;p57">
              <a:extLst>
                <a:ext uri="{FF2B5EF4-FFF2-40B4-BE49-F238E27FC236}">
                  <a16:creationId xmlns:a16="http://schemas.microsoft.com/office/drawing/2014/main" id="{F0DE59CD-60B2-160F-3F89-00F9E8473285}"/>
                </a:ext>
              </a:extLst>
            </p:cNvPr>
            <p:cNvSpPr/>
            <p:nvPr/>
          </p:nvSpPr>
          <p:spPr>
            <a:xfrm>
              <a:off x="7647690" y="4789066"/>
              <a:ext cx="221696" cy="377696"/>
            </a:xfrm>
            <a:custGeom>
              <a:avLst/>
              <a:gdLst/>
              <a:ahLst/>
              <a:cxnLst/>
              <a:rect l="l" t="t" r="r" b="b"/>
              <a:pathLst>
                <a:path w="26244" h="44711" extrusionOk="0">
                  <a:moveTo>
                    <a:pt x="6104" y="0"/>
                  </a:moveTo>
                  <a:lnTo>
                    <a:pt x="5732" y="27"/>
                  </a:lnTo>
                  <a:lnTo>
                    <a:pt x="5334" y="106"/>
                  </a:lnTo>
                  <a:lnTo>
                    <a:pt x="4909" y="186"/>
                  </a:lnTo>
                  <a:lnTo>
                    <a:pt x="4458" y="319"/>
                  </a:lnTo>
                  <a:lnTo>
                    <a:pt x="3450" y="637"/>
                  </a:lnTo>
                  <a:lnTo>
                    <a:pt x="2893" y="796"/>
                  </a:lnTo>
                  <a:lnTo>
                    <a:pt x="2283" y="955"/>
                  </a:lnTo>
                  <a:lnTo>
                    <a:pt x="1858" y="955"/>
                  </a:lnTo>
                  <a:lnTo>
                    <a:pt x="1433" y="982"/>
                  </a:lnTo>
                  <a:lnTo>
                    <a:pt x="1221" y="1035"/>
                  </a:lnTo>
                  <a:lnTo>
                    <a:pt x="982" y="1088"/>
                  </a:lnTo>
                  <a:lnTo>
                    <a:pt x="744" y="1168"/>
                  </a:lnTo>
                  <a:lnTo>
                    <a:pt x="531" y="1274"/>
                  </a:lnTo>
                  <a:lnTo>
                    <a:pt x="346" y="1407"/>
                  </a:lnTo>
                  <a:lnTo>
                    <a:pt x="186" y="1592"/>
                  </a:lnTo>
                  <a:lnTo>
                    <a:pt x="80" y="1805"/>
                  </a:lnTo>
                  <a:lnTo>
                    <a:pt x="54" y="1911"/>
                  </a:lnTo>
                  <a:lnTo>
                    <a:pt x="27" y="2043"/>
                  </a:lnTo>
                  <a:lnTo>
                    <a:pt x="1" y="2176"/>
                  </a:lnTo>
                  <a:lnTo>
                    <a:pt x="27" y="2335"/>
                  </a:lnTo>
                  <a:lnTo>
                    <a:pt x="80" y="2680"/>
                  </a:lnTo>
                  <a:lnTo>
                    <a:pt x="213" y="3078"/>
                  </a:lnTo>
                  <a:lnTo>
                    <a:pt x="452" y="3742"/>
                  </a:lnTo>
                  <a:lnTo>
                    <a:pt x="1195" y="5705"/>
                  </a:lnTo>
                  <a:lnTo>
                    <a:pt x="2229" y="8359"/>
                  </a:lnTo>
                  <a:lnTo>
                    <a:pt x="3477" y="11490"/>
                  </a:lnTo>
                  <a:lnTo>
                    <a:pt x="5148" y="15602"/>
                  </a:lnTo>
                  <a:lnTo>
                    <a:pt x="7085" y="20379"/>
                  </a:lnTo>
                  <a:lnTo>
                    <a:pt x="8837" y="24624"/>
                  </a:lnTo>
                  <a:lnTo>
                    <a:pt x="10163" y="27835"/>
                  </a:lnTo>
                  <a:lnTo>
                    <a:pt x="10614" y="28870"/>
                  </a:lnTo>
                  <a:lnTo>
                    <a:pt x="10880" y="29427"/>
                  </a:lnTo>
                  <a:lnTo>
                    <a:pt x="11304" y="30249"/>
                  </a:lnTo>
                  <a:lnTo>
                    <a:pt x="11915" y="31550"/>
                  </a:lnTo>
                  <a:lnTo>
                    <a:pt x="12658" y="33115"/>
                  </a:lnTo>
                  <a:lnTo>
                    <a:pt x="13427" y="34893"/>
                  </a:lnTo>
                  <a:lnTo>
                    <a:pt x="14197" y="36697"/>
                  </a:lnTo>
                  <a:lnTo>
                    <a:pt x="14886" y="38396"/>
                  </a:lnTo>
                  <a:lnTo>
                    <a:pt x="15178" y="39192"/>
                  </a:lnTo>
                  <a:lnTo>
                    <a:pt x="15417" y="39908"/>
                  </a:lnTo>
                  <a:lnTo>
                    <a:pt x="15603" y="40518"/>
                  </a:lnTo>
                  <a:lnTo>
                    <a:pt x="15709" y="41049"/>
                  </a:lnTo>
                  <a:lnTo>
                    <a:pt x="15789" y="41474"/>
                  </a:lnTo>
                  <a:lnTo>
                    <a:pt x="15842" y="41845"/>
                  </a:lnTo>
                  <a:lnTo>
                    <a:pt x="15868" y="42163"/>
                  </a:lnTo>
                  <a:lnTo>
                    <a:pt x="15868" y="42429"/>
                  </a:lnTo>
                  <a:lnTo>
                    <a:pt x="15842" y="42853"/>
                  </a:lnTo>
                  <a:lnTo>
                    <a:pt x="15815" y="43172"/>
                  </a:lnTo>
                  <a:lnTo>
                    <a:pt x="15789" y="43411"/>
                  </a:lnTo>
                  <a:lnTo>
                    <a:pt x="15789" y="43543"/>
                  </a:lnTo>
                  <a:lnTo>
                    <a:pt x="15815" y="43676"/>
                  </a:lnTo>
                  <a:lnTo>
                    <a:pt x="15842" y="43835"/>
                  </a:lnTo>
                  <a:lnTo>
                    <a:pt x="15921" y="43994"/>
                  </a:lnTo>
                  <a:lnTo>
                    <a:pt x="16160" y="44419"/>
                  </a:lnTo>
                  <a:lnTo>
                    <a:pt x="16266" y="44525"/>
                  </a:lnTo>
                  <a:lnTo>
                    <a:pt x="16399" y="44605"/>
                  </a:lnTo>
                  <a:lnTo>
                    <a:pt x="16611" y="44658"/>
                  </a:lnTo>
                  <a:lnTo>
                    <a:pt x="16850" y="44684"/>
                  </a:lnTo>
                  <a:lnTo>
                    <a:pt x="17142" y="44711"/>
                  </a:lnTo>
                  <a:lnTo>
                    <a:pt x="17460" y="44684"/>
                  </a:lnTo>
                  <a:lnTo>
                    <a:pt x="18177" y="44578"/>
                  </a:lnTo>
                  <a:lnTo>
                    <a:pt x="18999" y="44392"/>
                  </a:lnTo>
                  <a:lnTo>
                    <a:pt x="19875" y="44154"/>
                  </a:lnTo>
                  <a:lnTo>
                    <a:pt x="20804" y="43888"/>
                  </a:lnTo>
                  <a:lnTo>
                    <a:pt x="21759" y="43570"/>
                  </a:lnTo>
                  <a:lnTo>
                    <a:pt x="22688" y="43225"/>
                  </a:lnTo>
                  <a:lnTo>
                    <a:pt x="23563" y="42906"/>
                  </a:lnTo>
                  <a:lnTo>
                    <a:pt x="24359" y="42561"/>
                  </a:lnTo>
                  <a:lnTo>
                    <a:pt x="25049" y="42243"/>
                  </a:lnTo>
                  <a:lnTo>
                    <a:pt x="25606" y="41951"/>
                  </a:lnTo>
                  <a:lnTo>
                    <a:pt x="26004" y="41686"/>
                  </a:lnTo>
                  <a:lnTo>
                    <a:pt x="26137" y="41580"/>
                  </a:lnTo>
                  <a:lnTo>
                    <a:pt x="26217" y="41500"/>
                  </a:lnTo>
                  <a:lnTo>
                    <a:pt x="26243" y="41420"/>
                  </a:lnTo>
                  <a:lnTo>
                    <a:pt x="26217" y="41367"/>
                  </a:lnTo>
                  <a:lnTo>
                    <a:pt x="26031" y="41314"/>
                  </a:lnTo>
                  <a:lnTo>
                    <a:pt x="25792" y="41235"/>
                  </a:lnTo>
                  <a:lnTo>
                    <a:pt x="25500" y="41182"/>
                  </a:lnTo>
                  <a:lnTo>
                    <a:pt x="25129" y="41155"/>
                  </a:lnTo>
                  <a:lnTo>
                    <a:pt x="24306" y="41076"/>
                  </a:lnTo>
                  <a:lnTo>
                    <a:pt x="23404" y="41049"/>
                  </a:lnTo>
                  <a:lnTo>
                    <a:pt x="22502" y="40996"/>
                  </a:lnTo>
                  <a:lnTo>
                    <a:pt x="21679" y="40943"/>
                  </a:lnTo>
                  <a:lnTo>
                    <a:pt x="21016" y="40863"/>
                  </a:lnTo>
                  <a:lnTo>
                    <a:pt x="20777" y="40837"/>
                  </a:lnTo>
                  <a:lnTo>
                    <a:pt x="20591" y="40757"/>
                  </a:lnTo>
                  <a:lnTo>
                    <a:pt x="20538" y="40704"/>
                  </a:lnTo>
                  <a:lnTo>
                    <a:pt x="20459" y="40545"/>
                  </a:lnTo>
                  <a:lnTo>
                    <a:pt x="20220" y="39988"/>
                  </a:lnTo>
                  <a:lnTo>
                    <a:pt x="19901" y="39112"/>
                  </a:lnTo>
                  <a:lnTo>
                    <a:pt x="19503" y="37998"/>
                  </a:lnTo>
                  <a:lnTo>
                    <a:pt x="18522" y="35026"/>
                  </a:lnTo>
                  <a:lnTo>
                    <a:pt x="17354" y="31284"/>
                  </a:lnTo>
                  <a:lnTo>
                    <a:pt x="16027" y="27039"/>
                  </a:lnTo>
                  <a:lnTo>
                    <a:pt x="14648" y="22528"/>
                  </a:lnTo>
                  <a:lnTo>
                    <a:pt x="11941" y="13533"/>
                  </a:lnTo>
                  <a:lnTo>
                    <a:pt x="10641" y="9287"/>
                  </a:lnTo>
                  <a:lnTo>
                    <a:pt x="9314" y="5042"/>
                  </a:lnTo>
                  <a:lnTo>
                    <a:pt x="8863" y="3556"/>
                  </a:lnTo>
                  <a:lnTo>
                    <a:pt x="8518" y="2601"/>
                  </a:lnTo>
                  <a:lnTo>
                    <a:pt x="8253" y="1937"/>
                  </a:lnTo>
                  <a:lnTo>
                    <a:pt x="7987" y="1380"/>
                  </a:lnTo>
                  <a:lnTo>
                    <a:pt x="7696" y="929"/>
                  </a:lnTo>
                  <a:lnTo>
                    <a:pt x="7563" y="743"/>
                  </a:lnTo>
                  <a:lnTo>
                    <a:pt x="7404" y="584"/>
                  </a:lnTo>
                  <a:lnTo>
                    <a:pt x="7271" y="425"/>
                  </a:lnTo>
                  <a:lnTo>
                    <a:pt x="7112" y="319"/>
                  </a:lnTo>
                  <a:lnTo>
                    <a:pt x="6953" y="213"/>
                  </a:lnTo>
                  <a:lnTo>
                    <a:pt x="6793" y="133"/>
                  </a:lnTo>
                  <a:lnTo>
                    <a:pt x="6634" y="80"/>
                  </a:lnTo>
                  <a:lnTo>
                    <a:pt x="6448" y="53"/>
                  </a:lnTo>
                  <a:lnTo>
                    <a:pt x="6104" y="0"/>
                  </a:lnTo>
                  <a:close/>
                </a:path>
              </a:pathLst>
            </a:custGeom>
            <a:solidFill>
              <a:srgbClr val="F5B1B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" name="Google Shape;1082;p57">
              <a:extLst>
                <a:ext uri="{FF2B5EF4-FFF2-40B4-BE49-F238E27FC236}">
                  <a16:creationId xmlns:a16="http://schemas.microsoft.com/office/drawing/2014/main" id="{CDC47048-AA62-587A-7C3D-7BDD660819BA}"/>
                </a:ext>
              </a:extLst>
            </p:cNvPr>
            <p:cNvSpPr/>
            <p:nvPr/>
          </p:nvSpPr>
          <p:spPr>
            <a:xfrm>
              <a:off x="7647690" y="4789066"/>
              <a:ext cx="221696" cy="377696"/>
            </a:xfrm>
            <a:custGeom>
              <a:avLst/>
              <a:gdLst/>
              <a:ahLst/>
              <a:cxnLst/>
              <a:rect l="l" t="t" r="r" b="b"/>
              <a:pathLst>
                <a:path w="26244" h="44711" fill="none" extrusionOk="0">
                  <a:moveTo>
                    <a:pt x="80" y="2680"/>
                  </a:moveTo>
                  <a:lnTo>
                    <a:pt x="80" y="2680"/>
                  </a:lnTo>
                  <a:lnTo>
                    <a:pt x="213" y="3078"/>
                  </a:lnTo>
                  <a:lnTo>
                    <a:pt x="452" y="3742"/>
                  </a:lnTo>
                  <a:lnTo>
                    <a:pt x="1195" y="5705"/>
                  </a:lnTo>
                  <a:lnTo>
                    <a:pt x="2229" y="8359"/>
                  </a:lnTo>
                  <a:lnTo>
                    <a:pt x="3477" y="11490"/>
                  </a:lnTo>
                  <a:lnTo>
                    <a:pt x="3477" y="11490"/>
                  </a:lnTo>
                  <a:lnTo>
                    <a:pt x="5148" y="15602"/>
                  </a:lnTo>
                  <a:lnTo>
                    <a:pt x="5148" y="15602"/>
                  </a:lnTo>
                  <a:lnTo>
                    <a:pt x="7085" y="20379"/>
                  </a:lnTo>
                  <a:lnTo>
                    <a:pt x="8837" y="24624"/>
                  </a:lnTo>
                  <a:lnTo>
                    <a:pt x="10163" y="27835"/>
                  </a:lnTo>
                  <a:lnTo>
                    <a:pt x="10614" y="28870"/>
                  </a:lnTo>
                  <a:lnTo>
                    <a:pt x="10880" y="29427"/>
                  </a:lnTo>
                  <a:lnTo>
                    <a:pt x="10880" y="29427"/>
                  </a:lnTo>
                  <a:lnTo>
                    <a:pt x="11304" y="30249"/>
                  </a:lnTo>
                  <a:lnTo>
                    <a:pt x="11915" y="31550"/>
                  </a:lnTo>
                  <a:lnTo>
                    <a:pt x="12658" y="33115"/>
                  </a:lnTo>
                  <a:lnTo>
                    <a:pt x="13427" y="34893"/>
                  </a:lnTo>
                  <a:lnTo>
                    <a:pt x="14197" y="36697"/>
                  </a:lnTo>
                  <a:lnTo>
                    <a:pt x="14886" y="38396"/>
                  </a:lnTo>
                  <a:lnTo>
                    <a:pt x="15178" y="39192"/>
                  </a:lnTo>
                  <a:lnTo>
                    <a:pt x="15417" y="39908"/>
                  </a:lnTo>
                  <a:lnTo>
                    <a:pt x="15603" y="40518"/>
                  </a:lnTo>
                  <a:lnTo>
                    <a:pt x="15709" y="41049"/>
                  </a:lnTo>
                  <a:lnTo>
                    <a:pt x="15709" y="41049"/>
                  </a:lnTo>
                  <a:lnTo>
                    <a:pt x="15789" y="41474"/>
                  </a:lnTo>
                  <a:lnTo>
                    <a:pt x="15842" y="41845"/>
                  </a:lnTo>
                  <a:lnTo>
                    <a:pt x="15868" y="42163"/>
                  </a:lnTo>
                  <a:lnTo>
                    <a:pt x="15868" y="42429"/>
                  </a:lnTo>
                  <a:lnTo>
                    <a:pt x="15842" y="42853"/>
                  </a:lnTo>
                  <a:lnTo>
                    <a:pt x="15815" y="43172"/>
                  </a:lnTo>
                  <a:lnTo>
                    <a:pt x="15789" y="43411"/>
                  </a:lnTo>
                  <a:lnTo>
                    <a:pt x="15789" y="43543"/>
                  </a:lnTo>
                  <a:lnTo>
                    <a:pt x="15815" y="43676"/>
                  </a:lnTo>
                  <a:lnTo>
                    <a:pt x="15842" y="43835"/>
                  </a:lnTo>
                  <a:lnTo>
                    <a:pt x="15921" y="43994"/>
                  </a:lnTo>
                  <a:lnTo>
                    <a:pt x="16160" y="44419"/>
                  </a:lnTo>
                  <a:lnTo>
                    <a:pt x="16160" y="44419"/>
                  </a:lnTo>
                  <a:lnTo>
                    <a:pt x="16266" y="44525"/>
                  </a:lnTo>
                  <a:lnTo>
                    <a:pt x="16399" y="44605"/>
                  </a:lnTo>
                  <a:lnTo>
                    <a:pt x="16611" y="44658"/>
                  </a:lnTo>
                  <a:lnTo>
                    <a:pt x="16850" y="44684"/>
                  </a:lnTo>
                  <a:lnTo>
                    <a:pt x="17142" y="44711"/>
                  </a:lnTo>
                  <a:lnTo>
                    <a:pt x="17460" y="44684"/>
                  </a:lnTo>
                  <a:lnTo>
                    <a:pt x="18177" y="44578"/>
                  </a:lnTo>
                  <a:lnTo>
                    <a:pt x="18999" y="44392"/>
                  </a:lnTo>
                  <a:lnTo>
                    <a:pt x="19875" y="44154"/>
                  </a:lnTo>
                  <a:lnTo>
                    <a:pt x="20804" y="43888"/>
                  </a:lnTo>
                  <a:lnTo>
                    <a:pt x="21759" y="43570"/>
                  </a:lnTo>
                  <a:lnTo>
                    <a:pt x="22688" y="43225"/>
                  </a:lnTo>
                  <a:lnTo>
                    <a:pt x="23563" y="42906"/>
                  </a:lnTo>
                  <a:lnTo>
                    <a:pt x="24359" y="42561"/>
                  </a:lnTo>
                  <a:lnTo>
                    <a:pt x="25049" y="42243"/>
                  </a:lnTo>
                  <a:lnTo>
                    <a:pt x="25606" y="41951"/>
                  </a:lnTo>
                  <a:lnTo>
                    <a:pt x="26004" y="41686"/>
                  </a:lnTo>
                  <a:lnTo>
                    <a:pt x="26137" y="41580"/>
                  </a:lnTo>
                  <a:lnTo>
                    <a:pt x="26217" y="41500"/>
                  </a:lnTo>
                  <a:lnTo>
                    <a:pt x="26243" y="41420"/>
                  </a:lnTo>
                  <a:lnTo>
                    <a:pt x="26217" y="41367"/>
                  </a:lnTo>
                  <a:lnTo>
                    <a:pt x="26217" y="41367"/>
                  </a:lnTo>
                  <a:lnTo>
                    <a:pt x="26031" y="41314"/>
                  </a:lnTo>
                  <a:lnTo>
                    <a:pt x="25792" y="41235"/>
                  </a:lnTo>
                  <a:lnTo>
                    <a:pt x="25500" y="41182"/>
                  </a:lnTo>
                  <a:lnTo>
                    <a:pt x="25129" y="41155"/>
                  </a:lnTo>
                  <a:lnTo>
                    <a:pt x="24306" y="41076"/>
                  </a:lnTo>
                  <a:lnTo>
                    <a:pt x="23404" y="41049"/>
                  </a:lnTo>
                  <a:lnTo>
                    <a:pt x="22502" y="40996"/>
                  </a:lnTo>
                  <a:lnTo>
                    <a:pt x="21679" y="40943"/>
                  </a:lnTo>
                  <a:lnTo>
                    <a:pt x="21016" y="40863"/>
                  </a:lnTo>
                  <a:lnTo>
                    <a:pt x="20777" y="40837"/>
                  </a:lnTo>
                  <a:lnTo>
                    <a:pt x="20591" y="40757"/>
                  </a:lnTo>
                  <a:lnTo>
                    <a:pt x="20591" y="40757"/>
                  </a:lnTo>
                  <a:lnTo>
                    <a:pt x="20538" y="40704"/>
                  </a:lnTo>
                  <a:lnTo>
                    <a:pt x="20459" y="40545"/>
                  </a:lnTo>
                  <a:lnTo>
                    <a:pt x="20220" y="39988"/>
                  </a:lnTo>
                  <a:lnTo>
                    <a:pt x="19901" y="39112"/>
                  </a:lnTo>
                  <a:lnTo>
                    <a:pt x="19503" y="37998"/>
                  </a:lnTo>
                  <a:lnTo>
                    <a:pt x="18522" y="35026"/>
                  </a:lnTo>
                  <a:lnTo>
                    <a:pt x="17354" y="31284"/>
                  </a:lnTo>
                  <a:lnTo>
                    <a:pt x="16027" y="27039"/>
                  </a:lnTo>
                  <a:lnTo>
                    <a:pt x="14648" y="22528"/>
                  </a:lnTo>
                  <a:lnTo>
                    <a:pt x="11941" y="13533"/>
                  </a:lnTo>
                  <a:lnTo>
                    <a:pt x="11941" y="13533"/>
                  </a:lnTo>
                  <a:lnTo>
                    <a:pt x="10641" y="9287"/>
                  </a:lnTo>
                  <a:lnTo>
                    <a:pt x="10641" y="9287"/>
                  </a:lnTo>
                  <a:lnTo>
                    <a:pt x="9314" y="5042"/>
                  </a:lnTo>
                  <a:lnTo>
                    <a:pt x="8863" y="3556"/>
                  </a:lnTo>
                  <a:lnTo>
                    <a:pt x="8518" y="2601"/>
                  </a:lnTo>
                  <a:lnTo>
                    <a:pt x="8518" y="2601"/>
                  </a:lnTo>
                  <a:lnTo>
                    <a:pt x="8253" y="1937"/>
                  </a:lnTo>
                  <a:lnTo>
                    <a:pt x="7987" y="1380"/>
                  </a:lnTo>
                  <a:lnTo>
                    <a:pt x="7696" y="929"/>
                  </a:lnTo>
                  <a:lnTo>
                    <a:pt x="7563" y="743"/>
                  </a:lnTo>
                  <a:lnTo>
                    <a:pt x="7404" y="584"/>
                  </a:lnTo>
                  <a:lnTo>
                    <a:pt x="7271" y="425"/>
                  </a:lnTo>
                  <a:lnTo>
                    <a:pt x="7112" y="319"/>
                  </a:lnTo>
                  <a:lnTo>
                    <a:pt x="6953" y="213"/>
                  </a:lnTo>
                  <a:lnTo>
                    <a:pt x="6793" y="133"/>
                  </a:lnTo>
                  <a:lnTo>
                    <a:pt x="6634" y="80"/>
                  </a:lnTo>
                  <a:lnTo>
                    <a:pt x="6448" y="53"/>
                  </a:lnTo>
                  <a:lnTo>
                    <a:pt x="6104" y="0"/>
                  </a:lnTo>
                  <a:lnTo>
                    <a:pt x="5732" y="27"/>
                  </a:lnTo>
                  <a:lnTo>
                    <a:pt x="5334" y="106"/>
                  </a:lnTo>
                  <a:lnTo>
                    <a:pt x="4909" y="186"/>
                  </a:lnTo>
                  <a:lnTo>
                    <a:pt x="4458" y="319"/>
                  </a:lnTo>
                  <a:lnTo>
                    <a:pt x="3450" y="637"/>
                  </a:lnTo>
                  <a:lnTo>
                    <a:pt x="2893" y="796"/>
                  </a:lnTo>
                  <a:lnTo>
                    <a:pt x="2283" y="955"/>
                  </a:lnTo>
                  <a:lnTo>
                    <a:pt x="2283" y="955"/>
                  </a:lnTo>
                  <a:lnTo>
                    <a:pt x="2176" y="955"/>
                  </a:lnTo>
                  <a:lnTo>
                    <a:pt x="1858" y="955"/>
                  </a:lnTo>
                  <a:lnTo>
                    <a:pt x="1433" y="982"/>
                  </a:lnTo>
                  <a:lnTo>
                    <a:pt x="1221" y="1035"/>
                  </a:lnTo>
                  <a:lnTo>
                    <a:pt x="982" y="1088"/>
                  </a:lnTo>
                  <a:lnTo>
                    <a:pt x="744" y="1168"/>
                  </a:lnTo>
                  <a:lnTo>
                    <a:pt x="531" y="1274"/>
                  </a:lnTo>
                  <a:lnTo>
                    <a:pt x="346" y="1407"/>
                  </a:lnTo>
                  <a:lnTo>
                    <a:pt x="186" y="1592"/>
                  </a:lnTo>
                  <a:lnTo>
                    <a:pt x="80" y="1805"/>
                  </a:lnTo>
                  <a:lnTo>
                    <a:pt x="54" y="1911"/>
                  </a:lnTo>
                  <a:lnTo>
                    <a:pt x="27" y="2043"/>
                  </a:lnTo>
                  <a:lnTo>
                    <a:pt x="1" y="2176"/>
                  </a:lnTo>
                  <a:lnTo>
                    <a:pt x="27" y="2335"/>
                  </a:lnTo>
                  <a:lnTo>
                    <a:pt x="80" y="268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" name="Google Shape;1083;p57">
              <a:extLst>
                <a:ext uri="{FF2B5EF4-FFF2-40B4-BE49-F238E27FC236}">
                  <a16:creationId xmlns:a16="http://schemas.microsoft.com/office/drawing/2014/main" id="{998D7FCA-CDFE-EBEC-292B-30E28BB35523}"/>
                </a:ext>
              </a:extLst>
            </p:cNvPr>
            <p:cNvSpPr/>
            <p:nvPr/>
          </p:nvSpPr>
          <p:spPr>
            <a:xfrm>
              <a:off x="7777249" y="5135819"/>
              <a:ext cx="120825" cy="53135"/>
            </a:xfrm>
            <a:custGeom>
              <a:avLst/>
              <a:gdLst/>
              <a:ahLst/>
              <a:cxnLst/>
              <a:rect l="l" t="t" r="r" b="b"/>
              <a:pathLst>
                <a:path w="14303" h="6290" extrusionOk="0">
                  <a:moveTo>
                    <a:pt x="11012" y="1"/>
                  </a:moveTo>
                  <a:lnTo>
                    <a:pt x="10429" y="28"/>
                  </a:lnTo>
                  <a:lnTo>
                    <a:pt x="10031" y="54"/>
                  </a:lnTo>
                  <a:lnTo>
                    <a:pt x="9898" y="81"/>
                  </a:lnTo>
                  <a:lnTo>
                    <a:pt x="9739" y="134"/>
                  </a:lnTo>
                  <a:lnTo>
                    <a:pt x="9394" y="293"/>
                  </a:lnTo>
                  <a:lnTo>
                    <a:pt x="8996" y="479"/>
                  </a:lnTo>
                  <a:lnTo>
                    <a:pt x="8571" y="744"/>
                  </a:lnTo>
                  <a:lnTo>
                    <a:pt x="8094" y="1009"/>
                  </a:lnTo>
                  <a:lnTo>
                    <a:pt x="7536" y="1275"/>
                  </a:lnTo>
                  <a:lnTo>
                    <a:pt x="6926" y="1540"/>
                  </a:lnTo>
                  <a:lnTo>
                    <a:pt x="6263" y="1779"/>
                  </a:lnTo>
                  <a:lnTo>
                    <a:pt x="5918" y="1885"/>
                  </a:lnTo>
                  <a:lnTo>
                    <a:pt x="5599" y="1938"/>
                  </a:lnTo>
                  <a:lnTo>
                    <a:pt x="5307" y="1991"/>
                  </a:lnTo>
                  <a:lnTo>
                    <a:pt x="5016" y="2018"/>
                  </a:lnTo>
                  <a:lnTo>
                    <a:pt x="4750" y="2018"/>
                  </a:lnTo>
                  <a:lnTo>
                    <a:pt x="4511" y="1991"/>
                  </a:lnTo>
                  <a:lnTo>
                    <a:pt x="4087" y="1938"/>
                  </a:lnTo>
                  <a:lnTo>
                    <a:pt x="3689" y="1805"/>
                  </a:lnTo>
                  <a:lnTo>
                    <a:pt x="3370" y="1699"/>
                  </a:lnTo>
                  <a:lnTo>
                    <a:pt x="2840" y="1460"/>
                  </a:lnTo>
                  <a:lnTo>
                    <a:pt x="2680" y="1407"/>
                  </a:lnTo>
                  <a:lnTo>
                    <a:pt x="2495" y="1354"/>
                  </a:lnTo>
                  <a:lnTo>
                    <a:pt x="2229" y="1301"/>
                  </a:lnTo>
                  <a:lnTo>
                    <a:pt x="1938" y="1275"/>
                  </a:lnTo>
                  <a:lnTo>
                    <a:pt x="1619" y="1248"/>
                  </a:lnTo>
                  <a:lnTo>
                    <a:pt x="1248" y="1275"/>
                  </a:lnTo>
                  <a:lnTo>
                    <a:pt x="876" y="1328"/>
                  </a:lnTo>
                  <a:lnTo>
                    <a:pt x="452" y="1407"/>
                  </a:lnTo>
                  <a:lnTo>
                    <a:pt x="292" y="1460"/>
                  </a:lnTo>
                  <a:lnTo>
                    <a:pt x="186" y="1593"/>
                  </a:lnTo>
                  <a:lnTo>
                    <a:pt x="80" y="1752"/>
                  </a:lnTo>
                  <a:lnTo>
                    <a:pt x="54" y="1911"/>
                  </a:lnTo>
                  <a:lnTo>
                    <a:pt x="1" y="2999"/>
                  </a:lnTo>
                  <a:lnTo>
                    <a:pt x="1" y="3583"/>
                  </a:lnTo>
                  <a:lnTo>
                    <a:pt x="27" y="4087"/>
                  </a:lnTo>
                  <a:lnTo>
                    <a:pt x="54" y="4406"/>
                  </a:lnTo>
                  <a:lnTo>
                    <a:pt x="133" y="4751"/>
                  </a:lnTo>
                  <a:lnTo>
                    <a:pt x="239" y="5096"/>
                  </a:lnTo>
                  <a:lnTo>
                    <a:pt x="399" y="5414"/>
                  </a:lnTo>
                  <a:lnTo>
                    <a:pt x="531" y="5706"/>
                  </a:lnTo>
                  <a:lnTo>
                    <a:pt x="690" y="5971"/>
                  </a:lnTo>
                  <a:lnTo>
                    <a:pt x="850" y="6157"/>
                  </a:lnTo>
                  <a:lnTo>
                    <a:pt x="929" y="6210"/>
                  </a:lnTo>
                  <a:lnTo>
                    <a:pt x="982" y="6263"/>
                  </a:lnTo>
                  <a:lnTo>
                    <a:pt x="1062" y="6263"/>
                  </a:lnTo>
                  <a:lnTo>
                    <a:pt x="1168" y="6290"/>
                  </a:lnTo>
                  <a:lnTo>
                    <a:pt x="1460" y="6263"/>
                  </a:lnTo>
                  <a:lnTo>
                    <a:pt x="1831" y="6210"/>
                  </a:lnTo>
                  <a:lnTo>
                    <a:pt x="2256" y="6104"/>
                  </a:lnTo>
                  <a:lnTo>
                    <a:pt x="3211" y="5892"/>
                  </a:lnTo>
                  <a:lnTo>
                    <a:pt x="4193" y="5679"/>
                  </a:lnTo>
                  <a:lnTo>
                    <a:pt x="4219" y="5653"/>
                  </a:lnTo>
                  <a:lnTo>
                    <a:pt x="4299" y="5573"/>
                  </a:lnTo>
                  <a:lnTo>
                    <a:pt x="4326" y="5494"/>
                  </a:lnTo>
                  <a:lnTo>
                    <a:pt x="4352" y="5387"/>
                  </a:lnTo>
                  <a:lnTo>
                    <a:pt x="4352" y="5255"/>
                  </a:lnTo>
                  <a:lnTo>
                    <a:pt x="4326" y="5069"/>
                  </a:lnTo>
                  <a:lnTo>
                    <a:pt x="4352" y="5043"/>
                  </a:lnTo>
                  <a:lnTo>
                    <a:pt x="4458" y="5016"/>
                  </a:lnTo>
                  <a:lnTo>
                    <a:pt x="4936" y="4936"/>
                  </a:lnTo>
                  <a:lnTo>
                    <a:pt x="6555" y="4751"/>
                  </a:lnTo>
                  <a:lnTo>
                    <a:pt x="8465" y="4538"/>
                  </a:lnTo>
                  <a:lnTo>
                    <a:pt x="9314" y="4432"/>
                  </a:lnTo>
                  <a:lnTo>
                    <a:pt x="10031" y="4326"/>
                  </a:lnTo>
                  <a:lnTo>
                    <a:pt x="10322" y="4246"/>
                  </a:lnTo>
                  <a:lnTo>
                    <a:pt x="10667" y="4140"/>
                  </a:lnTo>
                  <a:lnTo>
                    <a:pt x="10986" y="4034"/>
                  </a:lnTo>
                  <a:lnTo>
                    <a:pt x="11357" y="3902"/>
                  </a:lnTo>
                  <a:lnTo>
                    <a:pt x="11702" y="3742"/>
                  </a:lnTo>
                  <a:lnTo>
                    <a:pt x="12074" y="3557"/>
                  </a:lnTo>
                  <a:lnTo>
                    <a:pt x="12419" y="3371"/>
                  </a:lnTo>
                  <a:lnTo>
                    <a:pt x="12764" y="3159"/>
                  </a:lnTo>
                  <a:lnTo>
                    <a:pt x="13082" y="2946"/>
                  </a:lnTo>
                  <a:lnTo>
                    <a:pt x="13374" y="2707"/>
                  </a:lnTo>
                  <a:lnTo>
                    <a:pt x="13639" y="2469"/>
                  </a:lnTo>
                  <a:lnTo>
                    <a:pt x="13878" y="2230"/>
                  </a:lnTo>
                  <a:lnTo>
                    <a:pt x="14064" y="1991"/>
                  </a:lnTo>
                  <a:lnTo>
                    <a:pt x="14196" y="1726"/>
                  </a:lnTo>
                  <a:lnTo>
                    <a:pt x="14276" y="1487"/>
                  </a:lnTo>
                  <a:lnTo>
                    <a:pt x="14303" y="1222"/>
                  </a:lnTo>
                  <a:lnTo>
                    <a:pt x="14276" y="1089"/>
                  </a:lnTo>
                  <a:lnTo>
                    <a:pt x="14250" y="983"/>
                  </a:lnTo>
                  <a:lnTo>
                    <a:pt x="14170" y="877"/>
                  </a:lnTo>
                  <a:lnTo>
                    <a:pt x="14117" y="770"/>
                  </a:lnTo>
                  <a:lnTo>
                    <a:pt x="13905" y="585"/>
                  </a:lnTo>
                  <a:lnTo>
                    <a:pt x="13666" y="426"/>
                  </a:lnTo>
                  <a:lnTo>
                    <a:pt x="13400" y="319"/>
                  </a:lnTo>
                  <a:lnTo>
                    <a:pt x="13082" y="213"/>
                  </a:lnTo>
                  <a:lnTo>
                    <a:pt x="12737" y="134"/>
                  </a:lnTo>
                  <a:lnTo>
                    <a:pt x="12392" y="81"/>
                  </a:lnTo>
                  <a:lnTo>
                    <a:pt x="12021" y="54"/>
                  </a:lnTo>
                  <a:lnTo>
                    <a:pt x="11676" y="28"/>
                  </a:lnTo>
                  <a:lnTo>
                    <a:pt x="11012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" name="Google Shape;1084;p57">
              <a:extLst>
                <a:ext uri="{FF2B5EF4-FFF2-40B4-BE49-F238E27FC236}">
                  <a16:creationId xmlns:a16="http://schemas.microsoft.com/office/drawing/2014/main" id="{1E82CABC-6693-4DF4-E480-31A0FE96FE2D}"/>
                </a:ext>
              </a:extLst>
            </p:cNvPr>
            <p:cNvSpPr/>
            <p:nvPr/>
          </p:nvSpPr>
          <p:spPr>
            <a:xfrm>
              <a:off x="7523283" y="4937227"/>
              <a:ext cx="66583" cy="19058"/>
            </a:xfrm>
            <a:custGeom>
              <a:avLst/>
              <a:gdLst/>
              <a:ahLst/>
              <a:cxnLst/>
              <a:rect l="l" t="t" r="r" b="b"/>
              <a:pathLst>
                <a:path w="7882" h="2256" extrusionOk="0">
                  <a:moveTo>
                    <a:pt x="1195" y="0"/>
                  </a:moveTo>
                  <a:lnTo>
                    <a:pt x="638" y="531"/>
                  </a:lnTo>
                  <a:lnTo>
                    <a:pt x="81" y="1035"/>
                  </a:lnTo>
                  <a:lnTo>
                    <a:pt x="1" y="1062"/>
                  </a:lnTo>
                  <a:lnTo>
                    <a:pt x="452" y="1248"/>
                  </a:lnTo>
                  <a:lnTo>
                    <a:pt x="930" y="1380"/>
                  </a:lnTo>
                  <a:lnTo>
                    <a:pt x="1407" y="1513"/>
                  </a:lnTo>
                  <a:lnTo>
                    <a:pt x="1911" y="1619"/>
                  </a:lnTo>
                  <a:lnTo>
                    <a:pt x="2946" y="1778"/>
                  </a:lnTo>
                  <a:lnTo>
                    <a:pt x="3981" y="1911"/>
                  </a:lnTo>
                  <a:lnTo>
                    <a:pt x="5918" y="2070"/>
                  </a:lnTo>
                  <a:lnTo>
                    <a:pt x="6767" y="2150"/>
                  </a:lnTo>
                  <a:lnTo>
                    <a:pt x="7510" y="2256"/>
                  </a:lnTo>
                  <a:lnTo>
                    <a:pt x="7882" y="770"/>
                  </a:lnTo>
                  <a:lnTo>
                    <a:pt x="7059" y="743"/>
                  </a:lnTo>
                  <a:lnTo>
                    <a:pt x="6210" y="690"/>
                  </a:lnTo>
                  <a:lnTo>
                    <a:pt x="5334" y="611"/>
                  </a:lnTo>
                  <a:lnTo>
                    <a:pt x="4485" y="531"/>
                  </a:lnTo>
                  <a:lnTo>
                    <a:pt x="3610" y="425"/>
                  </a:lnTo>
                  <a:lnTo>
                    <a:pt x="2761" y="292"/>
                  </a:lnTo>
                  <a:lnTo>
                    <a:pt x="1964" y="160"/>
                  </a:lnTo>
                  <a:lnTo>
                    <a:pt x="11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" name="Google Shape;1085;p57">
              <a:extLst>
                <a:ext uri="{FF2B5EF4-FFF2-40B4-BE49-F238E27FC236}">
                  <a16:creationId xmlns:a16="http://schemas.microsoft.com/office/drawing/2014/main" id="{7296ECA4-11D9-066D-328E-40D3B9E473AE}"/>
                </a:ext>
              </a:extLst>
            </p:cNvPr>
            <p:cNvSpPr/>
            <p:nvPr/>
          </p:nvSpPr>
          <p:spPr>
            <a:xfrm>
              <a:off x="7523283" y="4937227"/>
              <a:ext cx="66583" cy="19058"/>
            </a:xfrm>
            <a:custGeom>
              <a:avLst/>
              <a:gdLst/>
              <a:ahLst/>
              <a:cxnLst/>
              <a:rect l="l" t="t" r="r" b="b"/>
              <a:pathLst>
                <a:path w="7882" h="2256" fill="none" extrusionOk="0">
                  <a:moveTo>
                    <a:pt x="1195" y="0"/>
                  </a:moveTo>
                  <a:lnTo>
                    <a:pt x="1195" y="0"/>
                  </a:lnTo>
                  <a:lnTo>
                    <a:pt x="638" y="531"/>
                  </a:lnTo>
                  <a:lnTo>
                    <a:pt x="81" y="1035"/>
                  </a:lnTo>
                  <a:lnTo>
                    <a:pt x="81" y="1035"/>
                  </a:lnTo>
                  <a:lnTo>
                    <a:pt x="1" y="1062"/>
                  </a:lnTo>
                  <a:lnTo>
                    <a:pt x="1" y="1062"/>
                  </a:lnTo>
                  <a:lnTo>
                    <a:pt x="452" y="1248"/>
                  </a:lnTo>
                  <a:lnTo>
                    <a:pt x="930" y="1380"/>
                  </a:lnTo>
                  <a:lnTo>
                    <a:pt x="1407" y="1513"/>
                  </a:lnTo>
                  <a:lnTo>
                    <a:pt x="1911" y="1619"/>
                  </a:lnTo>
                  <a:lnTo>
                    <a:pt x="2946" y="1778"/>
                  </a:lnTo>
                  <a:lnTo>
                    <a:pt x="3981" y="1911"/>
                  </a:lnTo>
                  <a:lnTo>
                    <a:pt x="5918" y="2070"/>
                  </a:lnTo>
                  <a:lnTo>
                    <a:pt x="6767" y="2150"/>
                  </a:lnTo>
                  <a:lnTo>
                    <a:pt x="7510" y="2256"/>
                  </a:lnTo>
                  <a:lnTo>
                    <a:pt x="7510" y="2256"/>
                  </a:lnTo>
                  <a:lnTo>
                    <a:pt x="7882" y="770"/>
                  </a:lnTo>
                  <a:lnTo>
                    <a:pt x="7882" y="770"/>
                  </a:lnTo>
                  <a:lnTo>
                    <a:pt x="7059" y="743"/>
                  </a:lnTo>
                  <a:lnTo>
                    <a:pt x="6210" y="690"/>
                  </a:lnTo>
                  <a:lnTo>
                    <a:pt x="5334" y="611"/>
                  </a:lnTo>
                  <a:lnTo>
                    <a:pt x="4485" y="531"/>
                  </a:lnTo>
                  <a:lnTo>
                    <a:pt x="3610" y="425"/>
                  </a:lnTo>
                  <a:lnTo>
                    <a:pt x="2761" y="292"/>
                  </a:lnTo>
                  <a:lnTo>
                    <a:pt x="1964" y="160"/>
                  </a:lnTo>
                  <a:lnTo>
                    <a:pt x="119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" name="Google Shape;1086;p57">
              <a:extLst>
                <a:ext uri="{FF2B5EF4-FFF2-40B4-BE49-F238E27FC236}">
                  <a16:creationId xmlns:a16="http://schemas.microsoft.com/office/drawing/2014/main" id="{3EE443D2-6426-DD36-287B-D20941D75A28}"/>
                </a:ext>
              </a:extLst>
            </p:cNvPr>
            <p:cNvSpPr/>
            <p:nvPr/>
          </p:nvSpPr>
          <p:spPr>
            <a:xfrm>
              <a:off x="7523064" y="4934988"/>
              <a:ext cx="10314" cy="11210"/>
            </a:xfrm>
            <a:custGeom>
              <a:avLst/>
              <a:gdLst/>
              <a:ahLst/>
              <a:cxnLst/>
              <a:rect l="l" t="t" r="r" b="b"/>
              <a:pathLst>
                <a:path w="1221" h="1327" extrusionOk="0">
                  <a:moveTo>
                    <a:pt x="27" y="0"/>
                  </a:moveTo>
                  <a:lnTo>
                    <a:pt x="0" y="1327"/>
                  </a:lnTo>
                  <a:lnTo>
                    <a:pt x="27" y="1327"/>
                  </a:lnTo>
                  <a:lnTo>
                    <a:pt x="107" y="1300"/>
                  </a:lnTo>
                  <a:lnTo>
                    <a:pt x="664" y="796"/>
                  </a:lnTo>
                  <a:lnTo>
                    <a:pt x="1221" y="265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F5B1B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" name="Google Shape;1087;p57">
              <a:extLst>
                <a:ext uri="{FF2B5EF4-FFF2-40B4-BE49-F238E27FC236}">
                  <a16:creationId xmlns:a16="http://schemas.microsoft.com/office/drawing/2014/main" id="{39ECD037-ABE9-A502-6EDE-B376C76F5360}"/>
                </a:ext>
              </a:extLst>
            </p:cNvPr>
            <p:cNvSpPr/>
            <p:nvPr/>
          </p:nvSpPr>
          <p:spPr>
            <a:xfrm>
              <a:off x="7523064" y="4934988"/>
              <a:ext cx="10314" cy="11210"/>
            </a:xfrm>
            <a:custGeom>
              <a:avLst/>
              <a:gdLst/>
              <a:ahLst/>
              <a:cxnLst/>
              <a:rect l="l" t="t" r="r" b="b"/>
              <a:pathLst>
                <a:path w="1221" h="1327" fill="none" extrusionOk="0">
                  <a:moveTo>
                    <a:pt x="27" y="0"/>
                  </a:moveTo>
                  <a:lnTo>
                    <a:pt x="27" y="0"/>
                  </a:lnTo>
                  <a:lnTo>
                    <a:pt x="0" y="1327"/>
                  </a:lnTo>
                  <a:lnTo>
                    <a:pt x="0" y="1327"/>
                  </a:lnTo>
                  <a:lnTo>
                    <a:pt x="27" y="1327"/>
                  </a:lnTo>
                  <a:lnTo>
                    <a:pt x="27" y="1327"/>
                  </a:lnTo>
                  <a:lnTo>
                    <a:pt x="107" y="1300"/>
                  </a:lnTo>
                  <a:lnTo>
                    <a:pt x="107" y="1300"/>
                  </a:lnTo>
                  <a:lnTo>
                    <a:pt x="664" y="796"/>
                  </a:lnTo>
                  <a:lnTo>
                    <a:pt x="1221" y="265"/>
                  </a:lnTo>
                  <a:lnTo>
                    <a:pt x="1221" y="265"/>
                  </a:lnTo>
                  <a:lnTo>
                    <a:pt x="2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" name="Google Shape;1088;p57">
              <a:extLst>
                <a:ext uri="{FF2B5EF4-FFF2-40B4-BE49-F238E27FC236}">
                  <a16:creationId xmlns:a16="http://schemas.microsoft.com/office/drawing/2014/main" id="{FCDA10FF-BB29-EBED-0188-700F2E5E5EFB}"/>
                </a:ext>
              </a:extLst>
            </p:cNvPr>
            <p:cNvSpPr/>
            <p:nvPr/>
          </p:nvSpPr>
          <p:spPr>
            <a:xfrm>
              <a:off x="7623260" y="4920864"/>
              <a:ext cx="62545" cy="32734"/>
            </a:xfrm>
            <a:custGeom>
              <a:avLst/>
              <a:gdLst/>
              <a:ahLst/>
              <a:cxnLst/>
              <a:rect l="l" t="t" r="r" b="b"/>
              <a:pathLst>
                <a:path w="7404" h="3875" extrusionOk="0">
                  <a:moveTo>
                    <a:pt x="7165" y="0"/>
                  </a:moveTo>
                  <a:lnTo>
                    <a:pt x="6262" y="107"/>
                  </a:lnTo>
                  <a:lnTo>
                    <a:pt x="5334" y="213"/>
                  </a:lnTo>
                  <a:lnTo>
                    <a:pt x="4432" y="399"/>
                  </a:lnTo>
                  <a:lnTo>
                    <a:pt x="3503" y="584"/>
                  </a:lnTo>
                  <a:lnTo>
                    <a:pt x="2601" y="850"/>
                  </a:lnTo>
                  <a:lnTo>
                    <a:pt x="2176" y="982"/>
                  </a:lnTo>
                  <a:lnTo>
                    <a:pt x="1725" y="1141"/>
                  </a:lnTo>
                  <a:lnTo>
                    <a:pt x="1274" y="1327"/>
                  </a:lnTo>
                  <a:lnTo>
                    <a:pt x="849" y="1539"/>
                  </a:lnTo>
                  <a:lnTo>
                    <a:pt x="425" y="1752"/>
                  </a:lnTo>
                  <a:lnTo>
                    <a:pt x="0" y="1991"/>
                  </a:lnTo>
                  <a:lnTo>
                    <a:pt x="266" y="3875"/>
                  </a:lnTo>
                  <a:lnTo>
                    <a:pt x="611" y="3768"/>
                  </a:lnTo>
                  <a:lnTo>
                    <a:pt x="956" y="3662"/>
                  </a:lnTo>
                  <a:lnTo>
                    <a:pt x="1300" y="3583"/>
                  </a:lnTo>
                  <a:lnTo>
                    <a:pt x="1672" y="3503"/>
                  </a:lnTo>
                  <a:lnTo>
                    <a:pt x="2043" y="3476"/>
                  </a:lnTo>
                  <a:lnTo>
                    <a:pt x="2415" y="3423"/>
                  </a:lnTo>
                  <a:lnTo>
                    <a:pt x="3184" y="3397"/>
                  </a:lnTo>
                  <a:lnTo>
                    <a:pt x="3742" y="3423"/>
                  </a:lnTo>
                  <a:lnTo>
                    <a:pt x="4299" y="3450"/>
                  </a:lnTo>
                  <a:lnTo>
                    <a:pt x="5360" y="3556"/>
                  </a:lnTo>
                  <a:lnTo>
                    <a:pt x="6422" y="3715"/>
                  </a:lnTo>
                  <a:lnTo>
                    <a:pt x="7403" y="3875"/>
                  </a:lnTo>
                  <a:lnTo>
                    <a:pt x="716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" name="Google Shape;1089;p57">
              <a:extLst>
                <a:ext uri="{FF2B5EF4-FFF2-40B4-BE49-F238E27FC236}">
                  <a16:creationId xmlns:a16="http://schemas.microsoft.com/office/drawing/2014/main" id="{CCAF1F28-CA9C-B40A-2703-E932790FB51B}"/>
                </a:ext>
              </a:extLst>
            </p:cNvPr>
            <p:cNvSpPr/>
            <p:nvPr/>
          </p:nvSpPr>
          <p:spPr>
            <a:xfrm>
              <a:off x="7623260" y="4920864"/>
              <a:ext cx="62545" cy="32734"/>
            </a:xfrm>
            <a:custGeom>
              <a:avLst/>
              <a:gdLst/>
              <a:ahLst/>
              <a:cxnLst/>
              <a:rect l="l" t="t" r="r" b="b"/>
              <a:pathLst>
                <a:path w="7404" h="3875" fill="none" extrusionOk="0">
                  <a:moveTo>
                    <a:pt x="7165" y="0"/>
                  </a:moveTo>
                  <a:lnTo>
                    <a:pt x="7165" y="0"/>
                  </a:lnTo>
                  <a:lnTo>
                    <a:pt x="6262" y="107"/>
                  </a:lnTo>
                  <a:lnTo>
                    <a:pt x="5334" y="213"/>
                  </a:lnTo>
                  <a:lnTo>
                    <a:pt x="4432" y="399"/>
                  </a:lnTo>
                  <a:lnTo>
                    <a:pt x="3503" y="584"/>
                  </a:lnTo>
                  <a:lnTo>
                    <a:pt x="2601" y="850"/>
                  </a:lnTo>
                  <a:lnTo>
                    <a:pt x="2176" y="982"/>
                  </a:lnTo>
                  <a:lnTo>
                    <a:pt x="1725" y="1141"/>
                  </a:lnTo>
                  <a:lnTo>
                    <a:pt x="1274" y="1327"/>
                  </a:lnTo>
                  <a:lnTo>
                    <a:pt x="849" y="1539"/>
                  </a:lnTo>
                  <a:lnTo>
                    <a:pt x="425" y="1752"/>
                  </a:lnTo>
                  <a:lnTo>
                    <a:pt x="0" y="1991"/>
                  </a:lnTo>
                  <a:lnTo>
                    <a:pt x="0" y="1991"/>
                  </a:lnTo>
                  <a:lnTo>
                    <a:pt x="266" y="3875"/>
                  </a:lnTo>
                  <a:lnTo>
                    <a:pt x="266" y="3875"/>
                  </a:lnTo>
                  <a:lnTo>
                    <a:pt x="611" y="3768"/>
                  </a:lnTo>
                  <a:lnTo>
                    <a:pt x="956" y="3662"/>
                  </a:lnTo>
                  <a:lnTo>
                    <a:pt x="1300" y="3583"/>
                  </a:lnTo>
                  <a:lnTo>
                    <a:pt x="1672" y="3503"/>
                  </a:lnTo>
                  <a:lnTo>
                    <a:pt x="2043" y="3476"/>
                  </a:lnTo>
                  <a:lnTo>
                    <a:pt x="2415" y="3423"/>
                  </a:lnTo>
                  <a:lnTo>
                    <a:pt x="3184" y="3397"/>
                  </a:lnTo>
                  <a:lnTo>
                    <a:pt x="3184" y="3397"/>
                  </a:lnTo>
                  <a:lnTo>
                    <a:pt x="3742" y="3423"/>
                  </a:lnTo>
                  <a:lnTo>
                    <a:pt x="4299" y="3450"/>
                  </a:lnTo>
                  <a:lnTo>
                    <a:pt x="5360" y="3556"/>
                  </a:lnTo>
                  <a:lnTo>
                    <a:pt x="6422" y="3715"/>
                  </a:lnTo>
                  <a:lnTo>
                    <a:pt x="7403" y="3875"/>
                  </a:lnTo>
                  <a:lnTo>
                    <a:pt x="7403" y="3875"/>
                  </a:lnTo>
                  <a:lnTo>
                    <a:pt x="716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" name="Google Shape;1090;p57">
              <a:extLst>
                <a:ext uri="{FF2B5EF4-FFF2-40B4-BE49-F238E27FC236}">
                  <a16:creationId xmlns:a16="http://schemas.microsoft.com/office/drawing/2014/main" id="{E64A09F7-96AB-EA4B-72D6-7791663EDC7B}"/>
                </a:ext>
              </a:extLst>
            </p:cNvPr>
            <p:cNvSpPr/>
            <p:nvPr/>
          </p:nvSpPr>
          <p:spPr>
            <a:xfrm>
              <a:off x="7404267" y="4570293"/>
              <a:ext cx="366039" cy="373439"/>
            </a:xfrm>
            <a:custGeom>
              <a:avLst/>
              <a:gdLst/>
              <a:ahLst/>
              <a:cxnLst/>
              <a:rect l="l" t="t" r="r" b="b"/>
              <a:pathLst>
                <a:path w="43331" h="44207" extrusionOk="0">
                  <a:moveTo>
                    <a:pt x="21971" y="1"/>
                  </a:moveTo>
                  <a:lnTo>
                    <a:pt x="21360" y="27"/>
                  </a:lnTo>
                  <a:lnTo>
                    <a:pt x="20724" y="80"/>
                  </a:lnTo>
                  <a:lnTo>
                    <a:pt x="20113" y="160"/>
                  </a:lnTo>
                  <a:lnTo>
                    <a:pt x="19476" y="293"/>
                  </a:lnTo>
                  <a:lnTo>
                    <a:pt x="18866" y="452"/>
                  </a:lnTo>
                  <a:lnTo>
                    <a:pt x="18229" y="637"/>
                  </a:lnTo>
                  <a:lnTo>
                    <a:pt x="17619" y="876"/>
                  </a:lnTo>
                  <a:lnTo>
                    <a:pt x="17009" y="1168"/>
                  </a:lnTo>
                  <a:lnTo>
                    <a:pt x="16584" y="1380"/>
                  </a:lnTo>
                  <a:lnTo>
                    <a:pt x="16186" y="1619"/>
                  </a:lnTo>
                  <a:lnTo>
                    <a:pt x="15762" y="1885"/>
                  </a:lnTo>
                  <a:lnTo>
                    <a:pt x="15364" y="2176"/>
                  </a:lnTo>
                  <a:lnTo>
                    <a:pt x="14966" y="2468"/>
                  </a:lnTo>
                  <a:lnTo>
                    <a:pt x="14568" y="2787"/>
                  </a:lnTo>
                  <a:lnTo>
                    <a:pt x="14196" y="3158"/>
                  </a:lnTo>
                  <a:lnTo>
                    <a:pt x="13798" y="3530"/>
                  </a:lnTo>
                  <a:lnTo>
                    <a:pt x="13772" y="3609"/>
                  </a:lnTo>
                  <a:lnTo>
                    <a:pt x="13161" y="4618"/>
                  </a:lnTo>
                  <a:lnTo>
                    <a:pt x="12604" y="5626"/>
                  </a:lnTo>
                  <a:lnTo>
                    <a:pt x="12126" y="6661"/>
                  </a:lnTo>
                  <a:lnTo>
                    <a:pt x="11675" y="7669"/>
                  </a:lnTo>
                  <a:lnTo>
                    <a:pt x="11304" y="8704"/>
                  </a:lnTo>
                  <a:lnTo>
                    <a:pt x="10959" y="9739"/>
                  </a:lnTo>
                  <a:lnTo>
                    <a:pt x="10667" y="10774"/>
                  </a:lnTo>
                  <a:lnTo>
                    <a:pt x="10402" y="11835"/>
                  </a:lnTo>
                  <a:lnTo>
                    <a:pt x="10163" y="12896"/>
                  </a:lnTo>
                  <a:lnTo>
                    <a:pt x="9951" y="13958"/>
                  </a:lnTo>
                  <a:lnTo>
                    <a:pt x="9553" y="16107"/>
                  </a:lnTo>
                  <a:lnTo>
                    <a:pt x="9181" y="18283"/>
                  </a:lnTo>
                  <a:lnTo>
                    <a:pt x="8810" y="20512"/>
                  </a:lnTo>
                  <a:lnTo>
                    <a:pt x="8597" y="21653"/>
                  </a:lnTo>
                  <a:lnTo>
                    <a:pt x="8358" y="22767"/>
                  </a:lnTo>
                  <a:lnTo>
                    <a:pt x="8093" y="23935"/>
                  </a:lnTo>
                  <a:lnTo>
                    <a:pt x="7801" y="25076"/>
                  </a:lnTo>
                  <a:lnTo>
                    <a:pt x="7483" y="26243"/>
                  </a:lnTo>
                  <a:lnTo>
                    <a:pt x="7111" y="27437"/>
                  </a:lnTo>
                  <a:lnTo>
                    <a:pt x="6713" y="28631"/>
                  </a:lnTo>
                  <a:lnTo>
                    <a:pt x="6236" y="29852"/>
                  </a:lnTo>
                  <a:lnTo>
                    <a:pt x="5732" y="31072"/>
                  </a:lnTo>
                  <a:lnTo>
                    <a:pt x="5148" y="32293"/>
                  </a:lnTo>
                  <a:lnTo>
                    <a:pt x="4484" y="33540"/>
                  </a:lnTo>
                  <a:lnTo>
                    <a:pt x="3741" y="34787"/>
                  </a:lnTo>
                  <a:lnTo>
                    <a:pt x="2945" y="36087"/>
                  </a:lnTo>
                  <a:lnTo>
                    <a:pt x="2521" y="36724"/>
                  </a:lnTo>
                  <a:lnTo>
                    <a:pt x="2043" y="37361"/>
                  </a:lnTo>
                  <a:lnTo>
                    <a:pt x="1566" y="38024"/>
                  </a:lnTo>
                  <a:lnTo>
                    <a:pt x="1088" y="38661"/>
                  </a:lnTo>
                  <a:lnTo>
                    <a:pt x="557" y="39325"/>
                  </a:lnTo>
                  <a:lnTo>
                    <a:pt x="0" y="39988"/>
                  </a:lnTo>
                  <a:lnTo>
                    <a:pt x="212" y="40227"/>
                  </a:lnTo>
                  <a:lnTo>
                    <a:pt x="451" y="40439"/>
                  </a:lnTo>
                  <a:lnTo>
                    <a:pt x="717" y="40651"/>
                  </a:lnTo>
                  <a:lnTo>
                    <a:pt x="1008" y="40811"/>
                  </a:lnTo>
                  <a:lnTo>
                    <a:pt x="1300" y="40970"/>
                  </a:lnTo>
                  <a:lnTo>
                    <a:pt x="1619" y="41102"/>
                  </a:lnTo>
                  <a:lnTo>
                    <a:pt x="1964" y="41209"/>
                  </a:lnTo>
                  <a:lnTo>
                    <a:pt x="2335" y="41288"/>
                  </a:lnTo>
                  <a:lnTo>
                    <a:pt x="2707" y="41368"/>
                  </a:lnTo>
                  <a:lnTo>
                    <a:pt x="3078" y="41447"/>
                  </a:lnTo>
                  <a:lnTo>
                    <a:pt x="3901" y="41527"/>
                  </a:lnTo>
                  <a:lnTo>
                    <a:pt x="4723" y="41580"/>
                  </a:lnTo>
                  <a:lnTo>
                    <a:pt x="5572" y="41607"/>
                  </a:lnTo>
                  <a:lnTo>
                    <a:pt x="7297" y="41633"/>
                  </a:lnTo>
                  <a:lnTo>
                    <a:pt x="8120" y="41633"/>
                  </a:lnTo>
                  <a:lnTo>
                    <a:pt x="8916" y="41686"/>
                  </a:lnTo>
                  <a:lnTo>
                    <a:pt x="9659" y="41739"/>
                  </a:lnTo>
                  <a:lnTo>
                    <a:pt x="10349" y="41845"/>
                  </a:lnTo>
                  <a:lnTo>
                    <a:pt x="10640" y="41925"/>
                  </a:lnTo>
                  <a:lnTo>
                    <a:pt x="10932" y="42031"/>
                  </a:lnTo>
                  <a:lnTo>
                    <a:pt x="11224" y="42137"/>
                  </a:lnTo>
                  <a:lnTo>
                    <a:pt x="11463" y="42243"/>
                  </a:lnTo>
                  <a:lnTo>
                    <a:pt x="11808" y="42429"/>
                  </a:lnTo>
                  <a:lnTo>
                    <a:pt x="12286" y="42615"/>
                  </a:lnTo>
                  <a:lnTo>
                    <a:pt x="12816" y="42801"/>
                  </a:lnTo>
                  <a:lnTo>
                    <a:pt x="13453" y="42986"/>
                  </a:lnTo>
                  <a:lnTo>
                    <a:pt x="14063" y="43172"/>
                  </a:lnTo>
                  <a:lnTo>
                    <a:pt x="14780" y="43331"/>
                  </a:lnTo>
                  <a:lnTo>
                    <a:pt x="15549" y="43491"/>
                  </a:lnTo>
                  <a:lnTo>
                    <a:pt x="16398" y="43650"/>
                  </a:lnTo>
                  <a:lnTo>
                    <a:pt x="17274" y="43782"/>
                  </a:lnTo>
                  <a:lnTo>
                    <a:pt x="18176" y="43915"/>
                  </a:lnTo>
                  <a:lnTo>
                    <a:pt x="19078" y="44021"/>
                  </a:lnTo>
                  <a:lnTo>
                    <a:pt x="20007" y="44101"/>
                  </a:lnTo>
                  <a:lnTo>
                    <a:pt x="20909" y="44154"/>
                  </a:lnTo>
                  <a:lnTo>
                    <a:pt x="21785" y="44207"/>
                  </a:lnTo>
                  <a:lnTo>
                    <a:pt x="22607" y="44207"/>
                  </a:lnTo>
                  <a:lnTo>
                    <a:pt x="23404" y="44154"/>
                  </a:lnTo>
                  <a:lnTo>
                    <a:pt x="24093" y="44101"/>
                  </a:lnTo>
                  <a:lnTo>
                    <a:pt x="24730" y="43995"/>
                  </a:lnTo>
                  <a:lnTo>
                    <a:pt x="25022" y="43915"/>
                  </a:lnTo>
                  <a:lnTo>
                    <a:pt x="25261" y="43836"/>
                  </a:lnTo>
                  <a:lnTo>
                    <a:pt x="25500" y="43729"/>
                  </a:lnTo>
                  <a:lnTo>
                    <a:pt x="25685" y="43623"/>
                  </a:lnTo>
                  <a:lnTo>
                    <a:pt x="26216" y="43305"/>
                  </a:lnTo>
                  <a:lnTo>
                    <a:pt x="26773" y="43039"/>
                  </a:lnTo>
                  <a:lnTo>
                    <a:pt x="27331" y="42774"/>
                  </a:lnTo>
                  <a:lnTo>
                    <a:pt x="27888" y="42562"/>
                  </a:lnTo>
                  <a:lnTo>
                    <a:pt x="28445" y="42376"/>
                  </a:lnTo>
                  <a:lnTo>
                    <a:pt x="29002" y="42190"/>
                  </a:lnTo>
                  <a:lnTo>
                    <a:pt x="29586" y="42058"/>
                  </a:lnTo>
                  <a:lnTo>
                    <a:pt x="30170" y="41925"/>
                  </a:lnTo>
                  <a:lnTo>
                    <a:pt x="31311" y="41713"/>
                  </a:lnTo>
                  <a:lnTo>
                    <a:pt x="32478" y="41554"/>
                  </a:lnTo>
                  <a:lnTo>
                    <a:pt x="33646" y="41421"/>
                  </a:lnTo>
                  <a:lnTo>
                    <a:pt x="34813" y="41315"/>
                  </a:lnTo>
                  <a:lnTo>
                    <a:pt x="35954" y="41209"/>
                  </a:lnTo>
                  <a:lnTo>
                    <a:pt x="37069" y="41049"/>
                  </a:lnTo>
                  <a:lnTo>
                    <a:pt x="38183" y="40890"/>
                  </a:lnTo>
                  <a:lnTo>
                    <a:pt x="38714" y="40758"/>
                  </a:lnTo>
                  <a:lnTo>
                    <a:pt x="39245" y="40625"/>
                  </a:lnTo>
                  <a:lnTo>
                    <a:pt x="39775" y="40492"/>
                  </a:lnTo>
                  <a:lnTo>
                    <a:pt x="40279" y="40306"/>
                  </a:lnTo>
                  <a:lnTo>
                    <a:pt x="40784" y="40121"/>
                  </a:lnTo>
                  <a:lnTo>
                    <a:pt x="41261" y="39908"/>
                  </a:lnTo>
                  <a:lnTo>
                    <a:pt x="41739" y="39643"/>
                  </a:lnTo>
                  <a:lnTo>
                    <a:pt x="42216" y="39351"/>
                  </a:lnTo>
                  <a:lnTo>
                    <a:pt x="42668" y="39033"/>
                  </a:lnTo>
                  <a:lnTo>
                    <a:pt x="43092" y="38688"/>
                  </a:lnTo>
                  <a:lnTo>
                    <a:pt x="43172" y="38608"/>
                  </a:lnTo>
                  <a:lnTo>
                    <a:pt x="43251" y="38476"/>
                  </a:lnTo>
                  <a:lnTo>
                    <a:pt x="43304" y="38290"/>
                  </a:lnTo>
                  <a:lnTo>
                    <a:pt x="43331" y="38104"/>
                  </a:lnTo>
                  <a:lnTo>
                    <a:pt x="43331" y="37865"/>
                  </a:lnTo>
                  <a:lnTo>
                    <a:pt x="43331" y="37600"/>
                  </a:lnTo>
                  <a:lnTo>
                    <a:pt x="43278" y="36990"/>
                  </a:lnTo>
                  <a:lnTo>
                    <a:pt x="43172" y="36273"/>
                  </a:lnTo>
                  <a:lnTo>
                    <a:pt x="43013" y="35424"/>
                  </a:lnTo>
                  <a:lnTo>
                    <a:pt x="42774" y="34495"/>
                  </a:lnTo>
                  <a:lnTo>
                    <a:pt x="42508" y="33487"/>
                  </a:lnTo>
                  <a:lnTo>
                    <a:pt x="42216" y="32399"/>
                  </a:lnTo>
                  <a:lnTo>
                    <a:pt x="41845" y="31232"/>
                  </a:lnTo>
                  <a:lnTo>
                    <a:pt x="41049" y="28711"/>
                  </a:lnTo>
                  <a:lnTo>
                    <a:pt x="40120" y="26004"/>
                  </a:lnTo>
                  <a:lnTo>
                    <a:pt x="39112" y="23165"/>
                  </a:lnTo>
                  <a:lnTo>
                    <a:pt x="38024" y="20273"/>
                  </a:lnTo>
                  <a:lnTo>
                    <a:pt x="36936" y="17381"/>
                  </a:lnTo>
                  <a:lnTo>
                    <a:pt x="35822" y="14542"/>
                  </a:lnTo>
                  <a:lnTo>
                    <a:pt x="34760" y="11808"/>
                  </a:lnTo>
                  <a:lnTo>
                    <a:pt x="32850" y="7006"/>
                  </a:lnTo>
                  <a:lnTo>
                    <a:pt x="31443" y="3477"/>
                  </a:lnTo>
                  <a:lnTo>
                    <a:pt x="31205" y="2946"/>
                  </a:lnTo>
                  <a:lnTo>
                    <a:pt x="30992" y="2495"/>
                  </a:lnTo>
                  <a:lnTo>
                    <a:pt x="30647" y="2309"/>
                  </a:lnTo>
                  <a:lnTo>
                    <a:pt x="30249" y="2097"/>
                  </a:lnTo>
                  <a:lnTo>
                    <a:pt x="29719" y="1832"/>
                  </a:lnTo>
                  <a:lnTo>
                    <a:pt x="29055" y="1540"/>
                  </a:lnTo>
                  <a:lnTo>
                    <a:pt x="28286" y="1221"/>
                  </a:lnTo>
                  <a:lnTo>
                    <a:pt x="27410" y="903"/>
                  </a:lnTo>
                  <a:lnTo>
                    <a:pt x="26455" y="611"/>
                  </a:lnTo>
                  <a:lnTo>
                    <a:pt x="25951" y="478"/>
                  </a:lnTo>
                  <a:lnTo>
                    <a:pt x="25420" y="346"/>
                  </a:lnTo>
                  <a:lnTo>
                    <a:pt x="24863" y="239"/>
                  </a:lnTo>
                  <a:lnTo>
                    <a:pt x="24306" y="160"/>
                  </a:lnTo>
                  <a:lnTo>
                    <a:pt x="23748" y="80"/>
                  </a:lnTo>
                  <a:lnTo>
                    <a:pt x="23165" y="27"/>
                  </a:lnTo>
                  <a:lnTo>
                    <a:pt x="22554" y="1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" name="Google Shape;1091;p57">
              <a:extLst>
                <a:ext uri="{FF2B5EF4-FFF2-40B4-BE49-F238E27FC236}">
                  <a16:creationId xmlns:a16="http://schemas.microsoft.com/office/drawing/2014/main" id="{83CEEC04-206C-4954-540C-57D8431811FC}"/>
                </a:ext>
              </a:extLst>
            </p:cNvPr>
            <p:cNvSpPr/>
            <p:nvPr/>
          </p:nvSpPr>
          <p:spPr>
            <a:xfrm>
              <a:off x="7404267" y="4570293"/>
              <a:ext cx="366039" cy="373439"/>
            </a:xfrm>
            <a:custGeom>
              <a:avLst/>
              <a:gdLst/>
              <a:ahLst/>
              <a:cxnLst/>
              <a:rect l="l" t="t" r="r" b="b"/>
              <a:pathLst>
                <a:path w="43331" h="44207" fill="none" extrusionOk="0">
                  <a:moveTo>
                    <a:pt x="0" y="39988"/>
                  </a:moveTo>
                  <a:lnTo>
                    <a:pt x="0" y="39988"/>
                  </a:lnTo>
                  <a:lnTo>
                    <a:pt x="212" y="40227"/>
                  </a:lnTo>
                  <a:lnTo>
                    <a:pt x="451" y="40439"/>
                  </a:lnTo>
                  <a:lnTo>
                    <a:pt x="717" y="40651"/>
                  </a:lnTo>
                  <a:lnTo>
                    <a:pt x="1008" y="40811"/>
                  </a:lnTo>
                  <a:lnTo>
                    <a:pt x="1300" y="40970"/>
                  </a:lnTo>
                  <a:lnTo>
                    <a:pt x="1619" y="41102"/>
                  </a:lnTo>
                  <a:lnTo>
                    <a:pt x="1964" y="41209"/>
                  </a:lnTo>
                  <a:lnTo>
                    <a:pt x="2335" y="41288"/>
                  </a:lnTo>
                  <a:lnTo>
                    <a:pt x="2707" y="41368"/>
                  </a:lnTo>
                  <a:lnTo>
                    <a:pt x="3078" y="41447"/>
                  </a:lnTo>
                  <a:lnTo>
                    <a:pt x="3901" y="41527"/>
                  </a:lnTo>
                  <a:lnTo>
                    <a:pt x="4723" y="41580"/>
                  </a:lnTo>
                  <a:lnTo>
                    <a:pt x="5572" y="41607"/>
                  </a:lnTo>
                  <a:lnTo>
                    <a:pt x="7297" y="41633"/>
                  </a:lnTo>
                  <a:lnTo>
                    <a:pt x="8120" y="41633"/>
                  </a:lnTo>
                  <a:lnTo>
                    <a:pt x="8916" y="41686"/>
                  </a:lnTo>
                  <a:lnTo>
                    <a:pt x="9659" y="41739"/>
                  </a:lnTo>
                  <a:lnTo>
                    <a:pt x="10349" y="41845"/>
                  </a:lnTo>
                  <a:lnTo>
                    <a:pt x="10640" y="41925"/>
                  </a:lnTo>
                  <a:lnTo>
                    <a:pt x="10932" y="42031"/>
                  </a:lnTo>
                  <a:lnTo>
                    <a:pt x="11224" y="42137"/>
                  </a:lnTo>
                  <a:lnTo>
                    <a:pt x="11463" y="42243"/>
                  </a:lnTo>
                  <a:lnTo>
                    <a:pt x="11463" y="42243"/>
                  </a:lnTo>
                  <a:lnTo>
                    <a:pt x="11808" y="42429"/>
                  </a:lnTo>
                  <a:lnTo>
                    <a:pt x="12286" y="42615"/>
                  </a:lnTo>
                  <a:lnTo>
                    <a:pt x="12816" y="42801"/>
                  </a:lnTo>
                  <a:lnTo>
                    <a:pt x="13453" y="42986"/>
                  </a:lnTo>
                  <a:lnTo>
                    <a:pt x="13453" y="42986"/>
                  </a:lnTo>
                  <a:lnTo>
                    <a:pt x="14063" y="43172"/>
                  </a:lnTo>
                  <a:lnTo>
                    <a:pt x="14780" y="43331"/>
                  </a:lnTo>
                  <a:lnTo>
                    <a:pt x="15549" y="43491"/>
                  </a:lnTo>
                  <a:lnTo>
                    <a:pt x="16398" y="43650"/>
                  </a:lnTo>
                  <a:lnTo>
                    <a:pt x="17274" y="43782"/>
                  </a:lnTo>
                  <a:lnTo>
                    <a:pt x="18176" y="43915"/>
                  </a:lnTo>
                  <a:lnTo>
                    <a:pt x="19078" y="44021"/>
                  </a:lnTo>
                  <a:lnTo>
                    <a:pt x="20007" y="44101"/>
                  </a:lnTo>
                  <a:lnTo>
                    <a:pt x="20909" y="44154"/>
                  </a:lnTo>
                  <a:lnTo>
                    <a:pt x="21785" y="44207"/>
                  </a:lnTo>
                  <a:lnTo>
                    <a:pt x="22607" y="44207"/>
                  </a:lnTo>
                  <a:lnTo>
                    <a:pt x="23404" y="44154"/>
                  </a:lnTo>
                  <a:lnTo>
                    <a:pt x="24093" y="44101"/>
                  </a:lnTo>
                  <a:lnTo>
                    <a:pt x="24730" y="43995"/>
                  </a:lnTo>
                  <a:lnTo>
                    <a:pt x="25022" y="43915"/>
                  </a:lnTo>
                  <a:lnTo>
                    <a:pt x="25261" y="43836"/>
                  </a:lnTo>
                  <a:lnTo>
                    <a:pt x="25500" y="43729"/>
                  </a:lnTo>
                  <a:lnTo>
                    <a:pt x="25685" y="43623"/>
                  </a:lnTo>
                  <a:lnTo>
                    <a:pt x="25685" y="43623"/>
                  </a:lnTo>
                  <a:lnTo>
                    <a:pt x="26216" y="43305"/>
                  </a:lnTo>
                  <a:lnTo>
                    <a:pt x="26773" y="43039"/>
                  </a:lnTo>
                  <a:lnTo>
                    <a:pt x="27331" y="42774"/>
                  </a:lnTo>
                  <a:lnTo>
                    <a:pt x="27888" y="42562"/>
                  </a:lnTo>
                  <a:lnTo>
                    <a:pt x="28445" y="42376"/>
                  </a:lnTo>
                  <a:lnTo>
                    <a:pt x="29002" y="42190"/>
                  </a:lnTo>
                  <a:lnTo>
                    <a:pt x="29586" y="42058"/>
                  </a:lnTo>
                  <a:lnTo>
                    <a:pt x="30170" y="41925"/>
                  </a:lnTo>
                  <a:lnTo>
                    <a:pt x="31311" y="41713"/>
                  </a:lnTo>
                  <a:lnTo>
                    <a:pt x="32478" y="41554"/>
                  </a:lnTo>
                  <a:lnTo>
                    <a:pt x="33646" y="41421"/>
                  </a:lnTo>
                  <a:lnTo>
                    <a:pt x="34813" y="41315"/>
                  </a:lnTo>
                  <a:lnTo>
                    <a:pt x="35954" y="41209"/>
                  </a:lnTo>
                  <a:lnTo>
                    <a:pt x="37069" y="41049"/>
                  </a:lnTo>
                  <a:lnTo>
                    <a:pt x="38183" y="40890"/>
                  </a:lnTo>
                  <a:lnTo>
                    <a:pt x="38714" y="40758"/>
                  </a:lnTo>
                  <a:lnTo>
                    <a:pt x="39245" y="40625"/>
                  </a:lnTo>
                  <a:lnTo>
                    <a:pt x="39775" y="40492"/>
                  </a:lnTo>
                  <a:lnTo>
                    <a:pt x="40279" y="40306"/>
                  </a:lnTo>
                  <a:lnTo>
                    <a:pt x="40784" y="40121"/>
                  </a:lnTo>
                  <a:lnTo>
                    <a:pt x="41261" y="39908"/>
                  </a:lnTo>
                  <a:lnTo>
                    <a:pt x="41739" y="39643"/>
                  </a:lnTo>
                  <a:lnTo>
                    <a:pt x="42216" y="39351"/>
                  </a:lnTo>
                  <a:lnTo>
                    <a:pt x="42668" y="39033"/>
                  </a:lnTo>
                  <a:lnTo>
                    <a:pt x="43092" y="38688"/>
                  </a:lnTo>
                  <a:lnTo>
                    <a:pt x="43092" y="38688"/>
                  </a:lnTo>
                  <a:lnTo>
                    <a:pt x="43172" y="38608"/>
                  </a:lnTo>
                  <a:lnTo>
                    <a:pt x="43251" y="38476"/>
                  </a:lnTo>
                  <a:lnTo>
                    <a:pt x="43304" y="38290"/>
                  </a:lnTo>
                  <a:lnTo>
                    <a:pt x="43331" y="38104"/>
                  </a:lnTo>
                  <a:lnTo>
                    <a:pt x="43331" y="37865"/>
                  </a:lnTo>
                  <a:lnTo>
                    <a:pt x="43331" y="37600"/>
                  </a:lnTo>
                  <a:lnTo>
                    <a:pt x="43278" y="36990"/>
                  </a:lnTo>
                  <a:lnTo>
                    <a:pt x="43172" y="36273"/>
                  </a:lnTo>
                  <a:lnTo>
                    <a:pt x="43013" y="35424"/>
                  </a:lnTo>
                  <a:lnTo>
                    <a:pt x="42774" y="34495"/>
                  </a:lnTo>
                  <a:lnTo>
                    <a:pt x="42508" y="33487"/>
                  </a:lnTo>
                  <a:lnTo>
                    <a:pt x="42216" y="32399"/>
                  </a:lnTo>
                  <a:lnTo>
                    <a:pt x="41845" y="31232"/>
                  </a:lnTo>
                  <a:lnTo>
                    <a:pt x="41049" y="28711"/>
                  </a:lnTo>
                  <a:lnTo>
                    <a:pt x="40120" y="26004"/>
                  </a:lnTo>
                  <a:lnTo>
                    <a:pt x="39112" y="23165"/>
                  </a:lnTo>
                  <a:lnTo>
                    <a:pt x="38024" y="20273"/>
                  </a:lnTo>
                  <a:lnTo>
                    <a:pt x="36936" y="17381"/>
                  </a:lnTo>
                  <a:lnTo>
                    <a:pt x="35822" y="14542"/>
                  </a:lnTo>
                  <a:lnTo>
                    <a:pt x="34760" y="11808"/>
                  </a:lnTo>
                  <a:lnTo>
                    <a:pt x="32850" y="7006"/>
                  </a:lnTo>
                  <a:lnTo>
                    <a:pt x="31443" y="3477"/>
                  </a:lnTo>
                  <a:lnTo>
                    <a:pt x="31443" y="3477"/>
                  </a:lnTo>
                  <a:lnTo>
                    <a:pt x="31443" y="3477"/>
                  </a:lnTo>
                  <a:lnTo>
                    <a:pt x="31205" y="2946"/>
                  </a:lnTo>
                  <a:lnTo>
                    <a:pt x="30992" y="2495"/>
                  </a:lnTo>
                  <a:lnTo>
                    <a:pt x="30992" y="2495"/>
                  </a:lnTo>
                  <a:lnTo>
                    <a:pt x="30647" y="2309"/>
                  </a:lnTo>
                  <a:lnTo>
                    <a:pt x="30249" y="2097"/>
                  </a:lnTo>
                  <a:lnTo>
                    <a:pt x="29719" y="1832"/>
                  </a:lnTo>
                  <a:lnTo>
                    <a:pt x="29055" y="1540"/>
                  </a:lnTo>
                  <a:lnTo>
                    <a:pt x="28286" y="1221"/>
                  </a:lnTo>
                  <a:lnTo>
                    <a:pt x="27410" y="903"/>
                  </a:lnTo>
                  <a:lnTo>
                    <a:pt x="26455" y="611"/>
                  </a:lnTo>
                  <a:lnTo>
                    <a:pt x="25951" y="478"/>
                  </a:lnTo>
                  <a:lnTo>
                    <a:pt x="25420" y="346"/>
                  </a:lnTo>
                  <a:lnTo>
                    <a:pt x="24863" y="239"/>
                  </a:lnTo>
                  <a:lnTo>
                    <a:pt x="24306" y="160"/>
                  </a:lnTo>
                  <a:lnTo>
                    <a:pt x="23748" y="80"/>
                  </a:lnTo>
                  <a:lnTo>
                    <a:pt x="23165" y="27"/>
                  </a:lnTo>
                  <a:lnTo>
                    <a:pt x="22554" y="1"/>
                  </a:lnTo>
                  <a:lnTo>
                    <a:pt x="21971" y="1"/>
                  </a:lnTo>
                  <a:lnTo>
                    <a:pt x="21360" y="27"/>
                  </a:lnTo>
                  <a:lnTo>
                    <a:pt x="20724" y="80"/>
                  </a:lnTo>
                  <a:lnTo>
                    <a:pt x="20113" y="160"/>
                  </a:lnTo>
                  <a:lnTo>
                    <a:pt x="19476" y="293"/>
                  </a:lnTo>
                  <a:lnTo>
                    <a:pt x="18866" y="452"/>
                  </a:lnTo>
                  <a:lnTo>
                    <a:pt x="18229" y="637"/>
                  </a:lnTo>
                  <a:lnTo>
                    <a:pt x="17619" y="876"/>
                  </a:lnTo>
                  <a:lnTo>
                    <a:pt x="17009" y="1168"/>
                  </a:lnTo>
                  <a:lnTo>
                    <a:pt x="17009" y="1168"/>
                  </a:lnTo>
                  <a:lnTo>
                    <a:pt x="16584" y="1380"/>
                  </a:lnTo>
                  <a:lnTo>
                    <a:pt x="16186" y="1619"/>
                  </a:lnTo>
                  <a:lnTo>
                    <a:pt x="15762" y="1885"/>
                  </a:lnTo>
                  <a:lnTo>
                    <a:pt x="15364" y="2176"/>
                  </a:lnTo>
                  <a:lnTo>
                    <a:pt x="14966" y="2468"/>
                  </a:lnTo>
                  <a:lnTo>
                    <a:pt x="14568" y="2787"/>
                  </a:lnTo>
                  <a:lnTo>
                    <a:pt x="14196" y="3158"/>
                  </a:lnTo>
                  <a:lnTo>
                    <a:pt x="13798" y="3530"/>
                  </a:lnTo>
                  <a:lnTo>
                    <a:pt x="13798" y="3530"/>
                  </a:lnTo>
                  <a:lnTo>
                    <a:pt x="13772" y="3609"/>
                  </a:lnTo>
                  <a:lnTo>
                    <a:pt x="13772" y="3609"/>
                  </a:lnTo>
                  <a:lnTo>
                    <a:pt x="13161" y="4618"/>
                  </a:lnTo>
                  <a:lnTo>
                    <a:pt x="12604" y="5626"/>
                  </a:lnTo>
                  <a:lnTo>
                    <a:pt x="12126" y="6661"/>
                  </a:lnTo>
                  <a:lnTo>
                    <a:pt x="11675" y="7669"/>
                  </a:lnTo>
                  <a:lnTo>
                    <a:pt x="11304" y="8704"/>
                  </a:lnTo>
                  <a:lnTo>
                    <a:pt x="10959" y="9739"/>
                  </a:lnTo>
                  <a:lnTo>
                    <a:pt x="10667" y="10774"/>
                  </a:lnTo>
                  <a:lnTo>
                    <a:pt x="10402" y="11835"/>
                  </a:lnTo>
                  <a:lnTo>
                    <a:pt x="10163" y="12896"/>
                  </a:lnTo>
                  <a:lnTo>
                    <a:pt x="9951" y="13958"/>
                  </a:lnTo>
                  <a:lnTo>
                    <a:pt x="9553" y="16107"/>
                  </a:lnTo>
                  <a:lnTo>
                    <a:pt x="9181" y="18283"/>
                  </a:lnTo>
                  <a:lnTo>
                    <a:pt x="8810" y="20512"/>
                  </a:lnTo>
                  <a:lnTo>
                    <a:pt x="8597" y="21653"/>
                  </a:lnTo>
                  <a:lnTo>
                    <a:pt x="8358" y="22767"/>
                  </a:lnTo>
                  <a:lnTo>
                    <a:pt x="8093" y="23935"/>
                  </a:lnTo>
                  <a:lnTo>
                    <a:pt x="7801" y="25076"/>
                  </a:lnTo>
                  <a:lnTo>
                    <a:pt x="7483" y="26243"/>
                  </a:lnTo>
                  <a:lnTo>
                    <a:pt x="7111" y="27437"/>
                  </a:lnTo>
                  <a:lnTo>
                    <a:pt x="6713" y="28631"/>
                  </a:lnTo>
                  <a:lnTo>
                    <a:pt x="6236" y="29852"/>
                  </a:lnTo>
                  <a:lnTo>
                    <a:pt x="5732" y="31072"/>
                  </a:lnTo>
                  <a:lnTo>
                    <a:pt x="5148" y="32293"/>
                  </a:lnTo>
                  <a:lnTo>
                    <a:pt x="4484" y="33540"/>
                  </a:lnTo>
                  <a:lnTo>
                    <a:pt x="3741" y="34787"/>
                  </a:lnTo>
                  <a:lnTo>
                    <a:pt x="2945" y="36087"/>
                  </a:lnTo>
                  <a:lnTo>
                    <a:pt x="2521" y="36724"/>
                  </a:lnTo>
                  <a:lnTo>
                    <a:pt x="2043" y="37361"/>
                  </a:lnTo>
                  <a:lnTo>
                    <a:pt x="1566" y="38024"/>
                  </a:lnTo>
                  <a:lnTo>
                    <a:pt x="1088" y="38661"/>
                  </a:lnTo>
                  <a:lnTo>
                    <a:pt x="557" y="39325"/>
                  </a:lnTo>
                  <a:lnTo>
                    <a:pt x="0" y="39988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" name="Google Shape;1092;p57">
              <a:extLst>
                <a:ext uri="{FF2B5EF4-FFF2-40B4-BE49-F238E27FC236}">
                  <a16:creationId xmlns:a16="http://schemas.microsoft.com/office/drawing/2014/main" id="{A2E43336-9674-F0EF-B58A-0EAF2FF3B616}"/>
                </a:ext>
              </a:extLst>
            </p:cNvPr>
            <p:cNvSpPr/>
            <p:nvPr/>
          </p:nvSpPr>
          <p:spPr>
            <a:xfrm>
              <a:off x="7515216" y="4163689"/>
              <a:ext cx="232906" cy="448757"/>
            </a:xfrm>
            <a:custGeom>
              <a:avLst/>
              <a:gdLst/>
              <a:ahLst/>
              <a:cxnLst/>
              <a:rect l="l" t="t" r="r" b="b"/>
              <a:pathLst>
                <a:path w="27571" h="53123" extrusionOk="0">
                  <a:moveTo>
                    <a:pt x="21149" y="0"/>
                  </a:moveTo>
                  <a:lnTo>
                    <a:pt x="20804" y="53"/>
                  </a:lnTo>
                  <a:lnTo>
                    <a:pt x="20538" y="159"/>
                  </a:lnTo>
                  <a:lnTo>
                    <a:pt x="20432" y="213"/>
                  </a:lnTo>
                  <a:lnTo>
                    <a:pt x="20353" y="266"/>
                  </a:lnTo>
                  <a:lnTo>
                    <a:pt x="20300" y="345"/>
                  </a:lnTo>
                  <a:lnTo>
                    <a:pt x="20273" y="425"/>
                  </a:lnTo>
                  <a:lnTo>
                    <a:pt x="20246" y="743"/>
                  </a:lnTo>
                  <a:lnTo>
                    <a:pt x="20246" y="1300"/>
                  </a:lnTo>
                  <a:lnTo>
                    <a:pt x="20300" y="2999"/>
                  </a:lnTo>
                  <a:lnTo>
                    <a:pt x="20353" y="5254"/>
                  </a:lnTo>
                  <a:lnTo>
                    <a:pt x="20379" y="7828"/>
                  </a:lnTo>
                  <a:lnTo>
                    <a:pt x="20406" y="10428"/>
                  </a:lnTo>
                  <a:lnTo>
                    <a:pt x="20379" y="11675"/>
                  </a:lnTo>
                  <a:lnTo>
                    <a:pt x="20326" y="12843"/>
                  </a:lnTo>
                  <a:lnTo>
                    <a:pt x="20273" y="13904"/>
                  </a:lnTo>
                  <a:lnTo>
                    <a:pt x="20167" y="14806"/>
                  </a:lnTo>
                  <a:lnTo>
                    <a:pt x="20114" y="15178"/>
                  </a:lnTo>
                  <a:lnTo>
                    <a:pt x="20034" y="15523"/>
                  </a:lnTo>
                  <a:lnTo>
                    <a:pt x="19955" y="15815"/>
                  </a:lnTo>
                  <a:lnTo>
                    <a:pt x="19875" y="16027"/>
                  </a:lnTo>
                  <a:lnTo>
                    <a:pt x="19795" y="16213"/>
                  </a:lnTo>
                  <a:lnTo>
                    <a:pt x="19663" y="16399"/>
                  </a:lnTo>
                  <a:lnTo>
                    <a:pt x="19318" y="16823"/>
                  </a:lnTo>
                  <a:lnTo>
                    <a:pt x="18867" y="17327"/>
                  </a:lnTo>
                  <a:lnTo>
                    <a:pt x="18336" y="17858"/>
                  </a:lnTo>
                  <a:lnTo>
                    <a:pt x="17726" y="18415"/>
                  </a:lnTo>
                  <a:lnTo>
                    <a:pt x="17089" y="18972"/>
                  </a:lnTo>
                  <a:lnTo>
                    <a:pt x="16399" y="19556"/>
                  </a:lnTo>
                  <a:lnTo>
                    <a:pt x="15683" y="20140"/>
                  </a:lnTo>
                  <a:lnTo>
                    <a:pt x="14276" y="21228"/>
                  </a:lnTo>
                  <a:lnTo>
                    <a:pt x="13003" y="22130"/>
                  </a:lnTo>
                  <a:lnTo>
                    <a:pt x="12472" y="22475"/>
                  </a:lnTo>
                  <a:lnTo>
                    <a:pt x="12021" y="22767"/>
                  </a:lnTo>
                  <a:lnTo>
                    <a:pt x="11649" y="22953"/>
                  </a:lnTo>
                  <a:lnTo>
                    <a:pt x="11437" y="23032"/>
                  </a:lnTo>
                  <a:lnTo>
                    <a:pt x="11251" y="23059"/>
                  </a:lnTo>
                  <a:lnTo>
                    <a:pt x="11039" y="23059"/>
                  </a:lnTo>
                  <a:lnTo>
                    <a:pt x="10535" y="23006"/>
                  </a:lnTo>
                  <a:lnTo>
                    <a:pt x="9951" y="22926"/>
                  </a:lnTo>
                  <a:lnTo>
                    <a:pt x="9314" y="22820"/>
                  </a:lnTo>
                  <a:lnTo>
                    <a:pt x="8704" y="22740"/>
                  </a:lnTo>
                  <a:lnTo>
                    <a:pt x="8094" y="22661"/>
                  </a:lnTo>
                  <a:lnTo>
                    <a:pt x="7510" y="22608"/>
                  </a:lnTo>
                  <a:lnTo>
                    <a:pt x="6953" y="22634"/>
                  </a:lnTo>
                  <a:lnTo>
                    <a:pt x="6634" y="22661"/>
                  </a:lnTo>
                  <a:lnTo>
                    <a:pt x="6289" y="22793"/>
                  </a:lnTo>
                  <a:lnTo>
                    <a:pt x="5891" y="22953"/>
                  </a:lnTo>
                  <a:lnTo>
                    <a:pt x="5467" y="23165"/>
                  </a:lnTo>
                  <a:lnTo>
                    <a:pt x="4989" y="23404"/>
                  </a:lnTo>
                  <a:lnTo>
                    <a:pt x="4538" y="23695"/>
                  </a:lnTo>
                  <a:lnTo>
                    <a:pt x="4034" y="24014"/>
                  </a:lnTo>
                  <a:lnTo>
                    <a:pt x="3556" y="24332"/>
                  </a:lnTo>
                  <a:lnTo>
                    <a:pt x="2601" y="25049"/>
                  </a:lnTo>
                  <a:lnTo>
                    <a:pt x="1725" y="25765"/>
                  </a:lnTo>
                  <a:lnTo>
                    <a:pt x="1327" y="26110"/>
                  </a:lnTo>
                  <a:lnTo>
                    <a:pt x="982" y="26429"/>
                  </a:lnTo>
                  <a:lnTo>
                    <a:pt x="691" y="26720"/>
                  </a:lnTo>
                  <a:lnTo>
                    <a:pt x="478" y="26986"/>
                  </a:lnTo>
                  <a:lnTo>
                    <a:pt x="372" y="27145"/>
                  </a:lnTo>
                  <a:lnTo>
                    <a:pt x="293" y="27304"/>
                  </a:lnTo>
                  <a:lnTo>
                    <a:pt x="213" y="27516"/>
                  </a:lnTo>
                  <a:lnTo>
                    <a:pt x="133" y="27729"/>
                  </a:lnTo>
                  <a:lnTo>
                    <a:pt x="54" y="28233"/>
                  </a:lnTo>
                  <a:lnTo>
                    <a:pt x="1" y="28817"/>
                  </a:lnTo>
                  <a:lnTo>
                    <a:pt x="1" y="29480"/>
                  </a:lnTo>
                  <a:lnTo>
                    <a:pt x="27" y="30196"/>
                  </a:lnTo>
                  <a:lnTo>
                    <a:pt x="107" y="30992"/>
                  </a:lnTo>
                  <a:lnTo>
                    <a:pt x="186" y="31815"/>
                  </a:lnTo>
                  <a:lnTo>
                    <a:pt x="319" y="32664"/>
                  </a:lnTo>
                  <a:lnTo>
                    <a:pt x="478" y="33566"/>
                  </a:lnTo>
                  <a:lnTo>
                    <a:pt x="664" y="34495"/>
                  </a:lnTo>
                  <a:lnTo>
                    <a:pt x="876" y="35424"/>
                  </a:lnTo>
                  <a:lnTo>
                    <a:pt x="1327" y="37308"/>
                  </a:lnTo>
                  <a:lnTo>
                    <a:pt x="1805" y="39165"/>
                  </a:lnTo>
                  <a:lnTo>
                    <a:pt x="1858" y="39298"/>
                  </a:lnTo>
                  <a:lnTo>
                    <a:pt x="1964" y="39430"/>
                  </a:lnTo>
                  <a:lnTo>
                    <a:pt x="2070" y="39563"/>
                  </a:lnTo>
                  <a:lnTo>
                    <a:pt x="2230" y="39722"/>
                  </a:lnTo>
                  <a:lnTo>
                    <a:pt x="2601" y="40041"/>
                  </a:lnTo>
                  <a:lnTo>
                    <a:pt x="3079" y="40386"/>
                  </a:lnTo>
                  <a:lnTo>
                    <a:pt x="3530" y="40652"/>
                  </a:lnTo>
                  <a:lnTo>
                    <a:pt x="3530" y="40652"/>
                  </a:lnTo>
                  <a:lnTo>
                    <a:pt x="3530" y="40704"/>
                  </a:lnTo>
                  <a:lnTo>
                    <a:pt x="3503" y="41420"/>
                  </a:lnTo>
                  <a:lnTo>
                    <a:pt x="3477" y="42110"/>
                  </a:lnTo>
                  <a:lnTo>
                    <a:pt x="3371" y="43357"/>
                  </a:lnTo>
                  <a:lnTo>
                    <a:pt x="3238" y="44419"/>
                  </a:lnTo>
                  <a:lnTo>
                    <a:pt x="3105" y="45480"/>
                  </a:lnTo>
                  <a:lnTo>
                    <a:pt x="2893" y="46515"/>
                  </a:lnTo>
                  <a:lnTo>
                    <a:pt x="2628" y="47497"/>
                  </a:lnTo>
                  <a:lnTo>
                    <a:pt x="2336" y="48452"/>
                  </a:lnTo>
                  <a:lnTo>
                    <a:pt x="1991" y="49328"/>
                  </a:lnTo>
                  <a:lnTo>
                    <a:pt x="1805" y="49752"/>
                  </a:lnTo>
                  <a:lnTo>
                    <a:pt x="1593" y="50177"/>
                  </a:lnTo>
                  <a:lnTo>
                    <a:pt x="1380" y="50575"/>
                  </a:lnTo>
                  <a:lnTo>
                    <a:pt x="1142" y="50946"/>
                  </a:lnTo>
                  <a:lnTo>
                    <a:pt x="929" y="51318"/>
                  </a:lnTo>
                  <a:lnTo>
                    <a:pt x="664" y="51663"/>
                  </a:lnTo>
                  <a:lnTo>
                    <a:pt x="638" y="51742"/>
                  </a:lnTo>
                  <a:lnTo>
                    <a:pt x="584" y="51822"/>
                  </a:lnTo>
                  <a:lnTo>
                    <a:pt x="584" y="51902"/>
                  </a:lnTo>
                  <a:lnTo>
                    <a:pt x="584" y="51955"/>
                  </a:lnTo>
                  <a:lnTo>
                    <a:pt x="584" y="52034"/>
                  </a:lnTo>
                  <a:lnTo>
                    <a:pt x="691" y="52167"/>
                  </a:lnTo>
                  <a:lnTo>
                    <a:pt x="823" y="52273"/>
                  </a:lnTo>
                  <a:lnTo>
                    <a:pt x="1036" y="52406"/>
                  </a:lnTo>
                  <a:lnTo>
                    <a:pt x="1274" y="52512"/>
                  </a:lnTo>
                  <a:lnTo>
                    <a:pt x="1593" y="52591"/>
                  </a:lnTo>
                  <a:lnTo>
                    <a:pt x="1938" y="52671"/>
                  </a:lnTo>
                  <a:lnTo>
                    <a:pt x="2787" y="52830"/>
                  </a:lnTo>
                  <a:lnTo>
                    <a:pt x="3769" y="52936"/>
                  </a:lnTo>
                  <a:lnTo>
                    <a:pt x="4883" y="53016"/>
                  </a:lnTo>
                  <a:lnTo>
                    <a:pt x="6104" y="53069"/>
                  </a:lnTo>
                  <a:lnTo>
                    <a:pt x="7988" y="53122"/>
                  </a:lnTo>
                  <a:lnTo>
                    <a:pt x="9951" y="53096"/>
                  </a:lnTo>
                  <a:lnTo>
                    <a:pt x="11888" y="53016"/>
                  </a:lnTo>
                  <a:lnTo>
                    <a:pt x="13719" y="52883"/>
                  </a:lnTo>
                  <a:lnTo>
                    <a:pt x="15338" y="52724"/>
                  </a:lnTo>
                  <a:lnTo>
                    <a:pt x="16054" y="52618"/>
                  </a:lnTo>
                  <a:lnTo>
                    <a:pt x="16664" y="52512"/>
                  </a:lnTo>
                  <a:lnTo>
                    <a:pt x="17195" y="52406"/>
                  </a:lnTo>
                  <a:lnTo>
                    <a:pt x="17646" y="52300"/>
                  </a:lnTo>
                  <a:lnTo>
                    <a:pt x="17938" y="52167"/>
                  </a:lnTo>
                  <a:lnTo>
                    <a:pt x="18071" y="52087"/>
                  </a:lnTo>
                  <a:lnTo>
                    <a:pt x="18150" y="52034"/>
                  </a:lnTo>
                  <a:lnTo>
                    <a:pt x="18203" y="51955"/>
                  </a:lnTo>
                  <a:lnTo>
                    <a:pt x="18256" y="51848"/>
                  </a:lnTo>
                  <a:lnTo>
                    <a:pt x="18309" y="51610"/>
                  </a:lnTo>
                  <a:lnTo>
                    <a:pt x="18336" y="51397"/>
                  </a:lnTo>
                  <a:lnTo>
                    <a:pt x="18336" y="51132"/>
                  </a:lnTo>
                  <a:lnTo>
                    <a:pt x="18309" y="50495"/>
                  </a:lnTo>
                  <a:lnTo>
                    <a:pt x="18230" y="49779"/>
                  </a:lnTo>
                  <a:lnTo>
                    <a:pt x="18097" y="48930"/>
                  </a:lnTo>
                  <a:lnTo>
                    <a:pt x="17938" y="48054"/>
                  </a:lnTo>
                  <a:lnTo>
                    <a:pt x="17726" y="47099"/>
                  </a:lnTo>
                  <a:lnTo>
                    <a:pt x="17563" y="46346"/>
                  </a:lnTo>
                  <a:lnTo>
                    <a:pt x="17563" y="46346"/>
                  </a:lnTo>
                  <a:lnTo>
                    <a:pt x="18681" y="46727"/>
                  </a:lnTo>
                  <a:lnTo>
                    <a:pt x="22555" y="48054"/>
                  </a:lnTo>
                  <a:lnTo>
                    <a:pt x="25368" y="49009"/>
                  </a:lnTo>
                  <a:lnTo>
                    <a:pt x="26217" y="49301"/>
                  </a:lnTo>
                  <a:lnTo>
                    <a:pt x="26456" y="49407"/>
                  </a:lnTo>
                  <a:lnTo>
                    <a:pt x="26588" y="49487"/>
                  </a:lnTo>
                  <a:lnTo>
                    <a:pt x="26615" y="49460"/>
                  </a:lnTo>
                  <a:lnTo>
                    <a:pt x="26694" y="49354"/>
                  </a:lnTo>
                  <a:lnTo>
                    <a:pt x="26854" y="48903"/>
                  </a:lnTo>
                  <a:lnTo>
                    <a:pt x="27066" y="48213"/>
                  </a:lnTo>
                  <a:lnTo>
                    <a:pt x="27252" y="47391"/>
                  </a:lnTo>
                  <a:lnTo>
                    <a:pt x="27411" y="46568"/>
                  </a:lnTo>
                  <a:lnTo>
                    <a:pt x="27517" y="45799"/>
                  </a:lnTo>
                  <a:lnTo>
                    <a:pt x="27543" y="45454"/>
                  </a:lnTo>
                  <a:lnTo>
                    <a:pt x="27570" y="45188"/>
                  </a:lnTo>
                  <a:lnTo>
                    <a:pt x="27543" y="44976"/>
                  </a:lnTo>
                  <a:lnTo>
                    <a:pt x="27517" y="44923"/>
                  </a:lnTo>
                  <a:lnTo>
                    <a:pt x="27490" y="44870"/>
                  </a:lnTo>
                  <a:lnTo>
                    <a:pt x="27358" y="44764"/>
                  </a:lnTo>
                  <a:lnTo>
                    <a:pt x="27119" y="44658"/>
                  </a:lnTo>
                  <a:lnTo>
                    <a:pt x="26403" y="44392"/>
                  </a:lnTo>
                  <a:lnTo>
                    <a:pt x="25447" y="44100"/>
                  </a:lnTo>
                  <a:lnTo>
                    <a:pt x="24386" y="43809"/>
                  </a:lnTo>
                  <a:lnTo>
                    <a:pt x="22316" y="43278"/>
                  </a:lnTo>
                  <a:lnTo>
                    <a:pt x="21573" y="43066"/>
                  </a:lnTo>
                  <a:lnTo>
                    <a:pt x="21149" y="42933"/>
                  </a:lnTo>
                  <a:lnTo>
                    <a:pt x="20273" y="42641"/>
                  </a:lnTo>
                  <a:lnTo>
                    <a:pt x="19079" y="42270"/>
                  </a:lnTo>
                  <a:lnTo>
                    <a:pt x="17673" y="41818"/>
                  </a:lnTo>
                  <a:lnTo>
                    <a:pt x="16411" y="41405"/>
                  </a:lnTo>
                  <a:lnTo>
                    <a:pt x="16411" y="41405"/>
                  </a:lnTo>
                  <a:lnTo>
                    <a:pt x="16266" y="40731"/>
                  </a:lnTo>
                  <a:lnTo>
                    <a:pt x="16160" y="40094"/>
                  </a:lnTo>
                  <a:lnTo>
                    <a:pt x="16081" y="39563"/>
                  </a:lnTo>
                  <a:lnTo>
                    <a:pt x="16054" y="39218"/>
                  </a:lnTo>
                  <a:lnTo>
                    <a:pt x="16107" y="38926"/>
                  </a:lnTo>
                  <a:lnTo>
                    <a:pt x="16160" y="38661"/>
                  </a:lnTo>
                  <a:lnTo>
                    <a:pt x="16240" y="38396"/>
                  </a:lnTo>
                  <a:lnTo>
                    <a:pt x="16346" y="38157"/>
                  </a:lnTo>
                  <a:lnTo>
                    <a:pt x="16611" y="37653"/>
                  </a:lnTo>
                  <a:lnTo>
                    <a:pt x="16930" y="37122"/>
                  </a:lnTo>
                  <a:lnTo>
                    <a:pt x="17062" y="36830"/>
                  </a:lnTo>
                  <a:lnTo>
                    <a:pt x="17222" y="36512"/>
                  </a:lnTo>
                  <a:lnTo>
                    <a:pt x="17381" y="36167"/>
                  </a:lnTo>
                  <a:lnTo>
                    <a:pt x="17513" y="35769"/>
                  </a:lnTo>
                  <a:lnTo>
                    <a:pt x="17620" y="35344"/>
                  </a:lnTo>
                  <a:lnTo>
                    <a:pt x="17726" y="34840"/>
                  </a:lnTo>
                  <a:lnTo>
                    <a:pt x="17805" y="34283"/>
                  </a:lnTo>
                  <a:lnTo>
                    <a:pt x="17858" y="33672"/>
                  </a:lnTo>
                  <a:lnTo>
                    <a:pt x="17858" y="33566"/>
                  </a:lnTo>
                  <a:lnTo>
                    <a:pt x="17832" y="33434"/>
                  </a:lnTo>
                  <a:lnTo>
                    <a:pt x="17726" y="33168"/>
                  </a:lnTo>
                  <a:lnTo>
                    <a:pt x="17593" y="32850"/>
                  </a:lnTo>
                  <a:lnTo>
                    <a:pt x="17407" y="32531"/>
                  </a:lnTo>
                  <a:lnTo>
                    <a:pt x="16930" y="31868"/>
                  </a:lnTo>
                  <a:lnTo>
                    <a:pt x="16426" y="31125"/>
                  </a:lnTo>
                  <a:lnTo>
                    <a:pt x="16187" y="30754"/>
                  </a:lnTo>
                  <a:lnTo>
                    <a:pt x="15974" y="30382"/>
                  </a:lnTo>
                  <a:lnTo>
                    <a:pt x="15789" y="30011"/>
                  </a:lnTo>
                  <a:lnTo>
                    <a:pt x="15629" y="29639"/>
                  </a:lnTo>
                  <a:lnTo>
                    <a:pt x="15550" y="29268"/>
                  </a:lnTo>
                  <a:lnTo>
                    <a:pt x="15523" y="29082"/>
                  </a:lnTo>
                  <a:lnTo>
                    <a:pt x="15523" y="28896"/>
                  </a:lnTo>
                  <a:lnTo>
                    <a:pt x="15550" y="28737"/>
                  </a:lnTo>
                  <a:lnTo>
                    <a:pt x="15576" y="28551"/>
                  </a:lnTo>
                  <a:lnTo>
                    <a:pt x="15656" y="28392"/>
                  </a:lnTo>
                  <a:lnTo>
                    <a:pt x="15736" y="28233"/>
                  </a:lnTo>
                  <a:lnTo>
                    <a:pt x="15948" y="27861"/>
                  </a:lnTo>
                  <a:lnTo>
                    <a:pt x="16213" y="27490"/>
                  </a:lnTo>
                  <a:lnTo>
                    <a:pt x="16744" y="26773"/>
                  </a:lnTo>
                  <a:lnTo>
                    <a:pt x="17354" y="26084"/>
                  </a:lnTo>
                  <a:lnTo>
                    <a:pt x="17991" y="25394"/>
                  </a:lnTo>
                  <a:lnTo>
                    <a:pt x="18654" y="24757"/>
                  </a:lnTo>
                  <a:lnTo>
                    <a:pt x="19344" y="24093"/>
                  </a:lnTo>
                  <a:lnTo>
                    <a:pt x="20061" y="23483"/>
                  </a:lnTo>
                  <a:lnTo>
                    <a:pt x="20751" y="22899"/>
                  </a:lnTo>
                  <a:lnTo>
                    <a:pt x="22104" y="21785"/>
                  </a:lnTo>
                  <a:lnTo>
                    <a:pt x="23298" y="20803"/>
                  </a:lnTo>
                  <a:lnTo>
                    <a:pt x="23829" y="20352"/>
                  </a:lnTo>
                  <a:lnTo>
                    <a:pt x="24253" y="19928"/>
                  </a:lnTo>
                  <a:lnTo>
                    <a:pt x="24598" y="19530"/>
                  </a:lnTo>
                  <a:lnTo>
                    <a:pt x="24757" y="19344"/>
                  </a:lnTo>
                  <a:lnTo>
                    <a:pt x="24864" y="19185"/>
                  </a:lnTo>
                  <a:lnTo>
                    <a:pt x="24970" y="18919"/>
                  </a:lnTo>
                  <a:lnTo>
                    <a:pt x="25076" y="18601"/>
                  </a:lnTo>
                  <a:lnTo>
                    <a:pt x="25182" y="18203"/>
                  </a:lnTo>
                  <a:lnTo>
                    <a:pt x="25262" y="17778"/>
                  </a:lnTo>
                  <a:lnTo>
                    <a:pt x="25315" y="17248"/>
                  </a:lnTo>
                  <a:lnTo>
                    <a:pt x="25368" y="16717"/>
                  </a:lnTo>
                  <a:lnTo>
                    <a:pt x="25474" y="15470"/>
                  </a:lnTo>
                  <a:lnTo>
                    <a:pt x="25500" y="14063"/>
                  </a:lnTo>
                  <a:lnTo>
                    <a:pt x="25527" y="12578"/>
                  </a:lnTo>
                  <a:lnTo>
                    <a:pt x="25527" y="11012"/>
                  </a:lnTo>
                  <a:lnTo>
                    <a:pt x="25500" y="9446"/>
                  </a:lnTo>
                  <a:lnTo>
                    <a:pt x="25394" y="6395"/>
                  </a:lnTo>
                  <a:lnTo>
                    <a:pt x="25315" y="3742"/>
                  </a:lnTo>
                  <a:lnTo>
                    <a:pt x="25235" y="1831"/>
                  </a:lnTo>
                  <a:lnTo>
                    <a:pt x="25235" y="1247"/>
                  </a:lnTo>
                  <a:lnTo>
                    <a:pt x="25262" y="955"/>
                  </a:lnTo>
                  <a:lnTo>
                    <a:pt x="25262" y="902"/>
                  </a:lnTo>
                  <a:lnTo>
                    <a:pt x="25235" y="849"/>
                  </a:lnTo>
                  <a:lnTo>
                    <a:pt x="25182" y="796"/>
                  </a:lnTo>
                  <a:lnTo>
                    <a:pt x="25102" y="717"/>
                  </a:lnTo>
                  <a:lnTo>
                    <a:pt x="24864" y="611"/>
                  </a:lnTo>
                  <a:lnTo>
                    <a:pt x="24572" y="478"/>
                  </a:lnTo>
                  <a:lnTo>
                    <a:pt x="24200" y="372"/>
                  </a:lnTo>
                  <a:lnTo>
                    <a:pt x="23802" y="266"/>
                  </a:lnTo>
                  <a:lnTo>
                    <a:pt x="23351" y="159"/>
                  </a:lnTo>
                  <a:lnTo>
                    <a:pt x="22873" y="106"/>
                  </a:lnTo>
                  <a:lnTo>
                    <a:pt x="22422" y="27"/>
                  </a:lnTo>
                  <a:lnTo>
                    <a:pt x="21971" y="0"/>
                  </a:lnTo>
                  <a:close/>
                </a:path>
              </a:pathLst>
            </a:custGeom>
            <a:solidFill>
              <a:srgbClr val="D9395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" name="Google Shape;1093;p57">
              <a:extLst>
                <a:ext uri="{FF2B5EF4-FFF2-40B4-BE49-F238E27FC236}">
                  <a16:creationId xmlns:a16="http://schemas.microsoft.com/office/drawing/2014/main" id="{8E4DC738-E0E8-DB03-D099-7F5EB351C957}"/>
                </a:ext>
              </a:extLst>
            </p:cNvPr>
            <p:cNvSpPr/>
            <p:nvPr/>
          </p:nvSpPr>
          <p:spPr>
            <a:xfrm>
              <a:off x="7515216" y="4163689"/>
              <a:ext cx="232906" cy="448757"/>
            </a:xfrm>
            <a:custGeom>
              <a:avLst/>
              <a:gdLst/>
              <a:ahLst/>
              <a:cxnLst/>
              <a:rect l="l" t="t" r="r" b="b"/>
              <a:pathLst>
                <a:path w="27571" h="53123" fill="none" extrusionOk="0">
                  <a:moveTo>
                    <a:pt x="26588" y="49487"/>
                  </a:moveTo>
                  <a:lnTo>
                    <a:pt x="26588" y="49487"/>
                  </a:lnTo>
                  <a:lnTo>
                    <a:pt x="26588" y="49487"/>
                  </a:lnTo>
                  <a:lnTo>
                    <a:pt x="26615" y="49460"/>
                  </a:lnTo>
                  <a:lnTo>
                    <a:pt x="26694" y="49354"/>
                  </a:lnTo>
                  <a:lnTo>
                    <a:pt x="26854" y="48903"/>
                  </a:lnTo>
                  <a:lnTo>
                    <a:pt x="27066" y="48213"/>
                  </a:lnTo>
                  <a:lnTo>
                    <a:pt x="27252" y="47391"/>
                  </a:lnTo>
                  <a:lnTo>
                    <a:pt x="27411" y="46568"/>
                  </a:lnTo>
                  <a:lnTo>
                    <a:pt x="27517" y="45799"/>
                  </a:lnTo>
                  <a:lnTo>
                    <a:pt x="27543" y="45454"/>
                  </a:lnTo>
                  <a:lnTo>
                    <a:pt x="27570" y="45188"/>
                  </a:lnTo>
                  <a:lnTo>
                    <a:pt x="27543" y="44976"/>
                  </a:lnTo>
                  <a:lnTo>
                    <a:pt x="27517" y="44923"/>
                  </a:lnTo>
                  <a:lnTo>
                    <a:pt x="27490" y="44870"/>
                  </a:lnTo>
                  <a:lnTo>
                    <a:pt x="27490" y="44870"/>
                  </a:lnTo>
                  <a:lnTo>
                    <a:pt x="27358" y="44764"/>
                  </a:lnTo>
                  <a:lnTo>
                    <a:pt x="27119" y="44658"/>
                  </a:lnTo>
                  <a:lnTo>
                    <a:pt x="26403" y="44392"/>
                  </a:lnTo>
                  <a:lnTo>
                    <a:pt x="25447" y="44100"/>
                  </a:lnTo>
                  <a:lnTo>
                    <a:pt x="24386" y="43809"/>
                  </a:lnTo>
                  <a:lnTo>
                    <a:pt x="22316" y="43278"/>
                  </a:lnTo>
                  <a:lnTo>
                    <a:pt x="21573" y="43066"/>
                  </a:lnTo>
                  <a:lnTo>
                    <a:pt x="21149" y="42933"/>
                  </a:lnTo>
                  <a:lnTo>
                    <a:pt x="21149" y="42933"/>
                  </a:lnTo>
                  <a:lnTo>
                    <a:pt x="20273" y="42641"/>
                  </a:lnTo>
                  <a:lnTo>
                    <a:pt x="19079" y="42270"/>
                  </a:lnTo>
                  <a:lnTo>
                    <a:pt x="17673" y="41818"/>
                  </a:lnTo>
                  <a:lnTo>
                    <a:pt x="16134" y="41314"/>
                  </a:lnTo>
                  <a:lnTo>
                    <a:pt x="14568" y="40784"/>
                  </a:lnTo>
                  <a:lnTo>
                    <a:pt x="13799" y="40492"/>
                  </a:lnTo>
                  <a:lnTo>
                    <a:pt x="13056" y="40200"/>
                  </a:lnTo>
                  <a:lnTo>
                    <a:pt x="12339" y="39908"/>
                  </a:lnTo>
                  <a:lnTo>
                    <a:pt x="11676" y="39590"/>
                  </a:lnTo>
                  <a:lnTo>
                    <a:pt x="11066" y="39271"/>
                  </a:lnTo>
                  <a:lnTo>
                    <a:pt x="10535" y="38979"/>
                  </a:lnTo>
                  <a:lnTo>
                    <a:pt x="10535" y="38979"/>
                  </a:lnTo>
                  <a:lnTo>
                    <a:pt x="9818" y="38528"/>
                  </a:lnTo>
                  <a:lnTo>
                    <a:pt x="9102" y="38130"/>
                  </a:lnTo>
                  <a:lnTo>
                    <a:pt x="7430" y="37228"/>
                  </a:lnTo>
                  <a:lnTo>
                    <a:pt x="6342" y="36644"/>
                  </a:lnTo>
                  <a:lnTo>
                    <a:pt x="5042" y="35875"/>
                  </a:lnTo>
                  <a:lnTo>
                    <a:pt x="3450" y="34920"/>
                  </a:lnTo>
                  <a:lnTo>
                    <a:pt x="1487" y="33699"/>
                  </a:lnTo>
                  <a:lnTo>
                    <a:pt x="1487" y="33699"/>
                  </a:lnTo>
                  <a:lnTo>
                    <a:pt x="1752" y="33991"/>
                  </a:lnTo>
                  <a:lnTo>
                    <a:pt x="1964" y="34283"/>
                  </a:lnTo>
                  <a:lnTo>
                    <a:pt x="2177" y="34601"/>
                  </a:lnTo>
                  <a:lnTo>
                    <a:pt x="2362" y="34920"/>
                  </a:lnTo>
                  <a:lnTo>
                    <a:pt x="2548" y="35238"/>
                  </a:lnTo>
                  <a:lnTo>
                    <a:pt x="2707" y="35583"/>
                  </a:lnTo>
                  <a:lnTo>
                    <a:pt x="2840" y="35928"/>
                  </a:lnTo>
                  <a:lnTo>
                    <a:pt x="2973" y="36273"/>
                  </a:lnTo>
                  <a:lnTo>
                    <a:pt x="3158" y="36989"/>
                  </a:lnTo>
                  <a:lnTo>
                    <a:pt x="3317" y="37732"/>
                  </a:lnTo>
                  <a:lnTo>
                    <a:pt x="3424" y="38475"/>
                  </a:lnTo>
                  <a:lnTo>
                    <a:pt x="3503" y="39218"/>
                  </a:lnTo>
                  <a:lnTo>
                    <a:pt x="3530" y="39988"/>
                  </a:lnTo>
                  <a:lnTo>
                    <a:pt x="3530" y="40704"/>
                  </a:lnTo>
                  <a:lnTo>
                    <a:pt x="3503" y="41420"/>
                  </a:lnTo>
                  <a:lnTo>
                    <a:pt x="3477" y="42110"/>
                  </a:lnTo>
                  <a:lnTo>
                    <a:pt x="3371" y="43357"/>
                  </a:lnTo>
                  <a:lnTo>
                    <a:pt x="3238" y="44419"/>
                  </a:lnTo>
                  <a:lnTo>
                    <a:pt x="3238" y="44419"/>
                  </a:lnTo>
                  <a:lnTo>
                    <a:pt x="3105" y="45480"/>
                  </a:lnTo>
                  <a:lnTo>
                    <a:pt x="2893" y="46515"/>
                  </a:lnTo>
                  <a:lnTo>
                    <a:pt x="2628" y="47497"/>
                  </a:lnTo>
                  <a:lnTo>
                    <a:pt x="2336" y="48452"/>
                  </a:lnTo>
                  <a:lnTo>
                    <a:pt x="1991" y="49328"/>
                  </a:lnTo>
                  <a:lnTo>
                    <a:pt x="1805" y="49752"/>
                  </a:lnTo>
                  <a:lnTo>
                    <a:pt x="1593" y="50177"/>
                  </a:lnTo>
                  <a:lnTo>
                    <a:pt x="1380" y="50575"/>
                  </a:lnTo>
                  <a:lnTo>
                    <a:pt x="1142" y="50946"/>
                  </a:lnTo>
                  <a:lnTo>
                    <a:pt x="929" y="51318"/>
                  </a:lnTo>
                  <a:lnTo>
                    <a:pt x="664" y="51663"/>
                  </a:lnTo>
                  <a:lnTo>
                    <a:pt x="664" y="51663"/>
                  </a:lnTo>
                  <a:lnTo>
                    <a:pt x="638" y="51742"/>
                  </a:lnTo>
                  <a:lnTo>
                    <a:pt x="638" y="51742"/>
                  </a:lnTo>
                  <a:lnTo>
                    <a:pt x="584" y="51822"/>
                  </a:lnTo>
                  <a:lnTo>
                    <a:pt x="584" y="51902"/>
                  </a:lnTo>
                  <a:lnTo>
                    <a:pt x="584" y="51955"/>
                  </a:lnTo>
                  <a:lnTo>
                    <a:pt x="584" y="52034"/>
                  </a:lnTo>
                  <a:lnTo>
                    <a:pt x="691" y="52167"/>
                  </a:lnTo>
                  <a:lnTo>
                    <a:pt x="823" y="52273"/>
                  </a:lnTo>
                  <a:lnTo>
                    <a:pt x="1036" y="52406"/>
                  </a:lnTo>
                  <a:lnTo>
                    <a:pt x="1274" y="52512"/>
                  </a:lnTo>
                  <a:lnTo>
                    <a:pt x="1593" y="52591"/>
                  </a:lnTo>
                  <a:lnTo>
                    <a:pt x="1938" y="52671"/>
                  </a:lnTo>
                  <a:lnTo>
                    <a:pt x="2787" y="52830"/>
                  </a:lnTo>
                  <a:lnTo>
                    <a:pt x="3769" y="52936"/>
                  </a:lnTo>
                  <a:lnTo>
                    <a:pt x="4883" y="53016"/>
                  </a:lnTo>
                  <a:lnTo>
                    <a:pt x="6104" y="53069"/>
                  </a:lnTo>
                  <a:lnTo>
                    <a:pt x="6104" y="53069"/>
                  </a:lnTo>
                  <a:lnTo>
                    <a:pt x="7988" y="53122"/>
                  </a:lnTo>
                  <a:lnTo>
                    <a:pt x="9951" y="53096"/>
                  </a:lnTo>
                  <a:lnTo>
                    <a:pt x="11888" y="53016"/>
                  </a:lnTo>
                  <a:lnTo>
                    <a:pt x="13719" y="52883"/>
                  </a:lnTo>
                  <a:lnTo>
                    <a:pt x="15338" y="52724"/>
                  </a:lnTo>
                  <a:lnTo>
                    <a:pt x="16054" y="52618"/>
                  </a:lnTo>
                  <a:lnTo>
                    <a:pt x="16664" y="52512"/>
                  </a:lnTo>
                  <a:lnTo>
                    <a:pt x="17195" y="52406"/>
                  </a:lnTo>
                  <a:lnTo>
                    <a:pt x="17646" y="52300"/>
                  </a:lnTo>
                  <a:lnTo>
                    <a:pt x="17938" y="52167"/>
                  </a:lnTo>
                  <a:lnTo>
                    <a:pt x="18071" y="52087"/>
                  </a:lnTo>
                  <a:lnTo>
                    <a:pt x="18150" y="52034"/>
                  </a:lnTo>
                  <a:lnTo>
                    <a:pt x="18150" y="52034"/>
                  </a:lnTo>
                  <a:lnTo>
                    <a:pt x="18203" y="51955"/>
                  </a:lnTo>
                  <a:lnTo>
                    <a:pt x="18256" y="51848"/>
                  </a:lnTo>
                  <a:lnTo>
                    <a:pt x="18309" y="51610"/>
                  </a:lnTo>
                  <a:lnTo>
                    <a:pt x="18309" y="51610"/>
                  </a:lnTo>
                  <a:lnTo>
                    <a:pt x="18336" y="51397"/>
                  </a:lnTo>
                  <a:lnTo>
                    <a:pt x="18336" y="51132"/>
                  </a:lnTo>
                  <a:lnTo>
                    <a:pt x="18309" y="50495"/>
                  </a:lnTo>
                  <a:lnTo>
                    <a:pt x="18230" y="49779"/>
                  </a:lnTo>
                  <a:lnTo>
                    <a:pt x="18097" y="48930"/>
                  </a:lnTo>
                  <a:lnTo>
                    <a:pt x="17938" y="48054"/>
                  </a:lnTo>
                  <a:lnTo>
                    <a:pt x="17726" y="47099"/>
                  </a:lnTo>
                  <a:lnTo>
                    <a:pt x="17301" y="45135"/>
                  </a:lnTo>
                  <a:lnTo>
                    <a:pt x="16824" y="43198"/>
                  </a:lnTo>
                  <a:lnTo>
                    <a:pt x="16426" y="41474"/>
                  </a:lnTo>
                  <a:lnTo>
                    <a:pt x="16266" y="40731"/>
                  </a:lnTo>
                  <a:lnTo>
                    <a:pt x="16160" y="40094"/>
                  </a:lnTo>
                  <a:lnTo>
                    <a:pt x="16081" y="39563"/>
                  </a:lnTo>
                  <a:lnTo>
                    <a:pt x="16054" y="39218"/>
                  </a:lnTo>
                  <a:lnTo>
                    <a:pt x="16054" y="39218"/>
                  </a:lnTo>
                  <a:lnTo>
                    <a:pt x="16107" y="38926"/>
                  </a:lnTo>
                  <a:lnTo>
                    <a:pt x="16160" y="38661"/>
                  </a:lnTo>
                  <a:lnTo>
                    <a:pt x="16240" y="38396"/>
                  </a:lnTo>
                  <a:lnTo>
                    <a:pt x="16346" y="38157"/>
                  </a:lnTo>
                  <a:lnTo>
                    <a:pt x="16611" y="37653"/>
                  </a:lnTo>
                  <a:lnTo>
                    <a:pt x="16930" y="37122"/>
                  </a:lnTo>
                  <a:lnTo>
                    <a:pt x="17062" y="36830"/>
                  </a:lnTo>
                  <a:lnTo>
                    <a:pt x="17222" y="36512"/>
                  </a:lnTo>
                  <a:lnTo>
                    <a:pt x="17381" y="36167"/>
                  </a:lnTo>
                  <a:lnTo>
                    <a:pt x="17513" y="35769"/>
                  </a:lnTo>
                  <a:lnTo>
                    <a:pt x="17620" y="35344"/>
                  </a:lnTo>
                  <a:lnTo>
                    <a:pt x="17726" y="34840"/>
                  </a:lnTo>
                  <a:lnTo>
                    <a:pt x="17805" y="34283"/>
                  </a:lnTo>
                  <a:lnTo>
                    <a:pt x="17858" y="33672"/>
                  </a:lnTo>
                  <a:lnTo>
                    <a:pt x="17858" y="33672"/>
                  </a:lnTo>
                  <a:lnTo>
                    <a:pt x="17858" y="33566"/>
                  </a:lnTo>
                  <a:lnTo>
                    <a:pt x="17832" y="33434"/>
                  </a:lnTo>
                  <a:lnTo>
                    <a:pt x="17726" y="33168"/>
                  </a:lnTo>
                  <a:lnTo>
                    <a:pt x="17593" y="32850"/>
                  </a:lnTo>
                  <a:lnTo>
                    <a:pt x="17407" y="32531"/>
                  </a:lnTo>
                  <a:lnTo>
                    <a:pt x="16930" y="31868"/>
                  </a:lnTo>
                  <a:lnTo>
                    <a:pt x="16426" y="31125"/>
                  </a:lnTo>
                  <a:lnTo>
                    <a:pt x="16187" y="30754"/>
                  </a:lnTo>
                  <a:lnTo>
                    <a:pt x="15974" y="30382"/>
                  </a:lnTo>
                  <a:lnTo>
                    <a:pt x="15789" y="30011"/>
                  </a:lnTo>
                  <a:lnTo>
                    <a:pt x="15629" y="29639"/>
                  </a:lnTo>
                  <a:lnTo>
                    <a:pt x="15550" y="29268"/>
                  </a:lnTo>
                  <a:lnTo>
                    <a:pt x="15523" y="29082"/>
                  </a:lnTo>
                  <a:lnTo>
                    <a:pt x="15523" y="28896"/>
                  </a:lnTo>
                  <a:lnTo>
                    <a:pt x="15550" y="28737"/>
                  </a:lnTo>
                  <a:lnTo>
                    <a:pt x="15576" y="28551"/>
                  </a:lnTo>
                  <a:lnTo>
                    <a:pt x="15656" y="28392"/>
                  </a:lnTo>
                  <a:lnTo>
                    <a:pt x="15736" y="28233"/>
                  </a:lnTo>
                  <a:lnTo>
                    <a:pt x="15736" y="28233"/>
                  </a:lnTo>
                  <a:lnTo>
                    <a:pt x="15948" y="27861"/>
                  </a:lnTo>
                  <a:lnTo>
                    <a:pt x="16213" y="27490"/>
                  </a:lnTo>
                  <a:lnTo>
                    <a:pt x="16744" y="26773"/>
                  </a:lnTo>
                  <a:lnTo>
                    <a:pt x="17354" y="26084"/>
                  </a:lnTo>
                  <a:lnTo>
                    <a:pt x="17991" y="25394"/>
                  </a:lnTo>
                  <a:lnTo>
                    <a:pt x="18654" y="24757"/>
                  </a:lnTo>
                  <a:lnTo>
                    <a:pt x="19344" y="24093"/>
                  </a:lnTo>
                  <a:lnTo>
                    <a:pt x="20061" y="23483"/>
                  </a:lnTo>
                  <a:lnTo>
                    <a:pt x="20751" y="22899"/>
                  </a:lnTo>
                  <a:lnTo>
                    <a:pt x="22104" y="21785"/>
                  </a:lnTo>
                  <a:lnTo>
                    <a:pt x="23298" y="20803"/>
                  </a:lnTo>
                  <a:lnTo>
                    <a:pt x="23829" y="20352"/>
                  </a:lnTo>
                  <a:lnTo>
                    <a:pt x="24253" y="19928"/>
                  </a:lnTo>
                  <a:lnTo>
                    <a:pt x="24598" y="19530"/>
                  </a:lnTo>
                  <a:lnTo>
                    <a:pt x="24757" y="19344"/>
                  </a:lnTo>
                  <a:lnTo>
                    <a:pt x="24864" y="19185"/>
                  </a:lnTo>
                  <a:lnTo>
                    <a:pt x="24864" y="19185"/>
                  </a:lnTo>
                  <a:lnTo>
                    <a:pt x="24970" y="18919"/>
                  </a:lnTo>
                  <a:lnTo>
                    <a:pt x="25076" y="18601"/>
                  </a:lnTo>
                  <a:lnTo>
                    <a:pt x="25182" y="18203"/>
                  </a:lnTo>
                  <a:lnTo>
                    <a:pt x="25262" y="17778"/>
                  </a:lnTo>
                  <a:lnTo>
                    <a:pt x="25315" y="17248"/>
                  </a:lnTo>
                  <a:lnTo>
                    <a:pt x="25368" y="16717"/>
                  </a:lnTo>
                  <a:lnTo>
                    <a:pt x="25474" y="15470"/>
                  </a:lnTo>
                  <a:lnTo>
                    <a:pt x="25500" y="14063"/>
                  </a:lnTo>
                  <a:lnTo>
                    <a:pt x="25527" y="12578"/>
                  </a:lnTo>
                  <a:lnTo>
                    <a:pt x="25527" y="11012"/>
                  </a:lnTo>
                  <a:lnTo>
                    <a:pt x="25500" y="9446"/>
                  </a:lnTo>
                  <a:lnTo>
                    <a:pt x="25394" y="6395"/>
                  </a:lnTo>
                  <a:lnTo>
                    <a:pt x="25315" y="3742"/>
                  </a:lnTo>
                  <a:lnTo>
                    <a:pt x="25235" y="1831"/>
                  </a:lnTo>
                  <a:lnTo>
                    <a:pt x="25235" y="1247"/>
                  </a:lnTo>
                  <a:lnTo>
                    <a:pt x="25262" y="955"/>
                  </a:lnTo>
                  <a:lnTo>
                    <a:pt x="25262" y="955"/>
                  </a:lnTo>
                  <a:lnTo>
                    <a:pt x="25262" y="902"/>
                  </a:lnTo>
                  <a:lnTo>
                    <a:pt x="25235" y="849"/>
                  </a:lnTo>
                  <a:lnTo>
                    <a:pt x="25182" y="796"/>
                  </a:lnTo>
                  <a:lnTo>
                    <a:pt x="25102" y="717"/>
                  </a:lnTo>
                  <a:lnTo>
                    <a:pt x="24864" y="611"/>
                  </a:lnTo>
                  <a:lnTo>
                    <a:pt x="24572" y="478"/>
                  </a:lnTo>
                  <a:lnTo>
                    <a:pt x="24200" y="372"/>
                  </a:lnTo>
                  <a:lnTo>
                    <a:pt x="23802" y="266"/>
                  </a:lnTo>
                  <a:lnTo>
                    <a:pt x="23351" y="159"/>
                  </a:lnTo>
                  <a:lnTo>
                    <a:pt x="22873" y="106"/>
                  </a:lnTo>
                  <a:lnTo>
                    <a:pt x="22422" y="27"/>
                  </a:lnTo>
                  <a:lnTo>
                    <a:pt x="21971" y="0"/>
                  </a:lnTo>
                  <a:lnTo>
                    <a:pt x="21520" y="0"/>
                  </a:lnTo>
                  <a:lnTo>
                    <a:pt x="21149" y="0"/>
                  </a:lnTo>
                  <a:lnTo>
                    <a:pt x="20804" y="53"/>
                  </a:lnTo>
                  <a:lnTo>
                    <a:pt x="20538" y="159"/>
                  </a:lnTo>
                  <a:lnTo>
                    <a:pt x="20432" y="213"/>
                  </a:lnTo>
                  <a:lnTo>
                    <a:pt x="20353" y="266"/>
                  </a:lnTo>
                  <a:lnTo>
                    <a:pt x="20300" y="345"/>
                  </a:lnTo>
                  <a:lnTo>
                    <a:pt x="20273" y="425"/>
                  </a:lnTo>
                  <a:lnTo>
                    <a:pt x="20273" y="425"/>
                  </a:lnTo>
                  <a:lnTo>
                    <a:pt x="20246" y="743"/>
                  </a:lnTo>
                  <a:lnTo>
                    <a:pt x="20246" y="1300"/>
                  </a:lnTo>
                  <a:lnTo>
                    <a:pt x="20300" y="2999"/>
                  </a:lnTo>
                  <a:lnTo>
                    <a:pt x="20353" y="5254"/>
                  </a:lnTo>
                  <a:lnTo>
                    <a:pt x="20379" y="7828"/>
                  </a:lnTo>
                  <a:lnTo>
                    <a:pt x="20406" y="10428"/>
                  </a:lnTo>
                  <a:lnTo>
                    <a:pt x="20379" y="11675"/>
                  </a:lnTo>
                  <a:lnTo>
                    <a:pt x="20326" y="12843"/>
                  </a:lnTo>
                  <a:lnTo>
                    <a:pt x="20273" y="13904"/>
                  </a:lnTo>
                  <a:lnTo>
                    <a:pt x="20167" y="14806"/>
                  </a:lnTo>
                  <a:lnTo>
                    <a:pt x="20114" y="15178"/>
                  </a:lnTo>
                  <a:lnTo>
                    <a:pt x="20034" y="15523"/>
                  </a:lnTo>
                  <a:lnTo>
                    <a:pt x="19955" y="15815"/>
                  </a:lnTo>
                  <a:lnTo>
                    <a:pt x="19875" y="16027"/>
                  </a:lnTo>
                  <a:lnTo>
                    <a:pt x="19875" y="16027"/>
                  </a:lnTo>
                  <a:lnTo>
                    <a:pt x="19795" y="16213"/>
                  </a:lnTo>
                  <a:lnTo>
                    <a:pt x="19663" y="16399"/>
                  </a:lnTo>
                  <a:lnTo>
                    <a:pt x="19318" y="16823"/>
                  </a:lnTo>
                  <a:lnTo>
                    <a:pt x="18867" y="17327"/>
                  </a:lnTo>
                  <a:lnTo>
                    <a:pt x="18336" y="17858"/>
                  </a:lnTo>
                  <a:lnTo>
                    <a:pt x="17726" y="18415"/>
                  </a:lnTo>
                  <a:lnTo>
                    <a:pt x="17089" y="18972"/>
                  </a:lnTo>
                  <a:lnTo>
                    <a:pt x="16399" y="19556"/>
                  </a:lnTo>
                  <a:lnTo>
                    <a:pt x="15683" y="20140"/>
                  </a:lnTo>
                  <a:lnTo>
                    <a:pt x="14276" y="21228"/>
                  </a:lnTo>
                  <a:lnTo>
                    <a:pt x="13003" y="22130"/>
                  </a:lnTo>
                  <a:lnTo>
                    <a:pt x="12472" y="22475"/>
                  </a:lnTo>
                  <a:lnTo>
                    <a:pt x="12021" y="22767"/>
                  </a:lnTo>
                  <a:lnTo>
                    <a:pt x="11649" y="22953"/>
                  </a:lnTo>
                  <a:lnTo>
                    <a:pt x="11437" y="23032"/>
                  </a:lnTo>
                  <a:lnTo>
                    <a:pt x="11437" y="23032"/>
                  </a:lnTo>
                  <a:lnTo>
                    <a:pt x="11251" y="23059"/>
                  </a:lnTo>
                  <a:lnTo>
                    <a:pt x="11039" y="23059"/>
                  </a:lnTo>
                  <a:lnTo>
                    <a:pt x="10535" y="23006"/>
                  </a:lnTo>
                  <a:lnTo>
                    <a:pt x="9951" y="22926"/>
                  </a:lnTo>
                  <a:lnTo>
                    <a:pt x="9314" y="22820"/>
                  </a:lnTo>
                  <a:lnTo>
                    <a:pt x="9314" y="22820"/>
                  </a:lnTo>
                  <a:lnTo>
                    <a:pt x="8704" y="22740"/>
                  </a:lnTo>
                  <a:lnTo>
                    <a:pt x="8094" y="22661"/>
                  </a:lnTo>
                  <a:lnTo>
                    <a:pt x="7510" y="22608"/>
                  </a:lnTo>
                  <a:lnTo>
                    <a:pt x="6953" y="22634"/>
                  </a:lnTo>
                  <a:lnTo>
                    <a:pt x="6953" y="22634"/>
                  </a:lnTo>
                  <a:lnTo>
                    <a:pt x="6634" y="22661"/>
                  </a:lnTo>
                  <a:lnTo>
                    <a:pt x="6289" y="22793"/>
                  </a:lnTo>
                  <a:lnTo>
                    <a:pt x="5891" y="22953"/>
                  </a:lnTo>
                  <a:lnTo>
                    <a:pt x="5467" y="23165"/>
                  </a:lnTo>
                  <a:lnTo>
                    <a:pt x="4989" y="23404"/>
                  </a:lnTo>
                  <a:lnTo>
                    <a:pt x="4538" y="23695"/>
                  </a:lnTo>
                  <a:lnTo>
                    <a:pt x="4034" y="24014"/>
                  </a:lnTo>
                  <a:lnTo>
                    <a:pt x="3556" y="24332"/>
                  </a:lnTo>
                  <a:lnTo>
                    <a:pt x="2601" y="25049"/>
                  </a:lnTo>
                  <a:lnTo>
                    <a:pt x="1725" y="25765"/>
                  </a:lnTo>
                  <a:lnTo>
                    <a:pt x="1327" y="26110"/>
                  </a:lnTo>
                  <a:lnTo>
                    <a:pt x="982" y="26429"/>
                  </a:lnTo>
                  <a:lnTo>
                    <a:pt x="691" y="26720"/>
                  </a:lnTo>
                  <a:lnTo>
                    <a:pt x="478" y="26986"/>
                  </a:lnTo>
                  <a:lnTo>
                    <a:pt x="478" y="26986"/>
                  </a:lnTo>
                  <a:lnTo>
                    <a:pt x="372" y="27145"/>
                  </a:lnTo>
                  <a:lnTo>
                    <a:pt x="293" y="27304"/>
                  </a:lnTo>
                  <a:lnTo>
                    <a:pt x="213" y="27516"/>
                  </a:lnTo>
                  <a:lnTo>
                    <a:pt x="133" y="27729"/>
                  </a:lnTo>
                  <a:lnTo>
                    <a:pt x="54" y="28233"/>
                  </a:lnTo>
                  <a:lnTo>
                    <a:pt x="1" y="28817"/>
                  </a:lnTo>
                  <a:lnTo>
                    <a:pt x="1" y="29480"/>
                  </a:lnTo>
                  <a:lnTo>
                    <a:pt x="27" y="30196"/>
                  </a:lnTo>
                  <a:lnTo>
                    <a:pt x="107" y="30992"/>
                  </a:lnTo>
                  <a:lnTo>
                    <a:pt x="186" y="31815"/>
                  </a:lnTo>
                  <a:lnTo>
                    <a:pt x="319" y="32664"/>
                  </a:lnTo>
                  <a:lnTo>
                    <a:pt x="478" y="33566"/>
                  </a:lnTo>
                  <a:lnTo>
                    <a:pt x="664" y="34495"/>
                  </a:lnTo>
                  <a:lnTo>
                    <a:pt x="876" y="35424"/>
                  </a:lnTo>
                  <a:lnTo>
                    <a:pt x="1327" y="37308"/>
                  </a:lnTo>
                  <a:lnTo>
                    <a:pt x="1805" y="39165"/>
                  </a:lnTo>
                  <a:lnTo>
                    <a:pt x="1805" y="39165"/>
                  </a:lnTo>
                  <a:lnTo>
                    <a:pt x="1858" y="39298"/>
                  </a:lnTo>
                  <a:lnTo>
                    <a:pt x="1964" y="39430"/>
                  </a:lnTo>
                  <a:lnTo>
                    <a:pt x="2070" y="39563"/>
                  </a:lnTo>
                  <a:lnTo>
                    <a:pt x="2230" y="39722"/>
                  </a:lnTo>
                  <a:lnTo>
                    <a:pt x="2601" y="40041"/>
                  </a:lnTo>
                  <a:lnTo>
                    <a:pt x="3079" y="40386"/>
                  </a:lnTo>
                  <a:lnTo>
                    <a:pt x="3662" y="40731"/>
                  </a:lnTo>
                  <a:lnTo>
                    <a:pt x="4352" y="41102"/>
                  </a:lnTo>
                  <a:lnTo>
                    <a:pt x="5095" y="41500"/>
                  </a:lnTo>
                  <a:lnTo>
                    <a:pt x="5944" y="41898"/>
                  </a:lnTo>
                  <a:lnTo>
                    <a:pt x="6820" y="42296"/>
                  </a:lnTo>
                  <a:lnTo>
                    <a:pt x="7802" y="42694"/>
                  </a:lnTo>
                  <a:lnTo>
                    <a:pt x="9845" y="43517"/>
                  </a:lnTo>
                  <a:lnTo>
                    <a:pt x="12021" y="44366"/>
                  </a:lnTo>
                  <a:lnTo>
                    <a:pt x="14276" y="45188"/>
                  </a:lnTo>
                  <a:lnTo>
                    <a:pt x="16505" y="45984"/>
                  </a:lnTo>
                  <a:lnTo>
                    <a:pt x="18681" y="46727"/>
                  </a:lnTo>
                  <a:lnTo>
                    <a:pt x="22555" y="48054"/>
                  </a:lnTo>
                  <a:lnTo>
                    <a:pt x="25368" y="49009"/>
                  </a:lnTo>
                  <a:lnTo>
                    <a:pt x="26217" y="49301"/>
                  </a:lnTo>
                  <a:lnTo>
                    <a:pt x="26456" y="49407"/>
                  </a:lnTo>
                  <a:lnTo>
                    <a:pt x="26588" y="4948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" name="Google Shape;1094;p57">
              <a:extLst>
                <a:ext uri="{FF2B5EF4-FFF2-40B4-BE49-F238E27FC236}">
                  <a16:creationId xmlns:a16="http://schemas.microsoft.com/office/drawing/2014/main" id="{7053D251-2A9E-F266-50D6-01EEFA4B6BC4}"/>
                </a:ext>
              </a:extLst>
            </p:cNvPr>
            <p:cNvSpPr/>
            <p:nvPr/>
          </p:nvSpPr>
          <p:spPr>
            <a:xfrm>
              <a:off x="7560047" y="4302212"/>
              <a:ext cx="45963" cy="88099"/>
            </a:xfrm>
            <a:custGeom>
              <a:avLst/>
              <a:gdLst/>
              <a:ahLst/>
              <a:cxnLst/>
              <a:rect l="l" t="t" r="r" b="b"/>
              <a:pathLst>
                <a:path w="5441" h="10429" extrusionOk="0">
                  <a:moveTo>
                    <a:pt x="3928" y="1"/>
                  </a:moveTo>
                  <a:lnTo>
                    <a:pt x="3822" y="27"/>
                  </a:lnTo>
                  <a:lnTo>
                    <a:pt x="3715" y="107"/>
                  </a:lnTo>
                  <a:lnTo>
                    <a:pt x="3609" y="213"/>
                  </a:lnTo>
                  <a:lnTo>
                    <a:pt x="3503" y="345"/>
                  </a:lnTo>
                  <a:lnTo>
                    <a:pt x="3370" y="531"/>
                  </a:lnTo>
                  <a:lnTo>
                    <a:pt x="3264" y="770"/>
                  </a:lnTo>
                  <a:lnTo>
                    <a:pt x="2734" y="1805"/>
                  </a:lnTo>
                  <a:lnTo>
                    <a:pt x="2176" y="2866"/>
                  </a:lnTo>
                  <a:lnTo>
                    <a:pt x="1142" y="4777"/>
                  </a:lnTo>
                  <a:lnTo>
                    <a:pt x="319" y="6210"/>
                  </a:lnTo>
                  <a:lnTo>
                    <a:pt x="1" y="6740"/>
                  </a:lnTo>
                  <a:lnTo>
                    <a:pt x="107" y="6953"/>
                  </a:lnTo>
                  <a:lnTo>
                    <a:pt x="372" y="7457"/>
                  </a:lnTo>
                  <a:lnTo>
                    <a:pt x="558" y="7749"/>
                  </a:lnTo>
                  <a:lnTo>
                    <a:pt x="797" y="8067"/>
                  </a:lnTo>
                  <a:lnTo>
                    <a:pt x="1062" y="8359"/>
                  </a:lnTo>
                  <a:lnTo>
                    <a:pt x="1354" y="8651"/>
                  </a:lnTo>
                  <a:lnTo>
                    <a:pt x="1752" y="8890"/>
                  </a:lnTo>
                  <a:lnTo>
                    <a:pt x="2229" y="9181"/>
                  </a:lnTo>
                  <a:lnTo>
                    <a:pt x="2787" y="9473"/>
                  </a:lnTo>
                  <a:lnTo>
                    <a:pt x="3344" y="9765"/>
                  </a:lnTo>
                  <a:lnTo>
                    <a:pt x="3901" y="10031"/>
                  </a:lnTo>
                  <a:lnTo>
                    <a:pt x="4379" y="10243"/>
                  </a:lnTo>
                  <a:lnTo>
                    <a:pt x="4750" y="10375"/>
                  </a:lnTo>
                  <a:lnTo>
                    <a:pt x="4989" y="10429"/>
                  </a:lnTo>
                  <a:lnTo>
                    <a:pt x="5122" y="10429"/>
                  </a:lnTo>
                  <a:lnTo>
                    <a:pt x="5228" y="10375"/>
                  </a:lnTo>
                  <a:lnTo>
                    <a:pt x="5334" y="10269"/>
                  </a:lnTo>
                  <a:lnTo>
                    <a:pt x="5387" y="10163"/>
                  </a:lnTo>
                  <a:lnTo>
                    <a:pt x="5440" y="10031"/>
                  </a:lnTo>
                  <a:lnTo>
                    <a:pt x="5440" y="9871"/>
                  </a:lnTo>
                  <a:lnTo>
                    <a:pt x="5440" y="9686"/>
                  </a:lnTo>
                  <a:lnTo>
                    <a:pt x="5440" y="9500"/>
                  </a:lnTo>
                  <a:lnTo>
                    <a:pt x="5361" y="9075"/>
                  </a:lnTo>
                  <a:lnTo>
                    <a:pt x="5254" y="8677"/>
                  </a:lnTo>
                  <a:lnTo>
                    <a:pt x="5122" y="8306"/>
                  </a:lnTo>
                  <a:lnTo>
                    <a:pt x="4963" y="7987"/>
                  </a:lnTo>
                  <a:lnTo>
                    <a:pt x="4830" y="7669"/>
                  </a:lnTo>
                  <a:lnTo>
                    <a:pt x="4724" y="7297"/>
                  </a:lnTo>
                  <a:lnTo>
                    <a:pt x="4671" y="6873"/>
                  </a:lnTo>
                  <a:lnTo>
                    <a:pt x="4644" y="6342"/>
                  </a:lnTo>
                  <a:lnTo>
                    <a:pt x="4644" y="5732"/>
                  </a:lnTo>
                  <a:lnTo>
                    <a:pt x="4724" y="5042"/>
                  </a:lnTo>
                  <a:lnTo>
                    <a:pt x="4856" y="4246"/>
                  </a:lnTo>
                  <a:lnTo>
                    <a:pt x="5042" y="3344"/>
                  </a:lnTo>
                  <a:lnTo>
                    <a:pt x="4963" y="2548"/>
                  </a:lnTo>
                  <a:lnTo>
                    <a:pt x="4830" y="1805"/>
                  </a:lnTo>
                  <a:lnTo>
                    <a:pt x="4750" y="1407"/>
                  </a:lnTo>
                  <a:lnTo>
                    <a:pt x="4644" y="1035"/>
                  </a:lnTo>
                  <a:lnTo>
                    <a:pt x="4538" y="690"/>
                  </a:lnTo>
                  <a:lnTo>
                    <a:pt x="4405" y="399"/>
                  </a:lnTo>
                  <a:lnTo>
                    <a:pt x="4273" y="160"/>
                  </a:lnTo>
                  <a:lnTo>
                    <a:pt x="4193" y="80"/>
                  </a:lnTo>
                  <a:lnTo>
                    <a:pt x="4087" y="27"/>
                  </a:lnTo>
                  <a:lnTo>
                    <a:pt x="4007" y="1"/>
                  </a:lnTo>
                  <a:close/>
                </a:path>
              </a:pathLst>
            </a:custGeom>
            <a:solidFill>
              <a:srgbClr val="F5B1B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" name="Google Shape;1095;p57">
              <a:extLst>
                <a:ext uri="{FF2B5EF4-FFF2-40B4-BE49-F238E27FC236}">
                  <a16:creationId xmlns:a16="http://schemas.microsoft.com/office/drawing/2014/main" id="{697E0004-5E09-852C-51FE-C247836DD9E3}"/>
                </a:ext>
              </a:extLst>
            </p:cNvPr>
            <p:cNvSpPr/>
            <p:nvPr/>
          </p:nvSpPr>
          <p:spPr>
            <a:xfrm>
              <a:off x="7560047" y="4302212"/>
              <a:ext cx="45963" cy="88099"/>
            </a:xfrm>
            <a:custGeom>
              <a:avLst/>
              <a:gdLst/>
              <a:ahLst/>
              <a:cxnLst/>
              <a:rect l="l" t="t" r="r" b="b"/>
              <a:pathLst>
                <a:path w="5441" h="10429" fill="none" extrusionOk="0">
                  <a:moveTo>
                    <a:pt x="5042" y="3344"/>
                  </a:moveTo>
                  <a:lnTo>
                    <a:pt x="5042" y="3344"/>
                  </a:lnTo>
                  <a:lnTo>
                    <a:pt x="4856" y="4246"/>
                  </a:lnTo>
                  <a:lnTo>
                    <a:pt x="4724" y="5042"/>
                  </a:lnTo>
                  <a:lnTo>
                    <a:pt x="4644" y="5732"/>
                  </a:lnTo>
                  <a:lnTo>
                    <a:pt x="4644" y="6342"/>
                  </a:lnTo>
                  <a:lnTo>
                    <a:pt x="4671" y="6873"/>
                  </a:lnTo>
                  <a:lnTo>
                    <a:pt x="4724" y="7297"/>
                  </a:lnTo>
                  <a:lnTo>
                    <a:pt x="4830" y="7669"/>
                  </a:lnTo>
                  <a:lnTo>
                    <a:pt x="4963" y="7987"/>
                  </a:lnTo>
                  <a:lnTo>
                    <a:pt x="4963" y="7987"/>
                  </a:lnTo>
                  <a:lnTo>
                    <a:pt x="5122" y="8306"/>
                  </a:lnTo>
                  <a:lnTo>
                    <a:pt x="5254" y="8677"/>
                  </a:lnTo>
                  <a:lnTo>
                    <a:pt x="5361" y="9075"/>
                  </a:lnTo>
                  <a:lnTo>
                    <a:pt x="5440" y="9500"/>
                  </a:lnTo>
                  <a:lnTo>
                    <a:pt x="5440" y="9686"/>
                  </a:lnTo>
                  <a:lnTo>
                    <a:pt x="5440" y="9871"/>
                  </a:lnTo>
                  <a:lnTo>
                    <a:pt x="5440" y="10031"/>
                  </a:lnTo>
                  <a:lnTo>
                    <a:pt x="5387" y="10163"/>
                  </a:lnTo>
                  <a:lnTo>
                    <a:pt x="5334" y="10269"/>
                  </a:lnTo>
                  <a:lnTo>
                    <a:pt x="5228" y="10375"/>
                  </a:lnTo>
                  <a:lnTo>
                    <a:pt x="5122" y="10429"/>
                  </a:lnTo>
                  <a:lnTo>
                    <a:pt x="4989" y="10429"/>
                  </a:lnTo>
                  <a:lnTo>
                    <a:pt x="4989" y="10429"/>
                  </a:lnTo>
                  <a:lnTo>
                    <a:pt x="4750" y="10375"/>
                  </a:lnTo>
                  <a:lnTo>
                    <a:pt x="4379" y="10243"/>
                  </a:lnTo>
                  <a:lnTo>
                    <a:pt x="3901" y="10031"/>
                  </a:lnTo>
                  <a:lnTo>
                    <a:pt x="3344" y="9765"/>
                  </a:lnTo>
                  <a:lnTo>
                    <a:pt x="2787" y="9473"/>
                  </a:lnTo>
                  <a:lnTo>
                    <a:pt x="2229" y="9181"/>
                  </a:lnTo>
                  <a:lnTo>
                    <a:pt x="1752" y="8890"/>
                  </a:lnTo>
                  <a:lnTo>
                    <a:pt x="1354" y="8651"/>
                  </a:lnTo>
                  <a:lnTo>
                    <a:pt x="1354" y="8651"/>
                  </a:lnTo>
                  <a:lnTo>
                    <a:pt x="1062" y="8359"/>
                  </a:lnTo>
                  <a:lnTo>
                    <a:pt x="797" y="8067"/>
                  </a:lnTo>
                  <a:lnTo>
                    <a:pt x="558" y="7749"/>
                  </a:lnTo>
                  <a:lnTo>
                    <a:pt x="372" y="7457"/>
                  </a:lnTo>
                  <a:lnTo>
                    <a:pt x="107" y="6953"/>
                  </a:lnTo>
                  <a:lnTo>
                    <a:pt x="1" y="6740"/>
                  </a:lnTo>
                  <a:lnTo>
                    <a:pt x="1" y="6740"/>
                  </a:lnTo>
                  <a:lnTo>
                    <a:pt x="319" y="6210"/>
                  </a:lnTo>
                  <a:lnTo>
                    <a:pt x="1142" y="4777"/>
                  </a:lnTo>
                  <a:lnTo>
                    <a:pt x="2176" y="2866"/>
                  </a:lnTo>
                  <a:lnTo>
                    <a:pt x="2734" y="1805"/>
                  </a:lnTo>
                  <a:lnTo>
                    <a:pt x="3264" y="770"/>
                  </a:lnTo>
                  <a:lnTo>
                    <a:pt x="3264" y="770"/>
                  </a:lnTo>
                  <a:lnTo>
                    <a:pt x="3370" y="531"/>
                  </a:lnTo>
                  <a:lnTo>
                    <a:pt x="3503" y="345"/>
                  </a:lnTo>
                  <a:lnTo>
                    <a:pt x="3609" y="213"/>
                  </a:lnTo>
                  <a:lnTo>
                    <a:pt x="3715" y="107"/>
                  </a:lnTo>
                  <a:lnTo>
                    <a:pt x="3822" y="27"/>
                  </a:lnTo>
                  <a:lnTo>
                    <a:pt x="3928" y="1"/>
                  </a:lnTo>
                  <a:lnTo>
                    <a:pt x="4007" y="1"/>
                  </a:lnTo>
                  <a:lnTo>
                    <a:pt x="4087" y="27"/>
                  </a:lnTo>
                  <a:lnTo>
                    <a:pt x="4193" y="80"/>
                  </a:lnTo>
                  <a:lnTo>
                    <a:pt x="4273" y="160"/>
                  </a:lnTo>
                  <a:lnTo>
                    <a:pt x="4405" y="399"/>
                  </a:lnTo>
                  <a:lnTo>
                    <a:pt x="4538" y="690"/>
                  </a:lnTo>
                  <a:lnTo>
                    <a:pt x="4644" y="1035"/>
                  </a:lnTo>
                  <a:lnTo>
                    <a:pt x="4750" y="1407"/>
                  </a:lnTo>
                  <a:lnTo>
                    <a:pt x="4830" y="1805"/>
                  </a:lnTo>
                  <a:lnTo>
                    <a:pt x="4963" y="2548"/>
                  </a:lnTo>
                  <a:lnTo>
                    <a:pt x="5042" y="334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" name="Google Shape;1096;p57">
              <a:extLst>
                <a:ext uri="{FF2B5EF4-FFF2-40B4-BE49-F238E27FC236}">
                  <a16:creationId xmlns:a16="http://schemas.microsoft.com/office/drawing/2014/main" id="{CEC147B8-2CAB-3F4B-40EA-35ED1E4808D1}"/>
                </a:ext>
              </a:extLst>
            </p:cNvPr>
            <p:cNvSpPr/>
            <p:nvPr/>
          </p:nvSpPr>
          <p:spPr>
            <a:xfrm>
              <a:off x="7599277" y="4330452"/>
              <a:ext cx="3371" cy="20409"/>
            </a:xfrm>
            <a:custGeom>
              <a:avLst/>
              <a:gdLst/>
              <a:ahLst/>
              <a:cxnLst/>
              <a:rect l="l" t="t" r="r" b="b"/>
              <a:pathLst>
                <a:path w="399" h="2416" extrusionOk="0">
                  <a:moveTo>
                    <a:pt x="398" y="1"/>
                  </a:moveTo>
                  <a:lnTo>
                    <a:pt x="265" y="691"/>
                  </a:lnTo>
                  <a:lnTo>
                    <a:pt x="133" y="1328"/>
                  </a:lnTo>
                  <a:lnTo>
                    <a:pt x="53" y="1885"/>
                  </a:lnTo>
                  <a:lnTo>
                    <a:pt x="0" y="2415"/>
                  </a:lnTo>
                  <a:lnTo>
                    <a:pt x="27" y="2415"/>
                  </a:lnTo>
                  <a:lnTo>
                    <a:pt x="80" y="1885"/>
                  </a:lnTo>
                  <a:lnTo>
                    <a:pt x="159" y="1274"/>
                  </a:lnTo>
                  <a:lnTo>
                    <a:pt x="398" y="1"/>
                  </a:lnTo>
                  <a:close/>
                </a:path>
              </a:pathLst>
            </a:custGeom>
            <a:solidFill>
              <a:srgbClr val="C1C1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" name="Google Shape;1097;p57">
              <a:extLst>
                <a:ext uri="{FF2B5EF4-FFF2-40B4-BE49-F238E27FC236}">
                  <a16:creationId xmlns:a16="http://schemas.microsoft.com/office/drawing/2014/main" id="{5B9FE527-9C22-810D-2340-20B149B33512}"/>
                </a:ext>
              </a:extLst>
            </p:cNvPr>
            <p:cNvSpPr/>
            <p:nvPr/>
          </p:nvSpPr>
          <p:spPr>
            <a:xfrm>
              <a:off x="7599277" y="4330452"/>
              <a:ext cx="3371" cy="20409"/>
            </a:xfrm>
            <a:custGeom>
              <a:avLst/>
              <a:gdLst/>
              <a:ahLst/>
              <a:cxnLst/>
              <a:rect l="l" t="t" r="r" b="b"/>
              <a:pathLst>
                <a:path w="399" h="2416" fill="none" extrusionOk="0">
                  <a:moveTo>
                    <a:pt x="398" y="1"/>
                  </a:moveTo>
                  <a:lnTo>
                    <a:pt x="398" y="1"/>
                  </a:lnTo>
                  <a:lnTo>
                    <a:pt x="265" y="691"/>
                  </a:lnTo>
                  <a:lnTo>
                    <a:pt x="133" y="1328"/>
                  </a:lnTo>
                  <a:lnTo>
                    <a:pt x="53" y="1885"/>
                  </a:lnTo>
                  <a:lnTo>
                    <a:pt x="0" y="2415"/>
                  </a:lnTo>
                  <a:lnTo>
                    <a:pt x="0" y="2415"/>
                  </a:lnTo>
                  <a:lnTo>
                    <a:pt x="27" y="2415"/>
                  </a:lnTo>
                  <a:lnTo>
                    <a:pt x="27" y="2415"/>
                  </a:lnTo>
                  <a:lnTo>
                    <a:pt x="80" y="1885"/>
                  </a:lnTo>
                  <a:lnTo>
                    <a:pt x="159" y="1274"/>
                  </a:lnTo>
                  <a:lnTo>
                    <a:pt x="159" y="1274"/>
                  </a:lnTo>
                  <a:lnTo>
                    <a:pt x="398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" name="Google Shape;1098;p57">
              <a:extLst>
                <a:ext uri="{FF2B5EF4-FFF2-40B4-BE49-F238E27FC236}">
                  <a16:creationId xmlns:a16="http://schemas.microsoft.com/office/drawing/2014/main" id="{2E68FD44-A8C9-8D16-443D-A508FDB9846E}"/>
                </a:ext>
              </a:extLst>
            </p:cNvPr>
            <p:cNvSpPr/>
            <p:nvPr/>
          </p:nvSpPr>
          <p:spPr>
            <a:xfrm>
              <a:off x="7585373" y="4324623"/>
              <a:ext cx="17275" cy="26238"/>
            </a:xfrm>
            <a:custGeom>
              <a:avLst/>
              <a:gdLst/>
              <a:ahLst/>
              <a:cxnLst/>
              <a:rect l="l" t="t" r="r" b="b"/>
              <a:pathLst>
                <a:path w="2045" h="3106" extrusionOk="0">
                  <a:moveTo>
                    <a:pt x="532" y="1"/>
                  </a:moveTo>
                  <a:lnTo>
                    <a:pt x="479" y="27"/>
                  </a:lnTo>
                  <a:lnTo>
                    <a:pt x="346" y="134"/>
                  </a:lnTo>
                  <a:lnTo>
                    <a:pt x="240" y="293"/>
                  </a:lnTo>
                  <a:lnTo>
                    <a:pt x="134" y="505"/>
                  </a:lnTo>
                  <a:lnTo>
                    <a:pt x="54" y="717"/>
                  </a:lnTo>
                  <a:lnTo>
                    <a:pt x="1" y="983"/>
                  </a:lnTo>
                  <a:lnTo>
                    <a:pt x="28" y="1222"/>
                  </a:lnTo>
                  <a:lnTo>
                    <a:pt x="54" y="1434"/>
                  </a:lnTo>
                  <a:lnTo>
                    <a:pt x="134" y="1566"/>
                  </a:lnTo>
                  <a:lnTo>
                    <a:pt x="240" y="1726"/>
                  </a:lnTo>
                  <a:lnTo>
                    <a:pt x="399" y="1964"/>
                  </a:lnTo>
                  <a:lnTo>
                    <a:pt x="611" y="2203"/>
                  </a:lnTo>
                  <a:lnTo>
                    <a:pt x="824" y="2442"/>
                  </a:lnTo>
                  <a:lnTo>
                    <a:pt x="1089" y="2681"/>
                  </a:lnTo>
                  <a:lnTo>
                    <a:pt x="1354" y="2920"/>
                  </a:lnTo>
                  <a:lnTo>
                    <a:pt x="1646" y="3105"/>
                  </a:lnTo>
                  <a:lnTo>
                    <a:pt x="1699" y="2575"/>
                  </a:lnTo>
                  <a:lnTo>
                    <a:pt x="1779" y="2018"/>
                  </a:lnTo>
                  <a:lnTo>
                    <a:pt x="1911" y="1381"/>
                  </a:lnTo>
                  <a:lnTo>
                    <a:pt x="2044" y="691"/>
                  </a:lnTo>
                  <a:lnTo>
                    <a:pt x="1779" y="452"/>
                  </a:lnTo>
                  <a:lnTo>
                    <a:pt x="1646" y="346"/>
                  </a:lnTo>
                  <a:lnTo>
                    <a:pt x="1513" y="319"/>
                  </a:lnTo>
                  <a:lnTo>
                    <a:pt x="1115" y="266"/>
                  </a:lnTo>
                  <a:lnTo>
                    <a:pt x="1009" y="240"/>
                  </a:lnTo>
                  <a:lnTo>
                    <a:pt x="903" y="213"/>
                  </a:lnTo>
                  <a:lnTo>
                    <a:pt x="824" y="160"/>
                  </a:lnTo>
                  <a:lnTo>
                    <a:pt x="744" y="81"/>
                  </a:lnTo>
                  <a:lnTo>
                    <a:pt x="664" y="1"/>
                  </a:lnTo>
                  <a:close/>
                </a:path>
              </a:pathLst>
            </a:custGeom>
            <a:solidFill>
              <a:srgbClr val="B988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" name="Google Shape;1099;p57">
              <a:extLst>
                <a:ext uri="{FF2B5EF4-FFF2-40B4-BE49-F238E27FC236}">
                  <a16:creationId xmlns:a16="http://schemas.microsoft.com/office/drawing/2014/main" id="{55343197-1720-D4C2-BCF7-4A84C6679CFC}"/>
                </a:ext>
              </a:extLst>
            </p:cNvPr>
            <p:cNvSpPr/>
            <p:nvPr/>
          </p:nvSpPr>
          <p:spPr>
            <a:xfrm>
              <a:off x="7585373" y="4324623"/>
              <a:ext cx="17275" cy="26238"/>
            </a:xfrm>
            <a:custGeom>
              <a:avLst/>
              <a:gdLst/>
              <a:ahLst/>
              <a:cxnLst/>
              <a:rect l="l" t="t" r="r" b="b"/>
              <a:pathLst>
                <a:path w="2045" h="3106" fill="none" extrusionOk="0">
                  <a:moveTo>
                    <a:pt x="585" y="1"/>
                  </a:moveTo>
                  <a:lnTo>
                    <a:pt x="585" y="1"/>
                  </a:lnTo>
                  <a:lnTo>
                    <a:pt x="532" y="1"/>
                  </a:lnTo>
                  <a:lnTo>
                    <a:pt x="479" y="27"/>
                  </a:lnTo>
                  <a:lnTo>
                    <a:pt x="346" y="134"/>
                  </a:lnTo>
                  <a:lnTo>
                    <a:pt x="240" y="293"/>
                  </a:lnTo>
                  <a:lnTo>
                    <a:pt x="134" y="505"/>
                  </a:lnTo>
                  <a:lnTo>
                    <a:pt x="54" y="717"/>
                  </a:lnTo>
                  <a:lnTo>
                    <a:pt x="1" y="983"/>
                  </a:lnTo>
                  <a:lnTo>
                    <a:pt x="28" y="1222"/>
                  </a:lnTo>
                  <a:lnTo>
                    <a:pt x="54" y="1434"/>
                  </a:lnTo>
                  <a:lnTo>
                    <a:pt x="54" y="1434"/>
                  </a:lnTo>
                  <a:lnTo>
                    <a:pt x="134" y="1566"/>
                  </a:lnTo>
                  <a:lnTo>
                    <a:pt x="240" y="1726"/>
                  </a:lnTo>
                  <a:lnTo>
                    <a:pt x="399" y="1964"/>
                  </a:lnTo>
                  <a:lnTo>
                    <a:pt x="611" y="2203"/>
                  </a:lnTo>
                  <a:lnTo>
                    <a:pt x="824" y="2442"/>
                  </a:lnTo>
                  <a:lnTo>
                    <a:pt x="1089" y="2681"/>
                  </a:lnTo>
                  <a:lnTo>
                    <a:pt x="1354" y="2920"/>
                  </a:lnTo>
                  <a:lnTo>
                    <a:pt x="1646" y="3105"/>
                  </a:lnTo>
                  <a:lnTo>
                    <a:pt x="1646" y="3105"/>
                  </a:lnTo>
                  <a:lnTo>
                    <a:pt x="1699" y="2575"/>
                  </a:lnTo>
                  <a:lnTo>
                    <a:pt x="1779" y="2018"/>
                  </a:lnTo>
                  <a:lnTo>
                    <a:pt x="1911" y="1381"/>
                  </a:lnTo>
                  <a:lnTo>
                    <a:pt x="2044" y="691"/>
                  </a:lnTo>
                  <a:lnTo>
                    <a:pt x="2044" y="691"/>
                  </a:lnTo>
                  <a:lnTo>
                    <a:pt x="2044" y="691"/>
                  </a:lnTo>
                  <a:lnTo>
                    <a:pt x="2044" y="691"/>
                  </a:lnTo>
                  <a:lnTo>
                    <a:pt x="1779" y="452"/>
                  </a:lnTo>
                  <a:lnTo>
                    <a:pt x="1646" y="346"/>
                  </a:lnTo>
                  <a:lnTo>
                    <a:pt x="1513" y="319"/>
                  </a:lnTo>
                  <a:lnTo>
                    <a:pt x="1513" y="319"/>
                  </a:lnTo>
                  <a:lnTo>
                    <a:pt x="1115" y="266"/>
                  </a:lnTo>
                  <a:lnTo>
                    <a:pt x="1009" y="240"/>
                  </a:lnTo>
                  <a:lnTo>
                    <a:pt x="903" y="213"/>
                  </a:lnTo>
                  <a:lnTo>
                    <a:pt x="824" y="160"/>
                  </a:lnTo>
                  <a:lnTo>
                    <a:pt x="744" y="81"/>
                  </a:lnTo>
                  <a:lnTo>
                    <a:pt x="744" y="81"/>
                  </a:lnTo>
                  <a:lnTo>
                    <a:pt x="664" y="1"/>
                  </a:lnTo>
                  <a:lnTo>
                    <a:pt x="58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" name="Google Shape;1100;p57">
              <a:extLst>
                <a:ext uri="{FF2B5EF4-FFF2-40B4-BE49-F238E27FC236}">
                  <a16:creationId xmlns:a16="http://schemas.microsoft.com/office/drawing/2014/main" id="{2AB43F27-AC88-DC85-9667-9F3D7654DECC}"/>
                </a:ext>
              </a:extLst>
            </p:cNvPr>
            <p:cNvSpPr/>
            <p:nvPr/>
          </p:nvSpPr>
          <p:spPr>
            <a:xfrm>
              <a:off x="7569686" y="4437819"/>
              <a:ext cx="58288" cy="66811"/>
            </a:xfrm>
            <a:custGeom>
              <a:avLst/>
              <a:gdLst/>
              <a:ahLst/>
              <a:cxnLst/>
              <a:rect l="l" t="t" r="r" b="b"/>
              <a:pathLst>
                <a:path w="6900" h="7909" extrusionOk="0">
                  <a:moveTo>
                    <a:pt x="346" y="1"/>
                  </a:moveTo>
                  <a:lnTo>
                    <a:pt x="239" y="505"/>
                  </a:lnTo>
                  <a:lnTo>
                    <a:pt x="133" y="983"/>
                  </a:lnTo>
                  <a:lnTo>
                    <a:pt x="80" y="1407"/>
                  </a:lnTo>
                  <a:lnTo>
                    <a:pt x="27" y="1779"/>
                  </a:lnTo>
                  <a:lnTo>
                    <a:pt x="1" y="2150"/>
                  </a:lnTo>
                  <a:lnTo>
                    <a:pt x="1" y="2442"/>
                  </a:lnTo>
                  <a:lnTo>
                    <a:pt x="1" y="2734"/>
                  </a:lnTo>
                  <a:lnTo>
                    <a:pt x="27" y="2973"/>
                  </a:lnTo>
                  <a:lnTo>
                    <a:pt x="107" y="3397"/>
                  </a:lnTo>
                  <a:lnTo>
                    <a:pt x="213" y="3716"/>
                  </a:lnTo>
                  <a:lnTo>
                    <a:pt x="346" y="3981"/>
                  </a:lnTo>
                  <a:lnTo>
                    <a:pt x="478" y="4193"/>
                  </a:lnTo>
                  <a:lnTo>
                    <a:pt x="584" y="4326"/>
                  </a:lnTo>
                  <a:lnTo>
                    <a:pt x="744" y="4485"/>
                  </a:lnTo>
                  <a:lnTo>
                    <a:pt x="1327" y="4883"/>
                  </a:lnTo>
                  <a:lnTo>
                    <a:pt x="2097" y="5361"/>
                  </a:lnTo>
                  <a:lnTo>
                    <a:pt x="3025" y="5891"/>
                  </a:lnTo>
                  <a:lnTo>
                    <a:pt x="4034" y="6449"/>
                  </a:lnTo>
                  <a:lnTo>
                    <a:pt x="5069" y="6979"/>
                  </a:lnTo>
                  <a:lnTo>
                    <a:pt x="6050" y="7484"/>
                  </a:lnTo>
                  <a:lnTo>
                    <a:pt x="6900" y="7908"/>
                  </a:lnTo>
                  <a:lnTo>
                    <a:pt x="6900" y="7908"/>
                  </a:lnTo>
                  <a:lnTo>
                    <a:pt x="5042" y="6661"/>
                  </a:lnTo>
                  <a:lnTo>
                    <a:pt x="4246" y="6104"/>
                  </a:lnTo>
                  <a:lnTo>
                    <a:pt x="3556" y="5600"/>
                  </a:lnTo>
                  <a:lnTo>
                    <a:pt x="2946" y="5149"/>
                  </a:lnTo>
                  <a:lnTo>
                    <a:pt x="2442" y="4697"/>
                  </a:lnTo>
                  <a:lnTo>
                    <a:pt x="1991" y="4273"/>
                  </a:lnTo>
                  <a:lnTo>
                    <a:pt x="1619" y="3875"/>
                  </a:lnTo>
                  <a:lnTo>
                    <a:pt x="1301" y="3477"/>
                  </a:lnTo>
                  <a:lnTo>
                    <a:pt x="1035" y="3052"/>
                  </a:lnTo>
                  <a:lnTo>
                    <a:pt x="850" y="2628"/>
                  </a:lnTo>
                  <a:lnTo>
                    <a:pt x="664" y="2177"/>
                  </a:lnTo>
                  <a:lnTo>
                    <a:pt x="558" y="1699"/>
                  </a:lnTo>
                  <a:lnTo>
                    <a:pt x="452" y="1195"/>
                  </a:lnTo>
                  <a:lnTo>
                    <a:pt x="399" y="638"/>
                  </a:lnTo>
                  <a:lnTo>
                    <a:pt x="346" y="1"/>
                  </a:lnTo>
                  <a:close/>
                </a:path>
              </a:pathLst>
            </a:custGeom>
            <a:solidFill>
              <a:srgbClr val="C5334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" name="Google Shape;1101;p57">
              <a:extLst>
                <a:ext uri="{FF2B5EF4-FFF2-40B4-BE49-F238E27FC236}">
                  <a16:creationId xmlns:a16="http://schemas.microsoft.com/office/drawing/2014/main" id="{6902AE21-1215-6CD4-C194-64604976C13C}"/>
                </a:ext>
              </a:extLst>
            </p:cNvPr>
            <p:cNvSpPr/>
            <p:nvPr/>
          </p:nvSpPr>
          <p:spPr>
            <a:xfrm>
              <a:off x="7544808" y="4507308"/>
              <a:ext cx="228" cy="7628"/>
            </a:xfrm>
            <a:custGeom>
              <a:avLst/>
              <a:gdLst/>
              <a:ahLst/>
              <a:cxnLst/>
              <a:rect l="l" t="t" r="r" b="b"/>
              <a:pathLst>
                <a:path w="27" h="903" extrusionOk="0">
                  <a:moveTo>
                    <a:pt x="27" y="0"/>
                  </a:moveTo>
                  <a:lnTo>
                    <a:pt x="27" y="0"/>
                  </a:lnTo>
                  <a:lnTo>
                    <a:pt x="0" y="903"/>
                  </a:lnTo>
                  <a:lnTo>
                    <a:pt x="0" y="903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DFDFE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" name="Google Shape;1102;p57">
              <a:extLst>
                <a:ext uri="{FF2B5EF4-FFF2-40B4-BE49-F238E27FC236}">
                  <a16:creationId xmlns:a16="http://schemas.microsoft.com/office/drawing/2014/main" id="{54D65B35-D87E-BBEE-D8B1-0FC4E2326B60}"/>
                </a:ext>
              </a:extLst>
            </p:cNvPr>
            <p:cNvSpPr/>
            <p:nvPr/>
          </p:nvSpPr>
          <p:spPr>
            <a:xfrm>
              <a:off x="7544808" y="4507308"/>
              <a:ext cx="228" cy="7628"/>
            </a:xfrm>
            <a:custGeom>
              <a:avLst/>
              <a:gdLst/>
              <a:ahLst/>
              <a:cxnLst/>
              <a:rect l="l" t="t" r="r" b="b"/>
              <a:pathLst>
                <a:path w="27" h="903" fill="none" extrusionOk="0">
                  <a:moveTo>
                    <a:pt x="27" y="0"/>
                  </a:moveTo>
                  <a:lnTo>
                    <a:pt x="27" y="0"/>
                  </a:lnTo>
                  <a:lnTo>
                    <a:pt x="0" y="903"/>
                  </a:lnTo>
                  <a:lnTo>
                    <a:pt x="0" y="903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" name="Google Shape;1103;p57">
              <a:extLst>
                <a:ext uri="{FF2B5EF4-FFF2-40B4-BE49-F238E27FC236}">
                  <a16:creationId xmlns:a16="http://schemas.microsoft.com/office/drawing/2014/main" id="{9A93B678-38FF-2442-CBE2-3944A5586AFE}"/>
                </a:ext>
              </a:extLst>
            </p:cNvPr>
            <p:cNvSpPr/>
            <p:nvPr/>
          </p:nvSpPr>
          <p:spPr>
            <a:xfrm>
              <a:off x="7544580" y="4507308"/>
              <a:ext cx="106261" cy="44164"/>
            </a:xfrm>
            <a:custGeom>
              <a:avLst/>
              <a:gdLst/>
              <a:ahLst/>
              <a:cxnLst/>
              <a:rect l="l" t="t" r="r" b="b"/>
              <a:pathLst>
                <a:path w="12579" h="5228" extrusionOk="0">
                  <a:moveTo>
                    <a:pt x="54" y="0"/>
                  </a:moveTo>
                  <a:lnTo>
                    <a:pt x="27" y="903"/>
                  </a:lnTo>
                  <a:lnTo>
                    <a:pt x="1" y="1327"/>
                  </a:lnTo>
                  <a:lnTo>
                    <a:pt x="27" y="1327"/>
                  </a:lnTo>
                  <a:lnTo>
                    <a:pt x="266" y="1380"/>
                  </a:lnTo>
                  <a:lnTo>
                    <a:pt x="717" y="1486"/>
                  </a:lnTo>
                  <a:lnTo>
                    <a:pt x="2150" y="1938"/>
                  </a:lnTo>
                  <a:lnTo>
                    <a:pt x="6342" y="3264"/>
                  </a:lnTo>
                  <a:lnTo>
                    <a:pt x="10482" y="4617"/>
                  </a:lnTo>
                  <a:lnTo>
                    <a:pt x="11915" y="5042"/>
                  </a:lnTo>
                  <a:lnTo>
                    <a:pt x="12366" y="5175"/>
                  </a:lnTo>
                  <a:lnTo>
                    <a:pt x="12578" y="5228"/>
                  </a:lnTo>
                  <a:lnTo>
                    <a:pt x="12578" y="5228"/>
                  </a:lnTo>
                  <a:lnTo>
                    <a:pt x="12074" y="4989"/>
                  </a:lnTo>
                  <a:lnTo>
                    <a:pt x="10668" y="4432"/>
                  </a:lnTo>
                  <a:lnTo>
                    <a:pt x="6342" y="2680"/>
                  </a:lnTo>
                  <a:lnTo>
                    <a:pt x="4060" y="1752"/>
                  </a:lnTo>
                  <a:lnTo>
                    <a:pt x="2044" y="903"/>
                  </a:lnTo>
                  <a:lnTo>
                    <a:pt x="611" y="292"/>
                  </a:lnTo>
                  <a:lnTo>
                    <a:pt x="213" y="80"/>
                  </a:lnTo>
                  <a:lnTo>
                    <a:pt x="107" y="27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C5334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" name="Google Shape;1104;p57">
              <a:extLst>
                <a:ext uri="{FF2B5EF4-FFF2-40B4-BE49-F238E27FC236}">
                  <a16:creationId xmlns:a16="http://schemas.microsoft.com/office/drawing/2014/main" id="{7DF77B37-EAEE-239E-D25C-4F92472D940B}"/>
                </a:ext>
              </a:extLst>
            </p:cNvPr>
            <p:cNvSpPr/>
            <p:nvPr/>
          </p:nvSpPr>
          <p:spPr>
            <a:xfrm>
              <a:off x="7537188" y="4553035"/>
              <a:ext cx="3142" cy="13237"/>
            </a:xfrm>
            <a:custGeom>
              <a:avLst/>
              <a:gdLst/>
              <a:ahLst/>
              <a:cxnLst/>
              <a:rect l="l" t="t" r="r" b="b"/>
              <a:pathLst>
                <a:path w="372" h="1567" extrusionOk="0">
                  <a:moveTo>
                    <a:pt x="372" y="1"/>
                  </a:moveTo>
                  <a:lnTo>
                    <a:pt x="372" y="1"/>
                  </a:lnTo>
                  <a:lnTo>
                    <a:pt x="212" y="797"/>
                  </a:lnTo>
                  <a:lnTo>
                    <a:pt x="0" y="1566"/>
                  </a:lnTo>
                  <a:lnTo>
                    <a:pt x="0" y="1566"/>
                  </a:lnTo>
                  <a:lnTo>
                    <a:pt x="212" y="797"/>
                  </a:lnTo>
                  <a:lnTo>
                    <a:pt x="372" y="1"/>
                  </a:lnTo>
                  <a:close/>
                </a:path>
              </a:pathLst>
            </a:custGeom>
            <a:solidFill>
              <a:srgbClr val="DBDBD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" name="Google Shape;1105;p57">
              <a:extLst>
                <a:ext uri="{FF2B5EF4-FFF2-40B4-BE49-F238E27FC236}">
                  <a16:creationId xmlns:a16="http://schemas.microsoft.com/office/drawing/2014/main" id="{BE5DA279-563B-8851-75BD-77BCC4A7EDE7}"/>
                </a:ext>
              </a:extLst>
            </p:cNvPr>
            <p:cNvSpPr/>
            <p:nvPr/>
          </p:nvSpPr>
          <p:spPr>
            <a:xfrm>
              <a:off x="7537188" y="4553035"/>
              <a:ext cx="3142" cy="13237"/>
            </a:xfrm>
            <a:custGeom>
              <a:avLst/>
              <a:gdLst/>
              <a:ahLst/>
              <a:cxnLst/>
              <a:rect l="l" t="t" r="r" b="b"/>
              <a:pathLst>
                <a:path w="372" h="1567" fill="none" extrusionOk="0">
                  <a:moveTo>
                    <a:pt x="372" y="1"/>
                  </a:moveTo>
                  <a:lnTo>
                    <a:pt x="372" y="1"/>
                  </a:lnTo>
                  <a:lnTo>
                    <a:pt x="212" y="797"/>
                  </a:lnTo>
                  <a:lnTo>
                    <a:pt x="0" y="1566"/>
                  </a:lnTo>
                  <a:lnTo>
                    <a:pt x="0" y="1566"/>
                  </a:lnTo>
                  <a:lnTo>
                    <a:pt x="212" y="797"/>
                  </a:lnTo>
                  <a:lnTo>
                    <a:pt x="37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" name="Google Shape;1106;p57">
              <a:extLst>
                <a:ext uri="{FF2B5EF4-FFF2-40B4-BE49-F238E27FC236}">
                  <a16:creationId xmlns:a16="http://schemas.microsoft.com/office/drawing/2014/main" id="{7F4EAB65-E814-89AA-C80B-76E498A01FD5}"/>
                </a:ext>
              </a:extLst>
            </p:cNvPr>
            <p:cNvSpPr/>
            <p:nvPr/>
          </p:nvSpPr>
          <p:spPr>
            <a:xfrm>
              <a:off x="7404267" y="4600780"/>
              <a:ext cx="150636" cy="332646"/>
            </a:xfrm>
            <a:custGeom>
              <a:avLst/>
              <a:gdLst/>
              <a:ahLst/>
              <a:cxnLst/>
              <a:rect l="l" t="t" r="r" b="b"/>
              <a:pathLst>
                <a:path w="17832" h="39378" extrusionOk="0">
                  <a:moveTo>
                    <a:pt x="13772" y="0"/>
                  </a:moveTo>
                  <a:lnTo>
                    <a:pt x="13161" y="1009"/>
                  </a:lnTo>
                  <a:lnTo>
                    <a:pt x="12604" y="2017"/>
                  </a:lnTo>
                  <a:lnTo>
                    <a:pt x="12126" y="3052"/>
                  </a:lnTo>
                  <a:lnTo>
                    <a:pt x="11675" y="4060"/>
                  </a:lnTo>
                  <a:lnTo>
                    <a:pt x="11304" y="5095"/>
                  </a:lnTo>
                  <a:lnTo>
                    <a:pt x="10959" y="6130"/>
                  </a:lnTo>
                  <a:lnTo>
                    <a:pt x="10667" y="7165"/>
                  </a:lnTo>
                  <a:lnTo>
                    <a:pt x="10402" y="8226"/>
                  </a:lnTo>
                  <a:lnTo>
                    <a:pt x="10163" y="9287"/>
                  </a:lnTo>
                  <a:lnTo>
                    <a:pt x="9951" y="10349"/>
                  </a:lnTo>
                  <a:lnTo>
                    <a:pt x="9553" y="12498"/>
                  </a:lnTo>
                  <a:lnTo>
                    <a:pt x="9181" y="14674"/>
                  </a:lnTo>
                  <a:lnTo>
                    <a:pt x="8810" y="16903"/>
                  </a:lnTo>
                  <a:lnTo>
                    <a:pt x="8597" y="18044"/>
                  </a:lnTo>
                  <a:lnTo>
                    <a:pt x="8358" y="19158"/>
                  </a:lnTo>
                  <a:lnTo>
                    <a:pt x="8093" y="20326"/>
                  </a:lnTo>
                  <a:lnTo>
                    <a:pt x="7801" y="21467"/>
                  </a:lnTo>
                  <a:lnTo>
                    <a:pt x="7483" y="22661"/>
                  </a:lnTo>
                  <a:lnTo>
                    <a:pt x="7111" y="23828"/>
                  </a:lnTo>
                  <a:lnTo>
                    <a:pt x="6713" y="25022"/>
                  </a:lnTo>
                  <a:lnTo>
                    <a:pt x="6236" y="26243"/>
                  </a:lnTo>
                  <a:lnTo>
                    <a:pt x="5732" y="27463"/>
                  </a:lnTo>
                  <a:lnTo>
                    <a:pt x="5148" y="28684"/>
                  </a:lnTo>
                  <a:lnTo>
                    <a:pt x="4484" y="29931"/>
                  </a:lnTo>
                  <a:lnTo>
                    <a:pt x="3741" y="31205"/>
                  </a:lnTo>
                  <a:lnTo>
                    <a:pt x="2945" y="32478"/>
                  </a:lnTo>
                  <a:lnTo>
                    <a:pt x="2521" y="33115"/>
                  </a:lnTo>
                  <a:lnTo>
                    <a:pt x="2043" y="33752"/>
                  </a:lnTo>
                  <a:lnTo>
                    <a:pt x="1566" y="34415"/>
                  </a:lnTo>
                  <a:lnTo>
                    <a:pt x="1061" y="35052"/>
                  </a:lnTo>
                  <a:lnTo>
                    <a:pt x="557" y="35716"/>
                  </a:lnTo>
                  <a:lnTo>
                    <a:pt x="0" y="36379"/>
                  </a:lnTo>
                  <a:lnTo>
                    <a:pt x="212" y="36618"/>
                  </a:lnTo>
                  <a:lnTo>
                    <a:pt x="451" y="36830"/>
                  </a:lnTo>
                  <a:lnTo>
                    <a:pt x="717" y="37042"/>
                  </a:lnTo>
                  <a:lnTo>
                    <a:pt x="1008" y="37202"/>
                  </a:lnTo>
                  <a:lnTo>
                    <a:pt x="1300" y="37361"/>
                  </a:lnTo>
                  <a:lnTo>
                    <a:pt x="1619" y="37493"/>
                  </a:lnTo>
                  <a:lnTo>
                    <a:pt x="1964" y="37600"/>
                  </a:lnTo>
                  <a:lnTo>
                    <a:pt x="2335" y="37679"/>
                  </a:lnTo>
                  <a:lnTo>
                    <a:pt x="2707" y="37759"/>
                  </a:lnTo>
                  <a:lnTo>
                    <a:pt x="3078" y="37838"/>
                  </a:lnTo>
                  <a:lnTo>
                    <a:pt x="3901" y="37918"/>
                  </a:lnTo>
                  <a:lnTo>
                    <a:pt x="4723" y="37971"/>
                  </a:lnTo>
                  <a:lnTo>
                    <a:pt x="5572" y="37998"/>
                  </a:lnTo>
                  <a:lnTo>
                    <a:pt x="7297" y="38024"/>
                  </a:lnTo>
                  <a:lnTo>
                    <a:pt x="8120" y="38024"/>
                  </a:lnTo>
                  <a:lnTo>
                    <a:pt x="8916" y="38077"/>
                  </a:lnTo>
                  <a:lnTo>
                    <a:pt x="9659" y="38130"/>
                  </a:lnTo>
                  <a:lnTo>
                    <a:pt x="10349" y="38236"/>
                  </a:lnTo>
                  <a:lnTo>
                    <a:pt x="10640" y="38316"/>
                  </a:lnTo>
                  <a:lnTo>
                    <a:pt x="10932" y="38422"/>
                  </a:lnTo>
                  <a:lnTo>
                    <a:pt x="11224" y="38528"/>
                  </a:lnTo>
                  <a:lnTo>
                    <a:pt x="11463" y="38634"/>
                  </a:lnTo>
                  <a:lnTo>
                    <a:pt x="11808" y="38820"/>
                  </a:lnTo>
                  <a:lnTo>
                    <a:pt x="12286" y="39006"/>
                  </a:lnTo>
                  <a:lnTo>
                    <a:pt x="12816" y="39192"/>
                  </a:lnTo>
                  <a:lnTo>
                    <a:pt x="13453" y="39377"/>
                  </a:lnTo>
                  <a:lnTo>
                    <a:pt x="13878" y="38396"/>
                  </a:lnTo>
                  <a:lnTo>
                    <a:pt x="14302" y="37361"/>
                  </a:lnTo>
                  <a:lnTo>
                    <a:pt x="14674" y="36299"/>
                  </a:lnTo>
                  <a:lnTo>
                    <a:pt x="15045" y="35238"/>
                  </a:lnTo>
                  <a:lnTo>
                    <a:pt x="15364" y="34124"/>
                  </a:lnTo>
                  <a:lnTo>
                    <a:pt x="15682" y="32983"/>
                  </a:lnTo>
                  <a:lnTo>
                    <a:pt x="15974" y="31815"/>
                  </a:lnTo>
                  <a:lnTo>
                    <a:pt x="16239" y="30648"/>
                  </a:lnTo>
                  <a:lnTo>
                    <a:pt x="16478" y="29454"/>
                  </a:lnTo>
                  <a:lnTo>
                    <a:pt x="16690" y="28233"/>
                  </a:lnTo>
                  <a:lnTo>
                    <a:pt x="16876" y="27012"/>
                  </a:lnTo>
                  <a:lnTo>
                    <a:pt x="17062" y="25792"/>
                  </a:lnTo>
                  <a:lnTo>
                    <a:pt x="17221" y="24545"/>
                  </a:lnTo>
                  <a:lnTo>
                    <a:pt x="17354" y="23271"/>
                  </a:lnTo>
                  <a:lnTo>
                    <a:pt x="17460" y="21997"/>
                  </a:lnTo>
                  <a:lnTo>
                    <a:pt x="17566" y="20750"/>
                  </a:lnTo>
                  <a:lnTo>
                    <a:pt x="17646" y="19477"/>
                  </a:lnTo>
                  <a:lnTo>
                    <a:pt x="17725" y="18203"/>
                  </a:lnTo>
                  <a:lnTo>
                    <a:pt x="17805" y="15656"/>
                  </a:lnTo>
                  <a:lnTo>
                    <a:pt x="17831" y="13108"/>
                  </a:lnTo>
                  <a:lnTo>
                    <a:pt x="17831" y="10614"/>
                  </a:lnTo>
                  <a:lnTo>
                    <a:pt x="17752" y="8173"/>
                  </a:lnTo>
                  <a:lnTo>
                    <a:pt x="17646" y="5785"/>
                  </a:lnTo>
                  <a:lnTo>
                    <a:pt x="17513" y="3450"/>
                  </a:lnTo>
                  <a:lnTo>
                    <a:pt x="17354" y="1247"/>
                  </a:lnTo>
                  <a:lnTo>
                    <a:pt x="16505" y="1168"/>
                  </a:lnTo>
                  <a:lnTo>
                    <a:pt x="15735" y="1062"/>
                  </a:lnTo>
                  <a:lnTo>
                    <a:pt x="15098" y="929"/>
                  </a:lnTo>
                  <a:lnTo>
                    <a:pt x="14541" y="796"/>
                  </a:lnTo>
                  <a:lnTo>
                    <a:pt x="14302" y="717"/>
                  </a:lnTo>
                  <a:lnTo>
                    <a:pt x="14116" y="637"/>
                  </a:lnTo>
                  <a:lnTo>
                    <a:pt x="13957" y="558"/>
                  </a:lnTo>
                  <a:lnTo>
                    <a:pt x="13851" y="451"/>
                  </a:lnTo>
                  <a:lnTo>
                    <a:pt x="13772" y="345"/>
                  </a:lnTo>
                  <a:lnTo>
                    <a:pt x="13718" y="239"/>
                  </a:lnTo>
                  <a:lnTo>
                    <a:pt x="13718" y="133"/>
                  </a:lnTo>
                  <a:lnTo>
                    <a:pt x="13772" y="0"/>
                  </a:lnTo>
                  <a:close/>
                </a:path>
              </a:pathLst>
            </a:custGeom>
            <a:solidFill>
              <a:srgbClr val="EFEF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" name="Google Shape;1107;p57">
              <a:extLst>
                <a:ext uri="{FF2B5EF4-FFF2-40B4-BE49-F238E27FC236}">
                  <a16:creationId xmlns:a16="http://schemas.microsoft.com/office/drawing/2014/main" id="{1824AD6B-E5A4-E518-B447-79DDA9513A5C}"/>
                </a:ext>
              </a:extLst>
            </p:cNvPr>
            <p:cNvSpPr/>
            <p:nvPr/>
          </p:nvSpPr>
          <p:spPr>
            <a:xfrm>
              <a:off x="7404267" y="4600780"/>
              <a:ext cx="150636" cy="332646"/>
            </a:xfrm>
            <a:custGeom>
              <a:avLst/>
              <a:gdLst/>
              <a:ahLst/>
              <a:cxnLst/>
              <a:rect l="l" t="t" r="r" b="b"/>
              <a:pathLst>
                <a:path w="17832" h="39378" fill="none" extrusionOk="0">
                  <a:moveTo>
                    <a:pt x="13772" y="0"/>
                  </a:moveTo>
                  <a:lnTo>
                    <a:pt x="13772" y="0"/>
                  </a:lnTo>
                  <a:lnTo>
                    <a:pt x="13161" y="1009"/>
                  </a:lnTo>
                  <a:lnTo>
                    <a:pt x="12604" y="2017"/>
                  </a:lnTo>
                  <a:lnTo>
                    <a:pt x="12126" y="3052"/>
                  </a:lnTo>
                  <a:lnTo>
                    <a:pt x="11675" y="4060"/>
                  </a:lnTo>
                  <a:lnTo>
                    <a:pt x="11304" y="5095"/>
                  </a:lnTo>
                  <a:lnTo>
                    <a:pt x="10959" y="6130"/>
                  </a:lnTo>
                  <a:lnTo>
                    <a:pt x="10667" y="7165"/>
                  </a:lnTo>
                  <a:lnTo>
                    <a:pt x="10402" y="8226"/>
                  </a:lnTo>
                  <a:lnTo>
                    <a:pt x="10163" y="9287"/>
                  </a:lnTo>
                  <a:lnTo>
                    <a:pt x="9951" y="10349"/>
                  </a:lnTo>
                  <a:lnTo>
                    <a:pt x="9553" y="12498"/>
                  </a:lnTo>
                  <a:lnTo>
                    <a:pt x="9181" y="14674"/>
                  </a:lnTo>
                  <a:lnTo>
                    <a:pt x="8810" y="16903"/>
                  </a:lnTo>
                  <a:lnTo>
                    <a:pt x="8597" y="18044"/>
                  </a:lnTo>
                  <a:lnTo>
                    <a:pt x="8358" y="19158"/>
                  </a:lnTo>
                  <a:lnTo>
                    <a:pt x="8093" y="20326"/>
                  </a:lnTo>
                  <a:lnTo>
                    <a:pt x="7801" y="21467"/>
                  </a:lnTo>
                  <a:lnTo>
                    <a:pt x="7483" y="22661"/>
                  </a:lnTo>
                  <a:lnTo>
                    <a:pt x="7111" y="23828"/>
                  </a:lnTo>
                  <a:lnTo>
                    <a:pt x="6713" y="25022"/>
                  </a:lnTo>
                  <a:lnTo>
                    <a:pt x="6236" y="26243"/>
                  </a:lnTo>
                  <a:lnTo>
                    <a:pt x="5732" y="27463"/>
                  </a:lnTo>
                  <a:lnTo>
                    <a:pt x="5148" y="28684"/>
                  </a:lnTo>
                  <a:lnTo>
                    <a:pt x="4484" y="29931"/>
                  </a:lnTo>
                  <a:lnTo>
                    <a:pt x="3741" y="31205"/>
                  </a:lnTo>
                  <a:lnTo>
                    <a:pt x="2945" y="32478"/>
                  </a:lnTo>
                  <a:lnTo>
                    <a:pt x="2521" y="33115"/>
                  </a:lnTo>
                  <a:lnTo>
                    <a:pt x="2043" y="33752"/>
                  </a:lnTo>
                  <a:lnTo>
                    <a:pt x="1566" y="34415"/>
                  </a:lnTo>
                  <a:lnTo>
                    <a:pt x="1061" y="35052"/>
                  </a:lnTo>
                  <a:lnTo>
                    <a:pt x="557" y="35716"/>
                  </a:lnTo>
                  <a:lnTo>
                    <a:pt x="0" y="36379"/>
                  </a:lnTo>
                  <a:lnTo>
                    <a:pt x="0" y="36379"/>
                  </a:lnTo>
                  <a:lnTo>
                    <a:pt x="212" y="36618"/>
                  </a:lnTo>
                  <a:lnTo>
                    <a:pt x="451" y="36830"/>
                  </a:lnTo>
                  <a:lnTo>
                    <a:pt x="717" y="37042"/>
                  </a:lnTo>
                  <a:lnTo>
                    <a:pt x="1008" y="37202"/>
                  </a:lnTo>
                  <a:lnTo>
                    <a:pt x="1300" y="37361"/>
                  </a:lnTo>
                  <a:lnTo>
                    <a:pt x="1619" y="37493"/>
                  </a:lnTo>
                  <a:lnTo>
                    <a:pt x="1964" y="37600"/>
                  </a:lnTo>
                  <a:lnTo>
                    <a:pt x="2335" y="37679"/>
                  </a:lnTo>
                  <a:lnTo>
                    <a:pt x="2707" y="37759"/>
                  </a:lnTo>
                  <a:lnTo>
                    <a:pt x="3078" y="37838"/>
                  </a:lnTo>
                  <a:lnTo>
                    <a:pt x="3901" y="37918"/>
                  </a:lnTo>
                  <a:lnTo>
                    <a:pt x="4723" y="37971"/>
                  </a:lnTo>
                  <a:lnTo>
                    <a:pt x="5572" y="37998"/>
                  </a:lnTo>
                  <a:lnTo>
                    <a:pt x="7297" y="38024"/>
                  </a:lnTo>
                  <a:lnTo>
                    <a:pt x="8120" y="38024"/>
                  </a:lnTo>
                  <a:lnTo>
                    <a:pt x="8916" y="38077"/>
                  </a:lnTo>
                  <a:lnTo>
                    <a:pt x="9659" y="38130"/>
                  </a:lnTo>
                  <a:lnTo>
                    <a:pt x="10349" y="38236"/>
                  </a:lnTo>
                  <a:lnTo>
                    <a:pt x="10640" y="38316"/>
                  </a:lnTo>
                  <a:lnTo>
                    <a:pt x="10932" y="38422"/>
                  </a:lnTo>
                  <a:lnTo>
                    <a:pt x="11224" y="38528"/>
                  </a:lnTo>
                  <a:lnTo>
                    <a:pt x="11463" y="38634"/>
                  </a:lnTo>
                  <a:lnTo>
                    <a:pt x="11463" y="38634"/>
                  </a:lnTo>
                  <a:lnTo>
                    <a:pt x="11808" y="38820"/>
                  </a:lnTo>
                  <a:lnTo>
                    <a:pt x="12286" y="39006"/>
                  </a:lnTo>
                  <a:lnTo>
                    <a:pt x="12816" y="39192"/>
                  </a:lnTo>
                  <a:lnTo>
                    <a:pt x="13453" y="39377"/>
                  </a:lnTo>
                  <a:lnTo>
                    <a:pt x="13453" y="39377"/>
                  </a:lnTo>
                  <a:lnTo>
                    <a:pt x="13878" y="38396"/>
                  </a:lnTo>
                  <a:lnTo>
                    <a:pt x="14302" y="37361"/>
                  </a:lnTo>
                  <a:lnTo>
                    <a:pt x="14674" y="36299"/>
                  </a:lnTo>
                  <a:lnTo>
                    <a:pt x="15045" y="35238"/>
                  </a:lnTo>
                  <a:lnTo>
                    <a:pt x="15364" y="34124"/>
                  </a:lnTo>
                  <a:lnTo>
                    <a:pt x="15682" y="32983"/>
                  </a:lnTo>
                  <a:lnTo>
                    <a:pt x="15974" y="31815"/>
                  </a:lnTo>
                  <a:lnTo>
                    <a:pt x="16239" y="30648"/>
                  </a:lnTo>
                  <a:lnTo>
                    <a:pt x="16478" y="29454"/>
                  </a:lnTo>
                  <a:lnTo>
                    <a:pt x="16690" y="28233"/>
                  </a:lnTo>
                  <a:lnTo>
                    <a:pt x="16876" y="27012"/>
                  </a:lnTo>
                  <a:lnTo>
                    <a:pt x="17062" y="25792"/>
                  </a:lnTo>
                  <a:lnTo>
                    <a:pt x="17221" y="24545"/>
                  </a:lnTo>
                  <a:lnTo>
                    <a:pt x="17354" y="23271"/>
                  </a:lnTo>
                  <a:lnTo>
                    <a:pt x="17460" y="21997"/>
                  </a:lnTo>
                  <a:lnTo>
                    <a:pt x="17566" y="20750"/>
                  </a:lnTo>
                  <a:lnTo>
                    <a:pt x="17646" y="19477"/>
                  </a:lnTo>
                  <a:lnTo>
                    <a:pt x="17725" y="18203"/>
                  </a:lnTo>
                  <a:lnTo>
                    <a:pt x="17805" y="15656"/>
                  </a:lnTo>
                  <a:lnTo>
                    <a:pt x="17831" y="13108"/>
                  </a:lnTo>
                  <a:lnTo>
                    <a:pt x="17831" y="10614"/>
                  </a:lnTo>
                  <a:lnTo>
                    <a:pt x="17752" y="8173"/>
                  </a:lnTo>
                  <a:lnTo>
                    <a:pt x="17646" y="5785"/>
                  </a:lnTo>
                  <a:lnTo>
                    <a:pt x="17513" y="3450"/>
                  </a:lnTo>
                  <a:lnTo>
                    <a:pt x="17354" y="1247"/>
                  </a:lnTo>
                  <a:lnTo>
                    <a:pt x="17354" y="1247"/>
                  </a:lnTo>
                  <a:lnTo>
                    <a:pt x="17354" y="1247"/>
                  </a:lnTo>
                  <a:lnTo>
                    <a:pt x="17354" y="1247"/>
                  </a:lnTo>
                  <a:lnTo>
                    <a:pt x="16505" y="1168"/>
                  </a:lnTo>
                  <a:lnTo>
                    <a:pt x="15735" y="1062"/>
                  </a:lnTo>
                  <a:lnTo>
                    <a:pt x="15098" y="929"/>
                  </a:lnTo>
                  <a:lnTo>
                    <a:pt x="14541" y="796"/>
                  </a:lnTo>
                  <a:lnTo>
                    <a:pt x="14302" y="717"/>
                  </a:lnTo>
                  <a:lnTo>
                    <a:pt x="14116" y="637"/>
                  </a:lnTo>
                  <a:lnTo>
                    <a:pt x="13957" y="558"/>
                  </a:lnTo>
                  <a:lnTo>
                    <a:pt x="13851" y="451"/>
                  </a:lnTo>
                  <a:lnTo>
                    <a:pt x="13772" y="345"/>
                  </a:lnTo>
                  <a:lnTo>
                    <a:pt x="13718" y="239"/>
                  </a:lnTo>
                  <a:lnTo>
                    <a:pt x="13718" y="133"/>
                  </a:lnTo>
                  <a:lnTo>
                    <a:pt x="1377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" name="Google Shape;1108;p57">
              <a:extLst>
                <a:ext uri="{FF2B5EF4-FFF2-40B4-BE49-F238E27FC236}">
                  <a16:creationId xmlns:a16="http://schemas.microsoft.com/office/drawing/2014/main" id="{196E961F-CA42-FBDE-1E15-F3693629C898}"/>
                </a:ext>
              </a:extLst>
            </p:cNvPr>
            <p:cNvSpPr/>
            <p:nvPr/>
          </p:nvSpPr>
          <p:spPr>
            <a:xfrm>
              <a:off x="7520149" y="4538911"/>
              <a:ext cx="30715" cy="72412"/>
            </a:xfrm>
            <a:custGeom>
              <a:avLst/>
              <a:gdLst/>
              <a:ahLst/>
              <a:cxnLst/>
              <a:rect l="l" t="t" r="r" b="b"/>
              <a:pathLst>
                <a:path w="3636" h="8572" extrusionOk="0">
                  <a:moveTo>
                    <a:pt x="2654" y="1"/>
                  </a:moveTo>
                  <a:lnTo>
                    <a:pt x="2548" y="850"/>
                  </a:lnTo>
                  <a:lnTo>
                    <a:pt x="2389" y="1673"/>
                  </a:lnTo>
                  <a:lnTo>
                    <a:pt x="2229" y="2469"/>
                  </a:lnTo>
                  <a:lnTo>
                    <a:pt x="2017" y="3238"/>
                  </a:lnTo>
                  <a:lnTo>
                    <a:pt x="1831" y="3795"/>
                  </a:lnTo>
                  <a:lnTo>
                    <a:pt x="1619" y="4352"/>
                  </a:lnTo>
                  <a:lnTo>
                    <a:pt x="1407" y="4883"/>
                  </a:lnTo>
                  <a:lnTo>
                    <a:pt x="1168" y="5414"/>
                  </a:lnTo>
                  <a:lnTo>
                    <a:pt x="929" y="5891"/>
                  </a:lnTo>
                  <a:lnTo>
                    <a:pt x="664" y="6369"/>
                  </a:lnTo>
                  <a:lnTo>
                    <a:pt x="398" y="6820"/>
                  </a:lnTo>
                  <a:lnTo>
                    <a:pt x="80" y="7245"/>
                  </a:lnTo>
                  <a:lnTo>
                    <a:pt x="54" y="7324"/>
                  </a:lnTo>
                  <a:lnTo>
                    <a:pt x="0" y="7457"/>
                  </a:lnTo>
                  <a:lnTo>
                    <a:pt x="0" y="7563"/>
                  </a:lnTo>
                  <a:lnTo>
                    <a:pt x="54" y="7669"/>
                  </a:lnTo>
                  <a:lnTo>
                    <a:pt x="133" y="7775"/>
                  </a:lnTo>
                  <a:lnTo>
                    <a:pt x="239" y="7882"/>
                  </a:lnTo>
                  <a:lnTo>
                    <a:pt x="398" y="7961"/>
                  </a:lnTo>
                  <a:lnTo>
                    <a:pt x="584" y="8041"/>
                  </a:lnTo>
                  <a:lnTo>
                    <a:pt x="823" y="8120"/>
                  </a:lnTo>
                  <a:lnTo>
                    <a:pt x="1380" y="8253"/>
                  </a:lnTo>
                  <a:lnTo>
                    <a:pt x="2017" y="8386"/>
                  </a:lnTo>
                  <a:lnTo>
                    <a:pt x="2787" y="8492"/>
                  </a:lnTo>
                  <a:lnTo>
                    <a:pt x="3636" y="8571"/>
                  </a:lnTo>
                  <a:lnTo>
                    <a:pt x="3636" y="8571"/>
                  </a:lnTo>
                  <a:lnTo>
                    <a:pt x="3450" y="6688"/>
                  </a:lnTo>
                  <a:lnTo>
                    <a:pt x="3291" y="4883"/>
                  </a:lnTo>
                  <a:lnTo>
                    <a:pt x="2972" y="2309"/>
                  </a:lnTo>
                  <a:lnTo>
                    <a:pt x="2654" y="1"/>
                  </a:lnTo>
                  <a:close/>
                </a:path>
              </a:pathLst>
            </a:custGeom>
            <a:solidFill>
              <a:srgbClr val="C5334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" name="Google Shape;1109;p57">
              <a:extLst>
                <a:ext uri="{FF2B5EF4-FFF2-40B4-BE49-F238E27FC236}">
                  <a16:creationId xmlns:a16="http://schemas.microsoft.com/office/drawing/2014/main" id="{E5009F8D-E0F8-1BBD-C3D6-76958E9C7699}"/>
                </a:ext>
              </a:extLst>
            </p:cNvPr>
            <p:cNvSpPr/>
            <p:nvPr/>
          </p:nvSpPr>
          <p:spPr>
            <a:xfrm>
              <a:off x="7560047" y="4272848"/>
              <a:ext cx="67031" cy="61422"/>
            </a:xfrm>
            <a:custGeom>
              <a:avLst/>
              <a:gdLst/>
              <a:ahLst/>
              <a:cxnLst/>
              <a:rect l="l" t="t" r="r" b="b"/>
              <a:pathLst>
                <a:path w="7935" h="7271" extrusionOk="0">
                  <a:moveTo>
                    <a:pt x="4883" y="0"/>
                  </a:moveTo>
                  <a:lnTo>
                    <a:pt x="1" y="1274"/>
                  </a:lnTo>
                  <a:lnTo>
                    <a:pt x="452" y="2203"/>
                  </a:lnTo>
                  <a:lnTo>
                    <a:pt x="956" y="3291"/>
                  </a:lnTo>
                  <a:lnTo>
                    <a:pt x="1593" y="4777"/>
                  </a:lnTo>
                  <a:lnTo>
                    <a:pt x="1805" y="5175"/>
                  </a:lnTo>
                  <a:lnTo>
                    <a:pt x="2017" y="5546"/>
                  </a:lnTo>
                  <a:lnTo>
                    <a:pt x="2256" y="5865"/>
                  </a:lnTo>
                  <a:lnTo>
                    <a:pt x="2548" y="6130"/>
                  </a:lnTo>
                  <a:lnTo>
                    <a:pt x="2840" y="6395"/>
                  </a:lnTo>
                  <a:lnTo>
                    <a:pt x="3132" y="6608"/>
                  </a:lnTo>
                  <a:lnTo>
                    <a:pt x="3477" y="6793"/>
                  </a:lnTo>
                  <a:lnTo>
                    <a:pt x="3822" y="6926"/>
                  </a:lnTo>
                  <a:lnTo>
                    <a:pt x="4166" y="7059"/>
                  </a:lnTo>
                  <a:lnTo>
                    <a:pt x="4565" y="7138"/>
                  </a:lnTo>
                  <a:lnTo>
                    <a:pt x="4936" y="7218"/>
                  </a:lnTo>
                  <a:lnTo>
                    <a:pt x="5334" y="7271"/>
                  </a:lnTo>
                  <a:lnTo>
                    <a:pt x="6581" y="7271"/>
                  </a:lnTo>
                  <a:lnTo>
                    <a:pt x="7006" y="7244"/>
                  </a:lnTo>
                  <a:lnTo>
                    <a:pt x="7218" y="7191"/>
                  </a:lnTo>
                  <a:lnTo>
                    <a:pt x="7404" y="7138"/>
                  </a:lnTo>
                  <a:lnTo>
                    <a:pt x="7536" y="7085"/>
                  </a:lnTo>
                  <a:lnTo>
                    <a:pt x="7669" y="6979"/>
                  </a:lnTo>
                  <a:lnTo>
                    <a:pt x="7749" y="6899"/>
                  </a:lnTo>
                  <a:lnTo>
                    <a:pt x="7828" y="6767"/>
                  </a:lnTo>
                  <a:lnTo>
                    <a:pt x="7881" y="6634"/>
                  </a:lnTo>
                  <a:lnTo>
                    <a:pt x="7934" y="6501"/>
                  </a:lnTo>
                  <a:lnTo>
                    <a:pt x="7934" y="6342"/>
                  </a:lnTo>
                  <a:lnTo>
                    <a:pt x="7934" y="6183"/>
                  </a:lnTo>
                  <a:lnTo>
                    <a:pt x="7908" y="5838"/>
                  </a:lnTo>
                  <a:lnTo>
                    <a:pt x="7828" y="5467"/>
                  </a:lnTo>
                  <a:lnTo>
                    <a:pt x="7696" y="5069"/>
                  </a:lnTo>
                  <a:lnTo>
                    <a:pt x="7404" y="4326"/>
                  </a:lnTo>
                  <a:lnTo>
                    <a:pt x="7138" y="3636"/>
                  </a:lnTo>
                  <a:lnTo>
                    <a:pt x="7032" y="3344"/>
                  </a:lnTo>
                  <a:lnTo>
                    <a:pt x="6979" y="3105"/>
                  </a:lnTo>
                  <a:lnTo>
                    <a:pt x="6979" y="2919"/>
                  </a:lnTo>
                  <a:lnTo>
                    <a:pt x="7006" y="2866"/>
                  </a:lnTo>
                  <a:lnTo>
                    <a:pt x="7032" y="2813"/>
                  </a:lnTo>
                  <a:lnTo>
                    <a:pt x="7138" y="2734"/>
                  </a:lnTo>
                  <a:lnTo>
                    <a:pt x="7191" y="2654"/>
                  </a:lnTo>
                  <a:lnTo>
                    <a:pt x="7191" y="2548"/>
                  </a:lnTo>
                  <a:lnTo>
                    <a:pt x="7165" y="2442"/>
                  </a:lnTo>
                  <a:lnTo>
                    <a:pt x="7112" y="2336"/>
                  </a:lnTo>
                  <a:lnTo>
                    <a:pt x="7006" y="2203"/>
                  </a:lnTo>
                  <a:lnTo>
                    <a:pt x="6740" y="1911"/>
                  </a:lnTo>
                  <a:lnTo>
                    <a:pt x="6342" y="1566"/>
                  </a:lnTo>
                  <a:lnTo>
                    <a:pt x="5891" y="1141"/>
                  </a:lnTo>
                  <a:lnTo>
                    <a:pt x="5414" y="611"/>
                  </a:lnTo>
                  <a:lnTo>
                    <a:pt x="5148" y="319"/>
                  </a:lnTo>
                  <a:lnTo>
                    <a:pt x="4883" y="0"/>
                  </a:lnTo>
                  <a:close/>
                </a:path>
              </a:pathLst>
            </a:custGeom>
            <a:solidFill>
              <a:srgbClr val="F5B1B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" name="Google Shape;1110;p57">
              <a:extLst>
                <a:ext uri="{FF2B5EF4-FFF2-40B4-BE49-F238E27FC236}">
                  <a16:creationId xmlns:a16="http://schemas.microsoft.com/office/drawing/2014/main" id="{0AB88DE3-CE7B-FFA6-74BC-2557B978EE61}"/>
                </a:ext>
              </a:extLst>
            </p:cNvPr>
            <p:cNvSpPr/>
            <p:nvPr/>
          </p:nvSpPr>
          <p:spPr>
            <a:xfrm>
              <a:off x="7412334" y="4252228"/>
              <a:ext cx="193228" cy="158703"/>
            </a:xfrm>
            <a:custGeom>
              <a:avLst/>
              <a:gdLst/>
              <a:ahLst/>
              <a:cxnLst/>
              <a:rect l="l" t="t" r="r" b="b"/>
              <a:pathLst>
                <a:path w="22874" h="18787" extrusionOk="0">
                  <a:moveTo>
                    <a:pt x="18628" y="0"/>
                  </a:moveTo>
                  <a:lnTo>
                    <a:pt x="18176" y="27"/>
                  </a:lnTo>
                  <a:lnTo>
                    <a:pt x="17672" y="80"/>
                  </a:lnTo>
                  <a:lnTo>
                    <a:pt x="17168" y="160"/>
                  </a:lnTo>
                  <a:lnTo>
                    <a:pt x="16797" y="266"/>
                  </a:lnTo>
                  <a:lnTo>
                    <a:pt x="16452" y="398"/>
                  </a:lnTo>
                  <a:lnTo>
                    <a:pt x="16133" y="531"/>
                  </a:lnTo>
                  <a:lnTo>
                    <a:pt x="15815" y="717"/>
                  </a:lnTo>
                  <a:lnTo>
                    <a:pt x="15523" y="929"/>
                  </a:lnTo>
                  <a:lnTo>
                    <a:pt x="15258" y="1141"/>
                  </a:lnTo>
                  <a:lnTo>
                    <a:pt x="15019" y="1380"/>
                  </a:lnTo>
                  <a:lnTo>
                    <a:pt x="14780" y="1645"/>
                  </a:lnTo>
                  <a:lnTo>
                    <a:pt x="14568" y="1937"/>
                  </a:lnTo>
                  <a:lnTo>
                    <a:pt x="14382" y="2229"/>
                  </a:lnTo>
                  <a:lnTo>
                    <a:pt x="14196" y="2521"/>
                  </a:lnTo>
                  <a:lnTo>
                    <a:pt x="14011" y="2840"/>
                  </a:lnTo>
                  <a:lnTo>
                    <a:pt x="13719" y="3503"/>
                  </a:lnTo>
                  <a:lnTo>
                    <a:pt x="13453" y="4166"/>
                  </a:lnTo>
                  <a:lnTo>
                    <a:pt x="13241" y="4856"/>
                  </a:lnTo>
                  <a:lnTo>
                    <a:pt x="13029" y="5519"/>
                  </a:lnTo>
                  <a:lnTo>
                    <a:pt x="12710" y="6714"/>
                  </a:lnTo>
                  <a:lnTo>
                    <a:pt x="12551" y="7218"/>
                  </a:lnTo>
                  <a:lnTo>
                    <a:pt x="12418" y="7642"/>
                  </a:lnTo>
                  <a:lnTo>
                    <a:pt x="12259" y="7961"/>
                  </a:lnTo>
                  <a:lnTo>
                    <a:pt x="12180" y="8093"/>
                  </a:lnTo>
                  <a:lnTo>
                    <a:pt x="12100" y="8173"/>
                  </a:lnTo>
                  <a:lnTo>
                    <a:pt x="11914" y="8306"/>
                  </a:lnTo>
                  <a:lnTo>
                    <a:pt x="11755" y="8412"/>
                  </a:lnTo>
                  <a:lnTo>
                    <a:pt x="11596" y="8491"/>
                  </a:lnTo>
                  <a:lnTo>
                    <a:pt x="11437" y="8544"/>
                  </a:lnTo>
                  <a:lnTo>
                    <a:pt x="11065" y="8597"/>
                  </a:lnTo>
                  <a:lnTo>
                    <a:pt x="10641" y="8651"/>
                  </a:lnTo>
                  <a:lnTo>
                    <a:pt x="10110" y="8677"/>
                  </a:lnTo>
                  <a:lnTo>
                    <a:pt x="9420" y="8783"/>
                  </a:lnTo>
                  <a:lnTo>
                    <a:pt x="8996" y="8863"/>
                  </a:lnTo>
                  <a:lnTo>
                    <a:pt x="8518" y="8969"/>
                  </a:lnTo>
                  <a:lnTo>
                    <a:pt x="7987" y="9102"/>
                  </a:lnTo>
                  <a:lnTo>
                    <a:pt x="7403" y="9287"/>
                  </a:lnTo>
                  <a:lnTo>
                    <a:pt x="7112" y="9394"/>
                  </a:lnTo>
                  <a:lnTo>
                    <a:pt x="6846" y="9500"/>
                  </a:lnTo>
                  <a:lnTo>
                    <a:pt x="6607" y="9606"/>
                  </a:lnTo>
                  <a:lnTo>
                    <a:pt x="6395" y="9738"/>
                  </a:lnTo>
                  <a:lnTo>
                    <a:pt x="6209" y="9845"/>
                  </a:lnTo>
                  <a:lnTo>
                    <a:pt x="6050" y="9977"/>
                  </a:lnTo>
                  <a:lnTo>
                    <a:pt x="5918" y="10110"/>
                  </a:lnTo>
                  <a:lnTo>
                    <a:pt x="5785" y="10269"/>
                  </a:lnTo>
                  <a:lnTo>
                    <a:pt x="5705" y="10402"/>
                  </a:lnTo>
                  <a:lnTo>
                    <a:pt x="5626" y="10561"/>
                  </a:lnTo>
                  <a:lnTo>
                    <a:pt x="5520" y="10853"/>
                  </a:lnTo>
                  <a:lnTo>
                    <a:pt x="5466" y="11171"/>
                  </a:lnTo>
                  <a:lnTo>
                    <a:pt x="5440" y="11463"/>
                  </a:lnTo>
                  <a:lnTo>
                    <a:pt x="5440" y="11755"/>
                  </a:lnTo>
                  <a:lnTo>
                    <a:pt x="5466" y="12073"/>
                  </a:lnTo>
                  <a:lnTo>
                    <a:pt x="5520" y="12604"/>
                  </a:lnTo>
                  <a:lnTo>
                    <a:pt x="5520" y="12843"/>
                  </a:lnTo>
                  <a:lnTo>
                    <a:pt x="5466" y="13055"/>
                  </a:lnTo>
                  <a:lnTo>
                    <a:pt x="5413" y="13161"/>
                  </a:lnTo>
                  <a:lnTo>
                    <a:pt x="5360" y="13268"/>
                  </a:lnTo>
                  <a:lnTo>
                    <a:pt x="5281" y="13347"/>
                  </a:lnTo>
                  <a:lnTo>
                    <a:pt x="5201" y="13400"/>
                  </a:lnTo>
                  <a:lnTo>
                    <a:pt x="5042" y="13506"/>
                  </a:lnTo>
                  <a:lnTo>
                    <a:pt x="4883" y="13586"/>
                  </a:lnTo>
                  <a:lnTo>
                    <a:pt x="4697" y="13639"/>
                  </a:lnTo>
                  <a:lnTo>
                    <a:pt x="4538" y="13666"/>
                  </a:lnTo>
                  <a:lnTo>
                    <a:pt x="4219" y="13692"/>
                  </a:lnTo>
                  <a:lnTo>
                    <a:pt x="3901" y="13666"/>
                  </a:lnTo>
                  <a:lnTo>
                    <a:pt x="3582" y="13666"/>
                  </a:lnTo>
                  <a:lnTo>
                    <a:pt x="3211" y="13719"/>
                  </a:lnTo>
                  <a:lnTo>
                    <a:pt x="3025" y="13745"/>
                  </a:lnTo>
                  <a:lnTo>
                    <a:pt x="2840" y="13825"/>
                  </a:lnTo>
                  <a:lnTo>
                    <a:pt x="2627" y="13931"/>
                  </a:lnTo>
                  <a:lnTo>
                    <a:pt x="2415" y="14037"/>
                  </a:lnTo>
                  <a:lnTo>
                    <a:pt x="1937" y="14382"/>
                  </a:lnTo>
                  <a:lnTo>
                    <a:pt x="1486" y="14780"/>
                  </a:lnTo>
                  <a:lnTo>
                    <a:pt x="1035" y="15231"/>
                  </a:lnTo>
                  <a:lnTo>
                    <a:pt x="664" y="15709"/>
                  </a:lnTo>
                  <a:lnTo>
                    <a:pt x="478" y="15948"/>
                  </a:lnTo>
                  <a:lnTo>
                    <a:pt x="319" y="16213"/>
                  </a:lnTo>
                  <a:lnTo>
                    <a:pt x="213" y="16425"/>
                  </a:lnTo>
                  <a:lnTo>
                    <a:pt x="106" y="16664"/>
                  </a:lnTo>
                  <a:lnTo>
                    <a:pt x="27" y="16876"/>
                  </a:lnTo>
                  <a:lnTo>
                    <a:pt x="0" y="17088"/>
                  </a:lnTo>
                  <a:lnTo>
                    <a:pt x="0" y="17274"/>
                  </a:lnTo>
                  <a:lnTo>
                    <a:pt x="27" y="17433"/>
                  </a:lnTo>
                  <a:lnTo>
                    <a:pt x="80" y="17540"/>
                  </a:lnTo>
                  <a:lnTo>
                    <a:pt x="160" y="17646"/>
                  </a:lnTo>
                  <a:lnTo>
                    <a:pt x="345" y="17858"/>
                  </a:lnTo>
                  <a:lnTo>
                    <a:pt x="584" y="18017"/>
                  </a:lnTo>
                  <a:lnTo>
                    <a:pt x="903" y="18203"/>
                  </a:lnTo>
                  <a:lnTo>
                    <a:pt x="1274" y="18336"/>
                  </a:lnTo>
                  <a:lnTo>
                    <a:pt x="1699" y="18468"/>
                  </a:lnTo>
                  <a:lnTo>
                    <a:pt x="2176" y="18574"/>
                  </a:lnTo>
                  <a:lnTo>
                    <a:pt x="2707" y="18654"/>
                  </a:lnTo>
                  <a:lnTo>
                    <a:pt x="3264" y="18734"/>
                  </a:lnTo>
                  <a:lnTo>
                    <a:pt x="3874" y="18787"/>
                  </a:lnTo>
                  <a:lnTo>
                    <a:pt x="5864" y="18787"/>
                  </a:lnTo>
                  <a:lnTo>
                    <a:pt x="6607" y="18734"/>
                  </a:lnTo>
                  <a:lnTo>
                    <a:pt x="7350" y="18654"/>
                  </a:lnTo>
                  <a:lnTo>
                    <a:pt x="8093" y="18548"/>
                  </a:lnTo>
                  <a:lnTo>
                    <a:pt x="8863" y="18442"/>
                  </a:lnTo>
                  <a:lnTo>
                    <a:pt x="9632" y="18283"/>
                  </a:lnTo>
                  <a:lnTo>
                    <a:pt x="10428" y="18097"/>
                  </a:lnTo>
                  <a:lnTo>
                    <a:pt x="11198" y="17885"/>
                  </a:lnTo>
                  <a:lnTo>
                    <a:pt x="11967" y="17646"/>
                  </a:lnTo>
                  <a:lnTo>
                    <a:pt x="12737" y="17380"/>
                  </a:lnTo>
                  <a:lnTo>
                    <a:pt x="13506" y="17062"/>
                  </a:lnTo>
                  <a:lnTo>
                    <a:pt x="14249" y="16744"/>
                  </a:lnTo>
                  <a:lnTo>
                    <a:pt x="14966" y="16372"/>
                  </a:lnTo>
                  <a:lnTo>
                    <a:pt x="15603" y="16027"/>
                  </a:lnTo>
                  <a:lnTo>
                    <a:pt x="16213" y="15682"/>
                  </a:lnTo>
                  <a:lnTo>
                    <a:pt x="16744" y="15364"/>
                  </a:lnTo>
                  <a:lnTo>
                    <a:pt x="17221" y="15019"/>
                  </a:lnTo>
                  <a:lnTo>
                    <a:pt x="17646" y="14700"/>
                  </a:lnTo>
                  <a:lnTo>
                    <a:pt x="18044" y="14382"/>
                  </a:lnTo>
                  <a:lnTo>
                    <a:pt x="18389" y="14064"/>
                  </a:lnTo>
                  <a:lnTo>
                    <a:pt x="18681" y="13745"/>
                  </a:lnTo>
                  <a:lnTo>
                    <a:pt x="18946" y="13453"/>
                  </a:lnTo>
                  <a:lnTo>
                    <a:pt x="19185" y="13161"/>
                  </a:lnTo>
                  <a:lnTo>
                    <a:pt x="19371" y="12870"/>
                  </a:lnTo>
                  <a:lnTo>
                    <a:pt x="19530" y="12578"/>
                  </a:lnTo>
                  <a:lnTo>
                    <a:pt x="19689" y="12312"/>
                  </a:lnTo>
                  <a:lnTo>
                    <a:pt x="19795" y="12020"/>
                  </a:lnTo>
                  <a:lnTo>
                    <a:pt x="19875" y="11782"/>
                  </a:lnTo>
                  <a:lnTo>
                    <a:pt x="19928" y="11516"/>
                  </a:lnTo>
                  <a:lnTo>
                    <a:pt x="19981" y="11251"/>
                  </a:lnTo>
                  <a:lnTo>
                    <a:pt x="20007" y="10773"/>
                  </a:lnTo>
                  <a:lnTo>
                    <a:pt x="20007" y="10322"/>
                  </a:lnTo>
                  <a:lnTo>
                    <a:pt x="19981" y="9898"/>
                  </a:lnTo>
                  <a:lnTo>
                    <a:pt x="19928" y="9500"/>
                  </a:lnTo>
                  <a:lnTo>
                    <a:pt x="19901" y="9128"/>
                  </a:lnTo>
                  <a:lnTo>
                    <a:pt x="19928" y="8783"/>
                  </a:lnTo>
                  <a:lnTo>
                    <a:pt x="19954" y="8624"/>
                  </a:lnTo>
                  <a:lnTo>
                    <a:pt x="19981" y="8491"/>
                  </a:lnTo>
                  <a:lnTo>
                    <a:pt x="20034" y="8332"/>
                  </a:lnTo>
                  <a:lnTo>
                    <a:pt x="20060" y="8146"/>
                  </a:lnTo>
                  <a:lnTo>
                    <a:pt x="20060" y="7961"/>
                  </a:lnTo>
                  <a:lnTo>
                    <a:pt x="20034" y="7801"/>
                  </a:lnTo>
                  <a:lnTo>
                    <a:pt x="20007" y="7616"/>
                  </a:lnTo>
                  <a:lnTo>
                    <a:pt x="19928" y="7457"/>
                  </a:lnTo>
                  <a:lnTo>
                    <a:pt x="19848" y="7324"/>
                  </a:lnTo>
                  <a:lnTo>
                    <a:pt x="19742" y="7191"/>
                  </a:lnTo>
                  <a:lnTo>
                    <a:pt x="19397" y="6873"/>
                  </a:lnTo>
                  <a:lnTo>
                    <a:pt x="19211" y="6687"/>
                  </a:lnTo>
                  <a:lnTo>
                    <a:pt x="19052" y="6501"/>
                  </a:lnTo>
                  <a:lnTo>
                    <a:pt x="18946" y="6316"/>
                  </a:lnTo>
                  <a:lnTo>
                    <a:pt x="18919" y="6236"/>
                  </a:lnTo>
                  <a:lnTo>
                    <a:pt x="18893" y="6130"/>
                  </a:lnTo>
                  <a:lnTo>
                    <a:pt x="18893" y="6024"/>
                  </a:lnTo>
                  <a:lnTo>
                    <a:pt x="18919" y="5944"/>
                  </a:lnTo>
                  <a:lnTo>
                    <a:pt x="18973" y="5838"/>
                  </a:lnTo>
                  <a:lnTo>
                    <a:pt x="19052" y="5758"/>
                  </a:lnTo>
                  <a:lnTo>
                    <a:pt x="19211" y="5599"/>
                  </a:lnTo>
                  <a:lnTo>
                    <a:pt x="19371" y="5493"/>
                  </a:lnTo>
                  <a:lnTo>
                    <a:pt x="19556" y="5413"/>
                  </a:lnTo>
                  <a:lnTo>
                    <a:pt x="19715" y="5387"/>
                  </a:lnTo>
                  <a:lnTo>
                    <a:pt x="19875" y="5360"/>
                  </a:lnTo>
                  <a:lnTo>
                    <a:pt x="20007" y="5387"/>
                  </a:lnTo>
                  <a:lnTo>
                    <a:pt x="20140" y="5440"/>
                  </a:lnTo>
                  <a:lnTo>
                    <a:pt x="20273" y="5519"/>
                  </a:lnTo>
                  <a:lnTo>
                    <a:pt x="20379" y="5599"/>
                  </a:lnTo>
                  <a:lnTo>
                    <a:pt x="20512" y="5652"/>
                  </a:lnTo>
                  <a:lnTo>
                    <a:pt x="20830" y="5652"/>
                  </a:lnTo>
                  <a:lnTo>
                    <a:pt x="20963" y="5626"/>
                  </a:lnTo>
                  <a:lnTo>
                    <a:pt x="21122" y="5546"/>
                  </a:lnTo>
                  <a:lnTo>
                    <a:pt x="21228" y="5466"/>
                  </a:lnTo>
                  <a:lnTo>
                    <a:pt x="21308" y="5360"/>
                  </a:lnTo>
                  <a:lnTo>
                    <a:pt x="21440" y="5148"/>
                  </a:lnTo>
                  <a:lnTo>
                    <a:pt x="21626" y="4909"/>
                  </a:lnTo>
                  <a:lnTo>
                    <a:pt x="22051" y="4325"/>
                  </a:lnTo>
                  <a:lnTo>
                    <a:pt x="22289" y="3980"/>
                  </a:lnTo>
                  <a:lnTo>
                    <a:pt x="22502" y="3609"/>
                  </a:lnTo>
                  <a:lnTo>
                    <a:pt x="22714" y="3184"/>
                  </a:lnTo>
                  <a:lnTo>
                    <a:pt x="22873" y="2707"/>
                  </a:lnTo>
                  <a:lnTo>
                    <a:pt x="22873" y="2548"/>
                  </a:lnTo>
                  <a:lnTo>
                    <a:pt x="22847" y="2362"/>
                  </a:lnTo>
                  <a:lnTo>
                    <a:pt x="22767" y="2150"/>
                  </a:lnTo>
                  <a:lnTo>
                    <a:pt x="22687" y="1937"/>
                  </a:lnTo>
                  <a:lnTo>
                    <a:pt x="22581" y="1752"/>
                  </a:lnTo>
                  <a:lnTo>
                    <a:pt x="22449" y="1539"/>
                  </a:lnTo>
                  <a:lnTo>
                    <a:pt x="22342" y="1380"/>
                  </a:lnTo>
                  <a:lnTo>
                    <a:pt x="22210" y="1247"/>
                  </a:lnTo>
                  <a:lnTo>
                    <a:pt x="21918" y="1009"/>
                  </a:lnTo>
                  <a:lnTo>
                    <a:pt x="21546" y="743"/>
                  </a:lnTo>
                  <a:lnTo>
                    <a:pt x="21308" y="611"/>
                  </a:lnTo>
                  <a:lnTo>
                    <a:pt x="21069" y="478"/>
                  </a:lnTo>
                  <a:lnTo>
                    <a:pt x="20803" y="372"/>
                  </a:lnTo>
                  <a:lnTo>
                    <a:pt x="20512" y="266"/>
                  </a:lnTo>
                  <a:lnTo>
                    <a:pt x="20193" y="160"/>
                  </a:lnTo>
                  <a:lnTo>
                    <a:pt x="19822" y="106"/>
                  </a:lnTo>
                  <a:lnTo>
                    <a:pt x="19450" y="53"/>
                  </a:lnTo>
                  <a:lnTo>
                    <a:pt x="19052" y="27"/>
                  </a:lnTo>
                  <a:lnTo>
                    <a:pt x="18628" y="0"/>
                  </a:lnTo>
                  <a:close/>
                </a:path>
              </a:pathLst>
            </a:custGeom>
            <a:solidFill>
              <a:srgbClr val="2D2D2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" name="Google Shape;1111;p57">
              <a:extLst>
                <a:ext uri="{FF2B5EF4-FFF2-40B4-BE49-F238E27FC236}">
                  <a16:creationId xmlns:a16="http://schemas.microsoft.com/office/drawing/2014/main" id="{2069494B-5F0F-B445-411C-03B29DFC9775}"/>
                </a:ext>
              </a:extLst>
            </p:cNvPr>
            <p:cNvSpPr/>
            <p:nvPr/>
          </p:nvSpPr>
          <p:spPr>
            <a:xfrm>
              <a:off x="7218447" y="5248508"/>
              <a:ext cx="2413873" cy="31611"/>
            </a:xfrm>
            <a:custGeom>
              <a:avLst/>
              <a:gdLst/>
              <a:ahLst/>
              <a:cxnLst/>
              <a:rect l="l" t="t" r="r" b="b"/>
              <a:pathLst>
                <a:path w="285750" h="3742" extrusionOk="0">
                  <a:moveTo>
                    <a:pt x="201317" y="1"/>
                  </a:moveTo>
                  <a:lnTo>
                    <a:pt x="172023" y="54"/>
                  </a:lnTo>
                  <a:lnTo>
                    <a:pt x="140659" y="133"/>
                  </a:lnTo>
                  <a:lnTo>
                    <a:pt x="126278" y="186"/>
                  </a:lnTo>
                  <a:lnTo>
                    <a:pt x="112294" y="266"/>
                  </a:lnTo>
                  <a:lnTo>
                    <a:pt x="98814" y="372"/>
                  </a:lnTo>
                  <a:lnTo>
                    <a:pt x="85892" y="478"/>
                  </a:lnTo>
                  <a:lnTo>
                    <a:pt x="73607" y="584"/>
                  </a:lnTo>
                  <a:lnTo>
                    <a:pt x="62011" y="717"/>
                  </a:lnTo>
                  <a:lnTo>
                    <a:pt x="51185" y="876"/>
                  </a:lnTo>
                  <a:lnTo>
                    <a:pt x="41208" y="1035"/>
                  </a:lnTo>
                  <a:lnTo>
                    <a:pt x="32107" y="1195"/>
                  </a:lnTo>
                  <a:lnTo>
                    <a:pt x="24014" y="1354"/>
                  </a:lnTo>
                  <a:lnTo>
                    <a:pt x="16982" y="1513"/>
                  </a:lnTo>
                  <a:lnTo>
                    <a:pt x="11065" y="1699"/>
                  </a:lnTo>
                  <a:lnTo>
                    <a:pt x="6315" y="1885"/>
                  </a:lnTo>
                  <a:lnTo>
                    <a:pt x="4431" y="1964"/>
                  </a:lnTo>
                  <a:lnTo>
                    <a:pt x="2866" y="2070"/>
                  </a:lnTo>
                  <a:lnTo>
                    <a:pt x="1619" y="2150"/>
                  </a:lnTo>
                  <a:lnTo>
                    <a:pt x="716" y="2256"/>
                  </a:lnTo>
                  <a:lnTo>
                    <a:pt x="186" y="2336"/>
                  </a:lnTo>
                  <a:lnTo>
                    <a:pt x="53" y="2389"/>
                  </a:lnTo>
                  <a:lnTo>
                    <a:pt x="27" y="2415"/>
                  </a:lnTo>
                  <a:lnTo>
                    <a:pt x="0" y="2442"/>
                  </a:lnTo>
                  <a:lnTo>
                    <a:pt x="27" y="2468"/>
                  </a:lnTo>
                  <a:lnTo>
                    <a:pt x="133" y="2495"/>
                  </a:lnTo>
                  <a:lnTo>
                    <a:pt x="504" y="2574"/>
                  </a:lnTo>
                  <a:lnTo>
                    <a:pt x="1088" y="2654"/>
                  </a:lnTo>
                  <a:lnTo>
                    <a:pt x="1937" y="2707"/>
                  </a:lnTo>
                  <a:lnTo>
                    <a:pt x="4299" y="2840"/>
                  </a:lnTo>
                  <a:lnTo>
                    <a:pt x="7536" y="2973"/>
                  </a:lnTo>
                  <a:lnTo>
                    <a:pt x="11596" y="3079"/>
                  </a:lnTo>
                  <a:lnTo>
                    <a:pt x="16478" y="3211"/>
                  </a:lnTo>
                  <a:lnTo>
                    <a:pt x="22103" y="3291"/>
                  </a:lnTo>
                  <a:lnTo>
                    <a:pt x="28445" y="3397"/>
                  </a:lnTo>
                  <a:lnTo>
                    <a:pt x="35477" y="3477"/>
                  </a:lnTo>
                  <a:lnTo>
                    <a:pt x="43145" y="3556"/>
                  </a:lnTo>
                  <a:lnTo>
                    <a:pt x="60260" y="3662"/>
                  </a:lnTo>
                  <a:lnTo>
                    <a:pt x="79471" y="3715"/>
                  </a:lnTo>
                  <a:lnTo>
                    <a:pt x="100460" y="3742"/>
                  </a:lnTo>
                  <a:lnTo>
                    <a:pt x="120095" y="3742"/>
                  </a:lnTo>
                  <a:lnTo>
                    <a:pt x="140659" y="3662"/>
                  </a:lnTo>
                  <a:lnTo>
                    <a:pt x="155094" y="3609"/>
                  </a:lnTo>
                  <a:lnTo>
                    <a:pt x="169210" y="3503"/>
                  </a:lnTo>
                  <a:lnTo>
                    <a:pt x="182902" y="3397"/>
                  </a:lnTo>
                  <a:lnTo>
                    <a:pt x="196116" y="3264"/>
                  </a:lnTo>
                  <a:lnTo>
                    <a:pt x="208747" y="3132"/>
                  </a:lnTo>
                  <a:lnTo>
                    <a:pt x="220714" y="2973"/>
                  </a:lnTo>
                  <a:lnTo>
                    <a:pt x="231938" y="2787"/>
                  </a:lnTo>
                  <a:lnTo>
                    <a:pt x="242340" y="2601"/>
                  </a:lnTo>
                  <a:lnTo>
                    <a:pt x="251839" y="2415"/>
                  </a:lnTo>
                  <a:lnTo>
                    <a:pt x="260330" y="2203"/>
                  </a:lnTo>
                  <a:lnTo>
                    <a:pt x="267760" y="2017"/>
                  </a:lnTo>
                  <a:lnTo>
                    <a:pt x="274022" y="1805"/>
                  </a:lnTo>
                  <a:lnTo>
                    <a:pt x="279037" y="1593"/>
                  </a:lnTo>
                  <a:lnTo>
                    <a:pt x="281053" y="1487"/>
                  </a:lnTo>
                  <a:lnTo>
                    <a:pt x="282725" y="1407"/>
                  </a:lnTo>
                  <a:lnTo>
                    <a:pt x="284025" y="1301"/>
                  </a:lnTo>
                  <a:lnTo>
                    <a:pt x="284981" y="1195"/>
                  </a:lnTo>
                  <a:lnTo>
                    <a:pt x="285564" y="1115"/>
                  </a:lnTo>
                  <a:lnTo>
                    <a:pt x="285723" y="1062"/>
                  </a:lnTo>
                  <a:lnTo>
                    <a:pt x="285750" y="1035"/>
                  </a:lnTo>
                  <a:lnTo>
                    <a:pt x="285750" y="1009"/>
                  </a:lnTo>
                  <a:lnTo>
                    <a:pt x="285750" y="982"/>
                  </a:lnTo>
                  <a:lnTo>
                    <a:pt x="285670" y="956"/>
                  </a:lnTo>
                  <a:lnTo>
                    <a:pt x="285352" y="876"/>
                  </a:lnTo>
                  <a:lnTo>
                    <a:pt x="284848" y="823"/>
                  </a:lnTo>
                  <a:lnTo>
                    <a:pt x="284158" y="770"/>
                  </a:lnTo>
                  <a:lnTo>
                    <a:pt x="282168" y="664"/>
                  </a:lnTo>
                  <a:lnTo>
                    <a:pt x="279461" y="558"/>
                  </a:lnTo>
                  <a:lnTo>
                    <a:pt x="276065" y="478"/>
                  </a:lnTo>
                  <a:lnTo>
                    <a:pt x="271979" y="399"/>
                  </a:lnTo>
                  <a:lnTo>
                    <a:pt x="267255" y="319"/>
                  </a:lnTo>
                  <a:lnTo>
                    <a:pt x="261922" y="239"/>
                  </a:lnTo>
                  <a:lnTo>
                    <a:pt x="249583" y="133"/>
                  </a:lnTo>
                  <a:lnTo>
                    <a:pt x="235202" y="54"/>
                  </a:lnTo>
                  <a:lnTo>
                    <a:pt x="219016" y="27"/>
                  </a:lnTo>
                  <a:lnTo>
                    <a:pt x="201317" y="1"/>
                  </a:lnTo>
                  <a:close/>
                </a:path>
              </a:pathLst>
            </a:custGeom>
            <a:solidFill>
              <a:srgbClr val="E2E2E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" name="Google Shape;1112;p57">
              <a:extLst>
                <a:ext uri="{FF2B5EF4-FFF2-40B4-BE49-F238E27FC236}">
                  <a16:creationId xmlns:a16="http://schemas.microsoft.com/office/drawing/2014/main" id="{14E4EA37-EEB1-6237-36F3-F006FFFE0A5A}"/>
                </a:ext>
              </a:extLst>
            </p:cNvPr>
            <p:cNvSpPr/>
            <p:nvPr/>
          </p:nvSpPr>
          <p:spPr>
            <a:xfrm>
              <a:off x="8520308" y="4089943"/>
              <a:ext cx="43040" cy="83394"/>
            </a:xfrm>
            <a:custGeom>
              <a:avLst/>
              <a:gdLst/>
              <a:ahLst/>
              <a:cxnLst/>
              <a:rect l="l" t="t" r="r" b="b"/>
              <a:pathLst>
                <a:path w="5095" h="9872" extrusionOk="0">
                  <a:moveTo>
                    <a:pt x="1964" y="0"/>
                  </a:moveTo>
                  <a:lnTo>
                    <a:pt x="1831" y="27"/>
                  </a:lnTo>
                  <a:lnTo>
                    <a:pt x="1672" y="53"/>
                  </a:lnTo>
                  <a:lnTo>
                    <a:pt x="1566" y="80"/>
                  </a:lnTo>
                  <a:lnTo>
                    <a:pt x="1433" y="160"/>
                  </a:lnTo>
                  <a:lnTo>
                    <a:pt x="1354" y="239"/>
                  </a:lnTo>
                  <a:lnTo>
                    <a:pt x="1247" y="345"/>
                  </a:lnTo>
                  <a:lnTo>
                    <a:pt x="1194" y="478"/>
                  </a:lnTo>
                  <a:lnTo>
                    <a:pt x="1141" y="637"/>
                  </a:lnTo>
                  <a:lnTo>
                    <a:pt x="1141" y="850"/>
                  </a:lnTo>
                  <a:lnTo>
                    <a:pt x="1141" y="1062"/>
                  </a:lnTo>
                  <a:lnTo>
                    <a:pt x="1168" y="1301"/>
                  </a:lnTo>
                  <a:lnTo>
                    <a:pt x="1221" y="1592"/>
                  </a:lnTo>
                  <a:lnTo>
                    <a:pt x="1301" y="1884"/>
                  </a:lnTo>
                  <a:lnTo>
                    <a:pt x="1407" y="2229"/>
                  </a:lnTo>
                  <a:lnTo>
                    <a:pt x="1539" y="2627"/>
                  </a:lnTo>
                  <a:lnTo>
                    <a:pt x="1646" y="2946"/>
                  </a:lnTo>
                  <a:lnTo>
                    <a:pt x="1672" y="3105"/>
                  </a:lnTo>
                  <a:lnTo>
                    <a:pt x="1672" y="3211"/>
                  </a:lnTo>
                  <a:lnTo>
                    <a:pt x="1646" y="3317"/>
                  </a:lnTo>
                  <a:lnTo>
                    <a:pt x="1619" y="3423"/>
                  </a:lnTo>
                  <a:lnTo>
                    <a:pt x="1592" y="3503"/>
                  </a:lnTo>
                  <a:lnTo>
                    <a:pt x="1539" y="3556"/>
                  </a:lnTo>
                  <a:lnTo>
                    <a:pt x="1407" y="3662"/>
                  </a:lnTo>
                  <a:lnTo>
                    <a:pt x="1221" y="3715"/>
                  </a:lnTo>
                  <a:lnTo>
                    <a:pt x="1035" y="3742"/>
                  </a:lnTo>
                  <a:lnTo>
                    <a:pt x="823" y="3768"/>
                  </a:lnTo>
                  <a:lnTo>
                    <a:pt x="266" y="3768"/>
                  </a:lnTo>
                  <a:lnTo>
                    <a:pt x="133" y="3795"/>
                  </a:lnTo>
                  <a:lnTo>
                    <a:pt x="27" y="3821"/>
                  </a:lnTo>
                  <a:lnTo>
                    <a:pt x="0" y="3874"/>
                  </a:lnTo>
                  <a:lnTo>
                    <a:pt x="0" y="3901"/>
                  </a:lnTo>
                  <a:lnTo>
                    <a:pt x="27" y="4034"/>
                  </a:lnTo>
                  <a:lnTo>
                    <a:pt x="133" y="4193"/>
                  </a:lnTo>
                  <a:lnTo>
                    <a:pt x="425" y="4591"/>
                  </a:lnTo>
                  <a:lnTo>
                    <a:pt x="664" y="4989"/>
                  </a:lnTo>
                  <a:lnTo>
                    <a:pt x="849" y="5387"/>
                  </a:lnTo>
                  <a:lnTo>
                    <a:pt x="1009" y="5785"/>
                  </a:lnTo>
                  <a:lnTo>
                    <a:pt x="1141" y="6183"/>
                  </a:lnTo>
                  <a:lnTo>
                    <a:pt x="1221" y="6581"/>
                  </a:lnTo>
                  <a:lnTo>
                    <a:pt x="1301" y="6952"/>
                  </a:lnTo>
                  <a:lnTo>
                    <a:pt x="1327" y="7324"/>
                  </a:lnTo>
                  <a:lnTo>
                    <a:pt x="1354" y="7695"/>
                  </a:lnTo>
                  <a:lnTo>
                    <a:pt x="1354" y="8040"/>
                  </a:lnTo>
                  <a:lnTo>
                    <a:pt x="1327" y="8385"/>
                  </a:lnTo>
                  <a:lnTo>
                    <a:pt x="1301" y="8730"/>
                  </a:lnTo>
                  <a:lnTo>
                    <a:pt x="1194" y="9341"/>
                  </a:lnTo>
                  <a:lnTo>
                    <a:pt x="1088" y="9871"/>
                  </a:lnTo>
                  <a:lnTo>
                    <a:pt x="4777" y="9818"/>
                  </a:lnTo>
                  <a:lnTo>
                    <a:pt x="4777" y="9553"/>
                  </a:lnTo>
                  <a:lnTo>
                    <a:pt x="4750" y="8889"/>
                  </a:lnTo>
                  <a:lnTo>
                    <a:pt x="4750" y="8412"/>
                  </a:lnTo>
                  <a:lnTo>
                    <a:pt x="4777" y="7908"/>
                  </a:lnTo>
                  <a:lnTo>
                    <a:pt x="4830" y="7350"/>
                  </a:lnTo>
                  <a:lnTo>
                    <a:pt x="4909" y="6740"/>
                  </a:lnTo>
                  <a:lnTo>
                    <a:pt x="4989" y="5944"/>
                  </a:lnTo>
                  <a:lnTo>
                    <a:pt x="5068" y="5175"/>
                  </a:lnTo>
                  <a:lnTo>
                    <a:pt x="5095" y="4432"/>
                  </a:lnTo>
                  <a:lnTo>
                    <a:pt x="5095" y="3715"/>
                  </a:lnTo>
                  <a:lnTo>
                    <a:pt x="5015" y="3078"/>
                  </a:lnTo>
                  <a:lnTo>
                    <a:pt x="4909" y="2495"/>
                  </a:lnTo>
                  <a:lnTo>
                    <a:pt x="4856" y="2229"/>
                  </a:lnTo>
                  <a:lnTo>
                    <a:pt x="4777" y="1990"/>
                  </a:lnTo>
                  <a:lnTo>
                    <a:pt x="4670" y="1752"/>
                  </a:lnTo>
                  <a:lnTo>
                    <a:pt x="4564" y="1566"/>
                  </a:lnTo>
                  <a:lnTo>
                    <a:pt x="4379" y="1301"/>
                  </a:lnTo>
                  <a:lnTo>
                    <a:pt x="4113" y="1062"/>
                  </a:lnTo>
                  <a:lnTo>
                    <a:pt x="3848" y="823"/>
                  </a:lnTo>
                  <a:lnTo>
                    <a:pt x="3503" y="584"/>
                  </a:lnTo>
                  <a:lnTo>
                    <a:pt x="3158" y="398"/>
                  </a:lnTo>
                  <a:lnTo>
                    <a:pt x="2813" y="213"/>
                  </a:lnTo>
                  <a:lnTo>
                    <a:pt x="2468" y="107"/>
                  </a:lnTo>
                  <a:lnTo>
                    <a:pt x="2123" y="27"/>
                  </a:lnTo>
                  <a:lnTo>
                    <a:pt x="1964" y="0"/>
                  </a:lnTo>
                  <a:close/>
                </a:path>
              </a:pathLst>
            </a:custGeom>
            <a:solidFill>
              <a:srgbClr val="F5B1B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" name="Google Shape;1113;p57">
              <a:extLst>
                <a:ext uri="{FF2B5EF4-FFF2-40B4-BE49-F238E27FC236}">
                  <a16:creationId xmlns:a16="http://schemas.microsoft.com/office/drawing/2014/main" id="{2BB957D0-9B7F-1449-50B4-9A55BE64D6BA}"/>
                </a:ext>
              </a:extLst>
            </p:cNvPr>
            <p:cNvSpPr/>
            <p:nvPr/>
          </p:nvSpPr>
          <p:spPr>
            <a:xfrm>
              <a:off x="8361833" y="4354442"/>
              <a:ext cx="104462" cy="253738"/>
            </a:xfrm>
            <a:custGeom>
              <a:avLst/>
              <a:gdLst/>
              <a:ahLst/>
              <a:cxnLst/>
              <a:rect l="l" t="t" r="r" b="b"/>
              <a:pathLst>
                <a:path w="12366" h="30037" extrusionOk="0">
                  <a:moveTo>
                    <a:pt x="3503" y="0"/>
                  </a:moveTo>
                  <a:lnTo>
                    <a:pt x="292" y="504"/>
                  </a:lnTo>
                  <a:lnTo>
                    <a:pt x="372" y="1327"/>
                  </a:lnTo>
                  <a:lnTo>
                    <a:pt x="531" y="3529"/>
                  </a:lnTo>
                  <a:lnTo>
                    <a:pt x="717" y="6819"/>
                  </a:lnTo>
                  <a:lnTo>
                    <a:pt x="797" y="8783"/>
                  </a:lnTo>
                  <a:lnTo>
                    <a:pt x="876" y="10879"/>
                  </a:lnTo>
                  <a:lnTo>
                    <a:pt x="929" y="13081"/>
                  </a:lnTo>
                  <a:lnTo>
                    <a:pt x="956" y="15337"/>
                  </a:lnTo>
                  <a:lnTo>
                    <a:pt x="956" y="17645"/>
                  </a:lnTo>
                  <a:lnTo>
                    <a:pt x="876" y="19927"/>
                  </a:lnTo>
                  <a:lnTo>
                    <a:pt x="770" y="22130"/>
                  </a:lnTo>
                  <a:lnTo>
                    <a:pt x="690" y="23218"/>
                  </a:lnTo>
                  <a:lnTo>
                    <a:pt x="584" y="24252"/>
                  </a:lnTo>
                  <a:lnTo>
                    <a:pt x="478" y="25287"/>
                  </a:lnTo>
                  <a:lnTo>
                    <a:pt x="345" y="26243"/>
                  </a:lnTo>
                  <a:lnTo>
                    <a:pt x="186" y="27171"/>
                  </a:lnTo>
                  <a:lnTo>
                    <a:pt x="0" y="28073"/>
                  </a:lnTo>
                  <a:lnTo>
                    <a:pt x="27" y="28153"/>
                  </a:lnTo>
                  <a:lnTo>
                    <a:pt x="80" y="28259"/>
                  </a:lnTo>
                  <a:lnTo>
                    <a:pt x="186" y="28392"/>
                  </a:lnTo>
                  <a:lnTo>
                    <a:pt x="345" y="28525"/>
                  </a:lnTo>
                  <a:lnTo>
                    <a:pt x="531" y="28657"/>
                  </a:lnTo>
                  <a:lnTo>
                    <a:pt x="770" y="28790"/>
                  </a:lnTo>
                  <a:lnTo>
                    <a:pt x="1354" y="29055"/>
                  </a:lnTo>
                  <a:lnTo>
                    <a:pt x="2070" y="29321"/>
                  </a:lnTo>
                  <a:lnTo>
                    <a:pt x="2866" y="29559"/>
                  </a:lnTo>
                  <a:lnTo>
                    <a:pt x="3768" y="29772"/>
                  </a:lnTo>
                  <a:lnTo>
                    <a:pt x="4219" y="29851"/>
                  </a:lnTo>
                  <a:lnTo>
                    <a:pt x="4697" y="29931"/>
                  </a:lnTo>
                  <a:lnTo>
                    <a:pt x="5175" y="29984"/>
                  </a:lnTo>
                  <a:lnTo>
                    <a:pt x="5652" y="30010"/>
                  </a:lnTo>
                  <a:lnTo>
                    <a:pt x="6130" y="30037"/>
                  </a:lnTo>
                  <a:lnTo>
                    <a:pt x="6608" y="30037"/>
                  </a:lnTo>
                  <a:lnTo>
                    <a:pt x="7085" y="30010"/>
                  </a:lnTo>
                  <a:lnTo>
                    <a:pt x="7536" y="29957"/>
                  </a:lnTo>
                  <a:lnTo>
                    <a:pt x="7987" y="29878"/>
                  </a:lnTo>
                  <a:lnTo>
                    <a:pt x="8438" y="29772"/>
                  </a:lnTo>
                  <a:lnTo>
                    <a:pt x="8836" y="29639"/>
                  </a:lnTo>
                  <a:lnTo>
                    <a:pt x="9234" y="29480"/>
                  </a:lnTo>
                  <a:lnTo>
                    <a:pt x="9606" y="29267"/>
                  </a:lnTo>
                  <a:lnTo>
                    <a:pt x="9951" y="29029"/>
                  </a:lnTo>
                  <a:lnTo>
                    <a:pt x="10269" y="28763"/>
                  </a:lnTo>
                  <a:lnTo>
                    <a:pt x="10561" y="28445"/>
                  </a:lnTo>
                  <a:lnTo>
                    <a:pt x="10800" y="28073"/>
                  </a:lnTo>
                  <a:lnTo>
                    <a:pt x="11012" y="27675"/>
                  </a:lnTo>
                  <a:lnTo>
                    <a:pt x="11145" y="27330"/>
                  </a:lnTo>
                  <a:lnTo>
                    <a:pt x="11278" y="26959"/>
                  </a:lnTo>
                  <a:lnTo>
                    <a:pt x="11516" y="26136"/>
                  </a:lnTo>
                  <a:lnTo>
                    <a:pt x="11702" y="25234"/>
                  </a:lnTo>
                  <a:lnTo>
                    <a:pt x="11888" y="24252"/>
                  </a:lnTo>
                  <a:lnTo>
                    <a:pt x="12021" y="23218"/>
                  </a:lnTo>
                  <a:lnTo>
                    <a:pt x="12127" y="22183"/>
                  </a:lnTo>
                  <a:lnTo>
                    <a:pt x="12206" y="21121"/>
                  </a:lnTo>
                  <a:lnTo>
                    <a:pt x="12259" y="20087"/>
                  </a:lnTo>
                  <a:lnTo>
                    <a:pt x="12339" y="18150"/>
                  </a:lnTo>
                  <a:lnTo>
                    <a:pt x="12366" y="16557"/>
                  </a:lnTo>
                  <a:lnTo>
                    <a:pt x="12366" y="15098"/>
                  </a:lnTo>
                  <a:lnTo>
                    <a:pt x="6395" y="1061"/>
                  </a:lnTo>
                  <a:lnTo>
                    <a:pt x="350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" name="Google Shape;1114;p57">
              <a:extLst>
                <a:ext uri="{FF2B5EF4-FFF2-40B4-BE49-F238E27FC236}">
                  <a16:creationId xmlns:a16="http://schemas.microsoft.com/office/drawing/2014/main" id="{7D6D7B6B-7671-0E5E-5F4A-889CA7494336}"/>
                </a:ext>
              </a:extLst>
            </p:cNvPr>
            <p:cNvSpPr/>
            <p:nvPr/>
          </p:nvSpPr>
          <p:spPr>
            <a:xfrm>
              <a:off x="8361833" y="4354442"/>
              <a:ext cx="104462" cy="253738"/>
            </a:xfrm>
            <a:custGeom>
              <a:avLst/>
              <a:gdLst/>
              <a:ahLst/>
              <a:cxnLst/>
              <a:rect l="l" t="t" r="r" b="b"/>
              <a:pathLst>
                <a:path w="12366" h="30037" fill="none" extrusionOk="0">
                  <a:moveTo>
                    <a:pt x="3503" y="0"/>
                  </a:moveTo>
                  <a:lnTo>
                    <a:pt x="6395" y="1061"/>
                  </a:lnTo>
                  <a:lnTo>
                    <a:pt x="12366" y="15098"/>
                  </a:lnTo>
                  <a:lnTo>
                    <a:pt x="12366" y="15098"/>
                  </a:lnTo>
                  <a:lnTo>
                    <a:pt x="12366" y="16557"/>
                  </a:lnTo>
                  <a:lnTo>
                    <a:pt x="12339" y="18150"/>
                  </a:lnTo>
                  <a:lnTo>
                    <a:pt x="12259" y="20087"/>
                  </a:lnTo>
                  <a:lnTo>
                    <a:pt x="12206" y="21121"/>
                  </a:lnTo>
                  <a:lnTo>
                    <a:pt x="12127" y="22183"/>
                  </a:lnTo>
                  <a:lnTo>
                    <a:pt x="12021" y="23218"/>
                  </a:lnTo>
                  <a:lnTo>
                    <a:pt x="11888" y="24252"/>
                  </a:lnTo>
                  <a:lnTo>
                    <a:pt x="11702" y="25234"/>
                  </a:lnTo>
                  <a:lnTo>
                    <a:pt x="11516" y="26136"/>
                  </a:lnTo>
                  <a:lnTo>
                    <a:pt x="11278" y="26959"/>
                  </a:lnTo>
                  <a:lnTo>
                    <a:pt x="11145" y="27330"/>
                  </a:lnTo>
                  <a:lnTo>
                    <a:pt x="11012" y="27675"/>
                  </a:lnTo>
                  <a:lnTo>
                    <a:pt x="11012" y="27675"/>
                  </a:lnTo>
                  <a:lnTo>
                    <a:pt x="10800" y="28073"/>
                  </a:lnTo>
                  <a:lnTo>
                    <a:pt x="10561" y="28445"/>
                  </a:lnTo>
                  <a:lnTo>
                    <a:pt x="10269" y="28763"/>
                  </a:lnTo>
                  <a:lnTo>
                    <a:pt x="9951" y="29029"/>
                  </a:lnTo>
                  <a:lnTo>
                    <a:pt x="9606" y="29267"/>
                  </a:lnTo>
                  <a:lnTo>
                    <a:pt x="9234" y="29480"/>
                  </a:lnTo>
                  <a:lnTo>
                    <a:pt x="8836" y="29639"/>
                  </a:lnTo>
                  <a:lnTo>
                    <a:pt x="8438" y="29772"/>
                  </a:lnTo>
                  <a:lnTo>
                    <a:pt x="7987" y="29878"/>
                  </a:lnTo>
                  <a:lnTo>
                    <a:pt x="7536" y="29957"/>
                  </a:lnTo>
                  <a:lnTo>
                    <a:pt x="7085" y="30010"/>
                  </a:lnTo>
                  <a:lnTo>
                    <a:pt x="6608" y="30037"/>
                  </a:lnTo>
                  <a:lnTo>
                    <a:pt x="6130" y="30037"/>
                  </a:lnTo>
                  <a:lnTo>
                    <a:pt x="5652" y="30010"/>
                  </a:lnTo>
                  <a:lnTo>
                    <a:pt x="5175" y="29984"/>
                  </a:lnTo>
                  <a:lnTo>
                    <a:pt x="4697" y="29931"/>
                  </a:lnTo>
                  <a:lnTo>
                    <a:pt x="4219" y="29851"/>
                  </a:lnTo>
                  <a:lnTo>
                    <a:pt x="3768" y="29772"/>
                  </a:lnTo>
                  <a:lnTo>
                    <a:pt x="2866" y="29559"/>
                  </a:lnTo>
                  <a:lnTo>
                    <a:pt x="2070" y="29321"/>
                  </a:lnTo>
                  <a:lnTo>
                    <a:pt x="1354" y="29055"/>
                  </a:lnTo>
                  <a:lnTo>
                    <a:pt x="770" y="28790"/>
                  </a:lnTo>
                  <a:lnTo>
                    <a:pt x="531" y="28657"/>
                  </a:lnTo>
                  <a:lnTo>
                    <a:pt x="345" y="28525"/>
                  </a:lnTo>
                  <a:lnTo>
                    <a:pt x="186" y="28392"/>
                  </a:lnTo>
                  <a:lnTo>
                    <a:pt x="80" y="28259"/>
                  </a:lnTo>
                  <a:lnTo>
                    <a:pt x="27" y="28153"/>
                  </a:lnTo>
                  <a:lnTo>
                    <a:pt x="0" y="28073"/>
                  </a:lnTo>
                  <a:lnTo>
                    <a:pt x="0" y="28073"/>
                  </a:lnTo>
                  <a:lnTo>
                    <a:pt x="186" y="27171"/>
                  </a:lnTo>
                  <a:lnTo>
                    <a:pt x="345" y="26243"/>
                  </a:lnTo>
                  <a:lnTo>
                    <a:pt x="478" y="25287"/>
                  </a:lnTo>
                  <a:lnTo>
                    <a:pt x="584" y="24252"/>
                  </a:lnTo>
                  <a:lnTo>
                    <a:pt x="690" y="23218"/>
                  </a:lnTo>
                  <a:lnTo>
                    <a:pt x="770" y="22130"/>
                  </a:lnTo>
                  <a:lnTo>
                    <a:pt x="876" y="19927"/>
                  </a:lnTo>
                  <a:lnTo>
                    <a:pt x="956" y="17645"/>
                  </a:lnTo>
                  <a:lnTo>
                    <a:pt x="956" y="15337"/>
                  </a:lnTo>
                  <a:lnTo>
                    <a:pt x="929" y="13081"/>
                  </a:lnTo>
                  <a:lnTo>
                    <a:pt x="876" y="10879"/>
                  </a:lnTo>
                  <a:lnTo>
                    <a:pt x="797" y="8783"/>
                  </a:lnTo>
                  <a:lnTo>
                    <a:pt x="717" y="6819"/>
                  </a:lnTo>
                  <a:lnTo>
                    <a:pt x="531" y="3529"/>
                  </a:lnTo>
                  <a:lnTo>
                    <a:pt x="372" y="1327"/>
                  </a:lnTo>
                  <a:lnTo>
                    <a:pt x="292" y="504"/>
                  </a:lnTo>
                  <a:lnTo>
                    <a:pt x="350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" name="Google Shape;1115;p57">
              <a:extLst>
                <a:ext uri="{FF2B5EF4-FFF2-40B4-BE49-F238E27FC236}">
                  <a16:creationId xmlns:a16="http://schemas.microsoft.com/office/drawing/2014/main" id="{B3E3AEE8-00E8-47F6-A930-DD50DE830C03}"/>
                </a:ext>
              </a:extLst>
            </p:cNvPr>
            <p:cNvSpPr/>
            <p:nvPr/>
          </p:nvSpPr>
          <p:spPr>
            <a:xfrm>
              <a:off x="8115039" y="4619610"/>
              <a:ext cx="59192" cy="53126"/>
            </a:xfrm>
            <a:custGeom>
              <a:avLst/>
              <a:gdLst/>
              <a:ahLst/>
              <a:cxnLst/>
              <a:rect l="l" t="t" r="r" b="b"/>
              <a:pathLst>
                <a:path w="7007" h="6289" extrusionOk="0">
                  <a:moveTo>
                    <a:pt x="2654" y="0"/>
                  </a:moveTo>
                  <a:lnTo>
                    <a:pt x="2469" y="27"/>
                  </a:lnTo>
                  <a:lnTo>
                    <a:pt x="2283" y="80"/>
                  </a:lnTo>
                  <a:lnTo>
                    <a:pt x="2097" y="133"/>
                  </a:lnTo>
                  <a:lnTo>
                    <a:pt x="1911" y="239"/>
                  </a:lnTo>
                  <a:lnTo>
                    <a:pt x="1752" y="372"/>
                  </a:lnTo>
                  <a:lnTo>
                    <a:pt x="1593" y="531"/>
                  </a:lnTo>
                  <a:lnTo>
                    <a:pt x="1434" y="717"/>
                  </a:lnTo>
                  <a:lnTo>
                    <a:pt x="1301" y="929"/>
                  </a:lnTo>
                  <a:lnTo>
                    <a:pt x="797" y="1725"/>
                  </a:lnTo>
                  <a:lnTo>
                    <a:pt x="1" y="3052"/>
                  </a:lnTo>
                  <a:lnTo>
                    <a:pt x="691" y="3450"/>
                  </a:lnTo>
                  <a:lnTo>
                    <a:pt x="1487" y="2123"/>
                  </a:lnTo>
                  <a:lnTo>
                    <a:pt x="1593" y="1937"/>
                  </a:lnTo>
                  <a:lnTo>
                    <a:pt x="1699" y="1805"/>
                  </a:lnTo>
                  <a:lnTo>
                    <a:pt x="1805" y="1672"/>
                  </a:lnTo>
                  <a:lnTo>
                    <a:pt x="1938" y="1539"/>
                  </a:lnTo>
                  <a:lnTo>
                    <a:pt x="2071" y="1460"/>
                  </a:lnTo>
                  <a:lnTo>
                    <a:pt x="2203" y="1380"/>
                  </a:lnTo>
                  <a:lnTo>
                    <a:pt x="2336" y="1327"/>
                  </a:lnTo>
                  <a:lnTo>
                    <a:pt x="2469" y="1274"/>
                  </a:lnTo>
                  <a:lnTo>
                    <a:pt x="2708" y="1274"/>
                  </a:lnTo>
                  <a:lnTo>
                    <a:pt x="2814" y="1300"/>
                  </a:lnTo>
                  <a:lnTo>
                    <a:pt x="2946" y="1353"/>
                  </a:lnTo>
                  <a:lnTo>
                    <a:pt x="5334" y="2786"/>
                  </a:lnTo>
                  <a:lnTo>
                    <a:pt x="5547" y="2919"/>
                  </a:lnTo>
                  <a:lnTo>
                    <a:pt x="5679" y="3025"/>
                  </a:lnTo>
                  <a:lnTo>
                    <a:pt x="5759" y="3158"/>
                  </a:lnTo>
                  <a:lnTo>
                    <a:pt x="5839" y="3344"/>
                  </a:lnTo>
                  <a:lnTo>
                    <a:pt x="5865" y="3529"/>
                  </a:lnTo>
                  <a:lnTo>
                    <a:pt x="5865" y="3742"/>
                  </a:lnTo>
                  <a:lnTo>
                    <a:pt x="5812" y="3954"/>
                  </a:lnTo>
                  <a:lnTo>
                    <a:pt x="5759" y="4166"/>
                  </a:lnTo>
                  <a:lnTo>
                    <a:pt x="5626" y="4378"/>
                  </a:lnTo>
                  <a:lnTo>
                    <a:pt x="5547" y="4538"/>
                  </a:lnTo>
                  <a:lnTo>
                    <a:pt x="4751" y="5864"/>
                  </a:lnTo>
                  <a:lnTo>
                    <a:pt x="4724" y="5891"/>
                  </a:lnTo>
                  <a:lnTo>
                    <a:pt x="5414" y="6289"/>
                  </a:lnTo>
                  <a:lnTo>
                    <a:pt x="6237" y="4962"/>
                  </a:lnTo>
                  <a:lnTo>
                    <a:pt x="6688" y="4166"/>
                  </a:lnTo>
                  <a:lnTo>
                    <a:pt x="6767" y="4033"/>
                  </a:lnTo>
                  <a:lnTo>
                    <a:pt x="6873" y="3821"/>
                  </a:lnTo>
                  <a:lnTo>
                    <a:pt x="6926" y="3609"/>
                  </a:lnTo>
                  <a:lnTo>
                    <a:pt x="6980" y="3397"/>
                  </a:lnTo>
                  <a:lnTo>
                    <a:pt x="7006" y="3184"/>
                  </a:lnTo>
                  <a:lnTo>
                    <a:pt x="6980" y="2999"/>
                  </a:lnTo>
                  <a:lnTo>
                    <a:pt x="6980" y="2839"/>
                  </a:lnTo>
                  <a:lnTo>
                    <a:pt x="6926" y="2680"/>
                  </a:lnTo>
                  <a:lnTo>
                    <a:pt x="6873" y="2548"/>
                  </a:lnTo>
                  <a:lnTo>
                    <a:pt x="6794" y="2441"/>
                  </a:lnTo>
                  <a:lnTo>
                    <a:pt x="6688" y="2309"/>
                  </a:lnTo>
                  <a:lnTo>
                    <a:pt x="6555" y="2203"/>
                  </a:lnTo>
                  <a:lnTo>
                    <a:pt x="5892" y="1831"/>
                  </a:lnTo>
                  <a:lnTo>
                    <a:pt x="5892" y="1805"/>
                  </a:lnTo>
                  <a:lnTo>
                    <a:pt x="5812" y="1752"/>
                  </a:lnTo>
                  <a:lnTo>
                    <a:pt x="3106" y="133"/>
                  </a:lnTo>
                  <a:lnTo>
                    <a:pt x="3079" y="133"/>
                  </a:lnTo>
                  <a:lnTo>
                    <a:pt x="2893" y="27"/>
                  </a:lnTo>
                  <a:lnTo>
                    <a:pt x="2654" y="0"/>
                  </a:lnTo>
                  <a:close/>
                </a:path>
              </a:pathLst>
            </a:custGeom>
            <a:solidFill>
              <a:srgbClr val="201B2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" name="Google Shape;1116;p57">
              <a:extLst>
                <a:ext uri="{FF2B5EF4-FFF2-40B4-BE49-F238E27FC236}">
                  <a16:creationId xmlns:a16="http://schemas.microsoft.com/office/drawing/2014/main" id="{DB6A3500-B611-FB1D-701F-B1C432A835B1}"/>
                </a:ext>
              </a:extLst>
            </p:cNvPr>
            <p:cNvSpPr/>
            <p:nvPr/>
          </p:nvSpPr>
          <p:spPr>
            <a:xfrm>
              <a:off x="8137907" y="4590018"/>
              <a:ext cx="43716" cy="54030"/>
            </a:xfrm>
            <a:custGeom>
              <a:avLst/>
              <a:gdLst/>
              <a:ahLst/>
              <a:cxnLst/>
              <a:rect l="l" t="t" r="r" b="b"/>
              <a:pathLst>
                <a:path w="5175" h="6396" extrusionOk="0">
                  <a:moveTo>
                    <a:pt x="2468" y="1"/>
                  </a:moveTo>
                  <a:lnTo>
                    <a:pt x="2282" y="531"/>
                  </a:lnTo>
                  <a:lnTo>
                    <a:pt x="2070" y="956"/>
                  </a:lnTo>
                  <a:lnTo>
                    <a:pt x="1884" y="1327"/>
                  </a:lnTo>
                  <a:lnTo>
                    <a:pt x="1646" y="1646"/>
                  </a:lnTo>
                  <a:lnTo>
                    <a:pt x="1221" y="2230"/>
                  </a:lnTo>
                  <a:lnTo>
                    <a:pt x="1009" y="2548"/>
                  </a:lnTo>
                  <a:lnTo>
                    <a:pt x="797" y="2919"/>
                  </a:lnTo>
                  <a:lnTo>
                    <a:pt x="399" y="3636"/>
                  </a:lnTo>
                  <a:lnTo>
                    <a:pt x="239" y="3981"/>
                  </a:lnTo>
                  <a:lnTo>
                    <a:pt x="107" y="4299"/>
                  </a:lnTo>
                  <a:lnTo>
                    <a:pt x="27" y="4591"/>
                  </a:lnTo>
                  <a:lnTo>
                    <a:pt x="1" y="4883"/>
                  </a:lnTo>
                  <a:lnTo>
                    <a:pt x="1" y="5016"/>
                  </a:lnTo>
                  <a:lnTo>
                    <a:pt x="27" y="5148"/>
                  </a:lnTo>
                  <a:lnTo>
                    <a:pt x="54" y="5281"/>
                  </a:lnTo>
                  <a:lnTo>
                    <a:pt x="133" y="5440"/>
                  </a:lnTo>
                  <a:lnTo>
                    <a:pt x="213" y="5573"/>
                  </a:lnTo>
                  <a:lnTo>
                    <a:pt x="319" y="5706"/>
                  </a:lnTo>
                  <a:lnTo>
                    <a:pt x="452" y="5812"/>
                  </a:lnTo>
                  <a:lnTo>
                    <a:pt x="611" y="5918"/>
                  </a:lnTo>
                  <a:lnTo>
                    <a:pt x="929" y="6104"/>
                  </a:lnTo>
                  <a:lnTo>
                    <a:pt x="1301" y="6263"/>
                  </a:lnTo>
                  <a:lnTo>
                    <a:pt x="1672" y="6369"/>
                  </a:lnTo>
                  <a:lnTo>
                    <a:pt x="2044" y="6395"/>
                  </a:lnTo>
                  <a:lnTo>
                    <a:pt x="2362" y="6395"/>
                  </a:lnTo>
                  <a:lnTo>
                    <a:pt x="2521" y="6342"/>
                  </a:lnTo>
                  <a:lnTo>
                    <a:pt x="2627" y="6289"/>
                  </a:lnTo>
                  <a:lnTo>
                    <a:pt x="2734" y="6236"/>
                  </a:lnTo>
                  <a:lnTo>
                    <a:pt x="2813" y="6157"/>
                  </a:lnTo>
                  <a:lnTo>
                    <a:pt x="2893" y="6051"/>
                  </a:lnTo>
                  <a:lnTo>
                    <a:pt x="2946" y="5971"/>
                  </a:lnTo>
                  <a:lnTo>
                    <a:pt x="3025" y="5759"/>
                  </a:lnTo>
                  <a:lnTo>
                    <a:pt x="3052" y="5573"/>
                  </a:lnTo>
                  <a:lnTo>
                    <a:pt x="3079" y="5281"/>
                  </a:lnTo>
                  <a:lnTo>
                    <a:pt x="3105" y="5255"/>
                  </a:lnTo>
                  <a:lnTo>
                    <a:pt x="3158" y="5308"/>
                  </a:lnTo>
                  <a:lnTo>
                    <a:pt x="3211" y="5414"/>
                  </a:lnTo>
                  <a:lnTo>
                    <a:pt x="3238" y="5546"/>
                  </a:lnTo>
                  <a:lnTo>
                    <a:pt x="3238" y="5865"/>
                  </a:lnTo>
                  <a:lnTo>
                    <a:pt x="3264" y="5997"/>
                  </a:lnTo>
                  <a:lnTo>
                    <a:pt x="3344" y="6130"/>
                  </a:lnTo>
                  <a:lnTo>
                    <a:pt x="3370" y="6183"/>
                  </a:lnTo>
                  <a:lnTo>
                    <a:pt x="3450" y="6236"/>
                  </a:lnTo>
                  <a:lnTo>
                    <a:pt x="3530" y="6289"/>
                  </a:lnTo>
                  <a:lnTo>
                    <a:pt x="3636" y="6316"/>
                  </a:lnTo>
                  <a:lnTo>
                    <a:pt x="3768" y="6316"/>
                  </a:lnTo>
                  <a:lnTo>
                    <a:pt x="3848" y="6289"/>
                  </a:lnTo>
                  <a:lnTo>
                    <a:pt x="3928" y="6210"/>
                  </a:lnTo>
                  <a:lnTo>
                    <a:pt x="4007" y="6104"/>
                  </a:lnTo>
                  <a:lnTo>
                    <a:pt x="4060" y="5997"/>
                  </a:lnTo>
                  <a:lnTo>
                    <a:pt x="4113" y="5838"/>
                  </a:lnTo>
                  <a:lnTo>
                    <a:pt x="4219" y="5467"/>
                  </a:lnTo>
                  <a:lnTo>
                    <a:pt x="4352" y="4565"/>
                  </a:lnTo>
                  <a:lnTo>
                    <a:pt x="4432" y="4087"/>
                  </a:lnTo>
                  <a:lnTo>
                    <a:pt x="4538" y="3609"/>
                  </a:lnTo>
                  <a:lnTo>
                    <a:pt x="4697" y="2919"/>
                  </a:lnTo>
                  <a:lnTo>
                    <a:pt x="4830" y="2468"/>
                  </a:lnTo>
                  <a:lnTo>
                    <a:pt x="4962" y="2097"/>
                  </a:lnTo>
                  <a:lnTo>
                    <a:pt x="5175" y="1593"/>
                  </a:lnTo>
                  <a:lnTo>
                    <a:pt x="2468" y="1"/>
                  </a:lnTo>
                  <a:close/>
                </a:path>
              </a:pathLst>
            </a:custGeom>
            <a:solidFill>
              <a:srgbClr val="EEA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" name="Google Shape;1117;p57">
              <a:extLst>
                <a:ext uri="{FF2B5EF4-FFF2-40B4-BE49-F238E27FC236}">
                  <a16:creationId xmlns:a16="http://schemas.microsoft.com/office/drawing/2014/main" id="{BA07653D-3586-9A59-2949-7852F34CA987}"/>
                </a:ext>
              </a:extLst>
            </p:cNvPr>
            <p:cNvSpPr/>
            <p:nvPr/>
          </p:nvSpPr>
          <p:spPr>
            <a:xfrm>
              <a:off x="8155165" y="4634629"/>
              <a:ext cx="19066" cy="38107"/>
            </a:xfrm>
            <a:custGeom>
              <a:avLst/>
              <a:gdLst/>
              <a:ahLst/>
              <a:cxnLst/>
              <a:rect l="l" t="t" r="r" b="b"/>
              <a:pathLst>
                <a:path w="2257" h="4511" extrusionOk="0">
                  <a:moveTo>
                    <a:pt x="1089" y="0"/>
                  </a:moveTo>
                  <a:lnTo>
                    <a:pt x="1009" y="265"/>
                  </a:lnTo>
                  <a:lnTo>
                    <a:pt x="1009" y="292"/>
                  </a:lnTo>
                  <a:lnTo>
                    <a:pt x="903" y="663"/>
                  </a:lnTo>
                  <a:lnTo>
                    <a:pt x="797" y="1141"/>
                  </a:lnTo>
                  <a:lnTo>
                    <a:pt x="929" y="1247"/>
                  </a:lnTo>
                  <a:lnTo>
                    <a:pt x="1009" y="1380"/>
                  </a:lnTo>
                  <a:lnTo>
                    <a:pt x="1089" y="1566"/>
                  </a:lnTo>
                  <a:lnTo>
                    <a:pt x="1115" y="1751"/>
                  </a:lnTo>
                  <a:lnTo>
                    <a:pt x="1115" y="1937"/>
                  </a:lnTo>
                  <a:lnTo>
                    <a:pt x="1089" y="2176"/>
                  </a:lnTo>
                  <a:lnTo>
                    <a:pt x="1009" y="2388"/>
                  </a:lnTo>
                  <a:lnTo>
                    <a:pt x="903" y="2600"/>
                  </a:lnTo>
                  <a:lnTo>
                    <a:pt x="876" y="2600"/>
                  </a:lnTo>
                  <a:lnTo>
                    <a:pt x="797" y="2760"/>
                  </a:lnTo>
                  <a:lnTo>
                    <a:pt x="1" y="4086"/>
                  </a:lnTo>
                  <a:lnTo>
                    <a:pt x="664" y="4511"/>
                  </a:lnTo>
                  <a:lnTo>
                    <a:pt x="1487" y="3184"/>
                  </a:lnTo>
                  <a:lnTo>
                    <a:pt x="1938" y="2388"/>
                  </a:lnTo>
                  <a:lnTo>
                    <a:pt x="2017" y="2255"/>
                  </a:lnTo>
                  <a:lnTo>
                    <a:pt x="2123" y="2043"/>
                  </a:lnTo>
                  <a:lnTo>
                    <a:pt x="2176" y="1831"/>
                  </a:lnTo>
                  <a:lnTo>
                    <a:pt x="2230" y="1619"/>
                  </a:lnTo>
                  <a:lnTo>
                    <a:pt x="2256" y="1406"/>
                  </a:lnTo>
                  <a:lnTo>
                    <a:pt x="2256" y="1221"/>
                  </a:lnTo>
                  <a:lnTo>
                    <a:pt x="2230" y="1061"/>
                  </a:lnTo>
                  <a:lnTo>
                    <a:pt x="2176" y="902"/>
                  </a:lnTo>
                  <a:lnTo>
                    <a:pt x="2123" y="770"/>
                  </a:lnTo>
                  <a:lnTo>
                    <a:pt x="2044" y="663"/>
                  </a:lnTo>
                  <a:lnTo>
                    <a:pt x="1938" y="531"/>
                  </a:lnTo>
                  <a:lnTo>
                    <a:pt x="1805" y="425"/>
                  </a:lnTo>
                  <a:lnTo>
                    <a:pt x="1142" y="53"/>
                  </a:lnTo>
                  <a:lnTo>
                    <a:pt x="1142" y="27"/>
                  </a:lnTo>
                  <a:lnTo>
                    <a:pt x="1089" y="0"/>
                  </a:lnTo>
                  <a:close/>
                </a:path>
              </a:pathLst>
            </a:custGeom>
            <a:solidFill>
              <a:srgbClr val="201B2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" name="Google Shape;1118;p57">
              <a:extLst>
                <a:ext uri="{FF2B5EF4-FFF2-40B4-BE49-F238E27FC236}">
                  <a16:creationId xmlns:a16="http://schemas.microsoft.com/office/drawing/2014/main" id="{82DBE61D-5DA1-3ED7-E298-3BDCF4622150}"/>
                </a:ext>
              </a:extLst>
            </p:cNvPr>
            <p:cNvSpPr/>
            <p:nvPr/>
          </p:nvSpPr>
          <p:spPr>
            <a:xfrm>
              <a:off x="8001623" y="4605933"/>
              <a:ext cx="226173" cy="203086"/>
            </a:xfrm>
            <a:custGeom>
              <a:avLst/>
              <a:gdLst/>
              <a:ahLst/>
              <a:cxnLst/>
              <a:rect l="l" t="t" r="r" b="b"/>
              <a:pathLst>
                <a:path w="26774" h="24041" extrusionOk="0">
                  <a:moveTo>
                    <a:pt x="7775" y="1"/>
                  </a:moveTo>
                  <a:lnTo>
                    <a:pt x="7510" y="27"/>
                  </a:lnTo>
                  <a:lnTo>
                    <a:pt x="7244" y="80"/>
                  </a:lnTo>
                  <a:lnTo>
                    <a:pt x="7006" y="160"/>
                  </a:lnTo>
                  <a:lnTo>
                    <a:pt x="6767" y="266"/>
                  </a:lnTo>
                  <a:lnTo>
                    <a:pt x="6555" y="372"/>
                  </a:lnTo>
                  <a:lnTo>
                    <a:pt x="6342" y="478"/>
                  </a:lnTo>
                  <a:lnTo>
                    <a:pt x="6183" y="611"/>
                  </a:lnTo>
                  <a:lnTo>
                    <a:pt x="5891" y="876"/>
                  </a:lnTo>
                  <a:lnTo>
                    <a:pt x="5785" y="982"/>
                  </a:lnTo>
                  <a:lnTo>
                    <a:pt x="5705" y="1115"/>
                  </a:lnTo>
                  <a:lnTo>
                    <a:pt x="478" y="10535"/>
                  </a:lnTo>
                  <a:lnTo>
                    <a:pt x="319" y="10774"/>
                  </a:lnTo>
                  <a:lnTo>
                    <a:pt x="160" y="11092"/>
                  </a:lnTo>
                  <a:lnTo>
                    <a:pt x="107" y="11278"/>
                  </a:lnTo>
                  <a:lnTo>
                    <a:pt x="54" y="11464"/>
                  </a:lnTo>
                  <a:lnTo>
                    <a:pt x="1" y="11649"/>
                  </a:lnTo>
                  <a:lnTo>
                    <a:pt x="1" y="11862"/>
                  </a:lnTo>
                  <a:lnTo>
                    <a:pt x="1" y="12074"/>
                  </a:lnTo>
                  <a:lnTo>
                    <a:pt x="54" y="12313"/>
                  </a:lnTo>
                  <a:lnTo>
                    <a:pt x="133" y="12525"/>
                  </a:lnTo>
                  <a:lnTo>
                    <a:pt x="239" y="12764"/>
                  </a:lnTo>
                  <a:lnTo>
                    <a:pt x="425" y="12976"/>
                  </a:lnTo>
                  <a:lnTo>
                    <a:pt x="637" y="13215"/>
                  </a:lnTo>
                  <a:lnTo>
                    <a:pt x="903" y="13427"/>
                  </a:lnTo>
                  <a:lnTo>
                    <a:pt x="1248" y="13666"/>
                  </a:lnTo>
                  <a:lnTo>
                    <a:pt x="18867" y="23829"/>
                  </a:lnTo>
                  <a:lnTo>
                    <a:pt x="18893" y="23855"/>
                  </a:lnTo>
                  <a:lnTo>
                    <a:pt x="19132" y="23961"/>
                  </a:lnTo>
                  <a:lnTo>
                    <a:pt x="19371" y="24014"/>
                  </a:lnTo>
                  <a:lnTo>
                    <a:pt x="19583" y="24041"/>
                  </a:lnTo>
                  <a:lnTo>
                    <a:pt x="19822" y="23988"/>
                  </a:lnTo>
                  <a:lnTo>
                    <a:pt x="20061" y="23908"/>
                  </a:lnTo>
                  <a:lnTo>
                    <a:pt x="20246" y="23802"/>
                  </a:lnTo>
                  <a:lnTo>
                    <a:pt x="20432" y="23643"/>
                  </a:lnTo>
                  <a:lnTo>
                    <a:pt x="20591" y="23431"/>
                  </a:lnTo>
                  <a:lnTo>
                    <a:pt x="26402" y="13613"/>
                  </a:lnTo>
                  <a:lnTo>
                    <a:pt x="26535" y="13374"/>
                  </a:lnTo>
                  <a:lnTo>
                    <a:pt x="26641" y="13109"/>
                  </a:lnTo>
                  <a:lnTo>
                    <a:pt x="26721" y="12870"/>
                  </a:lnTo>
                  <a:lnTo>
                    <a:pt x="26774" y="12604"/>
                  </a:lnTo>
                  <a:lnTo>
                    <a:pt x="26774" y="12339"/>
                  </a:lnTo>
                  <a:lnTo>
                    <a:pt x="26774" y="12100"/>
                  </a:lnTo>
                  <a:lnTo>
                    <a:pt x="26721" y="11835"/>
                  </a:lnTo>
                  <a:lnTo>
                    <a:pt x="26668" y="11596"/>
                  </a:lnTo>
                  <a:lnTo>
                    <a:pt x="26588" y="11331"/>
                  </a:lnTo>
                  <a:lnTo>
                    <a:pt x="26455" y="11119"/>
                  </a:lnTo>
                  <a:lnTo>
                    <a:pt x="26323" y="10880"/>
                  </a:lnTo>
                  <a:lnTo>
                    <a:pt x="26190" y="10667"/>
                  </a:lnTo>
                  <a:lnTo>
                    <a:pt x="26004" y="10482"/>
                  </a:lnTo>
                  <a:lnTo>
                    <a:pt x="25819" y="10296"/>
                  </a:lnTo>
                  <a:lnTo>
                    <a:pt x="25606" y="10110"/>
                  </a:lnTo>
                  <a:lnTo>
                    <a:pt x="25368" y="9951"/>
                  </a:lnTo>
                  <a:lnTo>
                    <a:pt x="24784" y="9606"/>
                  </a:lnTo>
                  <a:lnTo>
                    <a:pt x="9208" y="372"/>
                  </a:lnTo>
                  <a:lnTo>
                    <a:pt x="8916" y="213"/>
                  </a:lnTo>
                  <a:lnTo>
                    <a:pt x="8624" y="107"/>
                  </a:lnTo>
                  <a:lnTo>
                    <a:pt x="8332" y="27"/>
                  </a:lnTo>
                  <a:lnTo>
                    <a:pt x="8067" y="1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" name="Google Shape;1119;p57">
              <a:extLst>
                <a:ext uri="{FF2B5EF4-FFF2-40B4-BE49-F238E27FC236}">
                  <a16:creationId xmlns:a16="http://schemas.microsoft.com/office/drawing/2014/main" id="{CE244DA5-4B19-C0E1-E88B-7839D0DF2306}"/>
                </a:ext>
              </a:extLst>
            </p:cNvPr>
            <p:cNvSpPr/>
            <p:nvPr/>
          </p:nvSpPr>
          <p:spPr>
            <a:xfrm>
              <a:off x="8160994" y="4687080"/>
              <a:ext cx="66803" cy="121940"/>
            </a:xfrm>
            <a:custGeom>
              <a:avLst/>
              <a:gdLst/>
              <a:ahLst/>
              <a:cxnLst/>
              <a:rect l="l" t="t" r="r" b="b"/>
              <a:pathLst>
                <a:path w="7908" h="14435" extrusionOk="0">
                  <a:moveTo>
                    <a:pt x="5918" y="0"/>
                  </a:moveTo>
                  <a:lnTo>
                    <a:pt x="5599" y="1274"/>
                  </a:lnTo>
                  <a:lnTo>
                    <a:pt x="5254" y="2627"/>
                  </a:lnTo>
                  <a:lnTo>
                    <a:pt x="4803" y="4060"/>
                  </a:lnTo>
                  <a:lnTo>
                    <a:pt x="4326" y="5519"/>
                  </a:lnTo>
                  <a:lnTo>
                    <a:pt x="4034" y="6262"/>
                  </a:lnTo>
                  <a:lnTo>
                    <a:pt x="3742" y="6979"/>
                  </a:lnTo>
                  <a:lnTo>
                    <a:pt x="3424" y="7722"/>
                  </a:lnTo>
                  <a:lnTo>
                    <a:pt x="3079" y="8438"/>
                  </a:lnTo>
                  <a:lnTo>
                    <a:pt x="2734" y="9154"/>
                  </a:lnTo>
                  <a:lnTo>
                    <a:pt x="2336" y="9844"/>
                  </a:lnTo>
                  <a:lnTo>
                    <a:pt x="1938" y="10508"/>
                  </a:lnTo>
                  <a:lnTo>
                    <a:pt x="1513" y="11145"/>
                  </a:lnTo>
                  <a:lnTo>
                    <a:pt x="1195" y="11649"/>
                  </a:lnTo>
                  <a:lnTo>
                    <a:pt x="903" y="12126"/>
                  </a:lnTo>
                  <a:lnTo>
                    <a:pt x="664" y="12551"/>
                  </a:lnTo>
                  <a:lnTo>
                    <a:pt x="452" y="12949"/>
                  </a:lnTo>
                  <a:lnTo>
                    <a:pt x="292" y="13320"/>
                  </a:lnTo>
                  <a:lnTo>
                    <a:pt x="160" y="13639"/>
                  </a:lnTo>
                  <a:lnTo>
                    <a:pt x="80" y="13957"/>
                  </a:lnTo>
                  <a:lnTo>
                    <a:pt x="1" y="14223"/>
                  </a:lnTo>
                  <a:lnTo>
                    <a:pt x="27" y="14249"/>
                  </a:lnTo>
                  <a:lnTo>
                    <a:pt x="266" y="14355"/>
                  </a:lnTo>
                  <a:lnTo>
                    <a:pt x="505" y="14408"/>
                  </a:lnTo>
                  <a:lnTo>
                    <a:pt x="717" y="14435"/>
                  </a:lnTo>
                  <a:lnTo>
                    <a:pt x="956" y="14382"/>
                  </a:lnTo>
                  <a:lnTo>
                    <a:pt x="1195" y="14302"/>
                  </a:lnTo>
                  <a:lnTo>
                    <a:pt x="1380" y="14196"/>
                  </a:lnTo>
                  <a:lnTo>
                    <a:pt x="1566" y="14037"/>
                  </a:lnTo>
                  <a:lnTo>
                    <a:pt x="1725" y="13825"/>
                  </a:lnTo>
                  <a:lnTo>
                    <a:pt x="7536" y="4007"/>
                  </a:lnTo>
                  <a:lnTo>
                    <a:pt x="7669" y="3768"/>
                  </a:lnTo>
                  <a:lnTo>
                    <a:pt x="7775" y="3503"/>
                  </a:lnTo>
                  <a:lnTo>
                    <a:pt x="7855" y="3264"/>
                  </a:lnTo>
                  <a:lnTo>
                    <a:pt x="7908" y="2998"/>
                  </a:lnTo>
                  <a:lnTo>
                    <a:pt x="7908" y="2733"/>
                  </a:lnTo>
                  <a:lnTo>
                    <a:pt x="7908" y="2494"/>
                  </a:lnTo>
                  <a:lnTo>
                    <a:pt x="7855" y="2229"/>
                  </a:lnTo>
                  <a:lnTo>
                    <a:pt x="7802" y="1990"/>
                  </a:lnTo>
                  <a:lnTo>
                    <a:pt x="7722" y="1725"/>
                  </a:lnTo>
                  <a:lnTo>
                    <a:pt x="7589" y="1513"/>
                  </a:lnTo>
                  <a:lnTo>
                    <a:pt x="7457" y="1274"/>
                  </a:lnTo>
                  <a:lnTo>
                    <a:pt x="7324" y="1061"/>
                  </a:lnTo>
                  <a:lnTo>
                    <a:pt x="7138" y="876"/>
                  </a:lnTo>
                  <a:lnTo>
                    <a:pt x="6953" y="690"/>
                  </a:lnTo>
                  <a:lnTo>
                    <a:pt x="6740" y="504"/>
                  </a:lnTo>
                  <a:lnTo>
                    <a:pt x="6502" y="345"/>
                  </a:lnTo>
                  <a:lnTo>
                    <a:pt x="5918" y="0"/>
                  </a:lnTo>
                  <a:close/>
                </a:path>
              </a:pathLst>
            </a:custGeom>
            <a:solidFill>
              <a:srgbClr val="B8430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" name="Google Shape;1120;p57">
              <a:extLst>
                <a:ext uri="{FF2B5EF4-FFF2-40B4-BE49-F238E27FC236}">
                  <a16:creationId xmlns:a16="http://schemas.microsoft.com/office/drawing/2014/main" id="{8918D3DB-5BBC-9DC8-7FF9-F20D771123F4}"/>
                </a:ext>
              </a:extLst>
            </p:cNvPr>
            <p:cNvSpPr/>
            <p:nvPr/>
          </p:nvSpPr>
          <p:spPr>
            <a:xfrm>
              <a:off x="8150907" y="4357129"/>
              <a:ext cx="263165" cy="285576"/>
            </a:xfrm>
            <a:custGeom>
              <a:avLst/>
              <a:gdLst/>
              <a:ahLst/>
              <a:cxnLst/>
              <a:rect l="l" t="t" r="r" b="b"/>
              <a:pathLst>
                <a:path w="31153" h="33806" extrusionOk="0">
                  <a:moveTo>
                    <a:pt x="25288" y="0"/>
                  </a:moveTo>
                  <a:lnTo>
                    <a:pt x="24810" y="239"/>
                  </a:lnTo>
                  <a:lnTo>
                    <a:pt x="24333" y="505"/>
                  </a:lnTo>
                  <a:lnTo>
                    <a:pt x="23828" y="823"/>
                  </a:lnTo>
                  <a:lnTo>
                    <a:pt x="23324" y="1168"/>
                  </a:lnTo>
                  <a:lnTo>
                    <a:pt x="22714" y="1593"/>
                  </a:lnTo>
                  <a:lnTo>
                    <a:pt x="22104" y="2070"/>
                  </a:lnTo>
                  <a:lnTo>
                    <a:pt x="21467" y="2601"/>
                  </a:lnTo>
                  <a:lnTo>
                    <a:pt x="20830" y="3158"/>
                  </a:lnTo>
                  <a:lnTo>
                    <a:pt x="20167" y="3742"/>
                  </a:lnTo>
                  <a:lnTo>
                    <a:pt x="19503" y="4352"/>
                  </a:lnTo>
                  <a:lnTo>
                    <a:pt x="18177" y="5626"/>
                  </a:lnTo>
                  <a:lnTo>
                    <a:pt x="17274" y="6501"/>
                  </a:lnTo>
                  <a:lnTo>
                    <a:pt x="16346" y="7324"/>
                  </a:lnTo>
                  <a:lnTo>
                    <a:pt x="15417" y="8120"/>
                  </a:lnTo>
                  <a:lnTo>
                    <a:pt x="14488" y="8889"/>
                  </a:lnTo>
                  <a:lnTo>
                    <a:pt x="13533" y="9606"/>
                  </a:lnTo>
                  <a:lnTo>
                    <a:pt x="12631" y="10296"/>
                  </a:lnTo>
                  <a:lnTo>
                    <a:pt x="10853" y="11623"/>
                  </a:lnTo>
                  <a:lnTo>
                    <a:pt x="9261" y="12843"/>
                  </a:lnTo>
                  <a:lnTo>
                    <a:pt x="8545" y="13427"/>
                  </a:lnTo>
                  <a:lnTo>
                    <a:pt x="7908" y="13984"/>
                  </a:lnTo>
                  <a:lnTo>
                    <a:pt x="7351" y="14515"/>
                  </a:lnTo>
                  <a:lnTo>
                    <a:pt x="6899" y="15045"/>
                  </a:lnTo>
                  <a:lnTo>
                    <a:pt x="6687" y="15284"/>
                  </a:lnTo>
                  <a:lnTo>
                    <a:pt x="6528" y="15550"/>
                  </a:lnTo>
                  <a:lnTo>
                    <a:pt x="6369" y="15788"/>
                  </a:lnTo>
                  <a:lnTo>
                    <a:pt x="6263" y="16027"/>
                  </a:lnTo>
                  <a:lnTo>
                    <a:pt x="5944" y="16744"/>
                  </a:lnTo>
                  <a:lnTo>
                    <a:pt x="5573" y="17540"/>
                  </a:lnTo>
                  <a:lnTo>
                    <a:pt x="4671" y="19424"/>
                  </a:lnTo>
                  <a:lnTo>
                    <a:pt x="3636" y="21467"/>
                  </a:lnTo>
                  <a:lnTo>
                    <a:pt x="2601" y="23536"/>
                  </a:lnTo>
                  <a:lnTo>
                    <a:pt x="770" y="26986"/>
                  </a:lnTo>
                  <a:lnTo>
                    <a:pt x="1" y="28445"/>
                  </a:lnTo>
                  <a:lnTo>
                    <a:pt x="319" y="28843"/>
                  </a:lnTo>
                  <a:lnTo>
                    <a:pt x="637" y="29188"/>
                  </a:lnTo>
                  <a:lnTo>
                    <a:pt x="982" y="29507"/>
                  </a:lnTo>
                  <a:lnTo>
                    <a:pt x="1301" y="29772"/>
                  </a:lnTo>
                  <a:lnTo>
                    <a:pt x="1619" y="29984"/>
                  </a:lnTo>
                  <a:lnTo>
                    <a:pt x="1911" y="30197"/>
                  </a:lnTo>
                  <a:lnTo>
                    <a:pt x="2203" y="30356"/>
                  </a:lnTo>
                  <a:lnTo>
                    <a:pt x="2495" y="30488"/>
                  </a:lnTo>
                  <a:lnTo>
                    <a:pt x="2972" y="30674"/>
                  </a:lnTo>
                  <a:lnTo>
                    <a:pt x="3344" y="30780"/>
                  </a:lnTo>
                  <a:lnTo>
                    <a:pt x="3689" y="30860"/>
                  </a:lnTo>
                  <a:lnTo>
                    <a:pt x="3954" y="30303"/>
                  </a:lnTo>
                  <a:lnTo>
                    <a:pt x="4644" y="28923"/>
                  </a:lnTo>
                  <a:lnTo>
                    <a:pt x="6846" y="24784"/>
                  </a:lnTo>
                  <a:lnTo>
                    <a:pt x="9128" y="20458"/>
                  </a:lnTo>
                  <a:lnTo>
                    <a:pt x="9951" y="18840"/>
                  </a:lnTo>
                  <a:lnTo>
                    <a:pt x="10402" y="17938"/>
                  </a:lnTo>
                  <a:lnTo>
                    <a:pt x="10508" y="17778"/>
                  </a:lnTo>
                  <a:lnTo>
                    <a:pt x="10641" y="17593"/>
                  </a:lnTo>
                  <a:lnTo>
                    <a:pt x="10800" y="17380"/>
                  </a:lnTo>
                  <a:lnTo>
                    <a:pt x="11012" y="17168"/>
                  </a:lnTo>
                  <a:lnTo>
                    <a:pt x="11490" y="16744"/>
                  </a:lnTo>
                  <a:lnTo>
                    <a:pt x="12100" y="16293"/>
                  </a:lnTo>
                  <a:lnTo>
                    <a:pt x="12790" y="15815"/>
                  </a:lnTo>
                  <a:lnTo>
                    <a:pt x="13560" y="15337"/>
                  </a:lnTo>
                  <a:lnTo>
                    <a:pt x="14356" y="14860"/>
                  </a:lnTo>
                  <a:lnTo>
                    <a:pt x="15178" y="14382"/>
                  </a:lnTo>
                  <a:lnTo>
                    <a:pt x="16001" y="13958"/>
                  </a:lnTo>
                  <a:lnTo>
                    <a:pt x="16823" y="13586"/>
                  </a:lnTo>
                  <a:lnTo>
                    <a:pt x="17593" y="13241"/>
                  </a:lnTo>
                  <a:lnTo>
                    <a:pt x="18309" y="12949"/>
                  </a:lnTo>
                  <a:lnTo>
                    <a:pt x="18946" y="12737"/>
                  </a:lnTo>
                  <a:lnTo>
                    <a:pt x="19477" y="12631"/>
                  </a:lnTo>
                  <a:lnTo>
                    <a:pt x="19689" y="12604"/>
                  </a:lnTo>
                  <a:lnTo>
                    <a:pt x="19901" y="12578"/>
                  </a:lnTo>
                  <a:lnTo>
                    <a:pt x="20061" y="12604"/>
                  </a:lnTo>
                  <a:lnTo>
                    <a:pt x="20167" y="12657"/>
                  </a:lnTo>
                  <a:lnTo>
                    <a:pt x="20406" y="12843"/>
                  </a:lnTo>
                  <a:lnTo>
                    <a:pt x="20671" y="13108"/>
                  </a:lnTo>
                  <a:lnTo>
                    <a:pt x="20936" y="13480"/>
                  </a:lnTo>
                  <a:lnTo>
                    <a:pt x="21202" y="13904"/>
                  </a:lnTo>
                  <a:lnTo>
                    <a:pt x="21467" y="14382"/>
                  </a:lnTo>
                  <a:lnTo>
                    <a:pt x="21732" y="14913"/>
                  </a:lnTo>
                  <a:lnTo>
                    <a:pt x="21971" y="15497"/>
                  </a:lnTo>
                  <a:lnTo>
                    <a:pt x="22210" y="16107"/>
                  </a:lnTo>
                  <a:lnTo>
                    <a:pt x="22449" y="16770"/>
                  </a:lnTo>
                  <a:lnTo>
                    <a:pt x="22661" y="17460"/>
                  </a:lnTo>
                  <a:lnTo>
                    <a:pt x="22847" y="18150"/>
                  </a:lnTo>
                  <a:lnTo>
                    <a:pt x="23006" y="18840"/>
                  </a:lnTo>
                  <a:lnTo>
                    <a:pt x="23139" y="19530"/>
                  </a:lnTo>
                  <a:lnTo>
                    <a:pt x="23245" y="20246"/>
                  </a:lnTo>
                  <a:lnTo>
                    <a:pt x="23324" y="20910"/>
                  </a:lnTo>
                  <a:lnTo>
                    <a:pt x="23351" y="21573"/>
                  </a:lnTo>
                  <a:lnTo>
                    <a:pt x="23351" y="22104"/>
                  </a:lnTo>
                  <a:lnTo>
                    <a:pt x="23298" y="22608"/>
                  </a:lnTo>
                  <a:lnTo>
                    <a:pt x="23218" y="23085"/>
                  </a:lnTo>
                  <a:lnTo>
                    <a:pt x="23112" y="23510"/>
                  </a:lnTo>
                  <a:lnTo>
                    <a:pt x="22900" y="24094"/>
                  </a:lnTo>
                  <a:lnTo>
                    <a:pt x="22714" y="24598"/>
                  </a:lnTo>
                  <a:lnTo>
                    <a:pt x="22502" y="25075"/>
                  </a:lnTo>
                  <a:lnTo>
                    <a:pt x="22289" y="25473"/>
                  </a:lnTo>
                  <a:lnTo>
                    <a:pt x="21865" y="26190"/>
                  </a:lnTo>
                  <a:lnTo>
                    <a:pt x="21493" y="26774"/>
                  </a:lnTo>
                  <a:lnTo>
                    <a:pt x="21202" y="27304"/>
                  </a:lnTo>
                  <a:lnTo>
                    <a:pt x="21069" y="27543"/>
                  </a:lnTo>
                  <a:lnTo>
                    <a:pt x="20989" y="27782"/>
                  </a:lnTo>
                  <a:lnTo>
                    <a:pt x="20936" y="28021"/>
                  </a:lnTo>
                  <a:lnTo>
                    <a:pt x="20910" y="28260"/>
                  </a:lnTo>
                  <a:lnTo>
                    <a:pt x="20910" y="28525"/>
                  </a:lnTo>
                  <a:lnTo>
                    <a:pt x="20989" y="28817"/>
                  </a:lnTo>
                  <a:lnTo>
                    <a:pt x="21042" y="28976"/>
                  </a:lnTo>
                  <a:lnTo>
                    <a:pt x="21149" y="29135"/>
                  </a:lnTo>
                  <a:lnTo>
                    <a:pt x="21308" y="29321"/>
                  </a:lnTo>
                  <a:lnTo>
                    <a:pt x="21520" y="29507"/>
                  </a:lnTo>
                  <a:lnTo>
                    <a:pt x="21998" y="29931"/>
                  </a:lnTo>
                  <a:lnTo>
                    <a:pt x="22634" y="30356"/>
                  </a:lnTo>
                  <a:lnTo>
                    <a:pt x="23351" y="30833"/>
                  </a:lnTo>
                  <a:lnTo>
                    <a:pt x="24173" y="31285"/>
                  </a:lnTo>
                  <a:lnTo>
                    <a:pt x="25023" y="31736"/>
                  </a:lnTo>
                  <a:lnTo>
                    <a:pt x="25898" y="32187"/>
                  </a:lnTo>
                  <a:lnTo>
                    <a:pt x="26774" y="32585"/>
                  </a:lnTo>
                  <a:lnTo>
                    <a:pt x="27649" y="32956"/>
                  </a:lnTo>
                  <a:lnTo>
                    <a:pt x="28472" y="33275"/>
                  </a:lnTo>
                  <a:lnTo>
                    <a:pt x="29215" y="33540"/>
                  </a:lnTo>
                  <a:lnTo>
                    <a:pt x="29852" y="33699"/>
                  </a:lnTo>
                  <a:lnTo>
                    <a:pt x="30144" y="33779"/>
                  </a:lnTo>
                  <a:lnTo>
                    <a:pt x="30383" y="33805"/>
                  </a:lnTo>
                  <a:lnTo>
                    <a:pt x="30781" y="33805"/>
                  </a:lnTo>
                  <a:lnTo>
                    <a:pt x="30913" y="33752"/>
                  </a:lnTo>
                  <a:lnTo>
                    <a:pt x="30993" y="33673"/>
                  </a:lnTo>
                  <a:lnTo>
                    <a:pt x="31046" y="33566"/>
                  </a:lnTo>
                  <a:lnTo>
                    <a:pt x="31099" y="33381"/>
                  </a:lnTo>
                  <a:lnTo>
                    <a:pt x="31125" y="33168"/>
                  </a:lnTo>
                  <a:lnTo>
                    <a:pt x="31152" y="32903"/>
                  </a:lnTo>
                  <a:lnTo>
                    <a:pt x="31152" y="32240"/>
                  </a:lnTo>
                  <a:lnTo>
                    <a:pt x="31099" y="31417"/>
                  </a:lnTo>
                  <a:lnTo>
                    <a:pt x="31046" y="30488"/>
                  </a:lnTo>
                  <a:lnTo>
                    <a:pt x="30966" y="29427"/>
                  </a:lnTo>
                  <a:lnTo>
                    <a:pt x="30727" y="27172"/>
                  </a:lnTo>
                  <a:lnTo>
                    <a:pt x="30489" y="24837"/>
                  </a:lnTo>
                  <a:lnTo>
                    <a:pt x="30329" y="22634"/>
                  </a:lnTo>
                  <a:lnTo>
                    <a:pt x="30250" y="21653"/>
                  </a:lnTo>
                  <a:lnTo>
                    <a:pt x="30223" y="20777"/>
                  </a:lnTo>
                  <a:lnTo>
                    <a:pt x="30250" y="20034"/>
                  </a:lnTo>
                  <a:lnTo>
                    <a:pt x="30276" y="19716"/>
                  </a:lnTo>
                  <a:lnTo>
                    <a:pt x="30303" y="19450"/>
                  </a:lnTo>
                  <a:lnTo>
                    <a:pt x="30701" y="17434"/>
                  </a:lnTo>
                  <a:lnTo>
                    <a:pt x="30887" y="16266"/>
                  </a:lnTo>
                  <a:lnTo>
                    <a:pt x="30966" y="15656"/>
                  </a:lnTo>
                  <a:lnTo>
                    <a:pt x="31019" y="15019"/>
                  </a:lnTo>
                  <a:lnTo>
                    <a:pt x="31046" y="14382"/>
                  </a:lnTo>
                  <a:lnTo>
                    <a:pt x="31046" y="13745"/>
                  </a:lnTo>
                  <a:lnTo>
                    <a:pt x="31019" y="13108"/>
                  </a:lnTo>
                  <a:lnTo>
                    <a:pt x="30940" y="12472"/>
                  </a:lnTo>
                  <a:lnTo>
                    <a:pt x="30807" y="11861"/>
                  </a:lnTo>
                  <a:lnTo>
                    <a:pt x="30621" y="11251"/>
                  </a:lnTo>
                  <a:lnTo>
                    <a:pt x="30515" y="10959"/>
                  </a:lnTo>
                  <a:lnTo>
                    <a:pt x="30383" y="10667"/>
                  </a:lnTo>
                  <a:lnTo>
                    <a:pt x="30250" y="10402"/>
                  </a:lnTo>
                  <a:lnTo>
                    <a:pt x="30064" y="10137"/>
                  </a:lnTo>
                  <a:lnTo>
                    <a:pt x="29560" y="9234"/>
                  </a:lnTo>
                  <a:lnTo>
                    <a:pt x="28976" y="8173"/>
                  </a:lnTo>
                  <a:lnTo>
                    <a:pt x="28392" y="6979"/>
                  </a:lnTo>
                  <a:lnTo>
                    <a:pt x="27809" y="5758"/>
                  </a:lnTo>
                  <a:lnTo>
                    <a:pt x="26694" y="3317"/>
                  </a:lnTo>
                  <a:lnTo>
                    <a:pt x="25819" y="1301"/>
                  </a:lnTo>
                  <a:lnTo>
                    <a:pt x="25766" y="1194"/>
                  </a:lnTo>
                  <a:lnTo>
                    <a:pt x="25288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" name="Google Shape;1121;p57">
              <a:extLst>
                <a:ext uri="{FF2B5EF4-FFF2-40B4-BE49-F238E27FC236}">
                  <a16:creationId xmlns:a16="http://schemas.microsoft.com/office/drawing/2014/main" id="{D7FD7AD8-9450-6B19-2F8B-F96F1D0183C4}"/>
                </a:ext>
              </a:extLst>
            </p:cNvPr>
            <p:cNvSpPr/>
            <p:nvPr/>
          </p:nvSpPr>
          <p:spPr>
            <a:xfrm>
              <a:off x="8150907" y="4357129"/>
              <a:ext cx="263165" cy="285576"/>
            </a:xfrm>
            <a:custGeom>
              <a:avLst/>
              <a:gdLst/>
              <a:ahLst/>
              <a:cxnLst/>
              <a:rect l="l" t="t" r="r" b="b"/>
              <a:pathLst>
                <a:path w="31153" h="33806" fill="none" extrusionOk="0">
                  <a:moveTo>
                    <a:pt x="6263" y="16027"/>
                  </a:moveTo>
                  <a:lnTo>
                    <a:pt x="6263" y="16027"/>
                  </a:lnTo>
                  <a:lnTo>
                    <a:pt x="5944" y="16744"/>
                  </a:lnTo>
                  <a:lnTo>
                    <a:pt x="5573" y="17540"/>
                  </a:lnTo>
                  <a:lnTo>
                    <a:pt x="4671" y="19424"/>
                  </a:lnTo>
                  <a:lnTo>
                    <a:pt x="3636" y="21467"/>
                  </a:lnTo>
                  <a:lnTo>
                    <a:pt x="2601" y="23536"/>
                  </a:lnTo>
                  <a:lnTo>
                    <a:pt x="770" y="26986"/>
                  </a:lnTo>
                  <a:lnTo>
                    <a:pt x="1" y="28445"/>
                  </a:lnTo>
                  <a:lnTo>
                    <a:pt x="1" y="28445"/>
                  </a:lnTo>
                  <a:lnTo>
                    <a:pt x="319" y="28843"/>
                  </a:lnTo>
                  <a:lnTo>
                    <a:pt x="637" y="29188"/>
                  </a:lnTo>
                  <a:lnTo>
                    <a:pt x="982" y="29507"/>
                  </a:lnTo>
                  <a:lnTo>
                    <a:pt x="1301" y="29772"/>
                  </a:lnTo>
                  <a:lnTo>
                    <a:pt x="1619" y="29984"/>
                  </a:lnTo>
                  <a:lnTo>
                    <a:pt x="1911" y="30197"/>
                  </a:lnTo>
                  <a:lnTo>
                    <a:pt x="2203" y="30356"/>
                  </a:lnTo>
                  <a:lnTo>
                    <a:pt x="2495" y="30488"/>
                  </a:lnTo>
                  <a:lnTo>
                    <a:pt x="2972" y="30674"/>
                  </a:lnTo>
                  <a:lnTo>
                    <a:pt x="3344" y="30780"/>
                  </a:lnTo>
                  <a:lnTo>
                    <a:pt x="3689" y="30860"/>
                  </a:lnTo>
                  <a:lnTo>
                    <a:pt x="3689" y="30860"/>
                  </a:lnTo>
                  <a:lnTo>
                    <a:pt x="3954" y="30303"/>
                  </a:lnTo>
                  <a:lnTo>
                    <a:pt x="4644" y="28923"/>
                  </a:lnTo>
                  <a:lnTo>
                    <a:pt x="6846" y="24784"/>
                  </a:lnTo>
                  <a:lnTo>
                    <a:pt x="9128" y="20458"/>
                  </a:lnTo>
                  <a:lnTo>
                    <a:pt x="9951" y="18840"/>
                  </a:lnTo>
                  <a:lnTo>
                    <a:pt x="10402" y="17938"/>
                  </a:lnTo>
                  <a:lnTo>
                    <a:pt x="10402" y="17938"/>
                  </a:lnTo>
                  <a:lnTo>
                    <a:pt x="10508" y="17778"/>
                  </a:lnTo>
                  <a:lnTo>
                    <a:pt x="10641" y="17593"/>
                  </a:lnTo>
                  <a:lnTo>
                    <a:pt x="10800" y="17380"/>
                  </a:lnTo>
                  <a:lnTo>
                    <a:pt x="11012" y="17168"/>
                  </a:lnTo>
                  <a:lnTo>
                    <a:pt x="11490" y="16744"/>
                  </a:lnTo>
                  <a:lnTo>
                    <a:pt x="12100" y="16293"/>
                  </a:lnTo>
                  <a:lnTo>
                    <a:pt x="12790" y="15815"/>
                  </a:lnTo>
                  <a:lnTo>
                    <a:pt x="13560" y="15337"/>
                  </a:lnTo>
                  <a:lnTo>
                    <a:pt x="14356" y="14860"/>
                  </a:lnTo>
                  <a:lnTo>
                    <a:pt x="15178" y="14382"/>
                  </a:lnTo>
                  <a:lnTo>
                    <a:pt x="16001" y="13958"/>
                  </a:lnTo>
                  <a:lnTo>
                    <a:pt x="16823" y="13586"/>
                  </a:lnTo>
                  <a:lnTo>
                    <a:pt x="17593" y="13241"/>
                  </a:lnTo>
                  <a:lnTo>
                    <a:pt x="18309" y="12949"/>
                  </a:lnTo>
                  <a:lnTo>
                    <a:pt x="18946" y="12737"/>
                  </a:lnTo>
                  <a:lnTo>
                    <a:pt x="19477" y="12631"/>
                  </a:lnTo>
                  <a:lnTo>
                    <a:pt x="19689" y="12604"/>
                  </a:lnTo>
                  <a:lnTo>
                    <a:pt x="19901" y="12578"/>
                  </a:lnTo>
                  <a:lnTo>
                    <a:pt x="20061" y="12604"/>
                  </a:lnTo>
                  <a:lnTo>
                    <a:pt x="20167" y="12657"/>
                  </a:lnTo>
                  <a:lnTo>
                    <a:pt x="20167" y="12657"/>
                  </a:lnTo>
                  <a:lnTo>
                    <a:pt x="20406" y="12843"/>
                  </a:lnTo>
                  <a:lnTo>
                    <a:pt x="20671" y="13108"/>
                  </a:lnTo>
                  <a:lnTo>
                    <a:pt x="20936" y="13480"/>
                  </a:lnTo>
                  <a:lnTo>
                    <a:pt x="21202" y="13904"/>
                  </a:lnTo>
                  <a:lnTo>
                    <a:pt x="21467" y="14382"/>
                  </a:lnTo>
                  <a:lnTo>
                    <a:pt x="21732" y="14913"/>
                  </a:lnTo>
                  <a:lnTo>
                    <a:pt x="21971" y="15497"/>
                  </a:lnTo>
                  <a:lnTo>
                    <a:pt x="22210" y="16107"/>
                  </a:lnTo>
                  <a:lnTo>
                    <a:pt x="22449" y="16770"/>
                  </a:lnTo>
                  <a:lnTo>
                    <a:pt x="22661" y="17460"/>
                  </a:lnTo>
                  <a:lnTo>
                    <a:pt x="22847" y="18150"/>
                  </a:lnTo>
                  <a:lnTo>
                    <a:pt x="23006" y="18840"/>
                  </a:lnTo>
                  <a:lnTo>
                    <a:pt x="23139" y="19530"/>
                  </a:lnTo>
                  <a:lnTo>
                    <a:pt x="23245" y="20246"/>
                  </a:lnTo>
                  <a:lnTo>
                    <a:pt x="23324" y="20910"/>
                  </a:lnTo>
                  <a:lnTo>
                    <a:pt x="23351" y="21573"/>
                  </a:lnTo>
                  <a:lnTo>
                    <a:pt x="23351" y="21573"/>
                  </a:lnTo>
                  <a:lnTo>
                    <a:pt x="23351" y="22104"/>
                  </a:lnTo>
                  <a:lnTo>
                    <a:pt x="23298" y="22608"/>
                  </a:lnTo>
                  <a:lnTo>
                    <a:pt x="23218" y="23085"/>
                  </a:lnTo>
                  <a:lnTo>
                    <a:pt x="23112" y="23510"/>
                  </a:lnTo>
                  <a:lnTo>
                    <a:pt x="23112" y="23510"/>
                  </a:lnTo>
                  <a:lnTo>
                    <a:pt x="22900" y="24094"/>
                  </a:lnTo>
                  <a:lnTo>
                    <a:pt x="22714" y="24598"/>
                  </a:lnTo>
                  <a:lnTo>
                    <a:pt x="22502" y="25075"/>
                  </a:lnTo>
                  <a:lnTo>
                    <a:pt x="22289" y="25473"/>
                  </a:lnTo>
                  <a:lnTo>
                    <a:pt x="21865" y="26190"/>
                  </a:lnTo>
                  <a:lnTo>
                    <a:pt x="21493" y="26774"/>
                  </a:lnTo>
                  <a:lnTo>
                    <a:pt x="21202" y="27304"/>
                  </a:lnTo>
                  <a:lnTo>
                    <a:pt x="21069" y="27543"/>
                  </a:lnTo>
                  <a:lnTo>
                    <a:pt x="20989" y="27782"/>
                  </a:lnTo>
                  <a:lnTo>
                    <a:pt x="20936" y="28021"/>
                  </a:lnTo>
                  <a:lnTo>
                    <a:pt x="20910" y="28260"/>
                  </a:lnTo>
                  <a:lnTo>
                    <a:pt x="20910" y="28525"/>
                  </a:lnTo>
                  <a:lnTo>
                    <a:pt x="20989" y="28817"/>
                  </a:lnTo>
                  <a:lnTo>
                    <a:pt x="20989" y="28817"/>
                  </a:lnTo>
                  <a:lnTo>
                    <a:pt x="21042" y="28976"/>
                  </a:lnTo>
                  <a:lnTo>
                    <a:pt x="21149" y="29135"/>
                  </a:lnTo>
                  <a:lnTo>
                    <a:pt x="21308" y="29321"/>
                  </a:lnTo>
                  <a:lnTo>
                    <a:pt x="21520" y="29507"/>
                  </a:lnTo>
                  <a:lnTo>
                    <a:pt x="21998" y="29931"/>
                  </a:lnTo>
                  <a:lnTo>
                    <a:pt x="22634" y="30356"/>
                  </a:lnTo>
                  <a:lnTo>
                    <a:pt x="23351" y="30833"/>
                  </a:lnTo>
                  <a:lnTo>
                    <a:pt x="24173" y="31285"/>
                  </a:lnTo>
                  <a:lnTo>
                    <a:pt x="25023" y="31736"/>
                  </a:lnTo>
                  <a:lnTo>
                    <a:pt x="25898" y="32187"/>
                  </a:lnTo>
                  <a:lnTo>
                    <a:pt x="26774" y="32585"/>
                  </a:lnTo>
                  <a:lnTo>
                    <a:pt x="27649" y="32956"/>
                  </a:lnTo>
                  <a:lnTo>
                    <a:pt x="28472" y="33275"/>
                  </a:lnTo>
                  <a:lnTo>
                    <a:pt x="29215" y="33540"/>
                  </a:lnTo>
                  <a:lnTo>
                    <a:pt x="29852" y="33699"/>
                  </a:lnTo>
                  <a:lnTo>
                    <a:pt x="30144" y="33779"/>
                  </a:lnTo>
                  <a:lnTo>
                    <a:pt x="30383" y="33805"/>
                  </a:lnTo>
                  <a:lnTo>
                    <a:pt x="30595" y="33805"/>
                  </a:lnTo>
                  <a:lnTo>
                    <a:pt x="30781" y="33805"/>
                  </a:lnTo>
                  <a:lnTo>
                    <a:pt x="30913" y="33752"/>
                  </a:lnTo>
                  <a:lnTo>
                    <a:pt x="30993" y="33673"/>
                  </a:lnTo>
                  <a:lnTo>
                    <a:pt x="30993" y="33673"/>
                  </a:lnTo>
                  <a:lnTo>
                    <a:pt x="31046" y="33566"/>
                  </a:lnTo>
                  <a:lnTo>
                    <a:pt x="31099" y="33381"/>
                  </a:lnTo>
                  <a:lnTo>
                    <a:pt x="31125" y="33168"/>
                  </a:lnTo>
                  <a:lnTo>
                    <a:pt x="31152" y="32903"/>
                  </a:lnTo>
                  <a:lnTo>
                    <a:pt x="31152" y="32240"/>
                  </a:lnTo>
                  <a:lnTo>
                    <a:pt x="31099" y="31417"/>
                  </a:lnTo>
                  <a:lnTo>
                    <a:pt x="31046" y="30488"/>
                  </a:lnTo>
                  <a:lnTo>
                    <a:pt x="30966" y="29427"/>
                  </a:lnTo>
                  <a:lnTo>
                    <a:pt x="30727" y="27172"/>
                  </a:lnTo>
                  <a:lnTo>
                    <a:pt x="30489" y="24837"/>
                  </a:lnTo>
                  <a:lnTo>
                    <a:pt x="30329" y="22634"/>
                  </a:lnTo>
                  <a:lnTo>
                    <a:pt x="30250" y="21653"/>
                  </a:lnTo>
                  <a:lnTo>
                    <a:pt x="30223" y="20777"/>
                  </a:lnTo>
                  <a:lnTo>
                    <a:pt x="30250" y="20034"/>
                  </a:lnTo>
                  <a:lnTo>
                    <a:pt x="30276" y="19716"/>
                  </a:lnTo>
                  <a:lnTo>
                    <a:pt x="30303" y="19450"/>
                  </a:lnTo>
                  <a:lnTo>
                    <a:pt x="30303" y="19450"/>
                  </a:lnTo>
                  <a:lnTo>
                    <a:pt x="30701" y="17434"/>
                  </a:lnTo>
                  <a:lnTo>
                    <a:pt x="30887" y="16266"/>
                  </a:lnTo>
                  <a:lnTo>
                    <a:pt x="30966" y="15656"/>
                  </a:lnTo>
                  <a:lnTo>
                    <a:pt x="31019" y="15019"/>
                  </a:lnTo>
                  <a:lnTo>
                    <a:pt x="31046" y="14382"/>
                  </a:lnTo>
                  <a:lnTo>
                    <a:pt x="31046" y="13745"/>
                  </a:lnTo>
                  <a:lnTo>
                    <a:pt x="31019" y="13108"/>
                  </a:lnTo>
                  <a:lnTo>
                    <a:pt x="30940" y="12472"/>
                  </a:lnTo>
                  <a:lnTo>
                    <a:pt x="30807" y="11861"/>
                  </a:lnTo>
                  <a:lnTo>
                    <a:pt x="30621" y="11251"/>
                  </a:lnTo>
                  <a:lnTo>
                    <a:pt x="30515" y="10959"/>
                  </a:lnTo>
                  <a:lnTo>
                    <a:pt x="30383" y="10667"/>
                  </a:lnTo>
                  <a:lnTo>
                    <a:pt x="30250" y="10402"/>
                  </a:lnTo>
                  <a:lnTo>
                    <a:pt x="30064" y="10137"/>
                  </a:lnTo>
                  <a:lnTo>
                    <a:pt x="30064" y="10137"/>
                  </a:lnTo>
                  <a:lnTo>
                    <a:pt x="29560" y="9234"/>
                  </a:lnTo>
                  <a:lnTo>
                    <a:pt x="28976" y="8173"/>
                  </a:lnTo>
                  <a:lnTo>
                    <a:pt x="28392" y="6979"/>
                  </a:lnTo>
                  <a:lnTo>
                    <a:pt x="27809" y="5758"/>
                  </a:lnTo>
                  <a:lnTo>
                    <a:pt x="26694" y="3317"/>
                  </a:lnTo>
                  <a:lnTo>
                    <a:pt x="25819" y="1301"/>
                  </a:lnTo>
                  <a:lnTo>
                    <a:pt x="25819" y="1301"/>
                  </a:lnTo>
                  <a:lnTo>
                    <a:pt x="25766" y="1194"/>
                  </a:lnTo>
                  <a:lnTo>
                    <a:pt x="25766" y="1194"/>
                  </a:lnTo>
                  <a:lnTo>
                    <a:pt x="25288" y="0"/>
                  </a:lnTo>
                  <a:lnTo>
                    <a:pt x="25288" y="0"/>
                  </a:lnTo>
                  <a:lnTo>
                    <a:pt x="24810" y="239"/>
                  </a:lnTo>
                  <a:lnTo>
                    <a:pt x="24333" y="505"/>
                  </a:lnTo>
                  <a:lnTo>
                    <a:pt x="23828" y="823"/>
                  </a:lnTo>
                  <a:lnTo>
                    <a:pt x="23324" y="1168"/>
                  </a:lnTo>
                  <a:lnTo>
                    <a:pt x="23324" y="1168"/>
                  </a:lnTo>
                  <a:lnTo>
                    <a:pt x="22714" y="1593"/>
                  </a:lnTo>
                  <a:lnTo>
                    <a:pt x="22104" y="2070"/>
                  </a:lnTo>
                  <a:lnTo>
                    <a:pt x="21467" y="2601"/>
                  </a:lnTo>
                  <a:lnTo>
                    <a:pt x="20830" y="3158"/>
                  </a:lnTo>
                  <a:lnTo>
                    <a:pt x="20167" y="3742"/>
                  </a:lnTo>
                  <a:lnTo>
                    <a:pt x="19503" y="4352"/>
                  </a:lnTo>
                  <a:lnTo>
                    <a:pt x="18177" y="5626"/>
                  </a:lnTo>
                  <a:lnTo>
                    <a:pt x="18177" y="5626"/>
                  </a:lnTo>
                  <a:lnTo>
                    <a:pt x="17274" y="6501"/>
                  </a:lnTo>
                  <a:lnTo>
                    <a:pt x="16346" y="7324"/>
                  </a:lnTo>
                  <a:lnTo>
                    <a:pt x="15417" y="8120"/>
                  </a:lnTo>
                  <a:lnTo>
                    <a:pt x="14488" y="8889"/>
                  </a:lnTo>
                  <a:lnTo>
                    <a:pt x="13533" y="9606"/>
                  </a:lnTo>
                  <a:lnTo>
                    <a:pt x="12631" y="10296"/>
                  </a:lnTo>
                  <a:lnTo>
                    <a:pt x="10853" y="11623"/>
                  </a:lnTo>
                  <a:lnTo>
                    <a:pt x="9261" y="12843"/>
                  </a:lnTo>
                  <a:lnTo>
                    <a:pt x="8545" y="13427"/>
                  </a:lnTo>
                  <a:lnTo>
                    <a:pt x="7908" y="13984"/>
                  </a:lnTo>
                  <a:lnTo>
                    <a:pt x="7351" y="14515"/>
                  </a:lnTo>
                  <a:lnTo>
                    <a:pt x="6899" y="15045"/>
                  </a:lnTo>
                  <a:lnTo>
                    <a:pt x="6687" y="15284"/>
                  </a:lnTo>
                  <a:lnTo>
                    <a:pt x="6528" y="15550"/>
                  </a:lnTo>
                  <a:lnTo>
                    <a:pt x="6369" y="15788"/>
                  </a:lnTo>
                  <a:lnTo>
                    <a:pt x="6263" y="1602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" name="Google Shape;1122;p57">
              <a:extLst>
                <a:ext uri="{FF2B5EF4-FFF2-40B4-BE49-F238E27FC236}">
                  <a16:creationId xmlns:a16="http://schemas.microsoft.com/office/drawing/2014/main" id="{D160983E-66CE-2899-AAB4-10752426096D}"/>
                </a:ext>
              </a:extLst>
            </p:cNvPr>
            <p:cNvSpPr/>
            <p:nvPr/>
          </p:nvSpPr>
          <p:spPr>
            <a:xfrm>
              <a:off x="8412265" y="4153155"/>
              <a:ext cx="154226" cy="481026"/>
            </a:xfrm>
            <a:custGeom>
              <a:avLst/>
              <a:gdLst/>
              <a:ahLst/>
              <a:cxnLst/>
              <a:rect l="l" t="t" r="r" b="b"/>
              <a:pathLst>
                <a:path w="18257" h="56943" extrusionOk="0">
                  <a:moveTo>
                    <a:pt x="14276" y="0"/>
                  </a:moveTo>
                  <a:lnTo>
                    <a:pt x="14037" y="53"/>
                  </a:lnTo>
                  <a:lnTo>
                    <a:pt x="13958" y="80"/>
                  </a:lnTo>
                  <a:lnTo>
                    <a:pt x="13905" y="133"/>
                  </a:lnTo>
                  <a:lnTo>
                    <a:pt x="13852" y="186"/>
                  </a:lnTo>
                  <a:lnTo>
                    <a:pt x="13852" y="239"/>
                  </a:lnTo>
                  <a:lnTo>
                    <a:pt x="13772" y="1566"/>
                  </a:lnTo>
                  <a:lnTo>
                    <a:pt x="13666" y="2866"/>
                  </a:lnTo>
                  <a:lnTo>
                    <a:pt x="13560" y="4139"/>
                  </a:lnTo>
                  <a:lnTo>
                    <a:pt x="13427" y="5387"/>
                  </a:lnTo>
                  <a:lnTo>
                    <a:pt x="13295" y="6581"/>
                  </a:lnTo>
                  <a:lnTo>
                    <a:pt x="13135" y="7748"/>
                  </a:lnTo>
                  <a:lnTo>
                    <a:pt x="12976" y="8863"/>
                  </a:lnTo>
                  <a:lnTo>
                    <a:pt x="12817" y="9897"/>
                  </a:lnTo>
                  <a:lnTo>
                    <a:pt x="12658" y="10879"/>
                  </a:lnTo>
                  <a:lnTo>
                    <a:pt x="12472" y="11781"/>
                  </a:lnTo>
                  <a:lnTo>
                    <a:pt x="12286" y="12604"/>
                  </a:lnTo>
                  <a:lnTo>
                    <a:pt x="12100" y="13320"/>
                  </a:lnTo>
                  <a:lnTo>
                    <a:pt x="11915" y="13957"/>
                  </a:lnTo>
                  <a:lnTo>
                    <a:pt x="11756" y="14488"/>
                  </a:lnTo>
                  <a:lnTo>
                    <a:pt x="11570" y="14886"/>
                  </a:lnTo>
                  <a:lnTo>
                    <a:pt x="11411" y="15178"/>
                  </a:lnTo>
                  <a:lnTo>
                    <a:pt x="11039" y="15655"/>
                  </a:lnTo>
                  <a:lnTo>
                    <a:pt x="10615" y="16133"/>
                  </a:lnTo>
                  <a:lnTo>
                    <a:pt x="10137" y="16611"/>
                  </a:lnTo>
                  <a:lnTo>
                    <a:pt x="9633" y="17115"/>
                  </a:lnTo>
                  <a:lnTo>
                    <a:pt x="9076" y="17619"/>
                  </a:lnTo>
                  <a:lnTo>
                    <a:pt x="8465" y="18150"/>
                  </a:lnTo>
                  <a:lnTo>
                    <a:pt x="7139" y="19238"/>
                  </a:lnTo>
                  <a:lnTo>
                    <a:pt x="5600" y="20432"/>
                  </a:lnTo>
                  <a:lnTo>
                    <a:pt x="3901" y="21732"/>
                  </a:lnTo>
                  <a:lnTo>
                    <a:pt x="2044" y="23165"/>
                  </a:lnTo>
                  <a:lnTo>
                    <a:pt x="27" y="24730"/>
                  </a:lnTo>
                  <a:lnTo>
                    <a:pt x="1" y="24783"/>
                  </a:lnTo>
                  <a:lnTo>
                    <a:pt x="27" y="24863"/>
                  </a:lnTo>
                  <a:lnTo>
                    <a:pt x="186" y="25181"/>
                  </a:lnTo>
                  <a:lnTo>
                    <a:pt x="399" y="25685"/>
                  </a:lnTo>
                  <a:lnTo>
                    <a:pt x="505" y="26004"/>
                  </a:lnTo>
                  <a:lnTo>
                    <a:pt x="611" y="26375"/>
                  </a:lnTo>
                  <a:lnTo>
                    <a:pt x="770" y="27012"/>
                  </a:lnTo>
                  <a:lnTo>
                    <a:pt x="983" y="27702"/>
                  </a:lnTo>
                  <a:lnTo>
                    <a:pt x="1195" y="28445"/>
                  </a:lnTo>
                  <a:lnTo>
                    <a:pt x="1407" y="29268"/>
                  </a:lnTo>
                  <a:lnTo>
                    <a:pt x="1566" y="29825"/>
                  </a:lnTo>
                  <a:lnTo>
                    <a:pt x="1725" y="30329"/>
                  </a:lnTo>
                  <a:lnTo>
                    <a:pt x="1885" y="30807"/>
                  </a:lnTo>
                  <a:lnTo>
                    <a:pt x="2070" y="31231"/>
                  </a:lnTo>
                  <a:lnTo>
                    <a:pt x="2283" y="31603"/>
                  </a:lnTo>
                  <a:lnTo>
                    <a:pt x="2468" y="31974"/>
                  </a:lnTo>
                  <a:lnTo>
                    <a:pt x="2920" y="32664"/>
                  </a:lnTo>
                  <a:lnTo>
                    <a:pt x="3397" y="33380"/>
                  </a:lnTo>
                  <a:lnTo>
                    <a:pt x="3928" y="34176"/>
                  </a:lnTo>
                  <a:lnTo>
                    <a:pt x="4485" y="35079"/>
                  </a:lnTo>
                  <a:lnTo>
                    <a:pt x="4777" y="35636"/>
                  </a:lnTo>
                  <a:lnTo>
                    <a:pt x="5069" y="36220"/>
                  </a:lnTo>
                  <a:lnTo>
                    <a:pt x="5202" y="36511"/>
                  </a:lnTo>
                  <a:lnTo>
                    <a:pt x="5281" y="36830"/>
                  </a:lnTo>
                  <a:lnTo>
                    <a:pt x="5361" y="37148"/>
                  </a:lnTo>
                  <a:lnTo>
                    <a:pt x="5414" y="37520"/>
                  </a:lnTo>
                  <a:lnTo>
                    <a:pt x="5440" y="37891"/>
                  </a:lnTo>
                  <a:lnTo>
                    <a:pt x="5467" y="38316"/>
                  </a:lnTo>
                  <a:lnTo>
                    <a:pt x="5440" y="39191"/>
                  </a:lnTo>
                  <a:lnTo>
                    <a:pt x="5361" y="40147"/>
                  </a:lnTo>
                  <a:lnTo>
                    <a:pt x="5228" y="41182"/>
                  </a:lnTo>
                  <a:lnTo>
                    <a:pt x="5069" y="42269"/>
                  </a:lnTo>
                  <a:lnTo>
                    <a:pt x="4910" y="43384"/>
                  </a:lnTo>
                  <a:lnTo>
                    <a:pt x="4512" y="45719"/>
                  </a:lnTo>
                  <a:lnTo>
                    <a:pt x="4352" y="46886"/>
                  </a:lnTo>
                  <a:lnTo>
                    <a:pt x="4193" y="48080"/>
                  </a:lnTo>
                  <a:lnTo>
                    <a:pt x="4061" y="49248"/>
                  </a:lnTo>
                  <a:lnTo>
                    <a:pt x="3981" y="50416"/>
                  </a:lnTo>
                  <a:lnTo>
                    <a:pt x="3981" y="50973"/>
                  </a:lnTo>
                  <a:lnTo>
                    <a:pt x="3981" y="51530"/>
                  </a:lnTo>
                  <a:lnTo>
                    <a:pt x="3981" y="52061"/>
                  </a:lnTo>
                  <a:lnTo>
                    <a:pt x="4034" y="52591"/>
                  </a:lnTo>
                  <a:lnTo>
                    <a:pt x="4034" y="52804"/>
                  </a:lnTo>
                  <a:lnTo>
                    <a:pt x="4140" y="53520"/>
                  </a:lnTo>
                  <a:lnTo>
                    <a:pt x="4273" y="54183"/>
                  </a:lnTo>
                  <a:lnTo>
                    <a:pt x="4459" y="54820"/>
                  </a:lnTo>
                  <a:lnTo>
                    <a:pt x="4671" y="55404"/>
                  </a:lnTo>
                  <a:lnTo>
                    <a:pt x="4777" y="55590"/>
                  </a:lnTo>
                  <a:lnTo>
                    <a:pt x="4910" y="55775"/>
                  </a:lnTo>
                  <a:lnTo>
                    <a:pt x="5069" y="55935"/>
                  </a:lnTo>
                  <a:lnTo>
                    <a:pt x="5228" y="56094"/>
                  </a:lnTo>
                  <a:lnTo>
                    <a:pt x="5414" y="56227"/>
                  </a:lnTo>
                  <a:lnTo>
                    <a:pt x="5626" y="56359"/>
                  </a:lnTo>
                  <a:lnTo>
                    <a:pt x="5838" y="56492"/>
                  </a:lnTo>
                  <a:lnTo>
                    <a:pt x="6077" y="56598"/>
                  </a:lnTo>
                  <a:lnTo>
                    <a:pt x="6528" y="56757"/>
                  </a:lnTo>
                  <a:lnTo>
                    <a:pt x="7006" y="56890"/>
                  </a:lnTo>
                  <a:lnTo>
                    <a:pt x="7483" y="56943"/>
                  </a:lnTo>
                  <a:lnTo>
                    <a:pt x="7908" y="56943"/>
                  </a:lnTo>
                  <a:lnTo>
                    <a:pt x="8173" y="56916"/>
                  </a:lnTo>
                  <a:lnTo>
                    <a:pt x="8386" y="56863"/>
                  </a:lnTo>
                  <a:lnTo>
                    <a:pt x="8598" y="56757"/>
                  </a:lnTo>
                  <a:lnTo>
                    <a:pt x="8757" y="56625"/>
                  </a:lnTo>
                  <a:lnTo>
                    <a:pt x="8863" y="56465"/>
                  </a:lnTo>
                  <a:lnTo>
                    <a:pt x="8943" y="56280"/>
                  </a:lnTo>
                  <a:lnTo>
                    <a:pt x="8943" y="56041"/>
                  </a:lnTo>
                  <a:lnTo>
                    <a:pt x="8890" y="55775"/>
                  </a:lnTo>
                  <a:lnTo>
                    <a:pt x="8704" y="55139"/>
                  </a:lnTo>
                  <a:lnTo>
                    <a:pt x="8571" y="54502"/>
                  </a:lnTo>
                  <a:lnTo>
                    <a:pt x="8439" y="53865"/>
                  </a:lnTo>
                  <a:lnTo>
                    <a:pt x="8333" y="53228"/>
                  </a:lnTo>
                  <a:lnTo>
                    <a:pt x="8253" y="52591"/>
                  </a:lnTo>
                  <a:lnTo>
                    <a:pt x="8200" y="51955"/>
                  </a:lnTo>
                  <a:lnTo>
                    <a:pt x="8173" y="51318"/>
                  </a:lnTo>
                  <a:lnTo>
                    <a:pt x="8173" y="50681"/>
                  </a:lnTo>
                  <a:lnTo>
                    <a:pt x="8173" y="49434"/>
                  </a:lnTo>
                  <a:lnTo>
                    <a:pt x="8253" y="48160"/>
                  </a:lnTo>
                  <a:lnTo>
                    <a:pt x="8386" y="46886"/>
                  </a:lnTo>
                  <a:lnTo>
                    <a:pt x="8518" y="45586"/>
                  </a:lnTo>
                  <a:lnTo>
                    <a:pt x="8810" y="42986"/>
                  </a:lnTo>
                  <a:lnTo>
                    <a:pt x="8943" y="41686"/>
                  </a:lnTo>
                  <a:lnTo>
                    <a:pt x="9049" y="40332"/>
                  </a:lnTo>
                  <a:lnTo>
                    <a:pt x="9102" y="38979"/>
                  </a:lnTo>
                  <a:lnTo>
                    <a:pt x="9102" y="38289"/>
                  </a:lnTo>
                  <a:lnTo>
                    <a:pt x="9102" y="37599"/>
                  </a:lnTo>
                  <a:lnTo>
                    <a:pt x="9076" y="36883"/>
                  </a:lnTo>
                  <a:lnTo>
                    <a:pt x="9022" y="36193"/>
                  </a:lnTo>
                  <a:lnTo>
                    <a:pt x="8969" y="35477"/>
                  </a:lnTo>
                  <a:lnTo>
                    <a:pt x="8890" y="34760"/>
                  </a:lnTo>
                  <a:lnTo>
                    <a:pt x="8810" y="34415"/>
                  </a:lnTo>
                  <a:lnTo>
                    <a:pt x="8704" y="34070"/>
                  </a:lnTo>
                  <a:lnTo>
                    <a:pt x="8571" y="33699"/>
                  </a:lnTo>
                  <a:lnTo>
                    <a:pt x="8412" y="33327"/>
                  </a:lnTo>
                  <a:lnTo>
                    <a:pt x="8067" y="32558"/>
                  </a:lnTo>
                  <a:lnTo>
                    <a:pt x="7696" y="31762"/>
                  </a:lnTo>
                  <a:lnTo>
                    <a:pt x="7351" y="30966"/>
                  </a:lnTo>
                  <a:lnTo>
                    <a:pt x="7192" y="30594"/>
                  </a:lnTo>
                  <a:lnTo>
                    <a:pt x="7085" y="30196"/>
                  </a:lnTo>
                  <a:lnTo>
                    <a:pt x="6979" y="29825"/>
                  </a:lnTo>
                  <a:lnTo>
                    <a:pt x="6953" y="29480"/>
                  </a:lnTo>
                  <a:lnTo>
                    <a:pt x="6926" y="29108"/>
                  </a:lnTo>
                  <a:lnTo>
                    <a:pt x="6979" y="28790"/>
                  </a:lnTo>
                  <a:lnTo>
                    <a:pt x="7032" y="28631"/>
                  </a:lnTo>
                  <a:lnTo>
                    <a:pt x="7112" y="28445"/>
                  </a:lnTo>
                  <a:lnTo>
                    <a:pt x="7351" y="28047"/>
                  </a:lnTo>
                  <a:lnTo>
                    <a:pt x="7696" y="27596"/>
                  </a:lnTo>
                  <a:lnTo>
                    <a:pt x="8120" y="27092"/>
                  </a:lnTo>
                  <a:lnTo>
                    <a:pt x="8624" y="26535"/>
                  </a:lnTo>
                  <a:lnTo>
                    <a:pt x="9182" y="25951"/>
                  </a:lnTo>
                  <a:lnTo>
                    <a:pt x="10455" y="24624"/>
                  </a:lnTo>
                  <a:lnTo>
                    <a:pt x="11888" y="23138"/>
                  </a:lnTo>
                  <a:lnTo>
                    <a:pt x="12631" y="22342"/>
                  </a:lnTo>
                  <a:lnTo>
                    <a:pt x="13374" y="21493"/>
                  </a:lnTo>
                  <a:lnTo>
                    <a:pt x="14117" y="20617"/>
                  </a:lnTo>
                  <a:lnTo>
                    <a:pt x="14834" y="19742"/>
                  </a:lnTo>
                  <a:lnTo>
                    <a:pt x="15497" y="18813"/>
                  </a:lnTo>
                  <a:lnTo>
                    <a:pt x="16160" y="17858"/>
                  </a:lnTo>
                  <a:lnTo>
                    <a:pt x="16293" y="17619"/>
                  </a:lnTo>
                  <a:lnTo>
                    <a:pt x="16426" y="17327"/>
                  </a:lnTo>
                  <a:lnTo>
                    <a:pt x="16558" y="17009"/>
                  </a:lnTo>
                  <a:lnTo>
                    <a:pt x="16664" y="16637"/>
                  </a:lnTo>
                  <a:lnTo>
                    <a:pt x="16877" y="15815"/>
                  </a:lnTo>
                  <a:lnTo>
                    <a:pt x="17062" y="14833"/>
                  </a:lnTo>
                  <a:lnTo>
                    <a:pt x="17248" y="13771"/>
                  </a:lnTo>
                  <a:lnTo>
                    <a:pt x="17407" y="12631"/>
                  </a:lnTo>
                  <a:lnTo>
                    <a:pt x="17540" y="11410"/>
                  </a:lnTo>
                  <a:lnTo>
                    <a:pt x="17673" y="10163"/>
                  </a:lnTo>
                  <a:lnTo>
                    <a:pt x="17858" y="7642"/>
                  </a:lnTo>
                  <a:lnTo>
                    <a:pt x="18018" y="5227"/>
                  </a:lnTo>
                  <a:lnTo>
                    <a:pt x="18256" y="1380"/>
                  </a:lnTo>
                  <a:lnTo>
                    <a:pt x="18256" y="1327"/>
                  </a:lnTo>
                  <a:lnTo>
                    <a:pt x="18203" y="1247"/>
                  </a:lnTo>
                  <a:lnTo>
                    <a:pt x="18071" y="1115"/>
                  </a:lnTo>
                  <a:lnTo>
                    <a:pt x="17858" y="955"/>
                  </a:lnTo>
                  <a:lnTo>
                    <a:pt x="17593" y="823"/>
                  </a:lnTo>
                  <a:lnTo>
                    <a:pt x="17248" y="663"/>
                  </a:lnTo>
                  <a:lnTo>
                    <a:pt x="16877" y="531"/>
                  </a:lnTo>
                  <a:lnTo>
                    <a:pt x="16505" y="398"/>
                  </a:lnTo>
                  <a:lnTo>
                    <a:pt x="16081" y="292"/>
                  </a:lnTo>
                  <a:lnTo>
                    <a:pt x="15656" y="186"/>
                  </a:lnTo>
                  <a:lnTo>
                    <a:pt x="15258" y="106"/>
                  </a:lnTo>
                  <a:lnTo>
                    <a:pt x="14887" y="27"/>
                  </a:lnTo>
                  <a:lnTo>
                    <a:pt x="14568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" name="Google Shape;1123;p57">
              <a:extLst>
                <a:ext uri="{FF2B5EF4-FFF2-40B4-BE49-F238E27FC236}">
                  <a16:creationId xmlns:a16="http://schemas.microsoft.com/office/drawing/2014/main" id="{0B726BBF-F9C0-351E-AA72-7AC7B3A9EF58}"/>
                </a:ext>
              </a:extLst>
            </p:cNvPr>
            <p:cNvSpPr/>
            <p:nvPr/>
          </p:nvSpPr>
          <p:spPr>
            <a:xfrm>
              <a:off x="8321260" y="4464049"/>
              <a:ext cx="24895" cy="56041"/>
            </a:xfrm>
            <a:custGeom>
              <a:avLst/>
              <a:gdLst/>
              <a:ahLst/>
              <a:cxnLst/>
              <a:rect l="l" t="t" r="r" b="b"/>
              <a:pathLst>
                <a:path w="2947" h="6634" extrusionOk="0">
                  <a:moveTo>
                    <a:pt x="1" y="0"/>
                  </a:moveTo>
                  <a:lnTo>
                    <a:pt x="213" y="160"/>
                  </a:lnTo>
                  <a:lnTo>
                    <a:pt x="452" y="398"/>
                  </a:lnTo>
                  <a:lnTo>
                    <a:pt x="240" y="160"/>
                  </a:lnTo>
                  <a:lnTo>
                    <a:pt x="1" y="0"/>
                  </a:lnTo>
                  <a:close/>
                  <a:moveTo>
                    <a:pt x="691" y="717"/>
                  </a:moveTo>
                  <a:lnTo>
                    <a:pt x="929" y="1088"/>
                  </a:lnTo>
                  <a:lnTo>
                    <a:pt x="1168" y="1486"/>
                  </a:lnTo>
                  <a:lnTo>
                    <a:pt x="929" y="1062"/>
                  </a:lnTo>
                  <a:lnTo>
                    <a:pt x="691" y="717"/>
                  </a:lnTo>
                  <a:close/>
                  <a:moveTo>
                    <a:pt x="1168" y="1486"/>
                  </a:moveTo>
                  <a:lnTo>
                    <a:pt x="1407" y="1964"/>
                  </a:lnTo>
                  <a:lnTo>
                    <a:pt x="1646" y="2468"/>
                  </a:lnTo>
                  <a:lnTo>
                    <a:pt x="1858" y="2999"/>
                  </a:lnTo>
                  <a:lnTo>
                    <a:pt x="2070" y="3556"/>
                  </a:lnTo>
                  <a:lnTo>
                    <a:pt x="2283" y="4140"/>
                  </a:lnTo>
                  <a:lnTo>
                    <a:pt x="2097" y="3556"/>
                  </a:lnTo>
                  <a:lnTo>
                    <a:pt x="1858" y="2972"/>
                  </a:lnTo>
                  <a:lnTo>
                    <a:pt x="1646" y="2442"/>
                  </a:lnTo>
                  <a:lnTo>
                    <a:pt x="1407" y="1937"/>
                  </a:lnTo>
                  <a:lnTo>
                    <a:pt x="1168" y="1486"/>
                  </a:lnTo>
                  <a:close/>
                  <a:moveTo>
                    <a:pt x="2283" y="4140"/>
                  </a:moveTo>
                  <a:lnTo>
                    <a:pt x="2468" y="4750"/>
                  </a:lnTo>
                  <a:lnTo>
                    <a:pt x="2654" y="5387"/>
                  </a:lnTo>
                  <a:lnTo>
                    <a:pt x="2495" y="4750"/>
                  </a:lnTo>
                  <a:lnTo>
                    <a:pt x="2283" y="4140"/>
                  </a:lnTo>
                  <a:close/>
                  <a:moveTo>
                    <a:pt x="2654" y="5387"/>
                  </a:moveTo>
                  <a:lnTo>
                    <a:pt x="2813" y="6024"/>
                  </a:lnTo>
                  <a:lnTo>
                    <a:pt x="2946" y="6634"/>
                  </a:lnTo>
                  <a:lnTo>
                    <a:pt x="2813" y="5997"/>
                  </a:lnTo>
                  <a:lnTo>
                    <a:pt x="2654" y="5387"/>
                  </a:lnTo>
                  <a:close/>
                </a:path>
              </a:pathLst>
            </a:custGeom>
            <a:solidFill>
              <a:srgbClr val="D5D5D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" name="Google Shape;1124;p57">
              <a:extLst>
                <a:ext uri="{FF2B5EF4-FFF2-40B4-BE49-F238E27FC236}">
                  <a16:creationId xmlns:a16="http://schemas.microsoft.com/office/drawing/2014/main" id="{177DEC03-FB0A-2824-ABDF-4F443375CB3D}"/>
                </a:ext>
              </a:extLst>
            </p:cNvPr>
            <p:cNvSpPr/>
            <p:nvPr/>
          </p:nvSpPr>
          <p:spPr>
            <a:xfrm>
              <a:off x="8321260" y="4464049"/>
              <a:ext cx="26458" cy="66583"/>
            </a:xfrm>
            <a:custGeom>
              <a:avLst/>
              <a:gdLst/>
              <a:ahLst/>
              <a:cxnLst/>
              <a:rect l="l" t="t" r="r" b="b"/>
              <a:pathLst>
                <a:path w="3132" h="7882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213" y="160"/>
                  </a:lnTo>
                  <a:lnTo>
                    <a:pt x="452" y="398"/>
                  </a:lnTo>
                  <a:lnTo>
                    <a:pt x="691" y="717"/>
                  </a:lnTo>
                  <a:lnTo>
                    <a:pt x="929" y="1088"/>
                  </a:lnTo>
                  <a:lnTo>
                    <a:pt x="1168" y="1486"/>
                  </a:lnTo>
                  <a:lnTo>
                    <a:pt x="1407" y="1964"/>
                  </a:lnTo>
                  <a:lnTo>
                    <a:pt x="1646" y="2468"/>
                  </a:lnTo>
                  <a:lnTo>
                    <a:pt x="1858" y="2999"/>
                  </a:lnTo>
                  <a:lnTo>
                    <a:pt x="2070" y="3556"/>
                  </a:lnTo>
                  <a:lnTo>
                    <a:pt x="2283" y="4140"/>
                  </a:lnTo>
                  <a:lnTo>
                    <a:pt x="2468" y="4750"/>
                  </a:lnTo>
                  <a:lnTo>
                    <a:pt x="2654" y="5387"/>
                  </a:lnTo>
                  <a:lnTo>
                    <a:pt x="2813" y="6024"/>
                  </a:lnTo>
                  <a:lnTo>
                    <a:pt x="2946" y="6634"/>
                  </a:lnTo>
                  <a:lnTo>
                    <a:pt x="3052" y="7271"/>
                  </a:lnTo>
                  <a:lnTo>
                    <a:pt x="3132" y="7881"/>
                  </a:lnTo>
                  <a:lnTo>
                    <a:pt x="3132" y="7881"/>
                  </a:lnTo>
                  <a:lnTo>
                    <a:pt x="3052" y="7271"/>
                  </a:lnTo>
                  <a:lnTo>
                    <a:pt x="2946" y="6634"/>
                  </a:lnTo>
                  <a:lnTo>
                    <a:pt x="2813" y="5997"/>
                  </a:lnTo>
                  <a:lnTo>
                    <a:pt x="2654" y="5387"/>
                  </a:lnTo>
                  <a:lnTo>
                    <a:pt x="2495" y="4750"/>
                  </a:lnTo>
                  <a:lnTo>
                    <a:pt x="2283" y="4140"/>
                  </a:lnTo>
                  <a:lnTo>
                    <a:pt x="2097" y="3556"/>
                  </a:lnTo>
                  <a:lnTo>
                    <a:pt x="1858" y="2972"/>
                  </a:lnTo>
                  <a:lnTo>
                    <a:pt x="1646" y="2442"/>
                  </a:lnTo>
                  <a:lnTo>
                    <a:pt x="1407" y="1937"/>
                  </a:lnTo>
                  <a:lnTo>
                    <a:pt x="1168" y="1486"/>
                  </a:lnTo>
                  <a:lnTo>
                    <a:pt x="929" y="1062"/>
                  </a:lnTo>
                  <a:lnTo>
                    <a:pt x="691" y="717"/>
                  </a:lnTo>
                  <a:lnTo>
                    <a:pt x="452" y="398"/>
                  </a:lnTo>
                  <a:lnTo>
                    <a:pt x="240" y="16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" name="Google Shape;1125;p57">
              <a:extLst>
                <a:ext uri="{FF2B5EF4-FFF2-40B4-BE49-F238E27FC236}">
                  <a16:creationId xmlns:a16="http://schemas.microsoft.com/office/drawing/2014/main" id="{2A2CC50C-2308-8C36-DDAF-F2C8B39D6B9E}"/>
                </a:ext>
              </a:extLst>
            </p:cNvPr>
            <p:cNvSpPr/>
            <p:nvPr/>
          </p:nvSpPr>
          <p:spPr>
            <a:xfrm>
              <a:off x="8321260" y="4464049"/>
              <a:ext cx="37895" cy="75318"/>
            </a:xfrm>
            <a:custGeom>
              <a:avLst/>
              <a:gdLst/>
              <a:ahLst/>
              <a:cxnLst/>
              <a:rect l="l" t="t" r="r" b="b"/>
              <a:pathLst>
                <a:path w="4486" h="8916" extrusionOk="0">
                  <a:moveTo>
                    <a:pt x="1" y="0"/>
                  </a:moveTo>
                  <a:lnTo>
                    <a:pt x="240" y="160"/>
                  </a:lnTo>
                  <a:lnTo>
                    <a:pt x="452" y="398"/>
                  </a:lnTo>
                  <a:lnTo>
                    <a:pt x="691" y="717"/>
                  </a:lnTo>
                  <a:lnTo>
                    <a:pt x="929" y="1062"/>
                  </a:lnTo>
                  <a:lnTo>
                    <a:pt x="1168" y="1486"/>
                  </a:lnTo>
                  <a:lnTo>
                    <a:pt x="1407" y="1937"/>
                  </a:lnTo>
                  <a:lnTo>
                    <a:pt x="1646" y="2442"/>
                  </a:lnTo>
                  <a:lnTo>
                    <a:pt x="1858" y="2972"/>
                  </a:lnTo>
                  <a:lnTo>
                    <a:pt x="2097" y="3556"/>
                  </a:lnTo>
                  <a:lnTo>
                    <a:pt x="2283" y="4140"/>
                  </a:lnTo>
                  <a:lnTo>
                    <a:pt x="2495" y="4750"/>
                  </a:lnTo>
                  <a:lnTo>
                    <a:pt x="2654" y="5387"/>
                  </a:lnTo>
                  <a:lnTo>
                    <a:pt x="2813" y="5997"/>
                  </a:lnTo>
                  <a:lnTo>
                    <a:pt x="2946" y="6634"/>
                  </a:lnTo>
                  <a:lnTo>
                    <a:pt x="3052" y="7271"/>
                  </a:lnTo>
                  <a:lnTo>
                    <a:pt x="3132" y="7881"/>
                  </a:lnTo>
                  <a:lnTo>
                    <a:pt x="3158" y="8412"/>
                  </a:lnTo>
                  <a:lnTo>
                    <a:pt x="3185" y="8916"/>
                  </a:lnTo>
                  <a:lnTo>
                    <a:pt x="3636" y="7801"/>
                  </a:lnTo>
                  <a:lnTo>
                    <a:pt x="4061" y="6607"/>
                  </a:lnTo>
                  <a:lnTo>
                    <a:pt x="4246" y="6050"/>
                  </a:lnTo>
                  <a:lnTo>
                    <a:pt x="4379" y="5546"/>
                  </a:lnTo>
                  <a:lnTo>
                    <a:pt x="4459" y="5095"/>
                  </a:lnTo>
                  <a:lnTo>
                    <a:pt x="4485" y="4936"/>
                  </a:lnTo>
                  <a:lnTo>
                    <a:pt x="4485" y="4777"/>
                  </a:lnTo>
                  <a:lnTo>
                    <a:pt x="4432" y="4538"/>
                  </a:lnTo>
                  <a:lnTo>
                    <a:pt x="4352" y="4272"/>
                  </a:lnTo>
                  <a:lnTo>
                    <a:pt x="4220" y="4007"/>
                  </a:lnTo>
                  <a:lnTo>
                    <a:pt x="4061" y="3689"/>
                  </a:lnTo>
                  <a:lnTo>
                    <a:pt x="3875" y="3370"/>
                  </a:lnTo>
                  <a:lnTo>
                    <a:pt x="3636" y="3025"/>
                  </a:lnTo>
                  <a:lnTo>
                    <a:pt x="3371" y="2680"/>
                  </a:lnTo>
                  <a:lnTo>
                    <a:pt x="3079" y="2335"/>
                  </a:lnTo>
                  <a:lnTo>
                    <a:pt x="2760" y="1990"/>
                  </a:lnTo>
                  <a:lnTo>
                    <a:pt x="2415" y="1672"/>
                  </a:lnTo>
                  <a:lnTo>
                    <a:pt x="2044" y="1327"/>
                  </a:lnTo>
                  <a:lnTo>
                    <a:pt x="1672" y="1009"/>
                  </a:lnTo>
                  <a:lnTo>
                    <a:pt x="1274" y="717"/>
                  </a:lnTo>
                  <a:lnTo>
                    <a:pt x="850" y="451"/>
                  </a:lnTo>
                  <a:lnTo>
                    <a:pt x="452" y="2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" name="Google Shape;1126;p57">
              <a:extLst>
                <a:ext uri="{FF2B5EF4-FFF2-40B4-BE49-F238E27FC236}">
                  <a16:creationId xmlns:a16="http://schemas.microsoft.com/office/drawing/2014/main" id="{D87B08E0-D9DE-B614-4236-54C795A8D415}"/>
                </a:ext>
              </a:extLst>
            </p:cNvPr>
            <p:cNvSpPr/>
            <p:nvPr/>
          </p:nvSpPr>
          <p:spPr>
            <a:xfrm>
              <a:off x="8321260" y="4464049"/>
              <a:ext cx="37895" cy="75318"/>
            </a:xfrm>
            <a:custGeom>
              <a:avLst/>
              <a:gdLst/>
              <a:ahLst/>
              <a:cxnLst/>
              <a:rect l="l" t="t" r="r" b="b"/>
              <a:pathLst>
                <a:path w="4486" h="8916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240" y="160"/>
                  </a:lnTo>
                  <a:lnTo>
                    <a:pt x="452" y="398"/>
                  </a:lnTo>
                  <a:lnTo>
                    <a:pt x="691" y="717"/>
                  </a:lnTo>
                  <a:lnTo>
                    <a:pt x="929" y="1062"/>
                  </a:lnTo>
                  <a:lnTo>
                    <a:pt x="1168" y="1486"/>
                  </a:lnTo>
                  <a:lnTo>
                    <a:pt x="1407" y="1937"/>
                  </a:lnTo>
                  <a:lnTo>
                    <a:pt x="1646" y="2442"/>
                  </a:lnTo>
                  <a:lnTo>
                    <a:pt x="1858" y="2972"/>
                  </a:lnTo>
                  <a:lnTo>
                    <a:pt x="2097" y="3556"/>
                  </a:lnTo>
                  <a:lnTo>
                    <a:pt x="2283" y="4140"/>
                  </a:lnTo>
                  <a:lnTo>
                    <a:pt x="2495" y="4750"/>
                  </a:lnTo>
                  <a:lnTo>
                    <a:pt x="2654" y="5387"/>
                  </a:lnTo>
                  <a:lnTo>
                    <a:pt x="2813" y="5997"/>
                  </a:lnTo>
                  <a:lnTo>
                    <a:pt x="2946" y="6634"/>
                  </a:lnTo>
                  <a:lnTo>
                    <a:pt x="3052" y="7271"/>
                  </a:lnTo>
                  <a:lnTo>
                    <a:pt x="3132" y="7881"/>
                  </a:lnTo>
                  <a:lnTo>
                    <a:pt x="3132" y="7881"/>
                  </a:lnTo>
                  <a:lnTo>
                    <a:pt x="3158" y="8412"/>
                  </a:lnTo>
                  <a:lnTo>
                    <a:pt x="3185" y="8916"/>
                  </a:lnTo>
                  <a:lnTo>
                    <a:pt x="3185" y="8916"/>
                  </a:lnTo>
                  <a:lnTo>
                    <a:pt x="3636" y="7801"/>
                  </a:lnTo>
                  <a:lnTo>
                    <a:pt x="4061" y="6607"/>
                  </a:lnTo>
                  <a:lnTo>
                    <a:pt x="4246" y="6050"/>
                  </a:lnTo>
                  <a:lnTo>
                    <a:pt x="4379" y="5546"/>
                  </a:lnTo>
                  <a:lnTo>
                    <a:pt x="4459" y="5095"/>
                  </a:lnTo>
                  <a:lnTo>
                    <a:pt x="4485" y="4936"/>
                  </a:lnTo>
                  <a:lnTo>
                    <a:pt x="4485" y="4777"/>
                  </a:lnTo>
                  <a:lnTo>
                    <a:pt x="4485" y="4777"/>
                  </a:lnTo>
                  <a:lnTo>
                    <a:pt x="4432" y="4538"/>
                  </a:lnTo>
                  <a:lnTo>
                    <a:pt x="4352" y="4272"/>
                  </a:lnTo>
                  <a:lnTo>
                    <a:pt x="4220" y="4007"/>
                  </a:lnTo>
                  <a:lnTo>
                    <a:pt x="4061" y="3689"/>
                  </a:lnTo>
                  <a:lnTo>
                    <a:pt x="3875" y="3370"/>
                  </a:lnTo>
                  <a:lnTo>
                    <a:pt x="3636" y="3025"/>
                  </a:lnTo>
                  <a:lnTo>
                    <a:pt x="3371" y="2680"/>
                  </a:lnTo>
                  <a:lnTo>
                    <a:pt x="3079" y="2335"/>
                  </a:lnTo>
                  <a:lnTo>
                    <a:pt x="2760" y="1990"/>
                  </a:lnTo>
                  <a:lnTo>
                    <a:pt x="2415" y="1672"/>
                  </a:lnTo>
                  <a:lnTo>
                    <a:pt x="2044" y="1327"/>
                  </a:lnTo>
                  <a:lnTo>
                    <a:pt x="1672" y="1009"/>
                  </a:lnTo>
                  <a:lnTo>
                    <a:pt x="1274" y="717"/>
                  </a:lnTo>
                  <a:lnTo>
                    <a:pt x="850" y="451"/>
                  </a:lnTo>
                  <a:lnTo>
                    <a:pt x="452" y="213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" name="Google Shape;1127;p57">
              <a:extLst>
                <a:ext uri="{FF2B5EF4-FFF2-40B4-BE49-F238E27FC236}">
                  <a16:creationId xmlns:a16="http://schemas.microsoft.com/office/drawing/2014/main" id="{36C5B6E7-AF3B-B48B-D2E0-D582F2D4C167}"/>
                </a:ext>
              </a:extLst>
            </p:cNvPr>
            <p:cNvSpPr/>
            <p:nvPr/>
          </p:nvSpPr>
          <p:spPr>
            <a:xfrm>
              <a:off x="8368557" y="4367215"/>
              <a:ext cx="684" cy="904"/>
            </a:xfrm>
            <a:custGeom>
              <a:avLst/>
              <a:gdLst/>
              <a:ahLst/>
              <a:cxnLst/>
              <a:rect l="l" t="t" r="r" b="b"/>
              <a:pathLst>
                <a:path w="81" h="107" extrusionOk="0">
                  <a:moveTo>
                    <a:pt x="1" y="0"/>
                  </a:moveTo>
                  <a:lnTo>
                    <a:pt x="54" y="107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D5D5D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" name="Google Shape;1128;p57">
              <a:extLst>
                <a:ext uri="{FF2B5EF4-FFF2-40B4-BE49-F238E27FC236}">
                  <a16:creationId xmlns:a16="http://schemas.microsoft.com/office/drawing/2014/main" id="{B5EC8C49-1635-A50A-2BE0-36CC4562A20C}"/>
                </a:ext>
              </a:extLst>
            </p:cNvPr>
            <p:cNvSpPr/>
            <p:nvPr/>
          </p:nvSpPr>
          <p:spPr>
            <a:xfrm>
              <a:off x="8368557" y="4367215"/>
              <a:ext cx="684" cy="904"/>
            </a:xfrm>
            <a:custGeom>
              <a:avLst/>
              <a:gdLst/>
              <a:ahLst/>
              <a:cxnLst/>
              <a:rect l="l" t="t" r="r" b="b"/>
              <a:pathLst>
                <a:path w="81" h="107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54" y="107"/>
                  </a:lnTo>
                  <a:lnTo>
                    <a:pt x="54" y="107"/>
                  </a:lnTo>
                  <a:lnTo>
                    <a:pt x="54" y="107"/>
                  </a:lnTo>
                  <a:lnTo>
                    <a:pt x="80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3" name="Google Shape;1129;p57">
              <a:extLst>
                <a:ext uri="{FF2B5EF4-FFF2-40B4-BE49-F238E27FC236}">
                  <a16:creationId xmlns:a16="http://schemas.microsoft.com/office/drawing/2014/main" id="{16EE3A1F-FBF7-D9D0-A2B5-1E8058226941}"/>
                </a:ext>
              </a:extLst>
            </p:cNvPr>
            <p:cNvSpPr/>
            <p:nvPr/>
          </p:nvSpPr>
          <p:spPr>
            <a:xfrm>
              <a:off x="8304449" y="4366987"/>
              <a:ext cx="64564" cy="37667"/>
            </a:xfrm>
            <a:custGeom>
              <a:avLst/>
              <a:gdLst/>
              <a:ahLst/>
              <a:cxnLst/>
              <a:rect l="l" t="t" r="r" b="b"/>
              <a:pathLst>
                <a:path w="7643" h="4459" extrusionOk="0">
                  <a:moveTo>
                    <a:pt x="5148" y="1"/>
                  </a:moveTo>
                  <a:lnTo>
                    <a:pt x="4538" y="426"/>
                  </a:lnTo>
                  <a:lnTo>
                    <a:pt x="3928" y="903"/>
                  </a:lnTo>
                  <a:lnTo>
                    <a:pt x="3291" y="1434"/>
                  </a:lnTo>
                  <a:lnTo>
                    <a:pt x="2654" y="1991"/>
                  </a:lnTo>
                  <a:lnTo>
                    <a:pt x="1991" y="2575"/>
                  </a:lnTo>
                  <a:lnTo>
                    <a:pt x="1327" y="3185"/>
                  </a:lnTo>
                  <a:lnTo>
                    <a:pt x="1" y="4459"/>
                  </a:lnTo>
                  <a:lnTo>
                    <a:pt x="876" y="4300"/>
                  </a:lnTo>
                  <a:lnTo>
                    <a:pt x="1699" y="4140"/>
                  </a:lnTo>
                  <a:lnTo>
                    <a:pt x="2442" y="3955"/>
                  </a:lnTo>
                  <a:lnTo>
                    <a:pt x="3132" y="3742"/>
                  </a:lnTo>
                  <a:lnTo>
                    <a:pt x="3769" y="3530"/>
                  </a:lnTo>
                  <a:lnTo>
                    <a:pt x="4352" y="3318"/>
                  </a:lnTo>
                  <a:lnTo>
                    <a:pt x="4883" y="3079"/>
                  </a:lnTo>
                  <a:lnTo>
                    <a:pt x="5361" y="2814"/>
                  </a:lnTo>
                  <a:lnTo>
                    <a:pt x="5785" y="2548"/>
                  </a:lnTo>
                  <a:lnTo>
                    <a:pt x="6157" y="2256"/>
                  </a:lnTo>
                  <a:lnTo>
                    <a:pt x="6502" y="1964"/>
                  </a:lnTo>
                  <a:lnTo>
                    <a:pt x="6793" y="1646"/>
                  </a:lnTo>
                  <a:lnTo>
                    <a:pt x="7059" y="1301"/>
                  </a:lnTo>
                  <a:lnTo>
                    <a:pt x="7271" y="930"/>
                  </a:lnTo>
                  <a:lnTo>
                    <a:pt x="7483" y="532"/>
                  </a:lnTo>
                  <a:lnTo>
                    <a:pt x="7643" y="134"/>
                  </a:lnTo>
                  <a:lnTo>
                    <a:pt x="7590" y="27"/>
                  </a:lnTo>
                  <a:lnTo>
                    <a:pt x="5148" y="1"/>
                  </a:ln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4" name="Google Shape;1130;p57">
              <a:extLst>
                <a:ext uri="{FF2B5EF4-FFF2-40B4-BE49-F238E27FC236}">
                  <a16:creationId xmlns:a16="http://schemas.microsoft.com/office/drawing/2014/main" id="{B1D664D6-78D9-C0E8-A3DB-C52E5C4B36CF}"/>
                </a:ext>
              </a:extLst>
            </p:cNvPr>
            <p:cNvSpPr/>
            <p:nvPr/>
          </p:nvSpPr>
          <p:spPr>
            <a:xfrm>
              <a:off x="8353985" y="4265896"/>
              <a:ext cx="73088" cy="142568"/>
            </a:xfrm>
            <a:custGeom>
              <a:avLst/>
              <a:gdLst/>
              <a:ahLst/>
              <a:cxnLst/>
              <a:rect l="l" t="t" r="r" b="b"/>
              <a:pathLst>
                <a:path w="8652" h="16877" extrusionOk="0">
                  <a:moveTo>
                    <a:pt x="6608" y="1"/>
                  </a:moveTo>
                  <a:lnTo>
                    <a:pt x="2097" y="1513"/>
                  </a:lnTo>
                  <a:lnTo>
                    <a:pt x="1434" y="4591"/>
                  </a:lnTo>
                  <a:lnTo>
                    <a:pt x="1301" y="4830"/>
                  </a:lnTo>
                  <a:lnTo>
                    <a:pt x="956" y="5494"/>
                  </a:lnTo>
                  <a:lnTo>
                    <a:pt x="744" y="5945"/>
                  </a:lnTo>
                  <a:lnTo>
                    <a:pt x="531" y="6449"/>
                  </a:lnTo>
                  <a:lnTo>
                    <a:pt x="346" y="7006"/>
                  </a:lnTo>
                  <a:lnTo>
                    <a:pt x="187" y="7616"/>
                  </a:lnTo>
                  <a:lnTo>
                    <a:pt x="54" y="8253"/>
                  </a:lnTo>
                  <a:lnTo>
                    <a:pt x="27" y="8572"/>
                  </a:lnTo>
                  <a:lnTo>
                    <a:pt x="1" y="8890"/>
                  </a:lnTo>
                  <a:lnTo>
                    <a:pt x="27" y="9208"/>
                  </a:lnTo>
                  <a:lnTo>
                    <a:pt x="54" y="9527"/>
                  </a:lnTo>
                  <a:lnTo>
                    <a:pt x="80" y="9845"/>
                  </a:lnTo>
                  <a:lnTo>
                    <a:pt x="160" y="10164"/>
                  </a:lnTo>
                  <a:lnTo>
                    <a:pt x="266" y="10482"/>
                  </a:lnTo>
                  <a:lnTo>
                    <a:pt x="399" y="10774"/>
                  </a:lnTo>
                  <a:lnTo>
                    <a:pt x="558" y="11066"/>
                  </a:lnTo>
                  <a:lnTo>
                    <a:pt x="770" y="11331"/>
                  </a:lnTo>
                  <a:lnTo>
                    <a:pt x="1009" y="11596"/>
                  </a:lnTo>
                  <a:lnTo>
                    <a:pt x="1274" y="11835"/>
                  </a:lnTo>
                  <a:lnTo>
                    <a:pt x="1593" y="12074"/>
                  </a:lnTo>
                  <a:lnTo>
                    <a:pt x="1964" y="12286"/>
                  </a:lnTo>
                  <a:lnTo>
                    <a:pt x="2548" y="12631"/>
                  </a:lnTo>
                  <a:lnTo>
                    <a:pt x="3105" y="12976"/>
                  </a:lnTo>
                  <a:lnTo>
                    <a:pt x="3583" y="13374"/>
                  </a:lnTo>
                  <a:lnTo>
                    <a:pt x="4034" y="13746"/>
                  </a:lnTo>
                  <a:lnTo>
                    <a:pt x="4432" y="14117"/>
                  </a:lnTo>
                  <a:lnTo>
                    <a:pt x="4804" y="14489"/>
                  </a:lnTo>
                  <a:lnTo>
                    <a:pt x="5414" y="15205"/>
                  </a:lnTo>
                  <a:lnTo>
                    <a:pt x="5918" y="15842"/>
                  </a:lnTo>
                  <a:lnTo>
                    <a:pt x="6157" y="16134"/>
                  </a:lnTo>
                  <a:lnTo>
                    <a:pt x="6369" y="16373"/>
                  </a:lnTo>
                  <a:lnTo>
                    <a:pt x="6581" y="16558"/>
                  </a:lnTo>
                  <a:lnTo>
                    <a:pt x="6794" y="16718"/>
                  </a:lnTo>
                  <a:lnTo>
                    <a:pt x="7032" y="16824"/>
                  </a:lnTo>
                  <a:lnTo>
                    <a:pt x="7245" y="16877"/>
                  </a:lnTo>
                  <a:lnTo>
                    <a:pt x="7298" y="16877"/>
                  </a:lnTo>
                  <a:lnTo>
                    <a:pt x="7324" y="16824"/>
                  </a:lnTo>
                  <a:lnTo>
                    <a:pt x="7377" y="16691"/>
                  </a:lnTo>
                  <a:lnTo>
                    <a:pt x="7430" y="16479"/>
                  </a:lnTo>
                  <a:lnTo>
                    <a:pt x="7457" y="16160"/>
                  </a:lnTo>
                  <a:lnTo>
                    <a:pt x="7457" y="15417"/>
                  </a:lnTo>
                  <a:lnTo>
                    <a:pt x="7404" y="14515"/>
                  </a:lnTo>
                  <a:lnTo>
                    <a:pt x="7298" y="13587"/>
                  </a:lnTo>
                  <a:lnTo>
                    <a:pt x="7192" y="12684"/>
                  </a:lnTo>
                  <a:lnTo>
                    <a:pt x="7059" y="11968"/>
                  </a:lnTo>
                  <a:lnTo>
                    <a:pt x="7006" y="11703"/>
                  </a:lnTo>
                  <a:lnTo>
                    <a:pt x="6926" y="11490"/>
                  </a:lnTo>
                  <a:lnTo>
                    <a:pt x="6767" y="11145"/>
                  </a:lnTo>
                  <a:lnTo>
                    <a:pt x="6528" y="10747"/>
                  </a:lnTo>
                  <a:lnTo>
                    <a:pt x="5944" y="9872"/>
                  </a:lnTo>
                  <a:lnTo>
                    <a:pt x="5706" y="9447"/>
                  </a:lnTo>
                  <a:lnTo>
                    <a:pt x="5626" y="9235"/>
                  </a:lnTo>
                  <a:lnTo>
                    <a:pt x="5546" y="9023"/>
                  </a:lnTo>
                  <a:lnTo>
                    <a:pt x="5520" y="8863"/>
                  </a:lnTo>
                  <a:lnTo>
                    <a:pt x="5493" y="8678"/>
                  </a:lnTo>
                  <a:lnTo>
                    <a:pt x="5546" y="8545"/>
                  </a:lnTo>
                  <a:lnTo>
                    <a:pt x="5600" y="8412"/>
                  </a:lnTo>
                  <a:lnTo>
                    <a:pt x="5732" y="8306"/>
                  </a:lnTo>
                  <a:lnTo>
                    <a:pt x="5865" y="8227"/>
                  </a:lnTo>
                  <a:lnTo>
                    <a:pt x="5998" y="8174"/>
                  </a:lnTo>
                  <a:lnTo>
                    <a:pt x="6157" y="8147"/>
                  </a:lnTo>
                  <a:lnTo>
                    <a:pt x="6343" y="8120"/>
                  </a:lnTo>
                  <a:lnTo>
                    <a:pt x="6502" y="8120"/>
                  </a:lnTo>
                  <a:lnTo>
                    <a:pt x="6873" y="8147"/>
                  </a:lnTo>
                  <a:lnTo>
                    <a:pt x="7537" y="8253"/>
                  </a:lnTo>
                  <a:lnTo>
                    <a:pt x="7882" y="8253"/>
                  </a:lnTo>
                  <a:lnTo>
                    <a:pt x="7961" y="8227"/>
                  </a:lnTo>
                  <a:lnTo>
                    <a:pt x="8067" y="8147"/>
                  </a:lnTo>
                  <a:lnTo>
                    <a:pt x="8147" y="8067"/>
                  </a:lnTo>
                  <a:lnTo>
                    <a:pt x="8200" y="7935"/>
                  </a:lnTo>
                  <a:lnTo>
                    <a:pt x="8226" y="7829"/>
                  </a:lnTo>
                  <a:lnTo>
                    <a:pt x="8226" y="7669"/>
                  </a:lnTo>
                  <a:lnTo>
                    <a:pt x="8226" y="7510"/>
                  </a:lnTo>
                  <a:lnTo>
                    <a:pt x="8147" y="7192"/>
                  </a:lnTo>
                  <a:lnTo>
                    <a:pt x="7935" y="6555"/>
                  </a:lnTo>
                  <a:lnTo>
                    <a:pt x="7882" y="6263"/>
                  </a:lnTo>
                  <a:lnTo>
                    <a:pt x="7882" y="6157"/>
                  </a:lnTo>
                  <a:lnTo>
                    <a:pt x="7908" y="6051"/>
                  </a:lnTo>
                  <a:lnTo>
                    <a:pt x="7935" y="5892"/>
                  </a:lnTo>
                  <a:lnTo>
                    <a:pt x="7961" y="5785"/>
                  </a:lnTo>
                  <a:lnTo>
                    <a:pt x="7935" y="5706"/>
                  </a:lnTo>
                  <a:lnTo>
                    <a:pt x="7908" y="5679"/>
                  </a:lnTo>
                  <a:lnTo>
                    <a:pt x="7802" y="5653"/>
                  </a:lnTo>
                  <a:lnTo>
                    <a:pt x="7696" y="5626"/>
                  </a:lnTo>
                  <a:lnTo>
                    <a:pt x="7590" y="5573"/>
                  </a:lnTo>
                  <a:lnTo>
                    <a:pt x="7537" y="5520"/>
                  </a:lnTo>
                  <a:lnTo>
                    <a:pt x="7537" y="5494"/>
                  </a:lnTo>
                  <a:lnTo>
                    <a:pt x="7563" y="5440"/>
                  </a:lnTo>
                  <a:lnTo>
                    <a:pt x="7696" y="5387"/>
                  </a:lnTo>
                  <a:lnTo>
                    <a:pt x="7882" y="5281"/>
                  </a:lnTo>
                  <a:lnTo>
                    <a:pt x="8014" y="5202"/>
                  </a:lnTo>
                  <a:lnTo>
                    <a:pt x="8067" y="5122"/>
                  </a:lnTo>
                  <a:lnTo>
                    <a:pt x="8067" y="5016"/>
                  </a:lnTo>
                  <a:lnTo>
                    <a:pt x="8041" y="4936"/>
                  </a:lnTo>
                  <a:lnTo>
                    <a:pt x="7935" y="4724"/>
                  </a:lnTo>
                  <a:lnTo>
                    <a:pt x="7882" y="4591"/>
                  </a:lnTo>
                  <a:lnTo>
                    <a:pt x="7828" y="4459"/>
                  </a:lnTo>
                  <a:lnTo>
                    <a:pt x="7828" y="4406"/>
                  </a:lnTo>
                  <a:lnTo>
                    <a:pt x="7828" y="4353"/>
                  </a:lnTo>
                  <a:lnTo>
                    <a:pt x="7882" y="4246"/>
                  </a:lnTo>
                  <a:lnTo>
                    <a:pt x="7988" y="4193"/>
                  </a:lnTo>
                  <a:lnTo>
                    <a:pt x="8120" y="4114"/>
                  </a:lnTo>
                  <a:lnTo>
                    <a:pt x="8280" y="4061"/>
                  </a:lnTo>
                  <a:lnTo>
                    <a:pt x="8412" y="3981"/>
                  </a:lnTo>
                  <a:lnTo>
                    <a:pt x="8545" y="3875"/>
                  </a:lnTo>
                  <a:lnTo>
                    <a:pt x="8624" y="3769"/>
                  </a:lnTo>
                  <a:lnTo>
                    <a:pt x="8651" y="3636"/>
                  </a:lnTo>
                  <a:lnTo>
                    <a:pt x="8598" y="3503"/>
                  </a:lnTo>
                  <a:lnTo>
                    <a:pt x="8518" y="3424"/>
                  </a:lnTo>
                  <a:lnTo>
                    <a:pt x="8386" y="3318"/>
                  </a:lnTo>
                  <a:lnTo>
                    <a:pt x="7988" y="3052"/>
                  </a:lnTo>
                  <a:lnTo>
                    <a:pt x="7749" y="2867"/>
                  </a:lnTo>
                  <a:lnTo>
                    <a:pt x="7483" y="2628"/>
                  </a:lnTo>
                  <a:lnTo>
                    <a:pt x="7324" y="2469"/>
                  </a:lnTo>
                  <a:lnTo>
                    <a:pt x="7218" y="2309"/>
                  </a:lnTo>
                  <a:lnTo>
                    <a:pt x="7112" y="2150"/>
                  </a:lnTo>
                  <a:lnTo>
                    <a:pt x="7032" y="1991"/>
                  </a:lnTo>
                  <a:lnTo>
                    <a:pt x="6953" y="1673"/>
                  </a:lnTo>
                  <a:lnTo>
                    <a:pt x="6900" y="1354"/>
                  </a:lnTo>
                  <a:lnTo>
                    <a:pt x="6873" y="1036"/>
                  </a:lnTo>
                  <a:lnTo>
                    <a:pt x="6820" y="717"/>
                  </a:lnTo>
                  <a:lnTo>
                    <a:pt x="6767" y="372"/>
                  </a:lnTo>
                  <a:lnTo>
                    <a:pt x="6687" y="187"/>
                  </a:lnTo>
                  <a:lnTo>
                    <a:pt x="6608" y="1"/>
                  </a:lnTo>
                  <a:close/>
                </a:path>
              </a:pathLst>
            </a:custGeom>
            <a:solidFill>
              <a:srgbClr val="F5B1B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5" name="Google Shape;1131;p57">
              <a:extLst>
                <a:ext uri="{FF2B5EF4-FFF2-40B4-BE49-F238E27FC236}">
                  <a16:creationId xmlns:a16="http://schemas.microsoft.com/office/drawing/2014/main" id="{599B97EA-BB4A-9B02-9614-B3E8C97BF5CE}"/>
                </a:ext>
              </a:extLst>
            </p:cNvPr>
            <p:cNvSpPr/>
            <p:nvPr/>
          </p:nvSpPr>
          <p:spPr>
            <a:xfrm>
              <a:off x="8173099" y="4240122"/>
              <a:ext cx="239622" cy="180227"/>
            </a:xfrm>
            <a:custGeom>
              <a:avLst/>
              <a:gdLst/>
              <a:ahLst/>
              <a:cxnLst/>
              <a:rect l="l" t="t" r="r" b="b"/>
              <a:pathLst>
                <a:path w="28366" h="21335" extrusionOk="0">
                  <a:moveTo>
                    <a:pt x="25235" y="0"/>
                  </a:moveTo>
                  <a:lnTo>
                    <a:pt x="24837" y="27"/>
                  </a:lnTo>
                  <a:lnTo>
                    <a:pt x="24412" y="54"/>
                  </a:lnTo>
                  <a:lnTo>
                    <a:pt x="24014" y="133"/>
                  </a:lnTo>
                  <a:lnTo>
                    <a:pt x="23563" y="239"/>
                  </a:lnTo>
                  <a:lnTo>
                    <a:pt x="23112" y="345"/>
                  </a:lnTo>
                  <a:lnTo>
                    <a:pt x="22661" y="505"/>
                  </a:lnTo>
                  <a:lnTo>
                    <a:pt x="22210" y="664"/>
                  </a:lnTo>
                  <a:lnTo>
                    <a:pt x="21891" y="797"/>
                  </a:lnTo>
                  <a:lnTo>
                    <a:pt x="21573" y="982"/>
                  </a:lnTo>
                  <a:lnTo>
                    <a:pt x="21281" y="1141"/>
                  </a:lnTo>
                  <a:lnTo>
                    <a:pt x="21016" y="1354"/>
                  </a:lnTo>
                  <a:lnTo>
                    <a:pt x="20777" y="1566"/>
                  </a:lnTo>
                  <a:lnTo>
                    <a:pt x="20538" y="1805"/>
                  </a:lnTo>
                  <a:lnTo>
                    <a:pt x="20299" y="2070"/>
                  </a:lnTo>
                  <a:lnTo>
                    <a:pt x="20087" y="2336"/>
                  </a:lnTo>
                  <a:lnTo>
                    <a:pt x="19901" y="2601"/>
                  </a:lnTo>
                  <a:lnTo>
                    <a:pt x="19716" y="2893"/>
                  </a:lnTo>
                  <a:lnTo>
                    <a:pt x="19397" y="3476"/>
                  </a:lnTo>
                  <a:lnTo>
                    <a:pt x="19105" y="4087"/>
                  </a:lnTo>
                  <a:lnTo>
                    <a:pt x="18840" y="4724"/>
                  </a:lnTo>
                  <a:lnTo>
                    <a:pt x="18628" y="5334"/>
                  </a:lnTo>
                  <a:lnTo>
                    <a:pt x="18442" y="5918"/>
                  </a:lnTo>
                  <a:lnTo>
                    <a:pt x="18123" y="7006"/>
                  </a:lnTo>
                  <a:lnTo>
                    <a:pt x="17964" y="7457"/>
                  </a:lnTo>
                  <a:lnTo>
                    <a:pt x="17832" y="7828"/>
                  </a:lnTo>
                  <a:lnTo>
                    <a:pt x="17699" y="8120"/>
                  </a:lnTo>
                  <a:lnTo>
                    <a:pt x="17619" y="8253"/>
                  </a:lnTo>
                  <a:lnTo>
                    <a:pt x="17540" y="8332"/>
                  </a:lnTo>
                  <a:lnTo>
                    <a:pt x="17381" y="8438"/>
                  </a:lnTo>
                  <a:lnTo>
                    <a:pt x="17221" y="8545"/>
                  </a:lnTo>
                  <a:lnTo>
                    <a:pt x="17062" y="8598"/>
                  </a:lnTo>
                  <a:lnTo>
                    <a:pt x="16876" y="8624"/>
                  </a:lnTo>
                  <a:lnTo>
                    <a:pt x="16478" y="8624"/>
                  </a:lnTo>
                  <a:lnTo>
                    <a:pt x="16027" y="8598"/>
                  </a:lnTo>
                  <a:lnTo>
                    <a:pt x="15788" y="8624"/>
                  </a:lnTo>
                  <a:lnTo>
                    <a:pt x="15523" y="8624"/>
                  </a:lnTo>
                  <a:lnTo>
                    <a:pt x="15231" y="8677"/>
                  </a:lnTo>
                  <a:lnTo>
                    <a:pt x="14939" y="8757"/>
                  </a:lnTo>
                  <a:lnTo>
                    <a:pt x="14594" y="8863"/>
                  </a:lnTo>
                  <a:lnTo>
                    <a:pt x="14249" y="8996"/>
                  </a:lnTo>
                  <a:lnTo>
                    <a:pt x="13878" y="9208"/>
                  </a:lnTo>
                  <a:lnTo>
                    <a:pt x="13453" y="9473"/>
                  </a:lnTo>
                  <a:lnTo>
                    <a:pt x="13002" y="9792"/>
                  </a:lnTo>
                  <a:lnTo>
                    <a:pt x="12604" y="10110"/>
                  </a:lnTo>
                  <a:lnTo>
                    <a:pt x="12286" y="10428"/>
                  </a:lnTo>
                  <a:lnTo>
                    <a:pt x="12021" y="10747"/>
                  </a:lnTo>
                  <a:lnTo>
                    <a:pt x="11808" y="11039"/>
                  </a:lnTo>
                  <a:lnTo>
                    <a:pt x="11623" y="11304"/>
                  </a:lnTo>
                  <a:lnTo>
                    <a:pt x="11463" y="11569"/>
                  </a:lnTo>
                  <a:lnTo>
                    <a:pt x="11357" y="11835"/>
                  </a:lnTo>
                  <a:lnTo>
                    <a:pt x="11145" y="12312"/>
                  </a:lnTo>
                  <a:lnTo>
                    <a:pt x="10986" y="12710"/>
                  </a:lnTo>
                  <a:lnTo>
                    <a:pt x="10906" y="12896"/>
                  </a:lnTo>
                  <a:lnTo>
                    <a:pt x="10800" y="13082"/>
                  </a:lnTo>
                  <a:lnTo>
                    <a:pt x="10667" y="13241"/>
                  </a:lnTo>
                  <a:lnTo>
                    <a:pt x="10508" y="13374"/>
                  </a:lnTo>
                  <a:lnTo>
                    <a:pt x="10349" y="13480"/>
                  </a:lnTo>
                  <a:lnTo>
                    <a:pt x="10163" y="13560"/>
                  </a:lnTo>
                  <a:lnTo>
                    <a:pt x="9977" y="13639"/>
                  </a:lnTo>
                  <a:lnTo>
                    <a:pt x="9739" y="13719"/>
                  </a:lnTo>
                  <a:lnTo>
                    <a:pt x="9261" y="13825"/>
                  </a:lnTo>
                  <a:lnTo>
                    <a:pt x="8704" y="13931"/>
                  </a:lnTo>
                  <a:lnTo>
                    <a:pt x="7457" y="14117"/>
                  </a:lnTo>
                  <a:lnTo>
                    <a:pt x="6767" y="14249"/>
                  </a:lnTo>
                  <a:lnTo>
                    <a:pt x="6050" y="14462"/>
                  </a:lnTo>
                  <a:lnTo>
                    <a:pt x="5413" y="14674"/>
                  </a:lnTo>
                  <a:lnTo>
                    <a:pt x="4750" y="14966"/>
                  </a:lnTo>
                  <a:lnTo>
                    <a:pt x="4113" y="15311"/>
                  </a:lnTo>
                  <a:lnTo>
                    <a:pt x="3476" y="15709"/>
                  </a:lnTo>
                  <a:lnTo>
                    <a:pt x="2866" y="16160"/>
                  </a:lnTo>
                  <a:lnTo>
                    <a:pt x="2282" y="16611"/>
                  </a:lnTo>
                  <a:lnTo>
                    <a:pt x="1725" y="17115"/>
                  </a:lnTo>
                  <a:lnTo>
                    <a:pt x="1248" y="17619"/>
                  </a:lnTo>
                  <a:lnTo>
                    <a:pt x="823" y="18123"/>
                  </a:lnTo>
                  <a:lnTo>
                    <a:pt x="637" y="18389"/>
                  </a:lnTo>
                  <a:lnTo>
                    <a:pt x="478" y="18628"/>
                  </a:lnTo>
                  <a:lnTo>
                    <a:pt x="345" y="18893"/>
                  </a:lnTo>
                  <a:lnTo>
                    <a:pt x="213" y="19132"/>
                  </a:lnTo>
                  <a:lnTo>
                    <a:pt x="133" y="19397"/>
                  </a:lnTo>
                  <a:lnTo>
                    <a:pt x="53" y="19636"/>
                  </a:lnTo>
                  <a:lnTo>
                    <a:pt x="27" y="19848"/>
                  </a:lnTo>
                  <a:lnTo>
                    <a:pt x="0" y="20087"/>
                  </a:lnTo>
                  <a:lnTo>
                    <a:pt x="27" y="20299"/>
                  </a:lnTo>
                  <a:lnTo>
                    <a:pt x="80" y="20512"/>
                  </a:lnTo>
                  <a:lnTo>
                    <a:pt x="160" y="20697"/>
                  </a:lnTo>
                  <a:lnTo>
                    <a:pt x="292" y="20883"/>
                  </a:lnTo>
                  <a:lnTo>
                    <a:pt x="452" y="21069"/>
                  </a:lnTo>
                  <a:lnTo>
                    <a:pt x="637" y="21228"/>
                  </a:lnTo>
                  <a:lnTo>
                    <a:pt x="770" y="21281"/>
                  </a:lnTo>
                  <a:lnTo>
                    <a:pt x="956" y="21334"/>
                  </a:lnTo>
                  <a:lnTo>
                    <a:pt x="1141" y="21334"/>
                  </a:lnTo>
                  <a:lnTo>
                    <a:pt x="1327" y="21308"/>
                  </a:lnTo>
                  <a:lnTo>
                    <a:pt x="1539" y="21255"/>
                  </a:lnTo>
                  <a:lnTo>
                    <a:pt x="1778" y="21175"/>
                  </a:lnTo>
                  <a:lnTo>
                    <a:pt x="2309" y="20936"/>
                  </a:lnTo>
                  <a:lnTo>
                    <a:pt x="2893" y="20644"/>
                  </a:lnTo>
                  <a:lnTo>
                    <a:pt x="3503" y="20326"/>
                  </a:lnTo>
                  <a:lnTo>
                    <a:pt x="4166" y="19954"/>
                  </a:lnTo>
                  <a:lnTo>
                    <a:pt x="4883" y="19609"/>
                  </a:lnTo>
                  <a:lnTo>
                    <a:pt x="5626" y="19264"/>
                  </a:lnTo>
                  <a:lnTo>
                    <a:pt x="5997" y="19132"/>
                  </a:lnTo>
                  <a:lnTo>
                    <a:pt x="6395" y="18999"/>
                  </a:lnTo>
                  <a:lnTo>
                    <a:pt x="6767" y="18866"/>
                  </a:lnTo>
                  <a:lnTo>
                    <a:pt x="7165" y="18787"/>
                  </a:lnTo>
                  <a:lnTo>
                    <a:pt x="7563" y="18707"/>
                  </a:lnTo>
                  <a:lnTo>
                    <a:pt x="7961" y="18654"/>
                  </a:lnTo>
                  <a:lnTo>
                    <a:pt x="8757" y="18654"/>
                  </a:lnTo>
                  <a:lnTo>
                    <a:pt x="9155" y="18707"/>
                  </a:lnTo>
                  <a:lnTo>
                    <a:pt x="9553" y="18813"/>
                  </a:lnTo>
                  <a:lnTo>
                    <a:pt x="9951" y="18920"/>
                  </a:lnTo>
                  <a:lnTo>
                    <a:pt x="10322" y="19105"/>
                  </a:lnTo>
                  <a:lnTo>
                    <a:pt x="10720" y="19318"/>
                  </a:lnTo>
                  <a:lnTo>
                    <a:pt x="11118" y="19609"/>
                  </a:lnTo>
                  <a:lnTo>
                    <a:pt x="11410" y="19795"/>
                  </a:lnTo>
                  <a:lnTo>
                    <a:pt x="11702" y="19928"/>
                  </a:lnTo>
                  <a:lnTo>
                    <a:pt x="11967" y="20007"/>
                  </a:lnTo>
                  <a:lnTo>
                    <a:pt x="12233" y="20034"/>
                  </a:lnTo>
                  <a:lnTo>
                    <a:pt x="12525" y="20007"/>
                  </a:lnTo>
                  <a:lnTo>
                    <a:pt x="12764" y="19928"/>
                  </a:lnTo>
                  <a:lnTo>
                    <a:pt x="13029" y="19848"/>
                  </a:lnTo>
                  <a:lnTo>
                    <a:pt x="13294" y="19716"/>
                  </a:lnTo>
                  <a:lnTo>
                    <a:pt x="13798" y="19397"/>
                  </a:lnTo>
                  <a:lnTo>
                    <a:pt x="14303" y="19052"/>
                  </a:lnTo>
                  <a:lnTo>
                    <a:pt x="14833" y="18707"/>
                  </a:lnTo>
                  <a:lnTo>
                    <a:pt x="15099" y="18575"/>
                  </a:lnTo>
                  <a:lnTo>
                    <a:pt x="15364" y="18442"/>
                  </a:lnTo>
                  <a:lnTo>
                    <a:pt x="15762" y="18309"/>
                  </a:lnTo>
                  <a:lnTo>
                    <a:pt x="15948" y="18283"/>
                  </a:lnTo>
                  <a:lnTo>
                    <a:pt x="16133" y="18256"/>
                  </a:lnTo>
                  <a:lnTo>
                    <a:pt x="16823" y="18256"/>
                  </a:lnTo>
                  <a:lnTo>
                    <a:pt x="17407" y="18283"/>
                  </a:lnTo>
                  <a:lnTo>
                    <a:pt x="18256" y="18283"/>
                  </a:lnTo>
                  <a:lnTo>
                    <a:pt x="18548" y="18230"/>
                  </a:lnTo>
                  <a:lnTo>
                    <a:pt x="18866" y="18177"/>
                  </a:lnTo>
                  <a:lnTo>
                    <a:pt x="19211" y="18097"/>
                  </a:lnTo>
                  <a:lnTo>
                    <a:pt x="19848" y="17858"/>
                  </a:lnTo>
                  <a:lnTo>
                    <a:pt x="20538" y="17540"/>
                  </a:lnTo>
                  <a:lnTo>
                    <a:pt x="21361" y="17115"/>
                  </a:lnTo>
                  <a:lnTo>
                    <a:pt x="21600" y="16982"/>
                  </a:lnTo>
                  <a:lnTo>
                    <a:pt x="21812" y="16850"/>
                  </a:lnTo>
                  <a:lnTo>
                    <a:pt x="22236" y="16505"/>
                  </a:lnTo>
                  <a:lnTo>
                    <a:pt x="22608" y="16133"/>
                  </a:lnTo>
                  <a:lnTo>
                    <a:pt x="22926" y="15709"/>
                  </a:lnTo>
                  <a:lnTo>
                    <a:pt x="22979" y="15656"/>
                  </a:lnTo>
                  <a:lnTo>
                    <a:pt x="23245" y="15258"/>
                  </a:lnTo>
                  <a:lnTo>
                    <a:pt x="23483" y="14833"/>
                  </a:lnTo>
                  <a:lnTo>
                    <a:pt x="23696" y="14382"/>
                  </a:lnTo>
                  <a:lnTo>
                    <a:pt x="23908" y="13931"/>
                  </a:lnTo>
                  <a:lnTo>
                    <a:pt x="24094" y="13480"/>
                  </a:lnTo>
                  <a:lnTo>
                    <a:pt x="24226" y="13002"/>
                  </a:lnTo>
                  <a:lnTo>
                    <a:pt x="24492" y="12100"/>
                  </a:lnTo>
                  <a:lnTo>
                    <a:pt x="24704" y="11225"/>
                  </a:lnTo>
                  <a:lnTo>
                    <a:pt x="24863" y="10428"/>
                  </a:lnTo>
                  <a:lnTo>
                    <a:pt x="25022" y="9765"/>
                  </a:lnTo>
                  <a:lnTo>
                    <a:pt x="25129" y="9234"/>
                  </a:lnTo>
                  <a:lnTo>
                    <a:pt x="25155" y="9075"/>
                  </a:lnTo>
                  <a:lnTo>
                    <a:pt x="25182" y="8916"/>
                  </a:lnTo>
                  <a:lnTo>
                    <a:pt x="25155" y="8757"/>
                  </a:lnTo>
                  <a:lnTo>
                    <a:pt x="25129" y="8598"/>
                  </a:lnTo>
                  <a:lnTo>
                    <a:pt x="25102" y="8412"/>
                  </a:lnTo>
                  <a:lnTo>
                    <a:pt x="25022" y="8279"/>
                  </a:lnTo>
                  <a:lnTo>
                    <a:pt x="24943" y="8147"/>
                  </a:lnTo>
                  <a:lnTo>
                    <a:pt x="24837" y="8014"/>
                  </a:lnTo>
                  <a:lnTo>
                    <a:pt x="24545" y="7722"/>
                  </a:lnTo>
                  <a:lnTo>
                    <a:pt x="24386" y="7563"/>
                  </a:lnTo>
                  <a:lnTo>
                    <a:pt x="24253" y="7404"/>
                  </a:lnTo>
                  <a:lnTo>
                    <a:pt x="24173" y="7218"/>
                  </a:lnTo>
                  <a:lnTo>
                    <a:pt x="24094" y="7032"/>
                  </a:lnTo>
                  <a:lnTo>
                    <a:pt x="24094" y="6846"/>
                  </a:lnTo>
                  <a:lnTo>
                    <a:pt x="24147" y="6661"/>
                  </a:lnTo>
                  <a:lnTo>
                    <a:pt x="24226" y="6475"/>
                  </a:lnTo>
                  <a:lnTo>
                    <a:pt x="24359" y="6369"/>
                  </a:lnTo>
                  <a:lnTo>
                    <a:pt x="24518" y="6289"/>
                  </a:lnTo>
                  <a:lnTo>
                    <a:pt x="24678" y="6236"/>
                  </a:lnTo>
                  <a:lnTo>
                    <a:pt x="24837" y="6236"/>
                  </a:lnTo>
                  <a:lnTo>
                    <a:pt x="24996" y="6263"/>
                  </a:lnTo>
                  <a:lnTo>
                    <a:pt x="25129" y="6316"/>
                  </a:lnTo>
                  <a:lnTo>
                    <a:pt x="25235" y="6422"/>
                  </a:lnTo>
                  <a:lnTo>
                    <a:pt x="25420" y="6661"/>
                  </a:lnTo>
                  <a:lnTo>
                    <a:pt x="25606" y="6873"/>
                  </a:lnTo>
                  <a:lnTo>
                    <a:pt x="25792" y="6979"/>
                  </a:lnTo>
                  <a:lnTo>
                    <a:pt x="25872" y="7006"/>
                  </a:lnTo>
                  <a:lnTo>
                    <a:pt x="25951" y="7032"/>
                  </a:lnTo>
                  <a:lnTo>
                    <a:pt x="26004" y="7006"/>
                  </a:lnTo>
                  <a:lnTo>
                    <a:pt x="26057" y="6979"/>
                  </a:lnTo>
                  <a:lnTo>
                    <a:pt x="26110" y="6926"/>
                  </a:lnTo>
                  <a:lnTo>
                    <a:pt x="26137" y="6846"/>
                  </a:lnTo>
                  <a:lnTo>
                    <a:pt x="26163" y="6740"/>
                  </a:lnTo>
                  <a:lnTo>
                    <a:pt x="26190" y="6608"/>
                  </a:lnTo>
                  <a:lnTo>
                    <a:pt x="26190" y="6263"/>
                  </a:lnTo>
                  <a:lnTo>
                    <a:pt x="26163" y="5944"/>
                  </a:lnTo>
                  <a:lnTo>
                    <a:pt x="26163" y="5652"/>
                  </a:lnTo>
                  <a:lnTo>
                    <a:pt x="26190" y="5387"/>
                  </a:lnTo>
                  <a:lnTo>
                    <a:pt x="26243" y="5148"/>
                  </a:lnTo>
                  <a:lnTo>
                    <a:pt x="26323" y="4909"/>
                  </a:lnTo>
                  <a:lnTo>
                    <a:pt x="26402" y="4724"/>
                  </a:lnTo>
                  <a:lnTo>
                    <a:pt x="26482" y="4538"/>
                  </a:lnTo>
                  <a:lnTo>
                    <a:pt x="26588" y="4379"/>
                  </a:lnTo>
                  <a:lnTo>
                    <a:pt x="26694" y="4246"/>
                  </a:lnTo>
                  <a:lnTo>
                    <a:pt x="26800" y="4140"/>
                  </a:lnTo>
                  <a:lnTo>
                    <a:pt x="27039" y="3928"/>
                  </a:lnTo>
                  <a:lnTo>
                    <a:pt x="27251" y="3795"/>
                  </a:lnTo>
                  <a:lnTo>
                    <a:pt x="27464" y="3715"/>
                  </a:lnTo>
                  <a:lnTo>
                    <a:pt x="27676" y="3636"/>
                  </a:lnTo>
                  <a:lnTo>
                    <a:pt x="27862" y="3530"/>
                  </a:lnTo>
                  <a:lnTo>
                    <a:pt x="28021" y="3423"/>
                  </a:lnTo>
                  <a:lnTo>
                    <a:pt x="28127" y="3291"/>
                  </a:lnTo>
                  <a:lnTo>
                    <a:pt x="28233" y="3158"/>
                  </a:lnTo>
                  <a:lnTo>
                    <a:pt x="28286" y="3025"/>
                  </a:lnTo>
                  <a:lnTo>
                    <a:pt x="28339" y="2893"/>
                  </a:lnTo>
                  <a:lnTo>
                    <a:pt x="28366" y="2760"/>
                  </a:lnTo>
                  <a:lnTo>
                    <a:pt x="28366" y="2468"/>
                  </a:lnTo>
                  <a:lnTo>
                    <a:pt x="28313" y="2203"/>
                  </a:lnTo>
                  <a:lnTo>
                    <a:pt x="28233" y="1937"/>
                  </a:lnTo>
                  <a:lnTo>
                    <a:pt x="28127" y="1699"/>
                  </a:lnTo>
                  <a:lnTo>
                    <a:pt x="27915" y="1327"/>
                  </a:lnTo>
                  <a:lnTo>
                    <a:pt x="27702" y="1035"/>
                  </a:lnTo>
                  <a:lnTo>
                    <a:pt x="27490" y="770"/>
                  </a:lnTo>
                  <a:lnTo>
                    <a:pt x="27225" y="558"/>
                  </a:lnTo>
                  <a:lnTo>
                    <a:pt x="26933" y="372"/>
                  </a:lnTo>
                  <a:lnTo>
                    <a:pt x="26641" y="239"/>
                  </a:lnTo>
                  <a:lnTo>
                    <a:pt x="26296" y="133"/>
                  </a:lnTo>
                  <a:lnTo>
                    <a:pt x="25978" y="54"/>
                  </a:lnTo>
                  <a:lnTo>
                    <a:pt x="25606" y="0"/>
                  </a:lnTo>
                  <a:close/>
                </a:path>
              </a:pathLst>
            </a:custGeom>
            <a:solidFill>
              <a:srgbClr val="BD854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6" name="Google Shape;1132;p57">
              <a:extLst>
                <a:ext uri="{FF2B5EF4-FFF2-40B4-BE49-F238E27FC236}">
                  <a16:creationId xmlns:a16="http://schemas.microsoft.com/office/drawing/2014/main" id="{5994108C-8F93-0192-538A-1E19D73C4C7C}"/>
                </a:ext>
              </a:extLst>
            </p:cNvPr>
            <p:cNvSpPr/>
            <p:nvPr/>
          </p:nvSpPr>
          <p:spPr>
            <a:xfrm>
              <a:off x="9354372" y="4998193"/>
              <a:ext cx="76670" cy="72184"/>
            </a:xfrm>
            <a:custGeom>
              <a:avLst/>
              <a:gdLst/>
              <a:ahLst/>
              <a:cxnLst/>
              <a:rect l="l" t="t" r="r" b="b"/>
              <a:pathLst>
                <a:path w="9076" h="8545" extrusionOk="0">
                  <a:moveTo>
                    <a:pt x="3954" y="1"/>
                  </a:moveTo>
                  <a:lnTo>
                    <a:pt x="0" y="3238"/>
                  </a:lnTo>
                  <a:lnTo>
                    <a:pt x="5015" y="8545"/>
                  </a:lnTo>
                  <a:lnTo>
                    <a:pt x="9075" y="8067"/>
                  </a:lnTo>
                  <a:lnTo>
                    <a:pt x="8385" y="5149"/>
                  </a:lnTo>
                  <a:lnTo>
                    <a:pt x="7881" y="4485"/>
                  </a:lnTo>
                  <a:lnTo>
                    <a:pt x="7218" y="3689"/>
                  </a:lnTo>
                  <a:lnTo>
                    <a:pt x="6501" y="2840"/>
                  </a:lnTo>
                  <a:lnTo>
                    <a:pt x="5758" y="1991"/>
                  </a:lnTo>
                  <a:lnTo>
                    <a:pt x="4485" y="585"/>
                  </a:lnTo>
                  <a:lnTo>
                    <a:pt x="3954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" name="Google Shape;1133;p57">
              <a:extLst>
                <a:ext uri="{FF2B5EF4-FFF2-40B4-BE49-F238E27FC236}">
                  <a16:creationId xmlns:a16="http://schemas.microsoft.com/office/drawing/2014/main" id="{89880E3D-50E6-D00B-BA1A-74B69D57E550}"/>
                </a:ext>
              </a:extLst>
            </p:cNvPr>
            <p:cNvSpPr/>
            <p:nvPr/>
          </p:nvSpPr>
          <p:spPr>
            <a:xfrm>
              <a:off x="9391355" y="5009403"/>
              <a:ext cx="119929" cy="90118"/>
            </a:xfrm>
            <a:custGeom>
              <a:avLst/>
              <a:gdLst/>
              <a:ahLst/>
              <a:cxnLst/>
              <a:rect l="l" t="t" r="r" b="b"/>
              <a:pathLst>
                <a:path w="14197" h="10668" extrusionOk="0">
                  <a:moveTo>
                    <a:pt x="12710" y="1"/>
                  </a:moveTo>
                  <a:lnTo>
                    <a:pt x="12578" y="27"/>
                  </a:lnTo>
                  <a:lnTo>
                    <a:pt x="12074" y="372"/>
                  </a:lnTo>
                  <a:lnTo>
                    <a:pt x="11225" y="956"/>
                  </a:lnTo>
                  <a:lnTo>
                    <a:pt x="10163" y="1672"/>
                  </a:lnTo>
                  <a:lnTo>
                    <a:pt x="9579" y="2044"/>
                  </a:lnTo>
                  <a:lnTo>
                    <a:pt x="8996" y="2415"/>
                  </a:lnTo>
                  <a:lnTo>
                    <a:pt x="8385" y="2760"/>
                  </a:lnTo>
                  <a:lnTo>
                    <a:pt x="7775" y="3079"/>
                  </a:lnTo>
                  <a:lnTo>
                    <a:pt x="7191" y="3344"/>
                  </a:lnTo>
                  <a:lnTo>
                    <a:pt x="6634" y="3556"/>
                  </a:lnTo>
                  <a:lnTo>
                    <a:pt x="6369" y="3636"/>
                  </a:lnTo>
                  <a:lnTo>
                    <a:pt x="6103" y="3715"/>
                  </a:lnTo>
                  <a:lnTo>
                    <a:pt x="5865" y="3742"/>
                  </a:lnTo>
                  <a:lnTo>
                    <a:pt x="5652" y="3768"/>
                  </a:lnTo>
                  <a:lnTo>
                    <a:pt x="5440" y="3742"/>
                  </a:lnTo>
                  <a:lnTo>
                    <a:pt x="5254" y="3715"/>
                  </a:lnTo>
                  <a:lnTo>
                    <a:pt x="5069" y="3636"/>
                  </a:lnTo>
                  <a:lnTo>
                    <a:pt x="4936" y="3556"/>
                  </a:lnTo>
                  <a:lnTo>
                    <a:pt x="4697" y="3370"/>
                  </a:lnTo>
                  <a:lnTo>
                    <a:pt x="4511" y="3185"/>
                  </a:lnTo>
                  <a:lnTo>
                    <a:pt x="4219" y="2893"/>
                  </a:lnTo>
                  <a:lnTo>
                    <a:pt x="4113" y="2813"/>
                  </a:lnTo>
                  <a:lnTo>
                    <a:pt x="4007" y="2787"/>
                  </a:lnTo>
                  <a:lnTo>
                    <a:pt x="3954" y="2813"/>
                  </a:lnTo>
                  <a:lnTo>
                    <a:pt x="3901" y="2840"/>
                  </a:lnTo>
                  <a:lnTo>
                    <a:pt x="3795" y="2946"/>
                  </a:lnTo>
                  <a:lnTo>
                    <a:pt x="3503" y="3291"/>
                  </a:lnTo>
                  <a:lnTo>
                    <a:pt x="3238" y="3583"/>
                  </a:lnTo>
                  <a:lnTo>
                    <a:pt x="2707" y="4166"/>
                  </a:lnTo>
                  <a:lnTo>
                    <a:pt x="2150" y="4671"/>
                  </a:lnTo>
                  <a:lnTo>
                    <a:pt x="1619" y="5122"/>
                  </a:lnTo>
                  <a:lnTo>
                    <a:pt x="1141" y="5546"/>
                  </a:lnTo>
                  <a:lnTo>
                    <a:pt x="717" y="5918"/>
                  </a:lnTo>
                  <a:lnTo>
                    <a:pt x="345" y="6263"/>
                  </a:lnTo>
                  <a:lnTo>
                    <a:pt x="213" y="6448"/>
                  </a:lnTo>
                  <a:lnTo>
                    <a:pt x="80" y="6608"/>
                  </a:lnTo>
                  <a:lnTo>
                    <a:pt x="0" y="6740"/>
                  </a:lnTo>
                  <a:lnTo>
                    <a:pt x="0" y="6873"/>
                  </a:lnTo>
                  <a:lnTo>
                    <a:pt x="0" y="7059"/>
                  </a:lnTo>
                  <a:lnTo>
                    <a:pt x="80" y="7271"/>
                  </a:lnTo>
                  <a:lnTo>
                    <a:pt x="160" y="7483"/>
                  </a:lnTo>
                  <a:lnTo>
                    <a:pt x="292" y="7749"/>
                  </a:lnTo>
                  <a:lnTo>
                    <a:pt x="452" y="8014"/>
                  </a:lnTo>
                  <a:lnTo>
                    <a:pt x="637" y="8279"/>
                  </a:lnTo>
                  <a:lnTo>
                    <a:pt x="1088" y="8863"/>
                  </a:lnTo>
                  <a:lnTo>
                    <a:pt x="1593" y="9447"/>
                  </a:lnTo>
                  <a:lnTo>
                    <a:pt x="2123" y="9978"/>
                  </a:lnTo>
                  <a:lnTo>
                    <a:pt x="2415" y="10216"/>
                  </a:lnTo>
                  <a:lnTo>
                    <a:pt x="2680" y="10429"/>
                  </a:lnTo>
                  <a:lnTo>
                    <a:pt x="2840" y="10535"/>
                  </a:lnTo>
                  <a:lnTo>
                    <a:pt x="3025" y="10614"/>
                  </a:lnTo>
                  <a:lnTo>
                    <a:pt x="3185" y="10667"/>
                  </a:lnTo>
                  <a:lnTo>
                    <a:pt x="3370" y="10667"/>
                  </a:lnTo>
                  <a:lnTo>
                    <a:pt x="3556" y="10641"/>
                  </a:lnTo>
                  <a:lnTo>
                    <a:pt x="3742" y="10614"/>
                  </a:lnTo>
                  <a:lnTo>
                    <a:pt x="3901" y="10535"/>
                  </a:lnTo>
                  <a:lnTo>
                    <a:pt x="4060" y="10429"/>
                  </a:lnTo>
                  <a:lnTo>
                    <a:pt x="8783" y="6661"/>
                  </a:lnTo>
                  <a:lnTo>
                    <a:pt x="13374" y="2972"/>
                  </a:lnTo>
                  <a:lnTo>
                    <a:pt x="13560" y="2840"/>
                  </a:lnTo>
                  <a:lnTo>
                    <a:pt x="13719" y="2681"/>
                  </a:lnTo>
                  <a:lnTo>
                    <a:pt x="13825" y="2521"/>
                  </a:lnTo>
                  <a:lnTo>
                    <a:pt x="13958" y="2389"/>
                  </a:lnTo>
                  <a:lnTo>
                    <a:pt x="14037" y="2229"/>
                  </a:lnTo>
                  <a:lnTo>
                    <a:pt x="14090" y="2070"/>
                  </a:lnTo>
                  <a:lnTo>
                    <a:pt x="14143" y="1938"/>
                  </a:lnTo>
                  <a:lnTo>
                    <a:pt x="14170" y="1805"/>
                  </a:lnTo>
                  <a:lnTo>
                    <a:pt x="14196" y="1513"/>
                  </a:lnTo>
                  <a:lnTo>
                    <a:pt x="14143" y="1274"/>
                  </a:lnTo>
                  <a:lnTo>
                    <a:pt x="14037" y="1035"/>
                  </a:lnTo>
                  <a:lnTo>
                    <a:pt x="13931" y="797"/>
                  </a:lnTo>
                  <a:lnTo>
                    <a:pt x="13745" y="611"/>
                  </a:lnTo>
                  <a:lnTo>
                    <a:pt x="13586" y="425"/>
                  </a:lnTo>
                  <a:lnTo>
                    <a:pt x="13374" y="266"/>
                  </a:lnTo>
                  <a:lnTo>
                    <a:pt x="13188" y="160"/>
                  </a:lnTo>
                  <a:lnTo>
                    <a:pt x="13002" y="80"/>
                  </a:lnTo>
                  <a:lnTo>
                    <a:pt x="12843" y="27"/>
                  </a:lnTo>
                  <a:lnTo>
                    <a:pt x="12710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" name="Google Shape;1134;p57">
              <a:extLst>
                <a:ext uri="{FF2B5EF4-FFF2-40B4-BE49-F238E27FC236}">
                  <a16:creationId xmlns:a16="http://schemas.microsoft.com/office/drawing/2014/main" id="{C58A8B37-3EC4-6850-8C5F-5FDA1415EA0A}"/>
                </a:ext>
              </a:extLst>
            </p:cNvPr>
            <p:cNvSpPr/>
            <p:nvPr/>
          </p:nvSpPr>
          <p:spPr>
            <a:xfrm>
              <a:off x="8490269" y="4974658"/>
              <a:ext cx="80032" cy="57620"/>
            </a:xfrm>
            <a:custGeom>
              <a:avLst/>
              <a:gdLst/>
              <a:ahLst/>
              <a:cxnLst/>
              <a:rect l="l" t="t" r="r" b="b"/>
              <a:pathLst>
                <a:path w="9474" h="6821" extrusionOk="0">
                  <a:moveTo>
                    <a:pt x="8173" y="1"/>
                  </a:moveTo>
                  <a:lnTo>
                    <a:pt x="1274" y="2362"/>
                  </a:lnTo>
                  <a:lnTo>
                    <a:pt x="1" y="6236"/>
                  </a:lnTo>
                  <a:lnTo>
                    <a:pt x="2946" y="6820"/>
                  </a:lnTo>
                  <a:lnTo>
                    <a:pt x="3769" y="6634"/>
                  </a:lnTo>
                  <a:lnTo>
                    <a:pt x="4777" y="6369"/>
                  </a:lnTo>
                  <a:lnTo>
                    <a:pt x="5838" y="6077"/>
                  </a:lnTo>
                  <a:lnTo>
                    <a:pt x="6926" y="5732"/>
                  </a:lnTo>
                  <a:lnTo>
                    <a:pt x="8731" y="5175"/>
                  </a:lnTo>
                  <a:lnTo>
                    <a:pt x="9474" y="4936"/>
                  </a:lnTo>
                  <a:lnTo>
                    <a:pt x="8173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" name="Google Shape;1135;p57">
              <a:extLst>
                <a:ext uri="{FF2B5EF4-FFF2-40B4-BE49-F238E27FC236}">
                  <a16:creationId xmlns:a16="http://schemas.microsoft.com/office/drawing/2014/main" id="{B70B65B9-1DE5-7E79-3304-D262420DB1D0}"/>
                </a:ext>
              </a:extLst>
            </p:cNvPr>
            <p:cNvSpPr/>
            <p:nvPr/>
          </p:nvSpPr>
          <p:spPr>
            <a:xfrm>
              <a:off x="8464048" y="4989906"/>
              <a:ext cx="59183" cy="129340"/>
            </a:xfrm>
            <a:custGeom>
              <a:avLst/>
              <a:gdLst/>
              <a:ahLst/>
              <a:cxnLst/>
              <a:rect l="l" t="t" r="r" b="b"/>
              <a:pathLst>
                <a:path w="7006" h="15311" extrusionOk="0">
                  <a:moveTo>
                    <a:pt x="4325" y="0"/>
                  </a:moveTo>
                  <a:lnTo>
                    <a:pt x="4033" y="27"/>
                  </a:lnTo>
                  <a:lnTo>
                    <a:pt x="3715" y="53"/>
                  </a:lnTo>
                  <a:lnTo>
                    <a:pt x="3397" y="106"/>
                  </a:lnTo>
                  <a:lnTo>
                    <a:pt x="2680" y="265"/>
                  </a:lnTo>
                  <a:lnTo>
                    <a:pt x="1964" y="478"/>
                  </a:lnTo>
                  <a:lnTo>
                    <a:pt x="1247" y="770"/>
                  </a:lnTo>
                  <a:lnTo>
                    <a:pt x="902" y="902"/>
                  </a:lnTo>
                  <a:lnTo>
                    <a:pt x="584" y="1061"/>
                  </a:lnTo>
                  <a:lnTo>
                    <a:pt x="425" y="1168"/>
                  </a:lnTo>
                  <a:lnTo>
                    <a:pt x="292" y="1300"/>
                  </a:lnTo>
                  <a:lnTo>
                    <a:pt x="186" y="1433"/>
                  </a:lnTo>
                  <a:lnTo>
                    <a:pt x="106" y="1592"/>
                  </a:lnTo>
                  <a:lnTo>
                    <a:pt x="27" y="1778"/>
                  </a:lnTo>
                  <a:lnTo>
                    <a:pt x="0" y="1964"/>
                  </a:lnTo>
                  <a:lnTo>
                    <a:pt x="0" y="2149"/>
                  </a:lnTo>
                  <a:lnTo>
                    <a:pt x="27" y="2335"/>
                  </a:lnTo>
                  <a:lnTo>
                    <a:pt x="1486" y="8199"/>
                  </a:lnTo>
                  <a:lnTo>
                    <a:pt x="2946" y="13904"/>
                  </a:lnTo>
                  <a:lnTo>
                    <a:pt x="2999" y="14116"/>
                  </a:lnTo>
                  <a:lnTo>
                    <a:pt x="3078" y="14329"/>
                  </a:lnTo>
                  <a:lnTo>
                    <a:pt x="3158" y="14488"/>
                  </a:lnTo>
                  <a:lnTo>
                    <a:pt x="3237" y="14674"/>
                  </a:lnTo>
                  <a:lnTo>
                    <a:pt x="3344" y="14806"/>
                  </a:lnTo>
                  <a:lnTo>
                    <a:pt x="3450" y="14912"/>
                  </a:lnTo>
                  <a:lnTo>
                    <a:pt x="3556" y="15019"/>
                  </a:lnTo>
                  <a:lnTo>
                    <a:pt x="3689" y="15098"/>
                  </a:lnTo>
                  <a:lnTo>
                    <a:pt x="3927" y="15231"/>
                  </a:lnTo>
                  <a:lnTo>
                    <a:pt x="4166" y="15310"/>
                  </a:lnTo>
                  <a:lnTo>
                    <a:pt x="4431" y="15310"/>
                  </a:lnTo>
                  <a:lnTo>
                    <a:pt x="4697" y="15284"/>
                  </a:lnTo>
                  <a:lnTo>
                    <a:pt x="4936" y="15231"/>
                  </a:lnTo>
                  <a:lnTo>
                    <a:pt x="5174" y="15151"/>
                  </a:lnTo>
                  <a:lnTo>
                    <a:pt x="5387" y="15019"/>
                  </a:lnTo>
                  <a:lnTo>
                    <a:pt x="5572" y="14912"/>
                  </a:lnTo>
                  <a:lnTo>
                    <a:pt x="5732" y="14780"/>
                  </a:lnTo>
                  <a:lnTo>
                    <a:pt x="5838" y="14647"/>
                  </a:lnTo>
                  <a:lnTo>
                    <a:pt x="5917" y="14514"/>
                  </a:lnTo>
                  <a:lnTo>
                    <a:pt x="5944" y="14408"/>
                  </a:lnTo>
                  <a:lnTo>
                    <a:pt x="5838" y="13771"/>
                  </a:lnTo>
                  <a:lnTo>
                    <a:pt x="5652" y="12790"/>
                  </a:lnTo>
                  <a:lnTo>
                    <a:pt x="5440" y="11516"/>
                  </a:lnTo>
                  <a:lnTo>
                    <a:pt x="5360" y="10826"/>
                  </a:lnTo>
                  <a:lnTo>
                    <a:pt x="5281" y="10136"/>
                  </a:lnTo>
                  <a:lnTo>
                    <a:pt x="5201" y="9446"/>
                  </a:lnTo>
                  <a:lnTo>
                    <a:pt x="5174" y="8756"/>
                  </a:lnTo>
                  <a:lnTo>
                    <a:pt x="5174" y="8120"/>
                  </a:lnTo>
                  <a:lnTo>
                    <a:pt x="5201" y="7509"/>
                  </a:lnTo>
                  <a:lnTo>
                    <a:pt x="5254" y="7244"/>
                  </a:lnTo>
                  <a:lnTo>
                    <a:pt x="5281" y="6979"/>
                  </a:lnTo>
                  <a:lnTo>
                    <a:pt x="5360" y="6766"/>
                  </a:lnTo>
                  <a:lnTo>
                    <a:pt x="5440" y="6554"/>
                  </a:lnTo>
                  <a:lnTo>
                    <a:pt x="5519" y="6342"/>
                  </a:lnTo>
                  <a:lnTo>
                    <a:pt x="5652" y="6183"/>
                  </a:lnTo>
                  <a:lnTo>
                    <a:pt x="5785" y="6076"/>
                  </a:lnTo>
                  <a:lnTo>
                    <a:pt x="5917" y="5970"/>
                  </a:lnTo>
                  <a:lnTo>
                    <a:pt x="6183" y="5838"/>
                  </a:lnTo>
                  <a:lnTo>
                    <a:pt x="6422" y="5758"/>
                  </a:lnTo>
                  <a:lnTo>
                    <a:pt x="6793" y="5599"/>
                  </a:lnTo>
                  <a:lnTo>
                    <a:pt x="6926" y="5546"/>
                  </a:lnTo>
                  <a:lnTo>
                    <a:pt x="7005" y="5440"/>
                  </a:lnTo>
                  <a:lnTo>
                    <a:pt x="7005" y="5387"/>
                  </a:lnTo>
                  <a:lnTo>
                    <a:pt x="7005" y="5334"/>
                  </a:lnTo>
                  <a:lnTo>
                    <a:pt x="6952" y="5174"/>
                  </a:lnTo>
                  <a:lnTo>
                    <a:pt x="6767" y="4803"/>
                  </a:lnTo>
                  <a:lnTo>
                    <a:pt x="6581" y="4431"/>
                  </a:lnTo>
                  <a:lnTo>
                    <a:pt x="6289" y="3688"/>
                  </a:lnTo>
                  <a:lnTo>
                    <a:pt x="6050" y="2972"/>
                  </a:lnTo>
                  <a:lnTo>
                    <a:pt x="5864" y="2309"/>
                  </a:lnTo>
                  <a:lnTo>
                    <a:pt x="5679" y="1698"/>
                  </a:lnTo>
                  <a:lnTo>
                    <a:pt x="5519" y="1168"/>
                  </a:lnTo>
                  <a:lnTo>
                    <a:pt x="5334" y="690"/>
                  </a:lnTo>
                  <a:lnTo>
                    <a:pt x="5254" y="478"/>
                  </a:lnTo>
                  <a:lnTo>
                    <a:pt x="5148" y="292"/>
                  </a:lnTo>
                  <a:lnTo>
                    <a:pt x="5068" y="186"/>
                  </a:lnTo>
                  <a:lnTo>
                    <a:pt x="4962" y="106"/>
                  </a:lnTo>
                  <a:lnTo>
                    <a:pt x="4776" y="53"/>
                  </a:lnTo>
                  <a:lnTo>
                    <a:pt x="456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" name="Google Shape;1136;p57">
              <a:extLst>
                <a:ext uri="{FF2B5EF4-FFF2-40B4-BE49-F238E27FC236}">
                  <a16:creationId xmlns:a16="http://schemas.microsoft.com/office/drawing/2014/main" id="{D8690FAD-5416-C327-953C-EC07AE226952}"/>
                </a:ext>
              </a:extLst>
            </p:cNvPr>
            <p:cNvSpPr/>
            <p:nvPr/>
          </p:nvSpPr>
          <p:spPr>
            <a:xfrm>
              <a:off x="8524566" y="4619162"/>
              <a:ext cx="882713" cy="437994"/>
            </a:xfrm>
            <a:custGeom>
              <a:avLst/>
              <a:gdLst/>
              <a:ahLst/>
              <a:cxnLst/>
              <a:rect l="l" t="t" r="r" b="b"/>
              <a:pathLst>
                <a:path w="104494" h="51849" extrusionOk="0">
                  <a:moveTo>
                    <a:pt x="55670" y="0"/>
                  </a:moveTo>
                  <a:lnTo>
                    <a:pt x="52459" y="743"/>
                  </a:lnTo>
                  <a:lnTo>
                    <a:pt x="51557" y="849"/>
                  </a:lnTo>
                  <a:lnTo>
                    <a:pt x="48983" y="1168"/>
                  </a:lnTo>
                  <a:lnTo>
                    <a:pt x="45481" y="1672"/>
                  </a:lnTo>
                  <a:lnTo>
                    <a:pt x="43650" y="1937"/>
                  </a:lnTo>
                  <a:lnTo>
                    <a:pt x="41872" y="2229"/>
                  </a:lnTo>
                  <a:lnTo>
                    <a:pt x="40200" y="2521"/>
                  </a:lnTo>
                  <a:lnTo>
                    <a:pt x="38714" y="2813"/>
                  </a:lnTo>
                  <a:lnTo>
                    <a:pt x="37680" y="3078"/>
                  </a:lnTo>
                  <a:lnTo>
                    <a:pt x="37255" y="3184"/>
                  </a:lnTo>
                  <a:lnTo>
                    <a:pt x="36910" y="3317"/>
                  </a:lnTo>
                  <a:lnTo>
                    <a:pt x="36592" y="3423"/>
                  </a:lnTo>
                  <a:lnTo>
                    <a:pt x="36379" y="3529"/>
                  </a:lnTo>
                  <a:lnTo>
                    <a:pt x="36220" y="3635"/>
                  </a:lnTo>
                  <a:lnTo>
                    <a:pt x="36194" y="3715"/>
                  </a:lnTo>
                  <a:lnTo>
                    <a:pt x="36167" y="3768"/>
                  </a:lnTo>
                  <a:lnTo>
                    <a:pt x="35981" y="4829"/>
                  </a:lnTo>
                  <a:lnTo>
                    <a:pt x="35742" y="5917"/>
                  </a:lnTo>
                  <a:lnTo>
                    <a:pt x="35265" y="8173"/>
                  </a:lnTo>
                  <a:lnTo>
                    <a:pt x="35106" y="8889"/>
                  </a:lnTo>
                  <a:lnTo>
                    <a:pt x="34495" y="11357"/>
                  </a:lnTo>
                  <a:lnTo>
                    <a:pt x="33832" y="13851"/>
                  </a:lnTo>
                  <a:lnTo>
                    <a:pt x="33142" y="16345"/>
                  </a:lnTo>
                  <a:lnTo>
                    <a:pt x="32426" y="18787"/>
                  </a:lnTo>
                  <a:lnTo>
                    <a:pt x="30993" y="23616"/>
                  </a:lnTo>
                  <a:lnTo>
                    <a:pt x="30303" y="25818"/>
                  </a:lnTo>
                  <a:lnTo>
                    <a:pt x="29640" y="27835"/>
                  </a:lnTo>
                  <a:lnTo>
                    <a:pt x="29003" y="29639"/>
                  </a:lnTo>
                  <a:lnTo>
                    <a:pt x="28684" y="30462"/>
                  </a:lnTo>
                  <a:lnTo>
                    <a:pt x="28366" y="31231"/>
                  </a:lnTo>
                  <a:lnTo>
                    <a:pt x="28047" y="31948"/>
                  </a:lnTo>
                  <a:lnTo>
                    <a:pt x="27729" y="32584"/>
                  </a:lnTo>
                  <a:lnTo>
                    <a:pt x="27411" y="33142"/>
                  </a:lnTo>
                  <a:lnTo>
                    <a:pt x="27092" y="33646"/>
                  </a:lnTo>
                  <a:lnTo>
                    <a:pt x="27013" y="33752"/>
                  </a:lnTo>
                  <a:lnTo>
                    <a:pt x="26907" y="33832"/>
                  </a:lnTo>
                  <a:lnTo>
                    <a:pt x="26562" y="34070"/>
                  </a:lnTo>
                  <a:lnTo>
                    <a:pt x="26110" y="34283"/>
                  </a:lnTo>
                  <a:lnTo>
                    <a:pt x="25553" y="34548"/>
                  </a:lnTo>
                  <a:lnTo>
                    <a:pt x="24890" y="34813"/>
                  </a:lnTo>
                  <a:lnTo>
                    <a:pt x="24120" y="35105"/>
                  </a:lnTo>
                  <a:lnTo>
                    <a:pt x="22343" y="35715"/>
                  </a:lnTo>
                  <a:lnTo>
                    <a:pt x="20299" y="36352"/>
                  </a:lnTo>
                  <a:lnTo>
                    <a:pt x="18017" y="37016"/>
                  </a:lnTo>
                  <a:lnTo>
                    <a:pt x="15629" y="37706"/>
                  </a:lnTo>
                  <a:lnTo>
                    <a:pt x="13188" y="38395"/>
                  </a:lnTo>
                  <a:lnTo>
                    <a:pt x="8385" y="39669"/>
                  </a:lnTo>
                  <a:lnTo>
                    <a:pt x="4220" y="40784"/>
                  </a:lnTo>
                  <a:lnTo>
                    <a:pt x="2548" y="41235"/>
                  </a:lnTo>
                  <a:lnTo>
                    <a:pt x="1248" y="41606"/>
                  </a:lnTo>
                  <a:lnTo>
                    <a:pt x="372" y="41871"/>
                  </a:lnTo>
                  <a:lnTo>
                    <a:pt x="133" y="41978"/>
                  </a:lnTo>
                  <a:lnTo>
                    <a:pt x="27" y="42031"/>
                  </a:lnTo>
                  <a:lnTo>
                    <a:pt x="27" y="42084"/>
                  </a:lnTo>
                  <a:lnTo>
                    <a:pt x="1" y="42190"/>
                  </a:lnTo>
                  <a:lnTo>
                    <a:pt x="27" y="42455"/>
                  </a:lnTo>
                  <a:lnTo>
                    <a:pt x="133" y="42800"/>
                  </a:lnTo>
                  <a:lnTo>
                    <a:pt x="266" y="43251"/>
                  </a:lnTo>
                  <a:lnTo>
                    <a:pt x="452" y="43755"/>
                  </a:lnTo>
                  <a:lnTo>
                    <a:pt x="664" y="44313"/>
                  </a:lnTo>
                  <a:lnTo>
                    <a:pt x="929" y="44896"/>
                  </a:lnTo>
                  <a:lnTo>
                    <a:pt x="1195" y="45480"/>
                  </a:lnTo>
                  <a:lnTo>
                    <a:pt x="1486" y="46064"/>
                  </a:lnTo>
                  <a:lnTo>
                    <a:pt x="1805" y="46648"/>
                  </a:lnTo>
                  <a:lnTo>
                    <a:pt x="2123" y="47178"/>
                  </a:lnTo>
                  <a:lnTo>
                    <a:pt x="2442" y="47656"/>
                  </a:lnTo>
                  <a:lnTo>
                    <a:pt x="2787" y="48054"/>
                  </a:lnTo>
                  <a:lnTo>
                    <a:pt x="3079" y="48399"/>
                  </a:lnTo>
                  <a:lnTo>
                    <a:pt x="3238" y="48505"/>
                  </a:lnTo>
                  <a:lnTo>
                    <a:pt x="3370" y="48611"/>
                  </a:lnTo>
                  <a:lnTo>
                    <a:pt x="3530" y="48664"/>
                  </a:lnTo>
                  <a:lnTo>
                    <a:pt x="3662" y="48717"/>
                  </a:lnTo>
                  <a:lnTo>
                    <a:pt x="3875" y="48717"/>
                  </a:lnTo>
                  <a:lnTo>
                    <a:pt x="4220" y="48664"/>
                  </a:lnTo>
                  <a:lnTo>
                    <a:pt x="5281" y="48532"/>
                  </a:lnTo>
                  <a:lnTo>
                    <a:pt x="6820" y="48266"/>
                  </a:lnTo>
                  <a:lnTo>
                    <a:pt x="8730" y="47895"/>
                  </a:lnTo>
                  <a:lnTo>
                    <a:pt x="10959" y="47444"/>
                  </a:lnTo>
                  <a:lnTo>
                    <a:pt x="13427" y="46913"/>
                  </a:lnTo>
                  <a:lnTo>
                    <a:pt x="16054" y="46329"/>
                  </a:lnTo>
                  <a:lnTo>
                    <a:pt x="18787" y="45692"/>
                  </a:lnTo>
                  <a:lnTo>
                    <a:pt x="21520" y="45003"/>
                  </a:lnTo>
                  <a:lnTo>
                    <a:pt x="24200" y="44286"/>
                  </a:lnTo>
                  <a:lnTo>
                    <a:pt x="26747" y="43543"/>
                  </a:lnTo>
                  <a:lnTo>
                    <a:pt x="27968" y="43198"/>
                  </a:lnTo>
                  <a:lnTo>
                    <a:pt x="29109" y="42827"/>
                  </a:lnTo>
                  <a:lnTo>
                    <a:pt x="30197" y="42455"/>
                  </a:lnTo>
                  <a:lnTo>
                    <a:pt x="31179" y="42084"/>
                  </a:lnTo>
                  <a:lnTo>
                    <a:pt x="32107" y="41739"/>
                  </a:lnTo>
                  <a:lnTo>
                    <a:pt x="32930" y="41394"/>
                  </a:lnTo>
                  <a:lnTo>
                    <a:pt x="33646" y="41049"/>
                  </a:lnTo>
                  <a:lnTo>
                    <a:pt x="34230" y="40704"/>
                  </a:lnTo>
                  <a:lnTo>
                    <a:pt x="34708" y="40386"/>
                  </a:lnTo>
                  <a:lnTo>
                    <a:pt x="34920" y="40226"/>
                  </a:lnTo>
                  <a:lnTo>
                    <a:pt x="35079" y="40067"/>
                  </a:lnTo>
                  <a:lnTo>
                    <a:pt x="36353" y="38634"/>
                  </a:lnTo>
                  <a:lnTo>
                    <a:pt x="37467" y="37361"/>
                  </a:lnTo>
                  <a:lnTo>
                    <a:pt x="38422" y="36193"/>
                  </a:lnTo>
                  <a:lnTo>
                    <a:pt x="39245" y="35158"/>
                  </a:lnTo>
                  <a:lnTo>
                    <a:pt x="39961" y="34176"/>
                  </a:lnTo>
                  <a:lnTo>
                    <a:pt x="40572" y="33274"/>
                  </a:lnTo>
                  <a:lnTo>
                    <a:pt x="41129" y="32452"/>
                  </a:lnTo>
                  <a:lnTo>
                    <a:pt x="41607" y="31629"/>
                  </a:lnTo>
                  <a:lnTo>
                    <a:pt x="42031" y="30833"/>
                  </a:lnTo>
                  <a:lnTo>
                    <a:pt x="42456" y="30037"/>
                  </a:lnTo>
                  <a:lnTo>
                    <a:pt x="43305" y="28365"/>
                  </a:lnTo>
                  <a:lnTo>
                    <a:pt x="44260" y="26455"/>
                  </a:lnTo>
                  <a:lnTo>
                    <a:pt x="44844" y="25367"/>
                  </a:lnTo>
                  <a:lnTo>
                    <a:pt x="45507" y="24173"/>
                  </a:lnTo>
                  <a:lnTo>
                    <a:pt x="46303" y="22740"/>
                  </a:lnTo>
                  <a:lnTo>
                    <a:pt x="47126" y="21175"/>
                  </a:lnTo>
                  <a:lnTo>
                    <a:pt x="48001" y="19529"/>
                  </a:lnTo>
                  <a:lnTo>
                    <a:pt x="48904" y="17725"/>
                  </a:lnTo>
                  <a:lnTo>
                    <a:pt x="56917" y="21732"/>
                  </a:lnTo>
                  <a:lnTo>
                    <a:pt x="59836" y="23244"/>
                  </a:lnTo>
                  <a:lnTo>
                    <a:pt x="62914" y="24889"/>
                  </a:lnTo>
                  <a:lnTo>
                    <a:pt x="66045" y="26588"/>
                  </a:lnTo>
                  <a:lnTo>
                    <a:pt x="69096" y="28286"/>
                  </a:lnTo>
                  <a:lnTo>
                    <a:pt x="74562" y="31337"/>
                  </a:lnTo>
                  <a:lnTo>
                    <a:pt x="78330" y="33460"/>
                  </a:lnTo>
                  <a:lnTo>
                    <a:pt x="78888" y="33805"/>
                  </a:lnTo>
                  <a:lnTo>
                    <a:pt x="79498" y="34176"/>
                  </a:lnTo>
                  <a:lnTo>
                    <a:pt x="80135" y="34628"/>
                  </a:lnTo>
                  <a:lnTo>
                    <a:pt x="80825" y="35132"/>
                  </a:lnTo>
                  <a:lnTo>
                    <a:pt x="82311" y="36273"/>
                  </a:lnTo>
                  <a:lnTo>
                    <a:pt x="83903" y="37573"/>
                  </a:lnTo>
                  <a:lnTo>
                    <a:pt x="85548" y="39006"/>
                  </a:lnTo>
                  <a:lnTo>
                    <a:pt x="87272" y="40492"/>
                  </a:lnTo>
                  <a:lnTo>
                    <a:pt x="88997" y="42057"/>
                  </a:lnTo>
                  <a:lnTo>
                    <a:pt x="90695" y="43596"/>
                  </a:lnTo>
                  <a:lnTo>
                    <a:pt x="93906" y="46568"/>
                  </a:lnTo>
                  <a:lnTo>
                    <a:pt x="96613" y="49142"/>
                  </a:lnTo>
                  <a:lnTo>
                    <a:pt x="98576" y="50973"/>
                  </a:lnTo>
                  <a:lnTo>
                    <a:pt x="99186" y="51530"/>
                  </a:lnTo>
                  <a:lnTo>
                    <a:pt x="99505" y="51795"/>
                  </a:lnTo>
                  <a:lnTo>
                    <a:pt x="99611" y="51822"/>
                  </a:lnTo>
                  <a:lnTo>
                    <a:pt x="99717" y="51848"/>
                  </a:lnTo>
                  <a:lnTo>
                    <a:pt x="99850" y="51822"/>
                  </a:lnTo>
                  <a:lnTo>
                    <a:pt x="100009" y="51769"/>
                  </a:lnTo>
                  <a:lnTo>
                    <a:pt x="100354" y="51610"/>
                  </a:lnTo>
                  <a:lnTo>
                    <a:pt x="100752" y="51344"/>
                  </a:lnTo>
                  <a:lnTo>
                    <a:pt x="101177" y="51026"/>
                  </a:lnTo>
                  <a:lnTo>
                    <a:pt x="101628" y="50654"/>
                  </a:lnTo>
                  <a:lnTo>
                    <a:pt x="102105" y="50230"/>
                  </a:lnTo>
                  <a:lnTo>
                    <a:pt x="102556" y="49752"/>
                  </a:lnTo>
                  <a:lnTo>
                    <a:pt x="103007" y="49301"/>
                  </a:lnTo>
                  <a:lnTo>
                    <a:pt x="103405" y="48823"/>
                  </a:lnTo>
                  <a:lnTo>
                    <a:pt x="103777" y="48372"/>
                  </a:lnTo>
                  <a:lnTo>
                    <a:pt x="104069" y="47921"/>
                  </a:lnTo>
                  <a:lnTo>
                    <a:pt x="104308" y="47523"/>
                  </a:lnTo>
                  <a:lnTo>
                    <a:pt x="104440" y="47178"/>
                  </a:lnTo>
                  <a:lnTo>
                    <a:pt x="104493" y="47046"/>
                  </a:lnTo>
                  <a:lnTo>
                    <a:pt x="104493" y="46913"/>
                  </a:lnTo>
                  <a:lnTo>
                    <a:pt x="104493" y="46807"/>
                  </a:lnTo>
                  <a:lnTo>
                    <a:pt x="104440" y="46701"/>
                  </a:lnTo>
                  <a:lnTo>
                    <a:pt x="104122" y="46382"/>
                  </a:lnTo>
                  <a:lnTo>
                    <a:pt x="103459" y="45719"/>
                  </a:lnTo>
                  <a:lnTo>
                    <a:pt x="101230" y="43517"/>
                  </a:lnTo>
                  <a:lnTo>
                    <a:pt x="94569" y="37095"/>
                  </a:lnTo>
                  <a:lnTo>
                    <a:pt x="87458" y="30249"/>
                  </a:lnTo>
                  <a:lnTo>
                    <a:pt x="82894" y="25845"/>
                  </a:lnTo>
                  <a:lnTo>
                    <a:pt x="82257" y="25314"/>
                  </a:lnTo>
                  <a:lnTo>
                    <a:pt x="81382" y="24571"/>
                  </a:lnTo>
                  <a:lnTo>
                    <a:pt x="78941" y="22661"/>
                  </a:lnTo>
                  <a:lnTo>
                    <a:pt x="75783" y="20246"/>
                  </a:lnTo>
                  <a:lnTo>
                    <a:pt x="74058" y="18866"/>
                  </a:lnTo>
                  <a:lnTo>
                    <a:pt x="72227" y="17433"/>
                  </a:lnTo>
                  <a:lnTo>
                    <a:pt x="70343" y="15921"/>
                  </a:lnTo>
                  <a:lnTo>
                    <a:pt x="68460" y="14329"/>
                  </a:lnTo>
                  <a:lnTo>
                    <a:pt x="66576" y="12737"/>
                  </a:lnTo>
                  <a:lnTo>
                    <a:pt x="64745" y="11118"/>
                  </a:lnTo>
                  <a:lnTo>
                    <a:pt x="62993" y="9473"/>
                  </a:lnTo>
                  <a:lnTo>
                    <a:pt x="62171" y="8650"/>
                  </a:lnTo>
                  <a:lnTo>
                    <a:pt x="61348" y="7854"/>
                  </a:lnTo>
                  <a:lnTo>
                    <a:pt x="60579" y="7058"/>
                  </a:lnTo>
                  <a:lnTo>
                    <a:pt x="59836" y="6262"/>
                  </a:lnTo>
                  <a:lnTo>
                    <a:pt x="59146" y="5466"/>
                  </a:lnTo>
                  <a:lnTo>
                    <a:pt x="58509" y="4697"/>
                  </a:lnTo>
                  <a:lnTo>
                    <a:pt x="57952" y="3980"/>
                  </a:lnTo>
                  <a:lnTo>
                    <a:pt x="57448" y="3290"/>
                  </a:lnTo>
                  <a:lnTo>
                    <a:pt x="56997" y="2627"/>
                  </a:lnTo>
                  <a:lnTo>
                    <a:pt x="56572" y="1964"/>
                  </a:lnTo>
                  <a:lnTo>
                    <a:pt x="56307" y="1460"/>
                  </a:lnTo>
                  <a:lnTo>
                    <a:pt x="56041" y="955"/>
                  </a:lnTo>
                  <a:lnTo>
                    <a:pt x="55829" y="478"/>
                  </a:lnTo>
                  <a:lnTo>
                    <a:pt x="55670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" name="Google Shape;1137;p57">
              <a:extLst>
                <a:ext uri="{FF2B5EF4-FFF2-40B4-BE49-F238E27FC236}">
                  <a16:creationId xmlns:a16="http://schemas.microsoft.com/office/drawing/2014/main" id="{FE70B889-FACB-3FE5-018A-0560FA03F87B}"/>
                </a:ext>
              </a:extLst>
            </p:cNvPr>
            <p:cNvSpPr/>
            <p:nvPr/>
          </p:nvSpPr>
          <p:spPr>
            <a:xfrm>
              <a:off x="8524566" y="4619162"/>
              <a:ext cx="882713" cy="437994"/>
            </a:xfrm>
            <a:custGeom>
              <a:avLst/>
              <a:gdLst/>
              <a:ahLst/>
              <a:cxnLst/>
              <a:rect l="l" t="t" r="r" b="b"/>
              <a:pathLst>
                <a:path w="104494" h="51849" fill="none" extrusionOk="0">
                  <a:moveTo>
                    <a:pt x="104440" y="46701"/>
                  </a:moveTo>
                  <a:lnTo>
                    <a:pt x="104440" y="46701"/>
                  </a:lnTo>
                  <a:lnTo>
                    <a:pt x="104493" y="46807"/>
                  </a:lnTo>
                  <a:lnTo>
                    <a:pt x="104493" y="46913"/>
                  </a:lnTo>
                  <a:lnTo>
                    <a:pt x="104493" y="47046"/>
                  </a:lnTo>
                  <a:lnTo>
                    <a:pt x="104440" y="47178"/>
                  </a:lnTo>
                  <a:lnTo>
                    <a:pt x="104308" y="47523"/>
                  </a:lnTo>
                  <a:lnTo>
                    <a:pt x="104069" y="47921"/>
                  </a:lnTo>
                  <a:lnTo>
                    <a:pt x="103777" y="48372"/>
                  </a:lnTo>
                  <a:lnTo>
                    <a:pt x="103405" y="48823"/>
                  </a:lnTo>
                  <a:lnTo>
                    <a:pt x="103007" y="49301"/>
                  </a:lnTo>
                  <a:lnTo>
                    <a:pt x="102556" y="49752"/>
                  </a:lnTo>
                  <a:lnTo>
                    <a:pt x="102105" y="50230"/>
                  </a:lnTo>
                  <a:lnTo>
                    <a:pt x="101628" y="50654"/>
                  </a:lnTo>
                  <a:lnTo>
                    <a:pt x="101177" y="51026"/>
                  </a:lnTo>
                  <a:lnTo>
                    <a:pt x="100752" y="51344"/>
                  </a:lnTo>
                  <a:lnTo>
                    <a:pt x="100354" y="51610"/>
                  </a:lnTo>
                  <a:lnTo>
                    <a:pt x="100009" y="51769"/>
                  </a:lnTo>
                  <a:lnTo>
                    <a:pt x="99850" y="51822"/>
                  </a:lnTo>
                  <a:lnTo>
                    <a:pt x="99717" y="51848"/>
                  </a:lnTo>
                  <a:lnTo>
                    <a:pt x="99611" y="51822"/>
                  </a:lnTo>
                  <a:lnTo>
                    <a:pt x="99505" y="51795"/>
                  </a:lnTo>
                  <a:lnTo>
                    <a:pt x="99505" y="51795"/>
                  </a:lnTo>
                  <a:lnTo>
                    <a:pt x="99186" y="51530"/>
                  </a:lnTo>
                  <a:lnTo>
                    <a:pt x="98576" y="50973"/>
                  </a:lnTo>
                  <a:lnTo>
                    <a:pt x="96613" y="49142"/>
                  </a:lnTo>
                  <a:lnTo>
                    <a:pt x="93906" y="46568"/>
                  </a:lnTo>
                  <a:lnTo>
                    <a:pt x="90695" y="43596"/>
                  </a:lnTo>
                  <a:lnTo>
                    <a:pt x="88997" y="42057"/>
                  </a:lnTo>
                  <a:lnTo>
                    <a:pt x="87272" y="40492"/>
                  </a:lnTo>
                  <a:lnTo>
                    <a:pt x="85548" y="39006"/>
                  </a:lnTo>
                  <a:lnTo>
                    <a:pt x="83903" y="37573"/>
                  </a:lnTo>
                  <a:lnTo>
                    <a:pt x="82311" y="36273"/>
                  </a:lnTo>
                  <a:lnTo>
                    <a:pt x="80825" y="35132"/>
                  </a:lnTo>
                  <a:lnTo>
                    <a:pt x="80135" y="34628"/>
                  </a:lnTo>
                  <a:lnTo>
                    <a:pt x="79498" y="34176"/>
                  </a:lnTo>
                  <a:lnTo>
                    <a:pt x="78888" y="33805"/>
                  </a:lnTo>
                  <a:lnTo>
                    <a:pt x="78330" y="33460"/>
                  </a:lnTo>
                  <a:lnTo>
                    <a:pt x="78330" y="33460"/>
                  </a:lnTo>
                  <a:lnTo>
                    <a:pt x="74562" y="31337"/>
                  </a:lnTo>
                  <a:lnTo>
                    <a:pt x="69096" y="28286"/>
                  </a:lnTo>
                  <a:lnTo>
                    <a:pt x="66045" y="26588"/>
                  </a:lnTo>
                  <a:lnTo>
                    <a:pt x="62914" y="24889"/>
                  </a:lnTo>
                  <a:lnTo>
                    <a:pt x="59836" y="23244"/>
                  </a:lnTo>
                  <a:lnTo>
                    <a:pt x="56917" y="21732"/>
                  </a:lnTo>
                  <a:lnTo>
                    <a:pt x="56917" y="21732"/>
                  </a:lnTo>
                  <a:lnTo>
                    <a:pt x="48904" y="17725"/>
                  </a:lnTo>
                  <a:lnTo>
                    <a:pt x="48904" y="17725"/>
                  </a:lnTo>
                  <a:lnTo>
                    <a:pt x="48904" y="17725"/>
                  </a:lnTo>
                  <a:lnTo>
                    <a:pt x="48001" y="19529"/>
                  </a:lnTo>
                  <a:lnTo>
                    <a:pt x="47126" y="21175"/>
                  </a:lnTo>
                  <a:lnTo>
                    <a:pt x="46303" y="22740"/>
                  </a:lnTo>
                  <a:lnTo>
                    <a:pt x="45507" y="24173"/>
                  </a:lnTo>
                  <a:lnTo>
                    <a:pt x="45507" y="24173"/>
                  </a:lnTo>
                  <a:lnTo>
                    <a:pt x="44844" y="25367"/>
                  </a:lnTo>
                  <a:lnTo>
                    <a:pt x="44260" y="26455"/>
                  </a:lnTo>
                  <a:lnTo>
                    <a:pt x="43305" y="28365"/>
                  </a:lnTo>
                  <a:lnTo>
                    <a:pt x="42456" y="30037"/>
                  </a:lnTo>
                  <a:lnTo>
                    <a:pt x="42031" y="30833"/>
                  </a:lnTo>
                  <a:lnTo>
                    <a:pt x="41607" y="31629"/>
                  </a:lnTo>
                  <a:lnTo>
                    <a:pt x="41129" y="32452"/>
                  </a:lnTo>
                  <a:lnTo>
                    <a:pt x="40572" y="33274"/>
                  </a:lnTo>
                  <a:lnTo>
                    <a:pt x="39961" y="34176"/>
                  </a:lnTo>
                  <a:lnTo>
                    <a:pt x="39245" y="35158"/>
                  </a:lnTo>
                  <a:lnTo>
                    <a:pt x="38422" y="36193"/>
                  </a:lnTo>
                  <a:lnTo>
                    <a:pt x="37467" y="37361"/>
                  </a:lnTo>
                  <a:lnTo>
                    <a:pt x="36353" y="38634"/>
                  </a:lnTo>
                  <a:lnTo>
                    <a:pt x="35079" y="40067"/>
                  </a:lnTo>
                  <a:lnTo>
                    <a:pt x="35079" y="40067"/>
                  </a:lnTo>
                  <a:lnTo>
                    <a:pt x="34920" y="40226"/>
                  </a:lnTo>
                  <a:lnTo>
                    <a:pt x="34708" y="40386"/>
                  </a:lnTo>
                  <a:lnTo>
                    <a:pt x="34230" y="40704"/>
                  </a:lnTo>
                  <a:lnTo>
                    <a:pt x="33646" y="41049"/>
                  </a:lnTo>
                  <a:lnTo>
                    <a:pt x="32930" y="41394"/>
                  </a:lnTo>
                  <a:lnTo>
                    <a:pt x="32107" y="41739"/>
                  </a:lnTo>
                  <a:lnTo>
                    <a:pt x="31179" y="42084"/>
                  </a:lnTo>
                  <a:lnTo>
                    <a:pt x="30197" y="42455"/>
                  </a:lnTo>
                  <a:lnTo>
                    <a:pt x="29109" y="42827"/>
                  </a:lnTo>
                  <a:lnTo>
                    <a:pt x="27968" y="43198"/>
                  </a:lnTo>
                  <a:lnTo>
                    <a:pt x="26747" y="43543"/>
                  </a:lnTo>
                  <a:lnTo>
                    <a:pt x="24200" y="44286"/>
                  </a:lnTo>
                  <a:lnTo>
                    <a:pt x="21520" y="45003"/>
                  </a:lnTo>
                  <a:lnTo>
                    <a:pt x="18787" y="45692"/>
                  </a:lnTo>
                  <a:lnTo>
                    <a:pt x="16054" y="46329"/>
                  </a:lnTo>
                  <a:lnTo>
                    <a:pt x="13427" y="46913"/>
                  </a:lnTo>
                  <a:lnTo>
                    <a:pt x="10959" y="47444"/>
                  </a:lnTo>
                  <a:lnTo>
                    <a:pt x="8730" y="47895"/>
                  </a:lnTo>
                  <a:lnTo>
                    <a:pt x="6820" y="48266"/>
                  </a:lnTo>
                  <a:lnTo>
                    <a:pt x="5281" y="48532"/>
                  </a:lnTo>
                  <a:lnTo>
                    <a:pt x="4220" y="48664"/>
                  </a:lnTo>
                  <a:lnTo>
                    <a:pt x="3875" y="48717"/>
                  </a:lnTo>
                  <a:lnTo>
                    <a:pt x="3662" y="48717"/>
                  </a:lnTo>
                  <a:lnTo>
                    <a:pt x="3662" y="48717"/>
                  </a:lnTo>
                  <a:lnTo>
                    <a:pt x="3530" y="48664"/>
                  </a:lnTo>
                  <a:lnTo>
                    <a:pt x="3370" y="48611"/>
                  </a:lnTo>
                  <a:lnTo>
                    <a:pt x="3238" y="48505"/>
                  </a:lnTo>
                  <a:lnTo>
                    <a:pt x="3079" y="48399"/>
                  </a:lnTo>
                  <a:lnTo>
                    <a:pt x="2787" y="48054"/>
                  </a:lnTo>
                  <a:lnTo>
                    <a:pt x="2442" y="47656"/>
                  </a:lnTo>
                  <a:lnTo>
                    <a:pt x="2123" y="47178"/>
                  </a:lnTo>
                  <a:lnTo>
                    <a:pt x="1805" y="46648"/>
                  </a:lnTo>
                  <a:lnTo>
                    <a:pt x="1486" y="46064"/>
                  </a:lnTo>
                  <a:lnTo>
                    <a:pt x="1195" y="45480"/>
                  </a:lnTo>
                  <a:lnTo>
                    <a:pt x="929" y="44896"/>
                  </a:lnTo>
                  <a:lnTo>
                    <a:pt x="664" y="44313"/>
                  </a:lnTo>
                  <a:lnTo>
                    <a:pt x="452" y="43755"/>
                  </a:lnTo>
                  <a:lnTo>
                    <a:pt x="266" y="43251"/>
                  </a:lnTo>
                  <a:lnTo>
                    <a:pt x="133" y="42800"/>
                  </a:lnTo>
                  <a:lnTo>
                    <a:pt x="27" y="42455"/>
                  </a:lnTo>
                  <a:lnTo>
                    <a:pt x="1" y="42190"/>
                  </a:lnTo>
                  <a:lnTo>
                    <a:pt x="27" y="42084"/>
                  </a:lnTo>
                  <a:lnTo>
                    <a:pt x="27" y="42031"/>
                  </a:lnTo>
                  <a:lnTo>
                    <a:pt x="27" y="42031"/>
                  </a:lnTo>
                  <a:lnTo>
                    <a:pt x="133" y="41978"/>
                  </a:lnTo>
                  <a:lnTo>
                    <a:pt x="372" y="41871"/>
                  </a:lnTo>
                  <a:lnTo>
                    <a:pt x="1248" y="41606"/>
                  </a:lnTo>
                  <a:lnTo>
                    <a:pt x="2548" y="41235"/>
                  </a:lnTo>
                  <a:lnTo>
                    <a:pt x="4220" y="40784"/>
                  </a:lnTo>
                  <a:lnTo>
                    <a:pt x="8385" y="39669"/>
                  </a:lnTo>
                  <a:lnTo>
                    <a:pt x="13188" y="38395"/>
                  </a:lnTo>
                  <a:lnTo>
                    <a:pt x="15629" y="37706"/>
                  </a:lnTo>
                  <a:lnTo>
                    <a:pt x="18017" y="37016"/>
                  </a:lnTo>
                  <a:lnTo>
                    <a:pt x="20299" y="36352"/>
                  </a:lnTo>
                  <a:lnTo>
                    <a:pt x="22343" y="35715"/>
                  </a:lnTo>
                  <a:lnTo>
                    <a:pt x="24120" y="35105"/>
                  </a:lnTo>
                  <a:lnTo>
                    <a:pt x="24890" y="34813"/>
                  </a:lnTo>
                  <a:lnTo>
                    <a:pt x="25553" y="34548"/>
                  </a:lnTo>
                  <a:lnTo>
                    <a:pt x="26110" y="34283"/>
                  </a:lnTo>
                  <a:lnTo>
                    <a:pt x="26562" y="34070"/>
                  </a:lnTo>
                  <a:lnTo>
                    <a:pt x="26907" y="33832"/>
                  </a:lnTo>
                  <a:lnTo>
                    <a:pt x="27013" y="33752"/>
                  </a:lnTo>
                  <a:lnTo>
                    <a:pt x="27092" y="33646"/>
                  </a:lnTo>
                  <a:lnTo>
                    <a:pt x="27092" y="33646"/>
                  </a:lnTo>
                  <a:lnTo>
                    <a:pt x="27411" y="33142"/>
                  </a:lnTo>
                  <a:lnTo>
                    <a:pt x="27729" y="32584"/>
                  </a:lnTo>
                  <a:lnTo>
                    <a:pt x="28047" y="31948"/>
                  </a:lnTo>
                  <a:lnTo>
                    <a:pt x="28366" y="31231"/>
                  </a:lnTo>
                  <a:lnTo>
                    <a:pt x="28684" y="30462"/>
                  </a:lnTo>
                  <a:lnTo>
                    <a:pt x="29003" y="29639"/>
                  </a:lnTo>
                  <a:lnTo>
                    <a:pt x="29640" y="27835"/>
                  </a:lnTo>
                  <a:lnTo>
                    <a:pt x="30303" y="25818"/>
                  </a:lnTo>
                  <a:lnTo>
                    <a:pt x="30993" y="23616"/>
                  </a:lnTo>
                  <a:lnTo>
                    <a:pt x="32426" y="18787"/>
                  </a:lnTo>
                  <a:lnTo>
                    <a:pt x="32426" y="18787"/>
                  </a:lnTo>
                  <a:lnTo>
                    <a:pt x="33142" y="16345"/>
                  </a:lnTo>
                  <a:lnTo>
                    <a:pt x="33832" y="13851"/>
                  </a:lnTo>
                  <a:lnTo>
                    <a:pt x="34495" y="11357"/>
                  </a:lnTo>
                  <a:lnTo>
                    <a:pt x="35106" y="8889"/>
                  </a:lnTo>
                  <a:lnTo>
                    <a:pt x="35106" y="8889"/>
                  </a:lnTo>
                  <a:lnTo>
                    <a:pt x="35265" y="8173"/>
                  </a:lnTo>
                  <a:lnTo>
                    <a:pt x="35265" y="8173"/>
                  </a:lnTo>
                  <a:lnTo>
                    <a:pt x="35265" y="8173"/>
                  </a:lnTo>
                  <a:lnTo>
                    <a:pt x="35742" y="5917"/>
                  </a:lnTo>
                  <a:lnTo>
                    <a:pt x="35981" y="4829"/>
                  </a:lnTo>
                  <a:lnTo>
                    <a:pt x="36167" y="3768"/>
                  </a:lnTo>
                  <a:lnTo>
                    <a:pt x="36167" y="3768"/>
                  </a:lnTo>
                  <a:lnTo>
                    <a:pt x="36194" y="3715"/>
                  </a:lnTo>
                  <a:lnTo>
                    <a:pt x="36220" y="3635"/>
                  </a:lnTo>
                  <a:lnTo>
                    <a:pt x="36379" y="3529"/>
                  </a:lnTo>
                  <a:lnTo>
                    <a:pt x="36592" y="3423"/>
                  </a:lnTo>
                  <a:lnTo>
                    <a:pt x="36910" y="3317"/>
                  </a:lnTo>
                  <a:lnTo>
                    <a:pt x="37255" y="3184"/>
                  </a:lnTo>
                  <a:lnTo>
                    <a:pt x="37680" y="3078"/>
                  </a:lnTo>
                  <a:lnTo>
                    <a:pt x="38714" y="2813"/>
                  </a:lnTo>
                  <a:lnTo>
                    <a:pt x="38714" y="2813"/>
                  </a:lnTo>
                  <a:lnTo>
                    <a:pt x="40200" y="2521"/>
                  </a:lnTo>
                  <a:lnTo>
                    <a:pt x="41872" y="2229"/>
                  </a:lnTo>
                  <a:lnTo>
                    <a:pt x="43650" y="1937"/>
                  </a:lnTo>
                  <a:lnTo>
                    <a:pt x="45481" y="1672"/>
                  </a:lnTo>
                  <a:lnTo>
                    <a:pt x="45481" y="1672"/>
                  </a:lnTo>
                  <a:lnTo>
                    <a:pt x="48983" y="1168"/>
                  </a:lnTo>
                  <a:lnTo>
                    <a:pt x="51557" y="849"/>
                  </a:lnTo>
                  <a:lnTo>
                    <a:pt x="51557" y="849"/>
                  </a:lnTo>
                  <a:lnTo>
                    <a:pt x="52459" y="743"/>
                  </a:lnTo>
                  <a:lnTo>
                    <a:pt x="55670" y="0"/>
                  </a:lnTo>
                  <a:lnTo>
                    <a:pt x="55670" y="0"/>
                  </a:lnTo>
                  <a:lnTo>
                    <a:pt x="55829" y="478"/>
                  </a:lnTo>
                  <a:lnTo>
                    <a:pt x="56041" y="955"/>
                  </a:lnTo>
                  <a:lnTo>
                    <a:pt x="56307" y="1460"/>
                  </a:lnTo>
                  <a:lnTo>
                    <a:pt x="56572" y="1964"/>
                  </a:lnTo>
                  <a:lnTo>
                    <a:pt x="56572" y="1964"/>
                  </a:lnTo>
                  <a:lnTo>
                    <a:pt x="56997" y="2627"/>
                  </a:lnTo>
                  <a:lnTo>
                    <a:pt x="57448" y="3290"/>
                  </a:lnTo>
                  <a:lnTo>
                    <a:pt x="57952" y="3980"/>
                  </a:lnTo>
                  <a:lnTo>
                    <a:pt x="58509" y="4697"/>
                  </a:lnTo>
                  <a:lnTo>
                    <a:pt x="58509" y="4697"/>
                  </a:lnTo>
                  <a:lnTo>
                    <a:pt x="59146" y="5466"/>
                  </a:lnTo>
                  <a:lnTo>
                    <a:pt x="59836" y="6262"/>
                  </a:lnTo>
                  <a:lnTo>
                    <a:pt x="60579" y="7058"/>
                  </a:lnTo>
                  <a:lnTo>
                    <a:pt x="61348" y="7854"/>
                  </a:lnTo>
                  <a:lnTo>
                    <a:pt x="62171" y="8650"/>
                  </a:lnTo>
                  <a:lnTo>
                    <a:pt x="62993" y="9473"/>
                  </a:lnTo>
                  <a:lnTo>
                    <a:pt x="64745" y="11118"/>
                  </a:lnTo>
                  <a:lnTo>
                    <a:pt x="66576" y="12737"/>
                  </a:lnTo>
                  <a:lnTo>
                    <a:pt x="68460" y="14329"/>
                  </a:lnTo>
                  <a:lnTo>
                    <a:pt x="70343" y="15921"/>
                  </a:lnTo>
                  <a:lnTo>
                    <a:pt x="72227" y="17433"/>
                  </a:lnTo>
                  <a:lnTo>
                    <a:pt x="74058" y="18866"/>
                  </a:lnTo>
                  <a:lnTo>
                    <a:pt x="75783" y="20246"/>
                  </a:lnTo>
                  <a:lnTo>
                    <a:pt x="78941" y="22661"/>
                  </a:lnTo>
                  <a:lnTo>
                    <a:pt x="81382" y="24571"/>
                  </a:lnTo>
                  <a:lnTo>
                    <a:pt x="82257" y="25314"/>
                  </a:lnTo>
                  <a:lnTo>
                    <a:pt x="82894" y="25845"/>
                  </a:lnTo>
                  <a:lnTo>
                    <a:pt x="82894" y="25845"/>
                  </a:lnTo>
                  <a:lnTo>
                    <a:pt x="87458" y="30249"/>
                  </a:lnTo>
                  <a:lnTo>
                    <a:pt x="94569" y="37095"/>
                  </a:lnTo>
                  <a:lnTo>
                    <a:pt x="101230" y="43517"/>
                  </a:lnTo>
                  <a:lnTo>
                    <a:pt x="103459" y="45719"/>
                  </a:lnTo>
                  <a:lnTo>
                    <a:pt x="104122" y="46382"/>
                  </a:lnTo>
                  <a:lnTo>
                    <a:pt x="104440" y="4670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" name="Google Shape;1138;p57">
              <a:extLst>
                <a:ext uri="{FF2B5EF4-FFF2-40B4-BE49-F238E27FC236}">
                  <a16:creationId xmlns:a16="http://schemas.microsoft.com/office/drawing/2014/main" id="{A8513AA3-9C90-364E-5FB1-890E79437568}"/>
                </a:ext>
              </a:extLst>
            </p:cNvPr>
            <p:cNvSpPr/>
            <p:nvPr/>
          </p:nvSpPr>
          <p:spPr>
            <a:xfrm>
              <a:off x="8821343" y="4688195"/>
              <a:ext cx="1124" cy="4942"/>
            </a:xfrm>
            <a:custGeom>
              <a:avLst/>
              <a:gdLst/>
              <a:ahLst/>
              <a:cxnLst/>
              <a:rect l="l" t="t" r="r" b="b"/>
              <a:pathLst>
                <a:path w="133" h="585" extrusionOk="0">
                  <a:moveTo>
                    <a:pt x="106" y="160"/>
                  </a:moveTo>
                  <a:lnTo>
                    <a:pt x="106" y="160"/>
                  </a:lnTo>
                  <a:lnTo>
                    <a:pt x="0" y="585"/>
                  </a:lnTo>
                  <a:lnTo>
                    <a:pt x="0" y="585"/>
                  </a:lnTo>
                  <a:lnTo>
                    <a:pt x="106" y="160"/>
                  </a:lnTo>
                  <a:close/>
                  <a:moveTo>
                    <a:pt x="133" y="1"/>
                  </a:moveTo>
                  <a:lnTo>
                    <a:pt x="133" y="1"/>
                  </a:lnTo>
                  <a:lnTo>
                    <a:pt x="133" y="1"/>
                  </a:lnTo>
                  <a:lnTo>
                    <a:pt x="133" y="1"/>
                  </a:lnTo>
                  <a:lnTo>
                    <a:pt x="133" y="1"/>
                  </a:lnTo>
                  <a:lnTo>
                    <a:pt x="133" y="1"/>
                  </a:lnTo>
                  <a:lnTo>
                    <a:pt x="133" y="1"/>
                  </a:lnTo>
                  <a:close/>
                </a:path>
              </a:pathLst>
            </a:custGeom>
            <a:solidFill>
              <a:srgbClr val="A1A1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" name="Google Shape;1139;p57">
              <a:extLst>
                <a:ext uri="{FF2B5EF4-FFF2-40B4-BE49-F238E27FC236}">
                  <a16:creationId xmlns:a16="http://schemas.microsoft.com/office/drawing/2014/main" id="{F2C23C99-0C97-12C8-B374-CDBB0A1E17CE}"/>
                </a:ext>
              </a:extLst>
            </p:cNvPr>
            <p:cNvSpPr/>
            <p:nvPr/>
          </p:nvSpPr>
          <p:spPr>
            <a:xfrm>
              <a:off x="8821343" y="4689538"/>
              <a:ext cx="904" cy="3599"/>
            </a:xfrm>
            <a:custGeom>
              <a:avLst/>
              <a:gdLst/>
              <a:ahLst/>
              <a:cxnLst/>
              <a:rect l="l" t="t" r="r" b="b"/>
              <a:pathLst>
                <a:path w="107" h="426" fill="none" extrusionOk="0">
                  <a:moveTo>
                    <a:pt x="106" y="1"/>
                  </a:moveTo>
                  <a:lnTo>
                    <a:pt x="106" y="1"/>
                  </a:lnTo>
                  <a:lnTo>
                    <a:pt x="0" y="426"/>
                  </a:lnTo>
                  <a:lnTo>
                    <a:pt x="0" y="426"/>
                  </a:lnTo>
                  <a:lnTo>
                    <a:pt x="10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" name="Google Shape;1140;p57">
              <a:extLst>
                <a:ext uri="{FF2B5EF4-FFF2-40B4-BE49-F238E27FC236}">
                  <a16:creationId xmlns:a16="http://schemas.microsoft.com/office/drawing/2014/main" id="{D925324C-00D4-8E52-6AC3-9558C98B0AFE}"/>
                </a:ext>
              </a:extLst>
            </p:cNvPr>
            <p:cNvSpPr/>
            <p:nvPr/>
          </p:nvSpPr>
          <p:spPr>
            <a:xfrm>
              <a:off x="8822458" y="4688195"/>
              <a:ext cx="8" cy="8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" name="Google Shape;1141;p57">
              <a:extLst>
                <a:ext uri="{FF2B5EF4-FFF2-40B4-BE49-F238E27FC236}">
                  <a16:creationId xmlns:a16="http://schemas.microsoft.com/office/drawing/2014/main" id="{E1E17635-55B1-4240-37AC-FB994635E7D7}"/>
                </a:ext>
              </a:extLst>
            </p:cNvPr>
            <p:cNvSpPr/>
            <p:nvPr/>
          </p:nvSpPr>
          <p:spPr>
            <a:xfrm>
              <a:off x="8798476" y="4682366"/>
              <a:ext cx="94156" cy="95499"/>
            </a:xfrm>
            <a:custGeom>
              <a:avLst/>
              <a:gdLst/>
              <a:ahLst/>
              <a:cxnLst/>
              <a:rect l="l" t="t" r="r" b="b"/>
              <a:pathLst>
                <a:path w="11146" h="11305" extrusionOk="0">
                  <a:moveTo>
                    <a:pt x="3052" y="1"/>
                  </a:moveTo>
                  <a:lnTo>
                    <a:pt x="2840" y="691"/>
                  </a:lnTo>
                  <a:lnTo>
                    <a:pt x="2813" y="850"/>
                  </a:lnTo>
                  <a:lnTo>
                    <a:pt x="2707" y="1275"/>
                  </a:lnTo>
                  <a:lnTo>
                    <a:pt x="2097" y="3795"/>
                  </a:lnTo>
                  <a:lnTo>
                    <a:pt x="1434" y="6316"/>
                  </a:lnTo>
                  <a:lnTo>
                    <a:pt x="744" y="8810"/>
                  </a:lnTo>
                  <a:lnTo>
                    <a:pt x="1" y="11305"/>
                  </a:lnTo>
                  <a:lnTo>
                    <a:pt x="903" y="10641"/>
                  </a:lnTo>
                  <a:lnTo>
                    <a:pt x="2123" y="9712"/>
                  </a:lnTo>
                  <a:lnTo>
                    <a:pt x="3609" y="8571"/>
                  </a:lnTo>
                  <a:lnTo>
                    <a:pt x="4405" y="7908"/>
                  </a:lnTo>
                  <a:lnTo>
                    <a:pt x="5228" y="7218"/>
                  </a:lnTo>
                  <a:lnTo>
                    <a:pt x="6077" y="6449"/>
                  </a:lnTo>
                  <a:lnTo>
                    <a:pt x="6900" y="5679"/>
                  </a:lnTo>
                  <a:lnTo>
                    <a:pt x="7722" y="4830"/>
                  </a:lnTo>
                  <a:lnTo>
                    <a:pt x="8518" y="3981"/>
                  </a:lnTo>
                  <a:lnTo>
                    <a:pt x="9261" y="3079"/>
                  </a:lnTo>
                  <a:lnTo>
                    <a:pt x="9633" y="2601"/>
                  </a:lnTo>
                  <a:lnTo>
                    <a:pt x="9951" y="2150"/>
                  </a:lnTo>
                  <a:lnTo>
                    <a:pt x="10296" y="1673"/>
                  </a:lnTo>
                  <a:lnTo>
                    <a:pt x="10588" y="1168"/>
                  </a:lnTo>
                  <a:lnTo>
                    <a:pt x="10880" y="691"/>
                  </a:lnTo>
                  <a:lnTo>
                    <a:pt x="11145" y="187"/>
                  </a:lnTo>
                  <a:lnTo>
                    <a:pt x="10721" y="558"/>
                  </a:lnTo>
                  <a:lnTo>
                    <a:pt x="10243" y="877"/>
                  </a:lnTo>
                  <a:lnTo>
                    <a:pt x="9765" y="1168"/>
                  </a:lnTo>
                  <a:lnTo>
                    <a:pt x="9261" y="1381"/>
                  </a:lnTo>
                  <a:lnTo>
                    <a:pt x="8731" y="1540"/>
                  </a:lnTo>
                  <a:lnTo>
                    <a:pt x="8226" y="1673"/>
                  </a:lnTo>
                  <a:lnTo>
                    <a:pt x="7669" y="1726"/>
                  </a:lnTo>
                  <a:lnTo>
                    <a:pt x="7138" y="1752"/>
                  </a:lnTo>
                  <a:lnTo>
                    <a:pt x="6687" y="1752"/>
                  </a:lnTo>
                  <a:lnTo>
                    <a:pt x="6236" y="1699"/>
                  </a:lnTo>
                  <a:lnTo>
                    <a:pt x="5759" y="1619"/>
                  </a:lnTo>
                  <a:lnTo>
                    <a:pt x="5308" y="1487"/>
                  </a:lnTo>
                  <a:lnTo>
                    <a:pt x="4856" y="1354"/>
                  </a:lnTo>
                  <a:lnTo>
                    <a:pt x="4405" y="1195"/>
                  </a:lnTo>
                  <a:lnTo>
                    <a:pt x="3981" y="983"/>
                  </a:lnTo>
                  <a:lnTo>
                    <a:pt x="3556" y="744"/>
                  </a:lnTo>
                  <a:lnTo>
                    <a:pt x="3397" y="638"/>
                  </a:lnTo>
                  <a:lnTo>
                    <a:pt x="3264" y="452"/>
                  </a:lnTo>
                  <a:lnTo>
                    <a:pt x="3132" y="240"/>
                  </a:lnTo>
                  <a:lnTo>
                    <a:pt x="3052" y="1"/>
                  </a:lnTo>
                  <a:close/>
                </a:path>
              </a:pathLst>
            </a:custGeom>
            <a:solidFill>
              <a:srgbClr val="3C3C3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" name="Google Shape;1142;p57">
              <a:extLst>
                <a:ext uri="{FF2B5EF4-FFF2-40B4-BE49-F238E27FC236}">
                  <a16:creationId xmlns:a16="http://schemas.microsoft.com/office/drawing/2014/main" id="{FF2222BD-2FD3-03D4-27F0-207666D6AC46}"/>
                </a:ext>
              </a:extLst>
            </p:cNvPr>
            <p:cNvSpPr/>
            <p:nvPr/>
          </p:nvSpPr>
          <p:spPr>
            <a:xfrm>
              <a:off x="8798476" y="4682366"/>
              <a:ext cx="94156" cy="95499"/>
            </a:xfrm>
            <a:custGeom>
              <a:avLst/>
              <a:gdLst/>
              <a:ahLst/>
              <a:cxnLst/>
              <a:rect l="l" t="t" r="r" b="b"/>
              <a:pathLst>
                <a:path w="11146" h="11305" fill="none" extrusionOk="0">
                  <a:moveTo>
                    <a:pt x="3052" y="1"/>
                  </a:moveTo>
                  <a:lnTo>
                    <a:pt x="3052" y="1"/>
                  </a:lnTo>
                  <a:lnTo>
                    <a:pt x="2840" y="691"/>
                  </a:lnTo>
                  <a:lnTo>
                    <a:pt x="2840" y="691"/>
                  </a:lnTo>
                  <a:lnTo>
                    <a:pt x="2840" y="691"/>
                  </a:lnTo>
                  <a:lnTo>
                    <a:pt x="2840" y="691"/>
                  </a:lnTo>
                  <a:lnTo>
                    <a:pt x="2840" y="691"/>
                  </a:lnTo>
                  <a:lnTo>
                    <a:pt x="2840" y="691"/>
                  </a:lnTo>
                  <a:lnTo>
                    <a:pt x="2813" y="850"/>
                  </a:lnTo>
                  <a:lnTo>
                    <a:pt x="2813" y="850"/>
                  </a:lnTo>
                  <a:lnTo>
                    <a:pt x="2707" y="1275"/>
                  </a:lnTo>
                  <a:lnTo>
                    <a:pt x="2707" y="1275"/>
                  </a:lnTo>
                  <a:lnTo>
                    <a:pt x="2097" y="3795"/>
                  </a:lnTo>
                  <a:lnTo>
                    <a:pt x="1434" y="6316"/>
                  </a:lnTo>
                  <a:lnTo>
                    <a:pt x="744" y="8810"/>
                  </a:lnTo>
                  <a:lnTo>
                    <a:pt x="1" y="11305"/>
                  </a:lnTo>
                  <a:lnTo>
                    <a:pt x="1" y="11305"/>
                  </a:lnTo>
                  <a:lnTo>
                    <a:pt x="903" y="10641"/>
                  </a:lnTo>
                  <a:lnTo>
                    <a:pt x="2123" y="9712"/>
                  </a:lnTo>
                  <a:lnTo>
                    <a:pt x="3609" y="8571"/>
                  </a:lnTo>
                  <a:lnTo>
                    <a:pt x="4405" y="7908"/>
                  </a:lnTo>
                  <a:lnTo>
                    <a:pt x="5228" y="7218"/>
                  </a:lnTo>
                  <a:lnTo>
                    <a:pt x="6077" y="6449"/>
                  </a:lnTo>
                  <a:lnTo>
                    <a:pt x="6900" y="5679"/>
                  </a:lnTo>
                  <a:lnTo>
                    <a:pt x="7722" y="4830"/>
                  </a:lnTo>
                  <a:lnTo>
                    <a:pt x="8518" y="3981"/>
                  </a:lnTo>
                  <a:lnTo>
                    <a:pt x="9261" y="3079"/>
                  </a:lnTo>
                  <a:lnTo>
                    <a:pt x="9633" y="2601"/>
                  </a:lnTo>
                  <a:lnTo>
                    <a:pt x="9951" y="2150"/>
                  </a:lnTo>
                  <a:lnTo>
                    <a:pt x="10296" y="1673"/>
                  </a:lnTo>
                  <a:lnTo>
                    <a:pt x="10588" y="1168"/>
                  </a:lnTo>
                  <a:lnTo>
                    <a:pt x="10880" y="691"/>
                  </a:lnTo>
                  <a:lnTo>
                    <a:pt x="11145" y="187"/>
                  </a:lnTo>
                  <a:lnTo>
                    <a:pt x="11145" y="187"/>
                  </a:lnTo>
                  <a:lnTo>
                    <a:pt x="10721" y="558"/>
                  </a:lnTo>
                  <a:lnTo>
                    <a:pt x="10243" y="877"/>
                  </a:lnTo>
                  <a:lnTo>
                    <a:pt x="9765" y="1168"/>
                  </a:lnTo>
                  <a:lnTo>
                    <a:pt x="9261" y="1381"/>
                  </a:lnTo>
                  <a:lnTo>
                    <a:pt x="8731" y="1540"/>
                  </a:lnTo>
                  <a:lnTo>
                    <a:pt x="8226" y="1673"/>
                  </a:lnTo>
                  <a:lnTo>
                    <a:pt x="7669" y="1726"/>
                  </a:lnTo>
                  <a:lnTo>
                    <a:pt x="7138" y="1752"/>
                  </a:lnTo>
                  <a:lnTo>
                    <a:pt x="7138" y="1752"/>
                  </a:lnTo>
                  <a:lnTo>
                    <a:pt x="6687" y="1752"/>
                  </a:lnTo>
                  <a:lnTo>
                    <a:pt x="6236" y="1699"/>
                  </a:lnTo>
                  <a:lnTo>
                    <a:pt x="5759" y="1619"/>
                  </a:lnTo>
                  <a:lnTo>
                    <a:pt x="5308" y="1487"/>
                  </a:lnTo>
                  <a:lnTo>
                    <a:pt x="4856" y="1354"/>
                  </a:lnTo>
                  <a:lnTo>
                    <a:pt x="4405" y="1195"/>
                  </a:lnTo>
                  <a:lnTo>
                    <a:pt x="3981" y="983"/>
                  </a:lnTo>
                  <a:lnTo>
                    <a:pt x="3556" y="744"/>
                  </a:lnTo>
                  <a:lnTo>
                    <a:pt x="3556" y="744"/>
                  </a:lnTo>
                  <a:lnTo>
                    <a:pt x="3397" y="638"/>
                  </a:lnTo>
                  <a:lnTo>
                    <a:pt x="3264" y="452"/>
                  </a:lnTo>
                  <a:lnTo>
                    <a:pt x="3132" y="240"/>
                  </a:lnTo>
                  <a:lnTo>
                    <a:pt x="305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" name="Google Shape;1143;p57">
              <a:extLst>
                <a:ext uri="{FF2B5EF4-FFF2-40B4-BE49-F238E27FC236}">
                  <a16:creationId xmlns:a16="http://schemas.microsoft.com/office/drawing/2014/main" id="{8857094A-6E06-7B84-C9B3-D08F1B76B681}"/>
                </a:ext>
              </a:extLst>
            </p:cNvPr>
            <p:cNvSpPr/>
            <p:nvPr/>
          </p:nvSpPr>
          <p:spPr>
            <a:xfrm>
              <a:off x="8939245" y="4769561"/>
              <a:ext cx="83613" cy="42373"/>
            </a:xfrm>
            <a:custGeom>
              <a:avLst/>
              <a:gdLst/>
              <a:ahLst/>
              <a:cxnLst/>
              <a:rect l="l" t="t" r="r" b="b"/>
              <a:pathLst>
                <a:path w="9898" h="5016" extrusionOk="0">
                  <a:moveTo>
                    <a:pt x="0" y="1"/>
                  </a:moveTo>
                  <a:lnTo>
                    <a:pt x="9898" y="5016"/>
                  </a:lnTo>
                  <a:lnTo>
                    <a:pt x="7828" y="392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A8A9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" name="Google Shape;1144;p57">
              <a:extLst>
                <a:ext uri="{FF2B5EF4-FFF2-40B4-BE49-F238E27FC236}">
                  <a16:creationId xmlns:a16="http://schemas.microsoft.com/office/drawing/2014/main" id="{3131BC1D-F623-803B-88A0-C1592E0A9991}"/>
                </a:ext>
              </a:extLst>
            </p:cNvPr>
            <p:cNvSpPr/>
            <p:nvPr/>
          </p:nvSpPr>
          <p:spPr>
            <a:xfrm>
              <a:off x="8939245" y="4769561"/>
              <a:ext cx="83613" cy="42373"/>
            </a:xfrm>
            <a:custGeom>
              <a:avLst/>
              <a:gdLst/>
              <a:ahLst/>
              <a:cxnLst/>
              <a:rect l="l" t="t" r="r" b="b"/>
              <a:pathLst>
                <a:path w="9898" h="5016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9898" y="5016"/>
                  </a:lnTo>
                  <a:lnTo>
                    <a:pt x="9898" y="5016"/>
                  </a:lnTo>
                  <a:lnTo>
                    <a:pt x="7828" y="3928"/>
                  </a:lnTo>
                  <a:lnTo>
                    <a:pt x="7828" y="3928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" name="Google Shape;1145;p57">
              <a:extLst>
                <a:ext uri="{FF2B5EF4-FFF2-40B4-BE49-F238E27FC236}">
                  <a16:creationId xmlns:a16="http://schemas.microsoft.com/office/drawing/2014/main" id="{3FBF48DD-9F82-CB87-3A3B-EF55BAF15EFE}"/>
                </a:ext>
              </a:extLst>
            </p:cNvPr>
            <p:cNvSpPr/>
            <p:nvPr/>
          </p:nvSpPr>
          <p:spPr>
            <a:xfrm>
              <a:off x="8937674" y="4748941"/>
              <a:ext cx="85860" cy="63221"/>
            </a:xfrm>
            <a:custGeom>
              <a:avLst/>
              <a:gdLst/>
              <a:ahLst/>
              <a:cxnLst/>
              <a:rect l="l" t="t" r="r" b="b"/>
              <a:pathLst>
                <a:path w="10164" h="7484" extrusionOk="0">
                  <a:moveTo>
                    <a:pt x="1142" y="1"/>
                  </a:moveTo>
                  <a:lnTo>
                    <a:pt x="797" y="690"/>
                  </a:lnTo>
                  <a:lnTo>
                    <a:pt x="1" y="2362"/>
                  </a:lnTo>
                  <a:lnTo>
                    <a:pt x="186" y="2442"/>
                  </a:lnTo>
                  <a:lnTo>
                    <a:pt x="8014" y="6369"/>
                  </a:lnTo>
                  <a:lnTo>
                    <a:pt x="10084" y="7457"/>
                  </a:lnTo>
                  <a:lnTo>
                    <a:pt x="10163" y="7483"/>
                  </a:lnTo>
                  <a:lnTo>
                    <a:pt x="10163" y="7483"/>
                  </a:lnTo>
                  <a:lnTo>
                    <a:pt x="9712" y="6900"/>
                  </a:lnTo>
                  <a:lnTo>
                    <a:pt x="9155" y="6316"/>
                  </a:lnTo>
                  <a:lnTo>
                    <a:pt x="8545" y="5679"/>
                  </a:lnTo>
                  <a:lnTo>
                    <a:pt x="7855" y="5069"/>
                  </a:lnTo>
                  <a:lnTo>
                    <a:pt x="7138" y="4432"/>
                  </a:lnTo>
                  <a:lnTo>
                    <a:pt x="6369" y="3795"/>
                  </a:lnTo>
                  <a:lnTo>
                    <a:pt x="5599" y="3211"/>
                  </a:lnTo>
                  <a:lnTo>
                    <a:pt x="4856" y="2627"/>
                  </a:lnTo>
                  <a:lnTo>
                    <a:pt x="3450" y="1593"/>
                  </a:lnTo>
                  <a:lnTo>
                    <a:pt x="2256" y="744"/>
                  </a:lnTo>
                  <a:lnTo>
                    <a:pt x="1142" y="1"/>
                  </a:lnTo>
                  <a:close/>
                </a:path>
              </a:pathLst>
            </a:custGeom>
            <a:solidFill>
              <a:srgbClr val="3C3C3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" name="Google Shape;1146;p57">
              <a:extLst>
                <a:ext uri="{FF2B5EF4-FFF2-40B4-BE49-F238E27FC236}">
                  <a16:creationId xmlns:a16="http://schemas.microsoft.com/office/drawing/2014/main" id="{449A62D6-1A8E-491C-0D17-57E934E14C65}"/>
                </a:ext>
              </a:extLst>
            </p:cNvPr>
            <p:cNvSpPr/>
            <p:nvPr/>
          </p:nvSpPr>
          <p:spPr>
            <a:xfrm>
              <a:off x="8937674" y="4748941"/>
              <a:ext cx="85860" cy="63221"/>
            </a:xfrm>
            <a:custGeom>
              <a:avLst/>
              <a:gdLst/>
              <a:ahLst/>
              <a:cxnLst/>
              <a:rect l="l" t="t" r="r" b="b"/>
              <a:pathLst>
                <a:path w="10164" h="7484" fill="none" extrusionOk="0">
                  <a:moveTo>
                    <a:pt x="1142" y="1"/>
                  </a:moveTo>
                  <a:lnTo>
                    <a:pt x="1142" y="1"/>
                  </a:lnTo>
                  <a:lnTo>
                    <a:pt x="797" y="690"/>
                  </a:lnTo>
                  <a:lnTo>
                    <a:pt x="1" y="2362"/>
                  </a:lnTo>
                  <a:lnTo>
                    <a:pt x="1" y="2362"/>
                  </a:lnTo>
                  <a:lnTo>
                    <a:pt x="186" y="2442"/>
                  </a:lnTo>
                  <a:lnTo>
                    <a:pt x="186" y="2442"/>
                  </a:lnTo>
                  <a:lnTo>
                    <a:pt x="8014" y="6369"/>
                  </a:lnTo>
                  <a:lnTo>
                    <a:pt x="8014" y="6369"/>
                  </a:lnTo>
                  <a:lnTo>
                    <a:pt x="10084" y="7457"/>
                  </a:lnTo>
                  <a:lnTo>
                    <a:pt x="10084" y="7457"/>
                  </a:lnTo>
                  <a:lnTo>
                    <a:pt x="10163" y="7483"/>
                  </a:lnTo>
                  <a:lnTo>
                    <a:pt x="10163" y="7483"/>
                  </a:lnTo>
                  <a:lnTo>
                    <a:pt x="9712" y="6900"/>
                  </a:lnTo>
                  <a:lnTo>
                    <a:pt x="9155" y="6316"/>
                  </a:lnTo>
                  <a:lnTo>
                    <a:pt x="8545" y="5679"/>
                  </a:lnTo>
                  <a:lnTo>
                    <a:pt x="7855" y="5069"/>
                  </a:lnTo>
                  <a:lnTo>
                    <a:pt x="7138" y="4432"/>
                  </a:lnTo>
                  <a:lnTo>
                    <a:pt x="6369" y="3795"/>
                  </a:lnTo>
                  <a:lnTo>
                    <a:pt x="5599" y="3211"/>
                  </a:lnTo>
                  <a:lnTo>
                    <a:pt x="4856" y="2627"/>
                  </a:lnTo>
                  <a:lnTo>
                    <a:pt x="3450" y="1593"/>
                  </a:lnTo>
                  <a:lnTo>
                    <a:pt x="2256" y="744"/>
                  </a:lnTo>
                  <a:lnTo>
                    <a:pt x="114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" name="Google Shape;1147;p57">
              <a:extLst>
                <a:ext uri="{FF2B5EF4-FFF2-40B4-BE49-F238E27FC236}">
                  <a16:creationId xmlns:a16="http://schemas.microsoft.com/office/drawing/2014/main" id="{2D1E5B5B-D7DD-E242-70B3-B1AEEAAF17F3}"/>
                </a:ext>
              </a:extLst>
            </p:cNvPr>
            <p:cNvSpPr/>
            <p:nvPr/>
          </p:nvSpPr>
          <p:spPr>
            <a:xfrm>
              <a:off x="9036974" y="4045112"/>
              <a:ext cx="61650" cy="87204"/>
            </a:xfrm>
            <a:custGeom>
              <a:avLst/>
              <a:gdLst/>
              <a:ahLst/>
              <a:cxnLst/>
              <a:rect l="l" t="t" r="r" b="b"/>
              <a:pathLst>
                <a:path w="7298" h="10323" extrusionOk="0">
                  <a:moveTo>
                    <a:pt x="2601" y="1"/>
                  </a:moveTo>
                  <a:lnTo>
                    <a:pt x="2282" y="27"/>
                  </a:lnTo>
                  <a:lnTo>
                    <a:pt x="1990" y="80"/>
                  </a:lnTo>
                  <a:lnTo>
                    <a:pt x="1725" y="160"/>
                  </a:lnTo>
                  <a:lnTo>
                    <a:pt x="1513" y="266"/>
                  </a:lnTo>
                  <a:lnTo>
                    <a:pt x="1327" y="399"/>
                  </a:lnTo>
                  <a:lnTo>
                    <a:pt x="1274" y="478"/>
                  </a:lnTo>
                  <a:lnTo>
                    <a:pt x="1221" y="584"/>
                  </a:lnTo>
                  <a:lnTo>
                    <a:pt x="1194" y="690"/>
                  </a:lnTo>
                  <a:lnTo>
                    <a:pt x="1168" y="797"/>
                  </a:lnTo>
                  <a:lnTo>
                    <a:pt x="1168" y="903"/>
                  </a:lnTo>
                  <a:lnTo>
                    <a:pt x="1194" y="1035"/>
                  </a:lnTo>
                  <a:lnTo>
                    <a:pt x="1327" y="1566"/>
                  </a:lnTo>
                  <a:lnTo>
                    <a:pt x="1380" y="1991"/>
                  </a:lnTo>
                  <a:lnTo>
                    <a:pt x="1380" y="2282"/>
                  </a:lnTo>
                  <a:lnTo>
                    <a:pt x="1327" y="2521"/>
                  </a:lnTo>
                  <a:lnTo>
                    <a:pt x="1301" y="2601"/>
                  </a:lnTo>
                  <a:lnTo>
                    <a:pt x="1248" y="2654"/>
                  </a:lnTo>
                  <a:lnTo>
                    <a:pt x="1194" y="2707"/>
                  </a:lnTo>
                  <a:lnTo>
                    <a:pt x="1141" y="2734"/>
                  </a:lnTo>
                  <a:lnTo>
                    <a:pt x="1009" y="2760"/>
                  </a:lnTo>
                  <a:lnTo>
                    <a:pt x="849" y="2760"/>
                  </a:lnTo>
                  <a:lnTo>
                    <a:pt x="531" y="2681"/>
                  </a:lnTo>
                  <a:lnTo>
                    <a:pt x="372" y="2654"/>
                  </a:lnTo>
                  <a:lnTo>
                    <a:pt x="239" y="2627"/>
                  </a:lnTo>
                  <a:lnTo>
                    <a:pt x="107" y="2627"/>
                  </a:lnTo>
                  <a:lnTo>
                    <a:pt x="80" y="2654"/>
                  </a:lnTo>
                  <a:lnTo>
                    <a:pt x="27" y="2681"/>
                  </a:lnTo>
                  <a:lnTo>
                    <a:pt x="0" y="2734"/>
                  </a:lnTo>
                  <a:lnTo>
                    <a:pt x="0" y="2787"/>
                  </a:lnTo>
                  <a:lnTo>
                    <a:pt x="0" y="2972"/>
                  </a:lnTo>
                  <a:lnTo>
                    <a:pt x="53" y="3105"/>
                  </a:lnTo>
                  <a:lnTo>
                    <a:pt x="107" y="3264"/>
                  </a:lnTo>
                  <a:lnTo>
                    <a:pt x="239" y="3583"/>
                  </a:lnTo>
                  <a:lnTo>
                    <a:pt x="478" y="3928"/>
                  </a:lnTo>
                  <a:lnTo>
                    <a:pt x="717" y="4299"/>
                  </a:lnTo>
                  <a:lnTo>
                    <a:pt x="1088" y="4724"/>
                  </a:lnTo>
                  <a:lnTo>
                    <a:pt x="1486" y="5175"/>
                  </a:lnTo>
                  <a:lnTo>
                    <a:pt x="2256" y="6050"/>
                  </a:lnTo>
                  <a:lnTo>
                    <a:pt x="2362" y="6263"/>
                  </a:lnTo>
                  <a:lnTo>
                    <a:pt x="2521" y="6581"/>
                  </a:lnTo>
                  <a:lnTo>
                    <a:pt x="2787" y="7244"/>
                  </a:lnTo>
                  <a:lnTo>
                    <a:pt x="2866" y="7457"/>
                  </a:lnTo>
                  <a:lnTo>
                    <a:pt x="2866" y="7483"/>
                  </a:lnTo>
                  <a:lnTo>
                    <a:pt x="2893" y="7457"/>
                  </a:lnTo>
                  <a:lnTo>
                    <a:pt x="2654" y="6608"/>
                  </a:lnTo>
                  <a:lnTo>
                    <a:pt x="2654" y="6581"/>
                  </a:lnTo>
                  <a:lnTo>
                    <a:pt x="2707" y="6740"/>
                  </a:lnTo>
                  <a:lnTo>
                    <a:pt x="2840" y="7165"/>
                  </a:lnTo>
                  <a:lnTo>
                    <a:pt x="3185" y="8518"/>
                  </a:lnTo>
                  <a:lnTo>
                    <a:pt x="3476" y="9845"/>
                  </a:lnTo>
                  <a:lnTo>
                    <a:pt x="3556" y="10216"/>
                  </a:lnTo>
                  <a:lnTo>
                    <a:pt x="3556" y="10190"/>
                  </a:lnTo>
                  <a:lnTo>
                    <a:pt x="3556" y="10137"/>
                  </a:lnTo>
                  <a:lnTo>
                    <a:pt x="3583" y="10137"/>
                  </a:lnTo>
                  <a:lnTo>
                    <a:pt x="3662" y="10216"/>
                  </a:lnTo>
                  <a:lnTo>
                    <a:pt x="3715" y="10243"/>
                  </a:lnTo>
                  <a:lnTo>
                    <a:pt x="3768" y="10296"/>
                  </a:lnTo>
                  <a:lnTo>
                    <a:pt x="3927" y="10322"/>
                  </a:lnTo>
                  <a:lnTo>
                    <a:pt x="4140" y="10322"/>
                  </a:lnTo>
                  <a:lnTo>
                    <a:pt x="4379" y="10296"/>
                  </a:lnTo>
                  <a:lnTo>
                    <a:pt x="4670" y="10243"/>
                  </a:lnTo>
                  <a:lnTo>
                    <a:pt x="4989" y="10163"/>
                  </a:lnTo>
                  <a:lnTo>
                    <a:pt x="5626" y="9977"/>
                  </a:lnTo>
                  <a:lnTo>
                    <a:pt x="6236" y="9765"/>
                  </a:lnTo>
                  <a:lnTo>
                    <a:pt x="6793" y="9553"/>
                  </a:lnTo>
                  <a:lnTo>
                    <a:pt x="7297" y="9341"/>
                  </a:lnTo>
                  <a:lnTo>
                    <a:pt x="6952" y="8040"/>
                  </a:lnTo>
                  <a:lnTo>
                    <a:pt x="6767" y="7377"/>
                  </a:lnTo>
                  <a:lnTo>
                    <a:pt x="6501" y="6634"/>
                  </a:lnTo>
                  <a:lnTo>
                    <a:pt x="6289" y="6130"/>
                  </a:lnTo>
                  <a:lnTo>
                    <a:pt x="6077" y="5626"/>
                  </a:lnTo>
                  <a:lnTo>
                    <a:pt x="5997" y="5414"/>
                  </a:lnTo>
                  <a:lnTo>
                    <a:pt x="5944" y="5175"/>
                  </a:lnTo>
                  <a:lnTo>
                    <a:pt x="5918" y="4962"/>
                  </a:lnTo>
                  <a:lnTo>
                    <a:pt x="5918" y="4750"/>
                  </a:lnTo>
                  <a:lnTo>
                    <a:pt x="5891" y="4352"/>
                  </a:lnTo>
                  <a:lnTo>
                    <a:pt x="5891" y="4140"/>
                  </a:lnTo>
                  <a:lnTo>
                    <a:pt x="5865" y="3928"/>
                  </a:lnTo>
                  <a:lnTo>
                    <a:pt x="5785" y="3556"/>
                  </a:lnTo>
                  <a:lnTo>
                    <a:pt x="5732" y="3079"/>
                  </a:lnTo>
                  <a:lnTo>
                    <a:pt x="5705" y="2601"/>
                  </a:lnTo>
                  <a:lnTo>
                    <a:pt x="5705" y="2176"/>
                  </a:lnTo>
                  <a:lnTo>
                    <a:pt x="5705" y="1805"/>
                  </a:lnTo>
                  <a:lnTo>
                    <a:pt x="5652" y="1486"/>
                  </a:lnTo>
                  <a:lnTo>
                    <a:pt x="5573" y="1221"/>
                  </a:lnTo>
                  <a:lnTo>
                    <a:pt x="5440" y="982"/>
                  </a:lnTo>
                  <a:lnTo>
                    <a:pt x="5307" y="797"/>
                  </a:lnTo>
                  <a:lnTo>
                    <a:pt x="5148" y="637"/>
                  </a:lnTo>
                  <a:lnTo>
                    <a:pt x="4989" y="505"/>
                  </a:lnTo>
                  <a:lnTo>
                    <a:pt x="4856" y="399"/>
                  </a:lnTo>
                  <a:lnTo>
                    <a:pt x="4697" y="319"/>
                  </a:lnTo>
                  <a:lnTo>
                    <a:pt x="4485" y="239"/>
                  </a:lnTo>
                  <a:lnTo>
                    <a:pt x="4219" y="160"/>
                  </a:lnTo>
                  <a:lnTo>
                    <a:pt x="3927" y="107"/>
                  </a:lnTo>
                  <a:lnTo>
                    <a:pt x="3609" y="54"/>
                  </a:lnTo>
                  <a:lnTo>
                    <a:pt x="3264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" name="Google Shape;1148;p57">
              <a:extLst>
                <a:ext uri="{FF2B5EF4-FFF2-40B4-BE49-F238E27FC236}">
                  <a16:creationId xmlns:a16="http://schemas.microsoft.com/office/drawing/2014/main" id="{47027EE1-D434-E523-0DBA-9066DF977F72}"/>
                </a:ext>
              </a:extLst>
            </p:cNvPr>
            <p:cNvSpPr/>
            <p:nvPr/>
          </p:nvSpPr>
          <p:spPr>
            <a:xfrm>
              <a:off x="8901138" y="4267695"/>
              <a:ext cx="66135" cy="109843"/>
            </a:xfrm>
            <a:custGeom>
              <a:avLst/>
              <a:gdLst/>
              <a:ahLst/>
              <a:cxnLst/>
              <a:rect l="l" t="t" r="r" b="b"/>
              <a:pathLst>
                <a:path w="7829" h="13003" extrusionOk="0">
                  <a:moveTo>
                    <a:pt x="3583" y="0"/>
                  </a:moveTo>
                  <a:lnTo>
                    <a:pt x="3238" y="345"/>
                  </a:lnTo>
                  <a:lnTo>
                    <a:pt x="2919" y="717"/>
                  </a:lnTo>
                  <a:lnTo>
                    <a:pt x="2521" y="1221"/>
                  </a:lnTo>
                  <a:lnTo>
                    <a:pt x="2309" y="1513"/>
                  </a:lnTo>
                  <a:lnTo>
                    <a:pt x="2123" y="1831"/>
                  </a:lnTo>
                  <a:lnTo>
                    <a:pt x="1937" y="2149"/>
                  </a:lnTo>
                  <a:lnTo>
                    <a:pt x="1778" y="2494"/>
                  </a:lnTo>
                  <a:lnTo>
                    <a:pt x="1619" y="2839"/>
                  </a:lnTo>
                  <a:lnTo>
                    <a:pt x="1513" y="3184"/>
                  </a:lnTo>
                  <a:lnTo>
                    <a:pt x="1433" y="3556"/>
                  </a:lnTo>
                  <a:lnTo>
                    <a:pt x="1380" y="3927"/>
                  </a:lnTo>
                  <a:lnTo>
                    <a:pt x="1354" y="4272"/>
                  </a:lnTo>
                  <a:lnTo>
                    <a:pt x="1274" y="4697"/>
                  </a:lnTo>
                  <a:lnTo>
                    <a:pt x="1088" y="5652"/>
                  </a:lnTo>
                  <a:lnTo>
                    <a:pt x="558" y="7854"/>
                  </a:lnTo>
                  <a:lnTo>
                    <a:pt x="292" y="8995"/>
                  </a:lnTo>
                  <a:lnTo>
                    <a:pt x="186" y="9553"/>
                  </a:lnTo>
                  <a:lnTo>
                    <a:pt x="107" y="10110"/>
                  </a:lnTo>
                  <a:lnTo>
                    <a:pt x="27" y="10614"/>
                  </a:lnTo>
                  <a:lnTo>
                    <a:pt x="0" y="11092"/>
                  </a:lnTo>
                  <a:lnTo>
                    <a:pt x="0" y="11543"/>
                  </a:lnTo>
                  <a:lnTo>
                    <a:pt x="27" y="11914"/>
                  </a:lnTo>
                  <a:lnTo>
                    <a:pt x="4326" y="12737"/>
                  </a:lnTo>
                  <a:lnTo>
                    <a:pt x="4989" y="12816"/>
                  </a:lnTo>
                  <a:lnTo>
                    <a:pt x="5626" y="12896"/>
                  </a:lnTo>
                  <a:lnTo>
                    <a:pt x="6342" y="12976"/>
                  </a:lnTo>
                  <a:lnTo>
                    <a:pt x="7006" y="13002"/>
                  </a:lnTo>
                  <a:lnTo>
                    <a:pt x="7297" y="12976"/>
                  </a:lnTo>
                  <a:lnTo>
                    <a:pt x="7536" y="12949"/>
                  </a:lnTo>
                  <a:lnTo>
                    <a:pt x="7722" y="12869"/>
                  </a:lnTo>
                  <a:lnTo>
                    <a:pt x="7775" y="12843"/>
                  </a:lnTo>
                  <a:lnTo>
                    <a:pt x="7802" y="12790"/>
                  </a:lnTo>
                  <a:lnTo>
                    <a:pt x="7828" y="12737"/>
                  </a:lnTo>
                  <a:lnTo>
                    <a:pt x="7828" y="12657"/>
                  </a:lnTo>
                  <a:lnTo>
                    <a:pt x="7802" y="12604"/>
                  </a:lnTo>
                  <a:lnTo>
                    <a:pt x="7722" y="12498"/>
                  </a:lnTo>
                  <a:lnTo>
                    <a:pt x="7165" y="11861"/>
                  </a:lnTo>
                  <a:lnTo>
                    <a:pt x="6953" y="11622"/>
                  </a:lnTo>
                  <a:lnTo>
                    <a:pt x="6846" y="11437"/>
                  </a:lnTo>
                  <a:lnTo>
                    <a:pt x="6634" y="11039"/>
                  </a:lnTo>
                  <a:lnTo>
                    <a:pt x="6528" y="10826"/>
                  </a:lnTo>
                  <a:lnTo>
                    <a:pt x="6448" y="10561"/>
                  </a:lnTo>
                  <a:lnTo>
                    <a:pt x="6263" y="9951"/>
                  </a:lnTo>
                  <a:lnTo>
                    <a:pt x="6103" y="9261"/>
                  </a:lnTo>
                  <a:lnTo>
                    <a:pt x="5944" y="8491"/>
                  </a:lnTo>
                  <a:lnTo>
                    <a:pt x="5785" y="7403"/>
                  </a:lnTo>
                  <a:lnTo>
                    <a:pt x="5652" y="6342"/>
                  </a:lnTo>
                  <a:lnTo>
                    <a:pt x="5467" y="4723"/>
                  </a:lnTo>
                  <a:lnTo>
                    <a:pt x="5414" y="4219"/>
                  </a:lnTo>
                  <a:lnTo>
                    <a:pt x="5467" y="3874"/>
                  </a:lnTo>
                  <a:lnTo>
                    <a:pt x="3583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" name="Google Shape;1149;p57">
              <a:extLst>
                <a:ext uri="{FF2B5EF4-FFF2-40B4-BE49-F238E27FC236}">
                  <a16:creationId xmlns:a16="http://schemas.microsoft.com/office/drawing/2014/main" id="{AE2AE8FD-E827-364A-389B-5A3F1ED4B786}"/>
                </a:ext>
              </a:extLst>
            </p:cNvPr>
            <p:cNvSpPr/>
            <p:nvPr/>
          </p:nvSpPr>
          <p:spPr>
            <a:xfrm>
              <a:off x="8901138" y="4267695"/>
              <a:ext cx="66135" cy="109843"/>
            </a:xfrm>
            <a:custGeom>
              <a:avLst/>
              <a:gdLst/>
              <a:ahLst/>
              <a:cxnLst/>
              <a:rect l="l" t="t" r="r" b="b"/>
              <a:pathLst>
                <a:path w="7829" h="13003" fill="none" extrusionOk="0">
                  <a:moveTo>
                    <a:pt x="1380" y="3927"/>
                  </a:moveTo>
                  <a:lnTo>
                    <a:pt x="1380" y="3927"/>
                  </a:lnTo>
                  <a:lnTo>
                    <a:pt x="1354" y="4272"/>
                  </a:lnTo>
                  <a:lnTo>
                    <a:pt x="1274" y="4697"/>
                  </a:lnTo>
                  <a:lnTo>
                    <a:pt x="1088" y="5652"/>
                  </a:lnTo>
                  <a:lnTo>
                    <a:pt x="558" y="7854"/>
                  </a:lnTo>
                  <a:lnTo>
                    <a:pt x="292" y="8995"/>
                  </a:lnTo>
                  <a:lnTo>
                    <a:pt x="186" y="9553"/>
                  </a:lnTo>
                  <a:lnTo>
                    <a:pt x="107" y="10110"/>
                  </a:lnTo>
                  <a:lnTo>
                    <a:pt x="27" y="10614"/>
                  </a:lnTo>
                  <a:lnTo>
                    <a:pt x="0" y="11092"/>
                  </a:lnTo>
                  <a:lnTo>
                    <a:pt x="0" y="11543"/>
                  </a:lnTo>
                  <a:lnTo>
                    <a:pt x="27" y="11914"/>
                  </a:lnTo>
                  <a:lnTo>
                    <a:pt x="4326" y="12737"/>
                  </a:lnTo>
                  <a:lnTo>
                    <a:pt x="4326" y="12737"/>
                  </a:lnTo>
                  <a:lnTo>
                    <a:pt x="4989" y="12816"/>
                  </a:lnTo>
                  <a:lnTo>
                    <a:pt x="5626" y="12896"/>
                  </a:lnTo>
                  <a:lnTo>
                    <a:pt x="6342" y="12976"/>
                  </a:lnTo>
                  <a:lnTo>
                    <a:pt x="7006" y="13002"/>
                  </a:lnTo>
                  <a:lnTo>
                    <a:pt x="7297" y="12976"/>
                  </a:lnTo>
                  <a:lnTo>
                    <a:pt x="7536" y="12949"/>
                  </a:lnTo>
                  <a:lnTo>
                    <a:pt x="7722" y="12869"/>
                  </a:lnTo>
                  <a:lnTo>
                    <a:pt x="7775" y="12843"/>
                  </a:lnTo>
                  <a:lnTo>
                    <a:pt x="7802" y="12790"/>
                  </a:lnTo>
                  <a:lnTo>
                    <a:pt x="7828" y="12737"/>
                  </a:lnTo>
                  <a:lnTo>
                    <a:pt x="7828" y="12657"/>
                  </a:lnTo>
                  <a:lnTo>
                    <a:pt x="7802" y="12604"/>
                  </a:lnTo>
                  <a:lnTo>
                    <a:pt x="7722" y="12498"/>
                  </a:lnTo>
                  <a:lnTo>
                    <a:pt x="7722" y="12498"/>
                  </a:lnTo>
                  <a:lnTo>
                    <a:pt x="7165" y="11861"/>
                  </a:lnTo>
                  <a:lnTo>
                    <a:pt x="6953" y="11622"/>
                  </a:lnTo>
                  <a:lnTo>
                    <a:pt x="6846" y="11437"/>
                  </a:lnTo>
                  <a:lnTo>
                    <a:pt x="6634" y="11039"/>
                  </a:lnTo>
                  <a:lnTo>
                    <a:pt x="6634" y="11039"/>
                  </a:lnTo>
                  <a:lnTo>
                    <a:pt x="6528" y="10826"/>
                  </a:lnTo>
                  <a:lnTo>
                    <a:pt x="6448" y="10561"/>
                  </a:lnTo>
                  <a:lnTo>
                    <a:pt x="6263" y="9951"/>
                  </a:lnTo>
                  <a:lnTo>
                    <a:pt x="6103" y="9261"/>
                  </a:lnTo>
                  <a:lnTo>
                    <a:pt x="5944" y="8491"/>
                  </a:lnTo>
                  <a:lnTo>
                    <a:pt x="5944" y="8491"/>
                  </a:lnTo>
                  <a:lnTo>
                    <a:pt x="5785" y="7403"/>
                  </a:lnTo>
                  <a:lnTo>
                    <a:pt x="5652" y="6342"/>
                  </a:lnTo>
                  <a:lnTo>
                    <a:pt x="5467" y="4723"/>
                  </a:lnTo>
                  <a:lnTo>
                    <a:pt x="5467" y="4723"/>
                  </a:lnTo>
                  <a:lnTo>
                    <a:pt x="5414" y="4219"/>
                  </a:lnTo>
                  <a:lnTo>
                    <a:pt x="5467" y="3874"/>
                  </a:lnTo>
                  <a:lnTo>
                    <a:pt x="3583" y="0"/>
                  </a:lnTo>
                  <a:lnTo>
                    <a:pt x="3583" y="0"/>
                  </a:lnTo>
                  <a:lnTo>
                    <a:pt x="3238" y="345"/>
                  </a:lnTo>
                  <a:lnTo>
                    <a:pt x="2919" y="717"/>
                  </a:lnTo>
                  <a:lnTo>
                    <a:pt x="2521" y="1221"/>
                  </a:lnTo>
                  <a:lnTo>
                    <a:pt x="2309" y="1513"/>
                  </a:lnTo>
                  <a:lnTo>
                    <a:pt x="2123" y="1831"/>
                  </a:lnTo>
                  <a:lnTo>
                    <a:pt x="1937" y="2149"/>
                  </a:lnTo>
                  <a:lnTo>
                    <a:pt x="1778" y="2494"/>
                  </a:lnTo>
                  <a:lnTo>
                    <a:pt x="1619" y="2839"/>
                  </a:lnTo>
                  <a:lnTo>
                    <a:pt x="1513" y="3184"/>
                  </a:lnTo>
                  <a:lnTo>
                    <a:pt x="1433" y="3556"/>
                  </a:lnTo>
                  <a:lnTo>
                    <a:pt x="1380" y="392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" name="Google Shape;1150;p57">
              <a:extLst>
                <a:ext uri="{FF2B5EF4-FFF2-40B4-BE49-F238E27FC236}">
                  <a16:creationId xmlns:a16="http://schemas.microsoft.com/office/drawing/2014/main" id="{7039B9EB-E430-6460-82F3-0295AABB2761}"/>
                </a:ext>
              </a:extLst>
            </p:cNvPr>
            <p:cNvSpPr/>
            <p:nvPr/>
          </p:nvSpPr>
          <p:spPr>
            <a:xfrm>
              <a:off x="8923550" y="4304002"/>
              <a:ext cx="27809" cy="36544"/>
            </a:xfrm>
            <a:custGeom>
              <a:avLst/>
              <a:gdLst/>
              <a:ahLst/>
              <a:cxnLst/>
              <a:rect l="l" t="t" r="r" b="b"/>
              <a:pathLst>
                <a:path w="3292" h="4326" extrusionOk="0">
                  <a:moveTo>
                    <a:pt x="1062" y="1"/>
                  </a:moveTo>
                  <a:lnTo>
                    <a:pt x="691" y="54"/>
                  </a:lnTo>
                  <a:lnTo>
                    <a:pt x="505" y="107"/>
                  </a:lnTo>
                  <a:lnTo>
                    <a:pt x="346" y="187"/>
                  </a:lnTo>
                  <a:lnTo>
                    <a:pt x="213" y="266"/>
                  </a:lnTo>
                  <a:lnTo>
                    <a:pt x="107" y="372"/>
                  </a:lnTo>
                  <a:lnTo>
                    <a:pt x="27" y="531"/>
                  </a:lnTo>
                  <a:lnTo>
                    <a:pt x="1" y="744"/>
                  </a:lnTo>
                  <a:lnTo>
                    <a:pt x="1" y="1009"/>
                  </a:lnTo>
                  <a:lnTo>
                    <a:pt x="27" y="1301"/>
                  </a:lnTo>
                  <a:lnTo>
                    <a:pt x="107" y="1593"/>
                  </a:lnTo>
                  <a:lnTo>
                    <a:pt x="213" y="1938"/>
                  </a:lnTo>
                  <a:lnTo>
                    <a:pt x="346" y="2283"/>
                  </a:lnTo>
                  <a:lnTo>
                    <a:pt x="505" y="2601"/>
                  </a:lnTo>
                  <a:lnTo>
                    <a:pt x="691" y="2946"/>
                  </a:lnTo>
                  <a:lnTo>
                    <a:pt x="903" y="3265"/>
                  </a:lnTo>
                  <a:lnTo>
                    <a:pt x="1115" y="3556"/>
                  </a:lnTo>
                  <a:lnTo>
                    <a:pt x="1381" y="3822"/>
                  </a:lnTo>
                  <a:lnTo>
                    <a:pt x="1673" y="4034"/>
                  </a:lnTo>
                  <a:lnTo>
                    <a:pt x="1964" y="4193"/>
                  </a:lnTo>
                  <a:lnTo>
                    <a:pt x="2124" y="4246"/>
                  </a:lnTo>
                  <a:lnTo>
                    <a:pt x="2283" y="4299"/>
                  </a:lnTo>
                  <a:lnTo>
                    <a:pt x="2442" y="4326"/>
                  </a:lnTo>
                  <a:lnTo>
                    <a:pt x="2787" y="4326"/>
                  </a:lnTo>
                  <a:lnTo>
                    <a:pt x="2946" y="4299"/>
                  </a:lnTo>
                  <a:lnTo>
                    <a:pt x="3132" y="4246"/>
                  </a:lnTo>
                  <a:lnTo>
                    <a:pt x="3291" y="4193"/>
                  </a:lnTo>
                  <a:lnTo>
                    <a:pt x="3132" y="3105"/>
                  </a:lnTo>
                  <a:lnTo>
                    <a:pt x="2999" y="2044"/>
                  </a:lnTo>
                  <a:lnTo>
                    <a:pt x="2814" y="425"/>
                  </a:lnTo>
                  <a:lnTo>
                    <a:pt x="1779" y="1"/>
                  </a:lnTo>
                  <a:close/>
                </a:path>
              </a:pathLst>
            </a:custGeom>
            <a:solidFill>
              <a:srgbClr val="D29A9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" name="Google Shape;1151;p57">
              <a:extLst>
                <a:ext uri="{FF2B5EF4-FFF2-40B4-BE49-F238E27FC236}">
                  <a16:creationId xmlns:a16="http://schemas.microsoft.com/office/drawing/2014/main" id="{BAA19309-E6FC-5F14-79C0-CB415519D8E7}"/>
                </a:ext>
              </a:extLst>
            </p:cNvPr>
            <p:cNvSpPr/>
            <p:nvPr/>
          </p:nvSpPr>
          <p:spPr>
            <a:xfrm>
              <a:off x="8923550" y="4304002"/>
              <a:ext cx="27809" cy="36544"/>
            </a:xfrm>
            <a:custGeom>
              <a:avLst/>
              <a:gdLst/>
              <a:ahLst/>
              <a:cxnLst/>
              <a:rect l="l" t="t" r="r" b="b"/>
              <a:pathLst>
                <a:path w="3292" h="4326" fill="none" extrusionOk="0">
                  <a:moveTo>
                    <a:pt x="1407" y="1"/>
                  </a:moveTo>
                  <a:lnTo>
                    <a:pt x="1407" y="1"/>
                  </a:lnTo>
                  <a:lnTo>
                    <a:pt x="1062" y="1"/>
                  </a:lnTo>
                  <a:lnTo>
                    <a:pt x="691" y="54"/>
                  </a:lnTo>
                  <a:lnTo>
                    <a:pt x="505" y="107"/>
                  </a:lnTo>
                  <a:lnTo>
                    <a:pt x="346" y="187"/>
                  </a:lnTo>
                  <a:lnTo>
                    <a:pt x="213" y="266"/>
                  </a:lnTo>
                  <a:lnTo>
                    <a:pt x="107" y="372"/>
                  </a:lnTo>
                  <a:lnTo>
                    <a:pt x="107" y="372"/>
                  </a:lnTo>
                  <a:lnTo>
                    <a:pt x="27" y="531"/>
                  </a:lnTo>
                  <a:lnTo>
                    <a:pt x="1" y="744"/>
                  </a:lnTo>
                  <a:lnTo>
                    <a:pt x="1" y="1009"/>
                  </a:lnTo>
                  <a:lnTo>
                    <a:pt x="27" y="1301"/>
                  </a:lnTo>
                  <a:lnTo>
                    <a:pt x="107" y="1593"/>
                  </a:lnTo>
                  <a:lnTo>
                    <a:pt x="213" y="1938"/>
                  </a:lnTo>
                  <a:lnTo>
                    <a:pt x="346" y="2283"/>
                  </a:lnTo>
                  <a:lnTo>
                    <a:pt x="505" y="2601"/>
                  </a:lnTo>
                  <a:lnTo>
                    <a:pt x="691" y="2946"/>
                  </a:lnTo>
                  <a:lnTo>
                    <a:pt x="903" y="3265"/>
                  </a:lnTo>
                  <a:lnTo>
                    <a:pt x="1115" y="3556"/>
                  </a:lnTo>
                  <a:lnTo>
                    <a:pt x="1381" y="3822"/>
                  </a:lnTo>
                  <a:lnTo>
                    <a:pt x="1673" y="4034"/>
                  </a:lnTo>
                  <a:lnTo>
                    <a:pt x="1964" y="4193"/>
                  </a:lnTo>
                  <a:lnTo>
                    <a:pt x="2124" y="4246"/>
                  </a:lnTo>
                  <a:lnTo>
                    <a:pt x="2283" y="4299"/>
                  </a:lnTo>
                  <a:lnTo>
                    <a:pt x="2442" y="4326"/>
                  </a:lnTo>
                  <a:lnTo>
                    <a:pt x="2628" y="4326"/>
                  </a:lnTo>
                  <a:lnTo>
                    <a:pt x="2628" y="4326"/>
                  </a:lnTo>
                  <a:lnTo>
                    <a:pt x="2787" y="4326"/>
                  </a:lnTo>
                  <a:lnTo>
                    <a:pt x="2946" y="4299"/>
                  </a:lnTo>
                  <a:lnTo>
                    <a:pt x="3132" y="4246"/>
                  </a:lnTo>
                  <a:lnTo>
                    <a:pt x="3291" y="4193"/>
                  </a:lnTo>
                  <a:lnTo>
                    <a:pt x="3291" y="4193"/>
                  </a:lnTo>
                  <a:lnTo>
                    <a:pt x="3132" y="3105"/>
                  </a:lnTo>
                  <a:lnTo>
                    <a:pt x="2999" y="2044"/>
                  </a:lnTo>
                  <a:lnTo>
                    <a:pt x="2814" y="425"/>
                  </a:lnTo>
                  <a:lnTo>
                    <a:pt x="2814" y="425"/>
                  </a:lnTo>
                  <a:lnTo>
                    <a:pt x="1779" y="1"/>
                  </a:lnTo>
                  <a:lnTo>
                    <a:pt x="1779" y="1"/>
                  </a:lnTo>
                  <a:lnTo>
                    <a:pt x="140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" name="Google Shape;1152;p57">
              <a:extLst>
                <a:ext uri="{FF2B5EF4-FFF2-40B4-BE49-F238E27FC236}">
                  <a16:creationId xmlns:a16="http://schemas.microsoft.com/office/drawing/2014/main" id="{A1C5FC44-FA2F-46BB-8EB8-1CBC34D51732}"/>
                </a:ext>
              </a:extLst>
            </p:cNvPr>
            <p:cNvSpPr/>
            <p:nvPr/>
          </p:nvSpPr>
          <p:spPr>
            <a:xfrm>
              <a:off x="8840620" y="4341661"/>
              <a:ext cx="151084" cy="322340"/>
            </a:xfrm>
            <a:custGeom>
              <a:avLst/>
              <a:gdLst/>
              <a:ahLst/>
              <a:cxnLst/>
              <a:rect l="l" t="t" r="r" b="b"/>
              <a:pathLst>
                <a:path w="17885" h="38158" extrusionOk="0">
                  <a:moveTo>
                    <a:pt x="7271" y="1"/>
                  </a:moveTo>
                  <a:lnTo>
                    <a:pt x="6979" y="27"/>
                  </a:lnTo>
                  <a:lnTo>
                    <a:pt x="6660" y="107"/>
                  </a:lnTo>
                  <a:lnTo>
                    <a:pt x="5758" y="1062"/>
                  </a:lnTo>
                  <a:lnTo>
                    <a:pt x="4936" y="1885"/>
                  </a:lnTo>
                  <a:lnTo>
                    <a:pt x="4219" y="2548"/>
                  </a:lnTo>
                  <a:lnTo>
                    <a:pt x="3582" y="3079"/>
                  </a:lnTo>
                  <a:lnTo>
                    <a:pt x="3052" y="3477"/>
                  </a:lnTo>
                  <a:lnTo>
                    <a:pt x="2680" y="3768"/>
                  </a:lnTo>
                  <a:lnTo>
                    <a:pt x="2335" y="3981"/>
                  </a:lnTo>
                  <a:lnTo>
                    <a:pt x="1194" y="15709"/>
                  </a:lnTo>
                  <a:lnTo>
                    <a:pt x="398" y="24041"/>
                  </a:lnTo>
                  <a:lnTo>
                    <a:pt x="133" y="27013"/>
                  </a:lnTo>
                  <a:lnTo>
                    <a:pt x="0" y="28445"/>
                  </a:lnTo>
                  <a:lnTo>
                    <a:pt x="0" y="28764"/>
                  </a:lnTo>
                  <a:lnTo>
                    <a:pt x="0" y="29215"/>
                  </a:lnTo>
                  <a:lnTo>
                    <a:pt x="27" y="29746"/>
                  </a:lnTo>
                  <a:lnTo>
                    <a:pt x="80" y="30356"/>
                  </a:lnTo>
                  <a:lnTo>
                    <a:pt x="159" y="31046"/>
                  </a:lnTo>
                  <a:lnTo>
                    <a:pt x="292" y="31762"/>
                  </a:lnTo>
                  <a:lnTo>
                    <a:pt x="504" y="32532"/>
                  </a:lnTo>
                  <a:lnTo>
                    <a:pt x="610" y="32930"/>
                  </a:lnTo>
                  <a:lnTo>
                    <a:pt x="743" y="33301"/>
                  </a:lnTo>
                  <a:lnTo>
                    <a:pt x="902" y="33699"/>
                  </a:lnTo>
                  <a:lnTo>
                    <a:pt x="1088" y="34097"/>
                  </a:lnTo>
                  <a:lnTo>
                    <a:pt x="1274" y="34469"/>
                  </a:lnTo>
                  <a:lnTo>
                    <a:pt x="1486" y="34840"/>
                  </a:lnTo>
                  <a:lnTo>
                    <a:pt x="1725" y="35212"/>
                  </a:lnTo>
                  <a:lnTo>
                    <a:pt x="1990" y="35557"/>
                  </a:lnTo>
                  <a:lnTo>
                    <a:pt x="2282" y="35902"/>
                  </a:lnTo>
                  <a:lnTo>
                    <a:pt x="2601" y="36247"/>
                  </a:lnTo>
                  <a:lnTo>
                    <a:pt x="2945" y="36538"/>
                  </a:lnTo>
                  <a:lnTo>
                    <a:pt x="3290" y="36830"/>
                  </a:lnTo>
                  <a:lnTo>
                    <a:pt x="3688" y="37096"/>
                  </a:lnTo>
                  <a:lnTo>
                    <a:pt x="4113" y="37334"/>
                  </a:lnTo>
                  <a:lnTo>
                    <a:pt x="4564" y="37573"/>
                  </a:lnTo>
                  <a:lnTo>
                    <a:pt x="5068" y="37759"/>
                  </a:lnTo>
                  <a:lnTo>
                    <a:pt x="5572" y="37918"/>
                  </a:lnTo>
                  <a:lnTo>
                    <a:pt x="6130" y="38024"/>
                  </a:lnTo>
                  <a:lnTo>
                    <a:pt x="6554" y="38104"/>
                  </a:lnTo>
                  <a:lnTo>
                    <a:pt x="6979" y="38157"/>
                  </a:lnTo>
                  <a:lnTo>
                    <a:pt x="8332" y="38157"/>
                  </a:lnTo>
                  <a:lnTo>
                    <a:pt x="8810" y="38104"/>
                  </a:lnTo>
                  <a:lnTo>
                    <a:pt x="9261" y="38051"/>
                  </a:lnTo>
                  <a:lnTo>
                    <a:pt x="9738" y="37971"/>
                  </a:lnTo>
                  <a:lnTo>
                    <a:pt x="10667" y="37786"/>
                  </a:lnTo>
                  <a:lnTo>
                    <a:pt x="11569" y="37547"/>
                  </a:lnTo>
                  <a:lnTo>
                    <a:pt x="12445" y="37255"/>
                  </a:lnTo>
                  <a:lnTo>
                    <a:pt x="13267" y="36936"/>
                  </a:lnTo>
                  <a:lnTo>
                    <a:pt x="14037" y="36592"/>
                  </a:lnTo>
                  <a:lnTo>
                    <a:pt x="14727" y="36247"/>
                  </a:lnTo>
                  <a:lnTo>
                    <a:pt x="15311" y="35875"/>
                  </a:lnTo>
                  <a:lnTo>
                    <a:pt x="15788" y="35530"/>
                  </a:lnTo>
                  <a:lnTo>
                    <a:pt x="16000" y="35344"/>
                  </a:lnTo>
                  <a:lnTo>
                    <a:pt x="16160" y="35159"/>
                  </a:lnTo>
                  <a:lnTo>
                    <a:pt x="16292" y="34999"/>
                  </a:lnTo>
                  <a:lnTo>
                    <a:pt x="16372" y="34840"/>
                  </a:lnTo>
                  <a:lnTo>
                    <a:pt x="16452" y="34681"/>
                  </a:lnTo>
                  <a:lnTo>
                    <a:pt x="16452" y="34548"/>
                  </a:lnTo>
                  <a:lnTo>
                    <a:pt x="16425" y="34416"/>
                  </a:lnTo>
                  <a:lnTo>
                    <a:pt x="16372" y="34283"/>
                  </a:lnTo>
                  <a:lnTo>
                    <a:pt x="16319" y="34203"/>
                  </a:lnTo>
                  <a:lnTo>
                    <a:pt x="16292" y="34071"/>
                  </a:lnTo>
                  <a:lnTo>
                    <a:pt x="16239" y="33752"/>
                  </a:lnTo>
                  <a:lnTo>
                    <a:pt x="16239" y="33301"/>
                  </a:lnTo>
                  <a:lnTo>
                    <a:pt x="16266" y="32744"/>
                  </a:lnTo>
                  <a:lnTo>
                    <a:pt x="16319" y="32081"/>
                  </a:lnTo>
                  <a:lnTo>
                    <a:pt x="16425" y="31338"/>
                  </a:lnTo>
                  <a:lnTo>
                    <a:pt x="16637" y="29586"/>
                  </a:lnTo>
                  <a:lnTo>
                    <a:pt x="16929" y="27517"/>
                  </a:lnTo>
                  <a:lnTo>
                    <a:pt x="17221" y="25208"/>
                  </a:lnTo>
                  <a:lnTo>
                    <a:pt x="17513" y="22714"/>
                  </a:lnTo>
                  <a:lnTo>
                    <a:pt x="17619" y="21414"/>
                  </a:lnTo>
                  <a:lnTo>
                    <a:pt x="17725" y="20087"/>
                  </a:lnTo>
                  <a:lnTo>
                    <a:pt x="17805" y="18734"/>
                  </a:lnTo>
                  <a:lnTo>
                    <a:pt x="17858" y="17354"/>
                  </a:lnTo>
                  <a:lnTo>
                    <a:pt x="17884" y="15974"/>
                  </a:lnTo>
                  <a:lnTo>
                    <a:pt x="17858" y="14621"/>
                  </a:lnTo>
                  <a:lnTo>
                    <a:pt x="17805" y="13241"/>
                  </a:lnTo>
                  <a:lnTo>
                    <a:pt x="17699" y="11888"/>
                  </a:lnTo>
                  <a:lnTo>
                    <a:pt x="17566" y="10561"/>
                  </a:lnTo>
                  <a:lnTo>
                    <a:pt x="17354" y="9261"/>
                  </a:lnTo>
                  <a:lnTo>
                    <a:pt x="17248" y="8624"/>
                  </a:lnTo>
                  <a:lnTo>
                    <a:pt x="17115" y="7987"/>
                  </a:lnTo>
                  <a:lnTo>
                    <a:pt x="16956" y="7377"/>
                  </a:lnTo>
                  <a:lnTo>
                    <a:pt x="16797" y="6767"/>
                  </a:lnTo>
                  <a:lnTo>
                    <a:pt x="16611" y="6157"/>
                  </a:lnTo>
                  <a:lnTo>
                    <a:pt x="16398" y="5573"/>
                  </a:lnTo>
                  <a:lnTo>
                    <a:pt x="16186" y="4989"/>
                  </a:lnTo>
                  <a:lnTo>
                    <a:pt x="15947" y="4432"/>
                  </a:lnTo>
                  <a:lnTo>
                    <a:pt x="15682" y="3901"/>
                  </a:lnTo>
                  <a:lnTo>
                    <a:pt x="15417" y="3370"/>
                  </a:lnTo>
                  <a:lnTo>
                    <a:pt x="15125" y="2866"/>
                  </a:lnTo>
                  <a:lnTo>
                    <a:pt x="14806" y="2362"/>
                  </a:lnTo>
                  <a:lnTo>
                    <a:pt x="14461" y="1911"/>
                  </a:lnTo>
                  <a:lnTo>
                    <a:pt x="14117" y="1460"/>
                  </a:lnTo>
                  <a:lnTo>
                    <a:pt x="13718" y="1009"/>
                  </a:lnTo>
                  <a:lnTo>
                    <a:pt x="13320" y="611"/>
                  </a:lnTo>
                  <a:lnTo>
                    <a:pt x="13161" y="478"/>
                  </a:lnTo>
                  <a:lnTo>
                    <a:pt x="13029" y="425"/>
                  </a:lnTo>
                  <a:lnTo>
                    <a:pt x="12922" y="399"/>
                  </a:lnTo>
                  <a:lnTo>
                    <a:pt x="12816" y="425"/>
                  </a:lnTo>
                  <a:lnTo>
                    <a:pt x="12710" y="505"/>
                  </a:lnTo>
                  <a:lnTo>
                    <a:pt x="12604" y="584"/>
                  </a:lnTo>
                  <a:lnTo>
                    <a:pt x="12445" y="797"/>
                  </a:lnTo>
                  <a:lnTo>
                    <a:pt x="12312" y="956"/>
                  </a:lnTo>
                  <a:lnTo>
                    <a:pt x="12233" y="1115"/>
                  </a:lnTo>
                  <a:lnTo>
                    <a:pt x="12179" y="1274"/>
                  </a:lnTo>
                  <a:lnTo>
                    <a:pt x="12100" y="1407"/>
                  </a:lnTo>
                  <a:lnTo>
                    <a:pt x="11994" y="1513"/>
                  </a:lnTo>
                  <a:lnTo>
                    <a:pt x="11861" y="1593"/>
                  </a:lnTo>
                  <a:lnTo>
                    <a:pt x="11675" y="1619"/>
                  </a:lnTo>
                  <a:lnTo>
                    <a:pt x="11383" y="1646"/>
                  </a:lnTo>
                  <a:lnTo>
                    <a:pt x="11092" y="1619"/>
                  </a:lnTo>
                  <a:lnTo>
                    <a:pt x="10773" y="1540"/>
                  </a:lnTo>
                  <a:lnTo>
                    <a:pt x="10481" y="1433"/>
                  </a:lnTo>
                  <a:lnTo>
                    <a:pt x="10163" y="1301"/>
                  </a:lnTo>
                  <a:lnTo>
                    <a:pt x="9579" y="982"/>
                  </a:lnTo>
                  <a:lnTo>
                    <a:pt x="8995" y="637"/>
                  </a:lnTo>
                  <a:lnTo>
                    <a:pt x="8438" y="319"/>
                  </a:lnTo>
                  <a:lnTo>
                    <a:pt x="8146" y="186"/>
                  </a:lnTo>
                  <a:lnTo>
                    <a:pt x="7854" y="80"/>
                  </a:lnTo>
                  <a:lnTo>
                    <a:pt x="7562" y="27"/>
                  </a:lnTo>
                  <a:lnTo>
                    <a:pt x="72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" name="Google Shape;1153;p57">
              <a:extLst>
                <a:ext uri="{FF2B5EF4-FFF2-40B4-BE49-F238E27FC236}">
                  <a16:creationId xmlns:a16="http://schemas.microsoft.com/office/drawing/2014/main" id="{80AF3365-FC75-2BC2-B574-502547DB7602}"/>
                </a:ext>
              </a:extLst>
            </p:cNvPr>
            <p:cNvSpPr/>
            <p:nvPr/>
          </p:nvSpPr>
          <p:spPr>
            <a:xfrm>
              <a:off x="8840620" y="4341661"/>
              <a:ext cx="151084" cy="322340"/>
            </a:xfrm>
            <a:custGeom>
              <a:avLst/>
              <a:gdLst/>
              <a:ahLst/>
              <a:cxnLst/>
              <a:rect l="l" t="t" r="r" b="b"/>
              <a:pathLst>
                <a:path w="17885" h="38158" fill="none" extrusionOk="0">
                  <a:moveTo>
                    <a:pt x="6660" y="107"/>
                  </a:moveTo>
                  <a:lnTo>
                    <a:pt x="6660" y="107"/>
                  </a:lnTo>
                  <a:lnTo>
                    <a:pt x="6979" y="27"/>
                  </a:lnTo>
                  <a:lnTo>
                    <a:pt x="7271" y="1"/>
                  </a:lnTo>
                  <a:lnTo>
                    <a:pt x="7562" y="27"/>
                  </a:lnTo>
                  <a:lnTo>
                    <a:pt x="7854" y="80"/>
                  </a:lnTo>
                  <a:lnTo>
                    <a:pt x="8146" y="186"/>
                  </a:lnTo>
                  <a:lnTo>
                    <a:pt x="8438" y="319"/>
                  </a:lnTo>
                  <a:lnTo>
                    <a:pt x="8995" y="637"/>
                  </a:lnTo>
                  <a:lnTo>
                    <a:pt x="9579" y="982"/>
                  </a:lnTo>
                  <a:lnTo>
                    <a:pt x="10163" y="1301"/>
                  </a:lnTo>
                  <a:lnTo>
                    <a:pt x="10481" y="1433"/>
                  </a:lnTo>
                  <a:lnTo>
                    <a:pt x="10773" y="1540"/>
                  </a:lnTo>
                  <a:lnTo>
                    <a:pt x="11092" y="1619"/>
                  </a:lnTo>
                  <a:lnTo>
                    <a:pt x="11383" y="1646"/>
                  </a:lnTo>
                  <a:lnTo>
                    <a:pt x="11383" y="1646"/>
                  </a:lnTo>
                  <a:lnTo>
                    <a:pt x="11675" y="1619"/>
                  </a:lnTo>
                  <a:lnTo>
                    <a:pt x="11861" y="1593"/>
                  </a:lnTo>
                  <a:lnTo>
                    <a:pt x="11994" y="1513"/>
                  </a:lnTo>
                  <a:lnTo>
                    <a:pt x="12100" y="1407"/>
                  </a:lnTo>
                  <a:lnTo>
                    <a:pt x="12179" y="1274"/>
                  </a:lnTo>
                  <a:lnTo>
                    <a:pt x="12233" y="1115"/>
                  </a:lnTo>
                  <a:lnTo>
                    <a:pt x="12312" y="956"/>
                  </a:lnTo>
                  <a:lnTo>
                    <a:pt x="12445" y="797"/>
                  </a:lnTo>
                  <a:lnTo>
                    <a:pt x="12445" y="797"/>
                  </a:lnTo>
                  <a:lnTo>
                    <a:pt x="12604" y="584"/>
                  </a:lnTo>
                  <a:lnTo>
                    <a:pt x="12710" y="505"/>
                  </a:lnTo>
                  <a:lnTo>
                    <a:pt x="12816" y="425"/>
                  </a:lnTo>
                  <a:lnTo>
                    <a:pt x="12922" y="399"/>
                  </a:lnTo>
                  <a:lnTo>
                    <a:pt x="13029" y="425"/>
                  </a:lnTo>
                  <a:lnTo>
                    <a:pt x="13161" y="478"/>
                  </a:lnTo>
                  <a:lnTo>
                    <a:pt x="13320" y="611"/>
                  </a:lnTo>
                  <a:lnTo>
                    <a:pt x="13320" y="611"/>
                  </a:lnTo>
                  <a:lnTo>
                    <a:pt x="13718" y="1009"/>
                  </a:lnTo>
                  <a:lnTo>
                    <a:pt x="14117" y="1460"/>
                  </a:lnTo>
                  <a:lnTo>
                    <a:pt x="14461" y="1911"/>
                  </a:lnTo>
                  <a:lnTo>
                    <a:pt x="14806" y="2362"/>
                  </a:lnTo>
                  <a:lnTo>
                    <a:pt x="15125" y="2866"/>
                  </a:lnTo>
                  <a:lnTo>
                    <a:pt x="15417" y="3370"/>
                  </a:lnTo>
                  <a:lnTo>
                    <a:pt x="15682" y="3901"/>
                  </a:lnTo>
                  <a:lnTo>
                    <a:pt x="15947" y="4432"/>
                  </a:lnTo>
                  <a:lnTo>
                    <a:pt x="16186" y="4989"/>
                  </a:lnTo>
                  <a:lnTo>
                    <a:pt x="16398" y="5573"/>
                  </a:lnTo>
                  <a:lnTo>
                    <a:pt x="16611" y="6157"/>
                  </a:lnTo>
                  <a:lnTo>
                    <a:pt x="16797" y="6767"/>
                  </a:lnTo>
                  <a:lnTo>
                    <a:pt x="16956" y="7377"/>
                  </a:lnTo>
                  <a:lnTo>
                    <a:pt x="17115" y="7987"/>
                  </a:lnTo>
                  <a:lnTo>
                    <a:pt x="17248" y="8624"/>
                  </a:lnTo>
                  <a:lnTo>
                    <a:pt x="17354" y="9261"/>
                  </a:lnTo>
                  <a:lnTo>
                    <a:pt x="17566" y="10561"/>
                  </a:lnTo>
                  <a:lnTo>
                    <a:pt x="17699" y="11888"/>
                  </a:lnTo>
                  <a:lnTo>
                    <a:pt x="17805" y="13241"/>
                  </a:lnTo>
                  <a:lnTo>
                    <a:pt x="17858" y="14621"/>
                  </a:lnTo>
                  <a:lnTo>
                    <a:pt x="17884" y="15974"/>
                  </a:lnTo>
                  <a:lnTo>
                    <a:pt x="17858" y="17354"/>
                  </a:lnTo>
                  <a:lnTo>
                    <a:pt x="17805" y="18734"/>
                  </a:lnTo>
                  <a:lnTo>
                    <a:pt x="17725" y="20087"/>
                  </a:lnTo>
                  <a:lnTo>
                    <a:pt x="17619" y="21414"/>
                  </a:lnTo>
                  <a:lnTo>
                    <a:pt x="17513" y="22714"/>
                  </a:lnTo>
                  <a:lnTo>
                    <a:pt x="17221" y="25208"/>
                  </a:lnTo>
                  <a:lnTo>
                    <a:pt x="16929" y="27517"/>
                  </a:lnTo>
                  <a:lnTo>
                    <a:pt x="16637" y="29586"/>
                  </a:lnTo>
                  <a:lnTo>
                    <a:pt x="16425" y="31338"/>
                  </a:lnTo>
                  <a:lnTo>
                    <a:pt x="16319" y="32081"/>
                  </a:lnTo>
                  <a:lnTo>
                    <a:pt x="16266" y="32744"/>
                  </a:lnTo>
                  <a:lnTo>
                    <a:pt x="16239" y="33301"/>
                  </a:lnTo>
                  <a:lnTo>
                    <a:pt x="16239" y="33752"/>
                  </a:lnTo>
                  <a:lnTo>
                    <a:pt x="16292" y="34071"/>
                  </a:lnTo>
                  <a:lnTo>
                    <a:pt x="16319" y="34203"/>
                  </a:lnTo>
                  <a:lnTo>
                    <a:pt x="16372" y="34283"/>
                  </a:lnTo>
                  <a:lnTo>
                    <a:pt x="16372" y="34283"/>
                  </a:lnTo>
                  <a:lnTo>
                    <a:pt x="16425" y="34416"/>
                  </a:lnTo>
                  <a:lnTo>
                    <a:pt x="16452" y="34548"/>
                  </a:lnTo>
                  <a:lnTo>
                    <a:pt x="16452" y="34681"/>
                  </a:lnTo>
                  <a:lnTo>
                    <a:pt x="16372" y="34840"/>
                  </a:lnTo>
                  <a:lnTo>
                    <a:pt x="16292" y="34999"/>
                  </a:lnTo>
                  <a:lnTo>
                    <a:pt x="16160" y="35159"/>
                  </a:lnTo>
                  <a:lnTo>
                    <a:pt x="16000" y="35344"/>
                  </a:lnTo>
                  <a:lnTo>
                    <a:pt x="15788" y="35530"/>
                  </a:lnTo>
                  <a:lnTo>
                    <a:pt x="15311" y="35875"/>
                  </a:lnTo>
                  <a:lnTo>
                    <a:pt x="14727" y="36247"/>
                  </a:lnTo>
                  <a:lnTo>
                    <a:pt x="14037" y="36592"/>
                  </a:lnTo>
                  <a:lnTo>
                    <a:pt x="13267" y="36936"/>
                  </a:lnTo>
                  <a:lnTo>
                    <a:pt x="12445" y="37255"/>
                  </a:lnTo>
                  <a:lnTo>
                    <a:pt x="11569" y="37547"/>
                  </a:lnTo>
                  <a:lnTo>
                    <a:pt x="10667" y="37786"/>
                  </a:lnTo>
                  <a:lnTo>
                    <a:pt x="9738" y="37971"/>
                  </a:lnTo>
                  <a:lnTo>
                    <a:pt x="9261" y="38051"/>
                  </a:lnTo>
                  <a:lnTo>
                    <a:pt x="8810" y="38104"/>
                  </a:lnTo>
                  <a:lnTo>
                    <a:pt x="8332" y="38157"/>
                  </a:lnTo>
                  <a:lnTo>
                    <a:pt x="7881" y="38157"/>
                  </a:lnTo>
                  <a:lnTo>
                    <a:pt x="7430" y="38157"/>
                  </a:lnTo>
                  <a:lnTo>
                    <a:pt x="6979" y="38157"/>
                  </a:lnTo>
                  <a:lnTo>
                    <a:pt x="6554" y="38104"/>
                  </a:lnTo>
                  <a:lnTo>
                    <a:pt x="6130" y="38024"/>
                  </a:lnTo>
                  <a:lnTo>
                    <a:pt x="6130" y="38024"/>
                  </a:lnTo>
                  <a:lnTo>
                    <a:pt x="5572" y="37918"/>
                  </a:lnTo>
                  <a:lnTo>
                    <a:pt x="5068" y="37759"/>
                  </a:lnTo>
                  <a:lnTo>
                    <a:pt x="4564" y="37573"/>
                  </a:lnTo>
                  <a:lnTo>
                    <a:pt x="4113" y="37334"/>
                  </a:lnTo>
                  <a:lnTo>
                    <a:pt x="3688" y="37096"/>
                  </a:lnTo>
                  <a:lnTo>
                    <a:pt x="3290" y="36830"/>
                  </a:lnTo>
                  <a:lnTo>
                    <a:pt x="2945" y="36538"/>
                  </a:lnTo>
                  <a:lnTo>
                    <a:pt x="2601" y="36247"/>
                  </a:lnTo>
                  <a:lnTo>
                    <a:pt x="2282" y="35902"/>
                  </a:lnTo>
                  <a:lnTo>
                    <a:pt x="1990" y="35557"/>
                  </a:lnTo>
                  <a:lnTo>
                    <a:pt x="1725" y="35212"/>
                  </a:lnTo>
                  <a:lnTo>
                    <a:pt x="1486" y="34840"/>
                  </a:lnTo>
                  <a:lnTo>
                    <a:pt x="1274" y="34469"/>
                  </a:lnTo>
                  <a:lnTo>
                    <a:pt x="1088" y="34097"/>
                  </a:lnTo>
                  <a:lnTo>
                    <a:pt x="902" y="33699"/>
                  </a:lnTo>
                  <a:lnTo>
                    <a:pt x="743" y="33301"/>
                  </a:lnTo>
                  <a:lnTo>
                    <a:pt x="610" y="32930"/>
                  </a:lnTo>
                  <a:lnTo>
                    <a:pt x="504" y="32532"/>
                  </a:lnTo>
                  <a:lnTo>
                    <a:pt x="292" y="31762"/>
                  </a:lnTo>
                  <a:lnTo>
                    <a:pt x="159" y="31046"/>
                  </a:lnTo>
                  <a:lnTo>
                    <a:pt x="80" y="30356"/>
                  </a:lnTo>
                  <a:lnTo>
                    <a:pt x="27" y="29746"/>
                  </a:lnTo>
                  <a:lnTo>
                    <a:pt x="0" y="29215"/>
                  </a:lnTo>
                  <a:lnTo>
                    <a:pt x="0" y="28764"/>
                  </a:lnTo>
                  <a:lnTo>
                    <a:pt x="0" y="28445"/>
                  </a:lnTo>
                  <a:lnTo>
                    <a:pt x="0" y="28445"/>
                  </a:lnTo>
                  <a:lnTo>
                    <a:pt x="133" y="27013"/>
                  </a:lnTo>
                  <a:lnTo>
                    <a:pt x="398" y="24041"/>
                  </a:lnTo>
                  <a:lnTo>
                    <a:pt x="1194" y="15709"/>
                  </a:lnTo>
                  <a:lnTo>
                    <a:pt x="2335" y="3981"/>
                  </a:lnTo>
                  <a:lnTo>
                    <a:pt x="2335" y="3981"/>
                  </a:lnTo>
                  <a:lnTo>
                    <a:pt x="2680" y="3768"/>
                  </a:lnTo>
                  <a:lnTo>
                    <a:pt x="3052" y="3477"/>
                  </a:lnTo>
                  <a:lnTo>
                    <a:pt x="3582" y="3079"/>
                  </a:lnTo>
                  <a:lnTo>
                    <a:pt x="4219" y="2548"/>
                  </a:lnTo>
                  <a:lnTo>
                    <a:pt x="4936" y="1885"/>
                  </a:lnTo>
                  <a:lnTo>
                    <a:pt x="5758" y="1062"/>
                  </a:lnTo>
                  <a:lnTo>
                    <a:pt x="6660" y="10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" name="Google Shape;1154;p57">
              <a:extLst>
                <a:ext uri="{FF2B5EF4-FFF2-40B4-BE49-F238E27FC236}">
                  <a16:creationId xmlns:a16="http://schemas.microsoft.com/office/drawing/2014/main" id="{A48ACE46-7C2C-0C0E-FD5D-309240379455}"/>
                </a:ext>
              </a:extLst>
            </p:cNvPr>
            <p:cNvSpPr/>
            <p:nvPr/>
          </p:nvSpPr>
          <p:spPr>
            <a:xfrm>
              <a:off x="8952465" y="4090619"/>
              <a:ext cx="158264" cy="594898"/>
            </a:xfrm>
            <a:custGeom>
              <a:avLst/>
              <a:gdLst/>
              <a:ahLst/>
              <a:cxnLst/>
              <a:rect l="l" t="t" r="r" b="b"/>
              <a:pathLst>
                <a:path w="18735" h="70423" extrusionOk="0">
                  <a:moveTo>
                    <a:pt x="14117" y="0"/>
                  </a:moveTo>
                  <a:lnTo>
                    <a:pt x="13613" y="27"/>
                  </a:lnTo>
                  <a:lnTo>
                    <a:pt x="13135" y="80"/>
                  </a:lnTo>
                  <a:lnTo>
                    <a:pt x="12684" y="159"/>
                  </a:lnTo>
                  <a:lnTo>
                    <a:pt x="12286" y="265"/>
                  </a:lnTo>
                  <a:lnTo>
                    <a:pt x="11968" y="372"/>
                  </a:lnTo>
                  <a:lnTo>
                    <a:pt x="11835" y="451"/>
                  </a:lnTo>
                  <a:lnTo>
                    <a:pt x="11729" y="531"/>
                  </a:lnTo>
                  <a:lnTo>
                    <a:pt x="11650" y="610"/>
                  </a:lnTo>
                  <a:lnTo>
                    <a:pt x="11596" y="690"/>
                  </a:lnTo>
                  <a:lnTo>
                    <a:pt x="11570" y="770"/>
                  </a:lnTo>
                  <a:lnTo>
                    <a:pt x="11570" y="876"/>
                  </a:lnTo>
                  <a:lnTo>
                    <a:pt x="11650" y="1274"/>
                  </a:lnTo>
                  <a:lnTo>
                    <a:pt x="11756" y="1937"/>
                  </a:lnTo>
                  <a:lnTo>
                    <a:pt x="12021" y="3794"/>
                  </a:lnTo>
                  <a:lnTo>
                    <a:pt x="12286" y="6209"/>
                  </a:lnTo>
                  <a:lnTo>
                    <a:pt x="12419" y="7536"/>
                  </a:lnTo>
                  <a:lnTo>
                    <a:pt x="12525" y="8916"/>
                  </a:lnTo>
                  <a:lnTo>
                    <a:pt x="12631" y="10322"/>
                  </a:lnTo>
                  <a:lnTo>
                    <a:pt x="12711" y="11702"/>
                  </a:lnTo>
                  <a:lnTo>
                    <a:pt x="12737" y="13028"/>
                  </a:lnTo>
                  <a:lnTo>
                    <a:pt x="12764" y="14249"/>
                  </a:lnTo>
                  <a:lnTo>
                    <a:pt x="12737" y="15390"/>
                  </a:lnTo>
                  <a:lnTo>
                    <a:pt x="12658" y="16372"/>
                  </a:lnTo>
                  <a:lnTo>
                    <a:pt x="12605" y="16796"/>
                  </a:lnTo>
                  <a:lnTo>
                    <a:pt x="12525" y="17168"/>
                  </a:lnTo>
                  <a:lnTo>
                    <a:pt x="12446" y="17486"/>
                  </a:lnTo>
                  <a:lnTo>
                    <a:pt x="12366" y="17778"/>
                  </a:lnTo>
                  <a:lnTo>
                    <a:pt x="12101" y="18335"/>
                  </a:lnTo>
                  <a:lnTo>
                    <a:pt x="11782" y="18946"/>
                  </a:lnTo>
                  <a:lnTo>
                    <a:pt x="11437" y="19609"/>
                  </a:lnTo>
                  <a:lnTo>
                    <a:pt x="11013" y="20325"/>
                  </a:lnTo>
                  <a:lnTo>
                    <a:pt x="10535" y="21068"/>
                  </a:lnTo>
                  <a:lnTo>
                    <a:pt x="10004" y="21838"/>
                  </a:lnTo>
                  <a:lnTo>
                    <a:pt x="9394" y="22634"/>
                  </a:lnTo>
                  <a:lnTo>
                    <a:pt x="8704" y="23430"/>
                  </a:lnTo>
                  <a:lnTo>
                    <a:pt x="7935" y="24279"/>
                  </a:lnTo>
                  <a:lnTo>
                    <a:pt x="7112" y="25128"/>
                  </a:lnTo>
                  <a:lnTo>
                    <a:pt x="6183" y="26004"/>
                  </a:lnTo>
                  <a:lnTo>
                    <a:pt x="5149" y="26853"/>
                  </a:lnTo>
                  <a:lnTo>
                    <a:pt x="4034" y="27728"/>
                  </a:lnTo>
                  <a:lnTo>
                    <a:pt x="2840" y="28604"/>
                  </a:lnTo>
                  <a:lnTo>
                    <a:pt x="2177" y="29029"/>
                  </a:lnTo>
                  <a:lnTo>
                    <a:pt x="1513" y="29480"/>
                  </a:lnTo>
                  <a:lnTo>
                    <a:pt x="797" y="29904"/>
                  </a:lnTo>
                  <a:lnTo>
                    <a:pt x="80" y="30329"/>
                  </a:lnTo>
                  <a:lnTo>
                    <a:pt x="80" y="30541"/>
                  </a:lnTo>
                  <a:lnTo>
                    <a:pt x="107" y="31258"/>
                  </a:lnTo>
                  <a:lnTo>
                    <a:pt x="187" y="32239"/>
                  </a:lnTo>
                  <a:lnTo>
                    <a:pt x="372" y="33646"/>
                  </a:lnTo>
                  <a:lnTo>
                    <a:pt x="532" y="34654"/>
                  </a:lnTo>
                  <a:lnTo>
                    <a:pt x="744" y="35821"/>
                  </a:lnTo>
                  <a:lnTo>
                    <a:pt x="823" y="36299"/>
                  </a:lnTo>
                  <a:lnTo>
                    <a:pt x="877" y="36777"/>
                  </a:lnTo>
                  <a:lnTo>
                    <a:pt x="930" y="37254"/>
                  </a:lnTo>
                  <a:lnTo>
                    <a:pt x="956" y="37705"/>
                  </a:lnTo>
                  <a:lnTo>
                    <a:pt x="983" y="38634"/>
                  </a:lnTo>
                  <a:lnTo>
                    <a:pt x="930" y="39536"/>
                  </a:lnTo>
                  <a:lnTo>
                    <a:pt x="850" y="40438"/>
                  </a:lnTo>
                  <a:lnTo>
                    <a:pt x="744" y="41341"/>
                  </a:lnTo>
                  <a:lnTo>
                    <a:pt x="505" y="43145"/>
                  </a:lnTo>
                  <a:lnTo>
                    <a:pt x="346" y="44047"/>
                  </a:lnTo>
                  <a:lnTo>
                    <a:pt x="240" y="44976"/>
                  </a:lnTo>
                  <a:lnTo>
                    <a:pt x="134" y="45958"/>
                  </a:lnTo>
                  <a:lnTo>
                    <a:pt x="54" y="46939"/>
                  </a:lnTo>
                  <a:lnTo>
                    <a:pt x="1" y="47948"/>
                  </a:lnTo>
                  <a:lnTo>
                    <a:pt x="27" y="49036"/>
                  </a:lnTo>
                  <a:lnTo>
                    <a:pt x="54" y="49566"/>
                  </a:lnTo>
                  <a:lnTo>
                    <a:pt x="107" y="50124"/>
                  </a:lnTo>
                  <a:lnTo>
                    <a:pt x="160" y="50707"/>
                  </a:lnTo>
                  <a:lnTo>
                    <a:pt x="240" y="51291"/>
                  </a:lnTo>
                  <a:lnTo>
                    <a:pt x="399" y="52326"/>
                  </a:lnTo>
                  <a:lnTo>
                    <a:pt x="532" y="53334"/>
                  </a:lnTo>
                  <a:lnTo>
                    <a:pt x="638" y="54369"/>
                  </a:lnTo>
                  <a:lnTo>
                    <a:pt x="717" y="55377"/>
                  </a:lnTo>
                  <a:lnTo>
                    <a:pt x="823" y="57394"/>
                  </a:lnTo>
                  <a:lnTo>
                    <a:pt x="903" y="59331"/>
                  </a:lnTo>
                  <a:lnTo>
                    <a:pt x="983" y="63019"/>
                  </a:lnTo>
                  <a:lnTo>
                    <a:pt x="1036" y="64664"/>
                  </a:lnTo>
                  <a:lnTo>
                    <a:pt x="1089" y="65434"/>
                  </a:lnTo>
                  <a:lnTo>
                    <a:pt x="1142" y="66150"/>
                  </a:lnTo>
                  <a:lnTo>
                    <a:pt x="1221" y="66787"/>
                  </a:lnTo>
                  <a:lnTo>
                    <a:pt x="1301" y="67371"/>
                  </a:lnTo>
                  <a:lnTo>
                    <a:pt x="1381" y="67902"/>
                  </a:lnTo>
                  <a:lnTo>
                    <a:pt x="1513" y="68379"/>
                  </a:lnTo>
                  <a:lnTo>
                    <a:pt x="1646" y="68830"/>
                  </a:lnTo>
                  <a:lnTo>
                    <a:pt x="1832" y="69202"/>
                  </a:lnTo>
                  <a:lnTo>
                    <a:pt x="2017" y="69494"/>
                  </a:lnTo>
                  <a:lnTo>
                    <a:pt x="2124" y="69626"/>
                  </a:lnTo>
                  <a:lnTo>
                    <a:pt x="2256" y="69732"/>
                  </a:lnTo>
                  <a:lnTo>
                    <a:pt x="2469" y="69918"/>
                  </a:lnTo>
                  <a:lnTo>
                    <a:pt x="2707" y="70077"/>
                  </a:lnTo>
                  <a:lnTo>
                    <a:pt x="2946" y="70210"/>
                  </a:lnTo>
                  <a:lnTo>
                    <a:pt x="3185" y="70316"/>
                  </a:lnTo>
                  <a:lnTo>
                    <a:pt x="3450" y="70369"/>
                  </a:lnTo>
                  <a:lnTo>
                    <a:pt x="3716" y="70422"/>
                  </a:lnTo>
                  <a:lnTo>
                    <a:pt x="3981" y="70422"/>
                  </a:lnTo>
                  <a:lnTo>
                    <a:pt x="4246" y="70396"/>
                  </a:lnTo>
                  <a:lnTo>
                    <a:pt x="4512" y="70343"/>
                  </a:lnTo>
                  <a:lnTo>
                    <a:pt x="4804" y="70237"/>
                  </a:lnTo>
                  <a:lnTo>
                    <a:pt x="5096" y="70077"/>
                  </a:lnTo>
                  <a:lnTo>
                    <a:pt x="5387" y="69892"/>
                  </a:lnTo>
                  <a:lnTo>
                    <a:pt x="5706" y="69679"/>
                  </a:lnTo>
                  <a:lnTo>
                    <a:pt x="5998" y="69388"/>
                  </a:lnTo>
                  <a:lnTo>
                    <a:pt x="6316" y="69043"/>
                  </a:lnTo>
                  <a:lnTo>
                    <a:pt x="6635" y="68671"/>
                  </a:lnTo>
                  <a:lnTo>
                    <a:pt x="6767" y="68485"/>
                  </a:lnTo>
                  <a:lnTo>
                    <a:pt x="6873" y="68273"/>
                  </a:lnTo>
                  <a:lnTo>
                    <a:pt x="7086" y="67928"/>
                  </a:lnTo>
                  <a:lnTo>
                    <a:pt x="7271" y="67557"/>
                  </a:lnTo>
                  <a:lnTo>
                    <a:pt x="7431" y="67185"/>
                  </a:lnTo>
                  <a:lnTo>
                    <a:pt x="7563" y="66814"/>
                  </a:lnTo>
                  <a:lnTo>
                    <a:pt x="7802" y="66044"/>
                  </a:lnTo>
                  <a:lnTo>
                    <a:pt x="8014" y="65275"/>
                  </a:lnTo>
                  <a:lnTo>
                    <a:pt x="8147" y="64479"/>
                  </a:lnTo>
                  <a:lnTo>
                    <a:pt x="8227" y="63683"/>
                  </a:lnTo>
                  <a:lnTo>
                    <a:pt x="8280" y="62887"/>
                  </a:lnTo>
                  <a:lnTo>
                    <a:pt x="8280" y="62117"/>
                  </a:lnTo>
                  <a:lnTo>
                    <a:pt x="8253" y="61374"/>
                  </a:lnTo>
                  <a:lnTo>
                    <a:pt x="8227" y="60631"/>
                  </a:lnTo>
                  <a:lnTo>
                    <a:pt x="8147" y="59915"/>
                  </a:lnTo>
                  <a:lnTo>
                    <a:pt x="8067" y="59225"/>
                  </a:lnTo>
                  <a:lnTo>
                    <a:pt x="7882" y="58004"/>
                  </a:lnTo>
                  <a:lnTo>
                    <a:pt x="7722" y="56996"/>
                  </a:lnTo>
                  <a:lnTo>
                    <a:pt x="7510" y="55510"/>
                  </a:lnTo>
                  <a:lnTo>
                    <a:pt x="7165" y="53069"/>
                  </a:lnTo>
                  <a:lnTo>
                    <a:pt x="6767" y="50575"/>
                  </a:lnTo>
                  <a:lnTo>
                    <a:pt x="6608" y="49566"/>
                  </a:lnTo>
                  <a:lnTo>
                    <a:pt x="6449" y="48876"/>
                  </a:lnTo>
                  <a:lnTo>
                    <a:pt x="6396" y="48638"/>
                  </a:lnTo>
                  <a:lnTo>
                    <a:pt x="6369" y="48372"/>
                  </a:lnTo>
                  <a:lnTo>
                    <a:pt x="6316" y="47682"/>
                  </a:lnTo>
                  <a:lnTo>
                    <a:pt x="6316" y="46886"/>
                  </a:lnTo>
                  <a:lnTo>
                    <a:pt x="6343" y="45931"/>
                  </a:lnTo>
                  <a:lnTo>
                    <a:pt x="6422" y="44923"/>
                  </a:lnTo>
                  <a:lnTo>
                    <a:pt x="6555" y="43835"/>
                  </a:lnTo>
                  <a:lnTo>
                    <a:pt x="6688" y="42694"/>
                  </a:lnTo>
                  <a:lnTo>
                    <a:pt x="6847" y="41553"/>
                  </a:lnTo>
                  <a:lnTo>
                    <a:pt x="7033" y="40412"/>
                  </a:lnTo>
                  <a:lnTo>
                    <a:pt x="7245" y="39297"/>
                  </a:lnTo>
                  <a:lnTo>
                    <a:pt x="7484" y="38236"/>
                  </a:lnTo>
                  <a:lnTo>
                    <a:pt x="7696" y="37254"/>
                  </a:lnTo>
                  <a:lnTo>
                    <a:pt x="7961" y="36379"/>
                  </a:lnTo>
                  <a:lnTo>
                    <a:pt x="8200" y="35609"/>
                  </a:lnTo>
                  <a:lnTo>
                    <a:pt x="8439" y="35025"/>
                  </a:lnTo>
                  <a:lnTo>
                    <a:pt x="8572" y="34787"/>
                  </a:lnTo>
                  <a:lnTo>
                    <a:pt x="8678" y="34601"/>
                  </a:lnTo>
                  <a:lnTo>
                    <a:pt x="10880" y="31576"/>
                  </a:lnTo>
                  <a:lnTo>
                    <a:pt x="12339" y="29533"/>
                  </a:lnTo>
                  <a:lnTo>
                    <a:pt x="13905" y="27277"/>
                  </a:lnTo>
                  <a:lnTo>
                    <a:pt x="14648" y="26110"/>
                  </a:lnTo>
                  <a:lnTo>
                    <a:pt x="15391" y="24969"/>
                  </a:lnTo>
                  <a:lnTo>
                    <a:pt x="16107" y="23828"/>
                  </a:lnTo>
                  <a:lnTo>
                    <a:pt x="16744" y="22713"/>
                  </a:lnTo>
                  <a:lnTo>
                    <a:pt x="17328" y="21652"/>
                  </a:lnTo>
                  <a:lnTo>
                    <a:pt x="17806" y="20670"/>
                  </a:lnTo>
                  <a:lnTo>
                    <a:pt x="18018" y="20193"/>
                  </a:lnTo>
                  <a:lnTo>
                    <a:pt x="18204" y="19742"/>
                  </a:lnTo>
                  <a:lnTo>
                    <a:pt x="18336" y="19317"/>
                  </a:lnTo>
                  <a:lnTo>
                    <a:pt x="18469" y="18919"/>
                  </a:lnTo>
                  <a:lnTo>
                    <a:pt x="18548" y="18548"/>
                  </a:lnTo>
                  <a:lnTo>
                    <a:pt x="18628" y="18150"/>
                  </a:lnTo>
                  <a:lnTo>
                    <a:pt x="18681" y="17672"/>
                  </a:lnTo>
                  <a:lnTo>
                    <a:pt x="18708" y="17141"/>
                  </a:lnTo>
                  <a:lnTo>
                    <a:pt x="18734" y="15974"/>
                  </a:lnTo>
                  <a:lnTo>
                    <a:pt x="18708" y="14700"/>
                  </a:lnTo>
                  <a:lnTo>
                    <a:pt x="18655" y="13294"/>
                  </a:lnTo>
                  <a:lnTo>
                    <a:pt x="18548" y="11834"/>
                  </a:lnTo>
                  <a:lnTo>
                    <a:pt x="18416" y="10348"/>
                  </a:lnTo>
                  <a:lnTo>
                    <a:pt x="18257" y="8836"/>
                  </a:lnTo>
                  <a:lnTo>
                    <a:pt x="18071" y="7377"/>
                  </a:lnTo>
                  <a:lnTo>
                    <a:pt x="17885" y="5970"/>
                  </a:lnTo>
                  <a:lnTo>
                    <a:pt x="17540" y="3476"/>
                  </a:lnTo>
                  <a:lnTo>
                    <a:pt x="17248" y="1619"/>
                  </a:lnTo>
                  <a:lnTo>
                    <a:pt x="17063" y="690"/>
                  </a:lnTo>
                  <a:lnTo>
                    <a:pt x="17036" y="610"/>
                  </a:lnTo>
                  <a:lnTo>
                    <a:pt x="16956" y="531"/>
                  </a:lnTo>
                  <a:lnTo>
                    <a:pt x="16877" y="451"/>
                  </a:lnTo>
                  <a:lnTo>
                    <a:pt x="16744" y="372"/>
                  </a:lnTo>
                  <a:lnTo>
                    <a:pt x="16452" y="239"/>
                  </a:lnTo>
                  <a:lnTo>
                    <a:pt x="16081" y="159"/>
                  </a:lnTo>
                  <a:lnTo>
                    <a:pt x="15630" y="80"/>
                  </a:lnTo>
                  <a:lnTo>
                    <a:pt x="15152" y="27"/>
                  </a:lnTo>
                  <a:lnTo>
                    <a:pt x="14648" y="0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" name="Google Shape;1155;p57">
              <a:extLst>
                <a:ext uri="{FF2B5EF4-FFF2-40B4-BE49-F238E27FC236}">
                  <a16:creationId xmlns:a16="http://schemas.microsoft.com/office/drawing/2014/main" id="{1289981C-6AFF-E4D3-B1B4-07D267B8D2FE}"/>
                </a:ext>
              </a:extLst>
            </p:cNvPr>
            <p:cNvSpPr/>
            <p:nvPr/>
          </p:nvSpPr>
          <p:spPr>
            <a:xfrm>
              <a:off x="8890824" y="4250437"/>
              <a:ext cx="84517" cy="65460"/>
            </a:xfrm>
            <a:custGeom>
              <a:avLst/>
              <a:gdLst/>
              <a:ahLst/>
              <a:cxnLst/>
              <a:rect l="l" t="t" r="r" b="b"/>
              <a:pathLst>
                <a:path w="10005" h="7749" extrusionOk="0">
                  <a:moveTo>
                    <a:pt x="4618" y="0"/>
                  </a:moveTo>
                  <a:lnTo>
                    <a:pt x="1" y="4007"/>
                  </a:lnTo>
                  <a:lnTo>
                    <a:pt x="319" y="4352"/>
                  </a:lnTo>
                  <a:lnTo>
                    <a:pt x="1115" y="5227"/>
                  </a:lnTo>
                  <a:lnTo>
                    <a:pt x="1726" y="5864"/>
                  </a:lnTo>
                  <a:lnTo>
                    <a:pt x="2362" y="6501"/>
                  </a:lnTo>
                  <a:lnTo>
                    <a:pt x="2973" y="7058"/>
                  </a:lnTo>
                  <a:lnTo>
                    <a:pt x="3238" y="7297"/>
                  </a:lnTo>
                  <a:lnTo>
                    <a:pt x="3503" y="7483"/>
                  </a:lnTo>
                  <a:lnTo>
                    <a:pt x="3636" y="7562"/>
                  </a:lnTo>
                  <a:lnTo>
                    <a:pt x="3901" y="7642"/>
                  </a:lnTo>
                  <a:lnTo>
                    <a:pt x="4193" y="7722"/>
                  </a:lnTo>
                  <a:lnTo>
                    <a:pt x="4538" y="7748"/>
                  </a:lnTo>
                  <a:lnTo>
                    <a:pt x="4910" y="7748"/>
                  </a:lnTo>
                  <a:lnTo>
                    <a:pt x="5281" y="7722"/>
                  </a:lnTo>
                  <a:lnTo>
                    <a:pt x="5706" y="7669"/>
                  </a:lnTo>
                  <a:lnTo>
                    <a:pt x="6130" y="7589"/>
                  </a:lnTo>
                  <a:lnTo>
                    <a:pt x="6581" y="7483"/>
                  </a:lnTo>
                  <a:lnTo>
                    <a:pt x="7006" y="7350"/>
                  </a:lnTo>
                  <a:lnTo>
                    <a:pt x="7457" y="7191"/>
                  </a:lnTo>
                  <a:lnTo>
                    <a:pt x="7908" y="7005"/>
                  </a:lnTo>
                  <a:lnTo>
                    <a:pt x="8333" y="6793"/>
                  </a:lnTo>
                  <a:lnTo>
                    <a:pt x="8757" y="6554"/>
                  </a:lnTo>
                  <a:lnTo>
                    <a:pt x="9155" y="6289"/>
                  </a:lnTo>
                  <a:lnTo>
                    <a:pt x="9553" y="6023"/>
                  </a:lnTo>
                  <a:lnTo>
                    <a:pt x="9898" y="5705"/>
                  </a:lnTo>
                  <a:lnTo>
                    <a:pt x="9951" y="5652"/>
                  </a:lnTo>
                  <a:lnTo>
                    <a:pt x="10004" y="5572"/>
                  </a:lnTo>
                  <a:lnTo>
                    <a:pt x="10004" y="5493"/>
                  </a:lnTo>
                  <a:lnTo>
                    <a:pt x="10004" y="5413"/>
                  </a:lnTo>
                  <a:lnTo>
                    <a:pt x="9978" y="5227"/>
                  </a:lnTo>
                  <a:lnTo>
                    <a:pt x="9845" y="5042"/>
                  </a:lnTo>
                  <a:lnTo>
                    <a:pt x="9713" y="4829"/>
                  </a:lnTo>
                  <a:lnTo>
                    <a:pt x="9500" y="4644"/>
                  </a:lnTo>
                  <a:lnTo>
                    <a:pt x="9076" y="4219"/>
                  </a:lnTo>
                  <a:lnTo>
                    <a:pt x="8625" y="3821"/>
                  </a:lnTo>
                  <a:lnTo>
                    <a:pt x="8439" y="3609"/>
                  </a:lnTo>
                  <a:lnTo>
                    <a:pt x="8280" y="3423"/>
                  </a:lnTo>
                  <a:lnTo>
                    <a:pt x="8174" y="3237"/>
                  </a:lnTo>
                  <a:lnTo>
                    <a:pt x="8120" y="3078"/>
                  </a:lnTo>
                  <a:lnTo>
                    <a:pt x="8120" y="2998"/>
                  </a:lnTo>
                  <a:lnTo>
                    <a:pt x="8147" y="2919"/>
                  </a:lnTo>
                  <a:lnTo>
                    <a:pt x="8174" y="2839"/>
                  </a:lnTo>
                  <a:lnTo>
                    <a:pt x="8227" y="2786"/>
                  </a:lnTo>
                  <a:lnTo>
                    <a:pt x="8306" y="2707"/>
                  </a:lnTo>
                  <a:lnTo>
                    <a:pt x="8333" y="2627"/>
                  </a:lnTo>
                  <a:lnTo>
                    <a:pt x="8359" y="2574"/>
                  </a:lnTo>
                  <a:lnTo>
                    <a:pt x="8333" y="2468"/>
                  </a:lnTo>
                  <a:lnTo>
                    <a:pt x="8306" y="2388"/>
                  </a:lnTo>
                  <a:lnTo>
                    <a:pt x="8227" y="2309"/>
                  </a:lnTo>
                  <a:lnTo>
                    <a:pt x="8041" y="2123"/>
                  </a:lnTo>
                  <a:lnTo>
                    <a:pt x="7802" y="1937"/>
                  </a:lnTo>
                  <a:lnTo>
                    <a:pt x="7484" y="1725"/>
                  </a:lnTo>
                  <a:lnTo>
                    <a:pt x="6741" y="1327"/>
                  </a:lnTo>
                  <a:lnTo>
                    <a:pt x="5626" y="690"/>
                  </a:lnTo>
                  <a:lnTo>
                    <a:pt x="5122" y="398"/>
                  </a:lnTo>
                  <a:lnTo>
                    <a:pt x="4697" y="80"/>
                  </a:lnTo>
                  <a:lnTo>
                    <a:pt x="4618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" name="Google Shape;1156;p57">
              <a:extLst>
                <a:ext uri="{FF2B5EF4-FFF2-40B4-BE49-F238E27FC236}">
                  <a16:creationId xmlns:a16="http://schemas.microsoft.com/office/drawing/2014/main" id="{EF2666E5-DCC3-5899-8B3E-5E116AEE46D0}"/>
                </a:ext>
              </a:extLst>
            </p:cNvPr>
            <p:cNvSpPr/>
            <p:nvPr/>
          </p:nvSpPr>
          <p:spPr>
            <a:xfrm>
              <a:off x="8867737" y="4227122"/>
              <a:ext cx="68154" cy="89442"/>
            </a:xfrm>
            <a:custGeom>
              <a:avLst/>
              <a:gdLst/>
              <a:ahLst/>
              <a:cxnLst/>
              <a:rect l="l" t="t" r="r" b="b"/>
              <a:pathLst>
                <a:path w="8068" h="10588" extrusionOk="0">
                  <a:moveTo>
                    <a:pt x="6741" y="0"/>
                  </a:moveTo>
                  <a:lnTo>
                    <a:pt x="6502" y="27"/>
                  </a:lnTo>
                  <a:lnTo>
                    <a:pt x="6290" y="80"/>
                  </a:lnTo>
                  <a:lnTo>
                    <a:pt x="6051" y="213"/>
                  </a:lnTo>
                  <a:lnTo>
                    <a:pt x="5865" y="345"/>
                  </a:lnTo>
                  <a:lnTo>
                    <a:pt x="5653" y="531"/>
                  </a:lnTo>
                  <a:lnTo>
                    <a:pt x="5467" y="717"/>
                  </a:lnTo>
                  <a:lnTo>
                    <a:pt x="5149" y="1141"/>
                  </a:lnTo>
                  <a:lnTo>
                    <a:pt x="5069" y="1248"/>
                  </a:lnTo>
                  <a:lnTo>
                    <a:pt x="5016" y="1327"/>
                  </a:lnTo>
                  <a:lnTo>
                    <a:pt x="4936" y="1354"/>
                  </a:lnTo>
                  <a:lnTo>
                    <a:pt x="4857" y="1407"/>
                  </a:lnTo>
                  <a:lnTo>
                    <a:pt x="4565" y="1407"/>
                  </a:lnTo>
                  <a:lnTo>
                    <a:pt x="4326" y="1380"/>
                  </a:lnTo>
                  <a:lnTo>
                    <a:pt x="4087" y="1354"/>
                  </a:lnTo>
                  <a:lnTo>
                    <a:pt x="3822" y="1327"/>
                  </a:lnTo>
                  <a:lnTo>
                    <a:pt x="3556" y="1327"/>
                  </a:lnTo>
                  <a:lnTo>
                    <a:pt x="3291" y="1380"/>
                  </a:lnTo>
                  <a:lnTo>
                    <a:pt x="3132" y="1433"/>
                  </a:lnTo>
                  <a:lnTo>
                    <a:pt x="2999" y="1486"/>
                  </a:lnTo>
                  <a:lnTo>
                    <a:pt x="2867" y="1593"/>
                  </a:lnTo>
                  <a:lnTo>
                    <a:pt x="2734" y="1699"/>
                  </a:lnTo>
                  <a:lnTo>
                    <a:pt x="2522" y="1937"/>
                  </a:lnTo>
                  <a:lnTo>
                    <a:pt x="2389" y="2150"/>
                  </a:lnTo>
                  <a:lnTo>
                    <a:pt x="2336" y="2362"/>
                  </a:lnTo>
                  <a:lnTo>
                    <a:pt x="2283" y="2548"/>
                  </a:lnTo>
                  <a:lnTo>
                    <a:pt x="2256" y="2734"/>
                  </a:lnTo>
                  <a:lnTo>
                    <a:pt x="2203" y="2919"/>
                  </a:lnTo>
                  <a:lnTo>
                    <a:pt x="2097" y="3132"/>
                  </a:lnTo>
                  <a:lnTo>
                    <a:pt x="1938" y="3370"/>
                  </a:lnTo>
                  <a:lnTo>
                    <a:pt x="1858" y="3423"/>
                  </a:lnTo>
                  <a:lnTo>
                    <a:pt x="1752" y="3503"/>
                  </a:lnTo>
                  <a:lnTo>
                    <a:pt x="1513" y="3609"/>
                  </a:lnTo>
                  <a:lnTo>
                    <a:pt x="903" y="3821"/>
                  </a:lnTo>
                  <a:lnTo>
                    <a:pt x="611" y="3981"/>
                  </a:lnTo>
                  <a:lnTo>
                    <a:pt x="478" y="4087"/>
                  </a:lnTo>
                  <a:lnTo>
                    <a:pt x="346" y="4193"/>
                  </a:lnTo>
                  <a:lnTo>
                    <a:pt x="240" y="4299"/>
                  </a:lnTo>
                  <a:lnTo>
                    <a:pt x="134" y="4432"/>
                  </a:lnTo>
                  <a:lnTo>
                    <a:pt x="80" y="4591"/>
                  </a:lnTo>
                  <a:lnTo>
                    <a:pt x="27" y="4777"/>
                  </a:lnTo>
                  <a:lnTo>
                    <a:pt x="1" y="5015"/>
                  </a:lnTo>
                  <a:lnTo>
                    <a:pt x="1" y="5254"/>
                  </a:lnTo>
                  <a:lnTo>
                    <a:pt x="27" y="5440"/>
                  </a:lnTo>
                  <a:lnTo>
                    <a:pt x="54" y="5652"/>
                  </a:lnTo>
                  <a:lnTo>
                    <a:pt x="134" y="5865"/>
                  </a:lnTo>
                  <a:lnTo>
                    <a:pt x="213" y="6050"/>
                  </a:lnTo>
                  <a:lnTo>
                    <a:pt x="319" y="6236"/>
                  </a:lnTo>
                  <a:lnTo>
                    <a:pt x="452" y="6395"/>
                  </a:lnTo>
                  <a:lnTo>
                    <a:pt x="717" y="6740"/>
                  </a:lnTo>
                  <a:lnTo>
                    <a:pt x="983" y="7059"/>
                  </a:lnTo>
                  <a:lnTo>
                    <a:pt x="1248" y="7377"/>
                  </a:lnTo>
                  <a:lnTo>
                    <a:pt x="1354" y="7563"/>
                  </a:lnTo>
                  <a:lnTo>
                    <a:pt x="1460" y="7749"/>
                  </a:lnTo>
                  <a:lnTo>
                    <a:pt x="1540" y="7961"/>
                  </a:lnTo>
                  <a:lnTo>
                    <a:pt x="1593" y="8173"/>
                  </a:lnTo>
                  <a:lnTo>
                    <a:pt x="1646" y="8412"/>
                  </a:lnTo>
                  <a:lnTo>
                    <a:pt x="1646" y="8677"/>
                  </a:lnTo>
                  <a:lnTo>
                    <a:pt x="1646" y="8836"/>
                  </a:lnTo>
                  <a:lnTo>
                    <a:pt x="1673" y="8996"/>
                  </a:lnTo>
                  <a:lnTo>
                    <a:pt x="1726" y="9128"/>
                  </a:lnTo>
                  <a:lnTo>
                    <a:pt x="1779" y="9261"/>
                  </a:lnTo>
                  <a:lnTo>
                    <a:pt x="1858" y="9394"/>
                  </a:lnTo>
                  <a:lnTo>
                    <a:pt x="1938" y="9526"/>
                  </a:lnTo>
                  <a:lnTo>
                    <a:pt x="2044" y="9632"/>
                  </a:lnTo>
                  <a:lnTo>
                    <a:pt x="2177" y="9765"/>
                  </a:lnTo>
                  <a:lnTo>
                    <a:pt x="2469" y="9951"/>
                  </a:lnTo>
                  <a:lnTo>
                    <a:pt x="2787" y="10137"/>
                  </a:lnTo>
                  <a:lnTo>
                    <a:pt x="3158" y="10269"/>
                  </a:lnTo>
                  <a:lnTo>
                    <a:pt x="3556" y="10375"/>
                  </a:lnTo>
                  <a:lnTo>
                    <a:pt x="3954" y="10482"/>
                  </a:lnTo>
                  <a:lnTo>
                    <a:pt x="4352" y="10535"/>
                  </a:lnTo>
                  <a:lnTo>
                    <a:pt x="4724" y="10561"/>
                  </a:lnTo>
                  <a:lnTo>
                    <a:pt x="5095" y="10588"/>
                  </a:lnTo>
                  <a:lnTo>
                    <a:pt x="5440" y="10588"/>
                  </a:lnTo>
                  <a:lnTo>
                    <a:pt x="5759" y="10561"/>
                  </a:lnTo>
                  <a:lnTo>
                    <a:pt x="5998" y="10535"/>
                  </a:lnTo>
                  <a:lnTo>
                    <a:pt x="6210" y="10482"/>
                  </a:lnTo>
                  <a:lnTo>
                    <a:pt x="6343" y="10402"/>
                  </a:lnTo>
                  <a:lnTo>
                    <a:pt x="6369" y="10349"/>
                  </a:lnTo>
                  <a:lnTo>
                    <a:pt x="6369" y="10322"/>
                  </a:lnTo>
                  <a:lnTo>
                    <a:pt x="6369" y="10190"/>
                  </a:lnTo>
                  <a:lnTo>
                    <a:pt x="6316" y="10084"/>
                  </a:lnTo>
                  <a:lnTo>
                    <a:pt x="6236" y="9951"/>
                  </a:lnTo>
                  <a:lnTo>
                    <a:pt x="6157" y="9818"/>
                  </a:lnTo>
                  <a:lnTo>
                    <a:pt x="5918" y="9579"/>
                  </a:lnTo>
                  <a:lnTo>
                    <a:pt x="5626" y="9341"/>
                  </a:lnTo>
                  <a:lnTo>
                    <a:pt x="5361" y="9102"/>
                  </a:lnTo>
                  <a:lnTo>
                    <a:pt x="5122" y="8863"/>
                  </a:lnTo>
                  <a:lnTo>
                    <a:pt x="5016" y="8757"/>
                  </a:lnTo>
                  <a:lnTo>
                    <a:pt x="4963" y="8624"/>
                  </a:lnTo>
                  <a:lnTo>
                    <a:pt x="4936" y="8518"/>
                  </a:lnTo>
                  <a:lnTo>
                    <a:pt x="4910" y="8412"/>
                  </a:lnTo>
                  <a:lnTo>
                    <a:pt x="4989" y="8147"/>
                  </a:lnTo>
                  <a:lnTo>
                    <a:pt x="5042" y="8040"/>
                  </a:lnTo>
                  <a:lnTo>
                    <a:pt x="5095" y="7987"/>
                  </a:lnTo>
                  <a:lnTo>
                    <a:pt x="5149" y="7908"/>
                  </a:lnTo>
                  <a:lnTo>
                    <a:pt x="5228" y="7881"/>
                  </a:lnTo>
                  <a:lnTo>
                    <a:pt x="5414" y="7855"/>
                  </a:lnTo>
                  <a:lnTo>
                    <a:pt x="5600" y="7881"/>
                  </a:lnTo>
                  <a:lnTo>
                    <a:pt x="5838" y="7908"/>
                  </a:lnTo>
                  <a:lnTo>
                    <a:pt x="6104" y="7934"/>
                  </a:lnTo>
                  <a:lnTo>
                    <a:pt x="6396" y="7961"/>
                  </a:lnTo>
                  <a:lnTo>
                    <a:pt x="6741" y="7961"/>
                  </a:lnTo>
                  <a:lnTo>
                    <a:pt x="7032" y="7881"/>
                  </a:lnTo>
                  <a:lnTo>
                    <a:pt x="7165" y="7802"/>
                  </a:lnTo>
                  <a:lnTo>
                    <a:pt x="7298" y="7749"/>
                  </a:lnTo>
                  <a:lnTo>
                    <a:pt x="7377" y="7669"/>
                  </a:lnTo>
                  <a:lnTo>
                    <a:pt x="7457" y="7589"/>
                  </a:lnTo>
                  <a:lnTo>
                    <a:pt x="7510" y="7510"/>
                  </a:lnTo>
                  <a:lnTo>
                    <a:pt x="7510" y="7404"/>
                  </a:lnTo>
                  <a:lnTo>
                    <a:pt x="7510" y="7324"/>
                  </a:lnTo>
                  <a:lnTo>
                    <a:pt x="7457" y="7218"/>
                  </a:lnTo>
                  <a:lnTo>
                    <a:pt x="7351" y="7138"/>
                  </a:lnTo>
                  <a:lnTo>
                    <a:pt x="7218" y="7059"/>
                  </a:lnTo>
                  <a:lnTo>
                    <a:pt x="7059" y="6979"/>
                  </a:lnTo>
                  <a:lnTo>
                    <a:pt x="6820" y="6899"/>
                  </a:lnTo>
                  <a:lnTo>
                    <a:pt x="6555" y="6820"/>
                  </a:lnTo>
                  <a:lnTo>
                    <a:pt x="6343" y="6740"/>
                  </a:lnTo>
                  <a:lnTo>
                    <a:pt x="6183" y="6661"/>
                  </a:lnTo>
                  <a:lnTo>
                    <a:pt x="6051" y="6581"/>
                  </a:lnTo>
                  <a:lnTo>
                    <a:pt x="5918" y="6448"/>
                  </a:lnTo>
                  <a:lnTo>
                    <a:pt x="5865" y="6316"/>
                  </a:lnTo>
                  <a:lnTo>
                    <a:pt x="5838" y="6210"/>
                  </a:lnTo>
                  <a:lnTo>
                    <a:pt x="5891" y="6077"/>
                  </a:lnTo>
                  <a:lnTo>
                    <a:pt x="5971" y="5944"/>
                  </a:lnTo>
                  <a:lnTo>
                    <a:pt x="6077" y="5838"/>
                  </a:lnTo>
                  <a:lnTo>
                    <a:pt x="6210" y="5705"/>
                  </a:lnTo>
                  <a:lnTo>
                    <a:pt x="6369" y="5599"/>
                  </a:lnTo>
                  <a:lnTo>
                    <a:pt x="6794" y="5334"/>
                  </a:lnTo>
                  <a:lnTo>
                    <a:pt x="7086" y="5175"/>
                  </a:lnTo>
                  <a:lnTo>
                    <a:pt x="7165" y="5095"/>
                  </a:lnTo>
                  <a:lnTo>
                    <a:pt x="7271" y="4989"/>
                  </a:lnTo>
                  <a:lnTo>
                    <a:pt x="7351" y="4856"/>
                  </a:lnTo>
                  <a:lnTo>
                    <a:pt x="7430" y="4671"/>
                  </a:lnTo>
                  <a:lnTo>
                    <a:pt x="7457" y="4564"/>
                  </a:lnTo>
                  <a:lnTo>
                    <a:pt x="7457" y="4485"/>
                  </a:lnTo>
                  <a:lnTo>
                    <a:pt x="7430" y="4405"/>
                  </a:lnTo>
                  <a:lnTo>
                    <a:pt x="7377" y="4326"/>
                  </a:lnTo>
                  <a:lnTo>
                    <a:pt x="7245" y="4193"/>
                  </a:lnTo>
                  <a:lnTo>
                    <a:pt x="7086" y="4087"/>
                  </a:lnTo>
                  <a:lnTo>
                    <a:pt x="6926" y="3954"/>
                  </a:lnTo>
                  <a:lnTo>
                    <a:pt x="6873" y="3875"/>
                  </a:lnTo>
                  <a:lnTo>
                    <a:pt x="6847" y="3795"/>
                  </a:lnTo>
                  <a:lnTo>
                    <a:pt x="6847" y="3689"/>
                  </a:lnTo>
                  <a:lnTo>
                    <a:pt x="6873" y="3583"/>
                  </a:lnTo>
                  <a:lnTo>
                    <a:pt x="6926" y="3450"/>
                  </a:lnTo>
                  <a:lnTo>
                    <a:pt x="7032" y="3317"/>
                  </a:lnTo>
                  <a:lnTo>
                    <a:pt x="7430" y="2840"/>
                  </a:lnTo>
                  <a:lnTo>
                    <a:pt x="7616" y="2601"/>
                  </a:lnTo>
                  <a:lnTo>
                    <a:pt x="7775" y="2362"/>
                  </a:lnTo>
                  <a:lnTo>
                    <a:pt x="7908" y="2123"/>
                  </a:lnTo>
                  <a:lnTo>
                    <a:pt x="8014" y="1858"/>
                  </a:lnTo>
                  <a:lnTo>
                    <a:pt x="8067" y="1619"/>
                  </a:lnTo>
                  <a:lnTo>
                    <a:pt x="8067" y="1354"/>
                  </a:lnTo>
                  <a:lnTo>
                    <a:pt x="8041" y="1221"/>
                  </a:lnTo>
                  <a:lnTo>
                    <a:pt x="8014" y="1088"/>
                  </a:lnTo>
                  <a:lnTo>
                    <a:pt x="7935" y="956"/>
                  </a:lnTo>
                  <a:lnTo>
                    <a:pt x="7855" y="823"/>
                  </a:lnTo>
                  <a:lnTo>
                    <a:pt x="7749" y="664"/>
                  </a:lnTo>
                  <a:lnTo>
                    <a:pt x="7563" y="452"/>
                  </a:lnTo>
                  <a:lnTo>
                    <a:pt x="7377" y="266"/>
                  </a:lnTo>
                  <a:lnTo>
                    <a:pt x="7192" y="160"/>
                  </a:lnTo>
                  <a:lnTo>
                    <a:pt x="7006" y="54"/>
                  </a:lnTo>
                  <a:lnTo>
                    <a:pt x="6873" y="27"/>
                  </a:lnTo>
                  <a:lnTo>
                    <a:pt x="6741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" name="Google Shape;1157;p57">
              <a:extLst>
                <a:ext uri="{FF2B5EF4-FFF2-40B4-BE49-F238E27FC236}">
                  <a16:creationId xmlns:a16="http://schemas.microsoft.com/office/drawing/2014/main" id="{2725E6D5-4519-F343-E188-AAAB21DEE41F}"/>
                </a:ext>
              </a:extLst>
            </p:cNvPr>
            <p:cNvSpPr/>
            <p:nvPr/>
          </p:nvSpPr>
          <p:spPr>
            <a:xfrm>
              <a:off x="8662420" y="4088372"/>
              <a:ext cx="70841" cy="136292"/>
            </a:xfrm>
            <a:custGeom>
              <a:avLst/>
              <a:gdLst/>
              <a:ahLst/>
              <a:cxnLst/>
              <a:rect l="l" t="t" r="r" b="b"/>
              <a:pathLst>
                <a:path w="8386" h="16134" extrusionOk="0">
                  <a:moveTo>
                    <a:pt x="8385" y="14037"/>
                  </a:moveTo>
                  <a:lnTo>
                    <a:pt x="8385" y="14037"/>
                  </a:lnTo>
                  <a:lnTo>
                    <a:pt x="8385" y="14037"/>
                  </a:lnTo>
                  <a:close/>
                  <a:moveTo>
                    <a:pt x="1964" y="1"/>
                  </a:moveTo>
                  <a:lnTo>
                    <a:pt x="1619" y="27"/>
                  </a:lnTo>
                  <a:lnTo>
                    <a:pt x="1300" y="80"/>
                  </a:lnTo>
                  <a:lnTo>
                    <a:pt x="982" y="160"/>
                  </a:lnTo>
                  <a:lnTo>
                    <a:pt x="717" y="266"/>
                  </a:lnTo>
                  <a:lnTo>
                    <a:pt x="478" y="425"/>
                  </a:lnTo>
                  <a:lnTo>
                    <a:pt x="266" y="611"/>
                  </a:lnTo>
                  <a:lnTo>
                    <a:pt x="186" y="717"/>
                  </a:lnTo>
                  <a:lnTo>
                    <a:pt x="133" y="850"/>
                  </a:lnTo>
                  <a:lnTo>
                    <a:pt x="53" y="1089"/>
                  </a:lnTo>
                  <a:lnTo>
                    <a:pt x="0" y="1460"/>
                  </a:lnTo>
                  <a:lnTo>
                    <a:pt x="0" y="1725"/>
                  </a:lnTo>
                  <a:lnTo>
                    <a:pt x="0" y="2017"/>
                  </a:lnTo>
                  <a:lnTo>
                    <a:pt x="27" y="2336"/>
                  </a:lnTo>
                  <a:lnTo>
                    <a:pt x="80" y="2681"/>
                  </a:lnTo>
                  <a:lnTo>
                    <a:pt x="186" y="3052"/>
                  </a:lnTo>
                  <a:lnTo>
                    <a:pt x="292" y="3424"/>
                  </a:lnTo>
                  <a:lnTo>
                    <a:pt x="478" y="3848"/>
                  </a:lnTo>
                  <a:lnTo>
                    <a:pt x="690" y="4273"/>
                  </a:lnTo>
                  <a:lnTo>
                    <a:pt x="955" y="4697"/>
                  </a:lnTo>
                  <a:lnTo>
                    <a:pt x="1274" y="5148"/>
                  </a:lnTo>
                  <a:lnTo>
                    <a:pt x="1645" y="5599"/>
                  </a:lnTo>
                  <a:lnTo>
                    <a:pt x="2070" y="6051"/>
                  </a:lnTo>
                  <a:lnTo>
                    <a:pt x="2176" y="6183"/>
                  </a:lnTo>
                  <a:lnTo>
                    <a:pt x="2282" y="6342"/>
                  </a:lnTo>
                  <a:lnTo>
                    <a:pt x="2521" y="6767"/>
                  </a:lnTo>
                  <a:lnTo>
                    <a:pt x="2760" y="7324"/>
                  </a:lnTo>
                  <a:lnTo>
                    <a:pt x="3052" y="7988"/>
                  </a:lnTo>
                  <a:lnTo>
                    <a:pt x="3317" y="8757"/>
                  </a:lnTo>
                  <a:lnTo>
                    <a:pt x="3609" y="9580"/>
                  </a:lnTo>
                  <a:lnTo>
                    <a:pt x="4193" y="11304"/>
                  </a:lnTo>
                  <a:lnTo>
                    <a:pt x="4723" y="13029"/>
                  </a:lnTo>
                  <a:lnTo>
                    <a:pt x="5174" y="14515"/>
                  </a:lnTo>
                  <a:lnTo>
                    <a:pt x="5519" y="15603"/>
                  </a:lnTo>
                  <a:lnTo>
                    <a:pt x="5679" y="16081"/>
                  </a:lnTo>
                  <a:lnTo>
                    <a:pt x="5705" y="16107"/>
                  </a:lnTo>
                  <a:lnTo>
                    <a:pt x="5758" y="16134"/>
                  </a:lnTo>
                  <a:lnTo>
                    <a:pt x="5864" y="16107"/>
                  </a:lnTo>
                  <a:lnTo>
                    <a:pt x="5997" y="16001"/>
                  </a:lnTo>
                  <a:lnTo>
                    <a:pt x="6156" y="15842"/>
                  </a:lnTo>
                  <a:lnTo>
                    <a:pt x="6554" y="15417"/>
                  </a:lnTo>
                  <a:lnTo>
                    <a:pt x="6979" y="14913"/>
                  </a:lnTo>
                  <a:lnTo>
                    <a:pt x="7403" y="14409"/>
                  </a:lnTo>
                  <a:lnTo>
                    <a:pt x="7616" y="14223"/>
                  </a:lnTo>
                  <a:lnTo>
                    <a:pt x="7828" y="14037"/>
                  </a:lnTo>
                  <a:lnTo>
                    <a:pt x="7987" y="13931"/>
                  </a:lnTo>
                  <a:lnTo>
                    <a:pt x="8146" y="13878"/>
                  </a:lnTo>
                  <a:lnTo>
                    <a:pt x="8226" y="13878"/>
                  </a:lnTo>
                  <a:lnTo>
                    <a:pt x="8279" y="13905"/>
                  </a:lnTo>
                  <a:lnTo>
                    <a:pt x="8332" y="13958"/>
                  </a:lnTo>
                  <a:lnTo>
                    <a:pt x="8385" y="14037"/>
                  </a:lnTo>
                  <a:lnTo>
                    <a:pt x="8120" y="13533"/>
                  </a:lnTo>
                  <a:lnTo>
                    <a:pt x="7563" y="12366"/>
                  </a:lnTo>
                  <a:lnTo>
                    <a:pt x="7271" y="11702"/>
                  </a:lnTo>
                  <a:lnTo>
                    <a:pt x="6979" y="11066"/>
                  </a:lnTo>
                  <a:lnTo>
                    <a:pt x="6793" y="10535"/>
                  </a:lnTo>
                  <a:lnTo>
                    <a:pt x="6713" y="10323"/>
                  </a:lnTo>
                  <a:lnTo>
                    <a:pt x="6687" y="10190"/>
                  </a:lnTo>
                  <a:lnTo>
                    <a:pt x="6687" y="9978"/>
                  </a:lnTo>
                  <a:lnTo>
                    <a:pt x="6740" y="9659"/>
                  </a:lnTo>
                  <a:lnTo>
                    <a:pt x="6846" y="8890"/>
                  </a:lnTo>
                  <a:lnTo>
                    <a:pt x="6873" y="8465"/>
                  </a:lnTo>
                  <a:lnTo>
                    <a:pt x="6873" y="8041"/>
                  </a:lnTo>
                  <a:lnTo>
                    <a:pt x="6873" y="7828"/>
                  </a:lnTo>
                  <a:lnTo>
                    <a:pt x="6820" y="7643"/>
                  </a:lnTo>
                  <a:lnTo>
                    <a:pt x="6767" y="7483"/>
                  </a:lnTo>
                  <a:lnTo>
                    <a:pt x="6713" y="7324"/>
                  </a:lnTo>
                  <a:lnTo>
                    <a:pt x="6422" y="6847"/>
                  </a:lnTo>
                  <a:lnTo>
                    <a:pt x="6183" y="6342"/>
                  </a:lnTo>
                  <a:lnTo>
                    <a:pt x="5944" y="5812"/>
                  </a:lnTo>
                  <a:lnTo>
                    <a:pt x="5838" y="5493"/>
                  </a:lnTo>
                  <a:lnTo>
                    <a:pt x="5785" y="5175"/>
                  </a:lnTo>
                  <a:lnTo>
                    <a:pt x="5732" y="4830"/>
                  </a:lnTo>
                  <a:lnTo>
                    <a:pt x="5705" y="4485"/>
                  </a:lnTo>
                  <a:lnTo>
                    <a:pt x="5732" y="4220"/>
                  </a:lnTo>
                  <a:lnTo>
                    <a:pt x="5785" y="3981"/>
                  </a:lnTo>
                  <a:lnTo>
                    <a:pt x="5838" y="3742"/>
                  </a:lnTo>
                  <a:lnTo>
                    <a:pt x="5944" y="3503"/>
                  </a:lnTo>
                  <a:lnTo>
                    <a:pt x="6183" y="3052"/>
                  </a:lnTo>
                  <a:lnTo>
                    <a:pt x="6422" y="2654"/>
                  </a:lnTo>
                  <a:lnTo>
                    <a:pt x="6634" y="2309"/>
                  </a:lnTo>
                  <a:lnTo>
                    <a:pt x="6713" y="2176"/>
                  </a:lnTo>
                  <a:lnTo>
                    <a:pt x="6767" y="2044"/>
                  </a:lnTo>
                  <a:lnTo>
                    <a:pt x="6767" y="1938"/>
                  </a:lnTo>
                  <a:lnTo>
                    <a:pt x="6740" y="1858"/>
                  </a:lnTo>
                  <a:lnTo>
                    <a:pt x="6687" y="1778"/>
                  </a:lnTo>
                  <a:lnTo>
                    <a:pt x="6554" y="1752"/>
                  </a:lnTo>
                  <a:lnTo>
                    <a:pt x="6262" y="1725"/>
                  </a:lnTo>
                  <a:lnTo>
                    <a:pt x="6024" y="1752"/>
                  </a:lnTo>
                  <a:lnTo>
                    <a:pt x="5785" y="1752"/>
                  </a:lnTo>
                  <a:lnTo>
                    <a:pt x="5546" y="1725"/>
                  </a:lnTo>
                  <a:lnTo>
                    <a:pt x="5413" y="1699"/>
                  </a:lnTo>
                  <a:lnTo>
                    <a:pt x="5307" y="1646"/>
                  </a:lnTo>
                  <a:lnTo>
                    <a:pt x="5174" y="1566"/>
                  </a:lnTo>
                  <a:lnTo>
                    <a:pt x="5042" y="1460"/>
                  </a:lnTo>
                  <a:lnTo>
                    <a:pt x="4883" y="1327"/>
                  </a:lnTo>
                  <a:lnTo>
                    <a:pt x="4750" y="1142"/>
                  </a:lnTo>
                  <a:lnTo>
                    <a:pt x="4405" y="691"/>
                  </a:lnTo>
                  <a:lnTo>
                    <a:pt x="4272" y="558"/>
                  </a:lnTo>
                  <a:lnTo>
                    <a:pt x="4113" y="452"/>
                  </a:lnTo>
                  <a:lnTo>
                    <a:pt x="3874" y="319"/>
                  </a:lnTo>
                  <a:lnTo>
                    <a:pt x="3635" y="239"/>
                  </a:lnTo>
                  <a:lnTo>
                    <a:pt x="3317" y="160"/>
                  </a:lnTo>
                  <a:lnTo>
                    <a:pt x="2999" y="80"/>
                  </a:lnTo>
                  <a:lnTo>
                    <a:pt x="2680" y="27"/>
                  </a:lnTo>
                  <a:lnTo>
                    <a:pt x="2335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" name="Google Shape;1158;p57">
              <a:extLst>
                <a:ext uri="{FF2B5EF4-FFF2-40B4-BE49-F238E27FC236}">
                  <a16:creationId xmlns:a16="http://schemas.microsoft.com/office/drawing/2014/main" id="{291322DF-A710-E25D-B16E-CB7C963D655A}"/>
                </a:ext>
              </a:extLst>
            </p:cNvPr>
            <p:cNvSpPr/>
            <p:nvPr/>
          </p:nvSpPr>
          <p:spPr>
            <a:xfrm>
              <a:off x="8673850" y="4132527"/>
              <a:ext cx="242984" cy="564648"/>
            </a:xfrm>
            <a:custGeom>
              <a:avLst/>
              <a:gdLst/>
              <a:ahLst/>
              <a:cxnLst/>
              <a:rect l="l" t="t" r="r" b="b"/>
              <a:pathLst>
                <a:path w="28764" h="66842" extrusionOk="0">
                  <a:moveTo>
                    <a:pt x="4909" y="1"/>
                  </a:moveTo>
                  <a:lnTo>
                    <a:pt x="4511" y="54"/>
                  </a:lnTo>
                  <a:lnTo>
                    <a:pt x="4087" y="134"/>
                  </a:lnTo>
                  <a:lnTo>
                    <a:pt x="3609" y="240"/>
                  </a:lnTo>
                  <a:lnTo>
                    <a:pt x="3132" y="372"/>
                  </a:lnTo>
                  <a:lnTo>
                    <a:pt x="2627" y="532"/>
                  </a:lnTo>
                  <a:lnTo>
                    <a:pt x="2123" y="717"/>
                  </a:lnTo>
                  <a:lnTo>
                    <a:pt x="1646" y="903"/>
                  </a:lnTo>
                  <a:lnTo>
                    <a:pt x="1221" y="1089"/>
                  </a:lnTo>
                  <a:lnTo>
                    <a:pt x="823" y="1301"/>
                  </a:lnTo>
                  <a:lnTo>
                    <a:pt x="478" y="1487"/>
                  </a:lnTo>
                  <a:lnTo>
                    <a:pt x="213" y="1673"/>
                  </a:lnTo>
                  <a:lnTo>
                    <a:pt x="133" y="1779"/>
                  </a:lnTo>
                  <a:lnTo>
                    <a:pt x="54" y="1858"/>
                  </a:lnTo>
                  <a:lnTo>
                    <a:pt x="27" y="1938"/>
                  </a:lnTo>
                  <a:lnTo>
                    <a:pt x="0" y="2018"/>
                  </a:lnTo>
                  <a:lnTo>
                    <a:pt x="27" y="2336"/>
                  </a:lnTo>
                  <a:lnTo>
                    <a:pt x="133" y="2946"/>
                  </a:lnTo>
                  <a:lnTo>
                    <a:pt x="558" y="4830"/>
                  </a:lnTo>
                  <a:lnTo>
                    <a:pt x="1168" y="7431"/>
                  </a:lnTo>
                  <a:lnTo>
                    <a:pt x="1539" y="8917"/>
                  </a:lnTo>
                  <a:lnTo>
                    <a:pt x="1938" y="10429"/>
                  </a:lnTo>
                  <a:lnTo>
                    <a:pt x="2362" y="11995"/>
                  </a:lnTo>
                  <a:lnTo>
                    <a:pt x="2787" y="13534"/>
                  </a:lnTo>
                  <a:lnTo>
                    <a:pt x="3264" y="15046"/>
                  </a:lnTo>
                  <a:lnTo>
                    <a:pt x="3715" y="16452"/>
                  </a:lnTo>
                  <a:lnTo>
                    <a:pt x="4193" y="17726"/>
                  </a:lnTo>
                  <a:lnTo>
                    <a:pt x="4644" y="18867"/>
                  </a:lnTo>
                  <a:lnTo>
                    <a:pt x="4856" y="19371"/>
                  </a:lnTo>
                  <a:lnTo>
                    <a:pt x="5069" y="19796"/>
                  </a:lnTo>
                  <a:lnTo>
                    <a:pt x="5307" y="20194"/>
                  </a:lnTo>
                  <a:lnTo>
                    <a:pt x="5493" y="20512"/>
                  </a:lnTo>
                  <a:lnTo>
                    <a:pt x="6024" y="21202"/>
                  </a:lnTo>
                  <a:lnTo>
                    <a:pt x="6608" y="21892"/>
                  </a:lnTo>
                  <a:lnTo>
                    <a:pt x="7244" y="22582"/>
                  </a:lnTo>
                  <a:lnTo>
                    <a:pt x="7934" y="23298"/>
                  </a:lnTo>
                  <a:lnTo>
                    <a:pt x="8624" y="23988"/>
                  </a:lnTo>
                  <a:lnTo>
                    <a:pt x="9367" y="24704"/>
                  </a:lnTo>
                  <a:lnTo>
                    <a:pt x="10880" y="26084"/>
                  </a:lnTo>
                  <a:lnTo>
                    <a:pt x="12392" y="27438"/>
                  </a:lnTo>
                  <a:lnTo>
                    <a:pt x="13798" y="28764"/>
                  </a:lnTo>
                  <a:lnTo>
                    <a:pt x="14462" y="29375"/>
                  </a:lnTo>
                  <a:lnTo>
                    <a:pt x="15046" y="29985"/>
                  </a:lnTo>
                  <a:lnTo>
                    <a:pt x="15603" y="30569"/>
                  </a:lnTo>
                  <a:lnTo>
                    <a:pt x="16080" y="31126"/>
                  </a:lnTo>
                  <a:lnTo>
                    <a:pt x="16187" y="31285"/>
                  </a:lnTo>
                  <a:lnTo>
                    <a:pt x="16293" y="31497"/>
                  </a:lnTo>
                  <a:lnTo>
                    <a:pt x="16399" y="31763"/>
                  </a:lnTo>
                  <a:lnTo>
                    <a:pt x="16505" y="32081"/>
                  </a:lnTo>
                  <a:lnTo>
                    <a:pt x="16744" y="32824"/>
                  </a:lnTo>
                  <a:lnTo>
                    <a:pt x="16956" y="33726"/>
                  </a:lnTo>
                  <a:lnTo>
                    <a:pt x="17195" y="34735"/>
                  </a:lnTo>
                  <a:lnTo>
                    <a:pt x="17407" y="35849"/>
                  </a:lnTo>
                  <a:lnTo>
                    <a:pt x="17832" y="38211"/>
                  </a:lnTo>
                  <a:lnTo>
                    <a:pt x="18203" y="40652"/>
                  </a:lnTo>
                  <a:lnTo>
                    <a:pt x="18522" y="42934"/>
                  </a:lnTo>
                  <a:lnTo>
                    <a:pt x="18946" y="46144"/>
                  </a:lnTo>
                  <a:lnTo>
                    <a:pt x="19052" y="47046"/>
                  </a:lnTo>
                  <a:lnTo>
                    <a:pt x="19105" y="47922"/>
                  </a:lnTo>
                  <a:lnTo>
                    <a:pt x="19132" y="48771"/>
                  </a:lnTo>
                  <a:lnTo>
                    <a:pt x="19105" y="49647"/>
                  </a:lnTo>
                  <a:lnTo>
                    <a:pt x="19052" y="50549"/>
                  </a:lnTo>
                  <a:lnTo>
                    <a:pt x="18946" y="51531"/>
                  </a:lnTo>
                  <a:lnTo>
                    <a:pt x="18813" y="52592"/>
                  </a:lnTo>
                  <a:lnTo>
                    <a:pt x="18654" y="53760"/>
                  </a:lnTo>
                  <a:lnTo>
                    <a:pt x="18097" y="57660"/>
                  </a:lnTo>
                  <a:lnTo>
                    <a:pt x="17832" y="59597"/>
                  </a:lnTo>
                  <a:lnTo>
                    <a:pt x="17752" y="60499"/>
                  </a:lnTo>
                  <a:lnTo>
                    <a:pt x="17672" y="61375"/>
                  </a:lnTo>
                  <a:lnTo>
                    <a:pt x="17619" y="62224"/>
                  </a:lnTo>
                  <a:lnTo>
                    <a:pt x="17593" y="62994"/>
                  </a:lnTo>
                  <a:lnTo>
                    <a:pt x="17593" y="63684"/>
                  </a:lnTo>
                  <a:lnTo>
                    <a:pt x="17646" y="64320"/>
                  </a:lnTo>
                  <a:lnTo>
                    <a:pt x="17726" y="64851"/>
                  </a:lnTo>
                  <a:lnTo>
                    <a:pt x="17805" y="65090"/>
                  </a:lnTo>
                  <a:lnTo>
                    <a:pt x="17885" y="65276"/>
                  </a:lnTo>
                  <a:lnTo>
                    <a:pt x="17964" y="65461"/>
                  </a:lnTo>
                  <a:lnTo>
                    <a:pt x="18070" y="65621"/>
                  </a:lnTo>
                  <a:lnTo>
                    <a:pt x="18177" y="65753"/>
                  </a:lnTo>
                  <a:lnTo>
                    <a:pt x="18309" y="65833"/>
                  </a:lnTo>
                  <a:lnTo>
                    <a:pt x="18840" y="66125"/>
                  </a:lnTo>
                  <a:lnTo>
                    <a:pt x="19371" y="66364"/>
                  </a:lnTo>
                  <a:lnTo>
                    <a:pt x="19928" y="66549"/>
                  </a:lnTo>
                  <a:lnTo>
                    <a:pt x="20459" y="66682"/>
                  </a:lnTo>
                  <a:lnTo>
                    <a:pt x="21042" y="66788"/>
                  </a:lnTo>
                  <a:lnTo>
                    <a:pt x="21600" y="66841"/>
                  </a:lnTo>
                  <a:lnTo>
                    <a:pt x="22157" y="66841"/>
                  </a:lnTo>
                  <a:lnTo>
                    <a:pt x="22714" y="66788"/>
                  </a:lnTo>
                  <a:lnTo>
                    <a:pt x="23271" y="66682"/>
                  </a:lnTo>
                  <a:lnTo>
                    <a:pt x="23802" y="66549"/>
                  </a:lnTo>
                  <a:lnTo>
                    <a:pt x="24333" y="66337"/>
                  </a:lnTo>
                  <a:lnTo>
                    <a:pt x="24837" y="66072"/>
                  </a:lnTo>
                  <a:lnTo>
                    <a:pt x="25314" y="65753"/>
                  </a:lnTo>
                  <a:lnTo>
                    <a:pt x="25792" y="65382"/>
                  </a:lnTo>
                  <a:lnTo>
                    <a:pt x="26243" y="64957"/>
                  </a:lnTo>
                  <a:lnTo>
                    <a:pt x="26641" y="64453"/>
                  </a:lnTo>
                  <a:lnTo>
                    <a:pt x="26800" y="64241"/>
                  </a:lnTo>
                  <a:lnTo>
                    <a:pt x="26933" y="64028"/>
                  </a:lnTo>
                  <a:lnTo>
                    <a:pt x="27039" y="63790"/>
                  </a:lnTo>
                  <a:lnTo>
                    <a:pt x="27145" y="63577"/>
                  </a:lnTo>
                  <a:lnTo>
                    <a:pt x="27198" y="63339"/>
                  </a:lnTo>
                  <a:lnTo>
                    <a:pt x="27278" y="63100"/>
                  </a:lnTo>
                  <a:lnTo>
                    <a:pt x="27358" y="62622"/>
                  </a:lnTo>
                  <a:lnTo>
                    <a:pt x="27358" y="62118"/>
                  </a:lnTo>
                  <a:lnTo>
                    <a:pt x="27358" y="61587"/>
                  </a:lnTo>
                  <a:lnTo>
                    <a:pt x="27304" y="61030"/>
                  </a:lnTo>
                  <a:lnTo>
                    <a:pt x="27251" y="60446"/>
                  </a:lnTo>
                  <a:lnTo>
                    <a:pt x="27119" y="59173"/>
                  </a:lnTo>
                  <a:lnTo>
                    <a:pt x="27066" y="58483"/>
                  </a:lnTo>
                  <a:lnTo>
                    <a:pt x="27039" y="57740"/>
                  </a:lnTo>
                  <a:lnTo>
                    <a:pt x="27039" y="56944"/>
                  </a:lnTo>
                  <a:lnTo>
                    <a:pt x="27066" y="56121"/>
                  </a:lnTo>
                  <a:lnTo>
                    <a:pt x="27172" y="55219"/>
                  </a:lnTo>
                  <a:lnTo>
                    <a:pt x="27331" y="54290"/>
                  </a:lnTo>
                  <a:lnTo>
                    <a:pt x="27703" y="52406"/>
                  </a:lnTo>
                  <a:lnTo>
                    <a:pt x="28074" y="50204"/>
                  </a:lnTo>
                  <a:lnTo>
                    <a:pt x="28260" y="49010"/>
                  </a:lnTo>
                  <a:lnTo>
                    <a:pt x="28419" y="47816"/>
                  </a:lnTo>
                  <a:lnTo>
                    <a:pt x="28552" y="46595"/>
                  </a:lnTo>
                  <a:lnTo>
                    <a:pt x="28658" y="45428"/>
                  </a:lnTo>
                  <a:lnTo>
                    <a:pt x="28711" y="44871"/>
                  </a:lnTo>
                  <a:lnTo>
                    <a:pt x="28737" y="44287"/>
                  </a:lnTo>
                  <a:lnTo>
                    <a:pt x="28764" y="43040"/>
                  </a:lnTo>
                  <a:lnTo>
                    <a:pt x="28711" y="41740"/>
                  </a:lnTo>
                  <a:lnTo>
                    <a:pt x="28631" y="40360"/>
                  </a:lnTo>
                  <a:lnTo>
                    <a:pt x="28525" y="38927"/>
                  </a:lnTo>
                  <a:lnTo>
                    <a:pt x="28392" y="37441"/>
                  </a:lnTo>
                  <a:lnTo>
                    <a:pt x="28233" y="35982"/>
                  </a:lnTo>
                  <a:lnTo>
                    <a:pt x="28047" y="34496"/>
                  </a:lnTo>
                  <a:lnTo>
                    <a:pt x="27623" y="31603"/>
                  </a:lnTo>
                  <a:lnTo>
                    <a:pt x="27225" y="28950"/>
                  </a:lnTo>
                  <a:lnTo>
                    <a:pt x="26853" y="26642"/>
                  </a:lnTo>
                  <a:lnTo>
                    <a:pt x="26588" y="24811"/>
                  </a:lnTo>
                  <a:lnTo>
                    <a:pt x="25606" y="24704"/>
                  </a:lnTo>
                  <a:lnTo>
                    <a:pt x="24704" y="24572"/>
                  </a:lnTo>
                  <a:lnTo>
                    <a:pt x="23802" y="24413"/>
                  </a:lnTo>
                  <a:lnTo>
                    <a:pt x="22979" y="24227"/>
                  </a:lnTo>
                  <a:lnTo>
                    <a:pt x="22157" y="24041"/>
                  </a:lnTo>
                  <a:lnTo>
                    <a:pt x="21414" y="23829"/>
                  </a:lnTo>
                  <a:lnTo>
                    <a:pt x="20671" y="23617"/>
                  </a:lnTo>
                  <a:lnTo>
                    <a:pt x="19981" y="23378"/>
                  </a:lnTo>
                  <a:lnTo>
                    <a:pt x="19344" y="23139"/>
                  </a:lnTo>
                  <a:lnTo>
                    <a:pt x="18707" y="22874"/>
                  </a:lnTo>
                  <a:lnTo>
                    <a:pt x="18124" y="22608"/>
                  </a:lnTo>
                  <a:lnTo>
                    <a:pt x="17566" y="22316"/>
                  </a:lnTo>
                  <a:lnTo>
                    <a:pt x="17062" y="22025"/>
                  </a:lnTo>
                  <a:lnTo>
                    <a:pt x="16558" y="21733"/>
                  </a:lnTo>
                  <a:lnTo>
                    <a:pt x="16080" y="21441"/>
                  </a:lnTo>
                  <a:lnTo>
                    <a:pt x="15629" y="21122"/>
                  </a:lnTo>
                  <a:lnTo>
                    <a:pt x="14833" y="20512"/>
                  </a:lnTo>
                  <a:lnTo>
                    <a:pt x="14090" y="19902"/>
                  </a:lnTo>
                  <a:lnTo>
                    <a:pt x="13453" y="19291"/>
                  </a:lnTo>
                  <a:lnTo>
                    <a:pt x="12870" y="18734"/>
                  </a:lnTo>
                  <a:lnTo>
                    <a:pt x="11861" y="17673"/>
                  </a:lnTo>
                  <a:lnTo>
                    <a:pt x="11410" y="17222"/>
                  </a:lnTo>
                  <a:lnTo>
                    <a:pt x="11012" y="16850"/>
                  </a:lnTo>
                  <a:lnTo>
                    <a:pt x="10827" y="16638"/>
                  </a:lnTo>
                  <a:lnTo>
                    <a:pt x="10641" y="16399"/>
                  </a:lnTo>
                  <a:lnTo>
                    <a:pt x="10455" y="16054"/>
                  </a:lnTo>
                  <a:lnTo>
                    <a:pt x="10269" y="15683"/>
                  </a:lnTo>
                  <a:lnTo>
                    <a:pt x="10057" y="15232"/>
                  </a:lnTo>
                  <a:lnTo>
                    <a:pt x="9845" y="14754"/>
                  </a:lnTo>
                  <a:lnTo>
                    <a:pt x="9447" y="13613"/>
                  </a:lnTo>
                  <a:lnTo>
                    <a:pt x="9022" y="12366"/>
                  </a:lnTo>
                  <a:lnTo>
                    <a:pt x="8598" y="10986"/>
                  </a:lnTo>
                  <a:lnTo>
                    <a:pt x="8173" y="9553"/>
                  </a:lnTo>
                  <a:lnTo>
                    <a:pt x="7775" y="8094"/>
                  </a:lnTo>
                  <a:lnTo>
                    <a:pt x="7006" y="5228"/>
                  </a:lnTo>
                  <a:lnTo>
                    <a:pt x="6369" y="2734"/>
                  </a:lnTo>
                  <a:lnTo>
                    <a:pt x="5891" y="930"/>
                  </a:lnTo>
                  <a:lnTo>
                    <a:pt x="5705" y="372"/>
                  </a:lnTo>
                  <a:lnTo>
                    <a:pt x="5652" y="213"/>
                  </a:lnTo>
                  <a:lnTo>
                    <a:pt x="5599" y="107"/>
                  </a:lnTo>
                  <a:lnTo>
                    <a:pt x="5546" y="54"/>
                  </a:lnTo>
                  <a:lnTo>
                    <a:pt x="5440" y="27"/>
                  </a:lnTo>
                  <a:lnTo>
                    <a:pt x="5228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" name="Google Shape;1159;p57">
              <a:extLst>
                <a:ext uri="{FF2B5EF4-FFF2-40B4-BE49-F238E27FC236}">
                  <a16:creationId xmlns:a16="http://schemas.microsoft.com/office/drawing/2014/main" id="{2494B055-26C7-F0B5-4193-1048017FA8DB}"/>
                </a:ext>
              </a:extLst>
            </p:cNvPr>
            <p:cNvSpPr/>
            <p:nvPr/>
          </p:nvSpPr>
          <p:spPr>
            <a:xfrm>
              <a:off x="8673850" y="4132527"/>
              <a:ext cx="242984" cy="564648"/>
            </a:xfrm>
            <a:custGeom>
              <a:avLst/>
              <a:gdLst/>
              <a:ahLst/>
              <a:cxnLst/>
              <a:rect l="l" t="t" r="r" b="b"/>
              <a:pathLst>
                <a:path w="28764" h="66842" fill="none" extrusionOk="0">
                  <a:moveTo>
                    <a:pt x="26588" y="24811"/>
                  </a:moveTo>
                  <a:lnTo>
                    <a:pt x="26588" y="24811"/>
                  </a:lnTo>
                  <a:lnTo>
                    <a:pt x="25606" y="24704"/>
                  </a:lnTo>
                  <a:lnTo>
                    <a:pt x="24704" y="24572"/>
                  </a:lnTo>
                  <a:lnTo>
                    <a:pt x="23802" y="24413"/>
                  </a:lnTo>
                  <a:lnTo>
                    <a:pt x="22979" y="24227"/>
                  </a:lnTo>
                  <a:lnTo>
                    <a:pt x="22157" y="24041"/>
                  </a:lnTo>
                  <a:lnTo>
                    <a:pt x="21414" y="23829"/>
                  </a:lnTo>
                  <a:lnTo>
                    <a:pt x="20671" y="23617"/>
                  </a:lnTo>
                  <a:lnTo>
                    <a:pt x="19981" y="23378"/>
                  </a:lnTo>
                  <a:lnTo>
                    <a:pt x="19344" y="23139"/>
                  </a:lnTo>
                  <a:lnTo>
                    <a:pt x="18707" y="22874"/>
                  </a:lnTo>
                  <a:lnTo>
                    <a:pt x="18124" y="22608"/>
                  </a:lnTo>
                  <a:lnTo>
                    <a:pt x="17566" y="22316"/>
                  </a:lnTo>
                  <a:lnTo>
                    <a:pt x="17062" y="22025"/>
                  </a:lnTo>
                  <a:lnTo>
                    <a:pt x="16558" y="21733"/>
                  </a:lnTo>
                  <a:lnTo>
                    <a:pt x="16080" y="21441"/>
                  </a:lnTo>
                  <a:lnTo>
                    <a:pt x="15629" y="21122"/>
                  </a:lnTo>
                  <a:lnTo>
                    <a:pt x="14833" y="20512"/>
                  </a:lnTo>
                  <a:lnTo>
                    <a:pt x="14090" y="19902"/>
                  </a:lnTo>
                  <a:lnTo>
                    <a:pt x="13453" y="19291"/>
                  </a:lnTo>
                  <a:lnTo>
                    <a:pt x="12870" y="18734"/>
                  </a:lnTo>
                  <a:lnTo>
                    <a:pt x="11861" y="17673"/>
                  </a:lnTo>
                  <a:lnTo>
                    <a:pt x="11410" y="17222"/>
                  </a:lnTo>
                  <a:lnTo>
                    <a:pt x="11012" y="16850"/>
                  </a:lnTo>
                  <a:lnTo>
                    <a:pt x="11012" y="16850"/>
                  </a:lnTo>
                  <a:lnTo>
                    <a:pt x="10827" y="16638"/>
                  </a:lnTo>
                  <a:lnTo>
                    <a:pt x="10641" y="16399"/>
                  </a:lnTo>
                  <a:lnTo>
                    <a:pt x="10455" y="16054"/>
                  </a:lnTo>
                  <a:lnTo>
                    <a:pt x="10269" y="15683"/>
                  </a:lnTo>
                  <a:lnTo>
                    <a:pt x="10057" y="15232"/>
                  </a:lnTo>
                  <a:lnTo>
                    <a:pt x="9845" y="14754"/>
                  </a:lnTo>
                  <a:lnTo>
                    <a:pt x="9447" y="13613"/>
                  </a:lnTo>
                  <a:lnTo>
                    <a:pt x="9022" y="12366"/>
                  </a:lnTo>
                  <a:lnTo>
                    <a:pt x="8598" y="10986"/>
                  </a:lnTo>
                  <a:lnTo>
                    <a:pt x="8173" y="9553"/>
                  </a:lnTo>
                  <a:lnTo>
                    <a:pt x="7775" y="8094"/>
                  </a:lnTo>
                  <a:lnTo>
                    <a:pt x="7006" y="5228"/>
                  </a:lnTo>
                  <a:lnTo>
                    <a:pt x="6369" y="2734"/>
                  </a:lnTo>
                  <a:lnTo>
                    <a:pt x="5891" y="930"/>
                  </a:lnTo>
                  <a:lnTo>
                    <a:pt x="5705" y="372"/>
                  </a:lnTo>
                  <a:lnTo>
                    <a:pt x="5652" y="213"/>
                  </a:lnTo>
                  <a:lnTo>
                    <a:pt x="5599" y="107"/>
                  </a:lnTo>
                  <a:lnTo>
                    <a:pt x="5599" y="107"/>
                  </a:lnTo>
                  <a:lnTo>
                    <a:pt x="5546" y="54"/>
                  </a:lnTo>
                  <a:lnTo>
                    <a:pt x="5440" y="27"/>
                  </a:lnTo>
                  <a:lnTo>
                    <a:pt x="5228" y="1"/>
                  </a:lnTo>
                  <a:lnTo>
                    <a:pt x="4909" y="1"/>
                  </a:lnTo>
                  <a:lnTo>
                    <a:pt x="4511" y="54"/>
                  </a:lnTo>
                  <a:lnTo>
                    <a:pt x="4087" y="134"/>
                  </a:lnTo>
                  <a:lnTo>
                    <a:pt x="3609" y="240"/>
                  </a:lnTo>
                  <a:lnTo>
                    <a:pt x="3132" y="372"/>
                  </a:lnTo>
                  <a:lnTo>
                    <a:pt x="2627" y="532"/>
                  </a:lnTo>
                  <a:lnTo>
                    <a:pt x="2123" y="717"/>
                  </a:lnTo>
                  <a:lnTo>
                    <a:pt x="1646" y="903"/>
                  </a:lnTo>
                  <a:lnTo>
                    <a:pt x="1221" y="1089"/>
                  </a:lnTo>
                  <a:lnTo>
                    <a:pt x="823" y="1301"/>
                  </a:lnTo>
                  <a:lnTo>
                    <a:pt x="478" y="1487"/>
                  </a:lnTo>
                  <a:lnTo>
                    <a:pt x="213" y="1673"/>
                  </a:lnTo>
                  <a:lnTo>
                    <a:pt x="133" y="1779"/>
                  </a:lnTo>
                  <a:lnTo>
                    <a:pt x="54" y="1858"/>
                  </a:lnTo>
                  <a:lnTo>
                    <a:pt x="27" y="1938"/>
                  </a:lnTo>
                  <a:lnTo>
                    <a:pt x="0" y="2018"/>
                  </a:lnTo>
                  <a:lnTo>
                    <a:pt x="0" y="2018"/>
                  </a:lnTo>
                  <a:lnTo>
                    <a:pt x="27" y="2336"/>
                  </a:lnTo>
                  <a:lnTo>
                    <a:pt x="133" y="2946"/>
                  </a:lnTo>
                  <a:lnTo>
                    <a:pt x="558" y="4830"/>
                  </a:lnTo>
                  <a:lnTo>
                    <a:pt x="1168" y="7431"/>
                  </a:lnTo>
                  <a:lnTo>
                    <a:pt x="1539" y="8917"/>
                  </a:lnTo>
                  <a:lnTo>
                    <a:pt x="1938" y="10429"/>
                  </a:lnTo>
                  <a:lnTo>
                    <a:pt x="2362" y="11995"/>
                  </a:lnTo>
                  <a:lnTo>
                    <a:pt x="2787" y="13534"/>
                  </a:lnTo>
                  <a:lnTo>
                    <a:pt x="3264" y="15046"/>
                  </a:lnTo>
                  <a:lnTo>
                    <a:pt x="3715" y="16452"/>
                  </a:lnTo>
                  <a:lnTo>
                    <a:pt x="4193" y="17726"/>
                  </a:lnTo>
                  <a:lnTo>
                    <a:pt x="4644" y="18867"/>
                  </a:lnTo>
                  <a:lnTo>
                    <a:pt x="4856" y="19371"/>
                  </a:lnTo>
                  <a:lnTo>
                    <a:pt x="5069" y="19796"/>
                  </a:lnTo>
                  <a:lnTo>
                    <a:pt x="5307" y="20194"/>
                  </a:lnTo>
                  <a:lnTo>
                    <a:pt x="5493" y="20512"/>
                  </a:lnTo>
                  <a:lnTo>
                    <a:pt x="5493" y="20512"/>
                  </a:lnTo>
                  <a:lnTo>
                    <a:pt x="6024" y="21202"/>
                  </a:lnTo>
                  <a:lnTo>
                    <a:pt x="6608" y="21892"/>
                  </a:lnTo>
                  <a:lnTo>
                    <a:pt x="7244" y="22582"/>
                  </a:lnTo>
                  <a:lnTo>
                    <a:pt x="7934" y="23298"/>
                  </a:lnTo>
                  <a:lnTo>
                    <a:pt x="8624" y="23988"/>
                  </a:lnTo>
                  <a:lnTo>
                    <a:pt x="9367" y="24704"/>
                  </a:lnTo>
                  <a:lnTo>
                    <a:pt x="10880" y="26084"/>
                  </a:lnTo>
                  <a:lnTo>
                    <a:pt x="12392" y="27438"/>
                  </a:lnTo>
                  <a:lnTo>
                    <a:pt x="13798" y="28764"/>
                  </a:lnTo>
                  <a:lnTo>
                    <a:pt x="14462" y="29375"/>
                  </a:lnTo>
                  <a:lnTo>
                    <a:pt x="15046" y="29985"/>
                  </a:lnTo>
                  <a:lnTo>
                    <a:pt x="15603" y="30569"/>
                  </a:lnTo>
                  <a:lnTo>
                    <a:pt x="16080" y="31126"/>
                  </a:lnTo>
                  <a:lnTo>
                    <a:pt x="16080" y="31126"/>
                  </a:lnTo>
                  <a:lnTo>
                    <a:pt x="16187" y="31285"/>
                  </a:lnTo>
                  <a:lnTo>
                    <a:pt x="16293" y="31497"/>
                  </a:lnTo>
                  <a:lnTo>
                    <a:pt x="16399" y="31763"/>
                  </a:lnTo>
                  <a:lnTo>
                    <a:pt x="16505" y="32081"/>
                  </a:lnTo>
                  <a:lnTo>
                    <a:pt x="16744" y="32824"/>
                  </a:lnTo>
                  <a:lnTo>
                    <a:pt x="16956" y="33726"/>
                  </a:lnTo>
                  <a:lnTo>
                    <a:pt x="17195" y="34735"/>
                  </a:lnTo>
                  <a:lnTo>
                    <a:pt x="17407" y="35849"/>
                  </a:lnTo>
                  <a:lnTo>
                    <a:pt x="17832" y="38211"/>
                  </a:lnTo>
                  <a:lnTo>
                    <a:pt x="18203" y="40652"/>
                  </a:lnTo>
                  <a:lnTo>
                    <a:pt x="18522" y="42934"/>
                  </a:lnTo>
                  <a:lnTo>
                    <a:pt x="18946" y="46144"/>
                  </a:lnTo>
                  <a:lnTo>
                    <a:pt x="18946" y="46144"/>
                  </a:lnTo>
                  <a:lnTo>
                    <a:pt x="19052" y="47046"/>
                  </a:lnTo>
                  <a:lnTo>
                    <a:pt x="19105" y="47922"/>
                  </a:lnTo>
                  <a:lnTo>
                    <a:pt x="19132" y="48771"/>
                  </a:lnTo>
                  <a:lnTo>
                    <a:pt x="19105" y="49647"/>
                  </a:lnTo>
                  <a:lnTo>
                    <a:pt x="19052" y="50549"/>
                  </a:lnTo>
                  <a:lnTo>
                    <a:pt x="18946" y="51531"/>
                  </a:lnTo>
                  <a:lnTo>
                    <a:pt x="18813" y="52592"/>
                  </a:lnTo>
                  <a:lnTo>
                    <a:pt x="18654" y="53760"/>
                  </a:lnTo>
                  <a:lnTo>
                    <a:pt x="18654" y="53760"/>
                  </a:lnTo>
                  <a:lnTo>
                    <a:pt x="18654" y="53760"/>
                  </a:lnTo>
                  <a:lnTo>
                    <a:pt x="18097" y="57660"/>
                  </a:lnTo>
                  <a:lnTo>
                    <a:pt x="17832" y="59597"/>
                  </a:lnTo>
                  <a:lnTo>
                    <a:pt x="17752" y="60499"/>
                  </a:lnTo>
                  <a:lnTo>
                    <a:pt x="17672" y="61375"/>
                  </a:lnTo>
                  <a:lnTo>
                    <a:pt x="17619" y="62224"/>
                  </a:lnTo>
                  <a:lnTo>
                    <a:pt x="17593" y="62994"/>
                  </a:lnTo>
                  <a:lnTo>
                    <a:pt x="17593" y="63684"/>
                  </a:lnTo>
                  <a:lnTo>
                    <a:pt x="17646" y="64320"/>
                  </a:lnTo>
                  <a:lnTo>
                    <a:pt x="17726" y="64851"/>
                  </a:lnTo>
                  <a:lnTo>
                    <a:pt x="17805" y="65090"/>
                  </a:lnTo>
                  <a:lnTo>
                    <a:pt x="17885" y="65276"/>
                  </a:lnTo>
                  <a:lnTo>
                    <a:pt x="17964" y="65461"/>
                  </a:lnTo>
                  <a:lnTo>
                    <a:pt x="18070" y="65621"/>
                  </a:lnTo>
                  <a:lnTo>
                    <a:pt x="18177" y="65753"/>
                  </a:lnTo>
                  <a:lnTo>
                    <a:pt x="18309" y="65833"/>
                  </a:lnTo>
                  <a:lnTo>
                    <a:pt x="18309" y="65833"/>
                  </a:lnTo>
                  <a:lnTo>
                    <a:pt x="18840" y="66125"/>
                  </a:lnTo>
                  <a:lnTo>
                    <a:pt x="19371" y="66364"/>
                  </a:lnTo>
                  <a:lnTo>
                    <a:pt x="19928" y="66549"/>
                  </a:lnTo>
                  <a:lnTo>
                    <a:pt x="20459" y="66682"/>
                  </a:lnTo>
                  <a:lnTo>
                    <a:pt x="21042" y="66788"/>
                  </a:lnTo>
                  <a:lnTo>
                    <a:pt x="21600" y="66841"/>
                  </a:lnTo>
                  <a:lnTo>
                    <a:pt x="22157" y="66841"/>
                  </a:lnTo>
                  <a:lnTo>
                    <a:pt x="22714" y="66788"/>
                  </a:lnTo>
                  <a:lnTo>
                    <a:pt x="23271" y="66682"/>
                  </a:lnTo>
                  <a:lnTo>
                    <a:pt x="23802" y="66549"/>
                  </a:lnTo>
                  <a:lnTo>
                    <a:pt x="24333" y="66337"/>
                  </a:lnTo>
                  <a:lnTo>
                    <a:pt x="24837" y="66072"/>
                  </a:lnTo>
                  <a:lnTo>
                    <a:pt x="25314" y="65753"/>
                  </a:lnTo>
                  <a:lnTo>
                    <a:pt x="25792" y="65382"/>
                  </a:lnTo>
                  <a:lnTo>
                    <a:pt x="26243" y="64957"/>
                  </a:lnTo>
                  <a:lnTo>
                    <a:pt x="26641" y="64453"/>
                  </a:lnTo>
                  <a:lnTo>
                    <a:pt x="26641" y="64453"/>
                  </a:lnTo>
                  <a:lnTo>
                    <a:pt x="26800" y="64241"/>
                  </a:lnTo>
                  <a:lnTo>
                    <a:pt x="26933" y="64028"/>
                  </a:lnTo>
                  <a:lnTo>
                    <a:pt x="27039" y="63790"/>
                  </a:lnTo>
                  <a:lnTo>
                    <a:pt x="27145" y="63577"/>
                  </a:lnTo>
                  <a:lnTo>
                    <a:pt x="27198" y="63339"/>
                  </a:lnTo>
                  <a:lnTo>
                    <a:pt x="27278" y="63100"/>
                  </a:lnTo>
                  <a:lnTo>
                    <a:pt x="27358" y="62622"/>
                  </a:lnTo>
                  <a:lnTo>
                    <a:pt x="27358" y="62118"/>
                  </a:lnTo>
                  <a:lnTo>
                    <a:pt x="27358" y="61587"/>
                  </a:lnTo>
                  <a:lnTo>
                    <a:pt x="27304" y="61030"/>
                  </a:lnTo>
                  <a:lnTo>
                    <a:pt x="27251" y="60446"/>
                  </a:lnTo>
                  <a:lnTo>
                    <a:pt x="27119" y="59173"/>
                  </a:lnTo>
                  <a:lnTo>
                    <a:pt x="27066" y="58483"/>
                  </a:lnTo>
                  <a:lnTo>
                    <a:pt x="27039" y="57740"/>
                  </a:lnTo>
                  <a:lnTo>
                    <a:pt x="27039" y="56944"/>
                  </a:lnTo>
                  <a:lnTo>
                    <a:pt x="27066" y="56121"/>
                  </a:lnTo>
                  <a:lnTo>
                    <a:pt x="27172" y="55219"/>
                  </a:lnTo>
                  <a:lnTo>
                    <a:pt x="27331" y="54290"/>
                  </a:lnTo>
                  <a:lnTo>
                    <a:pt x="27331" y="54290"/>
                  </a:lnTo>
                  <a:lnTo>
                    <a:pt x="27703" y="52406"/>
                  </a:lnTo>
                  <a:lnTo>
                    <a:pt x="28074" y="50204"/>
                  </a:lnTo>
                  <a:lnTo>
                    <a:pt x="28260" y="49010"/>
                  </a:lnTo>
                  <a:lnTo>
                    <a:pt x="28419" y="47816"/>
                  </a:lnTo>
                  <a:lnTo>
                    <a:pt x="28552" y="46595"/>
                  </a:lnTo>
                  <a:lnTo>
                    <a:pt x="28658" y="45428"/>
                  </a:lnTo>
                  <a:lnTo>
                    <a:pt x="28658" y="45428"/>
                  </a:lnTo>
                  <a:lnTo>
                    <a:pt x="28711" y="44871"/>
                  </a:lnTo>
                  <a:lnTo>
                    <a:pt x="28737" y="44287"/>
                  </a:lnTo>
                  <a:lnTo>
                    <a:pt x="28764" y="43040"/>
                  </a:lnTo>
                  <a:lnTo>
                    <a:pt x="28711" y="41740"/>
                  </a:lnTo>
                  <a:lnTo>
                    <a:pt x="28631" y="40360"/>
                  </a:lnTo>
                  <a:lnTo>
                    <a:pt x="28525" y="38927"/>
                  </a:lnTo>
                  <a:lnTo>
                    <a:pt x="28392" y="37441"/>
                  </a:lnTo>
                  <a:lnTo>
                    <a:pt x="28233" y="35982"/>
                  </a:lnTo>
                  <a:lnTo>
                    <a:pt x="28047" y="34496"/>
                  </a:lnTo>
                  <a:lnTo>
                    <a:pt x="27623" y="31603"/>
                  </a:lnTo>
                  <a:lnTo>
                    <a:pt x="27225" y="28950"/>
                  </a:lnTo>
                  <a:lnTo>
                    <a:pt x="26853" y="26642"/>
                  </a:lnTo>
                  <a:lnTo>
                    <a:pt x="26588" y="2481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" name="Google Shape;1160;p57">
              <a:extLst>
                <a:ext uri="{FF2B5EF4-FFF2-40B4-BE49-F238E27FC236}">
                  <a16:creationId xmlns:a16="http://schemas.microsoft.com/office/drawing/2014/main" id="{28FF9FD6-E697-8AE5-314F-5EA2D20238E1}"/>
                </a:ext>
              </a:extLst>
            </p:cNvPr>
            <p:cNvSpPr/>
            <p:nvPr/>
          </p:nvSpPr>
          <p:spPr>
            <a:xfrm>
              <a:off x="8931845" y="4348833"/>
              <a:ext cx="7408" cy="6733"/>
            </a:xfrm>
            <a:custGeom>
              <a:avLst/>
              <a:gdLst/>
              <a:ahLst/>
              <a:cxnLst/>
              <a:rect l="l" t="t" r="r" b="b"/>
              <a:pathLst>
                <a:path w="877" h="797" extrusionOk="0">
                  <a:moveTo>
                    <a:pt x="478" y="1"/>
                  </a:moveTo>
                  <a:lnTo>
                    <a:pt x="372" y="54"/>
                  </a:lnTo>
                  <a:lnTo>
                    <a:pt x="293" y="107"/>
                  </a:lnTo>
                  <a:lnTo>
                    <a:pt x="213" y="160"/>
                  </a:lnTo>
                  <a:lnTo>
                    <a:pt x="107" y="319"/>
                  </a:lnTo>
                  <a:lnTo>
                    <a:pt x="54" y="505"/>
                  </a:lnTo>
                  <a:lnTo>
                    <a:pt x="1" y="717"/>
                  </a:lnTo>
                  <a:lnTo>
                    <a:pt x="293" y="770"/>
                  </a:lnTo>
                  <a:lnTo>
                    <a:pt x="584" y="797"/>
                  </a:lnTo>
                  <a:lnTo>
                    <a:pt x="638" y="797"/>
                  </a:lnTo>
                  <a:lnTo>
                    <a:pt x="876" y="770"/>
                  </a:lnTo>
                  <a:lnTo>
                    <a:pt x="876" y="558"/>
                  </a:lnTo>
                  <a:lnTo>
                    <a:pt x="876" y="346"/>
                  </a:lnTo>
                  <a:lnTo>
                    <a:pt x="823" y="160"/>
                  </a:lnTo>
                  <a:lnTo>
                    <a:pt x="770" y="107"/>
                  </a:lnTo>
                  <a:lnTo>
                    <a:pt x="717" y="27"/>
                  </a:lnTo>
                  <a:lnTo>
                    <a:pt x="638" y="1"/>
                  </a:lnTo>
                  <a:close/>
                </a:path>
              </a:pathLst>
            </a:custGeom>
            <a:solidFill>
              <a:srgbClr val="BD8C8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" name="Google Shape;1161;p57">
              <a:extLst>
                <a:ext uri="{FF2B5EF4-FFF2-40B4-BE49-F238E27FC236}">
                  <a16:creationId xmlns:a16="http://schemas.microsoft.com/office/drawing/2014/main" id="{C8BC23A6-D074-DD04-6932-E4EB792CFDEE}"/>
                </a:ext>
              </a:extLst>
            </p:cNvPr>
            <p:cNvSpPr/>
            <p:nvPr/>
          </p:nvSpPr>
          <p:spPr>
            <a:xfrm>
              <a:off x="8931845" y="4348833"/>
              <a:ext cx="7408" cy="6733"/>
            </a:xfrm>
            <a:custGeom>
              <a:avLst/>
              <a:gdLst/>
              <a:ahLst/>
              <a:cxnLst/>
              <a:rect l="l" t="t" r="r" b="b"/>
              <a:pathLst>
                <a:path w="877" h="797" fill="none" extrusionOk="0">
                  <a:moveTo>
                    <a:pt x="558" y="1"/>
                  </a:moveTo>
                  <a:lnTo>
                    <a:pt x="558" y="1"/>
                  </a:lnTo>
                  <a:lnTo>
                    <a:pt x="478" y="1"/>
                  </a:lnTo>
                  <a:lnTo>
                    <a:pt x="372" y="54"/>
                  </a:lnTo>
                  <a:lnTo>
                    <a:pt x="372" y="54"/>
                  </a:lnTo>
                  <a:lnTo>
                    <a:pt x="293" y="107"/>
                  </a:lnTo>
                  <a:lnTo>
                    <a:pt x="213" y="160"/>
                  </a:lnTo>
                  <a:lnTo>
                    <a:pt x="107" y="319"/>
                  </a:lnTo>
                  <a:lnTo>
                    <a:pt x="54" y="505"/>
                  </a:lnTo>
                  <a:lnTo>
                    <a:pt x="1" y="717"/>
                  </a:lnTo>
                  <a:lnTo>
                    <a:pt x="1" y="717"/>
                  </a:lnTo>
                  <a:lnTo>
                    <a:pt x="293" y="770"/>
                  </a:lnTo>
                  <a:lnTo>
                    <a:pt x="584" y="797"/>
                  </a:lnTo>
                  <a:lnTo>
                    <a:pt x="584" y="797"/>
                  </a:lnTo>
                  <a:lnTo>
                    <a:pt x="638" y="797"/>
                  </a:lnTo>
                  <a:lnTo>
                    <a:pt x="638" y="797"/>
                  </a:lnTo>
                  <a:lnTo>
                    <a:pt x="876" y="770"/>
                  </a:lnTo>
                  <a:lnTo>
                    <a:pt x="876" y="770"/>
                  </a:lnTo>
                  <a:lnTo>
                    <a:pt x="876" y="558"/>
                  </a:lnTo>
                  <a:lnTo>
                    <a:pt x="876" y="558"/>
                  </a:lnTo>
                  <a:lnTo>
                    <a:pt x="876" y="346"/>
                  </a:lnTo>
                  <a:lnTo>
                    <a:pt x="823" y="160"/>
                  </a:lnTo>
                  <a:lnTo>
                    <a:pt x="770" y="107"/>
                  </a:lnTo>
                  <a:lnTo>
                    <a:pt x="717" y="27"/>
                  </a:lnTo>
                  <a:lnTo>
                    <a:pt x="638" y="1"/>
                  </a:lnTo>
                  <a:lnTo>
                    <a:pt x="558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" name="Google Shape;1162;p57">
              <a:extLst>
                <a:ext uri="{FF2B5EF4-FFF2-40B4-BE49-F238E27FC236}">
                  <a16:creationId xmlns:a16="http://schemas.microsoft.com/office/drawing/2014/main" id="{3C3A70F0-7EEE-1270-E080-63855F66629D}"/>
                </a:ext>
              </a:extLst>
            </p:cNvPr>
            <p:cNvSpPr/>
            <p:nvPr/>
          </p:nvSpPr>
          <p:spPr>
            <a:xfrm>
              <a:off x="8906967" y="4354890"/>
              <a:ext cx="32286" cy="66355"/>
            </a:xfrm>
            <a:custGeom>
              <a:avLst/>
              <a:gdLst/>
              <a:ahLst/>
              <a:cxnLst/>
              <a:rect l="l" t="t" r="r" b="b"/>
              <a:pathLst>
                <a:path w="3822" h="7855" extrusionOk="0">
                  <a:moveTo>
                    <a:pt x="2946" y="0"/>
                  </a:moveTo>
                  <a:lnTo>
                    <a:pt x="2893" y="372"/>
                  </a:lnTo>
                  <a:lnTo>
                    <a:pt x="2840" y="584"/>
                  </a:lnTo>
                  <a:lnTo>
                    <a:pt x="2786" y="796"/>
                  </a:lnTo>
                  <a:lnTo>
                    <a:pt x="2362" y="1698"/>
                  </a:lnTo>
                  <a:lnTo>
                    <a:pt x="2123" y="2149"/>
                  </a:lnTo>
                  <a:lnTo>
                    <a:pt x="1858" y="2627"/>
                  </a:lnTo>
                  <a:lnTo>
                    <a:pt x="1566" y="3131"/>
                  </a:lnTo>
                  <a:lnTo>
                    <a:pt x="1247" y="3582"/>
                  </a:lnTo>
                  <a:lnTo>
                    <a:pt x="903" y="4060"/>
                  </a:lnTo>
                  <a:lnTo>
                    <a:pt x="531" y="4511"/>
                  </a:lnTo>
                  <a:lnTo>
                    <a:pt x="266" y="4803"/>
                  </a:lnTo>
                  <a:lnTo>
                    <a:pt x="0" y="5068"/>
                  </a:lnTo>
                  <a:lnTo>
                    <a:pt x="398" y="7854"/>
                  </a:lnTo>
                  <a:lnTo>
                    <a:pt x="717" y="7615"/>
                  </a:lnTo>
                  <a:lnTo>
                    <a:pt x="1009" y="7350"/>
                  </a:lnTo>
                  <a:lnTo>
                    <a:pt x="1301" y="7058"/>
                  </a:lnTo>
                  <a:lnTo>
                    <a:pt x="1539" y="6766"/>
                  </a:lnTo>
                  <a:lnTo>
                    <a:pt x="1858" y="6315"/>
                  </a:lnTo>
                  <a:lnTo>
                    <a:pt x="2123" y="5864"/>
                  </a:lnTo>
                  <a:lnTo>
                    <a:pt x="2362" y="5360"/>
                  </a:lnTo>
                  <a:lnTo>
                    <a:pt x="2574" y="4856"/>
                  </a:lnTo>
                  <a:lnTo>
                    <a:pt x="2760" y="4325"/>
                  </a:lnTo>
                  <a:lnTo>
                    <a:pt x="2919" y="3795"/>
                  </a:lnTo>
                  <a:lnTo>
                    <a:pt x="3052" y="3290"/>
                  </a:lnTo>
                  <a:lnTo>
                    <a:pt x="3158" y="2786"/>
                  </a:lnTo>
                  <a:lnTo>
                    <a:pt x="3317" y="1858"/>
                  </a:lnTo>
                  <a:lnTo>
                    <a:pt x="3450" y="1115"/>
                  </a:lnTo>
                  <a:lnTo>
                    <a:pt x="3529" y="610"/>
                  </a:lnTo>
                  <a:lnTo>
                    <a:pt x="3583" y="478"/>
                  </a:lnTo>
                  <a:lnTo>
                    <a:pt x="3609" y="425"/>
                  </a:lnTo>
                  <a:lnTo>
                    <a:pt x="3636" y="425"/>
                  </a:lnTo>
                  <a:lnTo>
                    <a:pt x="3689" y="398"/>
                  </a:lnTo>
                  <a:lnTo>
                    <a:pt x="3742" y="319"/>
                  </a:lnTo>
                  <a:lnTo>
                    <a:pt x="3795" y="212"/>
                  </a:lnTo>
                  <a:lnTo>
                    <a:pt x="3821" y="53"/>
                  </a:lnTo>
                  <a:lnTo>
                    <a:pt x="3583" y="80"/>
                  </a:lnTo>
                  <a:lnTo>
                    <a:pt x="3529" y="80"/>
                  </a:lnTo>
                  <a:lnTo>
                    <a:pt x="3238" y="53"/>
                  </a:lnTo>
                  <a:lnTo>
                    <a:pt x="2946" y="0"/>
                  </a:lnTo>
                  <a:close/>
                </a:path>
              </a:pathLst>
            </a:custGeom>
            <a:solidFill>
              <a:srgbClr val="C9C9D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" name="Google Shape;1163;p57">
              <a:extLst>
                <a:ext uri="{FF2B5EF4-FFF2-40B4-BE49-F238E27FC236}">
                  <a16:creationId xmlns:a16="http://schemas.microsoft.com/office/drawing/2014/main" id="{06A7F20A-51A2-983E-EEA7-600608AFCBDB}"/>
                </a:ext>
              </a:extLst>
            </p:cNvPr>
            <p:cNvSpPr/>
            <p:nvPr/>
          </p:nvSpPr>
          <p:spPr>
            <a:xfrm>
              <a:off x="8906967" y="4354890"/>
              <a:ext cx="32286" cy="66355"/>
            </a:xfrm>
            <a:custGeom>
              <a:avLst/>
              <a:gdLst/>
              <a:ahLst/>
              <a:cxnLst/>
              <a:rect l="l" t="t" r="r" b="b"/>
              <a:pathLst>
                <a:path w="3822" h="7855" fill="none" extrusionOk="0">
                  <a:moveTo>
                    <a:pt x="2946" y="0"/>
                  </a:moveTo>
                  <a:lnTo>
                    <a:pt x="2946" y="0"/>
                  </a:lnTo>
                  <a:lnTo>
                    <a:pt x="2893" y="372"/>
                  </a:lnTo>
                  <a:lnTo>
                    <a:pt x="2840" y="584"/>
                  </a:lnTo>
                  <a:lnTo>
                    <a:pt x="2786" y="796"/>
                  </a:lnTo>
                  <a:lnTo>
                    <a:pt x="2786" y="796"/>
                  </a:lnTo>
                  <a:lnTo>
                    <a:pt x="2362" y="1698"/>
                  </a:lnTo>
                  <a:lnTo>
                    <a:pt x="2123" y="2149"/>
                  </a:lnTo>
                  <a:lnTo>
                    <a:pt x="1858" y="2627"/>
                  </a:lnTo>
                  <a:lnTo>
                    <a:pt x="1566" y="3131"/>
                  </a:lnTo>
                  <a:lnTo>
                    <a:pt x="1247" y="3582"/>
                  </a:lnTo>
                  <a:lnTo>
                    <a:pt x="903" y="4060"/>
                  </a:lnTo>
                  <a:lnTo>
                    <a:pt x="531" y="4511"/>
                  </a:lnTo>
                  <a:lnTo>
                    <a:pt x="531" y="4511"/>
                  </a:lnTo>
                  <a:lnTo>
                    <a:pt x="266" y="4803"/>
                  </a:lnTo>
                  <a:lnTo>
                    <a:pt x="0" y="5068"/>
                  </a:lnTo>
                  <a:lnTo>
                    <a:pt x="0" y="5068"/>
                  </a:lnTo>
                  <a:lnTo>
                    <a:pt x="398" y="7854"/>
                  </a:lnTo>
                  <a:lnTo>
                    <a:pt x="398" y="7854"/>
                  </a:lnTo>
                  <a:lnTo>
                    <a:pt x="717" y="7615"/>
                  </a:lnTo>
                  <a:lnTo>
                    <a:pt x="1009" y="7350"/>
                  </a:lnTo>
                  <a:lnTo>
                    <a:pt x="1301" y="7058"/>
                  </a:lnTo>
                  <a:lnTo>
                    <a:pt x="1539" y="6766"/>
                  </a:lnTo>
                  <a:lnTo>
                    <a:pt x="1539" y="6766"/>
                  </a:lnTo>
                  <a:lnTo>
                    <a:pt x="1858" y="6315"/>
                  </a:lnTo>
                  <a:lnTo>
                    <a:pt x="2123" y="5864"/>
                  </a:lnTo>
                  <a:lnTo>
                    <a:pt x="2362" y="5360"/>
                  </a:lnTo>
                  <a:lnTo>
                    <a:pt x="2574" y="4856"/>
                  </a:lnTo>
                  <a:lnTo>
                    <a:pt x="2760" y="4325"/>
                  </a:lnTo>
                  <a:lnTo>
                    <a:pt x="2919" y="3795"/>
                  </a:lnTo>
                  <a:lnTo>
                    <a:pt x="3052" y="3290"/>
                  </a:lnTo>
                  <a:lnTo>
                    <a:pt x="3158" y="2786"/>
                  </a:lnTo>
                  <a:lnTo>
                    <a:pt x="3317" y="1858"/>
                  </a:lnTo>
                  <a:lnTo>
                    <a:pt x="3450" y="1115"/>
                  </a:lnTo>
                  <a:lnTo>
                    <a:pt x="3529" y="610"/>
                  </a:lnTo>
                  <a:lnTo>
                    <a:pt x="3583" y="478"/>
                  </a:lnTo>
                  <a:lnTo>
                    <a:pt x="3609" y="425"/>
                  </a:lnTo>
                  <a:lnTo>
                    <a:pt x="3609" y="425"/>
                  </a:lnTo>
                  <a:lnTo>
                    <a:pt x="3609" y="425"/>
                  </a:lnTo>
                  <a:lnTo>
                    <a:pt x="3609" y="425"/>
                  </a:lnTo>
                  <a:lnTo>
                    <a:pt x="3636" y="425"/>
                  </a:lnTo>
                  <a:lnTo>
                    <a:pt x="3636" y="425"/>
                  </a:lnTo>
                  <a:lnTo>
                    <a:pt x="3689" y="398"/>
                  </a:lnTo>
                  <a:lnTo>
                    <a:pt x="3742" y="319"/>
                  </a:lnTo>
                  <a:lnTo>
                    <a:pt x="3795" y="212"/>
                  </a:lnTo>
                  <a:lnTo>
                    <a:pt x="3821" y="53"/>
                  </a:lnTo>
                  <a:lnTo>
                    <a:pt x="3821" y="53"/>
                  </a:lnTo>
                  <a:lnTo>
                    <a:pt x="3583" y="80"/>
                  </a:lnTo>
                  <a:lnTo>
                    <a:pt x="3583" y="80"/>
                  </a:lnTo>
                  <a:lnTo>
                    <a:pt x="3529" y="80"/>
                  </a:lnTo>
                  <a:lnTo>
                    <a:pt x="3529" y="80"/>
                  </a:lnTo>
                  <a:lnTo>
                    <a:pt x="3238" y="53"/>
                  </a:lnTo>
                  <a:lnTo>
                    <a:pt x="294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" name="Google Shape;1164;p57">
              <a:extLst>
                <a:ext uri="{FF2B5EF4-FFF2-40B4-BE49-F238E27FC236}">
                  <a16:creationId xmlns:a16="http://schemas.microsoft.com/office/drawing/2014/main" id="{F943AE46-BBD4-9400-7EBC-F7BDEC67AD66}"/>
                </a:ext>
              </a:extLst>
            </p:cNvPr>
            <p:cNvSpPr/>
            <p:nvPr/>
          </p:nvSpPr>
          <p:spPr>
            <a:xfrm>
              <a:off x="8819544" y="4429980"/>
              <a:ext cx="6065" cy="32954"/>
            </a:xfrm>
            <a:custGeom>
              <a:avLst/>
              <a:gdLst/>
              <a:ahLst/>
              <a:cxnLst/>
              <a:rect l="l" t="t" r="r" b="b"/>
              <a:pathLst>
                <a:path w="718" h="3901" extrusionOk="0">
                  <a:moveTo>
                    <a:pt x="54" y="0"/>
                  </a:moveTo>
                  <a:lnTo>
                    <a:pt x="1" y="133"/>
                  </a:lnTo>
                  <a:lnTo>
                    <a:pt x="1" y="239"/>
                  </a:lnTo>
                  <a:lnTo>
                    <a:pt x="1" y="398"/>
                  </a:lnTo>
                  <a:lnTo>
                    <a:pt x="54" y="663"/>
                  </a:lnTo>
                  <a:lnTo>
                    <a:pt x="240" y="1725"/>
                  </a:lnTo>
                  <a:lnTo>
                    <a:pt x="691" y="3901"/>
                  </a:lnTo>
                  <a:lnTo>
                    <a:pt x="717" y="3901"/>
                  </a:lnTo>
                  <a:lnTo>
                    <a:pt x="399" y="1911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C9C9D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" name="Google Shape;1165;p57">
              <a:extLst>
                <a:ext uri="{FF2B5EF4-FFF2-40B4-BE49-F238E27FC236}">
                  <a16:creationId xmlns:a16="http://schemas.microsoft.com/office/drawing/2014/main" id="{FCB18C57-907B-CD46-0ACF-D721AE9A2261}"/>
                </a:ext>
              </a:extLst>
            </p:cNvPr>
            <p:cNvSpPr/>
            <p:nvPr/>
          </p:nvSpPr>
          <p:spPr>
            <a:xfrm>
              <a:off x="8819544" y="4429980"/>
              <a:ext cx="6065" cy="32954"/>
            </a:xfrm>
            <a:custGeom>
              <a:avLst/>
              <a:gdLst/>
              <a:ahLst/>
              <a:cxnLst/>
              <a:rect l="l" t="t" r="r" b="b"/>
              <a:pathLst>
                <a:path w="718" h="3901" fill="none" extrusionOk="0">
                  <a:moveTo>
                    <a:pt x="54" y="0"/>
                  </a:moveTo>
                  <a:lnTo>
                    <a:pt x="54" y="0"/>
                  </a:lnTo>
                  <a:lnTo>
                    <a:pt x="1" y="133"/>
                  </a:lnTo>
                  <a:lnTo>
                    <a:pt x="1" y="239"/>
                  </a:lnTo>
                  <a:lnTo>
                    <a:pt x="1" y="398"/>
                  </a:lnTo>
                  <a:lnTo>
                    <a:pt x="54" y="663"/>
                  </a:lnTo>
                  <a:lnTo>
                    <a:pt x="240" y="1725"/>
                  </a:lnTo>
                  <a:lnTo>
                    <a:pt x="691" y="3901"/>
                  </a:lnTo>
                  <a:lnTo>
                    <a:pt x="691" y="3901"/>
                  </a:lnTo>
                  <a:lnTo>
                    <a:pt x="717" y="3901"/>
                  </a:lnTo>
                  <a:lnTo>
                    <a:pt x="717" y="3901"/>
                  </a:lnTo>
                  <a:lnTo>
                    <a:pt x="399" y="1911"/>
                  </a:lnTo>
                  <a:lnTo>
                    <a:pt x="5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" name="Google Shape;1166;p57">
              <a:extLst>
                <a:ext uri="{FF2B5EF4-FFF2-40B4-BE49-F238E27FC236}">
                  <a16:creationId xmlns:a16="http://schemas.microsoft.com/office/drawing/2014/main" id="{4B768AB7-B800-0FAE-C90B-4B4B0AB0A374}"/>
                </a:ext>
              </a:extLst>
            </p:cNvPr>
            <p:cNvSpPr/>
            <p:nvPr/>
          </p:nvSpPr>
          <p:spPr>
            <a:xfrm>
              <a:off x="8819992" y="4397702"/>
              <a:ext cx="90346" cy="65232"/>
            </a:xfrm>
            <a:custGeom>
              <a:avLst/>
              <a:gdLst/>
              <a:ahLst/>
              <a:cxnLst/>
              <a:rect l="l" t="t" r="r" b="b"/>
              <a:pathLst>
                <a:path w="10695" h="7722" extrusionOk="0">
                  <a:moveTo>
                    <a:pt x="10296" y="0"/>
                  </a:moveTo>
                  <a:lnTo>
                    <a:pt x="9978" y="319"/>
                  </a:lnTo>
                  <a:lnTo>
                    <a:pt x="9633" y="584"/>
                  </a:lnTo>
                  <a:lnTo>
                    <a:pt x="9262" y="849"/>
                  </a:lnTo>
                  <a:lnTo>
                    <a:pt x="8890" y="1115"/>
                  </a:lnTo>
                  <a:lnTo>
                    <a:pt x="8625" y="1221"/>
                  </a:lnTo>
                  <a:lnTo>
                    <a:pt x="8306" y="1353"/>
                  </a:lnTo>
                  <a:lnTo>
                    <a:pt x="7882" y="1486"/>
                  </a:lnTo>
                  <a:lnTo>
                    <a:pt x="7378" y="1619"/>
                  </a:lnTo>
                  <a:lnTo>
                    <a:pt x="6210" y="1911"/>
                  </a:lnTo>
                  <a:lnTo>
                    <a:pt x="4910" y="2176"/>
                  </a:lnTo>
                  <a:lnTo>
                    <a:pt x="3557" y="2441"/>
                  </a:lnTo>
                  <a:lnTo>
                    <a:pt x="2230" y="2680"/>
                  </a:lnTo>
                  <a:lnTo>
                    <a:pt x="1036" y="2866"/>
                  </a:lnTo>
                  <a:lnTo>
                    <a:pt x="81" y="2972"/>
                  </a:lnTo>
                  <a:lnTo>
                    <a:pt x="54" y="3556"/>
                  </a:lnTo>
                  <a:lnTo>
                    <a:pt x="1" y="3821"/>
                  </a:lnTo>
                  <a:lnTo>
                    <a:pt x="346" y="5732"/>
                  </a:lnTo>
                  <a:lnTo>
                    <a:pt x="664" y="7722"/>
                  </a:lnTo>
                  <a:lnTo>
                    <a:pt x="1195" y="7536"/>
                  </a:lnTo>
                  <a:lnTo>
                    <a:pt x="1779" y="7324"/>
                  </a:lnTo>
                  <a:lnTo>
                    <a:pt x="2389" y="7058"/>
                  </a:lnTo>
                  <a:lnTo>
                    <a:pt x="3026" y="6793"/>
                  </a:lnTo>
                  <a:lnTo>
                    <a:pt x="4326" y="6183"/>
                  </a:lnTo>
                  <a:lnTo>
                    <a:pt x="5653" y="5519"/>
                  </a:lnTo>
                  <a:lnTo>
                    <a:pt x="6953" y="4856"/>
                  </a:lnTo>
                  <a:lnTo>
                    <a:pt x="8174" y="4193"/>
                  </a:lnTo>
                  <a:lnTo>
                    <a:pt x="10111" y="3158"/>
                  </a:lnTo>
                  <a:lnTo>
                    <a:pt x="10403" y="2999"/>
                  </a:lnTo>
                  <a:lnTo>
                    <a:pt x="10694" y="2786"/>
                  </a:lnTo>
                  <a:lnTo>
                    <a:pt x="10296" y="0"/>
                  </a:lnTo>
                  <a:close/>
                </a:path>
              </a:pathLst>
            </a:custGeom>
            <a:solidFill>
              <a:srgbClr val="C929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" name="Google Shape;1167;p57">
              <a:extLst>
                <a:ext uri="{FF2B5EF4-FFF2-40B4-BE49-F238E27FC236}">
                  <a16:creationId xmlns:a16="http://schemas.microsoft.com/office/drawing/2014/main" id="{7C56C6B4-9322-0925-797A-0EA86FA9EAEA}"/>
                </a:ext>
              </a:extLst>
            </p:cNvPr>
            <p:cNvSpPr/>
            <p:nvPr/>
          </p:nvSpPr>
          <p:spPr>
            <a:xfrm>
              <a:off x="8819992" y="4397702"/>
              <a:ext cx="90346" cy="65232"/>
            </a:xfrm>
            <a:custGeom>
              <a:avLst/>
              <a:gdLst/>
              <a:ahLst/>
              <a:cxnLst/>
              <a:rect l="l" t="t" r="r" b="b"/>
              <a:pathLst>
                <a:path w="10695" h="7722" fill="none" extrusionOk="0">
                  <a:moveTo>
                    <a:pt x="10296" y="0"/>
                  </a:moveTo>
                  <a:lnTo>
                    <a:pt x="10296" y="0"/>
                  </a:lnTo>
                  <a:lnTo>
                    <a:pt x="9978" y="319"/>
                  </a:lnTo>
                  <a:lnTo>
                    <a:pt x="9633" y="584"/>
                  </a:lnTo>
                  <a:lnTo>
                    <a:pt x="9262" y="849"/>
                  </a:lnTo>
                  <a:lnTo>
                    <a:pt x="8890" y="1115"/>
                  </a:lnTo>
                  <a:lnTo>
                    <a:pt x="8890" y="1115"/>
                  </a:lnTo>
                  <a:lnTo>
                    <a:pt x="8625" y="1221"/>
                  </a:lnTo>
                  <a:lnTo>
                    <a:pt x="8306" y="1353"/>
                  </a:lnTo>
                  <a:lnTo>
                    <a:pt x="7882" y="1486"/>
                  </a:lnTo>
                  <a:lnTo>
                    <a:pt x="7378" y="1619"/>
                  </a:lnTo>
                  <a:lnTo>
                    <a:pt x="6210" y="1911"/>
                  </a:lnTo>
                  <a:lnTo>
                    <a:pt x="4910" y="2176"/>
                  </a:lnTo>
                  <a:lnTo>
                    <a:pt x="3557" y="2441"/>
                  </a:lnTo>
                  <a:lnTo>
                    <a:pt x="2230" y="2680"/>
                  </a:lnTo>
                  <a:lnTo>
                    <a:pt x="1036" y="2866"/>
                  </a:lnTo>
                  <a:lnTo>
                    <a:pt x="81" y="2972"/>
                  </a:lnTo>
                  <a:lnTo>
                    <a:pt x="81" y="2972"/>
                  </a:lnTo>
                  <a:lnTo>
                    <a:pt x="54" y="3556"/>
                  </a:lnTo>
                  <a:lnTo>
                    <a:pt x="1" y="3821"/>
                  </a:lnTo>
                  <a:lnTo>
                    <a:pt x="1" y="3821"/>
                  </a:lnTo>
                  <a:lnTo>
                    <a:pt x="346" y="5732"/>
                  </a:lnTo>
                  <a:lnTo>
                    <a:pt x="664" y="7722"/>
                  </a:lnTo>
                  <a:lnTo>
                    <a:pt x="664" y="7722"/>
                  </a:lnTo>
                  <a:lnTo>
                    <a:pt x="1195" y="7536"/>
                  </a:lnTo>
                  <a:lnTo>
                    <a:pt x="1779" y="7324"/>
                  </a:lnTo>
                  <a:lnTo>
                    <a:pt x="2389" y="7058"/>
                  </a:lnTo>
                  <a:lnTo>
                    <a:pt x="3026" y="6793"/>
                  </a:lnTo>
                  <a:lnTo>
                    <a:pt x="4326" y="6183"/>
                  </a:lnTo>
                  <a:lnTo>
                    <a:pt x="5653" y="5519"/>
                  </a:lnTo>
                  <a:lnTo>
                    <a:pt x="6953" y="4856"/>
                  </a:lnTo>
                  <a:lnTo>
                    <a:pt x="8174" y="4193"/>
                  </a:lnTo>
                  <a:lnTo>
                    <a:pt x="10111" y="3158"/>
                  </a:lnTo>
                  <a:lnTo>
                    <a:pt x="10111" y="3158"/>
                  </a:lnTo>
                  <a:lnTo>
                    <a:pt x="10403" y="2999"/>
                  </a:lnTo>
                  <a:lnTo>
                    <a:pt x="10694" y="2786"/>
                  </a:lnTo>
                  <a:lnTo>
                    <a:pt x="10694" y="2786"/>
                  </a:lnTo>
                  <a:lnTo>
                    <a:pt x="1029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" name="Google Shape;1168;p57">
              <a:extLst>
                <a:ext uri="{FF2B5EF4-FFF2-40B4-BE49-F238E27FC236}">
                  <a16:creationId xmlns:a16="http://schemas.microsoft.com/office/drawing/2014/main" id="{7B0DC915-D7A5-09BB-0226-57C589BF2603}"/>
                </a:ext>
              </a:extLst>
            </p:cNvPr>
            <p:cNvSpPr/>
            <p:nvPr/>
          </p:nvSpPr>
          <p:spPr>
            <a:xfrm>
              <a:off x="8612656" y="4343900"/>
              <a:ext cx="333321" cy="219677"/>
            </a:xfrm>
            <a:custGeom>
              <a:avLst/>
              <a:gdLst/>
              <a:ahLst/>
              <a:cxnLst/>
              <a:rect l="l" t="t" r="r" b="b"/>
              <a:pathLst>
                <a:path w="39458" h="26005" extrusionOk="0">
                  <a:moveTo>
                    <a:pt x="38316" y="1"/>
                  </a:moveTo>
                  <a:lnTo>
                    <a:pt x="38078" y="27"/>
                  </a:lnTo>
                  <a:lnTo>
                    <a:pt x="37839" y="107"/>
                  </a:lnTo>
                  <a:lnTo>
                    <a:pt x="37680" y="213"/>
                  </a:lnTo>
                  <a:lnTo>
                    <a:pt x="37547" y="319"/>
                  </a:lnTo>
                  <a:lnTo>
                    <a:pt x="37467" y="425"/>
                  </a:lnTo>
                  <a:lnTo>
                    <a:pt x="37388" y="532"/>
                  </a:lnTo>
                  <a:lnTo>
                    <a:pt x="37282" y="823"/>
                  </a:lnTo>
                  <a:lnTo>
                    <a:pt x="37149" y="1195"/>
                  </a:lnTo>
                  <a:lnTo>
                    <a:pt x="36830" y="1885"/>
                  </a:lnTo>
                  <a:lnTo>
                    <a:pt x="36486" y="2601"/>
                  </a:lnTo>
                  <a:lnTo>
                    <a:pt x="36061" y="3344"/>
                  </a:lnTo>
                  <a:lnTo>
                    <a:pt x="35583" y="4061"/>
                  </a:lnTo>
                  <a:lnTo>
                    <a:pt x="35318" y="4432"/>
                  </a:lnTo>
                  <a:lnTo>
                    <a:pt x="35026" y="4777"/>
                  </a:lnTo>
                  <a:lnTo>
                    <a:pt x="34734" y="5122"/>
                  </a:lnTo>
                  <a:lnTo>
                    <a:pt x="34416" y="5440"/>
                  </a:lnTo>
                  <a:lnTo>
                    <a:pt x="34071" y="5759"/>
                  </a:lnTo>
                  <a:lnTo>
                    <a:pt x="33726" y="6051"/>
                  </a:lnTo>
                  <a:lnTo>
                    <a:pt x="33354" y="6316"/>
                  </a:lnTo>
                  <a:lnTo>
                    <a:pt x="32956" y="6581"/>
                  </a:lnTo>
                  <a:lnTo>
                    <a:pt x="32718" y="6688"/>
                  </a:lnTo>
                  <a:lnTo>
                    <a:pt x="32479" y="6794"/>
                  </a:lnTo>
                  <a:lnTo>
                    <a:pt x="32213" y="6900"/>
                  </a:lnTo>
                  <a:lnTo>
                    <a:pt x="31948" y="6979"/>
                  </a:lnTo>
                  <a:lnTo>
                    <a:pt x="31311" y="7139"/>
                  </a:lnTo>
                  <a:lnTo>
                    <a:pt x="30595" y="7245"/>
                  </a:lnTo>
                  <a:lnTo>
                    <a:pt x="29825" y="7351"/>
                  </a:lnTo>
                  <a:lnTo>
                    <a:pt x="29029" y="7431"/>
                  </a:lnTo>
                  <a:lnTo>
                    <a:pt x="27331" y="7616"/>
                  </a:lnTo>
                  <a:lnTo>
                    <a:pt x="26455" y="7722"/>
                  </a:lnTo>
                  <a:lnTo>
                    <a:pt x="25580" y="7855"/>
                  </a:lnTo>
                  <a:lnTo>
                    <a:pt x="24731" y="8014"/>
                  </a:lnTo>
                  <a:lnTo>
                    <a:pt x="23882" y="8200"/>
                  </a:lnTo>
                  <a:lnTo>
                    <a:pt x="23086" y="8412"/>
                  </a:lnTo>
                  <a:lnTo>
                    <a:pt x="22714" y="8545"/>
                  </a:lnTo>
                  <a:lnTo>
                    <a:pt x="22343" y="8678"/>
                  </a:lnTo>
                  <a:lnTo>
                    <a:pt x="21998" y="8837"/>
                  </a:lnTo>
                  <a:lnTo>
                    <a:pt x="21653" y="9023"/>
                  </a:lnTo>
                  <a:lnTo>
                    <a:pt x="21361" y="9208"/>
                  </a:lnTo>
                  <a:lnTo>
                    <a:pt x="21042" y="9421"/>
                  </a:lnTo>
                  <a:lnTo>
                    <a:pt x="20777" y="9633"/>
                  </a:lnTo>
                  <a:lnTo>
                    <a:pt x="20512" y="9872"/>
                  </a:lnTo>
                  <a:lnTo>
                    <a:pt x="20273" y="10111"/>
                  </a:lnTo>
                  <a:lnTo>
                    <a:pt x="20061" y="10349"/>
                  </a:lnTo>
                  <a:lnTo>
                    <a:pt x="19663" y="10853"/>
                  </a:lnTo>
                  <a:lnTo>
                    <a:pt x="19291" y="11384"/>
                  </a:lnTo>
                  <a:lnTo>
                    <a:pt x="18973" y="11915"/>
                  </a:lnTo>
                  <a:lnTo>
                    <a:pt x="18654" y="12472"/>
                  </a:lnTo>
                  <a:lnTo>
                    <a:pt x="18044" y="13640"/>
                  </a:lnTo>
                  <a:lnTo>
                    <a:pt x="17726" y="14250"/>
                  </a:lnTo>
                  <a:lnTo>
                    <a:pt x="17381" y="14834"/>
                  </a:lnTo>
                  <a:lnTo>
                    <a:pt x="16983" y="15444"/>
                  </a:lnTo>
                  <a:lnTo>
                    <a:pt x="16532" y="16054"/>
                  </a:lnTo>
                  <a:lnTo>
                    <a:pt x="16001" y="16638"/>
                  </a:lnTo>
                  <a:lnTo>
                    <a:pt x="15709" y="16956"/>
                  </a:lnTo>
                  <a:lnTo>
                    <a:pt x="15417" y="17248"/>
                  </a:lnTo>
                  <a:lnTo>
                    <a:pt x="15072" y="17540"/>
                  </a:lnTo>
                  <a:lnTo>
                    <a:pt x="14727" y="17832"/>
                  </a:lnTo>
                  <a:lnTo>
                    <a:pt x="14329" y="18124"/>
                  </a:lnTo>
                  <a:lnTo>
                    <a:pt x="13931" y="18416"/>
                  </a:lnTo>
                  <a:lnTo>
                    <a:pt x="13507" y="18681"/>
                  </a:lnTo>
                  <a:lnTo>
                    <a:pt x="13056" y="18946"/>
                  </a:lnTo>
                  <a:lnTo>
                    <a:pt x="12604" y="19185"/>
                  </a:lnTo>
                  <a:lnTo>
                    <a:pt x="12153" y="19424"/>
                  </a:lnTo>
                  <a:lnTo>
                    <a:pt x="11251" y="19849"/>
                  </a:lnTo>
                  <a:lnTo>
                    <a:pt x="10322" y="20220"/>
                  </a:lnTo>
                  <a:lnTo>
                    <a:pt x="9394" y="20539"/>
                  </a:lnTo>
                  <a:lnTo>
                    <a:pt x="8465" y="20830"/>
                  </a:lnTo>
                  <a:lnTo>
                    <a:pt x="7563" y="21069"/>
                  </a:lnTo>
                  <a:lnTo>
                    <a:pt x="6661" y="21282"/>
                  </a:lnTo>
                  <a:lnTo>
                    <a:pt x="5042" y="21653"/>
                  </a:lnTo>
                  <a:lnTo>
                    <a:pt x="3636" y="21971"/>
                  </a:lnTo>
                  <a:lnTo>
                    <a:pt x="3052" y="22131"/>
                  </a:lnTo>
                  <a:lnTo>
                    <a:pt x="2521" y="22263"/>
                  </a:lnTo>
                  <a:lnTo>
                    <a:pt x="2123" y="22422"/>
                  </a:lnTo>
                  <a:lnTo>
                    <a:pt x="1964" y="22502"/>
                  </a:lnTo>
                  <a:lnTo>
                    <a:pt x="1805" y="22582"/>
                  </a:lnTo>
                  <a:lnTo>
                    <a:pt x="1354" y="22927"/>
                  </a:lnTo>
                  <a:lnTo>
                    <a:pt x="956" y="23245"/>
                  </a:lnTo>
                  <a:lnTo>
                    <a:pt x="611" y="23537"/>
                  </a:lnTo>
                  <a:lnTo>
                    <a:pt x="346" y="23829"/>
                  </a:lnTo>
                  <a:lnTo>
                    <a:pt x="133" y="24094"/>
                  </a:lnTo>
                  <a:lnTo>
                    <a:pt x="80" y="24227"/>
                  </a:lnTo>
                  <a:lnTo>
                    <a:pt x="27" y="24359"/>
                  </a:lnTo>
                  <a:lnTo>
                    <a:pt x="1" y="24466"/>
                  </a:lnTo>
                  <a:lnTo>
                    <a:pt x="1" y="24598"/>
                  </a:lnTo>
                  <a:lnTo>
                    <a:pt x="27" y="24704"/>
                  </a:lnTo>
                  <a:lnTo>
                    <a:pt x="80" y="24811"/>
                  </a:lnTo>
                  <a:lnTo>
                    <a:pt x="239" y="25023"/>
                  </a:lnTo>
                  <a:lnTo>
                    <a:pt x="452" y="25235"/>
                  </a:lnTo>
                  <a:lnTo>
                    <a:pt x="744" y="25447"/>
                  </a:lnTo>
                  <a:lnTo>
                    <a:pt x="1088" y="25633"/>
                  </a:lnTo>
                  <a:lnTo>
                    <a:pt x="1487" y="25792"/>
                  </a:lnTo>
                  <a:lnTo>
                    <a:pt x="1885" y="25925"/>
                  </a:lnTo>
                  <a:lnTo>
                    <a:pt x="2336" y="26005"/>
                  </a:lnTo>
                  <a:lnTo>
                    <a:pt x="2787" y="26005"/>
                  </a:lnTo>
                  <a:lnTo>
                    <a:pt x="3105" y="25978"/>
                  </a:lnTo>
                  <a:lnTo>
                    <a:pt x="3583" y="25845"/>
                  </a:lnTo>
                  <a:lnTo>
                    <a:pt x="4193" y="25660"/>
                  </a:lnTo>
                  <a:lnTo>
                    <a:pt x="4963" y="25447"/>
                  </a:lnTo>
                  <a:lnTo>
                    <a:pt x="6740" y="24837"/>
                  </a:lnTo>
                  <a:lnTo>
                    <a:pt x="8730" y="24094"/>
                  </a:lnTo>
                  <a:lnTo>
                    <a:pt x="10774" y="23298"/>
                  </a:lnTo>
                  <a:lnTo>
                    <a:pt x="12684" y="22502"/>
                  </a:lnTo>
                  <a:lnTo>
                    <a:pt x="13533" y="22131"/>
                  </a:lnTo>
                  <a:lnTo>
                    <a:pt x="14303" y="21759"/>
                  </a:lnTo>
                  <a:lnTo>
                    <a:pt x="14940" y="21441"/>
                  </a:lnTo>
                  <a:lnTo>
                    <a:pt x="15417" y="21149"/>
                  </a:lnTo>
                  <a:lnTo>
                    <a:pt x="15762" y="20937"/>
                  </a:lnTo>
                  <a:lnTo>
                    <a:pt x="16080" y="20698"/>
                  </a:lnTo>
                  <a:lnTo>
                    <a:pt x="16399" y="20432"/>
                  </a:lnTo>
                  <a:lnTo>
                    <a:pt x="16691" y="20167"/>
                  </a:lnTo>
                  <a:lnTo>
                    <a:pt x="17275" y="19610"/>
                  </a:lnTo>
                  <a:lnTo>
                    <a:pt x="17805" y="19000"/>
                  </a:lnTo>
                  <a:lnTo>
                    <a:pt x="18309" y="18363"/>
                  </a:lnTo>
                  <a:lnTo>
                    <a:pt x="18787" y="17726"/>
                  </a:lnTo>
                  <a:lnTo>
                    <a:pt x="19265" y="17063"/>
                  </a:lnTo>
                  <a:lnTo>
                    <a:pt x="19689" y="16426"/>
                  </a:lnTo>
                  <a:lnTo>
                    <a:pt x="20538" y="15152"/>
                  </a:lnTo>
                  <a:lnTo>
                    <a:pt x="20963" y="14542"/>
                  </a:lnTo>
                  <a:lnTo>
                    <a:pt x="21361" y="13985"/>
                  </a:lnTo>
                  <a:lnTo>
                    <a:pt x="21785" y="13480"/>
                  </a:lnTo>
                  <a:lnTo>
                    <a:pt x="22183" y="13056"/>
                  </a:lnTo>
                  <a:lnTo>
                    <a:pt x="22396" y="12844"/>
                  </a:lnTo>
                  <a:lnTo>
                    <a:pt x="22608" y="12684"/>
                  </a:lnTo>
                  <a:lnTo>
                    <a:pt x="22820" y="12525"/>
                  </a:lnTo>
                  <a:lnTo>
                    <a:pt x="23059" y="12366"/>
                  </a:lnTo>
                  <a:lnTo>
                    <a:pt x="23537" y="12127"/>
                  </a:lnTo>
                  <a:lnTo>
                    <a:pt x="24094" y="11888"/>
                  </a:lnTo>
                  <a:lnTo>
                    <a:pt x="24704" y="11650"/>
                  </a:lnTo>
                  <a:lnTo>
                    <a:pt x="25394" y="11437"/>
                  </a:lnTo>
                  <a:lnTo>
                    <a:pt x="26853" y="10986"/>
                  </a:lnTo>
                  <a:lnTo>
                    <a:pt x="28446" y="10562"/>
                  </a:lnTo>
                  <a:lnTo>
                    <a:pt x="30038" y="10111"/>
                  </a:lnTo>
                  <a:lnTo>
                    <a:pt x="31577" y="9659"/>
                  </a:lnTo>
                  <a:lnTo>
                    <a:pt x="32293" y="9421"/>
                  </a:lnTo>
                  <a:lnTo>
                    <a:pt x="32983" y="9182"/>
                  </a:lnTo>
                  <a:lnTo>
                    <a:pt x="33593" y="8916"/>
                  </a:lnTo>
                  <a:lnTo>
                    <a:pt x="34177" y="8651"/>
                  </a:lnTo>
                  <a:lnTo>
                    <a:pt x="34469" y="8465"/>
                  </a:lnTo>
                  <a:lnTo>
                    <a:pt x="34734" y="8280"/>
                  </a:lnTo>
                  <a:lnTo>
                    <a:pt x="35000" y="8094"/>
                  </a:lnTo>
                  <a:lnTo>
                    <a:pt x="35238" y="7882"/>
                  </a:lnTo>
                  <a:lnTo>
                    <a:pt x="35477" y="7643"/>
                  </a:lnTo>
                  <a:lnTo>
                    <a:pt x="35716" y="7404"/>
                  </a:lnTo>
                  <a:lnTo>
                    <a:pt x="36141" y="6873"/>
                  </a:lnTo>
                  <a:lnTo>
                    <a:pt x="36512" y="6343"/>
                  </a:lnTo>
                  <a:lnTo>
                    <a:pt x="36830" y="5759"/>
                  </a:lnTo>
                  <a:lnTo>
                    <a:pt x="37122" y="5202"/>
                  </a:lnTo>
                  <a:lnTo>
                    <a:pt x="37388" y="4618"/>
                  </a:lnTo>
                  <a:lnTo>
                    <a:pt x="37600" y="4087"/>
                  </a:lnTo>
                  <a:lnTo>
                    <a:pt x="37786" y="3557"/>
                  </a:lnTo>
                  <a:lnTo>
                    <a:pt x="38104" y="2681"/>
                  </a:lnTo>
                  <a:lnTo>
                    <a:pt x="38290" y="2097"/>
                  </a:lnTo>
                  <a:lnTo>
                    <a:pt x="38369" y="1938"/>
                  </a:lnTo>
                  <a:lnTo>
                    <a:pt x="38396" y="1911"/>
                  </a:lnTo>
                  <a:lnTo>
                    <a:pt x="38423" y="1885"/>
                  </a:lnTo>
                  <a:lnTo>
                    <a:pt x="38635" y="1938"/>
                  </a:lnTo>
                  <a:lnTo>
                    <a:pt x="38847" y="1938"/>
                  </a:lnTo>
                  <a:lnTo>
                    <a:pt x="38980" y="1911"/>
                  </a:lnTo>
                  <a:lnTo>
                    <a:pt x="39086" y="1858"/>
                  </a:lnTo>
                  <a:lnTo>
                    <a:pt x="39219" y="1805"/>
                  </a:lnTo>
                  <a:lnTo>
                    <a:pt x="39351" y="1699"/>
                  </a:lnTo>
                  <a:lnTo>
                    <a:pt x="39431" y="1593"/>
                  </a:lnTo>
                  <a:lnTo>
                    <a:pt x="39457" y="1487"/>
                  </a:lnTo>
                  <a:lnTo>
                    <a:pt x="39457" y="1328"/>
                  </a:lnTo>
                  <a:lnTo>
                    <a:pt x="39431" y="1168"/>
                  </a:lnTo>
                  <a:lnTo>
                    <a:pt x="39298" y="850"/>
                  </a:lnTo>
                  <a:lnTo>
                    <a:pt x="39165" y="558"/>
                  </a:lnTo>
                  <a:lnTo>
                    <a:pt x="39086" y="425"/>
                  </a:lnTo>
                  <a:lnTo>
                    <a:pt x="38980" y="293"/>
                  </a:lnTo>
                  <a:lnTo>
                    <a:pt x="38847" y="187"/>
                  </a:lnTo>
                  <a:lnTo>
                    <a:pt x="38688" y="81"/>
                  </a:lnTo>
                  <a:lnTo>
                    <a:pt x="38502" y="27"/>
                  </a:lnTo>
                  <a:lnTo>
                    <a:pt x="38316" y="1"/>
                  </a:lnTo>
                  <a:close/>
                </a:path>
              </a:pathLst>
            </a:custGeom>
            <a:solidFill>
              <a:srgbClr val="F4AD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" name="Google Shape;1169;p57">
              <a:extLst>
                <a:ext uri="{FF2B5EF4-FFF2-40B4-BE49-F238E27FC236}">
                  <a16:creationId xmlns:a16="http://schemas.microsoft.com/office/drawing/2014/main" id="{28DCAD98-2744-A277-05DC-00D043EC82BD}"/>
                </a:ext>
              </a:extLst>
            </p:cNvPr>
            <p:cNvSpPr/>
            <p:nvPr/>
          </p:nvSpPr>
          <p:spPr>
            <a:xfrm>
              <a:off x="7746990" y="5048633"/>
              <a:ext cx="48421" cy="11210"/>
            </a:xfrm>
            <a:custGeom>
              <a:avLst/>
              <a:gdLst/>
              <a:ahLst/>
              <a:cxnLst/>
              <a:rect l="l" t="t" r="r" b="b"/>
              <a:pathLst>
                <a:path w="5732" h="1327" extrusionOk="0">
                  <a:moveTo>
                    <a:pt x="5413" y="0"/>
                  </a:moveTo>
                  <a:lnTo>
                    <a:pt x="5679" y="849"/>
                  </a:lnTo>
                  <a:lnTo>
                    <a:pt x="5732" y="849"/>
                  </a:lnTo>
                  <a:lnTo>
                    <a:pt x="5440" y="0"/>
                  </a:lnTo>
                  <a:close/>
                  <a:moveTo>
                    <a:pt x="0" y="478"/>
                  </a:moveTo>
                  <a:lnTo>
                    <a:pt x="372" y="1327"/>
                  </a:lnTo>
                  <a:lnTo>
                    <a:pt x="398" y="1327"/>
                  </a:lnTo>
                  <a:lnTo>
                    <a:pt x="0" y="478"/>
                  </a:lnTo>
                  <a:close/>
                </a:path>
              </a:pathLst>
            </a:custGeom>
            <a:solidFill>
              <a:srgbClr val="E1E1E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1170;p57">
              <a:extLst>
                <a:ext uri="{FF2B5EF4-FFF2-40B4-BE49-F238E27FC236}">
                  <a16:creationId xmlns:a16="http://schemas.microsoft.com/office/drawing/2014/main" id="{EAE14022-3460-5E62-9792-0452CECE942B}"/>
                </a:ext>
              </a:extLst>
            </p:cNvPr>
            <p:cNvSpPr/>
            <p:nvPr/>
          </p:nvSpPr>
          <p:spPr>
            <a:xfrm>
              <a:off x="7746990" y="5052662"/>
              <a:ext cx="3371" cy="7180"/>
            </a:xfrm>
            <a:custGeom>
              <a:avLst/>
              <a:gdLst/>
              <a:ahLst/>
              <a:cxnLst/>
              <a:rect l="l" t="t" r="r" b="b"/>
              <a:pathLst>
                <a:path w="399" h="850" fill="none" extrusionOk="0">
                  <a:moveTo>
                    <a:pt x="0" y="1"/>
                  </a:moveTo>
                  <a:lnTo>
                    <a:pt x="372" y="850"/>
                  </a:lnTo>
                  <a:lnTo>
                    <a:pt x="372" y="850"/>
                  </a:lnTo>
                  <a:lnTo>
                    <a:pt x="398" y="850"/>
                  </a:lnTo>
                  <a:lnTo>
                    <a:pt x="398" y="850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" name="Google Shape;1171;p57">
              <a:extLst>
                <a:ext uri="{FF2B5EF4-FFF2-40B4-BE49-F238E27FC236}">
                  <a16:creationId xmlns:a16="http://schemas.microsoft.com/office/drawing/2014/main" id="{1AB69D5F-71AC-5B57-3F79-1F1D3A01FA67}"/>
                </a:ext>
              </a:extLst>
            </p:cNvPr>
            <p:cNvSpPr/>
            <p:nvPr/>
          </p:nvSpPr>
          <p:spPr>
            <a:xfrm>
              <a:off x="7792716" y="5048633"/>
              <a:ext cx="2695" cy="7180"/>
            </a:xfrm>
            <a:custGeom>
              <a:avLst/>
              <a:gdLst/>
              <a:ahLst/>
              <a:cxnLst/>
              <a:rect l="l" t="t" r="r" b="b"/>
              <a:pathLst>
                <a:path w="319" h="850" fill="none" extrusionOk="0">
                  <a:moveTo>
                    <a:pt x="27" y="0"/>
                  </a:moveTo>
                  <a:lnTo>
                    <a:pt x="27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6" y="849"/>
                  </a:lnTo>
                  <a:lnTo>
                    <a:pt x="266" y="849"/>
                  </a:lnTo>
                  <a:lnTo>
                    <a:pt x="319" y="849"/>
                  </a:lnTo>
                  <a:lnTo>
                    <a:pt x="2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" name="Google Shape;1172;p57">
              <a:extLst>
                <a:ext uri="{FF2B5EF4-FFF2-40B4-BE49-F238E27FC236}">
                  <a16:creationId xmlns:a16="http://schemas.microsoft.com/office/drawing/2014/main" id="{33BB6D15-9EB4-2417-2848-EE8FB30EF095}"/>
                </a:ext>
              </a:extLst>
            </p:cNvPr>
            <p:cNvSpPr/>
            <p:nvPr/>
          </p:nvSpPr>
          <p:spPr>
            <a:xfrm>
              <a:off x="7746762" y="5048633"/>
              <a:ext cx="48201" cy="11210"/>
            </a:xfrm>
            <a:custGeom>
              <a:avLst/>
              <a:gdLst/>
              <a:ahLst/>
              <a:cxnLst/>
              <a:rect l="l" t="t" r="r" b="b"/>
              <a:pathLst>
                <a:path w="5706" h="1327" extrusionOk="0">
                  <a:moveTo>
                    <a:pt x="5440" y="0"/>
                  </a:moveTo>
                  <a:lnTo>
                    <a:pt x="3795" y="159"/>
                  </a:lnTo>
                  <a:lnTo>
                    <a:pt x="2309" y="265"/>
                  </a:lnTo>
                  <a:lnTo>
                    <a:pt x="1" y="425"/>
                  </a:lnTo>
                  <a:lnTo>
                    <a:pt x="27" y="478"/>
                  </a:lnTo>
                  <a:lnTo>
                    <a:pt x="425" y="1327"/>
                  </a:lnTo>
                  <a:lnTo>
                    <a:pt x="3026" y="1088"/>
                  </a:lnTo>
                  <a:lnTo>
                    <a:pt x="5706" y="849"/>
                  </a:lnTo>
                  <a:lnTo>
                    <a:pt x="5440" y="0"/>
                  </a:lnTo>
                  <a:close/>
                </a:path>
              </a:pathLst>
            </a:custGeom>
            <a:solidFill>
              <a:srgbClr val="D89CA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" name="Google Shape;1173;p57">
              <a:extLst>
                <a:ext uri="{FF2B5EF4-FFF2-40B4-BE49-F238E27FC236}">
                  <a16:creationId xmlns:a16="http://schemas.microsoft.com/office/drawing/2014/main" id="{559C9F91-5667-11DF-1BD2-162D1B2D00CF}"/>
                </a:ext>
              </a:extLst>
            </p:cNvPr>
            <p:cNvSpPr/>
            <p:nvPr/>
          </p:nvSpPr>
          <p:spPr>
            <a:xfrm>
              <a:off x="7746762" y="5048633"/>
              <a:ext cx="48201" cy="11210"/>
            </a:xfrm>
            <a:custGeom>
              <a:avLst/>
              <a:gdLst/>
              <a:ahLst/>
              <a:cxnLst/>
              <a:rect l="l" t="t" r="r" b="b"/>
              <a:pathLst>
                <a:path w="5706" h="1327" fill="none" extrusionOk="0">
                  <a:moveTo>
                    <a:pt x="5440" y="0"/>
                  </a:moveTo>
                  <a:lnTo>
                    <a:pt x="5440" y="0"/>
                  </a:lnTo>
                  <a:lnTo>
                    <a:pt x="3795" y="159"/>
                  </a:lnTo>
                  <a:lnTo>
                    <a:pt x="2309" y="265"/>
                  </a:lnTo>
                  <a:lnTo>
                    <a:pt x="1" y="425"/>
                  </a:lnTo>
                  <a:lnTo>
                    <a:pt x="27" y="478"/>
                  </a:lnTo>
                  <a:lnTo>
                    <a:pt x="27" y="478"/>
                  </a:lnTo>
                  <a:lnTo>
                    <a:pt x="425" y="1327"/>
                  </a:lnTo>
                  <a:lnTo>
                    <a:pt x="425" y="1327"/>
                  </a:lnTo>
                  <a:lnTo>
                    <a:pt x="3026" y="1088"/>
                  </a:lnTo>
                  <a:lnTo>
                    <a:pt x="5706" y="849"/>
                  </a:lnTo>
                  <a:lnTo>
                    <a:pt x="5706" y="849"/>
                  </a:lnTo>
                  <a:lnTo>
                    <a:pt x="544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1174;p57">
              <a:extLst>
                <a:ext uri="{FF2B5EF4-FFF2-40B4-BE49-F238E27FC236}">
                  <a16:creationId xmlns:a16="http://schemas.microsoft.com/office/drawing/2014/main" id="{A5C3A237-2F54-5AB8-83E0-B84B74698551}"/>
                </a:ext>
              </a:extLst>
            </p:cNvPr>
            <p:cNvSpPr/>
            <p:nvPr/>
          </p:nvSpPr>
          <p:spPr>
            <a:xfrm>
              <a:off x="7338359" y="3605335"/>
              <a:ext cx="2223137" cy="621795"/>
            </a:xfrm>
            <a:custGeom>
              <a:avLst/>
              <a:gdLst/>
              <a:ahLst/>
              <a:cxnLst/>
              <a:rect l="l" t="t" r="r" b="b"/>
              <a:pathLst>
                <a:path w="263171" h="73607" extrusionOk="0">
                  <a:moveTo>
                    <a:pt x="212569" y="0"/>
                  </a:moveTo>
                  <a:lnTo>
                    <a:pt x="212383" y="27"/>
                  </a:lnTo>
                  <a:lnTo>
                    <a:pt x="212224" y="80"/>
                  </a:lnTo>
                  <a:lnTo>
                    <a:pt x="212118" y="159"/>
                  </a:lnTo>
                  <a:lnTo>
                    <a:pt x="211985" y="265"/>
                  </a:lnTo>
                  <a:lnTo>
                    <a:pt x="211905" y="398"/>
                  </a:lnTo>
                  <a:lnTo>
                    <a:pt x="211826" y="557"/>
                  </a:lnTo>
                  <a:lnTo>
                    <a:pt x="211773" y="743"/>
                  </a:lnTo>
                  <a:lnTo>
                    <a:pt x="211720" y="929"/>
                  </a:lnTo>
                  <a:lnTo>
                    <a:pt x="211720" y="1168"/>
                  </a:lnTo>
                  <a:lnTo>
                    <a:pt x="211693" y="1406"/>
                  </a:lnTo>
                  <a:lnTo>
                    <a:pt x="211720" y="1964"/>
                  </a:lnTo>
                  <a:lnTo>
                    <a:pt x="211799" y="2574"/>
                  </a:lnTo>
                  <a:lnTo>
                    <a:pt x="211932" y="3264"/>
                  </a:lnTo>
                  <a:lnTo>
                    <a:pt x="212118" y="4007"/>
                  </a:lnTo>
                  <a:lnTo>
                    <a:pt x="212330" y="4803"/>
                  </a:lnTo>
                  <a:lnTo>
                    <a:pt x="212569" y="5652"/>
                  </a:lnTo>
                  <a:lnTo>
                    <a:pt x="212861" y="6501"/>
                  </a:lnTo>
                  <a:lnTo>
                    <a:pt x="213471" y="8332"/>
                  </a:lnTo>
                  <a:lnTo>
                    <a:pt x="214134" y="10216"/>
                  </a:lnTo>
                  <a:lnTo>
                    <a:pt x="214798" y="12100"/>
                  </a:lnTo>
                  <a:lnTo>
                    <a:pt x="215435" y="13931"/>
                  </a:lnTo>
                  <a:lnTo>
                    <a:pt x="215992" y="15629"/>
                  </a:lnTo>
                  <a:lnTo>
                    <a:pt x="216231" y="16425"/>
                  </a:lnTo>
                  <a:lnTo>
                    <a:pt x="216443" y="17168"/>
                  </a:lnTo>
                  <a:lnTo>
                    <a:pt x="216602" y="17858"/>
                  </a:lnTo>
                  <a:lnTo>
                    <a:pt x="216735" y="18468"/>
                  </a:lnTo>
                  <a:lnTo>
                    <a:pt x="216814" y="18999"/>
                  </a:lnTo>
                  <a:lnTo>
                    <a:pt x="216814" y="19476"/>
                  </a:lnTo>
                  <a:lnTo>
                    <a:pt x="216814" y="19689"/>
                  </a:lnTo>
                  <a:lnTo>
                    <a:pt x="216788" y="19848"/>
                  </a:lnTo>
                  <a:lnTo>
                    <a:pt x="216735" y="20007"/>
                  </a:lnTo>
                  <a:lnTo>
                    <a:pt x="216655" y="20140"/>
                  </a:lnTo>
                  <a:lnTo>
                    <a:pt x="216576" y="20246"/>
                  </a:lnTo>
                  <a:lnTo>
                    <a:pt x="216496" y="20325"/>
                  </a:lnTo>
                  <a:lnTo>
                    <a:pt x="216363" y="20378"/>
                  </a:lnTo>
                  <a:lnTo>
                    <a:pt x="216231" y="20405"/>
                  </a:lnTo>
                  <a:lnTo>
                    <a:pt x="206201" y="20856"/>
                  </a:lnTo>
                  <a:lnTo>
                    <a:pt x="181683" y="21891"/>
                  </a:lnTo>
                  <a:lnTo>
                    <a:pt x="165497" y="22607"/>
                  </a:lnTo>
                  <a:lnTo>
                    <a:pt x="147533" y="23403"/>
                  </a:lnTo>
                  <a:lnTo>
                    <a:pt x="128348" y="24279"/>
                  </a:lnTo>
                  <a:lnTo>
                    <a:pt x="108580" y="25208"/>
                  </a:lnTo>
                  <a:lnTo>
                    <a:pt x="88812" y="26189"/>
                  </a:lnTo>
                  <a:lnTo>
                    <a:pt x="69654" y="27198"/>
                  </a:lnTo>
                  <a:lnTo>
                    <a:pt x="60500" y="27702"/>
                  </a:lnTo>
                  <a:lnTo>
                    <a:pt x="51717" y="28180"/>
                  </a:lnTo>
                  <a:lnTo>
                    <a:pt x="43385" y="28684"/>
                  </a:lnTo>
                  <a:lnTo>
                    <a:pt x="35584" y="29161"/>
                  </a:lnTo>
                  <a:lnTo>
                    <a:pt x="28393" y="29639"/>
                  </a:lnTo>
                  <a:lnTo>
                    <a:pt x="21892" y="30117"/>
                  </a:lnTo>
                  <a:lnTo>
                    <a:pt x="16134" y="30568"/>
                  </a:lnTo>
                  <a:lnTo>
                    <a:pt x="11199" y="31019"/>
                  </a:lnTo>
                  <a:lnTo>
                    <a:pt x="9076" y="31204"/>
                  </a:lnTo>
                  <a:lnTo>
                    <a:pt x="7192" y="31417"/>
                  </a:lnTo>
                  <a:lnTo>
                    <a:pt x="5547" y="31629"/>
                  </a:lnTo>
                  <a:lnTo>
                    <a:pt x="4167" y="31815"/>
                  </a:lnTo>
                  <a:lnTo>
                    <a:pt x="3052" y="32001"/>
                  </a:lnTo>
                  <a:lnTo>
                    <a:pt x="2203" y="32186"/>
                  </a:lnTo>
                  <a:lnTo>
                    <a:pt x="1885" y="32292"/>
                  </a:lnTo>
                  <a:lnTo>
                    <a:pt x="1646" y="32372"/>
                  </a:lnTo>
                  <a:lnTo>
                    <a:pt x="1460" y="32452"/>
                  </a:lnTo>
                  <a:lnTo>
                    <a:pt x="1354" y="32531"/>
                  </a:lnTo>
                  <a:lnTo>
                    <a:pt x="1248" y="32743"/>
                  </a:lnTo>
                  <a:lnTo>
                    <a:pt x="1142" y="32956"/>
                  </a:lnTo>
                  <a:lnTo>
                    <a:pt x="1036" y="33221"/>
                  </a:lnTo>
                  <a:lnTo>
                    <a:pt x="930" y="33540"/>
                  </a:lnTo>
                  <a:lnTo>
                    <a:pt x="744" y="34256"/>
                  </a:lnTo>
                  <a:lnTo>
                    <a:pt x="585" y="35105"/>
                  </a:lnTo>
                  <a:lnTo>
                    <a:pt x="426" y="36113"/>
                  </a:lnTo>
                  <a:lnTo>
                    <a:pt x="319" y="37201"/>
                  </a:lnTo>
                  <a:lnTo>
                    <a:pt x="213" y="38395"/>
                  </a:lnTo>
                  <a:lnTo>
                    <a:pt x="134" y="39695"/>
                  </a:lnTo>
                  <a:lnTo>
                    <a:pt x="81" y="41102"/>
                  </a:lnTo>
                  <a:lnTo>
                    <a:pt x="27" y="42561"/>
                  </a:lnTo>
                  <a:lnTo>
                    <a:pt x="1" y="44074"/>
                  </a:lnTo>
                  <a:lnTo>
                    <a:pt x="1" y="45639"/>
                  </a:lnTo>
                  <a:lnTo>
                    <a:pt x="27" y="47258"/>
                  </a:lnTo>
                  <a:lnTo>
                    <a:pt x="54" y="48903"/>
                  </a:lnTo>
                  <a:lnTo>
                    <a:pt x="160" y="52246"/>
                  </a:lnTo>
                  <a:lnTo>
                    <a:pt x="346" y="55590"/>
                  </a:lnTo>
                  <a:lnTo>
                    <a:pt x="452" y="57235"/>
                  </a:lnTo>
                  <a:lnTo>
                    <a:pt x="558" y="58853"/>
                  </a:lnTo>
                  <a:lnTo>
                    <a:pt x="717" y="60445"/>
                  </a:lnTo>
                  <a:lnTo>
                    <a:pt x="850" y="61958"/>
                  </a:lnTo>
                  <a:lnTo>
                    <a:pt x="1009" y="63417"/>
                  </a:lnTo>
                  <a:lnTo>
                    <a:pt x="1195" y="64797"/>
                  </a:lnTo>
                  <a:lnTo>
                    <a:pt x="1381" y="66097"/>
                  </a:lnTo>
                  <a:lnTo>
                    <a:pt x="1566" y="67318"/>
                  </a:lnTo>
                  <a:lnTo>
                    <a:pt x="1779" y="68406"/>
                  </a:lnTo>
                  <a:lnTo>
                    <a:pt x="1991" y="69388"/>
                  </a:lnTo>
                  <a:lnTo>
                    <a:pt x="2230" y="70263"/>
                  </a:lnTo>
                  <a:lnTo>
                    <a:pt x="2469" y="70980"/>
                  </a:lnTo>
                  <a:lnTo>
                    <a:pt x="2575" y="71271"/>
                  </a:lnTo>
                  <a:lnTo>
                    <a:pt x="2707" y="71537"/>
                  </a:lnTo>
                  <a:lnTo>
                    <a:pt x="2814" y="71776"/>
                  </a:lnTo>
                  <a:lnTo>
                    <a:pt x="2946" y="71961"/>
                  </a:lnTo>
                  <a:lnTo>
                    <a:pt x="3079" y="72067"/>
                  </a:lnTo>
                  <a:lnTo>
                    <a:pt x="3265" y="72147"/>
                  </a:lnTo>
                  <a:lnTo>
                    <a:pt x="3504" y="72227"/>
                  </a:lnTo>
                  <a:lnTo>
                    <a:pt x="3848" y="72306"/>
                  </a:lnTo>
                  <a:lnTo>
                    <a:pt x="4246" y="72359"/>
                  </a:lnTo>
                  <a:lnTo>
                    <a:pt x="4724" y="72412"/>
                  </a:lnTo>
                  <a:lnTo>
                    <a:pt x="5865" y="72492"/>
                  </a:lnTo>
                  <a:lnTo>
                    <a:pt x="7271" y="72519"/>
                  </a:lnTo>
                  <a:lnTo>
                    <a:pt x="8917" y="72519"/>
                  </a:lnTo>
                  <a:lnTo>
                    <a:pt x="10800" y="72492"/>
                  </a:lnTo>
                  <a:lnTo>
                    <a:pt x="12950" y="72439"/>
                  </a:lnTo>
                  <a:lnTo>
                    <a:pt x="15285" y="72359"/>
                  </a:lnTo>
                  <a:lnTo>
                    <a:pt x="17859" y="72227"/>
                  </a:lnTo>
                  <a:lnTo>
                    <a:pt x="20618" y="72067"/>
                  </a:lnTo>
                  <a:lnTo>
                    <a:pt x="23590" y="71908"/>
                  </a:lnTo>
                  <a:lnTo>
                    <a:pt x="30091" y="71457"/>
                  </a:lnTo>
                  <a:lnTo>
                    <a:pt x="37255" y="70927"/>
                  </a:lnTo>
                  <a:lnTo>
                    <a:pt x="45003" y="70316"/>
                  </a:lnTo>
                  <a:lnTo>
                    <a:pt x="53309" y="69626"/>
                  </a:lnTo>
                  <a:lnTo>
                    <a:pt x="62039" y="68857"/>
                  </a:lnTo>
                  <a:lnTo>
                    <a:pt x="71166" y="68034"/>
                  </a:lnTo>
                  <a:lnTo>
                    <a:pt x="80586" y="67159"/>
                  </a:lnTo>
                  <a:lnTo>
                    <a:pt x="90245" y="66256"/>
                  </a:lnTo>
                  <a:lnTo>
                    <a:pt x="100063" y="65301"/>
                  </a:lnTo>
                  <a:lnTo>
                    <a:pt x="109960" y="64319"/>
                  </a:lnTo>
                  <a:lnTo>
                    <a:pt x="129702" y="62329"/>
                  </a:lnTo>
                  <a:lnTo>
                    <a:pt x="148913" y="60366"/>
                  </a:lnTo>
                  <a:lnTo>
                    <a:pt x="166983" y="58455"/>
                  </a:lnTo>
                  <a:lnTo>
                    <a:pt x="183328" y="56731"/>
                  </a:lnTo>
                  <a:lnTo>
                    <a:pt x="197365" y="55218"/>
                  </a:lnTo>
                  <a:lnTo>
                    <a:pt x="208483" y="53998"/>
                  </a:lnTo>
                  <a:lnTo>
                    <a:pt x="216124" y="53148"/>
                  </a:lnTo>
                  <a:lnTo>
                    <a:pt x="219654" y="52750"/>
                  </a:lnTo>
                  <a:lnTo>
                    <a:pt x="219839" y="52750"/>
                  </a:lnTo>
                  <a:lnTo>
                    <a:pt x="220025" y="52777"/>
                  </a:lnTo>
                  <a:lnTo>
                    <a:pt x="220184" y="52830"/>
                  </a:lnTo>
                  <a:lnTo>
                    <a:pt x="220343" y="52910"/>
                  </a:lnTo>
                  <a:lnTo>
                    <a:pt x="220476" y="53016"/>
                  </a:lnTo>
                  <a:lnTo>
                    <a:pt x="220582" y="53148"/>
                  </a:lnTo>
                  <a:lnTo>
                    <a:pt x="220688" y="53308"/>
                  </a:lnTo>
                  <a:lnTo>
                    <a:pt x="220768" y="53493"/>
                  </a:lnTo>
                  <a:lnTo>
                    <a:pt x="220848" y="53732"/>
                  </a:lnTo>
                  <a:lnTo>
                    <a:pt x="220927" y="53944"/>
                  </a:lnTo>
                  <a:lnTo>
                    <a:pt x="221033" y="54502"/>
                  </a:lnTo>
                  <a:lnTo>
                    <a:pt x="221086" y="55112"/>
                  </a:lnTo>
                  <a:lnTo>
                    <a:pt x="221086" y="55828"/>
                  </a:lnTo>
                  <a:lnTo>
                    <a:pt x="221086" y="56571"/>
                  </a:lnTo>
                  <a:lnTo>
                    <a:pt x="221033" y="57394"/>
                  </a:lnTo>
                  <a:lnTo>
                    <a:pt x="220954" y="58270"/>
                  </a:lnTo>
                  <a:lnTo>
                    <a:pt x="220848" y="59172"/>
                  </a:lnTo>
                  <a:lnTo>
                    <a:pt x="220609" y="61082"/>
                  </a:lnTo>
                  <a:lnTo>
                    <a:pt x="220317" y="63072"/>
                  </a:lnTo>
                  <a:lnTo>
                    <a:pt x="220025" y="65036"/>
                  </a:lnTo>
                  <a:lnTo>
                    <a:pt x="219733" y="66973"/>
                  </a:lnTo>
                  <a:lnTo>
                    <a:pt x="219494" y="68751"/>
                  </a:lnTo>
                  <a:lnTo>
                    <a:pt x="219415" y="69600"/>
                  </a:lnTo>
                  <a:lnTo>
                    <a:pt x="219335" y="70369"/>
                  </a:lnTo>
                  <a:lnTo>
                    <a:pt x="219309" y="71086"/>
                  </a:lnTo>
                  <a:lnTo>
                    <a:pt x="219309" y="71723"/>
                  </a:lnTo>
                  <a:lnTo>
                    <a:pt x="219335" y="72280"/>
                  </a:lnTo>
                  <a:lnTo>
                    <a:pt x="219415" y="72757"/>
                  </a:lnTo>
                  <a:lnTo>
                    <a:pt x="219441" y="72970"/>
                  </a:lnTo>
                  <a:lnTo>
                    <a:pt x="219521" y="73129"/>
                  </a:lnTo>
                  <a:lnTo>
                    <a:pt x="219600" y="73288"/>
                  </a:lnTo>
                  <a:lnTo>
                    <a:pt x="219680" y="73421"/>
                  </a:lnTo>
                  <a:lnTo>
                    <a:pt x="219786" y="73500"/>
                  </a:lnTo>
                  <a:lnTo>
                    <a:pt x="219892" y="73580"/>
                  </a:lnTo>
                  <a:lnTo>
                    <a:pt x="220025" y="73606"/>
                  </a:lnTo>
                  <a:lnTo>
                    <a:pt x="220158" y="73606"/>
                  </a:lnTo>
                  <a:lnTo>
                    <a:pt x="220370" y="73580"/>
                  </a:lnTo>
                  <a:lnTo>
                    <a:pt x="220609" y="73500"/>
                  </a:lnTo>
                  <a:lnTo>
                    <a:pt x="220927" y="73368"/>
                  </a:lnTo>
                  <a:lnTo>
                    <a:pt x="221272" y="73182"/>
                  </a:lnTo>
                  <a:lnTo>
                    <a:pt x="222095" y="72678"/>
                  </a:lnTo>
                  <a:lnTo>
                    <a:pt x="223076" y="71988"/>
                  </a:lnTo>
                  <a:lnTo>
                    <a:pt x="224244" y="71165"/>
                  </a:lnTo>
                  <a:lnTo>
                    <a:pt x="225518" y="70184"/>
                  </a:lnTo>
                  <a:lnTo>
                    <a:pt x="226924" y="69069"/>
                  </a:lnTo>
                  <a:lnTo>
                    <a:pt x="228463" y="67849"/>
                  </a:lnTo>
                  <a:lnTo>
                    <a:pt x="230082" y="66495"/>
                  </a:lnTo>
                  <a:lnTo>
                    <a:pt x="231806" y="65062"/>
                  </a:lnTo>
                  <a:lnTo>
                    <a:pt x="233584" y="63523"/>
                  </a:lnTo>
                  <a:lnTo>
                    <a:pt x="235415" y="61905"/>
                  </a:lnTo>
                  <a:lnTo>
                    <a:pt x="237299" y="60233"/>
                  </a:lnTo>
                  <a:lnTo>
                    <a:pt x="239209" y="58508"/>
                  </a:lnTo>
                  <a:lnTo>
                    <a:pt x="241146" y="56757"/>
                  </a:lnTo>
                  <a:lnTo>
                    <a:pt x="243084" y="54953"/>
                  </a:lnTo>
                  <a:lnTo>
                    <a:pt x="244994" y="53148"/>
                  </a:lnTo>
                  <a:lnTo>
                    <a:pt x="246904" y="51344"/>
                  </a:lnTo>
                  <a:lnTo>
                    <a:pt x="248762" y="49540"/>
                  </a:lnTo>
                  <a:lnTo>
                    <a:pt x="250566" y="47762"/>
                  </a:lnTo>
                  <a:lnTo>
                    <a:pt x="252291" y="46011"/>
                  </a:lnTo>
                  <a:lnTo>
                    <a:pt x="253963" y="44286"/>
                  </a:lnTo>
                  <a:lnTo>
                    <a:pt x="255528" y="42641"/>
                  </a:lnTo>
                  <a:lnTo>
                    <a:pt x="256988" y="41049"/>
                  </a:lnTo>
                  <a:lnTo>
                    <a:pt x="258341" y="39563"/>
                  </a:lnTo>
                  <a:lnTo>
                    <a:pt x="259535" y="38130"/>
                  </a:lnTo>
                  <a:lnTo>
                    <a:pt x="260596" y="36830"/>
                  </a:lnTo>
                  <a:lnTo>
                    <a:pt x="261498" y="35636"/>
                  </a:lnTo>
                  <a:lnTo>
                    <a:pt x="261870" y="35079"/>
                  </a:lnTo>
                  <a:lnTo>
                    <a:pt x="262215" y="34574"/>
                  </a:lnTo>
                  <a:lnTo>
                    <a:pt x="262507" y="34070"/>
                  </a:lnTo>
                  <a:lnTo>
                    <a:pt x="262746" y="33646"/>
                  </a:lnTo>
                  <a:lnTo>
                    <a:pt x="262931" y="33221"/>
                  </a:lnTo>
                  <a:lnTo>
                    <a:pt x="263064" y="32850"/>
                  </a:lnTo>
                  <a:lnTo>
                    <a:pt x="263144" y="32531"/>
                  </a:lnTo>
                  <a:lnTo>
                    <a:pt x="263170" y="32239"/>
                  </a:lnTo>
                  <a:lnTo>
                    <a:pt x="263144" y="31974"/>
                  </a:lnTo>
                  <a:lnTo>
                    <a:pt x="263037" y="31656"/>
                  </a:lnTo>
                  <a:lnTo>
                    <a:pt x="262878" y="31311"/>
                  </a:lnTo>
                  <a:lnTo>
                    <a:pt x="262639" y="30939"/>
                  </a:lnTo>
                  <a:lnTo>
                    <a:pt x="262348" y="30541"/>
                  </a:lnTo>
                  <a:lnTo>
                    <a:pt x="262003" y="30143"/>
                  </a:lnTo>
                  <a:lnTo>
                    <a:pt x="261605" y="29692"/>
                  </a:lnTo>
                  <a:lnTo>
                    <a:pt x="261153" y="29214"/>
                  </a:lnTo>
                  <a:lnTo>
                    <a:pt x="260649" y="28737"/>
                  </a:lnTo>
                  <a:lnTo>
                    <a:pt x="260092" y="28233"/>
                  </a:lnTo>
                  <a:lnTo>
                    <a:pt x="258818" y="27145"/>
                  </a:lnTo>
                  <a:lnTo>
                    <a:pt x="257386" y="26004"/>
                  </a:lnTo>
                  <a:lnTo>
                    <a:pt x="255794" y="24783"/>
                  </a:lnTo>
                  <a:lnTo>
                    <a:pt x="254069" y="23510"/>
                  </a:lnTo>
                  <a:lnTo>
                    <a:pt x="252211" y="22209"/>
                  </a:lnTo>
                  <a:lnTo>
                    <a:pt x="250248" y="20856"/>
                  </a:lnTo>
                  <a:lnTo>
                    <a:pt x="248178" y="19476"/>
                  </a:lnTo>
                  <a:lnTo>
                    <a:pt x="246029" y="18096"/>
                  </a:lnTo>
                  <a:lnTo>
                    <a:pt x="243826" y="16690"/>
                  </a:lnTo>
                  <a:lnTo>
                    <a:pt x="241598" y="15284"/>
                  </a:lnTo>
                  <a:lnTo>
                    <a:pt x="239316" y="13904"/>
                  </a:lnTo>
                  <a:lnTo>
                    <a:pt x="237034" y="12524"/>
                  </a:lnTo>
                  <a:lnTo>
                    <a:pt x="234752" y="11171"/>
                  </a:lnTo>
                  <a:lnTo>
                    <a:pt x="232496" y="9871"/>
                  </a:lnTo>
                  <a:lnTo>
                    <a:pt x="230267" y="8597"/>
                  </a:lnTo>
                  <a:lnTo>
                    <a:pt x="228118" y="7377"/>
                  </a:lnTo>
                  <a:lnTo>
                    <a:pt x="226022" y="6209"/>
                  </a:lnTo>
                  <a:lnTo>
                    <a:pt x="224005" y="5121"/>
                  </a:lnTo>
                  <a:lnTo>
                    <a:pt x="222095" y="4113"/>
                  </a:lnTo>
                  <a:lnTo>
                    <a:pt x="220317" y="3211"/>
                  </a:lnTo>
                  <a:lnTo>
                    <a:pt x="218672" y="2388"/>
                  </a:lnTo>
                  <a:lnTo>
                    <a:pt x="217159" y="1672"/>
                  </a:lnTo>
                  <a:lnTo>
                    <a:pt x="215833" y="1061"/>
                  </a:lnTo>
                  <a:lnTo>
                    <a:pt x="214692" y="584"/>
                  </a:lnTo>
                  <a:lnTo>
                    <a:pt x="213763" y="239"/>
                  </a:lnTo>
                  <a:lnTo>
                    <a:pt x="213365" y="133"/>
                  </a:lnTo>
                  <a:lnTo>
                    <a:pt x="213046" y="53"/>
                  </a:lnTo>
                  <a:lnTo>
                    <a:pt x="212781" y="0"/>
                  </a:lnTo>
                  <a:close/>
                </a:path>
              </a:pathLst>
            </a:custGeom>
            <a:solidFill>
              <a:srgbClr val="5151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" name="Google Shape;1175;p57">
              <a:extLst>
                <a:ext uri="{FF2B5EF4-FFF2-40B4-BE49-F238E27FC236}">
                  <a16:creationId xmlns:a16="http://schemas.microsoft.com/office/drawing/2014/main" id="{A52F9225-3735-359D-E26C-7285A8B311E8}"/>
                </a:ext>
              </a:extLst>
            </p:cNvPr>
            <p:cNvSpPr/>
            <p:nvPr/>
          </p:nvSpPr>
          <p:spPr>
            <a:xfrm>
              <a:off x="7344416" y="3601973"/>
              <a:ext cx="2229633" cy="600051"/>
            </a:xfrm>
            <a:custGeom>
              <a:avLst/>
              <a:gdLst/>
              <a:ahLst/>
              <a:cxnLst/>
              <a:rect l="l" t="t" r="r" b="b"/>
              <a:pathLst>
                <a:path w="263940" h="71033" extrusionOk="0">
                  <a:moveTo>
                    <a:pt x="212621" y="0"/>
                  </a:moveTo>
                  <a:lnTo>
                    <a:pt x="212462" y="27"/>
                  </a:lnTo>
                  <a:lnTo>
                    <a:pt x="212303" y="80"/>
                  </a:lnTo>
                  <a:lnTo>
                    <a:pt x="212197" y="159"/>
                  </a:lnTo>
                  <a:lnTo>
                    <a:pt x="212064" y="265"/>
                  </a:lnTo>
                  <a:lnTo>
                    <a:pt x="211984" y="371"/>
                  </a:lnTo>
                  <a:lnTo>
                    <a:pt x="211931" y="531"/>
                  </a:lnTo>
                  <a:lnTo>
                    <a:pt x="211878" y="690"/>
                  </a:lnTo>
                  <a:lnTo>
                    <a:pt x="211825" y="876"/>
                  </a:lnTo>
                  <a:lnTo>
                    <a:pt x="211825" y="1088"/>
                  </a:lnTo>
                  <a:lnTo>
                    <a:pt x="211825" y="1327"/>
                  </a:lnTo>
                  <a:lnTo>
                    <a:pt x="211852" y="1804"/>
                  </a:lnTo>
                  <a:lnTo>
                    <a:pt x="211958" y="2388"/>
                  </a:lnTo>
                  <a:lnTo>
                    <a:pt x="212117" y="3025"/>
                  </a:lnTo>
                  <a:lnTo>
                    <a:pt x="212329" y="3688"/>
                  </a:lnTo>
                  <a:lnTo>
                    <a:pt x="212568" y="4431"/>
                  </a:lnTo>
                  <a:lnTo>
                    <a:pt x="212834" y="5201"/>
                  </a:lnTo>
                  <a:lnTo>
                    <a:pt x="213152" y="5997"/>
                  </a:lnTo>
                  <a:lnTo>
                    <a:pt x="213815" y="7668"/>
                  </a:lnTo>
                  <a:lnTo>
                    <a:pt x="214532" y="9393"/>
                  </a:lnTo>
                  <a:lnTo>
                    <a:pt x="215275" y="11091"/>
                  </a:lnTo>
                  <a:lnTo>
                    <a:pt x="215965" y="12763"/>
                  </a:lnTo>
                  <a:lnTo>
                    <a:pt x="216601" y="14329"/>
                  </a:lnTo>
                  <a:lnTo>
                    <a:pt x="216867" y="15072"/>
                  </a:lnTo>
                  <a:lnTo>
                    <a:pt x="217106" y="15735"/>
                  </a:lnTo>
                  <a:lnTo>
                    <a:pt x="217291" y="16372"/>
                  </a:lnTo>
                  <a:lnTo>
                    <a:pt x="217424" y="16929"/>
                  </a:lnTo>
                  <a:lnTo>
                    <a:pt x="217504" y="17433"/>
                  </a:lnTo>
                  <a:lnTo>
                    <a:pt x="217557" y="17858"/>
                  </a:lnTo>
                  <a:lnTo>
                    <a:pt x="217530" y="18043"/>
                  </a:lnTo>
                  <a:lnTo>
                    <a:pt x="217504" y="18203"/>
                  </a:lnTo>
                  <a:lnTo>
                    <a:pt x="217477" y="18362"/>
                  </a:lnTo>
                  <a:lnTo>
                    <a:pt x="217424" y="18468"/>
                  </a:lnTo>
                  <a:lnTo>
                    <a:pt x="217344" y="18574"/>
                  </a:lnTo>
                  <a:lnTo>
                    <a:pt x="217238" y="18654"/>
                  </a:lnTo>
                  <a:lnTo>
                    <a:pt x="217132" y="18680"/>
                  </a:lnTo>
                  <a:lnTo>
                    <a:pt x="216973" y="18707"/>
                  </a:lnTo>
                  <a:lnTo>
                    <a:pt x="206890" y="19237"/>
                  </a:lnTo>
                  <a:lnTo>
                    <a:pt x="182266" y="20485"/>
                  </a:lnTo>
                  <a:lnTo>
                    <a:pt x="166027" y="21334"/>
                  </a:lnTo>
                  <a:lnTo>
                    <a:pt x="147957" y="22289"/>
                  </a:lnTo>
                  <a:lnTo>
                    <a:pt x="128693" y="23324"/>
                  </a:lnTo>
                  <a:lnTo>
                    <a:pt x="108818" y="24438"/>
                  </a:lnTo>
                  <a:lnTo>
                    <a:pt x="88944" y="25579"/>
                  </a:lnTo>
                  <a:lnTo>
                    <a:pt x="69707" y="26720"/>
                  </a:lnTo>
                  <a:lnTo>
                    <a:pt x="60499" y="27304"/>
                  </a:lnTo>
                  <a:lnTo>
                    <a:pt x="51663" y="27888"/>
                  </a:lnTo>
                  <a:lnTo>
                    <a:pt x="43305" y="28445"/>
                  </a:lnTo>
                  <a:lnTo>
                    <a:pt x="35477" y="29002"/>
                  </a:lnTo>
                  <a:lnTo>
                    <a:pt x="28233" y="29533"/>
                  </a:lnTo>
                  <a:lnTo>
                    <a:pt x="21706" y="30063"/>
                  </a:lnTo>
                  <a:lnTo>
                    <a:pt x="15921" y="30568"/>
                  </a:lnTo>
                  <a:lnTo>
                    <a:pt x="10959" y="31045"/>
                  </a:lnTo>
                  <a:lnTo>
                    <a:pt x="8836" y="31258"/>
                  </a:lnTo>
                  <a:lnTo>
                    <a:pt x="6952" y="31496"/>
                  </a:lnTo>
                  <a:lnTo>
                    <a:pt x="5281" y="31709"/>
                  </a:lnTo>
                  <a:lnTo>
                    <a:pt x="3901" y="31921"/>
                  </a:lnTo>
                  <a:lnTo>
                    <a:pt x="2760" y="32107"/>
                  </a:lnTo>
                  <a:lnTo>
                    <a:pt x="1911" y="32292"/>
                  </a:lnTo>
                  <a:lnTo>
                    <a:pt x="1592" y="32399"/>
                  </a:lnTo>
                  <a:lnTo>
                    <a:pt x="1354" y="32478"/>
                  </a:lnTo>
                  <a:lnTo>
                    <a:pt x="1168" y="32558"/>
                  </a:lnTo>
                  <a:lnTo>
                    <a:pt x="1088" y="32637"/>
                  </a:lnTo>
                  <a:lnTo>
                    <a:pt x="956" y="32850"/>
                  </a:lnTo>
                  <a:lnTo>
                    <a:pt x="849" y="33062"/>
                  </a:lnTo>
                  <a:lnTo>
                    <a:pt x="743" y="33327"/>
                  </a:lnTo>
                  <a:lnTo>
                    <a:pt x="664" y="33619"/>
                  </a:lnTo>
                  <a:lnTo>
                    <a:pt x="478" y="34309"/>
                  </a:lnTo>
                  <a:lnTo>
                    <a:pt x="345" y="35158"/>
                  </a:lnTo>
                  <a:lnTo>
                    <a:pt x="213" y="36087"/>
                  </a:lnTo>
                  <a:lnTo>
                    <a:pt x="133" y="37148"/>
                  </a:lnTo>
                  <a:lnTo>
                    <a:pt x="53" y="38289"/>
                  </a:lnTo>
                  <a:lnTo>
                    <a:pt x="0" y="39536"/>
                  </a:lnTo>
                  <a:lnTo>
                    <a:pt x="0" y="40863"/>
                  </a:lnTo>
                  <a:lnTo>
                    <a:pt x="0" y="42243"/>
                  </a:lnTo>
                  <a:lnTo>
                    <a:pt x="0" y="43676"/>
                  </a:lnTo>
                  <a:lnTo>
                    <a:pt x="53" y="45188"/>
                  </a:lnTo>
                  <a:lnTo>
                    <a:pt x="107" y="46727"/>
                  </a:lnTo>
                  <a:lnTo>
                    <a:pt x="186" y="48293"/>
                  </a:lnTo>
                  <a:lnTo>
                    <a:pt x="398" y="51450"/>
                  </a:lnTo>
                  <a:lnTo>
                    <a:pt x="664" y="54634"/>
                  </a:lnTo>
                  <a:lnTo>
                    <a:pt x="823" y="56200"/>
                  </a:lnTo>
                  <a:lnTo>
                    <a:pt x="1009" y="57739"/>
                  </a:lnTo>
                  <a:lnTo>
                    <a:pt x="1168" y="59225"/>
                  </a:lnTo>
                  <a:lnTo>
                    <a:pt x="1380" y="60684"/>
                  </a:lnTo>
                  <a:lnTo>
                    <a:pt x="1566" y="62064"/>
                  </a:lnTo>
                  <a:lnTo>
                    <a:pt x="1778" y="63391"/>
                  </a:lnTo>
                  <a:lnTo>
                    <a:pt x="2017" y="64638"/>
                  </a:lnTo>
                  <a:lnTo>
                    <a:pt x="2229" y="65779"/>
                  </a:lnTo>
                  <a:lnTo>
                    <a:pt x="2468" y="66840"/>
                  </a:lnTo>
                  <a:lnTo>
                    <a:pt x="2707" y="67769"/>
                  </a:lnTo>
                  <a:lnTo>
                    <a:pt x="2946" y="68591"/>
                  </a:lnTo>
                  <a:lnTo>
                    <a:pt x="3211" y="69308"/>
                  </a:lnTo>
                  <a:lnTo>
                    <a:pt x="3450" y="69865"/>
                  </a:lnTo>
                  <a:lnTo>
                    <a:pt x="3583" y="70077"/>
                  </a:lnTo>
                  <a:lnTo>
                    <a:pt x="3715" y="70263"/>
                  </a:lnTo>
                  <a:lnTo>
                    <a:pt x="3821" y="70369"/>
                  </a:lnTo>
                  <a:lnTo>
                    <a:pt x="4007" y="70449"/>
                  </a:lnTo>
                  <a:lnTo>
                    <a:pt x="4272" y="70528"/>
                  </a:lnTo>
                  <a:lnTo>
                    <a:pt x="4591" y="70608"/>
                  </a:lnTo>
                  <a:lnTo>
                    <a:pt x="5015" y="70661"/>
                  </a:lnTo>
                  <a:lnTo>
                    <a:pt x="5466" y="70714"/>
                  </a:lnTo>
                  <a:lnTo>
                    <a:pt x="6607" y="70794"/>
                  </a:lnTo>
                  <a:lnTo>
                    <a:pt x="8014" y="70820"/>
                  </a:lnTo>
                  <a:lnTo>
                    <a:pt x="9659" y="70847"/>
                  </a:lnTo>
                  <a:lnTo>
                    <a:pt x="11569" y="70794"/>
                  </a:lnTo>
                  <a:lnTo>
                    <a:pt x="13692" y="70741"/>
                  </a:lnTo>
                  <a:lnTo>
                    <a:pt x="16054" y="70661"/>
                  </a:lnTo>
                  <a:lnTo>
                    <a:pt x="18601" y="70528"/>
                  </a:lnTo>
                  <a:lnTo>
                    <a:pt x="21387" y="70396"/>
                  </a:lnTo>
                  <a:lnTo>
                    <a:pt x="24359" y="70210"/>
                  </a:lnTo>
                  <a:lnTo>
                    <a:pt x="30833" y="69786"/>
                  </a:lnTo>
                  <a:lnTo>
                    <a:pt x="37998" y="69255"/>
                  </a:lnTo>
                  <a:lnTo>
                    <a:pt x="45772" y="68618"/>
                  </a:lnTo>
                  <a:lnTo>
                    <a:pt x="54051" y="67928"/>
                  </a:lnTo>
                  <a:lnTo>
                    <a:pt x="62781" y="67185"/>
                  </a:lnTo>
                  <a:lnTo>
                    <a:pt x="71909" y="66336"/>
                  </a:lnTo>
                  <a:lnTo>
                    <a:pt x="81329" y="65487"/>
                  </a:lnTo>
                  <a:lnTo>
                    <a:pt x="90987" y="64558"/>
                  </a:lnTo>
                  <a:lnTo>
                    <a:pt x="100805" y="63603"/>
                  </a:lnTo>
                  <a:lnTo>
                    <a:pt x="110702" y="62621"/>
                  </a:lnTo>
                  <a:lnTo>
                    <a:pt x="130471" y="60658"/>
                  </a:lnTo>
                  <a:lnTo>
                    <a:pt x="149681" y="58668"/>
                  </a:lnTo>
                  <a:lnTo>
                    <a:pt x="167751" y="56784"/>
                  </a:lnTo>
                  <a:lnTo>
                    <a:pt x="184097" y="55032"/>
                  </a:lnTo>
                  <a:lnTo>
                    <a:pt x="198133" y="53520"/>
                  </a:lnTo>
                  <a:lnTo>
                    <a:pt x="209251" y="52299"/>
                  </a:lnTo>
                  <a:lnTo>
                    <a:pt x="216867" y="51450"/>
                  </a:lnTo>
                  <a:lnTo>
                    <a:pt x="220422" y="51052"/>
                  </a:lnTo>
                  <a:lnTo>
                    <a:pt x="220608" y="51052"/>
                  </a:lnTo>
                  <a:lnTo>
                    <a:pt x="220794" y="51079"/>
                  </a:lnTo>
                  <a:lnTo>
                    <a:pt x="220953" y="51132"/>
                  </a:lnTo>
                  <a:lnTo>
                    <a:pt x="221086" y="51211"/>
                  </a:lnTo>
                  <a:lnTo>
                    <a:pt x="221218" y="51291"/>
                  </a:lnTo>
                  <a:lnTo>
                    <a:pt x="221325" y="51424"/>
                  </a:lnTo>
                  <a:lnTo>
                    <a:pt x="221431" y="51583"/>
                  </a:lnTo>
                  <a:lnTo>
                    <a:pt x="221510" y="51769"/>
                  </a:lnTo>
                  <a:lnTo>
                    <a:pt x="221590" y="51981"/>
                  </a:lnTo>
                  <a:lnTo>
                    <a:pt x="221643" y="52193"/>
                  </a:lnTo>
                  <a:lnTo>
                    <a:pt x="221749" y="52724"/>
                  </a:lnTo>
                  <a:lnTo>
                    <a:pt x="221776" y="53308"/>
                  </a:lnTo>
                  <a:lnTo>
                    <a:pt x="221802" y="53998"/>
                  </a:lnTo>
                  <a:lnTo>
                    <a:pt x="221776" y="54714"/>
                  </a:lnTo>
                  <a:lnTo>
                    <a:pt x="221696" y="55510"/>
                  </a:lnTo>
                  <a:lnTo>
                    <a:pt x="221617" y="56333"/>
                  </a:lnTo>
                  <a:lnTo>
                    <a:pt x="221510" y="57208"/>
                  </a:lnTo>
                  <a:lnTo>
                    <a:pt x="221218" y="59039"/>
                  </a:lnTo>
                  <a:lnTo>
                    <a:pt x="220900" y="60923"/>
                  </a:lnTo>
                  <a:lnTo>
                    <a:pt x="220555" y="62807"/>
                  </a:lnTo>
                  <a:lnTo>
                    <a:pt x="220237" y="64664"/>
                  </a:lnTo>
                  <a:lnTo>
                    <a:pt x="219971" y="66389"/>
                  </a:lnTo>
                  <a:lnTo>
                    <a:pt x="219865" y="67185"/>
                  </a:lnTo>
                  <a:lnTo>
                    <a:pt x="219786" y="67928"/>
                  </a:lnTo>
                  <a:lnTo>
                    <a:pt x="219733" y="68591"/>
                  </a:lnTo>
                  <a:lnTo>
                    <a:pt x="219706" y="69202"/>
                  </a:lnTo>
                  <a:lnTo>
                    <a:pt x="219733" y="69759"/>
                  </a:lnTo>
                  <a:lnTo>
                    <a:pt x="219812" y="70210"/>
                  </a:lnTo>
                  <a:lnTo>
                    <a:pt x="219839" y="70396"/>
                  </a:lnTo>
                  <a:lnTo>
                    <a:pt x="219918" y="70555"/>
                  </a:lnTo>
                  <a:lnTo>
                    <a:pt x="219971" y="70714"/>
                  </a:lnTo>
                  <a:lnTo>
                    <a:pt x="220078" y="70820"/>
                  </a:lnTo>
                  <a:lnTo>
                    <a:pt x="220157" y="70926"/>
                  </a:lnTo>
                  <a:lnTo>
                    <a:pt x="220290" y="70980"/>
                  </a:lnTo>
                  <a:lnTo>
                    <a:pt x="220396" y="71006"/>
                  </a:lnTo>
                  <a:lnTo>
                    <a:pt x="220555" y="71033"/>
                  </a:lnTo>
                  <a:lnTo>
                    <a:pt x="220741" y="70980"/>
                  </a:lnTo>
                  <a:lnTo>
                    <a:pt x="221006" y="70900"/>
                  </a:lnTo>
                  <a:lnTo>
                    <a:pt x="221298" y="70767"/>
                  </a:lnTo>
                  <a:lnTo>
                    <a:pt x="221643" y="70582"/>
                  </a:lnTo>
                  <a:lnTo>
                    <a:pt x="222492" y="70104"/>
                  </a:lnTo>
                  <a:lnTo>
                    <a:pt x="223474" y="69441"/>
                  </a:lnTo>
                  <a:lnTo>
                    <a:pt x="224641" y="68645"/>
                  </a:lnTo>
                  <a:lnTo>
                    <a:pt x="225942" y="67689"/>
                  </a:lnTo>
                  <a:lnTo>
                    <a:pt x="227375" y="66601"/>
                  </a:lnTo>
                  <a:lnTo>
                    <a:pt x="228914" y="65381"/>
                  </a:lnTo>
                  <a:lnTo>
                    <a:pt x="230532" y="64081"/>
                  </a:lnTo>
                  <a:lnTo>
                    <a:pt x="232257" y="62674"/>
                  </a:lnTo>
                  <a:lnTo>
                    <a:pt x="234061" y="61162"/>
                  </a:lnTo>
                  <a:lnTo>
                    <a:pt x="235919" y="59596"/>
                  </a:lnTo>
                  <a:lnTo>
                    <a:pt x="237829" y="57978"/>
                  </a:lnTo>
                  <a:lnTo>
                    <a:pt x="239740" y="56279"/>
                  </a:lnTo>
                  <a:lnTo>
                    <a:pt x="241703" y="54555"/>
                  </a:lnTo>
                  <a:lnTo>
                    <a:pt x="243640" y="52803"/>
                  </a:lnTo>
                  <a:lnTo>
                    <a:pt x="245577" y="51052"/>
                  </a:lnTo>
                  <a:lnTo>
                    <a:pt x="247488" y="49274"/>
                  </a:lnTo>
                  <a:lnTo>
                    <a:pt x="249372" y="47523"/>
                  </a:lnTo>
                  <a:lnTo>
                    <a:pt x="251202" y="45772"/>
                  </a:lnTo>
                  <a:lnTo>
                    <a:pt x="252954" y="44074"/>
                  </a:lnTo>
                  <a:lnTo>
                    <a:pt x="254625" y="42402"/>
                  </a:lnTo>
                  <a:lnTo>
                    <a:pt x="256218" y="40783"/>
                  </a:lnTo>
                  <a:lnTo>
                    <a:pt x="257677" y="39218"/>
                  </a:lnTo>
                  <a:lnTo>
                    <a:pt x="259030" y="37758"/>
                  </a:lnTo>
                  <a:lnTo>
                    <a:pt x="260251" y="36352"/>
                  </a:lnTo>
                  <a:lnTo>
                    <a:pt x="261312" y="35078"/>
                  </a:lnTo>
                  <a:lnTo>
                    <a:pt x="261790" y="34468"/>
                  </a:lnTo>
                  <a:lnTo>
                    <a:pt x="262214" y="33911"/>
                  </a:lnTo>
                  <a:lnTo>
                    <a:pt x="262612" y="33354"/>
                  </a:lnTo>
                  <a:lnTo>
                    <a:pt x="262957" y="32850"/>
                  </a:lnTo>
                  <a:lnTo>
                    <a:pt x="263249" y="32372"/>
                  </a:lnTo>
                  <a:lnTo>
                    <a:pt x="263488" y="31921"/>
                  </a:lnTo>
                  <a:lnTo>
                    <a:pt x="263674" y="31523"/>
                  </a:lnTo>
                  <a:lnTo>
                    <a:pt x="263806" y="31151"/>
                  </a:lnTo>
                  <a:lnTo>
                    <a:pt x="263913" y="30833"/>
                  </a:lnTo>
                  <a:lnTo>
                    <a:pt x="263939" y="30541"/>
                  </a:lnTo>
                  <a:lnTo>
                    <a:pt x="263913" y="30408"/>
                  </a:lnTo>
                  <a:lnTo>
                    <a:pt x="263886" y="30276"/>
                  </a:lnTo>
                  <a:lnTo>
                    <a:pt x="263806" y="29957"/>
                  </a:lnTo>
                  <a:lnTo>
                    <a:pt x="263621" y="29639"/>
                  </a:lnTo>
                  <a:lnTo>
                    <a:pt x="263382" y="29267"/>
                  </a:lnTo>
                  <a:lnTo>
                    <a:pt x="263090" y="28896"/>
                  </a:lnTo>
                  <a:lnTo>
                    <a:pt x="262745" y="28471"/>
                  </a:lnTo>
                  <a:lnTo>
                    <a:pt x="262347" y="28047"/>
                  </a:lnTo>
                  <a:lnTo>
                    <a:pt x="261869" y="27596"/>
                  </a:lnTo>
                  <a:lnTo>
                    <a:pt x="261365" y="27145"/>
                  </a:lnTo>
                  <a:lnTo>
                    <a:pt x="260808" y="26641"/>
                  </a:lnTo>
                  <a:lnTo>
                    <a:pt x="260171" y="26136"/>
                  </a:lnTo>
                  <a:lnTo>
                    <a:pt x="259534" y="25606"/>
                  </a:lnTo>
                  <a:lnTo>
                    <a:pt x="258075" y="24518"/>
                  </a:lnTo>
                  <a:lnTo>
                    <a:pt x="256456" y="23350"/>
                  </a:lnTo>
                  <a:lnTo>
                    <a:pt x="254705" y="22156"/>
                  </a:lnTo>
                  <a:lnTo>
                    <a:pt x="252795" y="20909"/>
                  </a:lnTo>
                  <a:lnTo>
                    <a:pt x="250804" y="19635"/>
                  </a:lnTo>
                  <a:lnTo>
                    <a:pt x="248708" y="18335"/>
                  </a:lnTo>
                  <a:lnTo>
                    <a:pt x="246532" y="17009"/>
                  </a:lnTo>
                  <a:lnTo>
                    <a:pt x="244304" y="15708"/>
                  </a:lnTo>
                  <a:lnTo>
                    <a:pt x="242022" y="14382"/>
                  </a:lnTo>
                  <a:lnTo>
                    <a:pt x="239740" y="13055"/>
                  </a:lnTo>
                  <a:lnTo>
                    <a:pt x="237405" y="11755"/>
                  </a:lnTo>
                  <a:lnTo>
                    <a:pt x="235096" y="10508"/>
                  </a:lnTo>
                  <a:lnTo>
                    <a:pt x="232814" y="9261"/>
                  </a:lnTo>
                  <a:lnTo>
                    <a:pt x="230559" y="8066"/>
                  </a:lnTo>
                  <a:lnTo>
                    <a:pt x="228356" y="6925"/>
                  </a:lnTo>
                  <a:lnTo>
                    <a:pt x="226234" y="5838"/>
                  </a:lnTo>
                  <a:lnTo>
                    <a:pt x="224217" y="4829"/>
                  </a:lnTo>
                  <a:lnTo>
                    <a:pt x="222280" y="3874"/>
                  </a:lnTo>
                  <a:lnTo>
                    <a:pt x="220476" y="3025"/>
                  </a:lnTo>
                  <a:lnTo>
                    <a:pt x="218804" y="2255"/>
                  </a:lnTo>
                  <a:lnTo>
                    <a:pt x="217291" y="1566"/>
                  </a:lnTo>
                  <a:lnTo>
                    <a:pt x="215938" y="1008"/>
                  </a:lnTo>
                  <a:lnTo>
                    <a:pt x="214797" y="557"/>
                  </a:lnTo>
                  <a:lnTo>
                    <a:pt x="213842" y="239"/>
                  </a:lnTo>
                  <a:lnTo>
                    <a:pt x="213444" y="133"/>
                  </a:lnTo>
                  <a:lnTo>
                    <a:pt x="213125" y="53"/>
                  </a:lnTo>
                  <a:lnTo>
                    <a:pt x="212834" y="27"/>
                  </a:lnTo>
                  <a:lnTo>
                    <a:pt x="212621" y="0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" name="Google Shape;1176;p57">
              <a:extLst>
                <a:ext uri="{FF2B5EF4-FFF2-40B4-BE49-F238E27FC236}">
                  <a16:creationId xmlns:a16="http://schemas.microsoft.com/office/drawing/2014/main" id="{1944A2B5-1AD4-5C1B-EE92-593D45278EA3}"/>
                </a:ext>
              </a:extLst>
            </p:cNvPr>
            <p:cNvSpPr/>
            <p:nvPr/>
          </p:nvSpPr>
          <p:spPr>
            <a:xfrm>
              <a:off x="7783526" y="4412941"/>
              <a:ext cx="177761" cy="211382"/>
            </a:xfrm>
            <a:custGeom>
              <a:avLst/>
              <a:gdLst/>
              <a:ahLst/>
              <a:cxnLst/>
              <a:rect l="l" t="t" r="r" b="b"/>
              <a:pathLst>
                <a:path w="21043" h="25023" fill="none" extrusionOk="0">
                  <a:moveTo>
                    <a:pt x="12047" y="1"/>
                  </a:moveTo>
                  <a:lnTo>
                    <a:pt x="12047" y="1"/>
                  </a:lnTo>
                  <a:lnTo>
                    <a:pt x="11941" y="1"/>
                  </a:lnTo>
                  <a:lnTo>
                    <a:pt x="11835" y="27"/>
                  </a:lnTo>
                  <a:lnTo>
                    <a:pt x="11570" y="133"/>
                  </a:lnTo>
                  <a:lnTo>
                    <a:pt x="11251" y="319"/>
                  </a:lnTo>
                  <a:lnTo>
                    <a:pt x="10880" y="558"/>
                  </a:lnTo>
                  <a:lnTo>
                    <a:pt x="10482" y="876"/>
                  </a:lnTo>
                  <a:lnTo>
                    <a:pt x="10057" y="1248"/>
                  </a:lnTo>
                  <a:lnTo>
                    <a:pt x="9579" y="1672"/>
                  </a:lnTo>
                  <a:lnTo>
                    <a:pt x="9102" y="2150"/>
                  </a:lnTo>
                  <a:lnTo>
                    <a:pt x="8040" y="3238"/>
                  </a:lnTo>
                  <a:lnTo>
                    <a:pt x="6926" y="4458"/>
                  </a:lnTo>
                  <a:lnTo>
                    <a:pt x="5812" y="5812"/>
                  </a:lnTo>
                  <a:lnTo>
                    <a:pt x="4697" y="7218"/>
                  </a:lnTo>
                  <a:lnTo>
                    <a:pt x="3609" y="8651"/>
                  </a:lnTo>
                  <a:lnTo>
                    <a:pt x="3105" y="9367"/>
                  </a:lnTo>
                  <a:lnTo>
                    <a:pt x="2627" y="10084"/>
                  </a:lnTo>
                  <a:lnTo>
                    <a:pt x="2150" y="10800"/>
                  </a:lnTo>
                  <a:lnTo>
                    <a:pt x="1725" y="11490"/>
                  </a:lnTo>
                  <a:lnTo>
                    <a:pt x="1327" y="12180"/>
                  </a:lnTo>
                  <a:lnTo>
                    <a:pt x="982" y="12817"/>
                  </a:lnTo>
                  <a:lnTo>
                    <a:pt x="690" y="13427"/>
                  </a:lnTo>
                  <a:lnTo>
                    <a:pt x="425" y="14011"/>
                  </a:lnTo>
                  <a:lnTo>
                    <a:pt x="239" y="14568"/>
                  </a:lnTo>
                  <a:lnTo>
                    <a:pt x="80" y="15072"/>
                  </a:lnTo>
                  <a:lnTo>
                    <a:pt x="0" y="15523"/>
                  </a:lnTo>
                  <a:lnTo>
                    <a:pt x="0" y="15735"/>
                  </a:lnTo>
                  <a:lnTo>
                    <a:pt x="0" y="15921"/>
                  </a:lnTo>
                  <a:lnTo>
                    <a:pt x="27" y="16107"/>
                  </a:lnTo>
                  <a:lnTo>
                    <a:pt x="54" y="16266"/>
                  </a:lnTo>
                  <a:lnTo>
                    <a:pt x="107" y="16425"/>
                  </a:lnTo>
                  <a:lnTo>
                    <a:pt x="186" y="16558"/>
                  </a:lnTo>
                  <a:lnTo>
                    <a:pt x="186" y="16558"/>
                  </a:lnTo>
                  <a:lnTo>
                    <a:pt x="398" y="16823"/>
                  </a:lnTo>
                  <a:lnTo>
                    <a:pt x="690" y="17115"/>
                  </a:lnTo>
                  <a:lnTo>
                    <a:pt x="1035" y="17434"/>
                  </a:lnTo>
                  <a:lnTo>
                    <a:pt x="1460" y="17752"/>
                  </a:lnTo>
                  <a:lnTo>
                    <a:pt x="1937" y="18097"/>
                  </a:lnTo>
                  <a:lnTo>
                    <a:pt x="2468" y="18468"/>
                  </a:lnTo>
                  <a:lnTo>
                    <a:pt x="3052" y="18840"/>
                  </a:lnTo>
                  <a:lnTo>
                    <a:pt x="3689" y="19238"/>
                  </a:lnTo>
                  <a:lnTo>
                    <a:pt x="5042" y="20007"/>
                  </a:lnTo>
                  <a:lnTo>
                    <a:pt x="6554" y="20803"/>
                  </a:lnTo>
                  <a:lnTo>
                    <a:pt x="8120" y="21600"/>
                  </a:lnTo>
                  <a:lnTo>
                    <a:pt x="9739" y="22342"/>
                  </a:lnTo>
                  <a:lnTo>
                    <a:pt x="11357" y="23032"/>
                  </a:lnTo>
                  <a:lnTo>
                    <a:pt x="12923" y="23669"/>
                  </a:lnTo>
                  <a:lnTo>
                    <a:pt x="13692" y="23935"/>
                  </a:lnTo>
                  <a:lnTo>
                    <a:pt x="14409" y="24200"/>
                  </a:lnTo>
                  <a:lnTo>
                    <a:pt x="15125" y="24412"/>
                  </a:lnTo>
                  <a:lnTo>
                    <a:pt x="15788" y="24624"/>
                  </a:lnTo>
                  <a:lnTo>
                    <a:pt x="16425" y="24784"/>
                  </a:lnTo>
                  <a:lnTo>
                    <a:pt x="17009" y="24890"/>
                  </a:lnTo>
                  <a:lnTo>
                    <a:pt x="17566" y="24969"/>
                  </a:lnTo>
                  <a:lnTo>
                    <a:pt x="18044" y="25022"/>
                  </a:lnTo>
                  <a:lnTo>
                    <a:pt x="18468" y="25022"/>
                  </a:lnTo>
                  <a:lnTo>
                    <a:pt x="18813" y="24969"/>
                  </a:lnTo>
                  <a:lnTo>
                    <a:pt x="18973" y="24943"/>
                  </a:lnTo>
                  <a:lnTo>
                    <a:pt x="19105" y="24890"/>
                  </a:lnTo>
                  <a:lnTo>
                    <a:pt x="19238" y="24810"/>
                  </a:lnTo>
                  <a:lnTo>
                    <a:pt x="19344" y="24731"/>
                  </a:lnTo>
                  <a:lnTo>
                    <a:pt x="19344" y="24731"/>
                  </a:lnTo>
                  <a:lnTo>
                    <a:pt x="19503" y="24571"/>
                  </a:lnTo>
                  <a:lnTo>
                    <a:pt x="19663" y="24386"/>
                  </a:lnTo>
                  <a:lnTo>
                    <a:pt x="19954" y="23961"/>
                  </a:lnTo>
                  <a:lnTo>
                    <a:pt x="20193" y="23537"/>
                  </a:lnTo>
                  <a:lnTo>
                    <a:pt x="20405" y="23059"/>
                  </a:lnTo>
                  <a:lnTo>
                    <a:pt x="20565" y="22581"/>
                  </a:lnTo>
                  <a:lnTo>
                    <a:pt x="20697" y="22104"/>
                  </a:lnTo>
                  <a:lnTo>
                    <a:pt x="20804" y="21600"/>
                  </a:lnTo>
                  <a:lnTo>
                    <a:pt x="20883" y="21148"/>
                  </a:lnTo>
                  <a:lnTo>
                    <a:pt x="20963" y="20697"/>
                  </a:lnTo>
                  <a:lnTo>
                    <a:pt x="20989" y="20273"/>
                  </a:lnTo>
                  <a:lnTo>
                    <a:pt x="21042" y="19556"/>
                  </a:lnTo>
                  <a:lnTo>
                    <a:pt x="21042" y="19079"/>
                  </a:lnTo>
                  <a:lnTo>
                    <a:pt x="21042" y="18920"/>
                  </a:lnTo>
                  <a:lnTo>
                    <a:pt x="21042" y="18920"/>
                  </a:lnTo>
                  <a:lnTo>
                    <a:pt x="20724" y="18124"/>
                  </a:lnTo>
                  <a:lnTo>
                    <a:pt x="19901" y="15974"/>
                  </a:lnTo>
                  <a:lnTo>
                    <a:pt x="18707" y="12976"/>
                  </a:lnTo>
                  <a:lnTo>
                    <a:pt x="18017" y="11278"/>
                  </a:lnTo>
                  <a:lnTo>
                    <a:pt x="17274" y="9526"/>
                  </a:lnTo>
                  <a:lnTo>
                    <a:pt x="16531" y="7775"/>
                  </a:lnTo>
                  <a:lnTo>
                    <a:pt x="15762" y="6050"/>
                  </a:lnTo>
                  <a:lnTo>
                    <a:pt x="15019" y="4458"/>
                  </a:lnTo>
                  <a:lnTo>
                    <a:pt x="14276" y="3025"/>
                  </a:lnTo>
                  <a:lnTo>
                    <a:pt x="13931" y="2389"/>
                  </a:lnTo>
                  <a:lnTo>
                    <a:pt x="13613" y="1805"/>
                  </a:lnTo>
                  <a:lnTo>
                    <a:pt x="13294" y="1301"/>
                  </a:lnTo>
                  <a:lnTo>
                    <a:pt x="13002" y="876"/>
                  </a:lnTo>
                  <a:lnTo>
                    <a:pt x="12737" y="505"/>
                  </a:lnTo>
                  <a:lnTo>
                    <a:pt x="12472" y="239"/>
                  </a:lnTo>
                  <a:lnTo>
                    <a:pt x="12366" y="160"/>
                  </a:lnTo>
                  <a:lnTo>
                    <a:pt x="12233" y="80"/>
                  </a:lnTo>
                  <a:lnTo>
                    <a:pt x="12153" y="27"/>
                  </a:lnTo>
                  <a:lnTo>
                    <a:pt x="1204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" name="Google Shape;1177;p57">
              <a:extLst>
                <a:ext uri="{FF2B5EF4-FFF2-40B4-BE49-F238E27FC236}">
                  <a16:creationId xmlns:a16="http://schemas.microsoft.com/office/drawing/2014/main" id="{01920BAE-218A-575E-C410-4F11E4B38B68}"/>
                </a:ext>
              </a:extLst>
            </p:cNvPr>
            <p:cNvSpPr/>
            <p:nvPr/>
          </p:nvSpPr>
          <p:spPr>
            <a:xfrm>
              <a:off x="7783526" y="4418542"/>
              <a:ext cx="90785" cy="171712"/>
            </a:xfrm>
            <a:custGeom>
              <a:avLst/>
              <a:gdLst/>
              <a:ahLst/>
              <a:cxnLst/>
              <a:rect l="l" t="t" r="r" b="b"/>
              <a:pathLst>
                <a:path w="10747" h="20327" extrusionOk="0">
                  <a:moveTo>
                    <a:pt x="10747" y="1"/>
                  </a:moveTo>
                  <a:lnTo>
                    <a:pt x="10084" y="558"/>
                  </a:lnTo>
                  <a:lnTo>
                    <a:pt x="9314" y="1248"/>
                  </a:lnTo>
                  <a:lnTo>
                    <a:pt x="8518" y="2071"/>
                  </a:lnTo>
                  <a:lnTo>
                    <a:pt x="7669" y="2973"/>
                  </a:lnTo>
                  <a:lnTo>
                    <a:pt x="6767" y="3981"/>
                  </a:lnTo>
                  <a:lnTo>
                    <a:pt x="5891" y="5042"/>
                  </a:lnTo>
                  <a:lnTo>
                    <a:pt x="4989" y="6157"/>
                  </a:lnTo>
                  <a:lnTo>
                    <a:pt x="4113" y="7298"/>
                  </a:lnTo>
                  <a:lnTo>
                    <a:pt x="3291" y="8439"/>
                  </a:lnTo>
                  <a:lnTo>
                    <a:pt x="2521" y="9580"/>
                  </a:lnTo>
                  <a:lnTo>
                    <a:pt x="1805" y="10694"/>
                  </a:lnTo>
                  <a:lnTo>
                    <a:pt x="1195" y="11756"/>
                  </a:lnTo>
                  <a:lnTo>
                    <a:pt x="929" y="12260"/>
                  </a:lnTo>
                  <a:lnTo>
                    <a:pt x="690" y="12737"/>
                  </a:lnTo>
                  <a:lnTo>
                    <a:pt x="505" y="13215"/>
                  </a:lnTo>
                  <a:lnTo>
                    <a:pt x="319" y="13666"/>
                  </a:lnTo>
                  <a:lnTo>
                    <a:pt x="186" y="14064"/>
                  </a:lnTo>
                  <a:lnTo>
                    <a:pt x="80" y="14462"/>
                  </a:lnTo>
                  <a:lnTo>
                    <a:pt x="27" y="14834"/>
                  </a:lnTo>
                  <a:lnTo>
                    <a:pt x="0" y="15152"/>
                  </a:lnTo>
                  <a:lnTo>
                    <a:pt x="0" y="15364"/>
                  </a:lnTo>
                  <a:lnTo>
                    <a:pt x="54" y="15577"/>
                  </a:lnTo>
                  <a:lnTo>
                    <a:pt x="107" y="15736"/>
                  </a:lnTo>
                  <a:lnTo>
                    <a:pt x="186" y="15895"/>
                  </a:lnTo>
                  <a:lnTo>
                    <a:pt x="345" y="16107"/>
                  </a:lnTo>
                  <a:lnTo>
                    <a:pt x="558" y="16320"/>
                  </a:lnTo>
                  <a:lnTo>
                    <a:pt x="797" y="16558"/>
                  </a:lnTo>
                  <a:lnTo>
                    <a:pt x="1088" y="16797"/>
                  </a:lnTo>
                  <a:lnTo>
                    <a:pt x="1778" y="17328"/>
                  </a:lnTo>
                  <a:lnTo>
                    <a:pt x="2601" y="17885"/>
                  </a:lnTo>
                  <a:lnTo>
                    <a:pt x="3556" y="18495"/>
                  </a:lnTo>
                  <a:lnTo>
                    <a:pt x="4591" y="19106"/>
                  </a:lnTo>
                  <a:lnTo>
                    <a:pt x="5732" y="19716"/>
                  </a:lnTo>
                  <a:lnTo>
                    <a:pt x="6899" y="20326"/>
                  </a:lnTo>
                  <a:lnTo>
                    <a:pt x="7112" y="17752"/>
                  </a:lnTo>
                  <a:lnTo>
                    <a:pt x="7351" y="15099"/>
                  </a:lnTo>
                  <a:lnTo>
                    <a:pt x="7616" y="12472"/>
                  </a:lnTo>
                  <a:lnTo>
                    <a:pt x="7881" y="10004"/>
                  </a:lnTo>
                  <a:lnTo>
                    <a:pt x="8173" y="7749"/>
                  </a:lnTo>
                  <a:lnTo>
                    <a:pt x="8438" y="5865"/>
                  </a:lnTo>
                  <a:lnTo>
                    <a:pt x="8677" y="4432"/>
                  </a:lnTo>
                  <a:lnTo>
                    <a:pt x="8783" y="3901"/>
                  </a:lnTo>
                  <a:lnTo>
                    <a:pt x="8890" y="3556"/>
                  </a:lnTo>
                  <a:lnTo>
                    <a:pt x="9075" y="3079"/>
                  </a:lnTo>
                  <a:lnTo>
                    <a:pt x="9261" y="2601"/>
                  </a:lnTo>
                  <a:lnTo>
                    <a:pt x="9447" y="2124"/>
                  </a:lnTo>
                  <a:lnTo>
                    <a:pt x="9686" y="1673"/>
                  </a:lnTo>
                  <a:lnTo>
                    <a:pt x="9924" y="1248"/>
                  </a:lnTo>
                  <a:lnTo>
                    <a:pt x="10190" y="823"/>
                  </a:lnTo>
                  <a:lnTo>
                    <a:pt x="10455" y="399"/>
                  </a:lnTo>
                  <a:lnTo>
                    <a:pt x="10747" y="1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" name="Google Shape;1178;p57">
              <a:extLst>
                <a:ext uri="{FF2B5EF4-FFF2-40B4-BE49-F238E27FC236}">
                  <a16:creationId xmlns:a16="http://schemas.microsoft.com/office/drawing/2014/main" id="{EE6B845E-6C75-B052-900E-4701E6AC0CD9}"/>
                </a:ext>
              </a:extLst>
            </p:cNvPr>
            <p:cNvSpPr/>
            <p:nvPr/>
          </p:nvSpPr>
          <p:spPr>
            <a:xfrm>
              <a:off x="7783526" y="4418542"/>
              <a:ext cx="90785" cy="171712"/>
            </a:xfrm>
            <a:custGeom>
              <a:avLst/>
              <a:gdLst/>
              <a:ahLst/>
              <a:cxnLst/>
              <a:rect l="l" t="t" r="r" b="b"/>
              <a:pathLst>
                <a:path w="10747" h="20327" fill="none" extrusionOk="0">
                  <a:moveTo>
                    <a:pt x="10747" y="1"/>
                  </a:moveTo>
                  <a:lnTo>
                    <a:pt x="10747" y="1"/>
                  </a:lnTo>
                  <a:lnTo>
                    <a:pt x="10084" y="558"/>
                  </a:lnTo>
                  <a:lnTo>
                    <a:pt x="9314" y="1248"/>
                  </a:lnTo>
                  <a:lnTo>
                    <a:pt x="8518" y="2071"/>
                  </a:lnTo>
                  <a:lnTo>
                    <a:pt x="7669" y="2973"/>
                  </a:lnTo>
                  <a:lnTo>
                    <a:pt x="6767" y="3981"/>
                  </a:lnTo>
                  <a:lnTo>
                    <a:pt x="5891" y="5042"/>
                  </a:lnTo>
                  <a:lnTo>
                    <a:pt x="4989" y="6157"/>
                  </a:lnTo>
                  <a:lnTo>
                    <a:pt x="4113" y="7298"/>
                  </a:lnTo>
                  <a:lnTo>
                    <a:pt x="3291" y="8439"/>
                  </a:lnTo>
                  <a:lnTo>
                    <a:pt x="2521" y="9580"/>
                  </a:lnTo>
                  <a:lnTo>
                    <a:pt x="1805" y="10694"/>
                  </a:lnTo>
                  <a:lnTo>
                    <a:pt x="1195" y="11756"/>
                  </a:lnTo>
                  <a:lnTo>
                    <a:pt x="929" y="12260"/>
                  </a:lnTo>
                  <a:lnTo>
                    <a:pt x="690" y="12737"/>
                  </a:lnTo>
                  <a:lnTo>
                    <a:pt x="505" y="13215"/>
                  </a:lnTo>
                  <a:lnTo>
                    <a:pt x="319" y="13666"/>
                  </a:lnTo>
                  <a:lnTo>
                    <a:pt x="186" y="14064"/>
                  </a:lnTo>
                  <a:lnTo>
                    <a:pt x="80" y="14462"/>
                  </a:lnTo>
                  <a:lnTo>
                    <a:pt x="27" y="14834"/>
                  </a:lnTo>
                  <a:lnTo>
                    <a:pt x="0" y="15152"/>
                  </a:lnTo>
                  <a:lnTo>
                    <a:pt x="0" y="15152"/>
                  </a:lnTo>
                  <a:lnTo>
                    <a:pt x="0" y="15364"/>
                  </a:lnTo>
                  <a:lnTo>
                    <a:pt x="54" y="15577"/>
                  </a:lnTo>
                  <a:lnTo>
                    <a:pt x="107" y="15736"/>
                  </a:lnTo>
                  <a:lnTo>
                    <a:pt x="186" y="15895"/>
                  </a:lnTo>
                  <a:lnTo>
                    <a:pt x="186" y="15895"/>
                  </a:lnTo>
                  <a:lnTo>
                    <a:pt x="345" y="16107"/>
                  </a:lnTo>
                  <a:lnTo>
                    <a:pt x="558" y="16320"/>
                  </a:lnTo>
                  <a:lnTo>
                    <a:pt x="797" y="16558"/>
                  </a:lnTo>
                  <a:lnTo>
                    <a:pt x="1088" y="16797"/>
                  </a:lnTo>
                  <a:lnTo>
                    <a:pt x="1778" y="17328"/>
                  </a:lnTo>
                  <a:lnTo>
                    <a:pt x="2601" y="17885"/>
                  </a:lnTo>
                  <a:lnTo>
                    <a:pt x="3556" y="18495"/>
                  </a:lnTo>
                  <a:lnTo>
                    <a:pt x="4591" y="19106"/>
                  </a:lnTo>
                  <a:lnTo>
                    <a:pt x="5732" y="19716"/>
                  </a:lnTo>
                  <a:lnTo>
                    <a:pt x="6899" y="20326"/>
                  </a:lnTo>
                  <a:lnTo>
                    <a:pt x="6899" y="20326"/>
                  </a:lnTo>
                  <a:lnTo>
                    <a:pt x="7112" y="17752"/>
                  </a:lnTo>
                  <a:lnTo>
                    <a:pt x="7351" y="15099"/>
                  </a:lnTo>
                  <a:lnTo>
                    <a:pt x="7616" y="12472"/>
                  </a:lnTo>
                  <a:lnTo>
                    <a:pt x="7881" y="10004"/>
                  </a:lnTo>
                  <a:lnTo>
                    <a:pt x="8173" y="7749"/>
                  </a:lnTo>
                  <a:lnTo>
                    <a:pt x="8438" y="5865"/>
                  </a:lnTo>
                  <a:lnTo>
                    <a:pt x="8677" y="4432"/>
                  </a:lnTo>
                  <a:lnTo>
                    <a:pt x="8783" y="3901"/>
                  </a:lnTo>
                  <a:lnTo>
                    <a:pt x="8890" y="3556"/>
                  </a:lnTo>
                  <a:lnTo>
                    <a:pt x="8890" y="3556"/>
                  </a:lnTo>
                  <a:lnTo>
                    <a:pt x="9075" y="3079"/>
                  </a:lnTo>
                  <a:lnTo>
                    <a:pt x="9261" y="2601"/>
                  </a:lnTo>
                  <a:lnTo>
                    <a:pt x="9447" y="2124"/>
                  </a:lnTo>
                  <a:lnTo>
                    <a:pt x="9686" y="1673"/>
                  </a:lnTo>
                  <a:lnTo>
                    <a:pt x="9924" y="1248"/>
                  </a:lnTo>
                  <a:lnTo>
                    <a:pt x="10190" y="823"/>
                  </a:lnTo>
                  <a:lnTo>
                    <a:pt x="10455" y="399"/>
                  </a:lnTo>
                  <a:lnTo>
                    <a:pt x="1074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" name="Google Shape;1179;p57">
              <a:extLst>
                <a:ext uri="{FF2B5EF4-FFF2-40B4-BE49-F238E27FC236}">
                  <a16:creationId xmlns:a16="http://schemas.microsoft.com/office/drawing/2014/main" id="{DB180D48-8DF6-7409-8CBC-2F253CCAC532}"/>
                </a:ext>
              </a:extLst>
            </p:cNvPr>
            <p:cNvSpPr/>
            <p:nvPr/>
          </p:nvSpPr>
          <p:spPr>
            <a:xfrm>
              <a:off x="8057216" y="4105410"/>
              <a:ext cx="65232" cy="110958"/>
            </a:xfrm>
            <a:custGeom>
              <a:avLst/>
              <a:gdLst/>
              <a:ahLst/>
              <a:cxnLst/>
              <a:rect l="l" t="t" r="r" b="b"/>
              <a:pathLst>
                <a:path w="7722" h="13135" extrusionOk="0">
                  <a:moveTo>
                    <a:pt x="3715" y="0"/>
                  </a:moveTo>
                  <a:lnTo>
                    <a:pt x="3290" y="80"/>
                  </a:lnTo>
                  <a:lnTo>
                    <a:pt x="2866" y="186"/>
                  </a:lnTo>
                  <a:lnTo>
                    <a:pt x="2441" y="345"/>
                  </a:lnTo>
                  <a:lnTo>
                    <a:pt x="2043" y="531"/>
                  </a:lnTo>
                  <a:lnTo>
                    <a:pt x="1672" y="770"/>
                  </a:lnTo>
                  <a:lnTo>
                    <a:pt x="1353" y="982"/>
                  </a:lnTo>
                  <a:lnTo>
                    <a:pt x="1061" y="1221"/>
                  </a:lnTo>
                  <a:lnTo>
                    <a:pt x="849" y="1460"/>
                  </a:lnTo>
                  <a:lnTo>
                    <a:pt x="717" y="1672"/>
                  </a:lnTo>
                  <a:lnTo>
                    <a:pt x="663" y="1778"/>
                  </a:lnTo>
                  <a:lnTo>
                    <a:pt x="637" y="1858"/>
                  </a:lnTo>
                  <a:lnTo>
                    <a:pt x="637" y="2150"/>
                  </a:lnTo>
                  <a:lnTo>
                    <a:pt x="690" y="2415"/>
                  </a:lnTo>
                  <a:lnTo>
                    <a:pt x="770" y="2680"/>
                  </a:lnTo>
                  <a:lnTo>
                    <a:pt x="902" y="2972"/>
                  </a:lnTo>
                  <a:lnTo>
                    <a:pt x="1194" y="3582"/>
                  </a:lnTo>
                  <a:lnTo>
                    <a:pt x="1353" y="3954"/>
                  </a:lnTo>
                  <a:lnTo>
                    <a:pt x="1539" y="4378"/>
                  </a:lnTo>
                  <a:lnTo>
                    <a:pt x="1672" y="4723"/>
                  </a:lnTo>
                  <a:lnTo>
                    <a:pt x="1751" y="5042"/>
                  </a:lnTo>
                  <a:lnTo>
                    <a:pt x="1804" y="5307"/>
                  </a:lnTo>
                  <a:lnTo>
                    <a:pt x="1858" y="5573"/>
                  </a:lnTo>
                  <a:lnTo>
                    <a:pt x="1858" y="5811"/>
                  </a:lnTo>
                  <a:lnTo>
                    <a:pt x="1831" y="5997"/>
                  </a:lnTo>
                  <a:lnTo>
                    <a:pt x="1804" y="6183"/>
                  </a:lnTo>
                  <a:lnTo>
                    <a:pt x="1751" y="6342"/>
                  </a:lnTo>
                  <a:lnTo>
                    <a:pt x="1672" y="6475"/>
                  </a:lnTo>
                  <a:lnTo>
                    <a:pt x="1566" y="6581"/>
                  </a:lnTo>
                  <a:lnTo>
                    <a:pt x="1459" y="6660"/>
                  </a:lnTo>
                  <a:lnTo>
                    <a:pt x="1327" y="6713"/>
                  </a:lnTo>
                  <a:lnTo>
                    <a:pt x="1168" y="6740"/>
                  </a:lnTo>
                  <a:lnTo>
                    <a:pt x="1008" y="6767"/>
                  </a:lnTo>
                  <a:lnTo>
                    <a:pt x="849" y="6767"/>
                  </a:lnTo>
                  <a:lnTo>
                    <a:pt x="663" y="6740"/>
                  </a:lnTo>
                  <a:lnTo>
                    <a:pt x="478" y="6713"/>
                  </a:lnTo>
                  <a:lnTo>
                    <a:pt x="319" y="6740"/>
                  </a:lnTo>
                  <a:lnTo>
                    <a:pt x="212" y="6767"/>
                  </a:lnTo>
                  <a:lnTo>
                    <a:pt x="106" y="6846"/>
                  </a:lnTo>
                  <a:lnTo>
                    <a:pt x="53" y="6926"/>
                  </a:lnTo>
                  <a:lnTo>
                    <a:pt x="0" y="7032"/>
                  </a:lnTo>
                  <a:lnTo>
                    <a:pt x="0" y="7165"/>
                  </a:lnTo>
                  <a:lnTo>
                    <a:pt x="27" y="7297"/>
                  </a:lnTo>
                  <a:lnTo>
                    <a:pt x="53" y="7430"/>
                  </a:lnTo>
                  <a:lnTo>
                    <a:pt x="106" y="7589"/>
                  </a:lnTo>
                  <a:lnTo>
                    <a:pt x="186" y="7722"/>
                  </a:lnTo>
                  <a:lnTo>
                    <a:pt x="265" y="7854"/>
                  </a:lnTo>
                  <a:lnTo>
                    <a:pt x="398" y="7987"/>
                  </a:lnTo>
                  <a:lnTo>
                    <a:pt x="504" y="8120"/>
                  </a:lnTo>
                  <a:lnTo>
                    <a:pt x="663" y="8226"/>
                  </a:lnTo>
                  <a:lnTo>
                    <a:pt x="796" y="8332"/>
                  </a:lnTo>
                  <a:lnTo>
                    <a:pt x="982" y="8412"/>
                  </a:lnTo>
                  <a:lnTo>
                    <a:pt x="1168" y="8571"/>
                  </a:lnTo>
                  <a:lnTo>
                    <a:pt x="1592" y="8942"/>
                  </a:lnTo>
                  <a:lnTo>
                    <a:pt x="2070" y="9447"/>
                  </a:lnTo>
                  <a:lnTo>
                    <a:pt x="2574" y="10057"/>
                  </a:lnTo>
                  <a:lnTo>
                    <a:pt x="2839" y="10375"/>
                  </a:lnTo>
                  <a:lnTo>
                    <a:pt x="3078" y="10747"/>
                  </a:lnTo>
                  <a:lnTo>
                    <a:pt x="3290" y="11118"/>
                  </a:lnTo>
                  <a:lnTo>
                    <a:pt x="3529" y="11490"/>
                  </a:lnTo>
                  <a:lnTo>
                    <a:pt x="3715" y="11888"/>
                  </a:lnTo>
                  <a:lnTo>
                    <a:pt x="3901" y="12286"/>
                  </a:lnTo>
                  <a:lnTo>
                    <a:pt x="4060" y="12710"/>
                  </a:lnTo>
                  <a:lnTo>
                    <a:pt x="4166" y="13108"/>
                  </a:lnTo>
                  <a:lnTo>
                    <a:pt x="4352" y="13135"/>
                  </a:lnTo>
                  <a:lnTo>
                    <a:pt x="4856" y="13108"/>
                  </a:lnTo>
                  <a:lnTo>
                    <a:pt x="5174" y="13108"/>
                  </a:lnTo>
                  <a:lnTo>
                    <a:pt x="5519" y="13082"/>
                  </a:lnTo>
                  <a:lnTo>
                    <a:pt x="5891" y="13002"/>
                  </a:lnTo>
                  <a:lnTo>
                    <a:pt x="6262" y="12923"/>
                  </a:lnTo>
                  <a:lnTo>
                    <a:pt x="6607" y="12816"/>
                  </a:lnTo>
                  <a:lnTo>
                    <a:pt x="6952" y="12657"/>
                  </a:lnTo>
                  <a:lnTo>
                    <a:pt x="7085" y="12578"/>
                  </a:lnTo>
                  <a:lnTo>
                    <a:pt x="7244" y="12471"/>
                  </a:lnTo>
                  <a:lnTo>
                    <a:pt x="7350" y="12365"/>
                  </a:lnTo>
                  <a:lnTo>
                    <a:pt x="7456" y="12233"/>
                  </a:lnTo>
                  <a:lnTo>
                    <a:pt x="7562" y="12100"/>
                  </a:lnTo>
                  <a:lnTo>
                    <a:pt x="7642" y="11941"/>
                  </a:lnTo>
                  <a:lnTo>
                    <a:pt x="7695" y="11782"/>
                  </a:lnTo>
                  <a:lnTo>
                    <a:pt x="7722" y="11596"/>
                  </a:lnTo>
                  <a:lnTo>
                    <a:pt x="7722" y="11384"/>
                  </a:lnTo>
                  <a:lnTo>
                    <a:pt x="7695" y="11198"/>
                  </a:lnTo>
                  <a:lnTo>
                    <a:pt x="7642" y="10959"/>
                  </a:lnTo>
                  <a:lnTo>
                    <a:pt x="7562" y="10720"/>
                  </a:lnTo>
                  <a:lnTo>
                    <a:pt x="7271" y="9898"/>
                  </a:lnTo>
                  <a:lnTo>
                    <a:pt x="7032" y="9102"/>
                  </a:lnTo>
                  <a:lnTo>
                    <a:pt x="6819" y="8385"/>
                  </a:lnTo>
                  <a:lnTo>
                    <a:pt x="6634" y="7695"/>
                  </a:lnTo>
                  <a:lnTo>
                    <a:pt x="6475" y="7058"/>
                  </a:lnTo>
                  <a:lnTo>
                    <a:pt x="6368" y="6422"/>
                  </a:lnTo>
                  <a:lnTo>
                    <a:pt x="6183" y="5281"/>
                  </a:lnTo>
                  <a:lnTo>
                    <a:pt x="5944" y="3211"/>
                  </a:lnTo>
                  <a:lnTo>
                    <a:pt x="5785" y="2229"/>
                  </a:lnTo>
                  <a:lnTo>
                    <a:pt x="5678" y="1725"/>
                  </a:lnTo>
                  <a:lnTo>
                    <a:pt x="5572" y="1221"/>
                  </a:lnTo>
                  <a:lnTo>
                    <a:pt x="5493" y="982"/>
                  </a:lnTo>
                  <a:lnTo>
                    <a:pt x="5387" y="796"/>
                  </a:lnTo>
                  <a:lnTo>
                    <a:pt x="5280" y="611"/>
                  </a:lnTo>
                  <a:lnTo>
                    <a:pt x="5148" y="451"/>
                  </a:lnTo>
                  <a:lnTo>
                    <a:pt x="5015" y="319"/>
                  </a:lnTo>
                  <a:lnTo>
                    <a:pt x="4856" y="213"/>
                  </a:lnTo>
                  <a:lnTo>
                    <a:pt x="4697" y="133"/>
                  </a:lnTo>
                  <a:lnTo>
                    <a:pt x="4511" y="53"/>
                  </a:lnTo>
                  <a:lnTo>
                    <a:pt x="4325" y="27"/>
                  </a:lnTo>
                  <a:lnTo>
                    <a:pt x="4139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" name="Google Shape;1180;p57">
              <a:extLst>
                <a:ext uri="{FF2B5EF4-FFF2-40B4-BE49-F238E27FC236}">
                  <a16:creationId xmlns:a16="http://schemas.microsoft.com/office/drawing/2014/main" id="{ED620DD5-9807-541B-F0C3-EA9F78CA04DD}"/>
                </a:ext>
              </a:extLst>
            </p:cNvPr>
            <p:cNvSpPr/>
            <p:nvPr/>
          </p:nvSpPr>
          <p:spPr>
            <a:xfrm>
              <a:off x="8238778" y="5087407"/>
              <a:ext cx="62545" cy="75994"/>
            </a:xfrm>
            <a:custGeom>
              <a:avLst/>
              <a:gdLst/>
              <a:ahLst/>
              <a:cxnLst/>
              <a:rect l="l" t="t" r="r" b="b"/>
              <a:pathLst>
                <a:path w="7404" h="8996" extrusionOk="0">
                  <a:moveTo>
                    <a:pt x="4697" y="1"/>
                  </a:moveTo>
                  <a:lnTo>
                    <a:pt x="0" y="1938"/>
                  </a:lnTo>
                  <a:lnTo>
                    <a:pt x="3211" y="8332"/>
                  </a:lnTo>
                  <a:lnTo>
                    <a:pt x="7217" y="8996"/>
                  </a:lnTo>
                  <a:lnTo>
                    <a:pt x="7403" y="6050"/>
                  </a:lnTo>
                  <a:lnTo>
                    <a:pt x="7111" y="5281"/>
                  </a:lnTo>
                  <a:lnTo>
                    <a:pt x="6740" y="4352"/>
                  </a:lnTo>
                  <a:lnTo>
                    <a:pt x="6289" y="3344"/>
                  </a:lnTo>
                  <a:lnTo>
                    <a:pt x="5838" y="2362"/>
                  </a:lnTo>
                  <a:lnTo>
                    <a:pt x="5042" y="690"/>
                  </a:lnTo>
                  <a:lnTo>
                    <a:pt x="4697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" name="Google Shape;1181;p57">
              <a:extLst>
                <a:ext uri="{FF2B5EF4-FFF2-40B4-BE49-F238E27FC236}">
                  <a16:creationId xmlns:a16="http://schemas.microsoft.com/office/drawing/2014/main" id="{B1C05303-4A30-24EF-662F-4FAD43F9AD28}"/>
                </a:ext>
              </a:extLst>
            </p:cNvPr>
            <p:cNvSpPr/>
            <p:nvPr/>
          </p:nvSpPr>
          <p:spPr>
            <a:xfrm>
              <a:off x="8263208" y="5132457"/>
              <a:ext cx="113653" cy="56277"/>
            </a:xfrm>
            <a:custGeom>
              <a:avLst/>
              <a:gdLst/>
              <a:ahLst/>
              <a:cxnLst/>
              <a:rect l="l" t="t" r="r" b="b"/>
              <a:pathLst>
                <a:path w="13454" h="6662" extrusionOk="0">
                  <a:moveTo>
                    <a:pt x="12472" y="1"/>
                  </a:moveTo>
                  <a:lnTo>
                    <a:pt x="11914" y="160"/>
                  </a:lnTo>
                  <a:lnTo>
                    <a:pt x="11065" y="452"/>
                  </a:lnTo>
                  <a:lnTo>
                    <a:pt x="9977" y="797"/>
                  </a:lnTo>
                  <a:lnTo>
                    <a:pt x="8810" y="1115"/>
                  </a:lnTo>
                  <a:lnTo>
                    <a:pt x="8199" y="1275"/>
                  </a:lnTo>
                  <a:lnTo>
                    <a:pt x="7616" y="1381"/>
                  </a:lnTo>
                  <a:lnTo>
                    <a:pt x="7032" y="1460"/>
                  </a:lnTo>
                  <a:lnTo>
                    <a:pt x="6501" y="1487"/>
                  </a:lnTo>
                  <a:lnTo>
                    <a:pt x="6050" y="1487"/>
                  </a:lnTo>
                  <a:lnTo>
                    <a:pt x="5838" y="1460"/>
                  </a:lnTo>
                  <a:lnTo>
                    <a:pt x="5626" y="1407"/>
                  </a:lnTo>
                  <a:lnTo>
                    <a:pt x="5466" y="1354"/>
                  </a:lnTo>
                  <a:lnTo>
                    <a:pt x="5307" y="1275"/>
                  </a:lnTo>
                  <a:lnTo>
                    <a:pt x="5175" y="1195"/>
                  </a:lnTo>
                  <a:lnTo>
                    <a:pt x="5068" y="1062"/>
                  </a:lnTo>
                  <a:lnTo>
                    <a:pt x="4936" y="850"/>
                  </a:lnTo>
                  <a:lnTo>
                    <a:pt x="4830" y="664"/>
                  </a:lnTo>
                  <a:lnTo>
                    <a:pt x="4644" y="346"/>
                  </a:lnTo>
                  <a:lnTo>
                    <a:pt x="4591" y="266"/>
                  </a:lnTo>
                  <a:lnTo>
                    <a:pt x="4485" y="213"/>
                  </a:lnTo>
                  <a:lnTo>
                    <a:pt x="4405" y="213"/>
                  </a:lnTo>
                  <a:lnTo>
                    <a:pt x="4272" y="293"/>
                  </a:lnTo>
                  <a:lnTo>
                    <a:pt x="3636" y="691"/>
                  </a:lnTo>
                  <a:lnTo>
                    <a:pt x="3025" y="1036"/>
                  </a:lnTo>
                  <a:lnTo>
                    <a:pt x="2441" y="1328"/>
                  </a:lnTo>
                  <a:lnTo>
                    <a:pt x="1884" y="1567"/>
                  </a:lnTo>
                  <a:lnTo>
                    <a:pt x="902" y="2018"/>
                  </a:lnTo>
                  <a:lnTo>
                    <a:pt x="504" y="2230"/>
                  </a:lnTo>
                  <a:lnTo>
                    <a:pt x="186" y="2442"/>
                  </a:lnTo>
                  <a:lnTo>
                    <a:pt x="106" y="2522"/>
                  </a:lnTo>
                  <a:lnTo>
                    <a:pt x="53" y="2628"/>
                  </a:lnTo>
                  <a:lnTo>
                    <a:pt x="0" y="2787"/>
                  </a:lnTo>
                  <a:lnTo>
                    <a:pt x="0" y="2973"/>
                  </a:lnTo>
                  <a:lnTo>
                    <a:pt x="27" y="3185"/>
                  </a:lnTo>
                  <a:lnTo>
                    <a:pt x="80" y="3424"/>
                  </a:lnTo>
                  <a:lnTo>
                    <a:pt x="239" y="3981"/>
                  </a:lnTo>
                  <a:lnTo>
                    <a:pt x="451" y="4565"/>
                  </a:lnTo>
                  <a:lnTo>
                    <a:pt x="717" y="5175"/>
                  </a:lnTo>
                  <a:lnTo>
                    <a:pt x="1035" y="5759"/>
                  </a:lnTo>
                  <a:lnTo>
                    <a:pt x="1380" y="6290"/>
                  </a:lnTo>
                  <a:lnTo>
                    <a:pt x="1513" y="6396"/>
                  </a:lnTo>
                  <a:lnTo>
                    <a:pt x="1619" y="6502"/>
                  </a:lnTo>
                  <a:lnTo>
                    <a:pt x="1778" y="6582"/>
                  </a:lnTo>
                  <a:lnTo>
                    <a:pt x="1911" y="6635"/>
                  </a:lnTo>
                  <a:lnTo>
                    <a:pt x="2070" y="6661"/>
                  </a:lnTo>
                  <a:lnTo>
                    <a:pt x="2415" y="6661"/>
                  </a:lnTo>
                  <a:lnTo>
                    <a:pt x="2574" y="6608"/>
                  </a:lnTo>
                  <a:lnTo>
                    <a:pt x="7536" y="4618"/>
                  </a:lnTo>
                  <a:lnTo>
                    <a:pt x="12365" y="2681"/>
                  </a:lnTo>
                  <a:lnTo>
                    <a:pt x="12710" y="2495"/>
                  </a:lnTo>
                  <a:lnTo>
                    <a:pt x="13002" y="2309"/>
                  </a:lnTo>
                  <a:lnTo>
                    <a:pt x="13188" y="2097"/>
                  </a:lnTo>
                  <a:lnTo>
                    <a:pt x="13347" y="1885"/>
                  </a:lnTo>
                  <a:lnTo>
                    <a:pt x="13427" y="1646"/>
                  </a:lnTo>
                  <a:lnTo>
                    <a:pt x="13453" y="1434"/>
                  </a:lnTo>
                  <a:lnTo>
                    <a:pt x="13427" y="1195"/>
                  </a:lnTo>
                  <a:lnTo>
                    <a:pt x="13374" y="983"/>
                  </a:lnTo>
                  <a:lnTo>
                    <a:pt x="13294" y="770"/>
                  </a:lnTo>
                  <a:lnTo>
                    <a:pt x="13188" y="585"/>
                  </a:lnTo>
                  <a:lnTo>
                    <a:pt x="13082" y="399"/>
                  </a:lnTo>
                  <a:lnTo>
                    <a:pt x="12949" y="266"/>
                  </a:lnTo>
                  <a:lnTo>
                    <a:pt x="12790" y="160"/>
                  </a:lnTo>
                  <a:lnTo>
                    <a:pt x="12684" y="54"/>
                  </a:lnTo>
                  <a:lnTo>
                    <a:pt x="12551" y="28"/>
                  </a:lnTo>
                  <a:lnTo>
                    <a:pt x="12472" y="1"/>
                  </a:ln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" name="Google Shape;1182;p57">
              <a:extLst>
                <a:ext uri="{FF2B5EF4-FFF2-40B4-BE49-F238E27FC236}">
                  <a16:creationId xmlns:a16="http://schemas.microsoft.com/office/drawing/2014/main" id="{BDE4BDAF-E874-A67E-91B5-E2FC66DAC99E}"/>
                </a:ext>
              </a:extLst>
            </p:cNvPr>
            <p:cNvSpPr/>
            <p:nvPr/>
          </p:nvSpPr>
          <p:spPr>
            <a:xfrm>
              <a:off x="7690730" y="4995059"/>
              <a:ext cx="74422" cy="47078"/>
            </a:xfrm>
            <a:custGeom>
              <a:avLst/>
              <a:gdLst/>
              <a:ahLst/>
              <a:cxnLst/>
              <a:rect l="l" t="t" r="r" b="b"/>
              <a:pathLst>
                <a:path w="8810" h="5573" extrusionOk="0">
                  <a:moveTo>
                    <a:pt x="8226" y="0"/>
                  </a:moveTo>
                  <a:lnTo>
                    <a:pt x="1619" y="1221"/>
                  </a:lnTo>
                  <a:lnTo>
                    <a:pt x="0" y="4644"/>
                  </a:lnTo>
                  <a:lnTo>
                    <a:pt x="2627" y="5573"/>
                  </a:lnTo>
                  <a:lnTo>
                    <a:pt x="3397" y="5520"/>
                  </a:lnTo>
                  <a:lnTo>
                    <a:pt x="4325" y="5413"/>
                  </a:lnTo>
                  <a:lnTo>
                    <a:pt x="6368" y="5122"/>
                  </a:lnTo>
                  <a:lnTo>
                    <a:pt x="8093" y="4830"/>
                  </a:lnTo>
                  <a:lnTo>
                    <a:pt x="8810" y="4697"/>
                  </a:lnTo>
                  <a:lnTo>
                    <a:pt x="8226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" name="Google Shape;1183;p57">
              <a:extLst>
                <a:ext uri="{FF2B5EF4-FFF2-40B4-BE49-F238E27FC236}">
                  <a16:creationId xmlns:a16="http://schemas.microsoft.com/office/drawing/2014/main" id="{EA372F1B-5BE8-C31F-3CD5-54C095D25365}"/>
                </a:ext>
              </a:extLst>
            </p:cNvPr>
            <p:cNvSpPr/>
            <p:nvPr/>
          </p:nvSpPr>
          <p:spPr>
            <a:xfrm>
              <a:off x="7721208" y="4630144"/>
              <a:ext cx="575630" cy="515103"/>
            </a:xfrm>
            <a:custGeom>
              <a:avLst/>
              <a:gdLst/>
              <a:ahLst/>
              <a:cxnLst/>
              <a:rect l="l" t="t" r="r" b="b"/>
              <a:pathLst>
                <a:path w="68142" h="60977" extrusionOk="0">
                  <a:moveTo>
                    <a:pt x="23537" y="0"/>
                  </a:moveTo>
                  <a:lnTo>
                    <a:pt x="21945" y="27"/>
                  </a:lnTo>
                  <a:lnTo>
                    <a:pt x="20406" y="106"/>
                  </a:lnTo>
                  <a:lnTo>
                    <a:pt x="18947" y="213"/>
                  </a:lnTo>
                  <a:lnTo>
                    <a:pt x="18257" y="266"/>
                  </a:lnTo>
                  <a:lnTo>
                    <a:pt x="17620" y="345"/>
                  </a:lnTo>
                  <a:lnTo>
                    <a:pt x="17036" y="451"/>
                  </a:lnTo>
                  <a:lnTo>
                    <a:pt x="16479" y="558"/>
                  </a:lnTo>
                  <a:lnTo>
                    <a:pt x="16001" y="664"/>
                  </a:lnTo>
                  <a:lnTo>
                    <a:pt x="15577" y="796"/>
                  </a:lnTo>
                  <a:lnTo>
                    <a:pt x="15232" y="956"/>
                  </a:lnTo>
                  <a:lnTo>
                    <a:pt x="14966" y="1115"/>
                  </a:lnTo>
                  <a:lnTo>
                    <a:pt x="14860" y="1194"/>
                  </a:lnTo>
                  <a:lnTo>
                    <a:pt x="14781" y="1301"/>
                  </a:lnTo>
                  <a:lnTo>
                    <a:pt x="14701" y="1380"/>
                  </a:lnTo>
                  <a:lnTo>
                    <a:pt x="14674" y="1486"/>
                  </a:lnTo>
                  <a:lnTo>
                    <a:pt x="14568" y="1884"/>
                  </a:lnTo>
                  <a:lnTo>
                    <a:pt x="14489" y="2282"/>
                  </a:lnTo>
                  <a:lnTo>
                    <a:pt x="14436" y="2733"/>
                  </a:lnTo>
                  <a:lnTo>
                    <a:pt x="14383" y="3184"/>
                  </a:lnTo>
                  <a:lnTo>
                    <a:pt x="14330" y="4166"/>
                  </a:lnTo>
                  <a:lnTo>
                    <a:pt x="14330" y="5228"/>
                  </a:lnTo>
                  <a:lnTo>
                    <a:pt x="14383" y="6342"/>
                  </a:lnTo>
                  <a:lnTo>
                    <a:pt x="14489" y="7536"/>
                  </a:lnTo>
                  <a:lnTo>
                    <a:pt x="14621" y="8783"/>
                  </a:lnTo>
                  <a:lnTo>
                    <a:pt x="14807" y="10110"/>
                  </a:lnTo>
                  <a:lnTo>
                    <a:pt x="15019" y="11463"/>
                  </a:lnTo>
                  <a:lnTo>
                    <a:pt x="15258" y="12843"/>
                  </a:lnTo>
                  <a:lnTo>
                    <a:pt x="15524" y="14276"/>
                  </a:lnTo>
                  <a:lnTo>
                    <a:pt x="15815" y="15709"/>
                  </a:lnTo>
                  <a:lnTo>
                    <a:pt x="16452" y="18654"/>
                  </a:lnTo>
                  <a:lnTo>
                    <a:pt x="17142" y="21599"/>
                  </a:lnTo>
                  <a:lnTo>
                    <a:pt x="18495" y="27304"/>
                  </a:lnTo>
                  <a:lnTo>
                    <a:pt x="19132" y="29984"/>
                  </a:lnTo>
                  <a:lnTo>
                    <a:pt x="19663" y="32425"/>
                  </a:lnTo>
                  <a:lnTo>
                    <a:pt x="19902" y="33540"/>
                  </a:lnTo>
                  <a:lnTo>
                    <a:pt x="20114" y="34601"/>
                  </a:lnTo>
                  <a:lnTo>
                    <a:pt x="20273" y="35583"/>
                  </a:lnTo>
                  <a:lnTo>
                    <a:pt x="20406" y="36459"/>
                  </a:lnTo>
                  <a:lnTo>
                    <a:pt x="20486" y="37255"/>
                  </a:lnTo>
                  <a:lnTo>
                    <a:pt x="20512" y="37945"/>
                  </a:lnTo>
                  <a:lnTo>
                    <a:pt x="20512" y="38555"/>
                  </a:lnTo>
                  <a:lnTo>
                    <a:pt x="20486" y="38794"/>
                  </a:lnTo>
                  <a:lnTo>
                    <a:pt x="20432" y="39006"/>
                  </a:lnTo>
                  <a:lnTo>
                    <a:pt x="20406" y="39112"/>
                  </a:lnTo>
                  <a:lnTo>
                    <a:pt x="20353" y="39192"/>
                  </a:lnTo>
                  <a:lnTo>
                    <a:pt x="20194" y="39377"/>
                  </a:lnTo>
                  <a:lnTo>
                    <a:pt x="19928" y="39563"/>
                  </a:lnTo>
                  <a:lnTo>
                    <a:pt x="19636" y="39749"/>
                  </a:lnTo>
                  <a:lnTo>
                    <a:pt x="19238" y="39935"/>
                  </a:lnTo>
                  <a:lnTo>
                    <a:pt x="18814" y="40094"/>
                  </a:lnTo>
                  <a:lnTo>
                    <a:pt x="18310" y="40253"/>
                  </a:lnTo>
                  <a:lnTo>
                    <a:pt x="17752" y="40439"/>
                  </a:lnTo>
                  <a:lnTo>
                    <a:pt x="16505" y="40731"/>
                  </a:lnTo>
                  <a:lnTo>
                    <a:pt x="15126" y="41049"/>
                  </a:lnTo>
                  <a:lnTo>
                    <a:pt x="13587" y="41314"/>
                  </a:lnTo>
                  <a:lnTo>
                    <a:pt x="11968" y="41580"/>
                  </a:lnTo>
                  <a:lnTo>
                    <a:pt x="10323" y="41845"/>
                  </a:lnTo>
                  <a:lnTo>
                    <a:pt x="8625" y="42057"/>
                  </a:lnTo>
                  <a:lnTo>
                    <a:pt x="5361" y="42482"/>
                  </a:lnTo>
                  <a:lnTo>
                    <a:pt x="2469" y="42800"/>
                  </a:lnTo>
                  <a:lnTo>
                    <a:pt x="213" y="43039"/>
                  </a:lnTo>
                  <a:lnTo>
                    <a:pt x="134" y="43039"/>
                  </a:lnTo>
                  <a:lnTo>
                    <a:pt x="107" y="43092"/>
                  </a:lnTo>
                  <a:lnTo>
                    <a:pt x="80" y="43172"/>
                  </a:lnTo>
                  <a:lnTo>
                    <a:pt x="27" y="43411"/>
                  </a:lnTo>
                  <a:lnTo>
                    <a:pt x="1" y="43756"/>
                  </a:lnTo>
                  <a:lnTo>
                    <a:pt x="1" y="44207"/>
                  </a:lnTo>
                  <a:lnTo>
                    <a:pt x="1" y="44711"/>
                  </a:lnTo>
                  <a:lnTo>
                    <a:pt x="54" y="45268"/>
                  </a:lnTo>
                  <a:lnTo>
                    <a:pt x="107" y="45878"/>
                  </a:lnTo>
                  <a:lnTo>
                    <a:pt x="187" y="46489"/>
                  </a:lnTo>
                  <a:lnTo>
                    <a:pt x="319" y="47125"/>
                  </a:lnTo>
                  <a:lnTo>
                    <a:pt x="452" y="47736"/>
                  </a:lnTo>
                  <a:lnTo>
                    <a:pt x="638" y="48320"/>
                  </a:lnTo>
                  <a:lnTo>
                    <a:pt x="850" y="48850"/>
                  </a:lnTo>
                  <a:lnTo>
                    <a:pt x="983" y="49089"/>
                  </a:lnTo>
                  <a:lnTo>
                    <a:pt x="1115" y="49328"/>
                  </a:lnTo>
                  <a:lnTo>
                    <a:pt x="1248" y="49540"/>
                  </a:lnTo>
                  <a:lnTo>
                    <a:pt x="1407" y="49726"/>
                  </a:lnTo>
                  <a:lnTo>
                    <a:pt x="1566" y="49885"/>
                  </a:lnTo>
                  <a:lnTo>
                    <a:pt x="1726" y="50044"/>
                  </a:lnTo>
                  <a:lnTo>
                    <a:pt x="2814" y="49991"/>
                  </a:lnTo>
                  <a:lnTo>
                    <a:pt x="4061" y="49912"/>
                  </a:lnTo>
                  <a:lnTo>
                    <a:pt x="5679" y="49779"/>
                  </a:lnTo>
                  <a:lnTo>
                    <a:pt x="7616" y="49620"/>
                  </a:lnTo>
                  <a:lnTo>
                    <a:pt x="9792" y="49407"/>
                  </a:lnTo>
                  <a:lnTo>
                    <a:pt x="12127" y="49116"/>
                  </a:lnTo>
                  <a:lnTo>
                    <a:pt x="13348" y="48956"/>
                  </a:lnTo>
                  <a:lnTo>
                    <a:pt x="14568" y="48771"/>
                  </a:lnTo>
                  <a:lnTo>
                    <a:pt x="15815" y="48558"/>
                  </a:lnTo>
                  <a:lnTo>
                    <a:pt x="17036" y="48320"/>
                  </a:lnTo>
                  <a:lnTo>
                    <a:pt x="18257" y="48081"/>
                  </a:lnTo>
                  <a:lnTo>
                    <a:pt x="19477" y="47815"/>
                  </a:lnTo>
                  <a:lnTo>
                    <a:pt x="20645" y="47523"/>
                  </a:lnTo>
                  <a:lnTo>
                    <a:pt x="21786" y="47205"/>
                  </a:lnTo>
                  <a:lnTo>
                    <a:pt x="22874" y="46860"/>
                  </a:lnTo>
                  <a:lnTo>
                    <a:pt x="23908" y="46515"/>
                  </a:lnTo>
                  <a:lnTo>
                    <a:pt x="24890" y="46117"/>
                  </a:lnTo>
                  <a:lnTo>
                    <a:pt x="25792" y="45693"/>
                  </a:lnTo>
                  <a:lnTo>
                    <a:pt x="26217" y="45480"/>
                  </a:lnTo>
                  <a:lnTo>
                    <a:pt x="26615" y="45242"/>
                  </a:lnTo>
                  <a:lnTo>
                    <a:pt x="26986" y="45003"/>
                  </a:lnTo>
                  <a:lnTo>
                    <a:pt x="27331" y="44764"/>
                  </a:lnTo>
                  <a:lnTo>
                    <a:pt x="27676" y="44525"/>
                  </a:lnTo>
                  <a:lnTo>
                    <a:pt x="27968" y="44260"/>
                  </a:lnTo>
                  <a:lnTo>
                    <a:pt x="28260" y="43994"/>
                  </a:lnTo>
                  <a:lnTo>
                    <a:pt x="28499" y="43729"/>
                  </a:lnTo>
                  <a:lnTo>
                    <a:pt x="28711" y="43437"/>
                  </a:lnTo>
                  <a:lnTo>
                    <a:pt x="28923" y="43145"/>
                  </a:lnTo>
                  <a:lnTo>
                    <a:pt x="29083" y="42853"/>
                  </a:lnTo>
                  <a:lnTo>
                    <a:pt x="29189" y="42562"/>
                  </a:lnTo>
                  <a:lnTo>
                    <a:pt x="29322" y="42243"/>
                  </a:lnTo>
                  <a:lnTo>
                    <a:pt x="29401" y="41872"/>
                  </a:lnTo>
                  <a:lnTo>
                    <a:pt x="29454" y="41447"/>
                  </a:lnTo>
                  <a:lnTo>
                    <a:pt x="29507" y="40969"/>
                  </a:lnTo>
                  <a:lnTo>
                    <a:pt x="29560" y="40465"/>
                  </a:lnTo>
                  <a:lnTo>
                    <a:pt x="29560" y="39882"/>
                  </a:lnTo>
                  <a:lnTo>
                    <a:pt x="29560" y="38608"/>
                  </a:lnTo>
                  <a:lnTo>
                    <a:pt x="29481" y="37175"/>
                  </a:lnTo>
                  <a:lnTo>
                    <a:pt x="29348" y="35583"/>
                  </a:lnTo>
                  <a:lnTo>
                    <a:pt x="29189" y="33911"/>
                  </a:lnTo>
                  <a:lnTo>
                    <a:pt x="29003" y="32134"/>
                  </a:lnTo>
                  <a:lnTo>
                    <a:pt x="28525" y="28366"/>
                  </a:lnTo>
                  <a:lnTo>
                    <a:pt x="27995" y="24518"/>
                  </a:lnTo>
                  <a:lnTo>
                    <a:pt x="27491" y="20724"/>
                  </a:lnTo>
                  <a:lnTo>
                    <a:pt x="27040" y="17168"/>
                  </a:lnTo>
                  <a:lnTo>
                    <a:pt x="35371" y="25367"/>
                  </a:lnTo>
                  <a:lnTo>
                    <a:pt x="42032" y="31948"/>
                  </a:lnTo>
                  <a:lnTo>
                    <a:pt x="44897" y="34814"/>
                  </a:lnTo>
                  <a:lnTo>
                    <a:pt x="47020" y="36963"/>
                  </a:lnTo>
                  <a:lnTo>
                    <a:pt x="47445" y="37414"/>
                  </a:lnTo>
                  <a:lnTo>
                    <a:pt x="47896" y="37971"/>
                  </a:lnTo>
                  <a:lnTo>
                    <a:pt x="48373" y="38581"/>
                  </a:lnTo>
                  <a:lnTo>
                    <a:pt x="48877" y="39245"/>
                  </a:lnTo>
                  <a:lnTo>
                    <a:pt x="49382" y="39988"/>
                  </a:lnTo>
                  <a:lnTo>
                    <a:pt x="49912" y="40784"/>
                  </a:lnTo>
                  <a:lnTo>
                    <a:pt x="50974" y="42482"/>
                  </a:lnTo>
                  <a:lnTo>
                    <a:pt x="52088" y="44339"/>
                  </a:lnTo>
                  <a:lnTo>
                    <a:pt x="53229" y="46303"/>
                  </a:lnTo>
                  <a:lnTo>
                    <a:pt x="54370" y="48293"/>
                  </a:lnTo>
                  <a:lnTo>
                    <a:pt x="55458" y="50283"/>
                  </a:lnTo>
                  <a:lnTo>
                    <a:pt x="57554" y="54131"/>
                  </a:lnTo>
                  <a:lnTo>
                    <a:pt x="59332" y="57421"/>
                  </a:lnTo>
                  <a:lnTo>
                    <a:pt x="60102" y="58721"/>
                  </a:lnTo>
                  <a:lnTo>
                    <a:pt x="60712" y="59782"/>
                  </a:lnTo>
                  <a:lnTo>
                    <a:pt x="60977" y="60180"/>
                  </a:lnTo>
                  <a:lnTo>
                    <a:pt x="61189" y="60499"/>
                  </a:lnTo>
                  <a:lnTo>
                    <a:pt x="61375" y="60738"/>
                  </a:lnTo>
                  <a:lnTo>
                    <a:pt x="61508" y="60844"/>
                  </a:lnTo>
                  <a:lnTo>
                    <a:pt x="61641" y="60923"/>
                  </a:lnTo>
                  <a:lnTo>
                    <a:pt x="61773" y="60950"/>
                  </a:lnTo>
                  <a:lnTo>
                    <a:pt x="61959" y="60976"/>
                  </a:lnTo>
                  <a:lnTo>
                    <a:pt x="62145" y="60950"/>
                  </a:lnTo>
                  <a:lnTo>
                    <a:pt x="62357" y="60923"/>
                  </a:lnTo>
                  <a:lnTo>
                    <a:pt x="62596" y="60844"/>
                  </a:lnTo>
                  <a:lnTo>
                    <a:pt x="63100" y="60685"/>
                  </a:lnTo>
                  <a:lnTo>
                    <a:pt x="63631" y="60446"/>
                  </a:lnTo>
                  <a:lnTo>
                    <a:pt x="64214" y="60154"/>
                  </a:lnTo>
                  <a:lnTo>
                    <a:pt x="64798" y="59809"/>
                  </a:lnTo>
                  <a:lnTo>
                    <a:pt x="65382" y="59464"/>
                  </a:lnTo>
                  <a:lnTo>
                    <a:pt x="65939" y="59066"/>
                  </a:lnTo>
                  <a:lnTo>
                    <a:pt x="66470" y="58668"/>
                  </a:lnTo>
                  <a:lnTo>
                    <a:pt x="66947" y="58296"/>
                  </a:lnTo>
                  <a:lnTo>
                    <a:pt x="67372" y="57925"/>
                  </a:lnTo>
                  <a:lnTo>
                    <a:pt x="67717" y="57607"/>
                  </a:lnTo>
                  <a:lnTo>
                    <a:pt x="67982" y="57315"/>
                  </a:lnTo>
                  <a:lnTo>
                    <a:pt x="68062" y="57182"/>
                  </a:lnTo>
                  <a:lnTo>
                    <a:pt x="68115" y="57076"/>
                  </a:lnTo>
                  <a:lnTo>
                    <a:pt x="68141" y="56996"/>
                  </a:lnTo>
                  <a:lnTo>
                    <a:pt x="68115" y="56917"/>
                  </a:lnTo>
                  <a:lnTo>
                    <a:pt x="67929" y="56545"/>
                  </a:lnTo>
                  <a:lnTo>
                    <a:pt x="67505" y="55749"/>
                  </a:lnTo>
                  <a:lnTo>
                    <a:pt x="65966" y="53069"/>
                  </a:lnTo>
                  <a:lnTo>
                    <a:pt x="61349" y="45003"/>
                  </a:lnTo>
                  <a:lnTo>
                    <a:pt x="53203" y="30886"/>
                  </a:lnTo>
                  <a:lnTo>
                    <a:pt x="52698" y="30064"/>
                  </a:lnTo>
                  <a:lnTo>
                    <a:pt x="52008" y="28949"/>
                  </a:lnTo>
                  <a:lnTo>
                    <a:pt x="50098" y="26031"/>
                  </a:lnTo>
                  <a:lnTo>
                    <a:pt x="47710" y="22395"/>
                  </a:lnTo>
                  <a:lnTo>
                    <a:pt x="45056" y="18283"/>
                  </a:lnTo>
                  <a:lnTo>
                    <a:pt x="43677" y="16160"/>
                  </a:lnTo>
                  <a:lnTo>
                    <a:pt x="42350" y="13984"/>
                  </a:lnTo>
                  <a:lnTo>
                    <a:pt x="41050" y="11861"/>
                  </a:lnTo>
                  <a:lnTo>
                    <a:pt x="39829" y="9765"/>
                  </a:lnTo>
                  <a:lnTo>
                    <a:pt x="38688" y="7748"/>
                  </a:lnTo>
                  <a:lnTo>
                    <a:pt x="38157" y="6767"/>
                  </a:lnTo>
                  <a:lnTo>
                    <a:pt x="37680" y="5838"/>
                  </a:lnTo>
                  <a:lnTo>
                    <a:pt x="37229" y="4962"/>
                  </a:lnTo>
                  <a:lnTo>
                    <a:pt x="36831" y="4087"/>
                  </a:lnTo>
                  <a:lnTo>
                    <a:pt x="36486" y="3291"/>
                  </a:lnTo>
                  <a:lnTo>
                    <a:pt x="36167" y="2521"/>
                  </a:lnTo>
                  <a:lnTo>
                    <a:pt x="31948" y="186"/>
                  </a:lnTo>
                  <a:lnTo>
                    <a:pt x="31232" y="160"/>
                  </a:lnTo>
                  <a:lnTo>
                    <a:pt x="29348" y="80"/>
                  </a:lnTo>
                  <a:lnTo>
                    <a:pt x="26642" y="27"/>
                  </a:lnTo>
                  <a:lnTo>
                    <a:pt x="25103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" name="Google Shape;1184;p57">
              <a:extLst>
                <a:ext uri="{FF2B5EF4-FFF2-40B4-BE49-F238E27FC236}">
                  <a16:creationId xmlns:a16="http://schemas.microsoft.com/office/drawing/2014/main" id="{C71554BD-2A2D-0C6D-2606-E99586AA284B}"/>
                </a:ext>
              </a:extLst>
            </p:cNvPr>
            <p:cNvSpPr/>
            <p:nvPr/>
          </p:nvSpPr>
          <p:spPr>
            <a:xfrm>
              <a:off x="7721208" y="4630144"/>
              <a:ext cx="575630" cy="515103"/>
            </a:xfrm>
            <a:custGeom>
              <a:avLst/>
              <a:gdLst/>
              <a:ahLst/>
              <a:cxnLst/>
              <a:rect l="l" t="t" r="r" b="b"/>
              <a:pathLst>
                <a:path w="68142" h="60977" fill="none" extrusionOk="0">
                  <a:moveTo>
                    <a:pt x="36167" y="2521"/>
                  </a:moveTo>
                  <a:lnTo>
                    <a:pt x="36167" y="2521"/>
                  </a:lnTo>
                  <a:lnTo>
                    <a:pt x="36486" y="3291"/>
                  </a:lnTo>
                  <a:lnTo>
                    <a:pt x="36831" y="4087"/>
                  </a:lnTo>
                  <a:lnTo>
                    <a:pt x="37229" y="4962"/>
                  </a:lnTo>
                  <a:lnTo>
                    <a:pt x="37680" y="5838"/>
                  </a:lnTo>
                  <a:lnTo>
                    <a:pt x="38157" y="6767"/>
                  </a:lnTo>
                  <a:lnTo>
                    <a:pt x="38688" y="7748"/>
                  </a:lnTo>
                  <a:lnTo>
                    <a:pt x="39829" y="9765"/>
                  </a:lnTo>
                  <a:lnTo>
                    <a:pt x="41050" y="11861"/>
                  </a:lnTo>
                  <a:lnTo>
                    <a:pt x="42350" y="13984"/>
                  </a:lnTo>
                  <a:lnTo>
                    <a:pt x="43677" y="16160"/>
                  </a:lnTo>
                  <a:lnTo>
                    <a:pt x="45056" y="18283"/>
                  </a:lnTo>
                  <a:lnTo>
                    <a:pt x="47710" y="22395"/>
                  </a:lnTo>
                  <a:lnTo>
                    <a:pt x="50098" y="26031"/>
                  </a:lnTo>
                  <a:lnTo>
                    <a:pt x="52008" y="28949"/>
                  </a:lnTo>
                  <a:lnTo>
                    <a:pt x="52698" y="30064"/>
                  </a:lnTo>
                  <a:lnTo>
                    <a:pt x="53203" y="30886"/>
                  </a:lnTo>
                  <a:lnTo>
                    <a:pt x="53203" y="30886"/>
                  </a:lnTo>
                  <a:lnTo>
                    <a:pt x="61349" y="45003"/>
                  </a:lnTo>
                  <a:lnTo>
                    <a:pt x="65966" y="53069"/>
                  </a:lnTo>
                  <a:lnTo>
                    <a:pt x="67505" y="55749"/>
                  </a:lnTo>
                  <a:lnTo>
                    <a:pt x="67929" y="56545"/>
                  </a:lnTo>
                  <a:lnTo>
                    <a:pt x="68115" y="56917"/>
                  </a:lnTo>
                  <a:lnTo>
                    <a:pt x="68115" y="56917"/>
                  </a:lnTo>
                  <a:lnTo>
                    <a:pt x="68141" y="56996"/>
                  </a:lnTo>
                  <a:lnTo>
                    <a:pt x="68115" y="57076"/>
                  </a:lnTo>
                  <a:lnTo>
                    <a:pt x="68062" y="57182"/>
                  </a:lnTo>
                  <a:lnTo>
                    <a:pt x="67982" y="57315"/>
                  </a:lnTo>
                  <a:lnTo>
                    <a:pt x="67717" y="57607"/>
                  </a:lnTo>
                  <a:lnTo>
                    <a:pt x="67372" y="57925"/>
                  </a:lnTo>
                  <a:lnTo>
                    <a:pt x="66947" y="58296"/>
                  </a:lnTo>
                  <a:lnTo>
                    <a:pt x="66470" y="58668"/>
                  </a:lnTo>
                  <a:lnTo>
                    <a:pt x="65939" y="59066"/>
                  </a:lnTo>
                  <a:lnTo>
                    <a:pt x="65382" y="59464"/>
                  </a:lnTo>
                  <a:lnTo>
                    <a:pt x="64798" y="59809"/>
                  </a:lnTo>
                  <a:lnTo>
                    <a:pt x="64214" y="60154"/>
                  </a:lnTo>
                  <a:lnTo>
                    <a:pt x="63631" y="60446"/>
                  </a:lnTo>
                  <a:lnTo>
                    <a:pt x="63100" y="60685"/>
                  </a:lnTo>
                  <a:lnTo>
                    <a:pt x="62596" y="60844"/>
                  </a:lnTo>
                  <a:lnTo>
                    <a:pt x="62357" y="60923"/>
                  </a:lnTo>
                  <a:lnTo>
                    <a:pt x="62145" y="60950"/>
                  </a:lnTo>
                  <a:lnTo>
                    <a:pt x="61959" y="60976"/>
                  </a:lnTo>
                  <a:lnTo>
                    <a:pt x="61773" y="60950"/>
                  </a:lnTo>
                  <a:lnTo>
                    <a:pt x="61641" y="60923"/>
                  </a:lnTo>
                  <a:lnTo>
                    <a:pt x="61508" y="60844"/>
                  </a:lnTo>
                  <a:lnTo>
                    <a:pt x="61508" y="60844"/>
                  </a:lnTo>
                  <a:lnTo>
                    <a:pt x="61375" y="60738"/>
                  </a:lnTo>
                  <a:lnTo>
                    <a:pt x="61189" y="60499"/>
                  </a:lnTo>
                  <a:lnTo>
                    <a:pt x="60977" y="60180"/>
                  </a:lnTo>
                  <a:lnTo>
                    <a:pt x="60712" y="59782"/>
                  </a:lnTo>
                  <a:lnTo>
                    <a:pt x="60102" y="58721"/>
                  </a:lnTo>
                  <a:lnTo>
                    <a:pt x="59332" y="57421"/>
                  </a:lnTo>
                  <a:lnTo>
                    <a:pt x="57554" y="54131"/>
                  </a:lnTo>
                  <a:lnTo>
                    <a:pt x="55458" y="50283"/>
                  </a:lnTo>
                  <a:lnTo>
                    <a:pt x="54370" y="48293"/>
                  </a:lnTo>
                  <a:lnTo>
                    <a:pt x="53229" y="46303"/>
                  </a:lnTo>
                  <a:lnTo>
                    <a:pt x="52088" y="44339"/>
                  </a:lnTo>
                  <a:lnTo>
                    <a:pt x="50974" y="42482"/>
                  </a:lnTo>
                  <a:lnTo>
                    <a:pt x="49912" y="40784"/>
                  </a:lnTo>
                  <a:lnTo>
                    <a:pt x="49382" y="39988"/>
                  </a:lnTo>
                  <a:lnTo>
                    <a:pt x="48877" y="39245"/>
                  </a:lnTo>
                  <a:lnTo>
                    <a:pt x="48373" y="38581"/>
                  </a:lnTo>
                  <a:lnTo>
                    <a:pt x="47896" y="37971"/>
                  </a:lnTo>
                  <a:lnTo>
                    <a:pt x="47445" y="37414"/>
                  </a:lnTo>
                  <a:lnTo>
                    <a:pt x="47020" y="36963"/>
                  </a:lnTo>
                  <a:lnTo>
                    <a:pt x="47020" y="36963"/>
                  </a:lnTo>
                  <a:lnTo>
                    <a:pt x="44897" y="34814"/>
                  </a:lnTo>
                  <a:lnTo>
                    <a:pt x="42032" y="31948"/>
                  </a:lnTo>
                  <a:lnTo>
                    <a:pt x="35371" y="25367"/>
                  </a:lnTo>
                  <a:lnTo>
                    <a:pt x="27040" y="17168"/>
                  </a:lnTo>
                  <a:lnTo>
                    <a:pt x="27040" y="17168"/>
                  </a:lnTo>
                  <a:lnTo>
                    <a:pt x="27491" y="20724"/>
                  </a:lnTo>
                  <a:lnTo>
                    <a:pt x="27995" y="24518"/>
                  </a:lnTo>
                  <a:lnTo>
                    <a:pt x="28525" y="28366"/>
                  </a:lnTo>
                  <a:lnTo>
                    <a:pt x="29003" y="32134"/>
                  </a:lnTo>
                  <a:lnTo>
                    <a:pt x="29189" y="33911"/>
                  </a:lnTo>
                  <a:lnTo>
                    <a:pt x="29348" y="35583"/>
                  </a:lnTo>
                  <a:lnTo>
                    <a:pt x="29481" y="37175"/>
                  </a:lnTo>
                  <a:lnTo>
                    <a:pt x="29560" y="38608"/>
                  </a:lnTo>
                  <a:lnTo>
                    <a:pt x="29560" y="39882"/>
                  </a:lnTo>
                  <a:lnTo>
                    <a:pt x="29560" y="40465"/>
                  </a:lnTo>
                  <a:lnTo>
                    <a:pt x="29507" y="40969"/>
                  </a:lnTo>
                  <a:lnTo>
                    <a:pt x="29454" y="41447"/>
                  </a:lnTo>
                  <a:lnTo>
                    <a:pt x="29401" y="41872"/>
                  </a:lnTo>
                  <a:lnTo>
                    <a:pt x="29322" y="42243"/>
                  </a:lnTo>
                  <a:lnTo>
                    <a:pt x="29189" y="42562"/>
                  </a:lnTo>
                  <a:lnTo>
                    <a:pt x="29189" y="42562"/>
                  </a:lnTo>
                  <a:lnTo>
                    <a:pt x="29083" y="42853"/>
                  </a:lnTo>
                  <a:lnTo>
                    <a:pt x="28923" y="43145"/>
                  </a:lnTo>
                  <a:lnTo>
                    <a:pt x="28711" y="43437"/>
                  </a:lnTo>
                  <a:lnTo>
                    <a:pt x="28499" y="43729"/>
                  </a:lnTo>
                  <a:lnTo>
                    <a:pt x="28260" y="43994"/>
                  </a:lnTo>
                  <a:lnTo>
                    <a:pt x="27968" y="44260"/>
                  </a:lnTo>
                  <a:lnTo>
                    <a:pt x="27676" y="44525"/>
                  </a:lnTo>
                  <a:lnTo>
                    <a:pt x="27331" y="44764"/>
                  </a:lnTo>
                  <a:lnTo>
                    <a:pt x="26986" y="45003"/>
                  </a:lnTo>
                  <a:lnTo>
                    <a:pt x="26615" y="45242"/>
                  </a:lnTo>
                  <a:lnTo>
                    <a:pt x="26217" y="45480"/>
                  </a:lnTo>
                  <a:lnTo>
                    <a:pt x="25792" y="45693"/>
                  </a:lnTo>
                  <a:lnTo>
                    <a:pt x="24890" y="46117"/>
                  </a:lnTo>
                  <a:lnTo>
                    <a:pt x="23908" y="46515"/>
                  </a:lnTo>
                  <a:lnTo>
                    <a:pt x="22874" y="46860"/>
                  </a:lnTo>
                  <a:lnTo>
                    <a:pt x="21786" y="47205"/>
                  </a:lnTo>
                  <a:lnTo>
                    <a:pt x="20645" y="47523"/>
                  </a:lnTo>
                  <a:lnTo>
                    <a:pt x="19477" y="47815"/>
                  </a:lnTo>
                  <a:lnTo>
                    <a:pt x="18257" y="48081"/>
                  </a:lnTo>
                  <a:lnTo>
                    <a:pt x="17036" y="48320"/>
                  </a:lnTo>
                  <a:lnTo>
                    <a:pt x="15815" y="48558"/>
                  </a:lnTo>
                  <a:lnTo>
                    <a:pt x="14568" y="48771"/>
                  </a:lnTo>
                  <a:lnTo>
                    <a:pt x="13348" y="48956"/>
                  </a:lnTo>
                  <a:lnTo>
                    <a:pt x="12127" y="49116"/>
                  </a:lnTo>
                  <a:lnTo>
                    <a:pt x="9792" y="49407"/>
                  </a:lnTo>
                  <a:lnTo>
                    <a:pt x="7616" y="49620"/>
                  </a:lnTo>
                  <a:lnTo>
                    <a:pt x="5679" y="49779"/>
                  </a:lnTo>
                  <a:lnTo>
                    <a:pt x="4061" y="49912"/>
                  </a:lnTo>
                  <a:lnTo>
                    <a:pt x="2814" y="49991"/>
                  </a:lnTo>
                  <a:lnTo>
                    <a:pt x="1726" y="50044"/>
                  </a:lnTo>
                  <a:lnTo>
                    <a:pt x="1726" y="50044"/>
                  </a:lnTo>
                  <a:lnTo>
                    <a:pt x="1566" y="49885"/>
                  </a:lnTo>
                  <a:lnTo>
                    <a:pt x="1407" y="49726"/>
                  </a:lnTo>
                  <a:lnTo>
                    <a:pt x="1248" y="49540"/>
                  </a:lnTo>
                  <a:lnTo>
                    <a:pt x="1115" y="49328"/>
                  </a:lnTo>
                  <a:lnTo>
                    <a:pt x="983" y="49089"/>
                  </a:lnTo>
                  <a:lnTo>
                    <a:pt x="850" y="48850"/>
                  </a:lnTo>
                  <a:lnTo>
                    <a:pt x="638" y="48320"/>
                  </a:lnTo>
                  <a:lnTo>
                    <a:pt x="452" y="47736"/>
                  </a:lnTo>
                  <a:lnTo>
                    <a:pt x="319" y="47125"/>
                  </a:lnTo>
                  <a:lnTo>
                    <a:pt x="187" y="46489"/>
                  </a:lnTo>
                  <a:lnTo>
                    <a:pt x="107" y="45878"/>
                  </a:lnTo>
                  <a:lnTo>
                    <a:pt x="54" y="45268"/>
                  </a:lnTo>
                  <a:lnTo>
                    <a:pt x="1" y="44711"/>
                  </a:lnTo>
                  <a:lnTo>
                    <a:pt x="1" y="44207"/>
                  </a:lnTo>
                  <a:lnTo>
                    <a:pt x="1" y="43756"/>
                  </a:lnTo>
                  <a:lnTo>
                    <a:pt x="27" y="43411"/>
                  </a:lnTo>
                  <a:lnTo>
                    <a:pt x="80" y="43172"/>
                  </a:lnTo>
                  <a:lnTo>
                    <a:pt x="107" y="43092"/>
                  </a:lnTo>
                  <a:lnTo>
                    <a:pt x="134" y="43039"/>
                  </a:lnTo>
                  <a:lnTo>
                    <a:pt x="160" y="43039"/>
                  </a:lnTo>
                  <a:lnTo>
                    <a:pt x="213" y="43039"/>
                  </a:lnTo>
                  <a:lnTo>
                    <a:pt x="213" y="43039"/>
                  </a:lnTo>
                  <a:lnTo>
                    <a:pt x="2469" y="42800"/>
                  </a:lnTo>
                  <a:lnTo>
                    <a:pt x="5361" y="42482"/>
                  </a:lnTo>
                  <a:lnTo>
                    <a:pt x="8625" y="42057"/>
                  </a:lnTo>
                  <a:lnTo>
                    <a:pt x="10323" y="41845"/>
                  </a:lnTo>
                  <a:lnTo>
                    <a:pt x="11968" y="41580"/>
                  </a:lnTo>
                  <a:lnTo>
                    <a:pt x="13587" y="41314"/>
                  </a:lnTo>
                  <a:lnTo>
                    <a:pt x="15126" y="41049"/>
                  </a:lnTo>
                  <a:lnTo>
                    <a:pt x="16505" y="40731"/>
                  </a:lnTo>
                  <a:lnTo>
                    <a:pt x="17752" y="40439"/>
                  </a:lnTo>
                  <a:lnTo>
                    <a:pt x="18310" y="40253"/>
                  </a:lnTo>
                  <a:lnTo>
                    <a:pt x="18814" y="40094"/>
                  </a:lnTo>
                  <a:lnTo>
                    <a:pt x="19238" y="39935"/>
                  </a:lnTo>
                  <a:lnTo>
                    <a:pt x="19636" y="39749"/>
                  </a:lnTo>
                  <a:lnTo>
                    <a:pt x="19928" y="39563"/>
                  </a:lnTo>
                  <a:lnTo>
                    <a:pt x="20194" y="39377"/>
                  </a:lnTo>
                  <a:lnTo>
                    <a:pt x="20353" y="39192"/>
                  </a:lnTo>
                  <a:lnTo>
                    <a:pt x="20406" y="39112"/>
                  </a:lnTo>
                  <a:lnTo>
                    <a:pt x="20432" y="39006"/>
                  </a:lnTo>
                  <a:lnTo>
                    <a:pt x="20432" y="39006"/>
                  </a:lnTo>
                  <a:lnTo>
                    <a:pt x="20486" y="38794"/>
                  </a:lnTo>
                  <a:lnTo>
                    <a:pt x="20512" y="38555"/>
                  </a:lnTo>
                  <a:lnTo>
                    <a:pt x="20512" y="37945"/>
                  </a:lnTo>
                  <a:lnTo>
                    <a:pt x="20486" y="37255"/>
                  </a:lnTo>
                  <a:lnTo>
                    <a:pt x="20406" y="36459"/>
                  </a:lnTo>
                  <a:lnTo>
                    <a:pt x="20273" y="35583"/>
                  </a:lnTo>
                  <a:lnTo>
                    <a:pt x="20114" y="34601"/>
                  </a:lnTo>
                  <a:lnTo>
                    <a:pt x="19902" y="33540"/>
                  </a:lnTo>
                  <a:lnTo>
                    <a:pt x="19663" y="32425"/>
                  </a:lnTo>
                  <a:lnTo>
                    <a:pt x="19132" y="29984"/>
                  </a:lnTo>
                  <a:lnTo>
                    <a:pt x="18495" y="27304"/>
                  </a:lnTo>
                  <a:lnTo>
                    <a:pt x="17142" y="21599"/>
                  </a:lnTo>
                  <a:lnTo>
                    <a:pt x="16452" y="18654"/>
                  </a:lnTo>
                  <a:lnTo>
                    <a:pt x="15815" y="15709"/>
                  </a:lnTo>
                  <a:lnTo>
                    <a:pt x="15524" y="14276"/>
                  </a:lnTo>
                  <a:lnTo>
                    <a:pt x="15258" y="12843"/>
                  </a:lnTo>
                  <a:lnTo>
                    <a:pt x="15019" y="11463"/>
                  </a:lnTo>
                  <a:lnTo>
                    <a:pt x="14807" y="10110"/>
                  </a:lnTo>
                  <a:lnTo>
                    <a:pt x="14621" y="8783"/>
                  </a:lnTo>
                  <a:lnTo>
                    <a:pt x="14489" y="7536"/>
                  </a:lnTo>
                  <a:lnTo>
                    <a:pt x="14383" y="6342"/>
                  </a:lnTo>
                  <a:lnTo>
                    <a:pt x="14330" y="5228"/>
                  </a:lnTo>
                  <a:lnTo>
                    <a:pt x="14330" y="4166"/>
                  </a:lnTo>
                  <a:lnTo>
                    <a:pt x="14383" y="3184"/>
                  </a:lnTo>
                  <a:lnTo>
                    <a:pt x="14436" y="2733"/>
                  </a:lnTo>
                  <a:lnTo>
                    <a:pt x="14489" y="2282"/>
                  </a:lnTo>
                  <a:lnTo>
                    <a:pt x="14568" y="1884"/>
                  </a:lnTo>
                  <a:lnTo>
                    <a:pt x="14674" y="1486"/>
                  </a:lnTo>
                  <a:lnTo>
                    <a:pt x="14674" y="1486"/>
                  </a:lnTo>
                  <a:lnTo>
                    <a:pt x="14701" y="1380"/>
                  </a:lnTo>
                  <a:lnTo>
                    <a:pt x="14781" y="1301"/>
                  </a:lnTo>
                  <a:lnTo>
                    <a:pt x="14860" y="1194"/>
                  </a:lnTo>
                  <a:lnTo>
                    <a:pt x="14966" y="1115"/>
                  </a:lnTo>
                  <a:lnTo>
                    <a:pt x="15232" y="956"/>
                  </a:lnTo>
                  <a:lnTo>
                    <a:pt x="15577" y="796"/>
                  </a:lnTo>
                  <a:lnTo>
                    <a:pt x="16001" y="664"/>
                  </a:lnTo>
                  <a:lnTo>
                    <a:pt x="16479" y="558"/>
                  </a:lnTo>
                  <a:lnTo>
                    <a:pt x="17036" y="451"/>
                  </a:lnTo>
                  <a:lnTo>
                    <a:pt x="17620" y="345"/>
                  </a:lnTo>
                  <a:lnTo>
                    <a:pt x="18257" y="266"/>
                  </a:lnTo>
                  <a:lnTo>
                    <a:pt x="18947" y="213"/>
                  </a:lnTo>
                  <a:lnTo>
                    <a:pt x="20406" y="106"/>
                  </a:lnTo>
                  <a:lnTo>
                    <a:pt x="21945" y="27"/>
                  </a:lnTo>
                  <a:lnTo>
                    <a:pt x="23537" y="0"/>
                  </a:lnTo>
                  <a:lnTo>
                    <a:pt x="25103" y="0"/>
                  </a:lnTo>
                  <a:lnTo>
                    <a:pt x="26642" y="27"/>
                  </a:lnTo>
                  <a:lnTo>
                    <a:pt x="29348" y="80"/>
                  </a:lnTo>
                  <a:lnTo>
                    <a:pt x="31232" y="160"/>
                  </a:lnTo>
                  <a:lnTo>
                    <a:pt x="31948" y="186"/>
                  </a:lnTo>
                  <a:lnTo>
                    <a:pt x="36167" y="252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" name="Google Shape;1185;p57">
              <a:extLst>
                <a:ext uri="{FF2B5EF4-FFF2-40B4-BE49-F238E27FC236}">
                  <a16:creationId xmlns:a16="http://schemas.microsoft.com/office/drawing/2014/main" id="{94AF4B0D-063D-6E18-077F-BCB1B64FD710}"/>
                </a:ext>
              </a:extLst>
            </p:cNvPr>
            <p:cNvSpPr/>
            <p:nvPr/>
          </p:nvSpPr>
          <p:spPr>
            <a:xfrm>
              <a:off x="7949620" y="4775390"/>
              <a:ext cx="7408" cy="56269"/>
            </a:xfrm>
            <a:custGeom>
              <a:avLst/>
              <a:gdLst/>
              <a:ahLst/>
              <a:cxnLst/>
              <a:rect l="l" t="t" r="r" b="b"/>
              <a:pathLst>
                <a:path w="877" h="6661" extrusionOk="0">
                  <a:moveTo>
                    <a:pt x="1" y="1"/>
                  </a:moveTo>
                  <a:lnTo>
                    <a:pt x="399" y="3211"/>
                  </a:lnTo>
                  <a:lnTo>
                    <a:pt x="876" y="6661"/>
                  </a:lnTo>
                  <a:lnTo>
                    <a:pt x="319" y="230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74748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" name="Google Shape;1186;p57">
              <a:extLst>
                <a:ext uri="{FF2B5EF4-FFF2-40B4-BE49-F238E27FC236}">
                  <a16:creationId xmlns:a16="http://schemas.microsoft.com/office/drawing/2014/main" id="{3B431A19-F88C-D1E0-11BB-1E9766663318}"/>
                </a:ext>
              </a:extLst>
            </p:cNvPr>
            <p:cNvSpPr/>
            <p:nvPr/>
          </p:nvSpPr>
          <p:spPr>
            <a:xfrm>
              <a:off x="7949620" y="4775390"/>
              <a:ext cx="7408" cy="56269"/>
            </a:xfrm>
            <a:custGeom>
              <a:avLst/>
              <a:gdLst/>
              <a:ahLst/>
              <a:cxnLst/>
              <a:rect l="l" t="t" r="r" b="b"/>
              <a:pathLst>
                <a:path w="877" h="666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399" y="3211"/>
                  </a:lnTo>
                  <a:lnTo>
                    <a:pt x="876" y="6661"/>
                  </a:lnTo>
                  <a:lnTo>
                    <a:pt x="876" y="6661"/>
                  </a:lnTo>
                  <a:lnTo>
                    <a:pt x="319" y="2309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" name="Google Shape;1187;p57">
              <a:extLst>
                <a:ext uri="{FF2B5EF4-FFF2-40B4-BE49-F238E27FC236}">
                  <a16:creationId xmlns:a16="http://schemas.microsoft.com/office/drawing/2014/main" id="{AA58F352-78DD-238B-0301-8D16FE0A4AB0}"/>
                </a:ext>
              </a:extLst>
            </p:cNvPr>
            <p:cNvSpPr/>
            <p:nvPr/>
          </p:nvSpPr>
          <p:spPr>
            <a:xfrm>
              <a:off x="7921828" y="4743560"/>
              <a:ext cx="36764" cy="101547"/>
            </a:xfrm>
            <a:custGeom>
              <a:avLst/>
              <a:gdLst/>
              <a:ahLst/>
              <a:cxnLst/>
              <a:rect l="l" t="t" r="r" b="b"/>
              <a:pathLst>
                <a:path w="4352" h="12021" extrusionOk="0">
                  <a:moveTo>
                    <a:pt x="0" y="1"/>
                  </a:moveTo>
                  <a:lnTo>
                    <a:pt x="4352" y="12021"/>
                  </a:lnTo>
                  <a:lnTo>
                    <a:pt x="4166" y="10429"/>
                  </a:lnTo>
                  <a:lnTo>
                    <a:pt x="3689" y="6979"/>
                  </a:lnTo>
                  <a:lnTo>
                    <a:pt x="3291" y="3769"/>
                  </a:lnTo>
                  <a:lnTo>
                    <a:pt x="3291" y="3742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3C3C3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" name="Google Shape;1188;p57">
              <a:extLst>
                <a:ext uri="{FF2B5EF4-FFF2-40B4-BE49-F238E27FC236}">
                  <a16:creationId xmlns:a16="http://schemas.microsoft.com/office/drawing/2014/main" id="{04C5A041-6CA7-A75C-FFE7-85A56029C2B5}"/>
                </a:ext>
              </a:extLst>
            </p:cNvPr>
            <p:cNvSpPr/>
            <p:nvPr/>
          </p:nvSpPr>
          <p:spPr>
            <a:xfrm>
              <a:off x="7879464" y="4290782"/>
              <a:ext cx="87204" cy="128664"/>
            </a:xfrm>
            <a:custGeom>
              <a:avLst/>
              <a:gdLst/>
              <a:ahLst/>
              <a:cxnLst/>
              <a:rect l="l" t="t" r="r" b="b"/>
              <a:pathLst>
                <a:path w="10323" h="15231" extrusionOk="0">
                  <a:moveTo>
                    <a:pt x="4325" y="0"/>
                  </a:moveTo>
                  <a:lnTo>
                    <a:pt x="3901" y="53"/>
                  </a:lnTo>
                  <a:lnTo>
                    <a:pt x="3423" y="106"/>
                  </a:lnTo>
                  <a:lnTo>
                    <a:pt x="2946" y="239"/>
                  </a:lnTo>
                  <a:lnTo>
                    <a:pt x="2468" y="372"/>
                  </a:lnTo>
                  <a:lnTo>
                    <a:pt x="1990" y="557"/>
                  </a:lnTo>
                  <a:lnTo>
                    <a:pt x="1566" y="796"/>
                  </a:lnTo>
                  <a:lnTo>
                    <a:pt x="1141" y="1062"/>
                  </a:lnTo>
                  <a:lnTo>
                    <a:pt x="955" y="1194"/>
                  </a:lnTo>
                  <a:lnTo>
                    <a:pt x="770" y="1354"/>
                  </a:lnTo>
                  <a:lnTo>
                    <a:pt x="611" y="1539"/>
                  </a:lnTo>
                  <a:lnTo>
                    <a:pt x="451" y="1725"/>
                  </a:lnTo>
                  <a:lnTo>
                    <a:pt x="319" y="1911"/>
                  </a:lnTo>
                  <a:lnTo>
                    <a:pt x="213" y="2096"/>
                  </a:lnTo>
                  <a:lnTo>
                    <a:pt x="106" y="2309"/>
                  </a:lnTo>
                  <a:lnTo>
                    <a:pt x="27" y="2548"/>
                  </a:lnTo>
                  <a:lnTo>
                    <a:pt x="0" y="2786"/>
                  </a:lnTo>
                  <a:lnTo>
                    <a:pt x="0" y="3052"/>
                  </a:lnTo>
                  <a:lnTo>
                    <a:pt x="27" y="3344"/>
                  </a:lnTo>
                  <a:lnTo>
                    <a:pt x="80" y="3662"/>
                  </a:lnTo>
                  <a:lnTo>
                    <a:pt x="186" y="4007"/>
                  </a:lnTo>
                  <a:lnTo>
                    <a:pt x="292" y="4352"/>
                  </a:lnTo>
                  <a:lnTo>
                    <a:pt x="451" y="4723"/>
                  </a:lnTo>
                  <a:lnTo>
                    <a:pt x="611" y="5121"/>
                  </a:lnTo>
                  <a:lnTo>
                    <a:pt x="1035" y="5944"/>
                  </a:lnTo>
                  <a:lnTo>
                    <a:pt x="1513" y="6820"/>
                  </a:lnTo>
                  <a:lnTo>
                    <a:pt x="2043" y="7722"/>
                  </a:lnTo>
                  <a:lnTo>
                    <a:pt x="2601" y="8650"/>
                  </a:lnTo>
                  <a:lnTo>
                    <a:pt x="3742" y="10508"/>
                  </a:lnTo>
                  <a:lnTo>
                    <a:pt x="4299" y="11410"/>
                  </a:lnTo>
                  <a:lnTo>
                    <a:pt x="4803" y="12286"/>
                  </a:lnTo>
                  <a:lnTo>
                    <a:pt x="5228" y="13135"/>
                  </a:lnTo>
                  <a:lnTo>
                    <a:pt x="5599" y="13904"/>
                  </a:lnTo>
                  <a:lnTo>
                    <a:pt x="5732" y="14276"/>
                  </a:lnTo>
                  <a:lnTo>
                    <a:pt x="5864" y="14621"/>
                  </a:lnTo>
                  <a:lnTo>
                    <a:pt x="5944" y="14939"/>
                  </a:lnTo>
                  <a:lnTo>
                    <a:pt x="6024" y="15231"/>
                  </a:lnTo>
                  <a:lnTo>
                    <a:pt x="10243" y="13639"/>
                  </a:lnTo>
                  <a:lnTo>
                    <a:pt x="9314" y="10296"/>
                  </a:lnTo>
                  <a:lnTo>
                    <a:pt x="7987" y="8226"/>
                  </a:lnTo>
                  <a:lnTo>
                    <a:pt x="7987" y="8226"/>
                  </a:lnTo>
                  <a:lnTo>
                    <a:pt x="8571" y="8279"/>
                  </a:lnTo>
                  <a:lnTo>
                    <a:pt x="9048" y="8279"/>
                  </a:lnTo>
                  <a:lnTo>
                    <a:pt x="9447" y="8226"/>
                  </a:lnTo>
                  <a:lnTo>
                    <a:pt x="9765" y="8146"/>
                  </a:lnTo>
                  <a:lnTo>
                    <a:pt x="9898" y="8093"/>
                  </a:lnTo>
                  <a:lnTo>
                    <a:pt x="10004" y="8014"/>
                  </a:lnTo>
                  <a:lnTo>
                    <a:pt x="10110" y="7934"/>
                  </a:lnTo>
                  <a:lnTo>
                    <a:pt x="10189" y="7854"/>
                  </a:lnTo>
                  <a:lnTo>
                    <a:pt x="10243" y="7775"/>
                  </a:lnTo>
                  <a:lnTo>
                    <a:pt x="10296" y="7669"/>
                  </a:lnTo>
                  <a:lnTo>
                    <a:pt x="10322" y="7430"/>
                  </a:lnTo>
                  <a:lnTo>
                    <a:pt x="10322" y="7191"/>
                  </a:lnTo>
                  <a:lnTo>
                    <a:pt x="10269" y="6899"/>
                  </a:lnTo>
                  <a:lnTo>
                    <a:pt x="10163" y="6607"/>
                  </a:lnTo>
                  <a:lnTo>
                    <a:pt x="10030" y="6289"/>
                  </a:lnTo>
                  <a:lnTo>
                    <a:pt x="9845" y="5944"/>
                  </a:lnTo>
                  <a:lnTo>
                    <a:pt x="9632" y="5572"/>
                  </a:lnTo>
                  <a:lnTo>
                    <a:pt x="9181" y="4830"/>
                  </a:lnTo>
                  <a:lnTo>
                    <a:pt x="8704" y="4113"/>
                  </a:lnTo>
                  <a:lnTo>
                    <a:pt x="8597" y="3954"/>
                  </a:lnTo>
                  <a:lnTo>
                    <a:pt x="8597" y="3874"/>
                  </a:lnTo>
                  <a:lnTo>
                    <a:pt x="8624" y="3821"/>
                  </a:lnTo>
                  <a:lnTo>
                    <a:pt x="8704" y="3795"/>
                  </a:lnTo>
                  <a:lnTo>
                    <a:pt x="8810" y="3689"/>
                  </a:lnTo>
                  <a:lnTo>
                    <a:pt x="8942" y="3529"/>
                  </a:lnTo>
                  <a:lnTo>
                    <a:pt x="8836" y="3397"/>
                  </a:lnTo>
                  <a:lnTo>
                    <a:pt x="8650" y="3237"/>
                  </a:lnTo>
                  <a:lnTo>
                    <a:pt x="8067" y="2760"/>
                  </a:lnTo>
                  <a:lnTo>
                    <a:pt x="7669" y="2362"/>
                  </a:lnTo>
                  <a:lnTo>
                    <a:pt x="7138" y="1858"/>
                  </a:lnTo>
                  <a:lnTo>
                    <a:pt x="6528" y="1168"/>
                  </a:lnTo>
                  <a:lnTo>
                    <a:pt x="5811" y="319"/>
                  </a:lnTo>
                  <a:lnTo>
                    <a:pt x="5732" y="239"/>
                  </a:lnTo>
                  <a:lnTo>
                    <a:pt x="5652" y="186"/>
                  </a:lnTo>
                  <a:lnTo>
                    <a:pt x="5413" y="80"/>
                  </a:lnTo>
                  <a:lnTo>
                    <a:pt x="5095" y="27"/>
                  </a:lnTo>
                  <a:lnTo>
                    <a:pt x="4750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" name="Google Shape;1189;p57">
              <a:extLst>
                <a:ext uri="{FF2B5EF4-FFF2-40B4-BE49-F238E27FC236}">
                  <a16:creationId xmlns:a16="http://schemas.microsoft.com/office/drawing/2014/main" id="{83E3C677-FB04-56A6-29FD-C019C4D883E5}"/>
                </a:ext>
              </a:extLst>
            </p:cNvPr>
            <p:cNvSpPr/>
            <p:nvPr/>
          </p:nvSpPr>
          <p:spPr>
            <a:xfrm>
              <a:off x="7879464" y="4290782"/>
              <a:ext cx="87204" cy="128664"/>
            </a:xfrm>
            <a:custGeom>
              <a:avLst/>
              <a:gdLst/>
              <a:ahLst/>
              <a:cxnLst/>
              <a:rect l="l" t="t" r="r" b="b"/>
              <a:pathLst>
                <a:path w="10323" h="15231" fill="none" extrusionOk="0">
                  <a:moveTo>
                    <a:pt x="5811" y="319"/>
                  </a:moveTo>
                  <a:lnTo>
                    <a:pt x="5811" y="319"/>
                  </a:lnTo>
                  <a:lnTo>
                    <a:pt x="6528" y="1168"/>
                  </a:lnTo>
                  <a:lnTo>
                    <a:pt x="7138" y="1858"/>
                  </a:lnTo>
                  <a:lnTo>
                    <a:pt x="7669" y="2362"/>
                  </a:lnTo>
                  <a:lnTo>
                    <a:pt x="8067" y="2760"/>
                  </a:lnTo>
                  <a:lnTo>
                    <a:pt x="8650" y="3237"/>
                  </a:lnTo>
                  <a:lnTo>
                    <a:pt x="8836" y="3397"/>
                  </a:lnTo>
                  <a:lnTo>
                    <a:pt x="8942" y="3529"/>
                  </a:lnTo>
                  <a:lnTo>
                    <a:pt x="8942" y="3529"/>
                  </a:lnTo>
                  <a:lnTo>
                    <a:pt x="8810" y="3689"/>
                  </a:lnTo>
                  <a:lnTo>
                    <a:pt x="8704" y="3795"/>
                  </a:lnTo>
                  <a:lnTo>
                    <a:pt x="8624" y="3821"/>
                  </a:lnTo>
                  <a:lnTo>
                    <a:pt x="8597" y="3874"/>
                  </a:lnTo>
                  <a:lnTo>
                    <a:pt x="8597" y="3954"/>
                  </a:lnTo>
                  <a:lnTo>
                    <a:pt x="8704" y="4113"/>
                  </a:lnTo>
                  <a:lnTo>
                    <a:pt x="9181" y="4830"/>
                  </a:lnTo>
                  <a:lnTo>
                    <a:pt x="9181" y="4830"/>
                  </a:lnTo>
                  <a:lnTo>
                    <a:pt x="9632" y="5572"/>
                  </a:lnTo>
                  <a:lnTo>
                    <a:pt x="9845" y="5944"/>
                  </a:lnTo>
                  <a:lnTo>
                    <a:pt x="10030" y="6289"/>
                  </a:lnTo>
                  <a:lnTo>
                    <a:pt x="10163" y="6607"/>
                  </a:lnTo>
                  <a:lnTo>
                    <a:pt x="10269" y="6899"/>
                  </a:lnTo>
                  <a:lnTo>
                    <a:pt x="10322" y="7191"/>
                  </a:lnTo>
                  <a:lnTo>
                    <a:pt x="10322" y="7430"/>
                  </a:lnTo>
                  <a:lnTo>
                    <a:pt x="10296" y="7669"/>
                  </a:lnTo>
                  <a:lnTo>
                    <a:pt x="10243" y="7775"/>
                  </a:lnTo>
                  <a:lnTo>
                    <a:pt x="10189" y="7854"/>
                  </a:lnTo>
                  <a:lnTo>
                    <a:pt x="10110" y="7934"/>
                  </a:lnTo>
                  <a:lnTo>
                    <a:pt x="10004" y="8014"/>
                  </a:lnTo>
                  <a:lnTo>
                    <a:pt x="9898" y="8093"/>
                  </a:lnTo>
                  <a:lnTo>
                    <a:pt x="9765" y="8146"/>
                  </a:lnTo>
                  <a:lnTo>
                    <a:pt x="9447" y="8226"/>
                  </a:lnTo>
                  <a:lnTo>
                    <a:pt x="9048" y="8279"/>
                  </a:lnTo>
                  <a:lnTo>
                    <a:pt x="8571" y="8279"/>
                  </a:lnTo>
                  <a:lnTo>
                    <a:pt x="7987" y="8226"/>
                  </a:lnTo>
                  <a:lnTo>
                    <a:pt x="7987" y="8226"/>
                  </a:lnTo>
                  <a:lnTo>
                    <a:pt x="9314" y="10296"/>
                  </a:lnTo>
                  <a:lnTo>
                    <a:pt x="10243" y="13639"/>
                  </a:lnTo>
                  <a:lnTo>
                    <a:pt x="6024" y="15231"/>
                  </a:lnTo>
                  <a:lnTo>
                    <a:pt x="6024" y="15231"/>
                  </a:lnTo>
                  <a:lnTo>
                    <a:pt x="5944" y="14939"/>
                  </a:lnTo>
                  <a:lnTo>
                    <a:pt x="5864" y="14621"/>
                  </a:lnTo>
                  <a:lnTo>
                    <a:pt x="5732" y="14276"/>
                  </a:lnTo>
                  <a:lnTo>
                    <a:pt x="5599" y="13904"/>
                  </a:lnTo>
                  <a:lnTo>
                    <a:pt x="5228" y="13135"/>
                  </a:lnTo>
                  <a:lnTo>
                    <a:pt x="4803" y="12286"/>
                  </a:lnTo>
                  <a:lnTo>
                    <a:pt x="4299" y="11410"/>
                  </a:lnTo>
                  <a:lnTo>
                    <a:pt x="3742" y="10508"/>
                  </a:lnTo>
                  <a:lnTo>
                    <a:pt x="2601" y="8650"/>
                  </a:lnTo>
                  <a:lnTo>
                    <a:pt x="2043" y="7722"/>
                  </a:lnTo>
                  <a:lnTo>
                    <a:pt x="1513" y="6820"/>
                  </a:lnTo>
                  <a:lnTo>
                    <a:pt x="1035" y="5944"/>
                  </a:lnTo>
                  <a:lnTo>
                    <a:pt x="611" y="5121"/>
                  </a:lnTo>
                  <a:lnTo>
                    <a:pt x="451" y="4723"/>
                  </a:lnTo>
                  <a:lnTo>
                    <a:pt x="292" y="4352"/>
                  </a:lnTo>
                  <a:lnTo>
                    <a:pt x="186" y="4007"/>
                  </a:lnTo>
                  <a:lnTo>
                    <a:pt x="80" y="3662"/>
                  </a:lnTo>
                  <a:lnTo>
                    <a:pt x="27" y="3344"/>
                  </a:lnTo>
                  <a:lnTo>
                    <a:pt x="0" y="3052"/>
                  </a:lnTo>
                  <a:lnTo>
                    <a:pt x="0" y="2786"/>
                  </a:lnTo>
                  <a:lnTo>
                    <a:pt x="27" y="2548"/>
                  </a:lnTo>
                  <a:lnTo>
                    <a:pt x="27" y="2548"/>
                  </a:lnTo>
                  <a:lnTo>
                    <a:pt x="106" y="2309"/>
                  </a:lnTo>
                  <a:lnTo>
                    <a:pt x="213" y="2096"/>
                  </a:lnTo>
                  <a:lnTo>
                    <a:pt x="319" y="1911"/>
                  </a:lnTo>
                  <a:lnTo>
                    <a:pt x="451" y="1725"/>
                  </a:lnTo>
                  <a:lnTo>
                    <a:pt x="611" y="1539"/>
                  </a:lnTo>
                  <a:lnTo>
                    <a:pt x="770" y="1354"/>
                  </a:lnTo>
                  <a:lnTo>
                    <a:pt x="955" y="1194"/>
                  </a:lnTo>
                  <a:lnTo>
                    <a:pt x="1141" y="1062"/>
                  </a:lnTo>
                  <a:lnTo>
                    <a:pt x="1566" y="796"/>
                  </a:lnTo>
                  <a:lnTo>
                    <a:pt x="1990" y="557"/>
                  </a:lnTo>
                  <a:lnTo>
                    <a:pt x="2468" y="372"/>
                  </a:lnTo>
                  <a:lnTo>
                    <a:pt x="2946" y="239"/>
                  </a:lnTo>
                  <a:lnTo>
                    <a:pt x="3423" y="106"/>
                  </a:lnTo>
                  <a:lnTo>
                    <a:pt x="3901" y="53"/>
                  </a:lnTo>
                  <a:lnTo>
                    <a:pt x="4325" y="0"/>
                  </a:lnTo>
                  <a:lnTo>
                    <a:pt x="4750" y="0"/>
                  </a:lnTo>
                  <a:lnTo>
                    <a:pt x="5095" y="27"/>
                  </a:lnTo>
                  <a:lnTo>
                    <a:pt x="5413" y="80"/>
                  </a:lnTo>
                  <a:lnTo>
                    <a:pt x="5652" y="186"/>
                  </a:lnTo>
                  <a:lnTo>
                    <a:pt x="5732" y="239"/>
                  </a:lnTo>
                  <a:lnTo>
                    <a:pt x="5811" y="31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" name="Google Shape;1190;p57">
              <a:extLst>
                <a:ext uri="{FF2B5EF4-FFF2-40B4-BE49-F238E27FC236}">
                  <a16:creationId xmlns:a16="http://schemas.microsoft.com/office/drawing/2014/main" id="{59DAE002-C2EC-AF4F-1C12-B18C2DA935BC}"/>
                </a:ext>
              </a:extLst>
            </p:cNvPr>
            <p:cNvSpPr/>
            <p:nvPr/>
          </p:nvSpPr>
          <p:spPr>
            <a:xfrm>
              <a:off x="7866463" y="4267915"/>
              <a:ext cx="67926" cy="110738"/>
            </a:xfrm>
            <a:custGeom>
              <a:avLst/>
              <a:gdLst/>
              <a:ahLst/>
              <a:cxnLst/>
              <a:rect l="l" t="t" r="r" b="b"/>
              <a:pathLst>
                <a:path w="8041" h="13109" extrusionOk="0">
                  <a:moveTo>
                    <a:pt x="5387" y="1"/>
                  </a:moveTo>
                  <a:lnTo>
                    <a:pt x="5201" y="27"/>
                  </a:lnTo>
                  <a:lnTo>
                    <a:pt x="5015" y="80"/>
                  </a:lnTo>
                  <a:lnTo>
                    <a:pt x="4856" y="160"/>
                  </a:lnTo>
                  <a:lnTo>
                    <a:pt x="4723" y="240"/>
                  </a:lnTo>
                  <a:lnTo>
                    <a:pt x="4591" y="372"/>
                  </a:lnTo>
                  <a:lnTo>
                    <a:pt x="4485" y="505"/>
                  </a:lnTo>
                  <a:lnTo>
                    <a:pt x="4378" y="691"/>
                  </a:lnTo>
                  <a:lnTo>
                    <a:pt x="4272" y="1036"/>
                  </a:lnTo>
                  <a:lnTo>
                    <a:pt x="4193" y="1354"/>
                  </a:lnTo>
                  <a:lnTo>
                    <a:pt x="4140" y="1619"/>
                  </a:lnTo>
                  <a:lnTo>
                    <a:pt x="4087" y="1805"/>
                  </a:lnTo>
                  <a:lnTo>
                    <a:pt x="4033" y="1885"/>
                  </a:lnTo>
                  <a:lnTo>
                    <a:pt x="3954" y="1938"/>
                  </a:lnTo>
                  <a:lnTo>
                    <a:pt x="3874" y="1991"/>
                  </a:lnTo>
                  <a:lnTo>
                    <a:pt x="3423" y="1991"/>
                  </a:lnTo>
                  <a:lnTo>
                    <a:pt x="2919" y="1885"/>
                  </a:lnTo>
                  <a:lnTo>
                    <a:pt x="2627" y="1832"/>
                  </a:lnTo>
                  <a:lnTo>
                    <a:pt x="2362" y="1779"/>
                  </a:lnTo>
                  <a:lnTo>
                    <a:pt x="2096" y="1779"/>
                  </a:lnTo>
                  <a:lnTo>
                    <a:pt x="1831" y="1805"/>
                  </a:lnTo>
                  <a:lnTo>
                    <a:pt x="1592" y="1832"/>
                  </a:lnTo>
                  <a:lnTo>
                    <a:pt x="1380" y="1911"/>
                  </a:lnTo>
                  <a:lnTo>
                    <a:pt x="1194" y="1991"/>
                  </a:lnTo>
                  <a:lnTo>
                    <a:pt x="1009" y="2097"/>
                  </a:lnTo>
                  <a:lnTo>
                    <a:pt x="876" y="2256"/>
                  </a:lnTo>
                  <a:lnTo>
                    <a:pt x="743" y="2415"/>
                  </a:lnTo>
                  <a:lnTo>
                    <a:pt x="637" y="2601"/>
                  </a:lnTo>
                  <a:lnTo>
                    <a:pt x="584" y="2813"/>
                  </a:lnTo>
                  <a:lnTo>
                    <a:pt x="531" y="3026"/>
                  </a:lnTo>
                  <a:lnTo>
                    <a:pt x="531" y="3291"/>
                  </a:lnTo>
                  <a:lnTo>
                    <a:pt x="557" y="3556"/>
                  </a:lnTo>
                  <a:lnTo>
                    <a:pt x="611" y="3875"/>
                  </a:lnTo>
                  <a:lnTo>
                    <a:pt x="690" y="4193"/>
                  </a:lnTo>
                  <a:lnTo>
                    <a:pt x="717" y="4459"/>
                  </a:lnTo>
                  <a:lnTo>
                    <a:pt x="717" y="4671"/>
                  </a:lnTo>
                  <a:lnTo>
                    <a:pt x="690" y="4857"/>
                  </a:lnTo>
                  <a:lnTo>
                    <a:pt x="637" y="4989"/>
                  </a:lnTo>
                  <a:lnTo>
                    <a:pt x="557" y="5095"/>
                  </a:lnTo>
                  <a:lnTo>
                    <a:pt x="398" y="5255"/>
                  </a:lnTo>
                  <a:lnTo>
                    <a:pt x="213" y="5440"/>
                  </a:lnTo>
                  <a:lnTo>
                    <a:pt x="133" y="5546"/>
                  </a:lnTo>
                  <a:lnTo>
                    <a:pt x="80" y="5679"/>
                  </a:lnTo>
                  <a:lnTo>
                    <a:pt x="27" y="5865"/>
                  </a:lnTo>
                  <a:lnTo>
                    <a:pt x="0" y="6077"/>
                  </a:lnTo>
                  <a:lnTo>
                    <a:pt x="0" y="6342"/>
                  </a:lnTo>
                  <a:lnTo>
                    <a:pt x="53" y="6661"/>
                  </a:lnTo>
                  <a:lnTo>
                    <a:pt x="159" y="7245"/>
                  </a:lnTo>
                  <a:lnTo>
                    <a:pt x="292" y="7749"/>
                  </a:lnTo>
                  <a:lnTo>
                    <a:pt x="451" y="8173"/>
                  </a:lnTo>
                  <a:lnTo>
                    <a:pt x="637" y="8492"/>
                  </a:lnTo>
                  <a:lnTo>
                    <a:pt x="849" y="8784"/>
                  </a:lnTo>
                  <a:lnTo>
                    <a:pt x="1035" y="8996"/>
                  </a:lnTo>
                  <a:lnTo>
                    <a:pt x="1247" y="9155"/>
                  </a:lnTo>
                  <a:lnTo>
                    <a:pt x="1486" y="9314"/>
                  </a:lnTo>
                  <a:lnTo>
                    <a:pt x="1937" y="9553"/>
                  </a:lnTo>
                  <a:lnTo>
                    <a:pt x="2150" y="9659"/>
                  </a:lnTo>
                  <a:lnTo>
                    <a:pt x="2362" y="9792"/>
                  </a:lnTo>
                  <a:lnTo>
                    <a:pt x="2574" y="9951"/>
                  </a:lnTo>
                  <a:lnTo>
                    <a:pt x="2760" y="10137"/>
                  </a:lnTo>
                  <a:lnTo>
                    <a:pt x="2919" y="10349"/>
                  </a:lnTo>
                  <a:lnTo>
                    <a:pt x="3078" y="10641"/>
                  </a:lnTo>
                  <a:lnTo>
                    <a:pt x="3237" y="10959"/>
                  </a:lnTo>
                  <a:lnTo>
                    <a:pt x="3423" y="11251"/>
                  </a:lnTo>
                  <a:lnTo>
                    <a:pt x="3582" y="11543"/>
                  </a:lnTo>
                  <a:lnTo>
                    <a:pt x="3795" y="11809"/>
                  </a:lnTo>
                  <a:lnTo>
                    <a:pt x="4007" y="12047"/>
                  </a:lnTo>
                  <a:lnTo>
                    <a:pt x="4219" y="12286"/>
                  </a:lnTo>
                  <a:lnTo>
                    <a:pt x="4431" y="12498"/>
                  </a:lnTo>
                  <a:lnTo>
                    <a:pt x="4670" y="12684"/>
                  </a:lnTo>
                  <a:lnTo>
                    <a:pt x="4909" y="12817"/>
                  </a:lnTo>
                  <a:lnTo>
                    <a:pt x="5148" y="12950"/>
                  </a:lnTo>
                  <a:lnTo>
                    <a:pt x="5387" y="13029"/>
                  </a:lnTo>
                  <a:lnTo>
                    <a:pt x="5626" y="13082"/>
                  </a:lnTo>
                  <a:lnTo>
                    <a:pt x="5838" y="13109"/>
                  </a:lnTo>
                  <a:lnTo>
                    <a:pt x="6077" y="13082"/>
                  </a:lnTo>
                  <a:lnTo>
                    <a:pt x="6289" y="13003"/>
                  </a:lnTo>
                  <a:lnTo>
                    <a:pt x="6501" y="12870"/>
                  </a:lnTo>
                  <a:lnTo>
                    <a:pt x="6713" y="12711"/>
                  </a:lnTo>
                  <a:lnTo>
                    <a:pt x="6873" y="12525"/>
                  </a:lnTo>
                  <a:lnTo>
                    <a:pt x="7005" y="12313"/>
                  </a:lnTo>
                  <a:lnTo>
                    <a:pt x="7111" y="12074"/>
                  </a:lnTo>
                  <a:lnTo>
                    <a:pt x="7191" y="11835"/>
                  </a:lnTo>
                  <a:lnTo>
                    <a:pt x="7244" y="11570"/>
                  </a:lnTo>
                  <a:lnTo>
                    <a:pt x="7271" y="11278"/>
                  </a:lnTo>
                  <a:lnTo>
                    <a:pt x="7271" y="11013"/>
                  </a:lnTo>
                  <a:lnTo>
                    <a:pt x="7271" y="10721"/>
                  </a:lnTo>
                  <a:lnTo>
                    <a:pt x="7244" y="10455"/>
                  </a:lnTo>
                  <a:lnTo>
                    <a:pt x="7191" y="10190"/>
                  </a:lnTo>
                  <a:lnTo>
                    <a:pt x="7138" y="9925"/>
                  </a:lnTo>
                  <a:lnTo>
                    <a:pt x="7058" y="9686"/>
                  </a:lnTo>
                  <a:lnTo>
                    <a:pt x="6979" y="9447"/>
                  </a:lnTo>
                  <a:lnTo>
                    <a:pt x="6899" y="9261"/>
                  </a:lnTo>
                  <a:lnTo>
                    <a:pt x="6793" y="9102"/>
                  </a:lnTo>
                  <a:lnTo>
                    <a:pt x="6554" y="9049"/>
                  </a:lnTo>
                  <a:lnTo>
                    <a:pt x="6315" y="8943"/>
                  </a:lnTo>
                  <a:lnTo>
                    <a:pt x="6130" y="8810"/>
                  </a:lnTo>
                  <a:lnTo>
                    <a:pt x="5970" y="8677"/>
                  </a:lnTo>
                  <a:lnTo>
                    <a:pt x="5838" y="8492"/>
                  </a:lnTo>
                  <a:lnTo>
                    <a:pt x="5758" y="8306"/>
                  </a:lnTo>
                  <a:lnTo>
                    <a:pt x="5679" y="8120"/>
                  </a:lnTo>
                  <a:lnTo>
                    <a:pt x="5652" y="7935"/>
                  </a:lnTo>
                  <a:lnTo>
                    <a:pt x="5679" y="7749"/>
                  </a:lnTo>
                  <a:lnTo>
                    <a:pt x="5705" y="7590"/>
                  </a:lnTo>
                  <a:lnTo>
                    <a:pt x="5785" y="7430"/>
                  </a:lnTo>
                  <a:lnTo>
                    <a:pt x="5917" y="7324"/>
                  </a:lnTo>
                  <a:lnTo>
                    <a:pt x="6077" y="7245"/>
                  </a:lnTo>
                  <a:lnTo>
                    <a:pt x="6262" y="7192"/>
                  </a:lnTo>
                  <a:lnTo>
                    <a:pt x="6501" y="7192"/>
                  </a:lnTo>
                  <a:lnTo>
                    <a:pt x="6793" y="7271"/>
                  </a:lnTo>
                  <a:lnTo>
                    <a:pt x="7058" y="7059"/>
                  </a:lnTo>
                  <a:lnTo>
                    <a:pt x="7271" y="6873"/>
                  </a:lnTo>
                  <a:lnTo>
                    <a:pt x="7377" y="6740"/>
                  </a:lnTo>
                  <a:lnTo>
                    <a:pt x="7430" y="6661"/>
                  </a:lnTo>
                  <a:lnTo>
                    <a:pt x="7430" y="6581"/>
                  </a:lnTo>
                  <a:lnTo>
                    <a:pt x="7403" y="6449"/>
                  </a:lnTo>
                  <a:lnTo>
                    <a:pt x="7324" y="6263"/>
                  </a:lnTo>
                  <a:lnTo>
                    <a:pt x="7005" y="5759"/>
                  </a:lnTo>
                  <a:lnTo>
                    <a:pt x="6899" y="5626"/>
                  </a:lnTo>
                  <a:lnTo>
                    <a:pt x="6846" y="5493"/>
                  </a:lnTo>
                  <a:lnTo>
                    <a:pt x="6820" y="5387"/>
                  </a:lnTo>
                  <a:lnTo>
                    <a:pt x="6820" y="5255"/>
                  </a:lnTo>
                  <a:lnTo>
                    <a:pt x="6820" y="5175"/>
                  </a:lnTo>
                  <a:lnTo>
                    <a:pt x="6873" y="5069"/>
                  </a:lnTo>
                  <a:lnTo>
                    <a:pt x="6979" y="4883"/>
                  </a:lnTo>
                  <a:lnTo>
                    <a:pt x="7297" y="4459"/>
                  </a:lnTo>
                  <a:lnTo>
                    <a:pt x="7456" y="4193"/>
                  </a:lnTo>
                  <a:lnTo>
                    <a:pt x="7536" y="4034"/>
                  </a:lnTo>
                  <a:lnTo>
                    <a:pt x="7616" y="3875"/>
                  </a:lnTo>
                  <a:lnTo>
                    <a:pt x="7854" y="3158"/>
                  </a:lnTo>
                  <a:lnTo>
                    <a:pt x="7961" y="2813"/>
                  </a:lnTo>
                  <a:lnTo>
                    <a:pt x="8014" y="2495"/>
                  </a:lnTo>
                  <a:lnTo>
                    <a:pt x="8040" y="2362"/>
                  </a:lnTo>
                  <a:lnTo>
                    <a:pt x="8014" y="2203"/>
                  </a:lnTo>
                  <a:lnTo>
                    <a:pt x="7961" y="2070"/>
                  </a:lnTo>
                  <a:lnTo>
                    <a:pt x="7908" y="1938"/>
                  </a:lnTo>
                  <a:lnTo>
                    <a:pt x="7801" y="1805"/>
                  </a:lnTo>
                  <a:lnTo>
                    <a:pt x="7669" y="1672"/>
                  </a:lnTo>
                  <a:lnTo>
                    <a:pt x="7509" y="1566"/>
                  </a:lnTo>
                  <a:lnTo>
                    <a:pt x="7324" y="1460"/>
                  </a:lnTo>
                  <a:lnTo>
                    <a:pt x="7297" y="1327"/>
                  </a:lnTo>
                  <a:lnTo>
                    <a:pt x="7297" y="1168"/>
                  </a:lnTo>
                  <a:lnTo>
                    <a:pt x="7271" y="1009"/>
                  </a:lnTo>
                  <a:lnTo>
                    <a:pt x="7218" y="823"/>
                  </a:lnTo>
                  <a:lnTo>
                    <a:pt x="7111" y="638"/>
                  </a:lnTo>
                  <a:lnTo>
                    <a:pt x="6979" y="452"/>
                  </a:lnTo>
                  <a:lnTo>
                    <a:pt x="6899" y="372"/>
                  </a:lnTo>
                  <a:lnTo>
                    <a:pt x="6820" y="319"/>
                  </a:lnTo>
                  <a:lnTo>
                    <a:pt x="6581" y="186"/>
                  </a:lnTo>
                  <a:lnTo>
                    <a:pt x="6262" y="80"/>
                  </a:lnTo>
                  <a:lnTo>
                    <a:pt x="5917" y="27"/>
                  </a:lnTo>
                  <a:lnTo>
                    <a:pt x="5546" y="1"/>
                  </a:lnTo>
                  <a:close/>
                </a:path>
              </a:pathLst>
            </a:custGeom>
            <a:solidFill>
              <a:srgbClr val="6D352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" name="Google Shape;1191;p57">
              <a:extLst>
                <a:ext uri="{FF2B5EF4-FFF2-40B4-BE49-F238E27FC236}">
                  <a16:creationId xmlns:a16="http://schemas.microsoft.com/office/drawing/2014/main" id="{E646C251-E204-8D5B-4049-EDC05FBDCE91}"/>
                </a:ext>
              </a:extLst>
            </p:cNvPr>
            <p:cNvSpPr/>
            <p:nvPr/>
          </p:nvSpPr>
          <p:spPr>
            <a:xfrm>
              <a:off x="7932810" y="4358700"/>
              <a:ext cx="26458" cy="25114"/>
            </a:xfrm>
            <a:custGeom>
              <a:avLst/>
              <a:gdLst/>
              <a:ahLst/>
              <a:cxnLst/>
              <a:rect l="l" t="t" r="r" b="b"/>
              <a:pathLst>
                <a:path w="3132" h="2973" extrusionOk="0">
                  <a:moveTo>
                    <a:pt x="637" y="0"/>
                  </a:moveTo>
                  <a:lnTo>
                    <a:pt x="531" y="27"/>
                  </a:lnTo>
                  <a:lnTo>
                    <a:pt x="425" y="53"/>
                  </a:lnTo>
                  <a:lnTo>
                    <a:pt x="345" y="106"/>
                  </a:lnTo>
                  <a:lnTo>
                    <a:pt x="292" y="186"/>
                  </a:lnTo>
                  <a:lnTo>
                    <a:pt x="239" y="239"/>
                  </a:lnTo>
                  <a:lnTo>
                    <a:pt x="186" y="372"/>
                  </a:lnTo>
                  <a:lnTo>
                    <a:pt x="80" y="796"/>
                  </a:lnTo>
                  <a:lnTo>
                    <a:pt x="27" y="1141"/>
                  </a:lnTo>
                  <a:lnTo>
                    <a:pt x="0" y="1460"/>
                  </a:lnTo>
                  <a:lnTo>
                    <a:pt x="54" y="1698"/>
                  </a:lnTo>
                  <a:lnTo>
                    <a:pt x="107" y="1911"/>
                  </a:lnTo>
                  <a:lnTo>
                    <a:pt x="213" y="2096"/>
                  </a:lnTo>
                  <a:lnTo>
                    <a:pt x="319" y="2229"/>
                  </a:lnTo>
                  <a:lnTo>
                    <a:pt x="478" y="2362"/>
                  </a:lnTo>
                  <a:lnTo>
                    <a:pt x="637" y="2441"/>
                  </a:lnTo>
                  <a:lnTo>
                    <a:pt x="850" y="2521"/>
                  </a:lnTo>
                  <a:lnTo>
                    <a:pt x="1248" y="2654"/>
                  </a:lnTo>
                  <a:lnTo>
                    <a:pt x="1699" y="2760"/>
                  </a:lnTo>
                  <a:lnTo>
                    <a:pt x="2176" y="2919"/>
                  </a:lnTo>
                  <a:lnTo>
                    <a:pt x="3132" y="2972"/>
                  </a:lnTo>
                  <a:lnTo>
                    <a:pt x="3105" y="2813"/>
                  </a:lnTo>
                  <a:lnTo>
                    <a:pt x="3052" y="2601"/>
                  </a:lnTo>
                  <a:lnTo>
                    <a:pt x="2893" y="2229"/>
                  </a:lnTo>
                  <a:lnTo>
                    <a:pt x="2680" y="1831"/>
                  </a:lnTo>
                  <a:lnTo>
                    <a:pt x="1672" y="186"/>
                  </a:lnTo>
                  <a:lnTo>
                    <a:pt x="1407" y="106"/>
                  </a:lnTo>
                  <a:lnTo>
                    <a:pt x="1168" y="27"/>
                  </a:lnTo>
                  <a:lnTo>
                    <a:pt x="956" y="0"/>
                  </a:lnTo>
                  <a:close/>
                </a:path>
              </a:pathLst>
            </a:custGeom>
            <a:solidFill>
              <a:srgbClr val="CE97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" name="Google Shape;1192;p57">
              <a:extLst>
                <a:ext uri="{FF2B5EF4-FFF2-40B4-BE49-F238E27FC236}">
                  <a16:creationId xmlns:a16="http://schemas.microsoft.com/office/drawing/2014/main" id="{53A15203-3427-C08C-C914-DB56D1968D72}"/>
                </a:ext>
              </a:extLst>
            </p:cNvPr>
            <p:cNvSpPr/>
            <p:nvPr/>
          </p:nvSpPr>
          <p:spPr>
            <a:xfrm>
              <a:off x="7932810" y="4358700"/>
              <a:ext cx="26458" cy="25114"/>
            </a:xfrm>
            <a:custGeom>
              <a:avLst/>
              <a:gdLst/>
              <a:ahLst/>
              <a:cxnLst/>
              <a:rect l="l" t="t" r="r" b="b"/>
              <a:pathLst>
                <a:path w="3132" h="2973" fill="none" extrusionOk="0">
                  <a:moveTo>
                    <a:pt x="796" y="0"/>
                  </a:moveTo>
                  <a:lnTo>
                    <a:pt x="796" y="0"/>
                  </a:lnTo>
                  <a:lnTo>
                    <a:pt x="637" y="0"/>
                  </a:lnTo>
                  <a:lnTo>
                    <a:pt x="531" y="27"/>
                  </a:lnTo>
                  <a:lnTo>
                    <a:pt x="425" y="53"/>
                  </a:lnTo>
                  <a:lnTo>
                    <a:pt x="345" y="106"/>
                  </a:lnTo>
                  <a:lnTo>
                    <a:pt x="292" y="186"/>
                  </a:lnTo>
                  <a:lnTo>
                    <a:pt x="239" y="239"/>
                  </a:lnTo>
                  <a:lnTo>
                    <a:pt x="186" y="372"/>
                  </a:lnTo>
                  <a:lnTo>
                    <a:pt x="186" y="372"/>
                  </a:lnTo>
                  <a:lnTo>
                    <a:pt x="80" y="796"/>
                  </a:lnTo>
                  <a:lnTo>
                    <a:pt x="27" y="1141"/>
                  </a:lnTo>
                  <a:lnTo>
                    <a:pt x="0" y="1460"/>
                  </a:lnTo>
                  <a:lnTo>
                    <a:pt x="54" y="1698"/>
                  </a:lnTo>
                  <a:lnTo>
                    <a:pt x="107" y="1911"/>
                  </a:lnTo>
                  <a:lnTo>
                    <a:pt x="213" y="2096"/>
                  </a:lnTo>
                  <a:lnTo>
                    <a:pt x="319" y="2229"/>
                  </a:lnTo>
                  <a:lnTo>
                    <a:pt x="478" y="2362"/>
                  </a:lnTo>
                  <a:lnTo>
                    <a:pt x="637" y="2441"/>
                  </a:lnTo>
                  <a:lnTo>
                    <a:pt x="850" y="2521"/>
                  </a:lnTo>
                  <a:lnTo>
                    <a:pt x="1248" y="2654"/>
                  </a:lnTo>
                  <a:lnTo>
                    <a:pt x="1699" y="2760"/>
                  </a:lnTo>
                  <a:lnTo>
                    <a:pt x="2176" y="2919"/>
                  </a:lnTo>
                  <a:lnTo>
                    <a:pt x="2176" y="2919"/>
                  </a:lnTo>
                  <a:lnTo>
                    <a:pt x="3132" y="2972"/>
                  </a:lnTo>
                  <a:lnTo>
                    <a:pt x="3132" y="2972"/>
                  </a:lnTo>
                  <a:lnTo>
                    <a:pt x="3105" y="2813"/>
                  </a:lnTo>
                  <a:lnTo>
                    <a:pt x="3052" y="2601"/>
                  </a:lnTo>
                  <a:lnTo>
                    <a:pt x="2893" y="2229"/>
                  </a:lnTo>
                  <a:lnTo>
                    <a:pt x="2680" y="1831"/>
                  </a:lnTo>
                  <a:lnTo>
                    <a:pt x="1672" y="186"/>
                  </a:lnTo>
                  <a:lnTo>
                    <a:pt x="1672" y="186"/>
                  </a:lnTo>
                  <a:lnTo>
                    <a:pt x="1672" y="186"/>
                  </a:lnTo>
                  <a:lnTo>
                    <a:pt x="1672" y="186"/>
                  </a:lnTo>
                  <a:lnTo>
                    <a:pt x="1407" y="106"/>
                  </a:lnTo>
                  <a:lnTo>
                    <a:pt x="1168" y="27"/>
                  </a:lnTo>
                  <a:lnTo>
                    <a:pt x="956" y="0"/>
                  </a:lnTo>
                  <a:lnTo>
                    <a:pt x="79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" name="Google Shape;1193;p57">
              <a:extLst>
                <a:ext uri="{FF2B5EF4-FFF2-40B4-BE49-F238E27FC236}">
                  <a16:creationId xmlns:a16="http://schemas.microsoft.com/office/drawing/2014/main" id="{914565E4-7B34-A376-8D68-27BF2D5B5BDC}"/>
                </a:ext>
              </a:extLst>
            </p:cNvPr>
            <p:cNvSpPr/>
            <p:nvPr/>
          </p:nvSpPr>
          <p:spPr>
            <a:xfrm>
              <a:off x="7839338" y="4177138"/>
              <a:ext cx="316511" cy="504341"/>
            </a:xfrm>
            <a:custGeom>
              <a:avLst/>
              <a:gdLst/>
              <a:ahLst/>
              <a:cxnLst/>
              <a:rect l="l" t="t" r="r" b="b"/>
              <a:pathLst>
                <a:path w="37468" h="59703" extrusionOk="0">
                  <a:moveTo>
                    <a:pt x="32877" y="0"/>
                  </a:moveTo>
                  <a:lnTo>
                    <a:pt x="32532" y="27"/>
                  </a:lnTo>
                  <a:lnTo>
                    <a:pt x="32107" y="133"/>
                  </a:lnTo>
                  <a:lnTo>
                    <a:pt x="31656" y="266"/>
                  </a:lnTo>
                  <a:lnTo>
                    <a:pt x="31179" y="425"/>
                  </a:lnTo>
                  <a:lnTo>
                    <a:pt x="30674" y="637"/>
                  </a:lnTo>
                  <a:lnTo>
                    <a:pt x="30197" y="876"/>
                  </a:lnTo>
                  <a:lnTo>
                    <a:pt x="29746" y="1115"/>
                  </a:lnTo>
                  <a:lnTo>
                    <a:pt x="29295" y="1380"/>
                  </a:lnTo>
                  <a:lnTo>
                    <a:pt x="28923" y="1645"/>
                  </a:lnTo>
                  <a:lnTo>
                    <a:pt x="28605" y="1911"/>
                  </a:lnTo>
                  <a:lnTo>
                    <a:pt x="28339" y="2176"/>
                  </a:lnTo>
                  <a:lnTo>
                    <a:pt x="28260" y="2309"/>
                  </a:lnTo>
                  <a:lnTo>
                    <a:pt x="28207" y="2441"/>
                  </a:lnTo>
                  <a:lnTo>
                    <a:pt x="28154" y="2574"/>
                  </a:lnTo>
                  <a:lnTo>
                    <a:pt x="28154" y="2680"/>
                  </a:lnTo>
                  <a:lnTo>
                    <a:pt x="28207" y="3025"/>
                  </a:lnTo>
                  <a:lnTo>
                    <a:pt x="28313" y="3582"/>
                  </a:lnTo>
                  <a:lnTo>
                    <a:pt x="28737" y="5201"/>
                  </a:lnTo>
                  <a:lnTo>
                    <a:pt x="29295" y="7271"/>
                  </a:lnTo>
                  <a:lnTo>
                    <a:pt x="29931" y="9606"/>
                  </a:lnTo>
                  <a:lnTo>
                    <a:pt x="30515" y="11941"/>
                  </a:lnTo>
                  <a:lnTo>
                    <a:pt x="30754" y="13055"/>
                  </a:lnTo>
                  <a:lnTo>
                    <a:pt x="30966" y="14090"/>
                  </a:lnTo>
                  <a:lnTo>
                    <a:pt x="31126" y="15019"/>
                  </a:lnTo>
                  <a:lnTo>
                    <a:pt x="31205" y="15788"/>
                  </a:lnTo>
                  <a:lnTo>
                    <a:pt x="31232" y="16133"/>
                  </a:lnTo>
                  <a:lnTo>
                    <a:pt x="31205" y="16399"/>
                  </a:lnTo>
                  <a:lnTo>
                    <a:pt x="31179" y="16637"/>
                  </a:lnTo>
                  <a:lnTo>
                    <a:pt x="31126" y="16823"/>
                  </a:lnTo>
                  <a:lnTo>
                    <a:pt x="30993" y="17142"/>
                  </a:lnTo>
                  <a:lnTo>
                    <a:pt x="30781" y="17460"/>
                  </a:lnTo>
                  <a:lnTo>
                    <a:pt x="30568" y="17778"/>
                  </a:lnTo>
                  <a:lnTo>
                    <a:pt x="30303" y="18097"/>
                  </a:lnTo>
                  <a:lnTo>
                    <a:pt x="30011" y="18389"/>
                  </a:lnTo>
                  <a:lnTo>
                    <a:pt x="29693" y="18707"/>
                  </a:lnTo>
                  <a:lnTo>
                    <a:pt x="29348" y="18999"/>
                  </a:lnTo>
                  <a:lnTo>
                    <a:pt x="29003" y="19291"/>
                  </a:lnTo>
                  <a:lnTo>
                    <a:pt x="28605" y="19583"/>
                  </a:lnTo>
                  <a:lnTo>
                    <a:pt x="28180" y="19875"/>
                  </a:lnTo>
                  <a:lnTo>
                    <a:pt x="27331" y="20432"/>
                  </a:lnTo>
                  <a:lnTo>
                    <a:pt x="26376" y="20962"/>
                  </a:lnTo>
                  <a:lnTo>
                    <a:pt x="25421" y="21493"/>
                  </a:lnTo>
                  <a:lnTo>
                    <a:pt x="24412" y="21971"/>
                  </a:lnTo>
                  <a:lnTo>
                    <a:pt x="23404" y="22422"/>
                  </a:lnTo>
                  <a:lnTo>
                    <a:pt x="22422" y="22846"/>
                  </a:lnTo>
                  <a:lnTo>
                    <a:pt x="21440" y="23218"/>
                  </a:lnTo>
                  <a:lnTo>
                    <a:pt x="20512" y="23589"/>
                  </a:lnTo>
                  <a:lnTo>
                    <a:pt x="19663" y="23881"/>
                  </a:lnTo>
                  <a:lnTo>
                    <a:pt x="18840" y="24147"/>
                  </a:lnTo>
                  <a:lnTo>
                    <a:pt x="18150" y="24359"/>
                  </a:lnTo>
                  <a:lnTo>
                    <a:pt x="17699" y="24492"/>
                  </a:lnTo>
                  <a:lnTo>
                    <a:pt x="17248" y="24571"/>
                  </a:lnTo>
                  <a:lnTo>
                    <a:pt x="16797" y="24598"/>
                  </a:lnTo>
                  <a:lnTo>
                    <a:pt x="16372" y="24624"/>
                  </a:lnTo>
                  <a:lnTo>
                    <a:pt x="15948" y="24598"/>
                  </a:lnTo>
                  <a:lnTo>
                    <a:pt x="15523" y="24598"/>
                  </a:lnTo>
                  <a:lnTo>
                    <a:pt x="14648" y="24518"/>
                  </a:lnTo>
                  <a:lnTo>
                    <a:pt x="14011" y="24438"/>
                  </a:lnTo>
                  <a:lnTo>
                    <a:pt x="13374" y="24412"/>
                  </a:lnTo>
                  <a:lnTo>
                    <a:pt x="12684" y="24385"/>
                  </a:lnTo>
                  <a:lnTo>
                    <a:pt x="11968" y="24438"/>
                  </a:lnTo>
                  <a:lnTo>
                    <a:pt x="11198" y="24518"/>
                  </a:lnTo>
                  <a:lnTo>
                    <a:pt x="10800" y="24571"/>
                  </a:lnTo>
                  <a:lnTo>
                    <a:pt x="10376" y="24677"/>
                  </a:lnTo>
                  <a:lnTo>
                    <a:pt x="9951" y="24783"/>
                  </a:lnTo>
                  <a:lnTo>
                    <a:pt x="9500" y="24916"/>
                  </a:lnTo>
                  <a:lnTo>
                    <a:pt x="9022" y="25075"/>
                  </a:lnTo>
                  <a:lnTo>
                    <a:pt x="8518" y="25261"/>
                  </a:lnTo>
                  <a:lnTo>
                    <a:pt x="7934" y="25526"/>
                  </a:lnTo>
                  <a:lnTo>
                    <a:pt x="7377" y="25792"/>
                  </a:lnTo>
                  <a:lnTo>
                    <a:pt x="6846" y="26110"/>
                  </a:lnTo>
                  <a:lnTo>
                    <a:pt x="6342" y="26455"/>
                  </a:lnTo>
                  <a:lnTo>
                    <a:pt x="5865" y="26800"/>
                  </a:lnTo>
                  <a:lnTo>
                    <a:pt x="5414" y="27198"/>
                  </a:lnTo>
                  <a:lnTo>
                    <a:pt x="4989" y="27596"/>
                  </a:lnTo>
                  <a:lnTo>
                    <a:pt x="4591" y="28047"/>
                  </a:lnTo>
                  <a:lnTo>
                    <a:pt x="4220" y="28498"/>
                  </a:lnTo>
                  <a:lnTo>
                    <a:pt x="3875" y="28949"/>
                  </a:lnTo>
                  <a:lnTo>
                    <a:pt x="3530" y="29454"/>
                  </a:lnTo>
                  <a:lnTo>
                    <a:pt x="3238" y="29958"/>
                  </a:lnTo>
                  <a:lnTo>
                    <a:pt x="2972" y="30462"/>
                  </a:lnTo>
                  <a:lnTo>
                    <a:pt x="2707" y="31019"/>
                  </a:lnTo>
                  <a:lnTo>
                    <a:pt x="2495" y="31550"/>
                  </a:lnTo>
                  <a:lnTo>
                    <a:pt x="2283" y="32133"/>
                  </a:lnTo>
                  <a:lnTo>
                    <a:pt x="2203" y="32399"/>
                  </a:lnTo>
                  <a:lnTo>
                    <a:pt x="2123" y="32744"/>
                  </a:lnTo>
                  <a:lnTo>
                    <a:pt x="1938" y="33726"/>
                  </a:lnTo>
                  <a:lnTo>
                    <a:pt x="1752" y="34973"/>
                  </a:lnTo>
                  <a:lnTo>
                    <a:pt x="1540" y="36485"/>
                  </a:lnTo>
                  <a:lnTo>
                    <a:pt x="1327" y="38210"/>
                  </a:lnTo>
                  <a:lnTo>
                    <a:pt x="1115" y="40094"/>
                  </a:lnTo>
                  <a:lnTo>
                    <a:pt x="717" y="44100"/>
                  </a:lnTo>
                  <a:lnTo>
                    <a:pt x="531" y="46144"/>
                  </a:lnTo>
                  <a:lnTo>
                    <a:pt x="372" y="48134"/>
                  </a:lnTo>
                  <a:lnTo>
                    <a:pt x="213" y="50071"/>
                  </a:lnTo>
                  <a:lnTo>
                    <a:pt x="107" y="51849"/>
                  </a:lnTo>
                  <a:lnTo>
                    <a:pt x="27" y="53467"/>
                  </a:lnTo>
                  <a:lnTo>
                    <a:pt x="1" y="54847"/>
                  </a:lnTo>
                  <a:lnTo>
                    <a:pt x="1" y="55961"/>
                  </a:lnTo>
                  <a:lnTo>
                    <a:pt x="27" y="56412"/>
                  </a:lnTo>
                  <a:lnTo>
                    <a:pt x="80" y="56757"/>
                  </a:lnTo>
                  <a:lnTo>
                    <a:pt x="107" y="56917"/>
                  </a:lnTo>
                  <a:lnTo>
                    <a:pt x="160" y="57049"/>
                  </a:lnTo>
                  <a:lnTo>
                    <a:pt x="239" y="57209"/>
                  </a:lnTo>
                  <a:lnTo>
                    <a:pt x="319" y="57341"/>
                  </a:lnTo>
                  <a:lnTo>
                    <a:pt x="452" y="57500"/>
                  </a:lnTo>
                  <a:lnTo>
                    <a:pt x="584" y="57633"/>
                  </a:lnTo>
                  <a:lnTo>
                    <a:pt x="903" y="57898"/>
                  </a:lnTo>
                  <a:lnTo>
                    <a:pt x="1301" y="58137"/>
                  </a:lnTo>
                  <a:lnTo>
                    <a:pt x="1778" y="58376"/>
                  </a:lnTo>
                  <a:lnTo>
                    <a:pt x="2309" y="58588"/>
                  </a:lnTo>
                  <a:lnTo>
                    <a:pt x="2893" y="58801"/>
                  </a:lnTo>
                  <a:lnTo>
                    <a:pt x="3530" y="58986"/>
                  </a:lnTo>
                  <a:lnTo>
                    <a:pt x="4220" y="59146"/>
                  </a:lnTo>
                  <a:lnTo>
                    <a:pt x="4963" y="59305"/>
                  </a:lnTo>
                  <a:lnTo>
                    <a:pt x="5732" y="59411"/>
                  </a:lnTo>
                  <a:lnTo>
                    <a:pt x="6528" y="59517"/>
                  </a:lnTo>
                  <a:lnTo>
                    <a:pt x="7377" y="59597"/>
                  </a:lnTo>
                  <a:lnTo>
                    <a:pt x="8226" y="59676"/>
                  </a:lnTo>
                  <a:lnTo>
                    <a:pt x="9102" y="59703"/>
                  </a:lnTo>
                  <a:lnTo>
                    <a:pt x="10906" y="59703"/>
                  </a:lnTo>
                  <a:lnTo>
                    <a:pt x="11835" y="59650"/>
                  </a:lnTo>
                  <a:lnTo>
                    <a:pt x="12737" y="59570"/>
                  </a:lnTo>
                  <a:lnTo>
                    <a:pt x="13666" y="59464"/>
                  </a:lnTo>
                  <a:lnTo>
                    <a:pt x="14568" y="59331"/>
                  </a:lnTo>
                  <a:lnTo>
                    <a:pt x="15444" y="59172"/>
                  </a:lnTo>
                  <a:lnTo>
                    <a:pt x="16319" y="58986"/>
                  </a:lnTo>
                  <a:lnTo>
                    <a:pt x="17195" y="58747"/>
                  </a:lnTo>
                  <a:lnTo>
                    <a:pt x="18017" y="58482"/>
                  </a:lnTo>
                  <a:lnTo>
                    <a:pt x="18814" y="58190"/>
                  </a:lnTo>
                  <a:lnTo>
                    <a:pt x="19583" y="57845"/>
                  </a:lnTo>
                  <a:lnTo>
                    <a:pt x="20299" y="57474"/>
                  </a:lnTo>
                  <a:lnTo>
                    <a:pt x="20989" y="57076"/>
                  </a:lnTo>
                  <a:lnTo>
                    <a:pt x="21600" y="56625"/>
                  </a:lnTo>
                  <a:lnTo>
                    <a:pt x="21892" y="56386"/>
                  </a:lnTo>
                  <a:lnTo>
                    <a:pt x="22183" y="56147"/>
                  </a:lnTo>
                  <a:lnTo>
                    <a:pt x="21732" y="54024"/>
                  </a:lnTo>
                  <a:lnTo>
                    <a:pt x="21732" y="53998"/>
                  </a:lnTo>
                  <a:lnTo>
                    <a:pt x="21494" y="52751"/>
                  </a:lnTo>
                  <a:lnTo>
                    <a:pt x="21308" y="51610"/>
                  </a:lnTo>
                  <a:lnTo>
                    <a:pt x="21308" y="51583"/>
                  </a:lnTo>
                  <a:lnTo>
                    <a:pt x="21095" y="50283"/>
                  </a:lnTo>
                  <a:lnTo>
                    <a:pt x="20963" y="49116"/>
                  </a:lnTo>
                  <a:lnTo>
                    <a:pt x="20857" y="48001"/>
                  </a:lnTo>
                  <a:lnTo>
                    <a:pt x="20804" y="46966"/>
                  </a:lnTo>
                  <a:lnTo>
                    <a:pt x="20751" y="46011"/>
                  </a:lnTo>
                  <a:lnTo>
                    <a:pt x="20751" y="45109"/>
                  </a:lnTo>
                  <a:lnTo>
                    <a:pt x="20751" y="44260"/>
                  </a:lnTo>
                  <a:lnTo>
                    <a:pt x="20777" y="43464"/>
                  </a:lnTo>
                  <a:lnTo>
                    <a:pt x="20883" y="41925"/>
                  </a:lnTo>
                  <a:lnTo>
                    <a:pt x="20989" y="40439"/>
                  </a:lnTo>
                  <a:lnTo>
                    <a:pt x="21069" y="38953"/>
                  </a:lnTo>
                  <a:lnTo>
                    <a:pt x="21095" y="38183"/>
                  </a:lnTo>
                  <a:lnTo>
                    <a:pt x="21122" y="37387"/>
                  </a:lnTo>
                  <a:lnTo>
                    <a:pt x="21175" y="37228"/>
                  </a:lnTo>
                  <a:lnTo>
                    <a:pt x="21255" y="36989"/>
                  </a:lnTo>
                  <a:lnTo>
                    <a:pt x="21494" y="36459"/>
                  </a:lnTo>
                  <a:lnTo>
                    <a:pt x="21865" y="35769"/>
                  </a:lnTo>
                  <a:lnTo>
                    <a:pt x="22316" y="34946"/>
                  </a:lnTo>
                  <a:lnTo>
                    <a:pt x="22608" y="34495"/>
                  </a:lnTo>
                  <a:lnTo>
                    <a:pt x="22926" y="34070"/>
                  </a:lnTo>
                  <a:lnTo>
                    <a:pt x="23271" y="33593"/>
                  </a:lnTo>
                  <a:lnTo>
                    <a:pt x="23669" y="33115"/>
                  </a:lnTo>
                  <a:lnTo>
                    <a:pt x="24094" y="32638"/>
                  </a:lnTo>
                  <a:lnTo>
                    <a:pt x="24572" y="32133"/>
                  </a:lnTo>
                  <a:lnTo>
                    <a:pt x="25580" y="31099"/>
                  </a:lnTo>
                  <a:lnTo>
                    <a:pt x="26694" y="30064"/>
                  </a:lnTo>
                  <a:lnTo>
                    <a:pt x="27862" y="28976"/>
                  </a:lnTo>
                  <a:lnTo>
                    <a:pt x="30276" y="26747"/>
                  </a:lnTo>
                  <a:lnTo>
                    <a:pt x="31497" y="25633"/>
                  </a:lnTo>
                  <a:lnTo>
                    <a:pt x="32665" y="24518"/>
                  </a:lnTo>
                  <a:lnTo>
                    <a:pt x="33752" y="23430"/>
                  </a:lnTo>
                  <a:lnTo>
                    <a:pt x="34283" y="22873"/>
                  </a:lnTo>
                  <a:lnTo>
                    <a:pt x="34761" y="22342"/>
                  </a:lnTo>
                  <a:lnTo>
                    <a:pt x="35212" y="21812"/>
                  </a:lnTo>
                  <a:lnTo>
                    <a:pt x="35636" y="21281"/>
                  </a:lnTo>
                  <a:lnTo>
                    <a:pt x="36034" y="20777"/>
                  </a:lnTo>
                  <a:lnTo>
                    <a:pt x="36379" y="20273"/>
                  </a:lnTo>
                  <a:lnTo>
                    <a:pt x="36698" y="19768"/>
                  </a:lnTo>
                  <a:lnTo>
                    <a:pt x="36963" y="19264"/>
                  </a:lnTo>
                  <a:lnTo>
                    <a:pt x="37175" y="18787"/>
                  </a:lnTo>
                  <a:lnTo>
                    <a:pt x="37335" y="18336"/>
                  </a:lnTo>
                  <a:lnTo>
                    <a:pt x="37388" y="17991"/>
                  </a:lnTo>
                  <a:lnTo>
                    <a:pt x="37441" y="17593"/>
                  </a:lnTo>
                  <a:lnTo>
                    <a:pt x="37467" y="17142"/>
                  </a:lnTo>
                  <a:lnTo>
                    <a:pt x="37467" y="16664"/>
                  </a:lnTo>
                  <a:lnTo>
                    <a:pt x="37441" y="16133"/>
                  </a:lnTo>
                  <a:lnTo>
                    <a:pt x="37388" y="15576"/>
                  </a:lnTo>
                  <a:lnTo>
                    <a:pt x="37228" y="14355"/>
                  </a:lnTo>
                  <a:lnTo>
                    <a:pt x="36990" y="13029"/>
                  </a:lnTo>
                  <a:lnTo>
                    <a:pt x="36698" y="11622"/>
                  </a:lnTo>
                  <a:lnTo>
                    <a:pt x="36379" y="10190"/>
                  </a:lnTo>
                  <a:lnTo>
                    <a:pt x="36008" y="8730"/>
                  </a:lnTo>
                  <a:lnTo>
                    <a:pt x="35636" y="7297"/>
                  </a:lnTo>
                  <a:lnTo>
                    <a:pt x="35238" y="5891"/>
                  </a:lnTo>
                  <a:lnTo>
                    <a:pt x="34495" y="3370"/>
                  </a:lnTo>
                  <a:lnTo>
                    <a:pt x="33885" y="1407"/>
                  </a:lnTo>
                  <a:lnTo>
                    <a:pt x="33487" y="213"/>
                  </a:lnTo>
                  <a:lnTo>
                    <a:pt x="33461" y="133"/>
                  </a:lnTo>
                  <a:lnTo>
                    <a:pt x="33381" y="80"/>
                  </a:lnTo>
                  <a:lnTo>
                    <a:pt x="33301" y="27"/>
                  </a:lnTo>
                  <a:lnTo>
                    <a:pt x="33169" y="0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" name="Google Shape;1194;p57">
              <a:extLst>
                <a:ext uri="{FF2B5EF4-FFF2-40B4-BE49-F238E27FC236}">
                  <a16:creationId xmlns:a16="http://schemas.microsoft.com/office/drawing/2014/main" id="{E96ACBF2-AF4C-9381-05B9-3935DC07AB34}"/>
                </a:ext>
              </a:extLst>
            </p:cNvPr>
            <p:cNvSpPr/>
            <p:nvPr/>
          </p:nvSpPr>
          <p:spPr>
            <a:xfrm>
              <a:off x="7839338" y="4177138"/>
              <a:ext cx="316511" cy="504341"/>
            </a:xfrm>
            <a:custGeom>
              <a:avLst/>
              <a:gdLst/>
              <a:ahLst/>
              <a:cxnLst/>
              <a:rect l="l" t="t" r="r" b="b"/>
              <a:pathLst>
                <a:path w="37468" h="59703" fill="none" extrusionOk="0">
                  <a:moveTo>
                    <a:pt x="22316" y="34946"/>
                  </a:moveTo>
                  <a:lnTo>
                    <a:pt x="22316" y="34946"/>
                  </a:lnTo>
                  <a:lnTo>
                    <a:pt x="21865" y="35769"/>
                  </a:lnTo>
                  <a:lnTo>
                    <a:pt x="21494" y="36459"/>
                  </a:lnTo>
                  <a:lnTo>
                    <a:pt x="21255" y="36989"/>
                  </a:lnTo>
                  <a:lnTo>
                    <a:pt x="21175" y="37228"/>
                  </a:lnTo>
                  <a:lnTo>
                    <a:pt x="21122" y="37387"/>
                  </a:lnTo>
                  <a:lnTo>
                    <a:pt x="21122" y="37387"/>
                  </a:lnTo>
                  <a:lnTo>
                    <a:pt x="21095" y="38183"/>
                  </a:lnTo>
                  <a:lnTo>
                    <a:pt x="21069" y="38953"/>
                  </a:lnTo>
                  <a:lnTo>
                    <a:pt x="20989" y="40439"/>
                  </a:lnTo>
                  <a:lnTo>
                    <a:pt x="20883" y="41925"/>
                  </a:lnTo>
                  <a:lnTo>
                    <a:pt x="20777" y="43464"/>
                  </a:lnTo>
                  <a:lnTo>
                    <a:pt x="20751" y="44260"/>
                  </a:lnTo>
                  <a:lnTo>
                    <a:pt x="20751" y="45109"/>
                  </a:lnTo>
                  <a:lnTo>
                    <a:pt x="20751" y="46011"/>
                  </a:lnTo>
                  <a:lnTo>
                    <a:pt x="20804" y="46966"/>
                  </a:lnTo>
                  <a:lnTo>
                    <a:pt x="20857" y="48001"/>
                  </a:lnTo>
                  <a:lnTo>
                    <a:pt x="20963" y="49116"/>
                  </a:lnTo>
                  <a:lnTo>
                    <a:pt x="21095" y="50283"/>
                  </a:lnTo>
                  <a:lnTo>
                    <a:pt x="21308" y="51583"/>
                  </a:lnTo>
                  <a:lnTo>
                    <a:pt x="21308" y="51610"/>
                  </a:lnTo>
                  <a:lnTo>
                    <a:pt x="21308" y="51610"/>
                  </a:lnTo>
                  <a:lnTo>
                    <a:pt x="21494" y="52751"/>
                  </a:lnTo>
                  <a:lnTo>
                    <a:pt x="21732" y="53998"/>
                  </a:lnTo>
                  <a:lnTo>
                    <a:pt x="21732" y="54024"/>
                  </a:lnTo>
                  <a:lnTo>
                    <a:pt x="21732" y="54024"/>
                  </a:lnTo>
                  <a:lnTo>
                    <a:pt x="22183" y="56147"/>
                  </a:lnTo>
                  <a:lnTo>
                    <a:pt x="22183" y="56147"/>
                  </a:lnTo>
                  <a:lnTo>
                    <a:pt x="21892" y="56386"/>
                  </a:lnTo>
                  <a:lnTo>
                    <a:pt x="21600" y="56625"/>
                  </a:lnTo>
                  <a:lnTo>
                    <a:pt x="20989" y="57076"/>
                  </a:lnTo>
                  <a:lnTo>
                    <a:pt x="20299" y="57474"/>
                  </a:lnTo>
                  <a:lnTo>
                    <a:pt x="19583" y="57845"/>
                  </a:lnTo>
                  <a:lnTo>
                    <a:pt x="18814" y="58190"/>
                  </a:lnTo>
                  <a:lnTo>
                    <a:pt x="18017" y="58482"/>
                  </a:lnTo>
                  <a:lnTo>
                    <a:pt x="17195" y="58747"/>
                  </a:lnTo>
                  <a:lnTo>
                    <a:pt x="16319" y="58986"/>
                  </a:lnTo>
                  <a:lnTo>
                    <a:pt x="15444" y="59172"/>
                  </a:lnTo>
                  <a:lnTo>
                    <a:pt x="14568" y="59331"/>
                  </a:lnTo>
                  <a:lnTo>
                    <a:pt x="13666" y="59464"/>
                  </a:lnTo>
                  <a:lnTo>
                    <a:pt x="12737" y="59570"/>
                  </a:lnTo>
                  <a:lnTo>
                    <a:pt x="11835" y="59650"/>
                  </a:lnTo>
                  <a:lnTo>
                    <a:pt x="10906" y="59703"/>
                  </a:lnTo>
                  <a:lnTo>
                    <a:pt x="10004" y="59703"/>
                  </a:lnTo>
                  <a:lnTo>
                    <a:pt x="9102" y="59703"/>
                  </a:lnTo>
                  <a:lnTo>
                    <a:pt x="8226" y="59676"/>
                  </a:lnTo>
                  <a:lnTo>
                    <a:pt x="7377" y="59597"/>
                  </a:lnTo>
                  <a:lnTo>
                    <a:pt x="6528" y="59517"/>
                  </a:lnTo>
                  <a:lnTo>
                    <a:pt x="5732" y="59411"/>
                  </a:lnTo>
                  <a:lnTo>
                    <a:pt x="4963" y="59305"/>
                  </a:lnTo>
                  <a:lnTo>
                    <a:pt x="4220" y="59146"/>
                  </a:lnTo>
                  <a:lnTo>
                    <a:pt x="3530" y="58986"/>
                  </a:lnTo>
                  <a:lnTo>
                    <a:pt x="2893" y="58801"/>
                  </a:lnTo>
                  <a:lnTo>
                    <a:pt x="2309" y="58588"/>
                  </a:lnTo>
                  <a:lnTo>
                    <a:pt x="1778" y="58376"/>
                  </a:lnTo>
                  <a:lnTo>
                    <a:pt x="1301" y="58137"/>
                  </a:lnTo>
                  <a:lnTo>
                    <a:pt x="903" y="57898"/>
                  </a:lnTo>
                  <a:lnTo>
                    <a:pt x="584" y="57633"/>
                  </a:lnTo>
                  <a:lnTo>
                    <a:pt x="452" y="57500"/>
                  </a:lnTo>
                  <a:lnTo>
                    <a:pt x="319" y="57341"/>
                  </a:lnTo>
                  <a:lnTo>
                    <a:pt x="239" y="57209"/>
                  </a:lnTo>
                  <a:lnTo>
                    <a:pt x="160" y="57049"/>
                  </a:lnTo>
                  <a:lnTo>
                    <a:pt x="107" y="56917"/>
                  </a:lnTo>
                  <a:lnTo>
                    <a:pt x="80" y="56757"/>
                  </a:lnTo>
                  <a:lnTo>
                    <a:pt x="80" y="56757"/>
                  </a:lnTo>
                  <a:lnTo>
                    <a:pt x="27" y="56412"/>
                  </a:lnTo>
                  <a:lnTo>
                    <a:pt x="1" y="55961"/>
                  </a:lnTo>
                  <a:lnTo>
                    <a:pt x="1" y="54847"/>
                  </a:lnTo>
                  <a:lnTo>
                    <a:pt x="27" y="53467"/>
                  </a:lnTo>
                  <a:lnTo>
                    <a:pt x="107" y="51849"/>
                  </a:lnTo>
                  <a:lnTo>
                    <a:pt x="213" y="50071"/>
                  </a:lnTo>
                  <a:lnTo>
                    <a:pt x="372" y="48134"/>
                  </a:lnTo>
                  <a:lnTo>
                    <a:pt x="531" y="46144"/>
                  </a:lnTo>
                  <a:lnTo>
                    <a:pt x="717" y="44100"/>
                  </a:lnTo>
                  <a:lnTo>
                    <a:pt x="1115" y="40094"/>
                  </a:lnTo>
                  <a:lnTo>
                    <a:pt x="1327" y="38210"/>
                  </a:lnTo>
                  <a:lnTo>
                    <a:pt x="1540" y="36485"/>
                  </a:lnTo>
                  <a:lnTo>
                    <a:pt x="1752" y="34973"/>
                  </a:lnTo>
                  <a:lnTo>
                    <a:pt x="1938" y="33726"/>
                  </a:lnTo>
                  <a:lnTo>
                    <a:pt x="2123" y="32744"/>
                  </a:lnTo>
                  <a:lnTo>
                    <a:pt x="2203" y="32399"/>
                  </a:lnTo>
                  <a:lnTo>
                    <a:pt x="2283" y="32133"/>
                  </a:lnTo>
                  <a:lnTo>
                    <a:pt x="2283" y="32133"/>
                  </a:lnTo>
                  <a:lnTo>
                    <a:pt x="2495" y="31550"/>
                  </a:lnTo>
                  <a:lnTo>
                    <a:pt x="2707" y="31019"/>
                  </a:lnTo>
                  <a:lnTo>
                    <a:pt x="2972" y="30462"/>
                  </a:lnTo>
                  <a:lnTo>
                    <a:pt x="3238" y="29958"/>
                  </a:lnTo>
                  <a:lnTo>
                    <a:pt x="3530" y="29454"/>
                  </a:lnTo>
                  <a:lnTo>
                    <a:pt x="3875" y="28949"/>
                  </a:lnTo>
                  <a:lnTo>
                    <a:pt x="4220" y="28498"/>
                  </a:lnTo>
                  <a:lnTo>
                    <a:pt x="4591" y="28047"/>
                  </a:lnTo>
                  <a:lnTo>
                    <a:pt x="4989" y="27596"/>
                  </a:lnTo>
                  <a:lnTo>
                    <a:pt x="5414" y="27198"/>
                  </a:lnTo>
                  <a:lnTo>
                    <a:pt x="5865" y="26800"/>
                  </a:lnTo>
                  <a:lnTo>
                    <a:pt x="6342" y="26455"/>
                  </a:lnTo>
                  <a:lnTo>
                    <a:pt x="6846" y="26110"/>
                  </a:lnTo>
                  <a:lnTo>
                    <a:pt x="7377" y="25792"/>
                  </a:lnTo>
                  <a:lnTo>
                    <a:pt x="7934" y="25526"/>
                  </a:lnTo>
                  <a:lnTo>
                    <a:pt x="8518" y="25261"/>
                  </a:lnTo>
                  <a:lnTo>
                    <a:pt x="8518" y="25261"/>
                  </a:lnTo>
                  <a:lnTo>
                    <a:pt x="9022" y="25075"/>
                  </a:lnTo>
                  <a:lnTo>
                    <a:pt x="9500" y="24916"/>
                  </a:lnTo>
                  <a:lnTo>
                    <a:pt x="9951" y="24783"/>
                  </a:lnTo>
                  <a:lnTo>
                    <a:pt x="10376" y="24677"/>
                  </a:lnTo>
                  <a:lnTo>
                    <a:pt x="10800" y="24571"/>
                  </a:lnTo>
                  <a:lnTo>
                    <a:pt x="11198" y="24518"/>
                  </a:lnTo>
                  <a:lnTo>
                    <a:pt x="11968" y="24438"/>
                  </a:lnTo>
                  <a:lnTo>
                    <a:pt x="12684" y="24385"/>
                  </a:lnTo>
                  <a:lnTo>
                    <a:pt x="13374" y="24412"/>
                  </a:lnTo>
                  <a:lnTo>
                    <a:pt x="14011" y="24438"/>
                  </a:lnTo>
                  <a:lnTo>
                    <a:pt x="14648" y="24518"/>
                  </a:lnTo>
                  <a:lnTo>
                    <a:pt x="14648" y="24518"/>
                  </a:lnTo>
                  <a:lnTo>
                    <a:pt x="15523" y="24598"/>
                  </a:lnTo>
                  <a:lnTo>
                    <a:pt x="15948" y="24598"/>
                  </a:lnTo>
                  <a:lnTo>
                    <a:pt x="16372" y="24624"/>
                  </a:lnTo>
                  <a:lnTo>
                    <a:pt x="16797" y="24598"/>
                  </a:lnTo>
                  <a:lnTo>
                    <a:pt x="17248" y="24571"/>
                  </a:lnTo>
                  <a:lnTo>
                    <a:pt x="17699" y="24492"/>
                  </a:lnTo>
                  <a:lnTo>
                    <a:pt x="18150" y="24359"/>
                  </a:lnTo>
                  <a:lnTo>
                    <a:pt x="18150" y="24359"/>
                  </a:lnTo>
                  <a:lnTo>
                    <a:pt x="18840" y="24147"/>
                  </a:lnTo>
                  <a:lnTo>
                    <a:pt x="19663" y="23881"/>
                  </a:lnTo>
                  <a:lnTo>
                    <a:pt x="20512" y="23589"/>
                  </a:lnTo>
                  <a:lnTo>
                    <a:pt x="21440" y="23218"/>
                  </a:lnTo>
                  <a:lnTo>
                    <a:pt x="22422" y="22846"/>
                  </a:lnTo>
                  <a:lnTo>
                    <a:pt x="23404" y="22422"/>
                  </a:lnTo>
                  <a:lnTo>
                    <a:pt x="24412" y="21971"/>
                  </a:lnTo>
                  <a:lnTo>
                    <a:pt x="25421" y="21493"/>
                  </a:lnTo>
                  <a:lnTo>
                    <a:pt x="26376" y="20962"/>
                  </a:lnTo>
                  <a:lnTo>
                    <a:pt x="27331" y="20432"/>
                  </a:lnTo>
                  <a:lnTo>
                    <a:pt x="28180" y="19875"/>
                  </a:lnTo>
                  <a:lnTo>
                    <a:pt x="28605" y="19583"/>
                  </a:lnTo>
                  <a:lnTo>
                    <a:pt x="29003" y="19291"/>
                  </a:lnTo>
                  <a:lnTo>
                    <a:pt x="29348" y="18999"/>
                  </a:lnTo>
                  <a:lnTo>
                    <a:pt x="29693" y="18707"/>
                  </a:lnTo>
                  <a:lnTo>
                    <a:pt x="30011" y="18389"/>
                  </a:lnTo>
                  <a:lnTo>
                    <a:pt x="30303" y="18097"/>
                  </a:lnTo>
                  <a:lnTo>
                    <a:pt x="30568" y="17778"/>
                  </a:lnTo>
                  <a:lnTo>
                    <a:pt x="30781" y="17460"/>
                  </a:lnTo>
                  <a:lnTo>
                    <a:pt x="30993" y="17142"/>
                  </a:lnTo>
                  <a:lnTo>
                    <a:pt x="31126" y="16823"/>
                  </a:lnTo>
                  <a:lnTo>
                    <a:pt x="31126" y="16823"/>
                  </a:lnTo>
                  <a:lnTo>
                    <a:pt x="31179" y="16637"/>
                  </a:lnTo>
                  <a:lnTo>
                    <a:pt x="31205" y="16399"/>
                  </a:lnTo>
                  <a:lnTo>
                    <a:pt x="31232" y="16133"/>
                  </a:lnTo>
                  <a:lnTo>
                    <a:pt x="31205" y="15788"/>
                  </a:lnTo>
                  <a:lnTo>
                    <a:pt x="31126" y="15019"/>
                  </a:lnTo>
                  <a:lnTo>
                    <a:pt x="30966" y="14090"/>
                  </a:lnTo>
                  <a:lnTo>
                    <a:pt x="30754" y="13055"/>
                  </a:lnTo>
                  <a:lnTo>
                    <a:pt x="30515" y="11941"/>
                  </a:lnTo>
                  <a:lnTo>
                    <a:pt x="29931" y="9606"/>
                  </a:lnTo>
                  <a:lnTo>
                    <a:pt x="29295" y="7271"/>
                  </a:lnTo>
                  <a:lnTo>
                    <a:pt x="28737" y="5201"/>
                  </a:lnTo>
                  <a:lnTo>
                    <a:pt x="28313" y="3582"/>
                  </a:lnTo>
                  <a:lnTo>
                    <a:pt x="28207" y="3025"/>
                  </a:lnTo>
                  <a:lnTo>
                    <a:pt x="28154" y="2680"/>
                  </a:lnTo>
                  <a:lnTo>
                    <a:pt x="28154" y="2680"/>
                  </a:lnTo>
                  <a:lnTo>
                    <a:pt x="28154" y="2574"/>
                  </a:lnTo>
                  <a:lnTo>
                    <a:pt x="28207" y="2441"/>
                  </a:lnTo>
                  <a:lnTo>
                    <a:pt x="28260" y="2309"/>
                  </a:lnTo>
                  <a:lnTo>
                    <a:pt x="28339" y="2176"/>
                  </a:lnTo>
                  <a:lnTo>
                    <a:pt x="28605" y="1911"/>
                  </a:lnTo>
                  <a:lnTo>
                    <a:pt x="28923" y="1645"/>
                  </a:lnTo>
                  <a:lnTo>
                    <a:pt x="29295" y="1380"/>
                  </a:lnTo>
                  <a:lnTo>
                    <a:pt x="29746" y="1115"/>
                  </a:lnTo>
                  <a:lnTo>
                    <a:pt x="30197" y="876"/>
                  </a:lnTo>
                  <a:lnTo>
                    <a:pt x="30674" y="637"/>
                  </a:lnTo>
                  <a:lnTo>
                    <a:pt x="31179" y="425"/>
                  </a:lnTo>
                  <a:lnTo>
                    <a:pt x="31656" y="266"/>
                  </a:lnTo>
                  <a:lnTo>
                    <a:pt x="32107" y="133"/>
                  </a:lnTo>
                  <a:lnTo>
                    <a:pt x="32532" y="27"/>
                  </a:lnTo>
                  <a:lnTo>
                    <a:pt x="32877" y="0"/>
                  </a:lnTo>
                  <a:lnTo>
                    <a:pt x="33169" y="0"/>
                  </a:lnTo>
                  <a:lnTo>
                    <a:pt x="33301" y="27"/>
                  </a:lnTo>
                  <a:lnTo>
                    <a:pt x="33381" y="80"/>
                  </a:lnTo>
                  <a:lnTo>
                    <a:pt x="33461" y="133"/>
                  </a:lnTo>
                  <a:lnTo>
                    <a:pt x="33487" y="213"/>
                  </a:lnTo>
                  <a:lnTo>
                    <a:pt x="33487" y="213"/>
                  </a:lnTo>
                  <a:lnTo>
                    <a:pt x="33885" y="1407"/>
                  </a:lnTo>
                  <a:lnTo>
                    <a:pt x="34495" y="3370"/>
                  </a:lnTo>
                  <a:lnTo>
                    <a:pt x="35238" y="5891"/>
                  </a:lnTo>
                  <a:lnTo>
                    <a:pt x="35636" y="7297"/>
                  </a:lnTo>
                  <a:lnTo>
                    <a:pt x="36008" y="8730"/>
                  </a:lnTo>
                  <a:lnTo>
                    <a:pt x="36379" y="10190"/>
                  </a:lnTo>
                  <a:lnTo>
                    <a:pt x="36698" y="11622"/>
                  </a:lnTo>
                  <a:lnTo>
                    <a:pt x="36990" y="13029"/>
                  </a:lnTo>
                  <a:lnTo>
                    <a:pt x="37228" y="14355"/>
                  </a:lnTo>
                  <a:lnTo>
                    <a:pt x="37388" y="15576"/>
                  </a:lnTo>
                  <a:lnTo>
                    <a:pt x="37441" y="16133"/>
                  </a:lnTo>
                  <a:lnTo>
                    <a:pt x="37467" y="16664"/>
                  </a:lnTo>
                  <a:lnTo>
                    <a:pt x="37467" y="17142"/>
                  </a:lnTo>
                  <a:lnTo>
                    <a:pt x="37441" y="17593"/>
                  </a:lnTo>
                  <a:lnTo>
                    <a:pt x="37388" y="17991"/>
                  </a:lnTo>
                  <a:lnTo>
                    <a:pt x="37335" y="18336"/>
                  </a:lnTo>
                  <a:lnTo>
                    <a:pt x="37335" y="18336"/>
                  </a:lnTo>
                  <a:lnTo>
                    <a:pt x="37175" y="18787"/>
                  </a:lnTo>
                  <a:lnTo>
                    <a:pt x="36963" y="19264"/>
                  </a:lnTo>
                  <a:lnTo>
                    <a:pt x="36698" y="19768"/>
                  </a:lnTo>
                  <a:lnTo>
                    <a:pt x="36379" y="20273"/>
                  </a:lnTo>
                  <a:lnTo>
                    <a:pt x="36034" y="20777"/>
                  </a:lnTo>
                  <a:lnTo>
                    <a:pt x="35636" y="21281"/>
                  </a:lnTo>
                  <a:lnTo>
                    <a:pt x="35212" y="21812"/>
                  </a:lnTo>
                  <a:lnTo>
                    <a:pt x="34761" y="22342"/>
                  </a:lnTo>
                  <a:lnTo>
                    <a:pt x="34283" y="22873"/>
                  </a:lnTo>
                  <a:lnTo>
                    <a:pt x="33752" y="23430"/>
                  </a:lnTo>
                  <a:lnTo>
                    <a:pt x="32665" y="24518"/>
                  </a:lnTo>
                  <a:lnTo>
                    <a:pt x="31497" y="25633"/>
                  </a:lnTo>
                  <a:lnTo>
                    <a:pt x="30276" y="26747"/>
                  </a:lnTo>
                  <a:lnTo>
                    <a:pt x="27862" y="28976"/>
                  </a:lnTo>
                  <a:lnTo>
                    <a:pt x="26694" y="30064"/>
                  </a:lnTo>
                  <a:lnTo>
                    <a:pt x="25580" y="31099"/>
                  </a:lnTo>
                  <a:lnTo>
                    <a:pt x="24572" y="32133"/>
                  </a:lnTo>
                  <a:lnTo>
                    <a:pt x="24094" y="32638"/>
                  </a:lnTo>
                  <a:lnTo>
                    <a:pt x="23669" y="33115"/>
                  </a:lnTo>
                  <a:lnTo>
                    <a:pt x="23271" y="33593"/>
                  </a:lnTo>
                  <a:lnTo>
                    <a:pt x="22926" y="34070"/>
                  </a:lnTo>
                  <a:lnTo>
                    <a:pt x="22608" y="34495"/>
                  </a:lnTo>
                  <a:lnTo>
                    <a:pt x="22316" y="34946"/>
                  </a:lnTo>
                  <a:lnTo>
                    <a:pt x="22316" y="34946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" name="Google Shape;1195;p57">
              <a:extLst>
                <a:ext uri="{FF2B5EF4-FFF2-40B4-BE49-F238E27FC236}">
                  <a16:creationId xmlns:a16="http://schemas.microsoft.com/office/drawing/2014/main" id="{8AD75F36-B54D-D91B-65B1-2336BDD38896}"/>
                </a:ext>
              </a:extLst>
            </p:cNvPr>
            <p:cNvSpPr/>
            <p:nvPr/>
          </p:nvSpPr>
          <p:spPr>
            <a:xfrm>
              <a:off x="7992213" y="4472116"/>
              <a:ext cx="35868" cy="161398"/>
            </a:xfrm>
            <a:custGeom>
              <a:avLst/>
              <a:gdLst/>
              <a:ahLst/>
              <a:cxnLst/>
              <a:rect l="l" t="t" r="r" b="b"/>
              <a:pathLst>
                <a:path w="4246" h="19106" extrusionOk="0">
                  <a:moveTo>
                    <a:pt x="4246" y="1"/>
                  </a:moveTo>
                  <a:lnTo>
                    <a:pt x="3821" y="213"/>
                  </a:lnTo>
                  <a:lnTo>
                    <a:pt x="3423" y="425"/>
                  </a:lnTo>
                  <a:lnTo>
                    <a:pt x="3052" y="664"/>
                  </a:lnTo>
                  <a:lnTo>
                    <a:pt x="2680" y="929"/>
                  </a:lnTo>
                  <a:lnTo>
                    <a:pt x="2335" y="1221"/>
                  </a:lnTo>
                  <a:lnTo>
                    <a:pt x="2017" y="1513"/>
                  </a:lnTo>
                  <a:lnTo>
                    <a:pt x="1725" y="1831"/>
                  </a:lnTo>
                  <a:lnTo>
                    <a:pt x="1459" y="2150"/>
                  </a:lnTo>
                  <a:lnTo>
                    <a:pt x="955" y="2760"/>
                  </a:lnTo>
                  <a:lnTo>
                    <a:pt x="557" y="3317"/>
                  </a:lnTo>
                  <a:lnTo>
                    <a:pt x="265" y="3822"/>
                  </a:lnTo>
                  <a:lnTo>
                    <a:pt x="53" y="4193"/>
                  </a:lnTo>
                  <a:lnTo>
                    <a:pt x="27" y="4326"/>
                  </a:lnTo>
                  <a:lnTo>
                    <a:pt x="0" y="4458"/>
                  </a:lnTo>
                  <a:lnTo>
                    <a:pt x="0" y="4936"/>
                  </a:lnTo>
                  <a:lnTo>
                    <a:pt x="27" y="5546"/>
                  </a:lnTo>
                  <a:lnTo>
                    <a:pt x="106" y="6316"/>
                  </a:lnTo>
                  <a:lnTo>
                    <a:pt x="212" y="7191"/>
                  </a:lnTo>
                  <a:lnTo>
                    <a:pt x="345" y="8173"/>
                  </a:lnTo>
                  <a:lnTo>
                    <a:pt x="504" y="9208"/>
                  </a:lnTo>
                  <a:lnTo>
                    <a:pt x="690" y="10296"/>
                  </a:lnTo>
                  <a:lnTo>
                    <a:pt x="902" y="11384"/>
                  </a:lnTo>
                  <a:lnTo>
                    <a:pt x="1115" y="12472"/>
                  </a:lnTo>
                  <a:lnTo>
                    <a:pt x="1353" y="13507"/>
                  </a:lnTo>
                  <a:lnTo>
                    <a:pt x="1592" y="14488"/>
                  </a:lnTo>
                  <a:lnTo>
                    <a:pt x="1858" y="15391"/>
                  </a:lnTo>
                  <a:lnTo>
                    <a:pt x="2123" y="16187"/>
                  </a:lnTo>
                  <a:lnTo>
                    <a:pt x="2362" y="16850"/>
                  </a:lnTo>
                  <a:lnTo>
                    <a:pt x="2494" y="17115"/>
                  </a:lnTo>
                  <a:lnTo>
                    <a:pt x="2627" y="17328"/>
                  </a:lnTo>
                  <a:lnTo>
                    <a:pt x="2892" y="17832"/>
                  </a:lnTo>
                  <a:lnTo>
                    <a:pt x="3158" y="18415"/>
                  </a:lnTo>
                  <a:lnTo>
                    <a:pt x="3290" y="18681"/>
                  </a:lnTo>
                  <a:lnTo>
                    <a:pt x="3423" y="18893"/>
                  </a:lnTo>
                  <a:lnTo>
                    <a:pt x="3529" y="19052"/>
                  </a:lnTo>
                  <a:lnTo>
                    <a:pt x="3582" y="19079"/>
                  </a:lnTo>
                  <a:lnTo>
                    <a:pt x="3635" y="19105"/>
                  </a:lnTo>
                  <a:lnTo>
                    <a:pt x="3635" y="19079"/>
                  </a:lnTo>
                  <a:lnTo>
                    <a:pt x="3370" y="17832"/>
                  </a:lnTo>
                  <a:lnTo>
                    <a:pt x="3211" y="16691"/>
                  </a:lnTo>
                  <a:lnTo>
                    <a:pt x="3211" y="16664"/>
                  </a:lnTo>
                  <a:lnTo>
                    <a:pt x="3052" y="15709"/>
                  </a:lnTo>
                  <a:lnTo>
                    <a:pt x="2945" y="14780"/>
                  </a:lnTo>
                  <a:lnTo>
                    <a:pt x="2839" y="13931"/>
                  </a:lnTo>
                  <a:lnTo>
                    <a:pt x="2760" y="13109"/>
                  </a:lnTo>
                  <a:lnTo>
                    <a:pt x="2680" y="11623"/>
                  </a:lnTo>
                  <a:lnTo>
                    <a:pt x="2654" y="10243"/>
                  </a:lnTo>
                  <a:lnTo>
                    <a:pt x="2680" y="9181"/>
                  </a:lnTo>
                  <a:lnTo>
                    <a:pt x="2707" y="8200"/>
                  </a:lnTo>
                  <a:lnTo>
                    <a:pt x="2839" y="6316"/>
                  </a:lnTo>
                  <a:lnTo>
                    <a:pt x="2972" y="4485"/>
                  </a:lnTo>
                  <a:lnTo>
                    <a:pt x="2998" y="3530"/>
                  </a:lnTo>
                  <a:lnTo>
                    <a:pt x="3025" y="2548"/>
                  </a:lnTo>
                  <a:lnTo>
                    <a:pt x="3025" y="2468"/>
                  </a:lnTo>
                  <a:lnTo>
                    <a:pt x="3078" y="2309"/>
                  </a:lnTo>
                  <a:lnTo>
                    <a:pt x="3158" y="2070"/>
                  </a:lnTo>
                  <a:lnTo>
                    <a:pt x="3397" y="1540"/>
                  </a:lnTo>
                  <a:lnTo>
                    <a:pt x="3768" y="850"/>
                  </a:lnTo>
                  <a:lnTo>
                    <a:pt x="4219" y="27"/>
                  </a:lnTo>
                  <a:lnTo>
                    <a:pt x="4246" y="1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" name="Google Shape;1196;p57">
              <a:extLst>
                <a:ext uri="{FF2B5EF4-FFF2-40B4-BE49-F238E27FC236}">
                  <a16:creationId xmlns:a16="http://schemas.microsoft.com/office/drawing/2014/main" id="{E86894F5-DDEB-2245-1C8C-A898AE93DA78}"/>
                </a:ext>
              </a:extLst>
            </p:cNvPr>
            <p:cNvSpPr/>
            <p:nvPr/>
          </p:nvSpPr>
          <p:spPr>
            <a:xfrm>
              <a:off x="7992213" y="4472116"/>
              <a:ext cx="35868" cy="161398"/>
            </a:xfrm>
            <a:custGeom>
              <a:avLst/>
              <a:gdLst/>
              <a:ahLst/>
              <a:cxnLst/>
              <a:rect l="l" t="t" r="r" b="b"/>
              <a:pathLst>
                <a:path w="4246" h="19106" fill="none" extrusionOk="0">
                  <a:moveTo>
                    <a:pt x="4246" y="1"/>
                  </a:moveTo>
                  <a:lnTo>
                    <a:pt x="4246" y="1"/>
                  </a:lnTo>
                  <a:lnTo>
                    <a:pt x="3821" y="213"/>
                  </a:lnTo>
                  <a:lnTo>
                    <a:pt x="3423" y="425"/>
                  </a:lnTo>
                  <a:lnTo>
                    <a:pt x="3052" y="664"/>
                  </a:lnTo>
                  <a:lnTo>
                    <a:pt x="2680" y="929"/>
                  </a:lnTo>
                  <a:lnTo>
                    <a:pt x="2335" y="1221"/>
                  </a:lnTo>
                  <a:lnTo>
                    <a:pt x="2017" y="1513"/>
                  </a:lnTo>
                  <a:lnTo>
                    <a:pt x="1725" y="1831"/>
                  </a:lnTo>
                  <a:lnTo>
                    <a:pt x="1459" y="2150"/>
                  </a:lnTo>
                  <a:lnTo>
                    <a:pt x="955" y="2760"/>
                  </a:lnTo>
                  <a:lnTo>
                    <a:pt x="557" y="3317"/>
                  </a:lnTo>
                  <a:lnTo>
                    <a:pt x="265" y="3822"/>
                  </a:lnTo>
                  <a:lnTo>
                    <a:pt x="53" y="4193"/>
                  </a:lnTo>
                  <a:lnTo>
                    <a:pt x="53" y="4193"/>
                  </a:lnTo>
                  <a:lnTo>
                    <a:pt x="27" y="4326"/>
                  </a:lnTo>
                  <a:lnTo>
                    <a:pt x="0" y="4458"/>
                  </a:lnTo>
                  <a:lnTo>
                    <a:pt x="0" y="4936"/>
                  </a:lnTo>
                  <a:lnTo>
                    <a:pt x="27" y="5546"/>
                  </a:lnTo>
                  <a:lnTo>
                    <a:pt x="106" y="6316"/>
                  </a:lnTo>
                  <a:lnTo>
                    <a:pt x="212" y="7191"/>
                  </a:lnTo>
                  <a:lnTo>
                    <a:pt x="345" y="8173"/>
                  </a:lnTo>
                  <a:lnTo>
                    <a:pt x="504" y="9208"/>
                  </a:lnTo>
                  <a:lnTo>
                    <a:pt x="690" y="10296"/>
                  </a:lnTo>
                  <a:lnTo>
                    <a:pt x="902" y="11384"/>
                  </a:lnTo>
                  <a:lnTo>
                    <a:pt x="1115" y="12472"/>
                  </a:lnTo>
                  <a:lnTo>
                    <a:pt x="1353" y="13507"/>
                  </a:lnTo>
                  <a:lnTo>
                    <a:pt x="1592" y="14488"/>
                  </a:lnTo>
                  <a:lnTo>
                    <a:pt x="1858" y="15391"/>
                  </a:lnTo>
                  <a:lnTo>
                    <a:pt x="2123" y="16187"/>
                  </a:lnTo>
                  <a:lnTo>
                    <a:pt x="2362" y="16850"/>
                  </a:lnTo>
                  <a:lnTo>
                    <a:pt x="2494" y="17115"/>
                  </a:lnTo>
                  <a:lnTo>
                    <a:pt x="2627" y="17328"/>
                  </a:lnTo>
                  <a:lnTo>
                    <a:pt x="2627" y="17328"/>
                  </a:lnTo>
                  <a:lnTo>
                    <a:pt x="2892" y="17832"/>
                  </a:lnTo>
                  <a:lnTo>
                    <a:pt x="3158" y="18415"/>
                  </a:lnTo>
                  <a:lnTo>
                    <a:pt x="3290" y="18681"/>
                  </a:lnTo>
                  <a:lnTo>
                    <a:pt x="3423" y="18893"/>
                  </a:lnTo>
                  <a:lnTo>
                    <a:pt x="3529" y="19052"/>
                  </a:lnTo>
                  <a:lnTo>
                    <a:pt x="3582" y="19079"/>
                  </a:lnTo>
                  <a:lnTo>
                    <a:pt x="3635" y="19105"/>
                  </a:lnTo>
                  <a:lnTo>
                    <a:pt x="3635" y="19079"/>
                  </a:lnTo>
                  <a:lnTo>
                    <a:pt x="3635" y="19079"/>
                  </a:lnTo>
                  <a:lnTo>
                    <a:pt x="3635" y="19079"/>
                  </a:lnTo>
                  <a:lnTo>
                    <a:pt x="3370" y="17832"/>
                  </a:lnTo>
                  <a:lnTo>
                    <a:pt x="3211" y="16691"/>
                  </a:lnTo>
                  <a:lnTo>
                    <a:pt x="3211" y="16691"/>
                  </a:lnTo>
                  <a:lnTo>
                    <a:pt x="3211" y="16664"/>
                  </a:lnTo>
                  <a:lnTo>
                    <a:pt x="3211" y="16664"/>
                  </a:lnTo>
                  <a:lnTo>
                    <a:pt x="3052" y="15709"/>
                  </a:lnTo>
                  <a:lnTo>
                    <a:pt x="2945" y="14780"/>
                  </a:lnTo>
                  <a:lnTo>
                    <a:pt x="2839" y="13931"/>
                  </a:lnTo>
                  <a:lnTo>
                    <a:pt x="2760" y="13109"/>
                  </a:lnTo>
                  <a:lnTo>
                    <a:pt x="2680" y="11623"/>
                  </a:lnTo>
                  <a:lnTo>
                    <a:pt x="2654" y="10243"/>
                  </a:lnTo>
                  <a:lnTo>
                    <a:pt x="2654" y="10243"/>
                  </a:lnTo>
                  <a:lnTo>
                    <a:pt x="2680" y="9181"/>
                  </a:lnTo>
                  <a:lnTo>
                    <a:pt x="2707" y="8200"/>
                  </a:lnTo>
                  <a:lnTo>
                    <a:pt x="2839" y="6316"/>
                  </a:lnTo>
                  <a:lnTo>
                    <a:pt x="2972" y="4485"/>
                  </a:lnTo>
                  <a:lnTo>
                    <a:pt x="2998" y="3530"/>
                  </a:lnTo>
                  <a:lnTo>
                    <a:pt x="3025" y="2548"/>
                  </a:lnTo>
                  <a:lnTo>
                    <a:pt x="3025" y="2548"/>
                  </a:lnTo>
                  <a:lnTo>
                    <a:pt x="3025" y="2468"/>
                  </a:lnTo>
                  <a:lnTo>
                    <a:pt x="3025" y="2468"/>
                  </a:lnTo>
                  <a:lnTo>
                    <a:pt x="3025" y="2468"/>
                  </a:lnTo>
                  <a:lnTo>
                    <a:pt x="3025" y="2468"/>
                  </a:lnTo>
                  <a:lnTo>
                    <a:pt x="3078" y="2309"/>
                  </a:lnTo>
                  <a:lnTo>
                    <a:pt x="3158" y="2070"/>
                  </a:lnTo>
                  <a:lnTo>
                    <a:pt x="3397" y="1540"/>
                  </a:lnTo>
                  <a:lnTo>
                    <a:pt x="3768" y="850"/>
                  </a:lnTo>
                  <a:lnTo>
                    <a:pt x="4219" y="27"/>
                  </a:lnTo>
                  <a:lnTo>
                    <a:pt x="4219" y="27"/>
                  </a:lnTo>
                  <a:lnTo>
                    <a:pt x="4219" y="27"/>
                  </a:lnTo>
                  <a:lnTo>
                    <a:pt x="424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" name="Google Shape;1197;p57">
              <a:extLst>
                <a:ext uri="{FF2B5EF4-FFF2-40B4-BE49-F238E27FC236}">
                  <a16:creationId xmlns:a16="http://schemas.microsoft.com/office/drawing/2014/main" id="{A7ED79D2-513A-577F-3227-F8F143AEB690}"/>
                </a:ext>
              </a:extLst>
            </p:cNvPr>
            <p:cNvSpPr/>
            <p:nvPr/>
          </p:nvSpPr>
          <p:spPr>
            <a:xfrm>
              <a:off x="8704557" y="4086353"/>
              <a:ext cx="18390" cy="24895"/>
            </a:xfrm>
            <a:custGeom>
              <a:avLst/>
              <a:gdLst/>
              <a:ahLst/>
              <a:cxnLst/>
              <a:rect l="l" t="t" r="r" b="b"/>
              <a:pathLst>
                <a:path w="2177" h="2947" extrusionOk="0">
                  <a:moveTo>
                    <a:pt x="1619" y="1"/>
                  </a:moveTo>
                  <a:lnTo>
                    <a:pt x="1460" y="27"/>
                  </a:lnTo>
                  <a:lnTo>
                    <a:pt x="1301" y="80"/>
                  </a:lnTo>
                  <a:lnTo>
                    <a:pt x="1168" y="160"/>
                  </a:lnTo>
                  <a:lnTo>
                    <a:pt x="1062" y="266"/>
                  </a:lnTo>
                  <a:lnTo>
                    <a:pt x="956" y="399"/>
                  </a:lnTo>
                  <a:lnTo>
                    <a:pt x="876" y="558"/>
                  </a:lnTo>
                  <a:lnTo>
                    <a:pt x="717" y="903"/>
                  </a:lnTo>
                  <a:lnTo>
                    <a:pt x="399" y="1726"/>
                  </a:lnTo>
                  <a:lnTo>
                    <a:pt x="240" y="2150"/>
                  </a:lnTo>
                  <a:lnTo>
                    <a:pt x="133" y="2336"/>
                  </a:lnTo>
                  <a:lnTo>
                    <a:pt x="1" y="2522"/>
                  </a:lnTo>
                  <a:lnTo>
                    <a:pt x="186" y="2654"/>
                  </a:lnTo>
                  <a:lnTo>
                    <a:pt x="372" y="2760"/>
                  </a:lnTo>
                  <a:lnTo>
                    <a:pt x="584" y="2867"/>
                  </a:lnTo>
                  <a:lnTo>
                    <a:pt x="850" y="2920"/>
                  </a:lnTo>
                  <a:lnTo>
                    <a:pt x="983" y="2946"/>
                  </a:lnTo>
                  <a:lnTo>
                    <a:pt x="1115" y="2920"/>
                  </a:lnTo>
                  <a:lnTo>
                    <a:pt x="1248" y="2893"/>
                  </a:lnTo>
                  <a:lnTo>
                    <a:pt x="1381" y="2840"/>
                  </a:lnTo>
                  <a:lnTo>
                    <a:pt x="1487" y="2734"/>
                  </a:lnTo>
                  <a:lnTo>
                    <a:pt x="1593" y="2628"/>
                  </a:lnTo>
                  <a:lnTo>
                    <a:pt x="1699" y="2469"/>
                  </a:lnTo>
                  <a:lnTo>
                    <a:pt x="1805" y="2283"/>
                  </a:lnTo>
                  <a:lnTo>
                    <a:pt x="1964" y="1885"/>
                  </a:lnTo>
                  <a:lnTo>
                    <a:pt x="2097" y="1434"/>
                  </a:lnTo>
                  <a:lnTo>
                    <a:pt x="2177" y="1009"/>
                  </a:lnTo>
                  <a:lnTo>
                    <a:pt x="2177" y="797"/>
                  </a:lnTo>
                  <a:lnTo>
                    <a:pt x="2177" y="611"/>
                  </a:lnTo>
                  <a:lnTo>
                    <a:pt x="2150" y="425"/>
                  </a:lnTo>
                  <a:lnTo>
                    <a:pt x="2097" y="293"/>
                  </a:lnTo>
                  <a:lnTo>
                    <a:pt x="2017" y="160"/>
                  </a:lnTo>
                  <a:lnTo>
                    <a:pt x="1911" y="54"/>
                  </a:lnTo>
                  <a:lnTo>
                    <a:pt x="1779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" name="Google Shape;1198;p57">
              <a:extLst>
                <a:ext uri="{FF2B5EF4-FFF2-40B4-BE49-F238E27FC236}">
                  <a16:creationId xmlns:a16="http://schemas.microsoft.com/office/drawing/2014/main" id="{3AB027E7-0372-A573-7C18-5D3F32226964}"/>
                </a:ext>
              </a:extLst>
            </p:cNvPr>
            <p:cNvSpPr/>
            <p:nvPr/>
          </p:nvSpPr>
          <p:spPr>
            <a:xfrm>
              <a:off x="9035631" y="4049150"/>
              <a:ext cx="15695" cy="25562"/>
            </a:xfrm>
            <a:custGeom>
              <a:avLst/>
              <a:gdLst/>
              <a:ahLst/>
              <a:cxnLst/>
              <a:rect l="l" t="t" r="r" b="b"/>
              <a:pathLst>
                <a:path w="1858" h="3026" extrusionOk="0">
                  <a:moveTo>
                    <a:pt x="610" y="0"/>
                  </a:moveTo>
                  <a:lnTo>
                    <a:pt x="451" y="27"/>
                  </a:lnTo>
                  <a:lnTo>
                    <a:pt x="345" y="80"/>
                  </a:lnTo>
                  <a:lnTo>
                    <a:pt x="239" y="186"/>
                  </a:lnTo>
                  <a:lnTo>
                    <a:pt x="159" y="345"/>
                  </a:lnTo>
                  <a:lnTo>
                    <a:pt x="106" y="504"/>
                  </a:lnTo>
                  <a:lnTo>
                    <a:pt x="53" y="690"/>
                  </a:lnTo>
                  <a:lnTo>
                    <a:pt x="27" y="902"/>
                  </a:lnTo>
                  <a:lnTo>
                    <a:pt x="0" y="1327"/>
                  </a:lnTo>
                  <a:lnTo>
                    <a:pt x="53" y="1804"/>
                  </a:lnTo>
                  <a:lnTo>
                    <a:pt x="159" y="2229"/>
                  </a:lnTo>
                  <a:lnTo>
                    <a:pt x="212" y="2415"/>
                  </a:lnTo>
                  <a:lnTo>
                    <a:pt x="292" y="2574"/>
                  </a:lnTo>
                  <a:lnTo>
                    <a:pt x="372" y="2733"/>
                  </a:lnTo>
                  <a:lnTo>
                    <a:pt x="478" y="2839"/>
                  </a:lnTo>
                  <a:lnTo>
                    <a:pt x="584" y="2919"/>
                  </a:lnTo>
                  <a:lnTo>
                    <a:pt x="690" y="2972"/>
                  </a:lnTo>
                  <a:lnTo>
                    <a:pt x="823" y="3025"/>
                  </a:lnTo>
                  <a:lnTo>
                    <a:pt x="1221" y="3025"/>
                  </a:lnTo>
                  <a:lnTo>
                    <a:pt x="1486" y="2972"/>
                  </a:lnTo>
                  <a:lnTo>
                    <a:pt x="1672" y="2892"/>
                  </a:lnTo>
                  <a:lnTo>
                    <a:pt x="1858" y="2813"/>
                  </a:lnTo>
                  <a:lnTo>
                    <a:pt x="1778" y="2601"/>
                  </a:lnTo>
                  <a:lnTo>
                    <a:pt x="1725" y="2362"/>
                  </a:lnTo>
                  <a:lnTo>
                    <a:pt x="1619" y="1937"/>
                  </a:lnTo>
                  <a:lnTo>
                    <a:pt x="1486" y="1062"/>
                  </a:lnTo>
                  <a:lnTo>
                    <a:pt x="1380" y="690"/>
                  </a:lnTo>
                  <a:lnTo>
                    <a:pt x="1327" y="531"/>
                  </a:lnTo>
                  <a:lnTo>
                    <a:pt x="1247" y="372"/>
                  </a:lnTo>
                  <a:lnTo>
                    <a:pt x="1168" y="239"/>
                  </a:lnTo>
                  <a:lnTo>
                    <a:pt x="1062" y="133"/>
                  </a:lnTo>
                  <a:lnTo>
                    <a:pt x="929" y="53"/>
                  </a:lnTo>
                  <a:lnTo>
                    <a:pt x="770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" name="Google Shape;1199;p57">
              <a:extLst>
                <a:ext uri="{FF2B5EF4-FFF2-40B4-BE49-F238E27FC236}">
                  <a16:creationId xmlns:a16="http://schemas.microsoft.com/office/drawing/2014/main" id="{2BEE1838-01E2-00E0-CBB5-2E7F45CBE555}"/>
                </a:ext>
              </a:extLst>
            </p:cNvPr>
            <p:cNvSpPr/>
            <p:nvPr/>
          </p:nvSpPr>
          <p:spPr>
            <a:xfrm>
              <a:off x="7669206" y="5000887"/>
              <a:ext cx="50668" cy="119701"/>
            </a:xfrm>
            <a:custGeom>
              <a:avLst/>
              <a:gdLst/>
              <a:ahLst/>
              <a:cxnLst/>
              <a:rect l="l" t="t" r="r" b="b"/>
              <a:pathLst>
                <a:path w="5998" h="14170" extrusionOk="0">
                  <a:moveTo>
                    <a:pt x="3318" y="0"/>
                  </a:moveTo>
                  <a:lnTo>
                    <a:pt x="2654" y="53"/>
                  </a:lnTo>
                  <a:lnTo>
                    <a:pt x="1964" y="159"/>
                  </a:lnTo>
                  <a:lnTo>
                    <a:pt x="1301" y="319"/>
                  </a:lnTo>
                  <a:lnTo>
                    <a:pt x="664" y="504"/>
                  </a:lnTo>
                  <a:lnTo>
                    <a:pt x="505" y="584"/>
                  </a:lnTo>
                  <a:lnTo>
                    <a:pt x="372" y="690"/>
                  </a:lnTo>
                  <a:lnTo>
                    <a:pt x="240" y="796"/>
                  </a:lnTo>
                  <a:lnTo>
                    <a:pt x="134" y="929"/>
                  </a:lnTo>
                  <a:lnTo>
                    <a:pt x="54" y="1088"/>
                  </a:lnTo>
                  <a:lnTo>
                    <a:pt x="27" y="1247"/>
                  </a:lnTo>
                  <a:lnTo>
                    <a:pt x="1" y="1407"/>
                  </a:lnTo>
                  <a:lnTo>
                    <a:pt x="1" y="1592"/>
                  </a:lnTo>
                  <a:lnTo>
                    <a:pt x="638" y="7191"/>
                  </a:lnTo>
                  <a:lnTo>
                    <a:pt x="1248" y="12631"/>
                  </a:lnTo>
                  <a:lnTo>
                    <a:pt x="1328" y="13055"/>
                  </a:lnTo>
                  <a:lnTo>
                    <a:pt x="1434" y="13374"/>
                  </a:lnTo>
                  <a:lnTo>
                    <a:pt x="1593" y="13665"/>
                  </a:lnTo>
                  <a:lnTo>
                    <a:pt x="1779" y="13851"/>
                  </a:lnTo>
                  <a:lnTo>
                    <a:pt x="1991" y="14010"/>
                  </a:lnTo>
                  <a:lnTo>
                    <a:pt x="2203" y="14090"/>
                  </a:lnTo>
                  <a:lnTo>
                    <a:pt x="2442" y="14143"/>
                  </a:lnTo>
                  <a:lnTo>
                    <a:pt x="2681" y="14170"/>
                  </a:lnTo>
                  <a:lnTo>
                    <a:pt x="2920" y="14143"/>
                  </a:lnTo>
                  <a:lnTo>
                    <a:pt x="3158" y="14090"/>
                  </a:lnTo>
                  <a:lnTo>
                    <a:pt x="3344" y="14010"/>
                  </a:lnTo>
                  <a:lnTo>
                    <a:pt x="3530" y="13931"/>
                  </a:lnTo>
                  <a:lnTo>
                    <a:pt x="3689" y="13825"/>
                  </a:lnTo>
                  <a:lnTo>
                    <a:pt x="3822" y="13719"/>
                  </a:lnTo>
                  <a:lnTo>
                    <a:pt x="3901" y="13612"/>
                  </a:lnTo>
                  <a:lnTo>
                    <a:pt x="3928" y="13506"/>
                  </a:lnTo>
                  <a:lnTo>
                    <a:pt x="3928" y="12923"/>
                  </a:lnTo>
                  <a:lnTo>
                    <a:pt x="3875" y="11967"/>
                  </a:lnTo>
                  <a:lnTo>
                    <a:pt x="3848" y="10800"/>
                  </a:lnTo>
                  <a:lnTo>
                    <a:pt x="3822" y="9500"/>
                  </a:lnTo>
                  <a:lnTo>
                    <a:pt x="3848" y="8836"/>
                  </a:lnTo>
                  <a:lnTo>
                    <a:pt x="3901" y="8199"/>
                  </a:lnTo>
                  <a:lnTo>
                    <a:pt x="3981" y="7616"/>
                  </a:lnTo>
                  <a:lnTo>
                    <a:pt x="4087" y="7058"/>
                  </a:lnTo>
                  <a:lnTo>
                    <a:pt x="4246" y="6581"/>
                  </a:lnTo>
                  <a:lnTo>
                    <a:pt x="4326" y="6395"/>
                  </a:lnTo>
                  <a:lnTo>
                    <a:pt x="4432" y="6209"/>
                  </a:lnTo>
                  <a:lnTo>
                    <a:pt x="4538" y="6050"/>
                  </a:lnTo>
                  <a:lnTo>
                    <a:pt x="4644" y="5917"/>
                  </a:lnTo>
                  <a:lnTo>
                    <a:pt x="4777" y="5811"/>
                  </a:lnTo>
                  <a:lnTo>
                    <a:pt x="4936" y="5732"/>
                  </a:lnTo>
                  <a:lnTo>
                    <a:pt x="5202" y="5652"/>
                  </a:lnTo>
                  <a:lnTo>
                    <a:pt x="5414" y="5599"/>
                  </a:lnTo>
                  <a:lnTo>
                    <a:pt x="5785" y="5519"/>
                  </a:lnTo>
                  <a:lnTo>
                    <a:pt x="5892" y="5466"/>
                  </a:lnTo>
                  <a:lnTo>
                    <a:pt x="5971" y="5413"/>
                  </a:lnTo>
                  <a:lnTo>
                    <a:pt x="5998" y="5307"/>
                  </a:lnTo>
                  <a:lnTo>
                    <a:pt x="5971" y="5148"/>
                  </a:lnTo>
                  <a:lnTo>
                    <a:pt x="5732" y="4405"/>
                  </a:lnTo>
                  <a:lnTo>
                    <a:pt x="5547" y="3689"/>
                  </a:lnTo>
                  <a:lnTo>
                    <a:pt x="5414" y="2999"/>
                  </a:lnTo>
                  <a:lnTo>
                    <a:pt x="5334" y="2362"/>
                  </a:lnTo>
                  <a:lnTo>
                    <a:pt x="5149" y="1247"/>
                  </a:lnTo>
                  <a:lnTo>
                    <a:pt x="5042" y="796"/>
                  </a:lnTo>
                  <a:lnTo>
                    <a:pt x="4989" y="584"/>
                  </a:lnTo>
                  <a:lnTo>
                    <a:pt x="4910" y="398"/>
                  </a:lnTo>
                  <a:lnTo>
                    <a:pt x="4857" y="292"/>
                  </a:lnTo>
                  <a:lnTo>
                    <a:pt x="4751" y="186"/>
                  </a:lnTo>
                  <a:lnTo>
                    <a:pt x="4618" y="133"/>
                  </a:lnTo>
                  <a:lnTo>
                    <a:pt x="4406" y="80"/>
                  </a:lnTo>
                  <a:lnTo>
                    <a:pt x="4193" y="27"/>
                  </a:lnTo>
                  <a:lnTo>
                    <a:pt x="3928" y="0"/>
                  </a:ln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34" name="Google Shape;6070;p70">
            <a:extLst>
              <a:ext uri="{FF2B5EF4-FFF2-40B4-BE49-F238E27FC236}">
                <a16:creationId xmlns:a16="http://schemas.microsoft.com/office/drawing/2014/main" id="{2DCCC36C-8AFB-F707-8DE9-485AF6F29AC2}"/>
              </a:ext>
            </a:extLst>
          </p:cNvPr>
          <p:cNvGrpSpPr/>
          <p:nvPr/>
        </p:nvGrpSpPr>
        <p:grpSpPr>
          <a:xfrm>
            <a:off x="10326191" y="4905375"/>
            <a:ext cx="1127869" cy="1033331"/>
            <a:chOff x="1262350" y="238125"/>
            <a:chExt cx="5095275" cy="4971200"/>
          </a:xfrm>
        </p:grpSpPr>
        <p:sp>
          <p:nvSpPr>
            <p:cNvPr id="435" name="Google Shape;6071;p70">
              <a:extLst>
                <a:ext uri="{FF2B5EF4-FFF2-40B4-BE49-F238E27FC236}">
                  <a16:creationId xmlns:a16="http://schemas.microsoft.com/office/drawing/2014/main" id="{E9A77AD7-4A08-1DF6-23CC-D7FD3C521685}"/>
                </a:ext>
              </a:extLst>
            </p:cNvPr>
            <p:cNvSpPr/>
            <p:nvPr/>
          </p:nvSpPr>
          <p:spPr>
            <a:xfrm>
              <a:off x="3542425" y="1824075"/>
              <a:ext cx="221050" cy="279225"/>
            </a:xfrm>
            <a:custGeom>
              <a:avLst/>
              <a:gdLst/>
              <a:ahLst/>
              <a:cxnLst/>
              <a:rect l="l" t="t" r="r" b="b"/>
              <a:pathLst>
                <a:path w="8842" h="11169" extrusionOk="0">
                  <a:moveTo>
                    <a:pt x="6049" y="1"/>
                  </a:moveTo>
                  <a:lnTo>
                    <a:pt x="5429" y="311"/>
                  </a:lnTo>
                  <a:lnTo>
                    <a:pt x="4188" y="932"/>
                  </a:lnTo>
                  <a:lnTo>
                    <a:pt x="4033" y="932"/>
                  </a:lnTo>
                  <a:lnTo>
                    <a:pt x="3878" y="776"/>
                  </a:lnTo>
                  <a:lnTo>
                    <a:pt x="3723" y="621"/>
                  </a:lnTo>
                  <a:lnTo>
                    <a:pt x="2947" y="621"/>
                  </a:lnTo>
                  <a:lnTo>
                    <a:pt x="2637" y="776"/>
                  </a:lnTo>
                  <a:lnTo>
                    <a:pt x="2482" y="1242"/>
                  </a:lnTo>
                  <a:lnTo>
                    <a:pt x="2327" y="1707"/>
                  </a:lnTo>
                  <a:lnTo>
                    <a:pt x="2016" y="2793"/>
                  </a:lnTo>
                  <a:lnTo>
                    <a:pt x="2016" y="3879"/>
                  </a:lnTo>
                  <a:lnTo>
                    <a:pt x="1861" y="4344"/>
                  </a:lnTo>
                  <a:lnTo>
                    <a:pt x="1706" y="4809"/>
                  </a:lnTo>
                  <a:lnTo>
                    <a:pt x="1241" y="5585"/>
                  </a:lnTo>
                  <a:lnTo>
                    <a:pt x="621" y="6515"/>
                  </a:lnTo>
                  <a:lnTo>
                    <a:pt x="0" y="7756"/>
                  </a:lnTo>
                  <a:lnTo>
                    <a:pt x="310" y="8532"/>
                  </a:lnTo>
                  <a:lnTo>
                    <a:pt x="776" y="9307"/>
                  </a:lnTo>
                  <a:lnTo>
                    <a:pt x="1241" y="10083"/>
                  </a:lnTo>
                  <a:lnTo>
                    <a:pt x="1861" y="10703"/>
                  </a:lnTo>
                  <a:lnTo>
                    <a:pt x="2637" y="11169"/>
                  </a:lnTo>
                  <a:lnTo>
                    <a:pt x="2947" y="11169"/>
                  </a:lnTo>
                  <a:lnTo>
                    <a:pt x="3257" y="11014"/>
                  </a:lnTo>
                  <a:lnTo>
                    <a:pt x="3568" y="10703"/>
                  </a:lnTo>
                  <a:lnTo>
                    <a:pt x="3878" y="10238"/>
                  </a:lnTo>
                  <a:lnTo>
                    <a:pt x="4964" y="8687"/>
                  </a:lnTo>
                  <a:lnTo>
                    <a:pt x="5739" y="7446"/>
                  </a:lnTo>
                  <a:lnTo>
                    <a:pt x="6670" y="6515"/>
                  </a:lnTo>
                  <a:lnTo>
                    <a:pt x="7290" y="5740"/>
                  </a:lnTo>
                  <a:lnTo>
                    <a:pt x="7755" y="5275"/>
                  </a:lnTo>
                  <a:lnTo>
                    <a:pt x="8221" y="4654"/>
                  </a:lnTo>
                  <a:lnTo>
                    <a:pt x="8686" y="3568"/>
                  </a:lnTo>
                  <a:lnTo>
                    <a:pt x="8841" y="2483"/>
                  </a:lnTo>
                  <a:lnTo>
                    <a:pt x="8531" y="1397"/>
                  </a:lnTo>
                  <a:lnTo>
                    <a:pt x="8066" y="621"/>
                  </a:lnTo>
                  <a:lnTo>
                    <a:pt x="7755" y="311"/>
                  </a:lnTo>
                  <a:lnTo>
                    <a:pt x="7445" y="156"/>
                  </a:lnTo>
                  <a:lnTo>
                    <a:pt x="6980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" name="Google Shape;6072;p70">
              <a:extLst>
                <a:ext uri="{FF2B5EF4-FFF2-40B4-BE49-F238E27FC236}">
                  <a16:creationId xmlns:a16="http://schemas.microsoft.com/office/drawing/2014/main" id="{27FF5BAE-2DC6-01CC-1AA7-7EB267656EA4}"/>
                </a:ext>
              </a:extLst>
            </p:cNvPr>
            <p:cNvSpPr/>
            <p:nvPr/>
          </p:nvSpPr>
          <p:spPr>
            <a:xfrm>
              <a:off x="3542425" y="1824075"/>
              <a:ext cx="221050" cy="279225"/>
            </a:xfrm>
            <a:custGeom>
              <a:avLst/>
              <a:gdLst/>
              <a:ahLst/>
              <a:cxnLst/>
              <a:rect l="l" t="t" r="r" b="b"/>
              <a:pathLst>
                <a:path w="8842" h="11169" fill="none" extrusionOk="0">
                  <a:moveTo>
                    <a:pt x="0" y="7756"/>
                  </a:moveTo>
                  <a:lnTo>
                    <a:pt x="0" y="7756"/>
                  </a:lnTo>
                  <a:lnTo>
                    <a:pt x="621" y="6515"/>
                  </a:lnTo>
                  <a:lnTo>
                    <a:pt x="1241" y="5585"/>
                  </a:lnTo>
                  <a:lnTo>
                    <a:pt x="1706" y="4809"/>
                  </a:lnTo>
                  <a:lnTo>
                    <a:pt x="1861" y="4344"/>
                  </a:lnTo>
                  <a:lnTo>
                    <a:pt x="2016" y="3879"/>
                  </a:lnTo>
                  <a:lnTo>
                    <a:pt x="2016" y="3879"/>
                  </a:lnTo>
                  <a:lnTo>
                    <a:pt x="2016" y="2793"/>
                  </a:lnTo>
                  <a:lnTo>
                    <a:pt x="2327" y="1707"/>
                  </a:lnTo>
                  <a:lnTo>
                    <a:pt x="2482" y="1242"/>
                  </a:lnTo>
                  <a:lnTo>
                    <a:pt x="2637" y="776"/>
                  </a:lnTo>
                  <a:lnTo>
                    <a:pt x="2947" y="621"/>
                  </a:lnTo>
                  <a:lnTo>
                    <a:pt x="3257" y="621"/>
                  </a:lnTo>
                  <a:lnTo>
                    <a:pt x="3257" y="621"/>
                  </a:lnTo>
                  <a:lnTo>
                    <a:pt x="3723" y="621"/>
                  </a:lnTo>
                  <a:lnTo>
                    <a:pt x="3878" y="776"/>
                  </a:lnTo>
                  <a:lnTo>
                    <a:pt x="4033" y="932"/>
                  </a:lnTo>
                  <a:lnTo>
                    <a:pt x="4188" y="932"/>
                  </a:lnTo>
                  <a:lnTo>
                    <a:pt x="5429" y="311"/>
                  </a:lnTo>
                  <a:lnTo>
                    <a:pt x="5429" y="311"/>
                  </a:lnTo>
                  <a:lnTo>
                    <a:pt x="6049" y="1"/>
                  </a:lnTo>
                  <a:lnTo>
                    <a:pt x="6515" y="1"/>
                  </a:lnTo>
                  <a:lnTo>
                    <a:pt x="6980" y="1"/>
                  </a:lnTo>
                  <a:lnTo>
                    <a:pt x="7445" y="156"/>
                  </a:lnTo>
                  <a:lnTo>
                    <a:pt x="7755" y="311"/>
                  </a:lnTo>
                  <a:lnTo>
                    <a:pt x="8066" y="621"/>
                  </a:lnTo>
                  <a:lnTo>
                    <a:pt x="8531" y="1397"/>
                  </a:lnTo>
                  <a:lnTo>
                    <a:pt x="8841" y="2483"/>
                  </a:lnTo>
                  <a:lnTo>
                    <a:pt x="8686" y="3568"/>
                  </a:lnTo>
                  <a:lnTo>
                    <a:pt x="8221" y="4654"/>
                  </a:lnTo>
                  <a:lnTo>
                    <a:pt x="7755" y="5275"/>
                  </a:lnTo>
                  <a:lnTo>
                    <a:pt x="7290" y="5740"/>
                  </a:lnTo>
                  <a:lnTo>
                    <a:pt x="7290" y="5740"/>
                  </a:lnTo>
                  <a:lnTo>
                    <a:pt x="6670" y="6515"/>
                  </a:lnTo>
                  <a:lnTo>
                    <a:pt x="5739" y="7446"/>
                  </a:lnTo>
                  <a:lnTo>
                    <a:pt x="4964" y="8687"/>
                  </a:lnTo>
                  <a:lnTo>
                    <a:pt x="3878" y="10238"/>
                  </a:lnTo>
                  <a:lnTo>
                    <a:pt x="3878" y="10238"/>
                  </a:lnTo>
                  <a:lnTo>
                    <a:pt x="3568" y="10703"/>
                  </a:lnTo>
                  <a:lnTo>
                    <a:pt x="3257" y="11014"/>
                  </a:lnTo>
                  <a:lnTo>
                    <a:pt x="2947" y="11169"/>
                  </a:lnTo>
                  <a:lnTo>
                    <a:pt x="2637" y="11169"/>
                  </a:lnTo>
                  <a:lnTo>
                    <a:pt x="1861" y="10703"/>
                  </a:lnTo>
                  <a:lnTo>
                    <a:pt x="1241" y="10083"/>
                  </a:lnTo>
                  <a:lnTo>
                    <a:pt x="776" y="9307"/>
                  </a:lnTo>
                  <a:lnTo>
                    <a:pt x="310" y="8532"/>
                  </a:lnTo>
                  <a:lnTo>
                    <a:pt x="0" y="7756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" name="Google Shape;6073;p70">
              <a:extLst>
                <a:ext uri="{FF2B5EF4-FFF2-40B4-BE49-F238E27FC236}">
                  <a16:creationId xmlns:a16="http://schemas.microsoft.com/office/drawing/2014/main" id="{E2363DA5-531A-2A7D-2472-94AF8099C104}"/>
                </a:ext>
              </a:extLst>
            </p:cNvPr>
            <p:cNvSpPr/>
            <p:nvPr/>
          </p:nvSpPr>
          <p:spPr>
            <a:xfrm>
              <a:off x="3321375" y="4298050"/>
              <a:ext cx="182300" cy="290850"/>
            </a:xfrm>
            <a:custGeom>
              <a:avLst/>
              <a:gdLst/>
              <a:ahLst/>
              <a:cxnLst/>
              <a:rect l="l" t="t" r="r" b="b"/>
              <a:pathLst>
                <a:path w="7292" h="11634" extrusionOk="0">
                  <a:moveTo>
                    <a:pt x="1552" y="0"/>
                  </a:moveTo>
                  <a:lnTo>
                    <a:pt x="1" y="8066"/>
                  </a:lnTo>
                  <a:lnTo>
                    <a:pt x="3103" y="11633"/>
                  </a:lnTo>
                  <a:lnTo>
                    <a:pt x="5430" y="8997"/>
                  </a:lnTo>
                  <a:lnTo>
                    <a:pt x="6050" y="6980"/>
                  </a:lnTo>
                  <a:lnTo>
                    <a:pt x="6515" y="4498"/>
                  </a:lnTo>
                  <a:lnTo>
                    <a:pt x="7291" y="1551"/>
                  </a:lnTo>
                  <a:lnTo>
                    <a:pt x="155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" name="Google Shape;6074;p70">
              <a:extLst>
                <a:ext uri="{FF2B5EF4-FFF2-40B4-BE49-F238E27FC236}">
                  <a16:creationId xmlns:a16="http://schemas.microsoft.com/office/drawing/2014/main" id="{255ED9EA-BA86-1850-820D-F270948A94A2}"/>
                </a:ext>
              </a:extLst>
            </p:cNvPr>
            <p:cNvSpPr/>
            <p:nvPr/>
          </p:nvSpPr>
          <p:spPr>
            <a:xfrm>
              <a:off x="2883200" y="641400"/>
              <a:ext cx="2101750" cy="1182700"/>
            </a:xfrm>
            <a:custGeom>
              <a:avLst/>
              <a:gdLst/>
              <a:ahLst/>
              <a:cxnLst/>
              <a:rect l="l" t="t" r="r" b="b"/>
              <a:pathLst>
                <a:path w="84070" h="47308" extrusionOk="0">
                  <a:moveTo>
                    <a:pt x="72591" y="0"/>
                  </a:moveTo>
                  <a:lnTo>
                    <a:pt x="932" y="41104"/>
                  </a:lnTo>
                  <a:lnTo>
                    <a:pt x="621" y="41259"/>
                  </a:lnTo>
                  <a:lnTo>
                    <a:pt x="311" y="41724"/>
                  </a:lnTo>
                  <a:lnTo>
                    <a:pt x="156" y="42034"/>
                  </a:lnTo>
                  <a:lnTo>
                    <a:pt x="1" y="42500"/>
                  </a:lnTo>
                  <a:lnTo>
                    <a:pt x="1" y="43585"/>
                  </a:lnTo>
                  <a:lnTo>
                    <a:pt x="311" y="44671"/>
                  </a:lnTo>
                  <a:lnTo>
                    <a:pt x="776" y="45757"/>
                  </a:lnTo>
                  <a:lnTo>
                    <a:pt x="1397" y="46532"/>
                  </a:lnTo>
                  <a:lnTo>
                    <a:pt x="2172" y="47153"/>
                  </a:lnTo>
                  <a:lnTo>
                    <a:pt x="2483" y="47153"/>
                  </a:lnTo>
                  <a:lnTo>
                    <a:pt x="2948" y="47308"/>
                  </a:lnTo>
                  <a:lnTo>
                    <a:pt x="84069" y="38622"/>
                  </a:lnTo>
                  <a:lnTo>
                    <a:pt x="72591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" name="Google Shape;6075;p70">
              <a:extLst>
                <a:ext uri="{FF2B5EF4-FFF2-40B4-BE49-F238E27FC236}">
                  <a16:creationId xmlns:a16="http://schemas.microsoft.com/office/drawing/2014/main" id="{6E6954D2-0672-2325-C0C6-0159FA8CCA12}"/>
                </a:ext>
              </a:extLst>
            </p:cNvPr>
            <p:cNvSpPr/>
            <p:nvPr/>
          </p:nvSpPr>
          <p:spPr>
            <a:xfrm>
              <a:off x="3410575" y="1641825"/>
              <a:ext cx="539025" cy="286975"/>
            </a:xfrm>
            <a:custGeom>
              <a:avLst/>
              <a:gdLst/>
              <a:ahLst/>
              <a:cxnLst/>
              <a:rect l="l" t="t" r="r" b="b"/>
              <a:pathLst>
                <a:path w="21561" h="11479" extrusionOk="0">
                  <a:moveTo>
                    <a:pt x="16752" y="2483"/>
                  </a:moveTo>
                  <a:lnTo>
                    <a:pt x="17217" y="2638"/>
                  </a:lnTo>
                  <a:lnTo>
                    <a:pt x="17372" y="2793"/>
                  </a:lnTo>
                  <a:lnTo>
                    <a:pt x="17528" y="4809"/>
                  </a:lnTo>
                  <a:lnTo>
                    <a:pt x="17528" y="5895"/>
                  </a:lnTo>
                  <a:lnTo>
                    <a:pt x="17217" y="6670"/>
                  </a:lnTo>
                  <a:lnTo>
                    <a:pt x="16597" y="7446"/>
                  </a:lnTo>
                  <a:lnTo>
                    <a:pt x="15511" y="8222"/>
                  </a:lnTo>
                  <a:lnTo>
                    <a:pt x="14115" y="8842"/>
                  </a:lnTo>
                  <a:lnTo>
                    <a:pt x="11944" y="9307"/>
                  </a:lnTo>
                  <a:lnTo>
                    <a:pt x="9772" y="9462"/>
                  </a:lnTo>
                  <a:lnTo>
                    <a:pt x="8997" y="9462"/>
                  </a:lnTo>
                  <a:lnTo>
                    <a:pt x="8221" y="9307"/>
                  </a:lnTo>
                  <a:lnTo>
                    <a:pt x="7601" y="9152"/>
                  </a:lnTo>
                  <a:lnTo>
                    <a:pt x="6980" y="8997"/>
                  </a:lnTo>
                  <a:lnTo>
                    <a:pt x="6205" y="8222"/>
                  </a:lnTo>
                  <a:lnTo>
                    <a:pt x="5739" y="7446"/>
                  </a:lnTo>
                  <a:lnTo>
                    <a:pt x="5429" y="6515"/>
                  </a:lnTo>
                  <a:lnTo>
                    <a:pt x="4809" y="4809"/>
                  </a:lnTo>
                  <a:lnTo>
                    <a:pt x="6825" y="4344"/>
                  </a:lnTo>
                  <a:lnTo>
                    <a:pt x="11013" y="3258"/>
                  </a:lnTo>
                  <a:lnTo>
                    <a:pt x="13340" y="2948"/>
                  </a:lnTo>
                  <a:lnTo>
                    <a:pt x="15356" y="2638"/>
                  </a:lnTo>
                  <a:lnTo>
                    <a:pt x="16752" y="2483"/>
                  </a:lnTo>
                  <a:close/>
                  <a:moveTo>
                    <a:pt x="20164" y="1"/>
                  </a:moveTo>
                  <a:lnTo>
                    <a:pt x="19079" y="156"/>
                  </a:lnTo>
                  <a:lnTo>
                    <a:pt x="17683" y="156"/>
                  </a:lnTo>
                  <a:lnTo>
                    <a:pt x="14270" y="776"/>
                  </a:lnTo>
                  <a:lnTo>
                    <a:pt x="10393" y="1552"/>
                  </a:lnTo>
                  <a:lnTo>
                    <a:pt x="3258" y="3103"/>
                  </a:lnTo>
                  <a:lnTo>
                    <a:pt x="0" y="3879"/>
                  </a:lnTo>
                  <a:lnTo>
                    <a:pt x="1241" y="7756"/>
                  </a:lnTo>
                  <a:lnTo>
                    <a:pt x="1862" y="9152"/>
                  </a:lnTo>
                  <a:lnTo>
                    <a:pt x="2172" y="9773"/>
                  </a:lnTo>
                  <a:lnTo>
                    <a:pt x="2637" y="10238"/>
                  </a:lnTo>
                  <a:lnTo>
                    <a:pt x="3258" y="10548"/>
                  </a:lnTo>
                  <a:lnTo>
                    <a:pt x="3878" y="10858"/>
                  </a:lnTo>
                  <a:lnTo>
                    <a:pt x="4809" y="11169"/>
                  </a:lnTo>
                  <a:lnTo>
                    <a:pt x="5739" y="11324"/>
                  </a:lnTo>
                  <a:lnTo>
                    <a:pt x="8531" y="11479"/>
                  </a:lnTo>
                  <a:lnTo>
                    <a:pt x="12099" y="11479"/>
                  </a:lnTo>
                  <a:lnTo>
                    <a:pt x="14115" y="11324"/>
                  </a:lnTo>
                  <a:lnTo>
                    <a:pt x="15821" y="11013"/>
                  </a:lnTo>
                  <a:lnTo>
                    <a:pt x="17217" y="10548"/>
                  </a:lnTo>
                  <a:lnTo>
                    <a:pt x="18458" y="9928"/>
                  </a:lnTo>
                  <a:lnTo>
                    <a:pt x="19389" y="9152"/>
                  </a:lnTo>
                  <a:lnTo>
                    <a:pt x="20164" y="8377"/>
                  </a:lnTo>
                  <a:lnTo>
                    <a:pt x="20630" y="7446"/>
                  </a:lnTo>
                  <a:lnTo>
                    <a:pt x="21095" y="6515"/>
                  </a:lnTo>
                  <a:lnTo>
                    <a:pt x="21405" y="5585"/>
                  </a:lnTo>
                  <a:lnTo>
                    <a:pt x="21560" y="4654"/>
                  </a:lnTo>
                  <a:lnTo>
                    <a:pt x="21560" y="2948"/>
                  </a:lnTo>
                  <a:lnTo>
                    <a:pt x="21405" y="1397"/>
                  </a:lnTo>
                  <a:lnTo>
                    <a:pt x="21250" y="466"/>
                  </a:lnTo>
                  <a:lnTo>
                    <a:pt x="21095" y="311"/>
                  </a:lnTo>
                  <a:lnTo>
                    <a:pt x="20940" y="156"/>
                  </a:lnTo>
                  <a:lnTo>
                    <a:pt x="20164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" name="Google Shape;6076;p70">
              <a:extLst>
                <a:ext uri="{FF2B5EF4-FFF2-40B4-BE49-F238E27FC236}">
                  <a16:creationId xmlns:a16="http://schemas.microsoft.com/office/drawing/2014/main" id="{296EB87C-8BED-BF12-E9A3-69DF1A02D7FA}"/>
                </a:ext>
              </a:extLst>
            </p:cNvPr>
            <p:cNvSpPr/>
            <p:nvPr/>
          </p:nvSpPr>
          <p:spPr>
            <a:xfrm>
              <a:off x="4604900" y="637525"/>
              <a:ext cx="480850" cy="973300"/>
            </a:xfrm>
            <a:custGeom>
              <a:avLst/>
              <a:gdLst/>
              <a:ahLst/>
              <a:cxnLst/>
              <a:rect l="l" t="t" r="r" b="b"/>
              <a:pathLst>
                <a:path w="19234" h="38932" extrusionOk="0">
                  <a:moveTo>
                    <a:pt x="4654" y="0"/>
                  </a:moveTo>
                  <a:lnTo>
                    <a:pt x="3878" y="155"/>
                  </a:lnTo>
                  <a:lnTo>
                    <a:pt x="3103" y="465"/>
                  </a:lnTo>
                  <a:lnTo>
                    <a:pt x="2482" y="931"/>
                  </a:lnTo>
                  <a:lnTo>
                    <a:pt x="1862" y="1706"/>
                  </a:lnTo>
                  <a:lnTo>
                    <a:pt x="1396" y="2482"/>
                  </a:lnTo>
                  <a:lnTo>
                    <a:pt x="931" y="3568"/>
                  </a:lnTo>
                  <a:lnTo>
                    <a:pt x="621" y="4653"/>
                  </a:lnTo>
                  <a:lnTo>
                    <a:pt x="311" y="5894"/>
                  </a:lnTo>
                  <a:lnTo>
                    <a:pt x="156" y="7445"/>
                  </a:lnTo>
                  <a:lnTo>
                    <a:pt x="1" y="10547"/>
                  </a:lnTo>
                  <a:lnTo>
                    <a:pt x="156" y="13960"/>
                  </a:lnTo>
                  <a:lnTo>
                    <a:pt x="776" y="17837"/>
                  </a:lnTo>
                  <a:lnTo>
                    <a:pt x="1862" y="21715"/>
                  </a:lnTo>
                  <a:lnTo>
                    <a:pt x="3103" y="25593"/>
                  </a:lnTo>
                  <a:lnTo>
                    <a:pt x="4654" y="29160"/>
                  </a:lnTo>
                  <a:lnTo>
                    <a:pt x="6360" y="32107"/>
                  </a:lnTo>
                  <a:lnTo>
                    <a:pt x="8066" y="34744"/>
                  </a:lnTo>
                  <a:lnTo>
                    <a:pt x="8997" y="35830"/>
                  </a:lnTo>
                  <a:lnTo>
                    <a:pt x="9927" y="36760"/>
                  </a:lnTo>
                  <a:lnTo>
                    <a:pt x="10858" y="37536"/>
                  </a:lnTo>
                  <a:lnTo>
                    <a:pt x="11789" y="38156"/>
                  </a:lnTo>
                  <a:lnTo>
                    <a:pt x="12719" y="38622"/>
                  </a:lnTo>
                  <a:lnTo>
                    <a:pt x="13495" y="38932"/>
                  </a:lnTo>
                  <a:lnTo>
                    <a:pt x="14425" y="38932"/>
                  </a:lnTo>
                  <a:lnTo>
                    <a:pt x="15201" y="38777"/>
                  </a:lnTo>
                  <a:lnTo>
                    <a:pt x="16132" y="38467"/>
                  </a:lnTo>
                  <a:lnTo>
                    <a:pt x="16907" y="37691"/>
                  </a:lnTo>
                  <a:lnTo>
                    <a:pt x="17528" y="36916"/>
                  </a:lnTo>
                  <a:lnTo>
                    <a:pt x="18148" y="35675"/>
                  </a:lnTo>
                  <a:lnTo>
                    <a:pt x="18613" y="34124"/>
                  </a:lnTo>
                  <a:lnTo>
                    <a:pt x="19079" y="32262"/>
                  </a:lnTo>
                  <a:lnTo>
                    <a:pt x="19234" y="30091"/>
                  </a:lnTo>
                  <a:lnTo>
                    <a:pt x="19234" y="27764"/>
                  </a:lnTo>
                  <a:lnTo>
                    <a:pt x="19079" y="25283"/>
                  </a:lnTo>
                  <a:lnTo>
                    <a:pt x="18613" y="22646"/>
                  </a:lnTo>
                  <a:lnTo>
                    <a:pt x="18148" y="20009"/>
                  </a:lnTo>
                  <a:lnTo>
                    <a:pt x="17373" y="17217"/>
                  </a:lnTo>
                  <a:lnTo>
                    <a:pt x="16442" y="14115"/>
                  </a:lnTo>
                  <a:lnTo>
                    <a:pt x="15201" y="11323"/>
                  </a:lnTo>
                  <a:lnTo>
                    <a:pt x="13960" y="8686"/>
                  </a:lnTo>
                  <a:lnTo>
                    <a:pt x="12719" y="6359"/>
                  </a:lnTo>
                  <a:lnTo>
                    <a:pt x="11323" y="4343"/>
                  </a:lnTo>
                  <a:lnTo>
                    <a:pt x="9772" y="2637"/>
                  </a:lnTo>
                  <a:lnTo>
                    <a:pt x="8376" y="1396"/>
                  </a:lnTo>
                  <a:lnTo>
                    <a:pt x="6980" y="465"/>
                  </a:lnTo>
                  <a:lnTo>
                    <a:pt x="6205" y="155"/>
                  </a:lnTo>
                  <a:lnTo>
                    <a:pt x="5429" y="0"/>
                  </a:ln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" name="Google Shape;6077;p70">
              <a:extLst>
                <a:ext uri="{FF2B5EF4-FFF2-40B4-BE49-F238E27FC236}">
                  <a16:creationId xmlns:a16="http://schemas.microsoft.com/office/drawing/2014/main" id="{D84630CF-E16F-1B49-5D30-4117BEDF7D1C}"/>
                </a:ext>
              </a:extLst>
            </p:cNvPr>
            <p:cNvSpPr/>
            <p:nvPr/>
          </p:nvSpPr>
          <p:spPr>
            <a:xfrm>
              <a:off x="3212800" y="1529375"/>
              <a:ext cx="221075" cy="352900"/>
            </a:xfrm>
            <a:custGeom>
              <a:avLst/>
              <a:gdLst/>
              <a:ahLst/>
              <a:cxnLst/>
              <a:rect l="l" t="t" r="r" b="b"/>
              <a:pathLst>
                <a:path w="8843" h="14116" extrusionOk="0">
                  <a:moveTo>
                    <a:pt x="4344" y="1"/>
                  </a:moveTo>
                  <a:lnTo>
                    <a:pt x="3879" y="156"/>
                  </a:lnTo>
                  <a:lnTo>
                    <a:pt x="3568" y="621"/>
                  </a:lnTo>
                  <a:lnTo>
                    <a:pt x="3413" y="1086"/>
                  </a:lnTo>
                  <a:lnTo>
                    <a:pt x="3258" y="2327"/>
                  </a:lnTo>
                  <a:lnTo>
                    <a:pt x="3258" y="3258"/>
                  </a:lnTo>
                  <a:lnTo>
                    <a:pt x="3103" y="3878"/>
                  </a:lnTo>
                  <a:lnTo>
                    <a:pt x="2948" y="4189"/>
                  </a:lnTo>
                  <a:lnTo>
                    <a:pt x="2638" y="4499"/>
                  </a:lnTo>
                  <a:lnTo>
                    <a:pt x="2328" y="4499"/>
                  </a:lnTo>
                  <a:lnTo>
                    <a:pt x="1707" y="4654"/>
                  </a:lnTo>
                  <a:lnTo>
                    <a:pt x="1397" y="4654"/>
                  </a:lnTo>
                  <a:lnTo>
                    <a:pt x="932" y="4809"/>
                  </a:lnTo>
                  <a:lnTo>
                    <a:pt x="932" y="5119"/>
                  </a:lnTo>
                  <a:lnTo>
                    <a:pt x="932" y="5430"/>
                  </a:lnTo>
                  <a:lnTo>
                    <a:pt x="1397" y="6205"/>
                  </a:lnTo>
                  <a:lnTo>
                    <a:pt x="1862" y="7136"/>
                  </a:lnTo>
                  <a:lnTo>
                    <a:pt x="1862" y="7446"/>
                  </a:lnTo>
                  <a:lnTo>
                    <a:pt x="1862" y="7756"/>
                  </a:lnTo>
                  <a:lnTo>
                    <a:pt x="1397" y="8842"/>
                  </a:lnTo>
                  <a:lnTo>
                    <a:pt x="777" y="9928"/>
                  </a:lnTo>
                  <a:lnTo>
                    <a:pt x="1" y="10858"/>
                  </a:lnTo>
                  <a:lnTo>
                    <a:pt x="466" y="11634"/>
                  </a:lnTo>
                  <a:lnTo>
                    <a:pt x="1707" y="13030"/>
                  </a:lnTo>
                  <a:lnTo>
                    <a:pt x="2328" y="13650"/>
                  </a:lnTo>
                  <a:lnTo>
                    <a:pt x="3103" y="13960"/>
                  </a:lnTo>
                  <a:lnTo>
                    <a:pt x="3413" y="14116"/>
                  </a:lnTo>
                  <a:lnTo>
                    <a:pt x="3724" y="13960"/>
                  </a:lnTo>
                  <a:lnTo>
                    <a:pt x="4034" y="13805"/>
                  </a:lnTo>
                  <a:lnTo>
                    <a:pt x="4344" y="13495"/>
                  </a:lnTo>
                  <a:lnTo>
                    <a:pt x="4654" y="12720"/>
                  </a:lnTo>
                  <a:lnTo>
                    <a:pt x="4964" y="11944"/>
                  </a:lnTo>
                  <a:lnTo>
                    <a:pt x="5430" y="10238"/>
                  </a:lnTo>
                  <a:lnTo>
                    <a:pt x="5740" y="9462"/>
                  </a:lnTo>
                  <a:lnTo>
                    <a:pt x="6050" y="8532"/>
                  </a:lnTo>
                  <a:lnTo>
                    <a:pt x="6515" y="7756"/>
                  </a:lnTo>
                  <a:lnTo>
                    <a:pt x="7291" y="6981"/>
                  </a:lnTo>
                  <a:lnTo>
                    <a:pt x="8067" y="5895"/>
                  </a:lnTo>
                  <a:lnTo>
                    <a:pt x="8532" y="4964"/>
                  </a:lnTo>
                  <a:lnTo>
                    <a:pt x="8842" y="3878"/>
                  </a:lnTo>
                  <a:lnTo>
                    <a:pt x="8687" y="2948"/>
                  </a:lnTo>
                  <a:lnTo>
                    <a:pt x="8222" y="2017"/>
                  </a:lnTo>
                  <a:lnTo>
                    <a:pt x="7446" y="1242"/>
                  </a:lnTo>
                  <a:lnTo>
                    <a:pt x="6360" y="466"/>
                  </a:lnTo>
                  <a:lnTo>
                    <a:pt x="4964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" name="Google Shape;6078;p70">
              <a:extLst>
                <a:ext uri="{FF2B5EF4-FFF2-40B4-BE49-F238E27FC236}">
                  <a16:creationId xmlns:a16="http://schemas.microsoft.com/office/drawing/2014/main" id="{057FF1EA-A1FE-9F66-1384-B55B0250B43C}"/>
                </a:ext>
              </a:extLst>
            </p:cNvPr>
            <p:cNvSpPr/>
            <p:nvPr/>
          </p:nvSpPr>
          <p:spPr>
            <a:xfrm>
              <a:off x="3647125" y="1824075"/>
              <a:ext cx="124100" cy="100850"/>
            </a:xfrm>
            <a:custGeom>
              <a:avLst/>
              <a:gdLst/>
              <a:ahLst/>
              <a:cxnLst/>
              <a:rect l="l" t="t" r="r" b="b"/>
              <a:pathLst>
                <a:path w="4964" h="4034" extrusionOk="0">
                  <a:moveTo>
                    <a:pt x="1861" y="1"/>
                  </a:moveTo>
                  <a:lnTo>
                    <a:pt x="1551" y="156"/>
                  </a:lnTo>
                  <a:lnTo>
                    <a:pt x="1241" y="311"/>
                  </a:lnTo>
                  <a:lnTo>
                    <a:pt x="931" y="776"/>
                  </a:lnTo>
                  <a:lnTo>
                    <a:pt x="310" y="1552"/>
                  </a:lnTo>
                  <a:lnTo>
                    <a:pt x="0" y="2328"/>
                  </a:lnTo>
                  <a:lnTo>
                    <a:pt x="0" y="2638"/>
                  </a:lnTo>
                  <a:lnTo>
                    <a:pt x="155" y="2948"/>
                  </a:lnTo>
                  <a:lnTo>
                    <a:pt x="620" y="3413"/>
                  </a:lnTo>
                  <a:lnTo>
                    <a:pt x="776" y="3568"/>
                  </a:lnTo>
                  <a:lnTo>
                    <a:pt x="1706" y="3879"/>
                  </a:lnTo>
                  <a:lnTo>
                    <a:pt x="2482" y="3879"/>
                  </a:lnTo>
                  <a:lnTo>
                    <a:pt x="3102" y="4034"/>
                  </a:lnTo>
                  <a:lnTo>
                    <a:pt x="3567" y="3879"/>
                  </a:lnTo>
                  <a:lnTo>
                    <a:pt x="4343" y="3568"/>
                  </a:lnTo>
                  <a:lnTo>
                    <a:pt x="4653" y="3103"/>
                  </a:lnTo>
                  <a:lnTo>
                    <a:pt x="4963" y="2638"/>
                  </a:lnTo>
                  <a:lnTo>
                    <a:pt x="4963" y="2017"/>
                  </a:lnTo>
                  <a:lnTo>
                    <a:pt x="4963" y="1397"/>
                  </a:lnTo>
                  <a:lnTo>
                    <a:pt x="4498" y="776"/>
                  </a:lnTo>
                  <a:lnTo>
                    <a:pt x="4188" y="466"/>
                  </a:lnTo>
                  <a:lnTo>
                    <a:pt x="3723" y="311"/>
                  </a:lnTo>
                  <a:lnTo>
                    <a:pt x="2792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" name="Google Shape;6079;p70">
              <a:extLst>
                <a:ext uri="{FF2B5EF4-FFF2-40B4-BE49-F238E27FC236}">
                  <a16:creationId xmlns:a16="http://schemas.microsoft.com/office/drawing/2014/main" id="{696E0A62-2820-6C3D-D583-2FD16C92E462}"/>
                </a:ext>
              </a:extLst>
            </p:cNvPr>
            <p:cNvSpPr/>
            <p:nvPr/>
          </p:nvSpPr>
          <p:spPr>
            <a:xfrm>
              <a:off x="3588950" y="1851225"/>
              <a:ext cx="54300" cy="96975"/>
            </a:xfrm>
            <a:custGeom>
              <a:avLst/>
              <a:gdLst/>
              <a:ahLst/>
              <a:cxnLst/>
              <a:rect l="l" t="t" r="r" b="b"/>
              <a:pathLst>
                <a:path w="2172" h="3879" extrusionOk="0">
                  <a:moveTo>
                    <a:pt x="1862" y="1"/>
                  </a:moveTo>
                  <a:lnTo>
                    <a:pt x="621" y="156"/>
                  </a:lnTo>
                  <a:lnTo>
                    <a:pt x="466" y="776"/>
                  </a:lnTo>
                  <a:lnTo>
                    <a:pt x="0" y="3413"/>
                  </a:lnTo>
                  <a:lnTo>
                    <a:pt x="1551" y="3878"/>
                  </a:lnTo>
                  <a:lnTo>
                    <a:pt x="1707" y="3258"/>
                  </a:lnTo>
                  <a:lnTo>
                    <a:pt x="2017" y="2017"/>
                  </a:lnTo>
                  <a:lnTo>
                    <a:pt x="2172" y="1242"/>
                  </a:lnTo>
                  <a:lnTo>
                    <a:pt x="2017" y="621"/>
                  </a:lnTo>
                  <a:lnTo>
                    <a:pt x="1862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6080;p70">
              <a:extLst>
                <a:ext uri="{FF2B5EF4-FFF2-40B4-BE49-F238E27FC236}">
                  <a16:creationId xmlns:a16="http://schemas.microsoft.com/office/drawing/2014/main" id="{92022947-E3AA-442F-22AB-6500CA94F011}"/>
                </a:ext>
              </a:extLst>
            </p:cNvPr>
            <p:cNvSpPr/>
            <p:nvPr/>
          </p:nvSpPr>
          <p:spPr>
            <a:xfrm>
              <a:off x="2825050" y="1378150"/>
              <a:ext cx="42675" cy="69825"/>
            </a:xfrm>
            <a:custGeom>
              <a:avLst/>
              <a:gdLst/>
              <a:ahLst/>
              <a:cxnLst/>
              <a:rect l="l" t="t" r="r" b="b"/>
              <a:pathLst>
                <a:path w="1707" h="2793" extrusionOk="0">
                  <a:moveTo>
                    <a:pt x="155" y="1"/>
                  </a:moveTo>
                  <a:lnTo>
                    <a:pt x="0" y="156"/>
                  </a:lnTo>
                  <a:lnTo>
                    <a:pt x="0" y="466"/>
                  </a:lnTo>
                  <a:lnTo>
                    <a:pt x="310" y="1241"/>
                  </a:lnTo>
                  <a:lnTo>
                    <a:pt x="931" y="2172"/>
                  </a:lnTo>
                  <a:lnTo>
                    <a:pt x="1706" y="2792"/>
                  </a:lnTo>
                  <a:lnTo>
                    <a:pt x="1241" y="1397"/>
                  </a:lnTo>
                  <a:lnTo>
                    <a:pt x="621" y="466"/>
                  </a:lnTo>
                  <a:lnTo>
                    <a:pt x="466" y="156"/>
                  </a:lnTo>
                  <a:lnTo>
                    <a:pt x="155" y="1"/>
                  </a:lnTo>
                  <a:close/>
                </a:path>
              </a:pathLst>
            </a:custGeom>
            <a:solidFill>
              <a:srgbClr val="28282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" name="Google Shape;6081;p70">
              <a:extLst>
                <a:ext uri="{FF2B5EF4-FFF2-40B4-BE49-F238E27FC236}">
                  <a16:creationId xmlns:a16="http://schemas.microsoft.com/office/drawing/2014/main" id="{9075165F-FD61-F5B6-A556-F2529CC20673}"/>
                </a:ext>
              </a:extLst>
            </p:cNvPr>
            <p:cNvSpPr/>
            <p:nvPr/>
          </p:nvSpPr>
          <p:spPr>
            <a:xfrm>
              <a:off x="2825050" y="1378150"/>
              <a:ext cx="42675" cy="69825"/>
            </a:xfrm>
            <a:custGeom>
              <a:avLst/>
              <a:gdLst/>
              <a:ahLst/>
              <a:cxnLst/>
              <a:rect l="l" t="t" r="r" b="b"/>
              <a:pathLst>
                <a:path w="1707" h="2793" fill="none" extrusionOk="0">
                  <a:moveTo>
                    <a:pt x="155" y="1"/>
                  </a:moveTo>
                  <a:lnTo>
                    <a:pt x="155" y="1"/>
                  </a:lnTo>
                  <a:lnTo>
                    <a:pt x="155" y="1"/>
                  </a:lnTo>
                  <a:lnTo>
                    <a:pt x="155" y="1"/>
                  </a:lnTo>
                  <a:lnTo>
                    <a:pt x="0" y="156"/>
                  </a:lnTo>
                  <a:lnTo>
                    <a:pt x="0" y="466"/>
                  </a:lnTo>
                  <a:lnTo>
                    <a:pt x="310" y="1241"/>
                  </a:lnTo>
                  <a:lnTo>
                    <a:pt x="931" y="2172"/>
                  </a:lnTo>
                  <a:lnTo>
                    <a:pt x="1706" y="2792"/>
                  </a:lnTo>
                  <a:lnTo>
                    <a:pt x="1706" y="2792"/>
                  </a:lnTo>
                  <a:lnTo>
                    <a:pt x="1241" y="1397"/>
                  </a:lnTo>
                  <a:lnTo>
                    <a:pt x="621" y="466"/>
                  </a:lnTo>
                  <a:lnTo>
                    <a:pt x="466" y="156"/>
                  </a:lnTo>
                  <a:lnTo>
                    <a:pt x="15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" name="Google Shape;6082;p70">
              <a:extLst>
                <a:ext uri="{FF2B5EF4-FFF2-40B4-BE49-F238E27FC236}">
                  <a16:creationId xmlns:a16="http://schemas.microsoft.com/office/drawing/2014/main" id="{49E86185-F44E-FAD6-A7B4-72A848A8836D}"/>
                </a:ext>
              </a:extLst>
            </p:cNvPr>
            <p:cNvSpPr/>
            <p:nvPr/>
          </p:nvSpPr>
          <p:spPr>
            <a:xfrm>
              <a:off x="3007300" y="1413050"/>
              <a:ext cx="96950" cy="50425"/>
            </a:xfrm>
            <a:custGeom>
              <a:avLst/>
              <a:gdLst/>
              <a:ahLst/>
              <a:cxnLst/>
              <a:rect l="l" t="t" r="r" b="b"/>
              <a:pathLst>
                <a:path w="3878" h="2017" extrusionOk="0">
                  <a:moveTo>
                    <a:pt x="3413" y="1"/>
                  </a:moveTo>
                  <a:lnTo>
                    <a:pt x="2637" y="156"/>
                  </a:lnTo>
                  <a:lnTo>
                    <a:pt x="1706" y="621"/>
                  </a:lnTo>
                  <a:lnTo>
                    <a:pt x="776" y="1396"/>
                  </a:lnTo>
                  <a:lnTo>
                    <a:pt x="0" y="2017"/>
                  </a:lnTo>
                  <a:lnTo>
                    <a:pt x="0" y="2017"/>
                  </a:lnTo>
                  <a:lnTo>
                    <a:pt x="2017" y="1396"/>
                  </a:lnTo>
                  <a:lnTo>
                    <a:pt x="3413" y="776"/>
                  </a:lnTo>
                  <a:lnTo>
                    <a:pt x="3723" y="466"/>
                  </a:lnTo>
                  <a:lnTo>
                    <a:pt x="3878" y="311"/>
                  </a:lnTo>
                  <a:lnTo>
                    <a:pt x="3878" y="156"/>
                  </a:lnTo>
                  <a:lnTo>
                    <a:pt x="3568" y="1"/>
                  </a:lnTo>
                  <a:close/>
                </a:path>
              </a:pathLst>
            </a:custGeom>
            <a:solidFill>
              <a:srgbClr val="28282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6083;p70">
              <a:extLst>
                <a:ext uri="{FF2B5EF4-FFF2-40B4-BE49-F238E27FC236}">
                  <a16:creationId xmlns:a16="http://schemas.microsoft.com/office/drawing/2014/main" id="{15830449-B514-60A2-1F3A-08D91C62C1DD}"/>
                </a:ext>
              </a:extLst>
            </p:cNvPr>
            <p:cNvSpPr/>
            <p:nvPr/>
          </p:nvSpPr>
          <p:spPr>
            <a:xfrm>
              <a:off x="3007300" y="1413050"/>
              <a:ext cx="96950" cy="50425"/>
            </a:xfrm>
            <a:custGeom>
              <a:avLst/>
              <a:gdLst/>
              <a:ahLst/>
              <a:cxnLst/>
              <a:rect l="l" t="t" r="r" b="b"/>
              <a:pathLst>
                <a:path w="3878" h="2017" fill="none" extrusionOk="0">
                  <a:moveTo>
                    <a:pt x="3413" y="1"/>
                  </a:moveTo>
                  <a:lnTo>
                    <a:pt x="3413" y="1"/>
                  </a:lnTo>
                  <a:lnTo>
                    <a:pt x="2637" y="156"/>
                  </a:lnTo>
                  <a:lnTo>
                    <a:pt x="1706" y="621"/>
                  </a:lnTo>
                  <a:lnTo>
                    <a:pt x="776" y="1396"/>
                  </a:lnTo>
                  <a:lnTo>
                    <a:pt x="0" y="2017"/>
                  </a:lnTo>
                  <a:lnTo>
                    <a:pt x="0" y="2017"/>
                  </a:lnTo>
                  <a:lnTo>
                    <a:pt x="2017" y="1396"/>
                  </a:lnTo>
                  <a:lnTo>
                    <a:pt x="3413" y="776"/>
                  </a:lnTo>
                  <a:lnTo>
                    <a:pt x="3723" y="466"/>
                  </a:lnTo>
                  <a:lnTo>
                    <a:pt x="3878" y="311"/>
                  </a:lnTo>
                  <a:lnTo>
                    <a:pt x="3878" y="156"/>
                  </a:lnTo>
                  <a:lnTo>
                    <a:pt x="3878" y="156"/>
                  </a:lnTo>
                  <a:lnTo>
                    <a:pt x="3568" y="1"/>
                  </a:lnTo>
                  <a:lnTo>
                    <a:pt x="3413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" name="Google Shape;6084;p70">
              <a:extLst>
                <a:ext uri="{FF2B5EF4-FFF2-40B4-BE49-F238E27FC236}">
                  <a16:creationId xmlns:a16="http://schemas.microsoft.com/office/drawing/2014/main" id="{5FAC603F-3AA3-F881-678D-978629F8B9FA}"/>
                </a:ext>
              </a:extLst>
            </p:cNvPr>
            <p:cNvSpPr/>
            <p:nvPr/>
          </p:nvSpPr>
          <p:spPr>
            <a:xfrm>
              <a:off x="2902600" y="1319975"/>
              <a:ext cx="23300" cy="108600"/>
            </a:xfrm>
            <a:custGeom>
              <a:avLst/>
              <a:gdLst/>
              <a:ahLst/>
              <a:cxnLst/>
              <a:rect l="l" t="t" r="r" b="b"/>
              <a:pathLst>
                <a:path w="932" h="4344" extrusionOk="0">
                  <a:moveTo>
                    <a:pt x="466" y="1"/>
                  </a:moveTo>
                  <a:lnTo>
                    <a:pt x="311" y="156"/>
                  </a:lnTo>
                  <a:lnTo>
                    <a:pt x="156" y="621"/>
                  </a:lnTo>
                  <a:lnTo>
                    <a:pt x="0" y="1087"/>
                  </a:lnTo>
                  <a:lnTo>
                    <a:pt x="0" y="1707"/>
                  </a:lnTo>
                  <a:lnTo>
                    <a:pt x="311" y="3103"/>
                  </a:lnTo>
                  <a:lnTo>
                    <a:pt x="776" y="4344"/>
                  </a:lnTo>
                  <a:lnTo>
                    <a:pt x="931" y="2172"/>
                  </a:lnTo>
                  <a:lnTo>
                    <a:pt x="931" y="776"/>
                  </a:lnTo>
                  <a:lnTo>
                    <a:pt x="776" y="311"/>
                  </a:lnTo>
                  <a:lnTo>
                    <a:pt x="776" y="156"/>
                  </a:lnTo>
                  <a:lnTo>
                    <a:pt x="621" y="1"/>
                  </a:lnTo>
                  <a:close/>
                </a:path>
              </a:pathLst>
            </a:custGeom>
            <a:solidFill>
              <a:srgbClr val="28282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" name="Google Shape;6085;p70">
              <a:extLst>
                <a:ext uri="{FF2B5EF4-FFF2-40B4-BE49-F238E27FC236}">
                  <a16:creationId xmlns:a16="http://schemas.microsoft.com/office/drawing/2014/main" id="{962AF89E-9FEC-376F-4DED-2E91A6051A85}"/>
                </a:ext>
              </a:extLst>
            </p:cNvPr>
            <p:cNvSpPr/>
            <p:nvPr/>
          </p:nvSpPr>
          <p:spPr>
            <a:xfrm>
              <a:off x="2902600" y="1319975"/>
              <a:ext cx="23300" cy="108600"/>
            </a:xfrm>
            <a:custGeom>
              <a:avLst/>
              <a:gdLst/>
              <a:ahLst/>
              <a:cxnLst/>
              <a:rect l="l" t="t" r="r" b="b"/>
              <a:pathLst>
                <a:path w="932" h="4344" fill="none" extrusionOk="0">
                  <a:moveTo>
                    <a:pt x="621" y="1"/>
                  </a:moveTo>
                  <a:lnTo>
                    <a:pt x="621" y="1"/>
                  </a:lnTo>
                  <a:lnTo>
                    <a:pt x="466" y="1"/>
                  </a:lnTo>
                  <a:lnTo>
                    <a:pt x="466" y="1"/>
                  </a:lnTo>
                  <a:lnTo>
                    <a:pt x="311" y="156"/>
                  </a:lnTo>
                  <a:lnTo>
                    <a:pt x="156" y="621"/>
                  </a:lnTo>
                  <a:lnTo>
                    <a:pt x="0" y="1087"/>
                  </a:lnTo>
                  <a:lnTo>
                    <a:pt x="0" y="1707"/>
                  </a:lnTo>
                  <a:lnTo>
                    <a:pt x="311" y="3103"/>
                  </a:lnTo>
                  <a:lnTo>
                    <a:pt x="776" y="4344"/>
                  </a:lnTo>
                  <a:lnTo>
                    <a:pt x="776" y="4344"/>
                  </a:lnTo>
                  <a:lnTo>
                    <a:pt x="931" y="2172"/>
                  </a:lnTo>
                  <a:lnTo>
                    <a:pt x="931" y="776"/>
                  </a:lnTo>
                  <a:lnTo>
                    <a:pt x="776" y="311"/>
                  </a:lnTo>
                  <a:lnTo>
                    <a:pt x="776" y="156"/>
                  </a:lnTo>
                  <a:lnTo>
                    <a:pt x="62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6086;p70">
              <a:extLst>
                <a:ext uri="{FF2B5EF4-FFF2-40B4-BE49-F238E27FC236}">
                  <a16:creationId xmlns:a16="http://schemas.microsoft.com/office/drawing/2014/main" id="{A5041869-4DD6-8355-BD87-ACBB72B08D3C}"/>
                </a:ext>
              </a:extLst>
            </p:cNvPr>
            <p:cNvSpPr/>
            <p:nvPr/>
          </p:nvSpPr>
          <p:spPr>
            <a:xfrm>
              <a:off x="2968525" y="1354875"/>
              <a:ext cx="27150" cy="69825"/>
            </a:xfrm>
            <a:custGeom>
              <a:avLst/>
              <a:gdLst/>
              <a:ahLst/>
              <a:cxnLst/>
              <a:rect l="l" t="t" r="r" b="b"/>
              <a:pathLst>
                <a:path w="1086" h="2793" extrusionOk="0">
                  <a:moveTo>
                    <a:pt x="931" y="1"/>
                  </a:moveTo>
                  <a:lnTo>
                    <a:pt x="621" y="156"/>
                  </a:lnTo>
                  <a:lnTo>
                    <a:pt x="466" y="311"/>
                  </a:lnTo>
                  <a:lnTo>
                    <a:pt x="155" y="1087"/>
                  </a:lnTo>
                  <a:lnTo>
                    <a:pt x="0" y="1862"/>
                  </a:lnTo>
                  <a:lnTo>
                    <a:pt x="0" y="2793"/>
                  </a:lnTo>
                  <a:lnTo>
                    <a:pt x="776" y="1552"/>
                  </a:lnTo>
                  <a:lnTo>
                    <a:pt x="1086" y="621"/>
                  </a:lnTo>
                  <a:lnTo>
                    <a:pt x="1086" y="156"/>
                  </a:lnTo>
                  <a:lnTo>
                    <a:pt x="931" y="1"/>
                  </a:lnTo>
                  <a:close/>
                </a:path>
              </a:pathLst>
            </a:custGeom>
            <a:solidFill>
              <a:srgbClr val="28282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6087;p70">
              <a:extLst>
                <a:ext uri="{FF2B5EF4-FFF2-40B4-BE49-F238E27FC236}">
                  <a16:creationId xmlns:a16="http://schemas.microsoft.com/office/drawing/2014/main" id="{FC4CDBC0-34B0-A47F-68FE-C2F10DA776F3}"/>
                </a:ext>
              </a:extLst>
            </p:cNvPr>
            <p:cNvSpPr/>
            <p:nvPr/>
          </p:nvSpPr>
          <p:spPr>
            <a:xfrm>
              <a:off x="2968525" y="1354875"/>
              <a:ext cx="27150" cy="69825"/>
            </a:xfrm>
            <a:custGeom>
              <a:avLst/>
              <a:gdLst/>
              <a:ahLst/>
              <a:cxnLst/>
              <a:rect l="l" t="t" r="r" b="b"/>
              <a:pathLst>
                <a:path w="1086" h="2793" fill="none" extrusionOk="0">
                  <a:moveTo>
                    <a:pt x="931" y="1"/>
                  </a:moveTo>
                  <a:lnTo>
                    <a:pt x="931" y="1"/>
                  </a:lnTo>
                  <a:lnTo>
                    <a:pt x="621" y="156"/>
                  </a:lnTo>
                  <a:lnTo>
                    <a:pt x="466" y="311"/>
                  </a:lnTo>
                  <a:lnTo>
                    <a:pt x="155" y="1087"/>
                  </a:lnTo>
                  <a:lnTo>
                    <a:pt x="0" y="1862"/>
                  </a:lnTo>
                  <a:lnTo>
                    <a:pt x="0" y="2793"/>
                  </a:lnTo>
                  <a:lnTo>
                    <a:pt x="0" y="2793"/>
                  </a:lnTo>
                  <a:lnTo>
                    <a:pt x="776" y="1552"/>
                  </a:lnTo>
                  <a:lnTo>
                    <a:pt x="1086" y="621"/>
                  </a:lnTo>
                  <a:lnTo>
                    <a:pt x="1086" y="156"/>
                  </a:lnTo>
                  <a:lnTo>
                    <a:pt x="931" y="1"/>
                  </a:lnTo>
                  <a:lnTo>
                    <a:pt x="931" y="1"/>
                  </a:lnTo>
                  <a:lnTo>
                    <a:pt x="93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" name="Google Shape;6088;p70">
              <a:extLst>
                <a:ext uri="{FF2B5EF4-FFF2-40B4-BE49-F238E27FC236}">
                  <a16:creationId xmlns:a16="http://schemas.microsoft.com/office/drawing/2014/main" id="{E4D8AC88-85D7-F140-4213-F6770DF3B975}"/>
                </a:ext>
              </a:extLst>
            </p:cNvPr>
            <p:cNvSpPr/>
            <p:nvPr/>
          </p:nvSpPr>
          <p:spPr>
            <a:xfrm>
              <a:off x="5159400" y="238125"/>
              <a:ext cx="884150" cy="473100"/>
            </a:xfrm>
            <a:custGeom>
              <a:avLst/>
              <a:gdLst/>
              <a:ahLst/>
              <a:cxnLst/>
              <a:rect l="l" t="t" r="r" b="b"/>
              <a:pathLst>
                <a:path w="35366" h="18924" extrusionOk="0">
                  <a:moveTo>
                    <a:pt x="34435" y="0"/>
                  </a:moveTo>
                  <a:lnTo>
                    <a:pt x="33659" y="155"/>
                  </a:lnTo>
                  <a:lnTo>
                    <a:pt x="32573" y="465"/>
                  </a:lnTo>
                  <a:lnTo>
                    <a:pt x="31488" y="931"/>
                  </a:lnTo>
                  <a:lnTo>
                    <a:pt x="29161" y="2172"/>
                  </a:lnTo>
                  <a:lnTo>
                    <a:pt x="26679" y="3723"/>
                  </a:lnTo>
                  <a:lnTo>
                    <a:pt x="22336" y="6515"/>
                  </a:lnTo>
                  <a:lnTo>
                    <a:pt x="21095" y="7290"/>
                  </a:lnTo>
                  <a:lnTo>
                    <a:pt x="20630" y="7290"/>
                  </a:lnTo>
                  <a:lnTo>
                    <a:pt x="20475" y="7135"/>
                  </a:lnTo>
                  <a:lnTo>
                    <a:pt x="20630" y="6359"/>
                  </a:lnTo>
                  <a:lnTo>
                    <a:pt x="20785" y="5274"/>
                  </a:lnTo>
                  <a:lnTo>
                    <a:pt x="21251" y="2792"/>
                  </a:lnTo>
                  <a:lnTo>
                    <a:pt x="21406" y="1706"/>
                  </a:lnTo>
                  <a:lnTo>
                    <a:pt x="21251" y="776"/>
                  </a:lnTo>
                  <a:lnTo>
                    <a:pt x="21095" y="465"/>
                  </a:lnTo>
                  <a:lnTo>
                    <a:pt x="20785" y="155"/>
                  </a:lnTo>
                  <a:lnTo>
                    <a:pt x="20010" y="155"/>
                  </a:lnTo>
                  <a:lnTo>
                    <a:pt x="19234" y="310"/>
                  </a:lnTo>
                  <a:lnTo>
                    <a:pt x="18148" y="931"/>
                  </a:lnTo>
                  <a:lnTo>
                    <a:pt x="15356" y="2947"/>
                  </a:lnTo>
                  <a:lnTo>
                    <a:pt x="11789" y="5739"/>
                  </a:lnTo>
                  <a:lnTo>
                    <a:pt x="8222" y="8996"/>
                  </a:lnTo>
                  <a:lnTo>
                    <a:pt x="4809" y="12098"/>
                  </a:lnTo>
                  <a:lnTo>
                    <a:pt x="2017" y="15045"/>
                  </a:lnTo>
                  <a:lnTo>
                    <a:pt x="931" y="16286"/>
                  </a:lnTo>
                  <a:lnTo>
                    <a:pt x="311" y="17217"/>
                  </a:lnTo>
                  <a:lnTo>
                    <a:pt x="1" y="17992"/>
                  </a:lnTo>
                  <a:lnTo>
                    <a:pt x="1" y="18148"/>
                  </a:lnTo>
                  <a:lnTo>
                    <a:pt x="1" y="18303"/>
                  </a:lnTo>
                  <a:lnTo>
                    <a:pt x="466" y="18303"/>
                  </a:lnTo>
                  <a:lnTo>
                    <a:pt x="1087" y="18148"/>
                  </a:lnTo>
                  <a:lnTo>
                    <a:pt x="2948" y="17217"/>
                  </a:lnTo>
                  <a:lnTo>
                    <a:pt x="8377" y="14270"/>
                  </a:lnTo>
                  <a:lnTo>
                    <a:pt x="11013" y="12719"/>
                  </a:lnTo>
                  <a:lnTo>
                    <a:pt x="13495" y="11633"/>
                  </a:lnTo>
                  <a:lnTo>
                    <a:pt x="14426" y="11323"/>
                  </a:lnTo>
                  <a:lnTo>
                    <a:pt x="15046" y="11168"/>
                  </a:lnTo>
                  <a:lnTo>
                    <a:pt x="15512" y="11323"/>
                  </a:lnTo>
                  <a:lnTo>
                    <a:pt x="15512" y="11633"/>
                  </a:lnTo>
                  <a:lnTo>
                    <a:pt x="15356" y="12719"/>
                  </a:lnTo>
                  <a:lnTo>
                    <a:pt x="14891" y="14115"/>
                  </a:lnTo>
                  <a:lnTo>
                    <a:pt x="14116" y="16752"/>
                  </a:lnTo>
                  <a:lnTo>
                    <a:pt x="13805" y="17837"/>
                  </a:lnTo>
                  <a:lnTo>
                    <a:pt x="13805" y="18613"/>
                  </a:lnTo>
                  <a:lnTo>
                    <a:pt x="13805" y="18768"/>
                  </a:lnTo>
                  <a:lnTo>
                    <a:pt x="13961" y="18923"/>
                  </a:lnTo>
                  <a:lnTo>
                    <a:pt x="14271" y="18768"/>
                  </a:lnTo>
                  <a:lnTo>
                    <a:pt x="14736" y="18613"/>
                  </a:lnTo>
                  <a:lnTo>
                    <a:pt x="19234" y="15201"/>
                  </a:lnTo>
                  <a:lnTo>
                    <a:pt x="22957" y="12409"/>
                  </a:lnTo>
                  <a:lnTo>
                    <a:pt x="26834" y="9151"/>
                  </a:lnTo>
                  <a:lnTo>
                    <a:pt x="30557" y="6049"/>
                  </a:lnTo>
                  <a:lnTo>
                    <a:pt x="33504" y="3412"/>
                  </a:lnTo>
                  <a:lnTo>
                    <a:pt x="34435" y="2172"/>
                  </a:lnTo>
                  <a:lnTo>
                    <a:pt x="35055" y="1241"/>
                  </a:lnTo>
                  <a:lnTo>
                    <a:pt x="35365" y="931"/>
                  </a:lnTo>
                  <a:lnTo>
                    <a:pt x="35365" y="620"/>
                  </a:lnTo>
                  <a:lnTo>
                    <a:pt x="35210" y="310"/>
                  </a:lnTo>
                  <a:lnTo>
                    <a:pt x="35055" y="155"/>
                  </a:lnTo>
                  <a:lnTo>
                    <a:pt x="34435" y="0"/>
                  </a:lnTo>
                  <a:close/>
                </a:path>
              </a:pathLst>
            </a:custGeom>
            <a:solidFill>
              <a:srgbClr val="FCBF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" name="Google Shape;6089;p70">
              <a:extLst>
                <a:ext uri="{FF2B5EF4-FFF2-40B4-BE49-F238E27FC236}">
                  <a16:creationId xmlns:a16="http://schemas.microsoft.com/office/drawing/2014/main" id="{00808974-332D-F0F0-F818-00A4BEC11BD7}"/>
                </a:ext>
              </a:extLst>
            </p:cNvPr>
            <p:cNvSpPr/>
            <p:nvPr/>
          </p:nvSpPr>
          <p:spPr>
            <a:xfrm>
              <a:off x="5458000" y="819775"/>
              <a:ext cx="845350" cy="325750"/>
            </a:xfrm>
            <a:custGeom>
              <a:avLst/>
              <a:gdLst/>
              <a:ahLst/>
              <a:cxnLst/>
              <a:rect l="l" t="t" r="r" b="b"/>
              <a:pathLst>
                <a:path w="33814" h="13030" extrusionOk="0">
                  <a:moveTo>
                    <a:pt x="21095" y="0"/>
                  </a:moveTo>
                  <a:lnTo>
                    <a:pt x="20009" y="155"/>
                  </a:lnTo>
                  <a:lnTo>
                    <a:pt x="17062" y="776"/>
                  </a:lnTo>
                  <a:lnTo>
                    <a:pt x="13494" y="1861"/>
                  </a:lnTo>
                  <a:lnTo>
                    <a:pt x="9617" y="3257"/>
                  </a:lnTo>
                  <a:lnTo>
                    <a:pt x="5739" y="4653"/>
                  </a:lnTo>
                  <a:lnTo>
                    <a:pt x="2637" y="6049"/>
                  </a:lnTo>
                  <a:lnTo>
                    <a:pt x="1396" y="6670"/>
                  </a:lnTo>
                  <a:lnTo>
                    <a:pt x="621" y="7290"/>
                  </a:lnTo>
                  <a:lnTo>
                    <a:pt x="155" y="7755"/>
                  </a:lnTo>
                  <a:lnTo>
                    <a:pt x="0" y="7911"/>
                  </a:lnTo>
                  <a:lnTo>
                    <a:pt x="155" y="8066"/>
                  </a:lnTo>
                  <a:lnTo>
                    <a:pt x="310" y="8221"/>
                  </a:lnTo>
                  <a:lnTo>
                    <a:pt x="931" y="8221"/>
                  </a:lnTo>
                  <a:lnTo>
                    <a:pt x="2792" y="8066"/>
                  </a:lnTo>
                  <a:lnTo>
                    <a:pt x="7911" y="7445"/>
                  </a:lnTo>
                  <a:lnTo>
                    <a:pt x="10703" y="7135"/>
                  </a:lnTo>
                  <a:lnTo>
                    <a:pt x="12874" y="6980"/>
                  </a:lnTo>
                  <a:lnTo>
                    <a:pt x="13650" y="6980"/>
                  </a:lnTo>
                  <a:lnTo>
                    <a:pt x="14270" y="7135"/>
                  </a:lnTo>
                  <a:lnTo>
                    <a:pt x="14580" y="7445"/>
                  </a:lnTo>
                  <a:lnTo>
                    <a:pt x="14580" y="7755"/>
                  </a:lnTo>
                  <a:lnTo>
                    <a:pt x="13960" y="8531"/>
                  </a:lnTo>
                  <a:lnTo>
                    <a:pt x="13184" y="9462"/>
                  </a:lnTo>
                  <a:lnTo>
                    <a:pt x="11788" y="11323"/>
                  </a:lnTo>
                  <a:lnTo>
                    <a:pt x="11168" y="12098"/>
                  </a:lnTo>
                  <a:lnTo>
                    <a:pt x="10858" y="12719"/>
                  </a:lnTo>
                  <a:lnTo>
                    <a:pt x="10858" y="12874"/>
                  </a:lnTo>
                  <a:lnTo>
                    <a:pt x="11013" y="13029"/>
                  </a:lnTo>
                  <a:lnTo>
                    <a:pt x="11633" y="12874"/>
                  </a:lnTo>
                  <a:lnTo>
                    <a:pt x="16286" y="11788"/>
                  </a:lnTo>
                  <a:lnTo>
                    <a:pt x="24197" y="9462"/>
                  </a:lnTo>
                  <a:lnTo>
                    <a:pt x="28230" y="8221"/>
                  </a:lnTo>
                  <a:lnTo>
                    <a:pt x="31332" y="6980"/>
                  </a:lnTo>
                  <a:lnTo>
                    <a:pt x="32573" y="6360"/>
                  </a:lnTo>
                  <a:lnTo>
                    <a:pt x="33348" y="5739"/>
                  </a:lnTo>
                  <a:lnTo>
                    <a:pt x="33814" y="5274"/>
                  </a:lnTo>
                  <a:lnTo>
                    <a:pt x="33814" y="5119"/>
                  </a:lnTo>
                  <a:lnTo>
                    <a:pt x="33658" y="4964"/>
                  </a:lnTo>
                  <a:lnTo>
                    <a:pt x="33193" y="4653"/>
                  </a:lnTo>
                  <a:lnTo>
                    <a:pt x="32573" y="4343"/>
                  </a:lnTo>
                  <a:lnTo>
                    <a:pt x="30711" y="4343"/>
                  </a:lnTo>
                  <a:lnTo>
                    <a:pt x="28385" y="4653"/>
                  </a:lnTo>
                  <a:lnTo>
                    <a:pt x="25903" y="5119"/>
                  </a:lnTo>
                  <a:lnTo>
                    <a:pt x="21560" y="5894"/>
                  </a:lnTo>
                  <a:lnTo>
                    <a:pt x="20319" y="6049"/>
                  </a:lnTo>
                  <a:lnTo>
                    <a:pt x="20009" y="5894"/>
                  </a:lnTo>
                  <a:lnTo>
                    <a:pt x="20009" y="5739"/>
                  </a:lnTo>
                  <a:lnTo>
                    <a:pt x="20319" y="5119"/>
                  </a:lnTo>
                  <a:lnTo>
                    <a:pt x="20784" y="4343"/>
                  </a:lnTo>
                  <a:lnTo>
                    <a:pt x="21870" y="2637"/>
                  </a:lnTo>
                  <a:lnTo>
                    <a:pt x="22336" y="1706"/>
                  </a:lnTo>
                  <a:lnTo>
                    <a:pt x="22491" y="931"/>
                  </a:lnTo>
                  <a:lnTo>
                    <a:pt x="22491" y="621"/>
                  </a:lnTo>
                  <a:lnTo>
                    <a:pt x="22336" y="310"/>
                  </a:lnTo>
                  <a:lnTo>
                    <a:pt x="22180" y="155"/>
                  </a:lnTo>
                  <a:lnTo>
                    <a:pt x="21715" y="0"/>
                  </a:lnTo>
                  <a:close/>
                </a:path>
              </a:pathLst>
            </a:custGeom>
            <a:solidFill>
              <a:srgbClr val="FCBF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" name="Google Shape;6090;p70">
              <a:extLst>
                <a:ext uri="{FF2B5EF4-FFF2-40B4-BE49-F238E27FC236}">
                  <a16:creationId xmlns:a16="http://schemas.microsoft.com/office/drawing/2014/main" id="{3C47E37E-FD86-DE14-C258-4D9919E36316}"/>
                </a:ext>
              </a:extLst>
            </p:cNvPr>
            <p:cNvSpPr/>
            <p:nvPr/>
          </p:nvSpPr>
          <p:spPr>
            <a:xfrm>
              <a:off x="5403700" y="1347125"/>
              <a:ext cx="953925" cy="318000"/>
            </a:xfrm>
            <a:custGeom>
              <a:avLst/>
              <a:gdLst/>
              <a:ahLst/>
              <a:cxnLst/>
              <a:rect l="l" t="t" r="r" b="b"/>
              <a:pathLst>
                <a:path w="38157" h="12720" extrusionOk="0">
                  <a:moveTo>
                    <a:pt x="12254" y="1"/>
                  </a:moveTo>
                  <a:lnTo>
                    <a:pt x="7601" y="156"/>
                  </a:lnTo>
                  <a:lnTo>
                    <a:pt x="3568" y="466"/>
                  </a:lnTo>
                  <a:lnTo>
                    <a:pt x="2017" y="776"/>
                  </a:lnTo>
                  <a:lnTo>
                    <a:pt x="931" y="1086"/>
                  </a:lnTo>
                  <a:lnTo>
                    <a:pt x="156" y="1397"/>
                  </a:lnTo>
                  <a:lnTo>
                    <a:pt x="1" y="1552"/>
                  </a:lnTo>
                  <a:lnTo>
                    <a:pt x="1" y="1707"/>
                  </a:lnTo>
                  <a:lnTo>
                    <a:pt x="311" y="2017"/>
                  </a:lnTo>
                  <a:lnTo>
                    <a:pt x="776" y="2172"/>
                  </a:lnTo>
                  <a:lnTo>
                    <a:pt x="2948" y="2793"/>
                  </a:lnTo>
                  <a:lnTo>
                    <a:pt x="8842" y="4033"/>
                  </a:lnTo>
                  <a:lnTo>
                    <a:pt x="11944" y="4809"/>
                  </a:lnTo>
                  <a:lnTo>
                    <a:pt x="14426" y="5585"/>
                  </a:lnTo>
                  <a:lnTo>
                    <a:pt x="15356" y="5895"/>
                  </a:lnTo>
                  <a:lnTo>
                    <a:pt x="15977" y="6205"/>
                  </a:lnTo>
                  <a:lnTo>
                    <a:pt x="16132" y="6515"/>
                  </a:lnTo>
                  <a:lnTo>
                    <a:pt x="16132" y="6825"/>
                  </a:lnTo>
                  <a:lnTo>
                    <a:pt x="15977" y="6981"/>
                  </a:lnTo>
                  <a:lnTo>
                    <a:pt x="15046" y="7601"/>
                  </a:lnTo>
                  <a:lnTo>
                    <a:pt x="13960" y="8376"/>
                  </a:lnTo>
                  <a:lnTo>
                    <a:pt x="11479" y="9772"/>
                  </a:lnTo>
                  <a:lnTo>
                    <a:pt x="10548" y="10393"/>
                  </a:lnTo>
                  <a:lnTo>
                    <a:pt x="10083" y="11013"/>
                  </a:lnTo>
                  <a:lnTo>
                    <a:pt x="9927" y="11168"/>
                  </a:lnTo>
                  <a:lnTo>
                    <a:pt x="10083" y="11324"/>
                  </a:lnTo>
                  <a:lnTo>
                    <a:pt x="10393" y="11479"/>
                  </a:lnTo>
                  <a:lnTo>
                    <a:pt x="10703" y="11479"/>
                  </a:lnTo>
                  <a:lnTo>
                    <a:pt x="16442" y="11944"/>
                  </a:lnTo>
                  <a:lnTo>
                    <a:pt x="21095" y="12254"/>
                  </a:lnTo>
                  <a:lnTo>
                    <a:pt x="26059" y="12564"/>
                  </a:lnTo>
                  <a:lnTo>
                    <a:pt x="30867" y="12720"/>
                  </a:lnTo>
                  <a:lnTo>
                    <a:pt x="34900" y="12564"/>
                  </a:lnTo>
                  <a:lnTo>
                    <a:pt x="36451" y="12409"/>
                  </a:lnTo>
                  <a:lnTo>
                    <a:pt x="37537" y="12099"/>
                  </a:lnTo>
                  <a:lnTo>
                    <a:pt x="37847" y="11944"/>
                  </a:lnTo>
                  <a:lnTo>
                    <a:pt x="38157" y="11634"/>
                  </a:lnTo>
                  <a:lnTo>
                    <a:pt x="38157" y="11479"/>
                  </a:lnTo>
                  <a:lnTo>
                    <a:pt x="38157" y="11168"/>
                  </a:lnTo>
                  <a:lnTo>
                    <a:pt x="37692" y="10703"/>
                  </a:lnTo>
                  <a:lnTo>
                    <a:pt x="37071" y="10238"/>
                  </a:lnTo>
                  <a:lnTo>
                    <a:pt x="36141" y="9772"/>
                  </a:lnTo>
                  <a:lnTo>
                    <a:pt x="35055" y="9462"/>
                  </a:lnTo>
                  <a:lnTo>
                    <a:pt x="32418" y="8842"/>
                  </a:lnTo>
                  <a:lnTo>
                    <a:pt x="29471" y="8376"/>
                  </a:lnTo>
                  <a:lnTo>
                    <a:pt x="24508" y="7601"/>
                  </a:lnTo>
                  <a:lnTo>
                    <a:pt x="22956" y="7291"/>
                  </a:lnTo>
                  <a:lnTo>
                    <a:pt x="22646" y="7136"/>
                  </a:lnTo>
                  <a:lnTo>
                    <a:pt x="22646" y="6825"/>
                  </a:lnTo>
                  <a:lnTo>
                    <a:pt x="23267" y="6360"/>
                  </a:lnTo>
                  <a:lnTo>
                    <a:pt x="24197" y="5585"/>
                  </a:lnTo>
                  <a:lnTo>
                    <a:pt x="26214" y="4189"/>
                  </a:lnTo>
                  <a:lnTo>
                    <a:pt x="26989" y="3413"/>
                  </a:lnTo>
                  <a:lnTo>
                    <a:pt x="27455" y="2638"/>
                  </a:lnTo>
                  <a:lnTo>
                    <a:pt x="27610" y="2172"/>
                  </a:lnTo>
                  <a:lnTo>
                    <a:pt x="27455" y="1862"/>
                  </a:lnTo>
                  <a:lnTo>
                    <a:pt x="27299" y="1552"/>
                  </a:lnTo>
                  <a:lnTo>
                    <a:pt x="26834" y="1242"/>
                  </a:lnTo>
                  <a:lnTo>
                    <a:pt x="26214" y="931"/>
                  </a:lnTo>
                  <a:lnTo>
                    <a:pt x="24973" y="621"/>
                  </a:lnTo>
                  <a:lnTo>
                    <a:pt x="21561" y="311"/>
                  </a:lnTo>
                  <a:lnTo>
                    <a:pt x="17062" y="156"/>
                  </a:lnTo>
                  <a:lnTo>
                    <a:pt x="12254" y="1"/>
                  </a:lnTo>
                  <a:close/>
                </a:path>
              </a:pathLst>
            </a:custGeom>
            <a:solidFill>
              <a:srgbClr val="FCBF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" name="Google Shape;6091;p70">
              <a:extLst>
                <a:ext uri="{FF2B5EF4-FFF2-40B4-BE49-F238E27FC236}">
                  <a16:creationId xmlns:a16="http://schemas.microsoft.com/office/drawing/2014/main" id="{E09374FF-2B9A-C67F-4FC6-C41E6A2A2EFF}"/>
                </a:ext>
              </a:extLst>
            </p:cNvPr>
            <p:cNvSpPr/>
            <p:nvPr/>
          </p:nvSpPr>
          <p:spPr>
            <a:xfrm>
              <a:off x="3286500" y="4441525"/>
              <a:ext cx="418800" cy="279225"/>
            </a:xfrm>
            <a:custGeom>
              <a:avLst/>
              <a:gdLst/>
              <a:ahLst/>
              <a:cxnLst/>
              <a:rect l="l" t="t" r="r" b="b"/>
              <a:pathLst>
                <a:path w="16752" h="11169" extrusionOk="0">
                  <a:moveTo>
                    <a:pt x="1706" y="0"/>
                  </a:moveTo>
                  <a:lnTo>
                    <a:pt x="1551" y="155"/>
                  </a:lnTo>
                  <a:lnTo>
                    <a:pt x="1086" y="621"/>
                  </a:lnTo>
                  <a:lnTo>
                    <a:pt x="620" y="2482"/>
                  </a:lnTo>
                  <a:lnTo>
                    <a:pt x="155" y="4654"/>
                  </a:lnTo>
                  <a:lnTo>
                    <a:pt x="0" y="6515"/>
                  </a:lnTo>
                  <a:lnTo>
                    <a:pt x="0" y="6980"/>
                  </a:lnTo>
                  <a:lnTo>
                    <a:pt x="310" y="7290"/>
                  </a:lnTo>
                  <a:lnTo>
                    <a:pt x="620" y="7601"/>
                  </a:lnTo>
                  <a:lnTo>
                    <a:pt x="931" y="7756"/>
                  </a:lnTo>
                  <a:lnTo>
                    <a:pt x="14270" y="11013"/>
                  </a:lnTo>
                  <a:lnTo>
                    <a:pt x="15201" y="11168"/>
                  </a:lnTo>
                  <a:lnTo>
                    <a:pt x="15821" y="11013"/>
                  </a:lnTo>
                  <a:lnTo>
                    <a:pt x="16286" y="10548"/>
                  </a:lnTo>
                  <a:lnTo>
                    <a:pt x="16597" y="10082"/>
                  </a:lnTo>
                  <a:lnTo>
                    <a:pt x="16752" y="9462"/>
                  </a:lnTo>
                  <a:lnTo>
                    <a:pt x="16597" y="8997"/>
                  </a:lnTo>
                  <a:lnTo>
                    <a:pt x="16597" y="8531"/>
                  </a:lnTo>
                  <a:lnTo>
                    <a:pt x="16286" y="8376"/>
                  </a:lnTo>
                  <a:lnTo>
                    <a:pt x="14735" y="7756"/>
                  </a:lnTo>
                  <a:lnTo>
                    <a:pt x="12253" y="6670"/>
                  </a:lnTo>
                  <a:lnTo>
                    <a:pt x="11013" y="6050"/>
                  </a:lnTo>
                  <a:lnTo>
                    <a:pt x="9927" y="5429"/>
                  </a:lnTo>
                  <a:lnTo>
                    <a:pt x="9306" y="4654"/>
                  </a:lnTo>
                  <a:lnTo>
                    <a:pt x="8996" y="4343"/>
                  </a:lnTo>
                  <a:lnTo>
                    <a:pt x="8996" y="3878"/>
                  </a:lnTo>
                  <a:lnTo>
                    <a:pt x="8841" y="3102"/>
                  </a:lnTo>
                  <a:lnTo>
                    <a:pt x="8531" y="2327"/>
                  </a:lnTo>
                  <a:lnTo>
                    <a:pt x="8066" y="1707"/>
                  </a:lnTo>
                  <a:lnTo>
                    <a:pt x="7910" y="1551"/>
                  </a:lnTo>
                  <a:lnTo>
                    <a:pt x="7600" y="1551"/>
                  </a:lnTo>
                  <a:lnTo>
                    <a:pt x="6825" y="1862"/>
                  </a:lnTo>
                  <a:lnTo>
                    <a:pt x="5894" y="1862"/>
                  </a:lnTo>
                  <a:lnTo>
                    <a:pt x="5119" y="1707"/>
                  </a:lnTo>
                  <a:lnTo>
                    <a:pt x="4343" y="1396"/>
                  </a:lnTo>
                  <a:lnTo>
                    <a:pt x="2792" y="621"/>
                  </a:lnTo>
                  <a:lnTo>
                    <a:pt x="1706" y="0"/>
                  </a:lnTo>
                  <a:close/>
                </a:path>
              </a:pathLst>
            </a:custGeom>
            <a:solidFill>
              <a:srgbClr val="01020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6092;p70">
              <a:extLst>
                <a:ext uri="{FF2B5EF4-FFF2-40B4-BE49-F238E27FC236}">
                  <a16:creationId xmlns:a16="http://schemas.microsoft.com/office/drawing/2014/main" id="{95BA0EA9-3818-883B-B05F-182ADEA082B1}"/>
                </a:ext>
              </a:extLst>
            </p:cNvPr>
            <p:cNvSpPr/>
            <p:nvPr/>
          </p:nvSpPr>
          <p:spPr>
            <a:xfrm>
              <a:off x="1754800" y="4693575"/>
              <a:ext cx="236575" cy="275325"/>
            </a:xfrm>
            <a:custGeom>
              <a:avLst/>
              <a:gdLst/>
              <a:ahLst/>
              <a:cxnLst/>
              <a:rect l="l" t="t" r="r" b="b"/>
              <a:pathLst>
                <a:path w="9463" h="11013" extrusionOk="0">
                  <a:moveTo>
                    <a:pt x="5119" y="0"/>
                  </a:moveTo>
                  <a:lnTo>
                    <a:pt x="1" y="6515"/>
                  </a:lnTo>
                  <a:lnTo>
                    <a:pt x="1241" y="11013"/>
                  </a:lnTo>
                  <a:lnTo>
                    <a:pt x="4499" y="9772"/>
                  </a:lnTo>
                  <a:lnTo>
                    <a:pt x="5895" y="8221"/>
                  </a:lnTo>
                  <a:lnTo>
                    <a:pt x="7601" y="6205"/>
                  </a:lnTo>
                  <a:lnTo>
                    <a:pt x="9462" y="3878"/>
                  </a:lnTo>
                  <a:lnTo>
                    <a:pt x="51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" name="Google Shape;6093;p70">
              <a:extLst>
                <a:ext uri="{FF2B5EF4-FFF2-40B4-BE49-F238E27FC236}">
                  <a16:creationId xmlns:a16="http://schemas.microsoft.com/office/drawing/2014/main" id="{83587293-655A-401D-8825-9A5C7346EEA5}"/>
                </a:ext>
              </a:extLst>
            </p:cNvPr>
            <p:cNvSpPr/>
            <p:nvPr/>
          </p:nvSpPr>
          <p:spPr>
            <a:xfrm>
              <a:off x="1785825" y="2843925"/>
              <a:ext cx="1896200" cy="2016400"/>
            </a:xfrm>
            <a:custGeom>
              <a:avLst/>
              <a:gdLst/>
              <a:ahLst/>
              <a:cxnLst/>
              <a:rect l="l" t="t" r="r" b="b"/>
              <a:pathLst>
                <a:path w="75848" h="80656" extrusionOk="0">
                  <a:moveTo>
                    <a:pt x="20320" y="0"/>
                  </a:moveTo>
                  <a:lnTo>
                    <a:pt x="18613" y="465"/>
                  </a:lnTo>
                  <a:lnTo>
                    <a:pt x="17993" y="621"/>
                  </a:lnTo>
                  <a:lnTo>
                    <a:pt x="17373" y="1086"/>
                  </a:lnTo>
                  <a:lnTo>
                    <a:pt x="16907" y="1551"/>
                  </a:lnTo>
                  <a:lnTo>
                    <a:pt x="16442" y="2017"/>
                  </a:lnTo>
                  <a:lnTo>
                    <a:pt x="16132" y="2637"/>
                  </a:lnTo>
                  <a:lnTo>
                    <a:pt x="15977" y="3412"/>
                  </a:lnTo>
                  <a:lnTo>
                    <a:pt x="15977" y="6670"/>
                  </a:lnTo>
                  <a:lnTo>
                    <a:pt x="15821" y="10547"/>
                  </a:lnTo>
                  <a:lnTo>
                    <a:pt x="15821" y="11633"/>
                  </a:lnTo>
                  <a:lnTo>
                    <a:pt x="16132" y="13650"/>
                  </a:lnTo>
                  <a:lnTo>
                    <a:pt x="17217" y="20009"/>
                  </a:lnTo>
                  <a:lnTo>
                    <a:pt x="18613" y="28385"/>
                  </a:lnTo>
                  <a:lnTo>
                    <a:pt x="20009" y="37071"/>
                  </a:lnTo>
                  <a:lnTo>
                    <a:pt x="20475" y="41259"/>
                  </a:lnTo>
                  <a:lnTo>
                    <a:pt x="20785" y="44826"/>
                  </a:lnTo>
                  <a:lnTo>
                    <a:pt x="20940" y="47773"/>
                  </a:lnTo>
                  <a:lnTo>
                    <a:pt x="20785" y="49014"/>
                  </a:lnTo>
                  <a:lnTo>
                    <a:pt x="20630" y="49945"/>
                  </a:lnTo>
                  <a:lnTo>
                    <a:pt x="20320" y="51341"/>
                  </a:lnTo>
                  <a:lnTo>
                    <a:pt x="19544" y="52892"/>
                  </a:lnTo>
                  <a:lnTo>
                    <a:pt x="18458" y="54598"/>
                  </a:lnTo>
                  <a:lnTo>
                    <a:pt x="17062" y="56304"/>
                  </a:lnTo>
                  <a:lnTo>
                    <a:pt x="13960" y="60027"/>
                  </a:lnTo>
                  <a:lnTo>
                    <a:pt x="10548" y="63904"/>
                  </a:lnTo>
                  <a:lnTo>
                    <a:pt x="3723" y="70729"/>
                  </a:lnTo>
                  <a:lnTo>
                    <a:pt x="1241" y="73211"/>
                  </a:lnTo>
                  <a:lnTo>
                    <a:pt x="0" y="74762"/>
                  </a:lnTo>
                  <a:lnTo>
                    <a:pt x="621" y="75693"/>
                  </a:lnTo>
                  <a:lnTo>
                    <a:pt x="1396" y="76623"/>
                  </a:lnTo>
                  <a:lnTo>
                    <a:pt x="2172" y="77399"/>
                  </a:lnTo>
                  <a:lnTo>
                    <a:pt x="3103" y="78174"/>
                  </a:lnTo>
                  <a:lnTo>
                    <a:pt x="4188" y="78795"/>
                  </a:lnTo>
                  <a:lnTo>
                    <a:pt x="5274" y="79570"/>
                  </a:lnTo>
                  <a:lnTo>
                    <a:pt x="6515" y="80036"/>
                  </a:lnTo>
                  <a:lnTo>
                    <a:pt x="7911" y="80656"/>
                  </a:lnTo>
                  <a:lnTo>
                    <a:pt x="11634" y="77399"/>
                  </a:lnTo>
                  <a:lnTo>
                    <a:pt x="15356" y="73986"/>
                  </a:lnTo>
                  <a:lnTo>
                    <a:pt x="19699" y="69798"/>
                  </a:lnTo>
                  <a:lnTo>
                    <a:pt x="21871" y="67472"/>
                  </a:lnTo>
                  <a:lnTo>
                    <a:pt x="24042" y="65145"/>
                  </a:lnTo>
                  <a:lnTo>
                    <a:pt x="26059" y="62663"/>
                  </a:lnTo>
                  <a:lnTo>
                    <a:pt x="27920" y="60182"/>
                  </a:lnTo>
                  <a:lnTo>
                    <a:pt x="29471" y="57855"/>
                  </a:lnTo>
                  <a:lnTo>
                    <a:pt x="30867" y="55684"/>
                  </a:lnTo>
                  <a:lnTo>
                    <a:pt x="31642" y="53512"/>
                  </a:lnTo>
                  <a:lnTo>
                    <a:pt x="31953" y="52426"/>
                  </a:lnTo>
                  <a:lnTo>
                    <a:pt x="32108" y="51496"/>
                  </a:lnTo>
                  <a:lnTo>
                    <a:pt x="32728" y="41569"/>
                  </a:lnTo>
                  <a:lnTo>
                    <a:pt x="33349" y="32573"/>
                  </a:lnTo>
                  <a:lnTo>
                    <a:pt x="33814" y="26058"/>
                  </a:lnTo>
                  <a:lnTo>
                    <a:pt x="34124" y="24197"/>
                  </a:lnTo>
                  <a:lnTo>
                    <a:pt x="34279" y="23732"/>
                  </a:lnTo>
                  <a:lnTo>
                    <a:pt x="34434" y="23576"/>
                  </a:lnTo>
                  <a:lnTo>
                    <a:pt x="39708" y="24197"/>
                  </a:lnTo>
                  <a:lnTo>
                    <a:pt x="44671" y="24972"/>
                  </a:lnTo>
                  <a:lnTo>
                    <a:pt x="50255" y="25903"/>
                  </a:lnTo>
                  <a:lnTo>
                    <a:pt x="55839" y="27144"/>
                  </a:lnTo>
                  <a:lnTo>
                    <a:pt x="58321" y="27919"/>
                  </a:lnTo>
                  <a:lnTo>
                    <a:pt x="60647" y="28540"/>
                  </a:lnTo>
                  <a:lnTo>
                    <a:pt x="62509" y="29315"/>
                  </a:lnTo>
                  <a:lnTo>
                    <a:pt x="63905" y="30246"/>
                  </a:lnTo>
                  <a:lnTo>
                    <a:pt x="64370" y="30556"/>
                  </a:lnTo>
                  <a:lnTo>
                    <a:pt x="64680" y="31022"/>
                  </a:lnTo>
                  <a:lnTo>
                    <a:pt x="64990" y="31487"/>
                  </a:lnTo>
                  <a:lnTo>
                    <a:pt x="64990" y="31952"/>
                  </a:lnTo>
                  <a:lnTo>
                    <a:pt x="62509" y="49014"/>
                  </a:lnTo>
                  <a:lnTo>
                    <a:pt x="61423" y="58010"/>
                  </a:lnTo>
                  <a:lnTo>
                    <a:pt x="61113" y="61112"/>
                  </a:lnTo>
                  <a:lnTo>
                    <a:pt x="61113" y="62043"/>
                  </a:lnTo>
                  <a:lnTo>
                    <a:pt x="61268" y="62353"/>
                  </a:lnTo>
                  <a:lnTo>
                    <a:pt x="62354" y="62974"/>
                  </a:lnTo>
                  <a:lnTo>
                    <a:pt x="63594" y="63594"/>
                  </a:lnTo>
                  <a:lnTo>
                    <a:pt x="64835" y="64059"/>
                  </a:lnTo>
                  <a:lnTo>
                    <a:pt x="65921" y="64215"/>
                  </a:lnTo>
                  <a:lnTo>
                    <a:pt x="67162" y="64370"/>
                  </a:lnTo>
                  <a:lnTo>
                    <a:pt x="68093" y="64215"/>
                  </a:lnTo>
                  <a:lnTo>
                    <a:pt x="68868" y="63904"/>
                  </a:lnTo>
                  <a:lnTo>
                    <a:pt x="69333" y="63594"/>
                  </a:lnTo>
                  <a:lnTo>
                    <a:pt x="69489" y="63129"/>
                  </a:lnTo>
                  <a:lnTo>
                    <a:pt x="70729" y="58320"/>
                  </a:lnTo>
                  <a:lnTo>
                    <a:pt x="71815" y="53047"/>
                  </a:lnTo>
                  <a:lnTo>
                    <a:pt x="73211" y="46998"/>
                  </a:lnTo>
                  <a:lnTo>
                    <a:pt x="74452" y="40483"/>
                  </a:lnTo>
                  <a:lnTo>
                    <a:pt x="75383" y="34279"/>
                  </a:lnTo>
                  <a:lnTo>
                    <a:pt x="75693" y="31642"/>
                  </a:lnTo>
                  <a:lnTo>
                    <a:pt x="75848" y="29160"/>
                  </a:lnTo>
                  <a:lnTo>
                    <a:pt x="75848" y="27144"/>
                  </a:lnTo>
                  <a:lnTo>
                    <a:pt x="75693" y="25593"/>
                  </a:lnTo>
                  <a:lnTo>
                    <a:pt x="75383" y="24662"/>
                  </a:lnTo>
                  <a:lnTo>
                    <a:pt x="74917" y="23732"/>
                  </a:lnTo>
                  <a:lnTo>
                    <a:pt x="74297" y="22801"/>
                  </a:lnTo>
                  <a:lnTo>
                    <a:pt x="73676" y="22025"/>
                  </a:lnTo>
                  <a:lnTo>
                    <a:pt x="73056" y="21250"/>
                  </a:lnTo>
                  <a:lnTo>
                    <a:pt x="72125" y="20474"/>
                  </a:lnTo>
                  <a:lnTo>
                    <a:pt x="70264" y="19078"/>
                  </a:lnTo>
                  <a:lnTo>
                    <a:pt x="67937" y="17837"/>
                  </a:lnTo>
                  <a:lnTo>
                    <a:pt x="65611" y="16597"/>
                  </a:lnTo>
                  <a:lnTo>
                    <a:pt x="62974" y="15511"/>
                  </a:lnTo>
                  <a:lnTo>
                    <a:pt x="60182" y="14580"/>
                  </a:lnTo>
                  <a:lnTo>
                    <a:pt x="54598" y="12564"/>
                  </a:lnTo>
                  <a:lnTo>
                    <a:pt x="51806" y="11478"/>
                  </a:lnTo>
                  <a:lnTo>
                    <a:pt x="49170" y="10392"/>
                  </a:lnTo>
                  <a:lnTo>
                    <a:pt x="46688" y="9151"/>
                  </a:lnTo>
                  <a:lnTo>
                    <a:pt x="44516" y="7911"/>
                  </a:lnTo>
                  <a:lnTo>
                    <a:pt x="42500" y="6670"/>
                  </a:lnTo>
                  <a:lnTo>
                    <a:pt x="41724" y="5894"/>
                  </a:lnTo>
                  <a:lnTo>
                    <a:pt x="40949" y="5119"/>
                  </a:lnTo>
                  <a:lnTo>
                    <a:pt x="37226" y="3723"/>
                  </a:lnTo>
                  <a:lnTo>
                    <a:pt x="33349" y="2327"/>
                  </a:lnTo>
                  <a:lnTo>
                    <a:pt x="28850" y="1086"/>
                  </a:lnTo>
                  <a:lnTo>
                    <a:pt x="26524" y="621"/>
                  </a:lnTo>
                  <a:lnTo>
                    <a:pt x="24197" y="155"/>
                  </a:lnTo>
                  <a:lnTo>
                    <a:pt x="22181" y="0"/>
                  </a:ln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" name="Google Shape;6094;p70">
              <a:extLst>
                <a:ext uri="{FF2B5EF4-FFF2-40B4-BE49-F238E27FC236}">
                  <a16:creationId xmlns:a16="http://schemas.microsoft.com/office/drawing/2014/main" id="{2DA37D63-8984-E1BB-710F-49B08ADEA5C8}"/>
                </a:ext>
              </a:extLst>
            </p:cNvPr>
            <p:cNvSpPr/>
            <p:nvPr/>
          </p:nvSpPr>
          <p:spPr>
            <a:xfrm>
              <a:off x="1785825" y="2843925"/>
              <a:ext cx="1896200" cy="2016400"/>
            </a:xfrm>
            <a:custGeom>
              <a:avLst/>
              <a:gdLst/>
              <a:ahLst/>
              <a:cxnLst/>
              <a:rect l="l" t="t" r="r" b="b"/>
              <a:pathLst>
                <a:path w="75848" h="80656" fill="none" extrusionOk="0">
                  <a:moveTo>
                    <a:pt x="69489" y="63129"/>
                  </a:moveTo>
                  <a:lnTo>
                    <a:pt x="69489" y="63129"/>
                  </a:lnTo>
                  <a:lnTo>
                    <a:pt x="69333" y="63594"/>
                  </a:lnTo>
                  <a:lnTo>
                    <a:pt x="68868" y="63904"/>
                  </a:lnTo>
                  <a:lnTo>
                    <a:pt x="68093" y="64215"/>
                  </a:lnTo>
                  <a:lnTo>
                    <a:pt x="67162" y="64370"/>
                  </a:lnTo>
                  <a:lnTo>
                    <a:pt x="65921" y="64215"/>
                  </a:lnTo>
                  <a:lnTo>
                    <a:pt x="64835" y="64059"/>
                  </a:lnTo>
                  <a:lnTo>
                    <a:pt x="63594" y="63594"/>
                  </a:lnTo>
                  <a:lnTo>
                    <a:pt x="62354" y="62974"/>
                  </a:lnTo>
                  <a:lnTo>
                    <a:pt x="61268" y="62353"/>
                  </a:lnTo>
                  <a:lnTo>
                    <a:pt x="61268" y="62353"/>
                  </a:lnTo>
                  <a:lnTo>
                    <a:pt x="61113" y="62043"/>
                  </a:lnTo>
                  <a:lnTo>
                    <a:pt x="61113" y="61112"/>
                  </a:lnTo>
                  <a:lnTo>
                    <a:pt x="61423" y="58010"/>
                  </a:lnTo>
                  <a:lnTo>
                    <a:pt x="62509" y="49014"/>
                  </a:lnTo>
                  <a:lnTo>
                    <a:pt x="64990" y="31952"/>
                  </a:lnTo>
                  <a:lnTo>
                    <a:pt x="64990" y="31952"/>
                  </a:lnTo>
                  <a:lnTo>
                    <a:pt x="64990" y="31487"/>
                  </a:lnTo>
                  <a:lnTo>
                    <a:pt x="64680" y="31022"/>
                  </a:lnTo>
                  <a:lnTo>
                    <a:pt x="64370" y="30556"/>
                  </a:lnTo>
                  <a:lnTo>
                    <a:pt x="63905" y="30246"/>
                  </a:lnTo>
                  <a:lnTo>
                    <a:pt x="62509" y="29315"/>
                  </a:lnTo>
                  <a:lnTo>
                    <a:pt x="60647" y="28540"/>
                  </a:lnTo>
                  <a:lnTo>
                    <a:pt x="58321" y="27919"/>
                  </a:lnTo>
                  <a:lnTo>
                    <a:pt x="55839" y="27144"/>
                  </a:lnTo>
                  <a:lnTo>
                    <a:pt x="50255" y="25903"/>
                  </a:lnTo>
                  <a:lnTo>
                    <a:pt x="50255" y="25903"/>
                  </a:lnTo>
                  <a:lnTo>
                    <a:pt x="44671" y="24972"/>
                  </a:lnTo>
                  <a:lnTo>
                    <a:pt x="39708" y="24197"/>
                  </a:lnTo>
                  <a:lnTo>
                    <a:pt x="34434" y="23576"/>
                  </a:lnTo>
                  <a:lnTo>
                    <a:pt x="34434" y="23576"/>
                  </a:lnTo>
                  <a:lnTo>
                    <a:pt x="34279" y="23732"/>
                  </a:lnTo>
                  <a:lnTo>
                    <a:pt x="34124" y="24197"/>
                  </a:lnTo>
                  <a:lnTo>
                    <a:pt x="33814" y="26058"/>
                  </a:lnTo>
                  <a:lnTo>
                    <a:pt x="33349" y="32573"/>
                  </a:lnTo>
                  <a:lnTo>
                    <a:pt x="32728" y="41569"/>
                  </a:lnTo>
                  <a:lnTo>
                    <a:pt x="32108" y="51496"/>
                  </a:lnTo>
                  <a:lnTo>
                    <a:pt x="32108" y="51496"/>
                  </a:lnTo>
                  <a:lnTo>
                    <a:pt x="31953" y="52426"/>
                  </a:lnTo>
                  <a:lnTo>
                    <a:pt x="31642" y="53512"/>
                  </a:lnTo>
                  <a:lnTo>
                    <a:pt x="30867" y="55684"/>
                  </a:lnTo>
                  <a:lnTo>
                    <a:pt x="29471" y="57855"/>
                  </a:lnTo>
                  <a:lnTo>
                    <a:pt x="27920" y="60182"/>
                  </a:lnTo>
                  <a:lnTo>
                    <a:pt x="26059" y="62663"/>
                  </a:lnTo>
                  <a:lnTo>
                    <a:pt x="24042" y="65145"/>
                  </a:lnTo>
                  <a:lnTo>
                    <a:pt x="21871" y="67472"/>
                  </a:lnTo>
                  <a:lnTo>
                    <a:pt x="19699" y="69798"/>
                  </a:lnTo>
                  <a:lnTo>
                    <a:pt x="15356" y="73986"/>
                  </a:lnTo>
                  <a:lnTo>
                    <a:pt x="11634" y="77399"/>
                  </a:lnTo>
                  <a:lnTo>
                    <a:pt x="7911" y="80656"/>
                  </a:lnTo>
                  <a:lnTo>
                    <a:pt x="7911" y="80656"/>
                  </a:lnTo>
                  <a:lnTo>
                    <a:pt x="6515" y="80036"/>
                  </a:lnTo>
                  <a:lnTo>
                    <a:pt x="5274" y="79570"/>
                  </a:lnTo>
                  <a:lnTo>
                    <a:pt x="4188" y="78795"/>
                  </a:lnTo>
                  <a:lnTo>
                    <a:pt x="3103" y="78174"/>
                  </a:lnTo>
                  <a:lnTo>
                    <a:pt x="2172" y="77399"/>
                  </a:lnTo>
                  <a:lnTo>
                    <a:pt x="1396" y="76623"/>
                  </a:lnTo>
                  <a:lnTo>
                    <a:pt x="621" y="75693"/>
                  </a:lnTo>
                  <a:lnTo>
                    <a:pt x="0" y="74762"/>
                  </a:lnTo>
                  <a:lnTo>
                    <a:pt x="0" y="74762"/>
                  </a:lnTo>
                  <a:lnTo>
                    <a:pt x="1241" y="73211"/>
                  </a:lnTo>
                  <a:lnTo>
                    <a:pt x="3723" y="70729"/>
                  </a:lnTo>
                  <a:lnTo>
                    <a:pt x="10548" y="63904"/>
                  </a:lnTo>
                  <a:lnTo>
                    <a:pt x="13960" y="60027"/>
                  </a:lnTo>
                  <a:lnTo>
                    <a:pt x="17062" y="56304"/>
                  </a:lnTo>
                  <a:lnTo>
                    <a:pt x="18458" y="54598"/>
                  </a:lnTo>
                  <a:lnTo>
                    <a:pt x="19544" y="52892"/>
                  </a:lnTo>
                  <a:lnTo>
                    <a:pt x="20320" y="51341"/>
                  </a:lnTo>
                  <a:lnTo>
                    <a:pt x="20630" y="49945"/>
                  </a:lnTo>
                  <a:lnTo>
                    <a:pt x="20630" y="49945"/>
                  </a:lnTo>
                  <a:lnTo>
                    <a:pt x="20785" y="49014"/>
                  </a:lnTo>
                  <a:lnTo>
                    <a:pt x="20940" y="47773"/>
                  </a:lnTo>
                  <a:lnTo>
                    <a:pt x="20785" y="44826"/>
                  </a:lnTo>
                  <a:lnTo>
                    <a:pt x="20475" y="41259"/>
                  </a:lnTo>
                  <a:lnTo>
                    <a:pt x="20009" y="37071"/>
                  </a:lnTo>
                  <a:lnTo>
                    <a:pt x="18613" y="28385"/>
                  </a:lnTo>
                  <a:lnTo>
                    <a:pt x="17217" y="20009"/>
                  </a:lnTo>
                  <a:lnTo>
                    <a:pt x="17217" y="20009"/>
                  </a:lnTo>
                  <a:lnTo>
                    <a:pt x="16132" y="13650"/>
                  </a:lnTo>
                  <a:lnTo>
                    <a:pt x="15821" y="11633"/>
                  </a:lnTo>
                  <a:lnTo>
                    <a:pt x="15821" y="10547"/>
                  </a:lnTo>
                  <a:lnTo>
                    <a:pt x="15821" y="10547"/>
                  </a:lnTo>
                  <a:lnTo>
                    <a:pt x="15977" y="6670"/>
                  </a:lnTo>
                  <a:lnTo>
                    <a:pt x="15977" y="6670"/>
                  </a:lnTo>
                  <a:lnTo>
                    <a:pt x="15977" y="3412"/>
                  </a:lnTo>
                  <a:lnTo>
                    <a:pt x="15977" y="3412"/>
                  </a:lnTo>
                  <a:lnTo>
                    <a:pt x="16132" y="2637"/>
                  </a:lnTo>
                  <a:lnTo>
                    <a:pt x="16442" y="2017"/>
                  </a:lnTo>
                  <a:lnTo>
                    <a:pt x="16907" y="1551"/>
                  </a:lnTo>
                  <a:lnTo>
                    <a:pt x="17373" y="1086"/>
                  </a:lnTo>
                  <a:lnTo>
                    <a:pt x="17993" y="621"/>
                  </a:lnTo>
                  <a:lnTo>
                    <a:pt x="18613" y="465"/>
                  </a:lnTo>
                  <a:lnTo>
                    <a:pt x="20320" y="0"/>
                  </a:lnTo>
                  <a:lnTo>
                    <a:pt x="22181" y="0"/>
                  </a:lnTo>
                  <a:lnTo>
                    <a:pt x="24197" y="155"/>
                  </a:lnTo>
                  <a:lnTo>
                    <a:pt x="26524" y="621"/>
                  </a:lnTo>
                  <a:lnTo>
                    <a:pt x="28850" y="1086"/>
                  </a:lnTo>
                  <a:lnTo>
                    <a:pt x="33349" y="2327"/>
                  </a:lnTo>
                  <a:lnTo>
                    <a:pt x="37226" y="3723"/>
                  </a:lnTo>
                  <a:lnTo>
                    <a:pt x="40949" y="5119"/>
                  </a:lnTo>
                  <a:lnTo>
                    <a:pt x="40949" y="5119"/>
                  </a:lnTo>
                  <a:lnTo>
                    <a:pt x="41724" y="5894"/>
                  </a:lnTo>
                  <a:lnTo>
                    <a:pt x="42500" y="6670"/>
                  </a:lnTo>
                  <a:lnTo>
                    <a:pt x="44516" y="7911"/>
                  </a:lnTo>
                  <a:lnTo>
                    <a:pt x="46688" y="9151"/>
                  </a:lnTo>
                  <a:lnTo>
                    <a:pt x="49170" y="10392"/>
                  </a:lnTo>
                  <a:lnTo>
                    <a:pt x="51806" y="11478"/>
                  </a:lnTo>
                  <a:lnTo>
                    <a:pt x="54598" y="12564"/>
                  </a:lnTo>
                  <a:lnTo>
                    <a:pt x="60182" y="14580"/>
                  </a:lnTo>
                  <a:lnTo>
                    <a:pt x="62974" y="15511"/>
                  </a:lnTo>
                  <a:lnTo>
                    <a:pt x="65611" y="16597"/>
                  </a:lnTo>
                  <a:lnTo>
                    <a:pt x="67937" y="17837"/>
                  </a:lnTo>
                  <a:lnTo>
                    <a:pt x="70264" y="19078"/>
                  </a:lnTo>
                  <a:lnTo>
                    <a:pt x="72125" y="20474"/>
                  </a:lnTo>
                  <a:lnTo>
                    <a:pt x="73056" y="21250"/>
                  </a:lnTo>
                  <a:lnTo>
                    <a:pt x="73676" y="22025"/>
                  </a:lnTo>
                  <a:lnTo>
                    <a:pt x="74297" y="22801"/>
                  </a:lnTo>
                  <a:lnTo>
                    <a:pt x="74917" y="23732"/>
                  </a:lnTo>
                  <a:lnTo>
                    <a:pt x="75383" y="24662"/>
                  </a:lnTo>
                  <a:lnTo>
                    <a:pt x="75693" y="25593"/>
                  </a:lnTo>
                  <a:lnTo>
                    <a:pt x="75693" y="25593"/>
                  </a:lnTo>
                  <a:lnTo>
                    <a:pt x="75848" y="27144"/>
                  </a:lnTo>
                  <a:lnTo>
                    <a:pt x="75848" y="29160"/>
                  </a:lnTo>
                  <a:lnTo>
                    <a:pt x="75693" y="31642"/>
                  </a:lnTo>
                  <a:lnTo>
                    <a:pt x="75383" y="34279"/>
                  </a:lnTo>
                  <a:lnTo>
                    <a:pt x="74452" y="40483"/>
                  </a:lnTo>
                  <a:lnTo>
                    <a:pt x="73211" y="46998"/>
                  </a:lnTo>
                  <a:lnTo>
                    <a:pt x="71815" y="53047"/>
                  </a:lnTo>
                  <a:lnTo>
                    <a:pt x="70729" y="58320"/>
                  </a:lnTo>
                  <a:lnTo>
                    <a:pt x="69489" y="6312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6095;p70">
              <a:extLst>
                <a:ext uri="{FF2B5EF4-FFF2-40B4-BE49-F238E27FC236}">
                  <a16:creationId xmlns:a16="http://schemas.microsoft.com/office/drawing/2014/main" id="{B49A2DF4-D76E-E5C0-CFA6-EAE6248F6855}"/>
                </a:ext>
              </a:extLst>
            </p:cNvPr>
            <p:cNvSpPr/>
            <p:nvPr/>
          </p:nvSpPr>
          <p:spPr>
            <a:xfrm>
              <a:off x="2507075" y="3320875"/>
              <a:ext cx="3900" cy="25"/>
            </a:xfrm>
            <a:custGeom>
              <a:avLst/>
              <a:gdLst/>
              <a:ahLst/>
              <a:cxnLst/>
              <a:rect l="l" t="t" r="r" b="b"/>
              <a:pathLst>
                <a:path w="156" h="1" extrusionOk="0">
                  <a:moveTo>
                    <a:pt x="15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3F3C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6096;p70">
              <a:extLst>
                <a:ext uri="{FF2B5EF4-FFF2-40B4-BE49-F238E27FC236}">
                  <a16:creationId xmlns:a16="http://schemas.microsoft.com/office/drawing/2014/main" id="{A9A784A6-6BB8-20D3-1188-57D8E85D0F5D}"/>
                </a:ext>
              </a:extLst>
            </p:cNvPr>
            <p:cNvSpPr/>
            <p:nvPr/>
          </p:nvSpPr>
          <p:spPr>
            <a:xfrm>
              <a:off x="2507075" y="3320875"/>
              <a:ext cx="3900" cy="25"/>
            </a:xfrm>
            <a:custGeom>
              <a:avLst/>
              <a:gdLst/>
              <a:ahLst/>
              <a:cxnLst/>
              <a:rect l="l" t="t" r="r" b="b"/>
              <a:pathLst>
                <a:path w="156" h="1" fill="none" extrusionOk="0">
                  <a:moveTo>
                    <a:pt x="15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5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" name="Google Shape;6097;p70">
              <a:extLst>
                <a:ext uri="{FF2B5EF4-FFF2-40B4-BE49-F238E27FC236}">
                  <a16:creationId xmlns:a16="http://schemas.microsoft.com/office/drawing/2014/main" id="{12644760-8DA0-799B-458E-F83CE762E0F9}"/>
                </a:ext>
              </a:extLst>
            </p:cNvPr>
            <p:cNvSpPr/>
            <p:nvPr/>
          </p:nvSpPr>
          <p:spPr>
            <a:xfrm>
              <a:off x="2185225" y="3084325"/>
              <a:ext cx="263700" cy="259825"/>
            </a:xfrm>
            <a:custGeom>
              <a:avLst/>
              <a:gdLst/>
              <a:ahLst/>
              <a:cxnLst/>
              <a:rect l="l" t="t" r="r" b="b"/>
              <a:pathLst>
                <a:path w="10548" h="10393" extrusionOk="0">
                  <a:moveTo>
                    <a:pt x="10548" y="1"/>
                  </a:moveTo>
                  <a:lnTo>
                    <a:pt x="10238" y="621"/>
                  </a:lnTo>
                  <a:lnTo>
                    <a:pt x="9772" y="1397"/>
                  </a:lnTo>
                  <a:lnTo>
                    <a:pt x="8531" y="2482"/>
                  </a:lnTo>
                  <a:lnTo>
                    <a:pt x="6980" y="3258"/>
                  </a:lnTo>
                  <a:lnTo>
                    <a:pt x="5584" y="3723"/>
                  </a:lnTo>
                  <a:lnTo>
                    <a:pt x="4033" y="3878"/>
                  </a:lnTo>
                  <a:lnTo>
                    <a:pt x="2948" y="3878"/>
                  </a:lnTo>
                  <a:lnTo>
                    <a:pt x="2017" y="3723"/>
                  </a:lnTo>
                  <a:lnTo>
                    <a:pt x="1086" y="3413"/>
                  </a:lnTo>
                  <a:lnTo>
                    <a:pt x="1" y="2948"/>
                  </a:lnTo>
                  <a:lnTo>
                    <a:pt x="1241" y="10393"/>
                  </a:lnTo>
                  <a:lnTo>
                    <a:pt x="3723" y="8377"/>
                  </a:lnTo>
                  <a:lnTo>
                    <a:pt x="6670" y="5740"/>
                  </a:lnTo>
                  <a:lnTo>
                    <a:pt x="7911" y="4344"/>
                  </a:lnTo>
                  <a:lnTo>
                    <a:pt x="9152" y="2793"/>
                  </a:lnTo>
                  <a:lnTo>
                    <a:pt x="10083" y="1397"/>
                  </a:lnTo>
                  <a:lnTo>
                    <a:pt x="10548" y="1"/>
                  </a:lnTo>
                  <a:close/>
                </a:path>
              </a:pathLst>
            </a:custGeom>
            <a:solidFill>
              <a:srgbClr val="1E1D1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" name="Google Shape;6098;p70">
              <a:extLst>
                <a:ext uri="{FF2B5EF4-FFF2-40B4-BE49-F238E27FC236}">
                  <a16:creationId xmlns:a16="http://schemas.microsoft.com/office/drawing/2014/main" id="{7F75B0F5-0924-271B-2D1F-B96AF3F89FD5}"/>
                </a:ext>
              </a:extLst>
            </p:cNvPr>
            <p:cNvSpPr/>
            <p:nvPr/>
          </p:nvSpPr>
          <p:spPr>
            <a:xfrm>
              <a:off x="2185225" y="3084325"/>
              <a:ext cx="263700" cy="259825"/>
            </a:xfrm>
            <a:custGeom>
              <a:avLst/>
              <a:gdLst/>
              <a:ahLst/>
              <a:cxnLst/>
              <a:rect l="l" t="t" r="r" b="b"/>
              <a:pathLst>
                <a:path w="10548" h="10393" fill="none" extrusionOk="0">
                  <a:moveTo>
                    <a:pt x="10548" y="1"/>
                  </a:moveTo>
                  <a:lnTo>
                    <a:pt x="10548" y="1"/>
                  </a:lnTo>
                  <a:lnTo>
                    <a:pt x="10238" y="621"/>
                  </a:lnTo>
                  <a:lnTo>
                    <a:pt x="9772" y="1397"/>
                  </a:lnTo>
                  <a:lnTo>
                    <a:pt x="9772" y="1397"/>
                  </a:lnTo>
                  <a:lnTo>
                    <a:pt x="8531" y="2482"/>
                  </a:lnTo>
                  <a:lnTo>
                    <a:pt x="6980" y="3258"/>
                  </a:lnTo>
                  <a:lnTo>
                    <a:pt x="5584" y="3723"/>
                  </a:lnTo>
                  <a:lnTo>
                    <a:pt x="4033" y="3878"/>
                  </a:lnTo>
                  <a:lnTo>
                    <a:pt x="4033" y="3878"/>
                  </a:lnTo>
                  <a:lnTo>
                    <a:pt x="2948" y="3878"/>
                  </a:lnTo>
                  <a:lnTo>
                    <a:pt x="2017" y="3723"/>
                  </a:lnTo>
                  <a:lnTo>
                    <a:pt x="1086" y="3413"/>
                  </a:lnTo>
                  <a:lnTo>
                    <a:pt x="1" y="2948"/>
                  </a:lnTo>
                  <a:lnTo>
                    <a:pt x="1" y="2948"/>
                  </a:lnTo>
                  <a:lnTo>
                    <a:pt x="1241" y="10393"/>
                  </a:lnTo>
                  <a:lnTo>
                    <a:pt x="1241" y="10393"/>
                  </a:lnTo>
                  <a:lnTo>
                    <a:pt x="3723" y="8377"/>
                  </a:lnTo>
                  <a:lnTo>
                    <a:pt x="6670" y="5740"/>
                  </a:lnTo>
                  <a:lnTo>
                    <a:pt x="7911" y="4344"/>
                  </a:lnTo>
                  <a:lnTo>
                    <a:pt x="9152" y="2793"/>
                  </a:lnTo>
                  <a:lnTo>
                    <a:pt x="10083" y="1397"/>
                  </a:lnTo>
                  <a:lnTo>
                    <a:pt x="10548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" name="Google Shape;6099;p70">
              <a:extLst>
                <a:ext uri="{FF2B5EF4-FFF2-40B4-BE49-F238E27FC236}">
                  <a16:creationId xmlns:a16="http://schemas.microsoft.com/office/drawing/2014/main" id="{14FE882B-1EF9-9CD8-0BF8-4E8B6859D3B1}"/>
                </a:ext>
              </a:extLst>
            </p:cNvPr>
            <p:cNvSpPr/>
            <p:nvPr/>
          </p:nvSpPr>
          <p:spPr>
            <a:xfrm>
              <a:off x="2507075" y="1672850"/>
              <a:ext cx="221050" cy="387800"/>
            </a:xfrm>
            <a:custGeom>
              <a:avLst/>
              <a:gdLst/>
              <a:ahLst/>
              <a:cxnLst/>
              <a:rect l="l" t="t" r="r" b="b"/>
              <a:pathLst>
                <a:path w="8842" h="15512" extrusionOk="0">
                  <a:moveTo>
                    <a:pt x="8066" y="1"/>
                  </a:moveTo>
                  <a:lnTo>
                    <a:pt x="7446" y="311"/>
                  </a:lnTo>
                  <a:lnTo>
                    <a:pt x="6360" y="1086"/>
                  </a:lnTo>
                  <a:lnTo>
                    <a:pt x="5739" y="1552"/>
                  </a:lnTo>
                  <a:lnTo>
                    <a:pt x="5119" y="2172"/>
                  </a:lnTo>
                  <a:lnTo>
                    <a:pt x="4654" y="2948"/>
                  </a:lnTo>
                  <a:lnTo>
                    <a:pt x="4188" y="3723"/>
                  </a:lnTo>
                  <a:lnTo>
                    <a:pt x="3258" y="5585"/>
                  </a:lnTo>
                  <a:lnTo>
                    <a:pt x="2017" y="7756"/>
                  </a:lnTo>
                  <a:lnTo>
                    <a:pt x="776" y="10083"/>
                  </a:lnTo>
                  <a:lnTo>
                    <a:pt x="311" y="11168"/>
                  </a:lnTo>
                  <a:lnTo>
                    <a:pt x="0" y="12099"/>
                  </a:lnTo>
                  <a:lnTo>
                    <a:pt x="4654" y="14271"/>
                  </a:lnTo>
                  <a:lnTo>
                    <a:pt x="6825" y="15201"/>
                  </a:lnTo>
                  <a:lnTo>
                    <a:pt x="7601" y="15356"/>
                  </a:lnTo>
                  <a:lnTo>
                    <a:pt x="8221" y="15511"/>
                  </a:lnTo>
                  <a:lnTo>
                    <a:pt x="8531" y="15356"/>
                  </a:lnTo>
                  <a:lnTo>
                    <a:pt x="8686" y="15201"/>
                  </a:lnTo>
                  <a:lnTo>
                    <a:pt x="8531" y="15046"/>
                  </a:lnTo>
                  <a:lnTo>
                    <a:pt x="8221" y="13805"/>
                  </a:lnTo>
                  <a:lnTo>
                    <a:pt x="8066" y="12720"/>
                  </a:lnTo>
                  <a:lnTo>
                    <a:pt x="8066" y="11789"/>
                  </a:lnTo>
                  <a:lnTo>
                    <a:pt x="8066" y="10858"/>
                  </a:lnTo>
                  <a:lnTo>
                    <a:pt x="7911" y="10083"/>
                  </a:lnTo>
                  <a:lnTo>
                    <a:pt x="7911" y="9152"/>
                  </a:lnTo>
                  <a:lnTo>
                    <a:pt x="8221" y="7291"/>
                  </a:lnTo>
                  <a:lnTo>
                    <a:pt x="8686" y="5274"/>
                  </a:lnTo>
                  <a:lnTo>
                    <a:pt x="8842" y="4964"/>
                  </a:lnTo>
                  <a:lnTo>
                    <a:pt x="8066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" name="Google Shape;6100;p70">
              <a:extLst>
                <a:ext uri="{FF2B5EF4-FFF2-40B4-BE49-F238E27FC236}">
                  <a16:creationId xmlns:a16="http://schemas.microsoft.com/office/drawing/2014/main" id="{CA1C7A66-105D-50B8-5A44-DA0B83148A23}"/>
                </a:ext>
              </a:extLst>
            </p:cNvPr>
            <p:cNvSpPr/>
            <p:nvPr/>
          </p:nvSpPr>
          <p:spPr>
            <a:xfrm>
              <a:off x="2507075" y="1672850"/>
              <a:ext cx="221050" cy="387800"/>
            </a:xfrm>
            <a:custGeom>
              <a:avLst/>
              <a:gdLst/>
              <a:ahLst/>
              <a:cxnLst/>
              <a:rect l="l" t="t" r="r" b="b"/>
              <a:pathLst>
                <a:path w="8842" h="15512" fill="none" extrusionOk="0">
                  <a:moveTo>
                    <a:pt x="4654" y="14271"/>
                  </a:moveTo>
                  <a:lnTo>
                    <a:pt x="0" y="12099"/>
                  </a:lnTo>
                  <a:lnTo>
                    <a:pt x="0" y="12099"/>
                  </a:lnTo>
                  <a:lnTo>
                    <a:pt x="311" y="11168"/>
                  </a:lnTo>
                  <a:lnTo>
                    <a:pt x="776" y="10083"/>
                  </a:lnTo>
                  <a:lnTo>
                    <a:pt x="2017" y="7756"/>
                  </a:lnTo>
                  <a:lnTo>
                    <a:pt x="3258" y="5585"/>
                  </a:lnTo>
                  <a:lnTo>
                    <a:pt x="4188" y="3723"/>
                  </a:lnTo>
                  <a:lnTo>
                    <a:pt x="4188" y="3723"/>
                  </a:lnTo>
                  <a:lnTo>
                    <a:pt x="4654" y="2948"/>
                  </a:lnTo>
                  <a:lnTo>
                    <a:pt x="5119" y="2172"/>
                  </a:lnTo>
                  <a:lnTo>
                    <a:pt x="5739" y="1552"/>
                  </a:lnTo>
                  <a:lnTo>
                    <a:pt x="6360" y="1086"/>
                  </a:lnTo>
                  <a:lnTo>
                    <a:pt x="7446" y="311"/>
                  </a:lnTo>
                  <a:lnTo>
                    <a:pt x="8066" y="1"/>
                  </a:lnTo>
                  <a:lnTo>
                    <a:pt x="8842" y="4964"/>
                  </a:lnTo>
                  <a:lnTo>
                    <a:pt x="8686" y="5274"/>
                  </a:lnTo>
                  <a:lnTo>
                    <a:pt x="8686" y="5274"/>
                  </a:lnTo>
                  <a:lnTo>
                    <a:pt x="8221" y="7291"/>
                  </a:lnTo>
                  <a:lnTo>
                    <a:pt x="7911" y="9152"/>
                  </a:lnTo>
                  <a:lnTo>
                    <a:pt x="7911" y="10083"/>
                  </a:lnTo>
                  <a:lnTo>
                    <a:pt x="8066" y="10858"/>
                  </a:lnTo>
                  <a:lnTo>
                    <a:pt x="8066" y="10858"/>
                  </a:lnTo>
                  <a:lnTo>
                    <a:pt x="8066" y="11789"/>
                  </a:lnTo>
                  <a:lnTo>
                    <a:pt x="8066" y="12720"/>
                  </a:lnTo>
                  <a:lnTo>
                    <a:pt x="8221" y="13805"/>
                  </a:lnTo>
                  <a:lnTo>
                    <a:pt x="8531" y="15046"/>
                  </a:lnTo>
                  <a:lnTo>
                    <a:pt x="8531" y="15046"/>
                  </a:lnTo>
                  <a:lnTo>
                    <a:pt x="8686" y="15201"/>
                  </a:lnTo>
                  <a:lnTo>
                    <a:pt x="8531" y="15356"/>
                  </a:lnTo>
                  <a:lnTo>
                    <a:pt x="8221" y="15511"/>
                  </a:lnTo>
                  <a:lnTo>
                    <a:pt x="7601" y="15356"/>
                  </a:lnTo>
                  <a:lnTo>
                    <a:pt x="6825" y="15201"/>
                  </a:lnTo>
                  <a:lnTo>
                    <a:pt x="4654" y="1427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" name="Google Shape;6101;p70">
              <a:extLst>
                <a:ext uri="{FF2B5EF4-FFF2-40B4-BE49-F238E27FC236}">
                  <a16:creationId xmlns:a16="http://schemas.microsoft.com/office/drawing/2014/main" id="{176D4D6B-3AE1-2DDA-76FB-FD15B6255274}"/>
                </a:ext>
              </a:extLst>
            </p:cNvPr>
            <p:cNvSpPr/>
            <p:nvPr/>
          </p:nvSpPr>
          <p:spPr>
            <a:xfrm>
              <a:off x="2704825" y="1824075"/>
              <a:ext cx="15550" cy="96975"/>
            </a:xfrm>
            <a:custGeom>
              <a:avLst/>
              <a:gdLst/>
              <a:ahLst/>
              <a:cxnLst/>
              <a:rect l="l" t="t" r="r" b="b"/>
              <a:pathLst>
                <a:path w="622" h="3879" extrusionOk="0">
                  <a:moveTo>
                    <a:pt x="1" y="3879"/>
                  </a:moveTo>
                  <a:lnTo>
                    <a:pt x="1" y="3879"/>
                  </a:lnTo>
                  <a:lnTo>
                    <a:pt x="1" y="3879"/>
                  </a:lnTo>
                  <a:lnTo>
                    <a:pt x="1" y="3879"/>
                  </a:lnTo>
                  <a:lnTo>
                    <a:pt x="1" y="3879"/>
                  </a:lnTo>
                  <a:lnTo>
                    <a:pt x="1" y="3879"/>
                  </a:lnTo>
                  <a:lnTo>
                    <a:pt x="1" y="3879"/>
                  </a:lnTo>
                  <a:close/>
                  <a:moveTo>
                    <a:pt x="621" y="1"/>
                  </a:moveTo>
                  <a:lnTo>
                    <a:pt x="621" y="1"/>
                  </a:lnTo>
                  <a:lnTo>
                    <a:pt x="156" y="2017"/>
                  </a:lnTo>
                  <a:lnTo>
                    <a:pt x="156" y="2017"/>
                  </a:lnTo>
                  <a:lnTo>
                    <a:pt x="621" y="1"/>
                  </a:lnTo>
                  <a:lnTo>
                    <a:pt x="621" y="1"/>
                  </a:lnTo>
                  <a:close/>
                </a:path>
              </a:pathLst>
            </a:custGeom>
            <a:solidFill>
              <a:srgbClr val="D4D2D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" name="Google Shape;6102;p70">
              <a:extLst>
                <a:ext uri="{FF2B5EF4-FFF2-40B4-BE49-F238E27FC236}">
                  <a16:creationId xmlns:a16="http://schemas.microsoft.com/office/drawing/2014/main" id="{280C6AE3-736C-7432-E8CA-A72B7A441B2D}"/>
                </a:ext>
              </a:extLst>
            </p:cNvPr>
            <p:cNvSpPr/>
            <p:nvPr/>
          </p:nvSpPr>
          <p:spPr>
            <a:xfrm>
              <a:off x="2704825" y="192102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" name="Google Shape;6103;p70">
              <a:extLst>
                <a:ext uri="{FF2B5EF4-FFF2-40B4-BE49-F238E27FC236}">
                  <a16:creationId xmlns:a16="http://schemas.microsoft.com/office/drawing/2014/main" id="{F0EE9F88-A00E-B5DC-8407-6FB8E8B5FFAB}"/>
                </a:ext>
              </a:extLst>
            </p:cNvPr>
            <p:cNvSpPr/>
            <p:nvPr/>
          </p:nvSpPr>
          <p:spPr>
            <a:xfrm>
              <a:off x="2708725" y="1824075"/>
              <a:ext cx="11650" cy="50450"/>
            </a:xfrm>
            <a:custGeom>
              <a:avLst/>
              <a:gdLst/>
              <a:ahLst/>
              <a:cxnLst/>
              <a:rect l="l" t="t" r="r" b="b"/>
              <a:pathLst>
                <a:path w="466" h="2018" fill="none" extrusionOk="0">
                  <a:moveTo>
                    <a:pt x="465" y="1"/>
                  </a:moveTo>
                  <a:lnTo>
                    <a:pt x="465" y="1"/>
                  </a:lnTo>
                  <a:lnTo>
                    <a:pt x="0" y="2017"/>
                  </a:lnTo>
                  <a:lnTo>
                    <a:pt x="0" y="2017"/>
                  </a:lnTo>
                  <a:lnTo>
                    <a:pt x="465" y="1"/>
                  </a:lnTo>
                  <a:lnTo>
                    <a:pt x="46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" name="Google Shape;6104;p70">
              <a:extLst>
                <a:ext uri="{FF2B5EF4-FFF2-40B4-BE49-F238E27FC236}">
                  <a16:creationId xmlns:a16="http://schemas.microsoft.com/office/drawing/2014/main" id="{CA721C27-C490-39CA-C9E8-037569E65E1F}"/>
                </a:ext>
              </a:extLst>
            </p:cNvPr>
            <p:cNvSpPr/>
            <p:nvPr/>
          </p:nvSpPr>
          <p:spPr>
            <a:xfrm>
              <a:off x="2615650" y="1796950"/>
              <a:ext cx="104725" cy="127975"/>
            </a:xfrm>
            <a:custGeom>
              <a:avLst/>
              <a:gdLst/>
              <a:ahLst/>
              <a:cxnLst/>
              <a:rect l="l" t="t" r="r" b="b"/>
              <a:pathLst>
                <a:path w="4189" h="5119" extrusionOk="0">
                  <a:moveTo>
                    <a:pt x="2792" y="0"/>
                  </a:moveTo>
                  <a:lnTo>
                    <a:pt x="1707" y="621"/>
                  </a:lnTo>
                  <a:lnTo>
                    <a:pt x="311" y="1396"/>
                  </a:lnTo>
                  <a:lnTo>
                    <a:pt x="0" y="1861"/>
                  </a:lnTo>
                  <a:lnTo>
                    <a:pt x="0" y="2327"/>
                  </a:lnTo>
                  <a:lnTo>
                    <a:pt x="0" y="2947"/>
                  </a:lnTo>
                  <a:lnTo>
                    <a:pt x="156" y="3568"/>
                  </a:lnTo>
                  <a:lnTo>
                    <a:pt x="621" y="4188"/>
                  </a:lnTo>
                  <a:lnTo>
                    <a:pt x="1086" y="4653"/>
                  </a:lnTo>
                  <a:lnTo>
                    <a:pt x="1862" y="4964"/>
                  </a:lnTo>
                  <a:lnTo>
                    <a:pt x="2637" y="5119"/>
                  </a:lnTo>
                  <a:lnTo>
                    <a:pt x="3568" y="4964"/>
                  </a:lnTo>
                  <a:lnTo>
                    <a:pt x="3568" y="4033"/>
                  </a:lnTo>
                  <a:lnTo>
                    <a:pt x="3723" y="3102"/>
                  </a:lnTo>
                  <a:lnTo>
                    <a:pt x="4188" y="1086"/>
                  </a:lnTo>
                  <a:lnTo>
                    <a:pt x="2792" y="0"/>
                  </a:lnTo>
                  <a:close/>
                </a:path>
              </a:pathLst>
            </a:custGeom>
            <a:solidFill>
              <a:srgbClr val="CA91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" name="Google Shape;6105;p70">
              <a:extLst>
                <a:ext uri="{FF2B5EF4-FFF2-40B4-BE49-F238E27FC236}">
                  <a16:creationId xmlns:a16="http://schemas.microsoft.com/office/drawing/2014/main" id="{3DA1C6CA-1343-4EE1-836D-01113D412687}"/>
                </a:ext>
              </a:extLst>
            </p:cNvPr>
            <p:cNvSpPr/>
            <p:nvPr/>
          </p:nvSpPr>
          <p:spPr>
            <a:xfrm>
              <a:off x="2615650" y="1796950"/>
              <a:ext cx="104725" cy="127975"/>
            </a:xfrm>
            <a:custGeom>
              <a:avLst/>
              <a:gdLst/>
              <a:ahLst/>
              <a:cxnLst/>
              <a:rect l="l" t="t" r="r" b="b"/>
              <a:pathLst>
                <a:path w="4189" h="5119" fill="none" extrusionOk="0">
                  <a:moveTo>
                    <a:pt x="2792" y="0"/>
                  </a:moveTo>
                  <a:lnTo>
                    <a:pt x="2792" y="0"/>
                  </a:lnTo>
                  <a:lnTo>
                    <a:pt x="1707" y="621"/>
                  </a:lnTo>
                  <a:lnTo>
                    <a:pt x="311" y="1396"/>
                  </a:lnTo>
                  <a:lnTo>
                    <a:pt x="311" y="1396"/>
                  </a:lnTo>
                  <a:lnTo>
                    <a:pt x="0" y="1861"/>
                  </a:lnTo>
                  <a:lnTo>
                    <a:pt x="0" y="2327"/>
                  </a:lnTo>
                  <a:lnTo>
                    <a:pt x="0" y="2947"/>
                  </a:lnTo>
                  <a:lnTo>
                    <a:pt x="156" y="3568"/>
                  </a:lnTo>
                  <a:lnTo>
                    <a:pt x="621" y="4188"/>
                  </a:lnTo>
                  <a:lnTo>
                    <a:pt x="1086" y="4653"/>
                  </a:lnTo>
                  <a:lnTo>
                    <a:pt x="1862" y="4964"/>
                  </a:lnTo>
                  <a:lnTo>
                    <a:pt x="2637" y="5119"/>
                  </a:lnTo>
                  <a:lnTo>
                    <a:pt x="2637" y="5119"/>
                  </a:lnTo>
                  <a:lnTo>
                    <a:pt x="3568" y="4964"/>
                  </a:lnTo>
                  <a:lnTo>
                    <a:pt x="3568" y="4964"/>
                  </a:lnTo>
                  <a:lnTo>
                    <a:pt x="3568" y="4964"/>
                  </a:lnTo>
                  <a:lnTo>
                    <a:pt x="3568" y="4964"/>
                  </a:lnTo>
                  <a:lnTo>
                    <a:pt x="3568" y="4033"/>
                  </a:lnTo>
                  <a:lnTo>
                    <a:pt x="3723" y="3102"/>
                  </a:lnTo>
                  <a:lnTo>
                    <a:pt x="3723" y="3102"/>
                  </a:lnTo>
                  <a:lnTo>
                    <a:pt x="4188" y="1086"/>
                  </a:lnTo>
                  <a:lnTo>
                    <a:pt x="279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" name="Google Shape;6106;p70">
              <a:extLst>
                <a:ext uri="{FF2B5EF4-FFF2-40B4-BE49-F238E27FC236}">
                  <a16:creationId xmlns:a16="http://schemas.microsoft.com/office/drawing/2014/main" id="{2D2271FC-F3F2-D81D-79DA-1C4957AEF33C}"/>
                </a:ext>
              </a:extLst>
            </p:cNvPr>
            <p:cNvSpPr/>
            <p:nvPr/>
          </p:nvSpPr>
          <p:spPr>
            <a:xfrm>
              <a:off x="2231750" y="1893875"/>
              <a:ext cx="601075" cy="1178850"/>
            </a:xfrm>
            <a:custGeom>
              <a:avLst/>
              <a:gdLst/>
              <a:ahLst/>
              <a:cxnLst/>
              <a:rect l="l" t="t" r="r" b="b"/>
              <a:pathLst>
                <a:path w="24043" h="47154" extrusionOk="0">
                  <a:moveTo>
                    <a:pt x="12565" y="1"/>
                  </a:moveTo>
                  <a:lnTo>
                    <a:pt x="9928" y="2172"/>
                  </a:lnTo>
                  <a:lnTo>
                    <a:pt x="7601" y="3879"/>
                  </a:lnTo>
                  <a:lnTo>
                    <a:pt x="5274" y="5274"/>
                  </a:lnTo>
                  <a:lnTo>
                    <a:pt x="2793" y="19389"/>
                  </a:lnTo>
                  <a:lnTo>
                    <a:pt x="1" y="34745"/>
                  </a:lnTo>
                  <a:lnTo>
                    <a:pt x="1" y="35676"/>
                  </a:lnTo>
                  <a:lnTo>
                    <a:pt x="1" y="37071"/>
                  </a:lnTo>
                  <a:lnTo>
                    <a:pt x="156" y="38778"/>
                  </a:lnTo>
                  <a:lnTo>
                    <a:pt x="621" y="40794"/>
                  </a:lnTo>
                  <a:lnTo>
                    <a:pt x="931" y="41725"/>
                  </a:lnTo>
                  <a:lnTo>
                    <a:pt x="1397" y="42655"/>
                  </a:lnTo>
                  <a:lnTo>
                    <a:pt x="2017" y="43586"/>
                  </a:lnTo>
                  <a:lnTo>
                    <a:pt x="2638" y="44362"/>
                  </a:lnTo>
                  <a:lnTo>
                    <a:pt x="3568" y="45137"/>
                  </a:lnTo>
                  <a:lnTo>
                    <a:pt x="4499" y="45913"/>
                  </a:lnTo>
                  <a:lnTo>
                    <a:pt x="5740" y="46533"/>
                  </a:lnTo>
                  <a:lnTo>
                    <a:pt x="6981" y="46843"/>
                  </a:lnTo>
                  <a:lnTo>
                    <a:pt x="8066" y="47153"/>
                  </a:lnTo>
                  <a:lnTo>
                    <a:pt x="11634" y="47153"/>
                  </a:lnTo>
                  <a:lnTo>
                    <a:pt x="13960" y="46843"/>
                  </a:lnTo>
                  <a:lnTo>
                    <a:pt x="16287" y="46223"/>
                  </a:lnTo>
                  <a:lnTo>
                    <a:pt x="18148" y="45447"/>
                  </a:lnTo>
                  <a:lnTo>
                    <a:pt x="19544" y="44672"/>
                  </a:lnTo>
                  <a:lnTo>
                    <a:pt x="20010" y="44206"/>
                  </a:lnTo>
                  <a:lnTo>
                    <a:pt x="20320" y="43896"/>
                  </a:lnTo>
                  <a:lnTo>
                    <a:pt x="20475" y="43586"/>
                  </a:lnTo>
                  <a:lnTo>
                    <a:pt x="20475" y="43276"/>
                  </a:lnTo>
                  <a:lnTo>
                    <a:pt x="20320" y="42500"/>
                  </a:lnTo>
                  <a:lnTo>
                    <a:pt x="20475" y="41414"/>
                  </a:lnTo>
                  <a:lnTo>
                    <a:pt x="21251" y="37537"/>
                  </a:lnTo>
                  <a:lnTo>
                    <a:pt x="22336" y="32263"/>
                  </a:lnTo>
                  <a:lnTo>
                    <a:pt x="22802" y="29316"/>
                  </a:lnTo>
                  <a:lnTo>
                    <a:pt x="23422" y="26059"/>
                  </a:lnTo>
                  <a:lnTo>
                    <a:pt x="23732" y="22802"/>
                  </a:lnTo>
                  <a:lnTo>
                    <a:pt x="24042" y="19544"/>
                  </a:lnTo>
                  <a:lnTo>
                    <a:pt x="24042" y="16132"/>
                  </a:lnTo>
                  <a:lnTo>
                    <a:pt x="23887" y="12875"/>
                  </a:lnTo>
                  <a:lnTo>
                    <a:pt x="23422" y="9928"/>
                  </a:lnTo>
                  <a:lnTo>
                    <a:pt x="22957" y="8377"/>
                  </a:lnTo>
                  <a:lnTo>
                    <a:pt x="22491" y="6981"/>
                  </a:lnTo>
                  <a:lnTo>
                    <a:pt x="21871" y="5585"/>
                  </a:lnTo>
                  <a:lnTo>
                    <a:pt x="21251" y="4344"/>
                  </a:lnTo>
                  <a:lnTo>
                    <a:pt x="20475" y="3258"/>
                  </a:lnTo>
                  <a:lnTo>
                    <a:pt x="19544" y="2172"/>
                  </a:lnTo>
                  <a:lnTo>
                    <a:pt x="19079" y="1862"/>
                  </a:lnTo>
                  <a:lnTo>
                    <a:pt x="18924" y="1862"/>
                  </a:lnTo>
                  <a:lnTo>
                    <a:pt x="18614" y="2017"/>
                  </a:lnTo>
                  <a:lnTo>
                    <a:pt x="18303" y="2172"/>
                  </a:lnTo>
                  <a:lnTo>
                    <a:pt x="18148" y="2638"/>
                  </a:lnTo>
                  <a:lnTo>
                    <a:pt x="17838" y="2948"/>
                  </a:lnTo>
                  <a:lnTo>
                    <a:pt x="17528" y="3103"/>
                  </a:lnTo>
                  <a:lnTo>
                    <a:pt x="16908" y="3258"/>
                  </a:lnTo>
                  <a:lnTo>
                    <a:pt x="16287" y="2948"/>
                  </a:lnTo>
                  <a:lnTo>
                    <a:pt x="15667" y="2483"/>
                  </a:lnTo>
                  <a:lnTo>
                    <a:pt x="15201" y="2017"/>
                  </a:lnTo>
                  <a:lnTo>
                    <a:pt x="14736" y="1397"/>
                  </a:lnTo>
                  <a:lnTo>
                    <a:pt x="14271" y="776"/>
                  </a:lnTo>
                  <a:lnTo>
                    <a:pt x="13805" y="311"/>
                  </a:lnTo>
                  <a:lnTo>
                    <a:pt x="1318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" name="Google Shape;6107;p70">
              <a:extLst>
                <a:ext uri="{FF2B5EF4-FFF2-40B4-BE49-F238E27FC236}">
                  <a16:creationId xmlns:a16="http://schemas.microsoft.com/office/drawing/2014/main" id="{C01BCF19-35E3-A5D5-DE71-BA323067C0E6}"/>
                </a:ext>
              </a:extLst>
            </p:cNvPr>
            <p:cNvSpPr/>
            <p:nvPr/>
          </p:nvSpPr>
          <p:spPr>
            <a:xfrm>
              <a:off x="2231750" y="1893875"/>
              <a:ext cx="601075" cy="1178850"/>
            </a:xfrm>
            <a:custGeom>
              <a:avLst/>
              <a:gdLst/>
              <a:ahLst/>
              <a:cxnLst/>
              <a:rect l="l" t="t" r="r" b="b"/>
              <a:pathLst>
                <a:path w="24043" h="47154" fill="none" extrusionOk="0">
                  <a:moveTo>
                    <a:pt x="12565" y="1"/>
                  </a:moveTo>
                  <a:lnTo>
                    <a:pt x="12565" y="1"/>
                  </a:lnTo>
                  <a:lnTo>
                    <a:pt x="13185" y="1"/>
                  </a:lnTo>
                  <a:lnTo>
                    <a:pt x="13805" y="311"/>
                  </a:lnTo>
                  <a:lnTo>
                    <a:pt x="14271" y="776"/>
                  </a:lnTo>
                  <a:lnTo>
                    <a:pt x="14736" y="1397"/>
                  </a:lnTo>
                  <a:lnTo>
                    <a:pt x="15201" y="2017"/>
                  </a:lnTo>
                  <a:lnTo>
                    <a:pt x="15667" y="2483"/>
                  </a:lnTo>
                  <a:lnTo>
                    <a:pt x="16287" y="2948"/>
                  </a:lnTo>
                  <a:lnTo>
                    <a:pt x="16908" y="3258"/>
                  </a:lnTo>
                  <a:lnTo>
                    <a:pt x="16908" y="3258"/>
                  </a:lnTo>
                  <a:lnTo>
                    <a:pt x="17528" y="3103"/>
                  </a:lnTo>
                  <a:lnTo>
                    <a:pt x="17838" y="2948"/>
                  </a:lnTo>
                  <a:lnTo>
                    <a:pt x="18148" y="2638"/>
                  </a:lnTo>
                  <a:lnTo>
                    <a:pt x="18303" y="2172"/>
                  </a:lnTo>
                  <a:lnTo>
                    <a:pt x="18303" y="2172"/>
                  </a:lnTo>
                  <a:lnTo>
                    <a:pt x="18614" y="2017"/>
                  </a:lnTo>
                  <a:lnTo>
                    <a:pt x="18924" y="1862"/>
                  </a:lnTo>
                  <a:lnTo>
                    <a:pt x="19079" y="1862"/>
                  </a:lnTo>
                  <a:lnTo>
                    <a:pt x="19544" y="2172"/>
                  </a:lnTo>
                  <a:lnTo>
                    <a:pt x="19544" y="2172"/>
                  </a:lnTo>
                  <a:lnTo>
                    <a:pt x="20475" y="3258"/>
                  </a:lnTo>
                  <a:lnTo>
                    <a:pt x="21251" y="4344"/>
                  </a:lnTo>
                  <a:lnTo>
                    <a:pt x="21871" y="5585"/>
                  </a:lnTo>
                  <a:lnTo>
                    <a:pt x="22491" y="6981"/>
                  </a:lnTo>
                  <a:lnTo>
                    <a:pt x="22957" y="8377"/>
                  </a:lnTo>
                  <a:lnTo>
                    <a:pt x="23422" y="9928"/>
                  </a:lnTo>
                  <a:lnTo>
                    <a:pt x="23887" y="12875"/>
                  </a:lnTo>
                  <a:lnTo>
                    <a:pt x="24042" y="16132"/>
                  </a:lnTo>
                  <a:lnTo>
                    <a:pt x="24042" y="19544"/>
                  </a:lnTo>
                  <a:lnTo>
                    <a:pt x="23732" y="22802"/>
                  </a:lnTo>
                  <a:lnTo>
                    <a:pt x="23422" y="26059"/>
                  </a:lnTo>
                  <a:lnTo>
                    <a:pt x="22802" y="29316"/>
                  </a:lnTo>
                  <a:lnTo>
                    <a:pt x="22336" y="32263"/>
                  </a:lnTo>
                  <a:lnTo>
                    <a:pt x="21251" y="37537"/>
                  </a:lnTo>
                  <a:lnTo>
                    <a:pt x="20475" y="41414"/>
                  </a:lnTo>
                  <a:lnTo>
                    <a:pt x="20320" y="42500"/>
                  </a:lnTo>
                  <a:lnTo>
                    <a:pt x="20475" y="43276"/>
                  </a:lnTo>
                  <a:lnTo>
                    <a:pt x="20475" y="43276"/>
                  </a:lnTo>
                  <a:lnTo>
                    <a:pt x="20475" y="43586"/>
                  </a:lnTo>
                  <a:lnTo>
                    <a:pt x="20320" y="43896"/>
                  </a:lnTo>
                  <a:lnTo>
                    <a:pt x="20010" y="44206"/>
                  </a:lnTo>
                  <a:lnTo>
                    <a:pt x="19544" y="44672"/>
                  </a:lnTo>
                  <a:lnTo>
                    <a:pt x="18148" y="45447"/>
                  </a:lnTo>
                  <a:lnTo>
                    <a:pt x="16287" y="46223"/>
                  </a:lnTo>
                  <a:lnTo>
                    <a:pt x="13960" y="46843"/>
                  </a:lnTo>
                  <a:lnTo>
                    <a:pt x="11634" y="47153"/>
                  </a:lnTo>
                  <a:lnTo>
                    <a:pt x="9307" y="47153"/>
                  </a:lnTo>
                  <a:lnTo>
                    <a:pt x="8066" y="47153"/>
                  </a:lnTo>
                  <a:lnTo>
                    <a:pt x="6981" y="46843"/>
                  </a:lnTo>
                  <a:lnTo>
                    <a:pt x="6981" y="46843"/>
                  </a:lnTo>
                  <a:lnTo>
                    <a:pt x="5740" y="46533"/>
                  </a:lnTo>
                  <a:lnTo>
                    <a:pt x="4499" y="45913"/>
                  </a:lnTo>
                  <a:lnTo>
                    <a:pt x="3568" y="45137"/>
                  </a:lnTo>
                  <a:lnTo>
                    <a:pt x="2638" y="44362"/>
                  </a:lnTo>
                  <a:lnTo>
                    <a:pt x="2017" y="43586"/>
                  </a:lnTo>
                  <a:lnTo>
                    <a:pt x="1397" y="42655"/>
                  </a:lnTo>
                  <a:lnTo>
                    <a:pt x="931" y="41725"/>
                  </a:lnTo>
                  <a:lnTo>
                    <a:pt x="621" y="40794"/>
                  </a:lnTo>
                  <a:lnTo>
                    <a:pt x="156" y="38778"/>
                  </a:lnTo>
                  <a:lnTo>
                    <a:pt x="1" y="37071"/>
                  </a:lnTo>
                  <a:lnTo>
                    <a:pt x="1" y="35676"/>
                  </a:lnTo>
                  <a:lnTo>
                    <a:pt x="1" y="34745"/>
                  </a:lnTo>
                  <a:lnTo>
                    <a:pt x="1" y="34745"/>
                  </a:lnTo>
                  <a:lnTo>
                    <a:pt x="2793" y="19389"/>
                  </a:lnTo>
                  <a:lnTo>
                    <a:pt x="5274" y="5274"/>
                  </a:lnTo>
                  <a:lnTo>
                    <a:pt x="5274" y="5274"/>
                  </a:lnTo>
                  <a:lnTo>
                    <a:pt x="7601" y="3879"/>
                  </a:lnTo>
                  <a:lnTo>
                    <a:pt x="9928" y="2172"/>
                  </a:lnTo>
                  <a:lnTo>
                    <a:pt x="1256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" name="Google Shape;6108;p70">
              <a:extLst>
                <a:ext uri="{FF2B5EF4-FFF2-40B4-BE49-F238E27FC236}">
                  <a16:creationId xmlns:a16="http://schemas.microsoft.com/office/drawing/2014/main" id="{0213A5B7-3D91-EA83-C729-FE3A9B2A5CD7}"/>
                </a:ext>
              </a:extLst>
            </p:cNvPr>
            <p:cNvSpPr/>
            <p:nvPr/>
          </p:nvSpPr>
          <p:spPr>
            <a:xfrm>
              <a:off x="2673825" y="1948175"/>
              <a:ext cx="1015975" cy="1221500"/>
            </a:xfrm>
            <a:custGeom>
              <a:avLst/>
              <a:gdLst/>
              <a:ahLst/>
              <a:cxnLst/>
              <a:rect l="l" t="t" r="r" b="b"/>
              <a:pathLst>
                <a:path w="40639" h="48860" extrusionOk="0">
                  <a:moveTo>
                    <a:pt x="1861" y="0"/>
                  </a:moveTo>
                  <a:lnTo>
                    <a:pt x="1706" y="1396"/>
                  </a:lnTo>
                  <a:lnTo>
                    <a:pt x="1861" y="3568"/>
                  </a:lnTo>
                  <a:lnTo>
                    <a:pt x="2172" y="6670"/>
                  </a:lnTo>
                  <a:lnTo>
                    <a:pt x="2327" y="8997"/>
                  </a:lnTo>
                  <a:lnTo>
                    <a:pt x="2172" y="11168"/>
                  </a:lnTo>
                  <a:lnTo>
                    <a:pt x="1706" y="13340"/>
                  </a:lnTo>
                  <a:lnTo>
                    <a:pt x="1241" y="15511"/>
                  </a:lnTo>
                  <a:lnTo>
                    <a:pt x="776" y="17683"/>
                  </a:lnTo>
                  <a:lnTo>
                    <a:pt x="310" y="20009"/>
                  </a:lnTo>
                  <a:lnTo>
                    <a:pt x="155" y="22646"/>
                  </a:lnTo>
                  <a:lnTo>
                    <a:pt x="155" y="25438"/>
                  </a:lnTo>
                  <a:lnTo>
                    <a:pt x="465" y="29161"/>
                  </a:lnTo>
                  <a:lnTo>
                    <a:pt x="310" y="32883"/>
                  </a:lnTo>
                  <a:lnTo>
                    <a:pt x="155" y="39553"/>
                  </a:lnTo>
                  <a:lnTo>
                    <a:pt x="0" y="42500"/>
                  </a:lnTo>
                  <a:lnTo>
                    <a:pt x="155" y="44826"/>
                  </a:lnTo>
                  <a:lnTo>
                    <a:pt x="155" y="45912"/>
                  </a:lnTo>
                  <a:lnTo>
                    <a:pt x="465" y="46688"/>
                  </a:lnTo>
                  <a:lnTo>
                    <a:pt x="776" y="47463"/>
                  </a:lnTo>
                  <a:lnTo>
                    <a:pt x="1086" y="47928"/>
                  </a:lnTo>
                  <a:lnTo>
                    <a:pt x="1706" y="48394"/>
                  </a:lnTo>
                  <a:lnTo>
                    <a:pt x="2172" y="48704"/>
                  </a:lnTo>
                  <a:lnTo>
                    <a:pt x="2947" y="48859"/>
                  </a:lnTo>
                  <a:lnTo>
                    <a:pt x="3568" y="48859"/>
                  </a:lnTo>
                  <a:lnTo>
                    <a:pt x="4343" y="48704"/>
                  </a:lnTo>
                  <a:lnTo>
                    <a:pt x="5119" y="48394"/>
                  </a:lnTo>
                  <a:lnTo>
                    <a:pt x="5894" y="47773"/>
                  </a:lnTo>
                  <a:lnTo>
                    <a:pt x="6825" y="46998"/>
                  </a:lnTo>
                  <a:lnTo>
                    <a:pt x="7445" y="46222"/>
                  </a:lnTo>
                  <a:lnTo>
                    <a:pt x="7911" y="45137"/>
                  </a:lnTo>
                  <a:lnTo>
                    <a:pt x="8221" y="43896"/>
                  </a:lnTo>
                  <a:lnTo>
                    <a:pt x="8531" y="42655"/>
                  </a:lnTo>
                  <a:lnTo>
                    <a:pt x="8686" y="41259"/>
                  </a:lnTo>
                  <a:lnTo>
                    <a:pt x="8686" y="39708"/>
                  </a:lnTo>
                  <a:lnTo>
                    <a:pt x="8686" y="36761"/>
                  </a:lnTo>
                  <a:lnTo>
                    <a:pt x="8531" y="33659"/>
                  </a:lnTo>
                  <a:lnTo>
                    <a:pt x="8221" y="30867"/>
                  </a:lnTo>
                  <a:lnTo>
                    <a:pt x="7755" y="27144"/>
                  </a:lnTo>
                  <a:lnTo>
                    <a:pt x="6980" y="22646"/>
                  </a:lnTo>
                  <a:lnTo>
                    <a:pt x="6825" y="20475"/>
                  </a:lnTo>
                  <a:lnTo>
                    <a:pt x="6670" y="17527"/>
                  </a:lnTo>
                  <a:lnTo>
                    <a:pt x="6670" y="12719"/>
                  </a:lnTo>
                  <a:lnTo>
                    <a:pt x="7290" y="13029"/>
                  </a:lnTo>
                  <a:lnTo>
                    <a:pt x="8996" y="13960"/>
                  </a:lnTo>
                  <a:lnTo>
                    <a:pt x="14270" y="16907"/>
                  </a:lnTo>
                  <a:lnTo>
                    <a:pt x="17217" y="18458"/>
                  </a:lnTo>
                  <a:lnTo>
                    <a:pt x="20009" y="19699"/>
                  </a:lnTo>
                  <a:lnTo>
                    <a:pt x="22491" y="20630"/>
                  </a:lnTo>
                  <a:lnTo>
                    <a:pt x="23576" y="20940"/>
                  </a:lnTo>
                  <a:lnTo>
                    <a:pt x="24352" y="20940"/>
                  </a:lnTo>
                  <a:lnTo>
                    <a:pt x="25593" y="20785"/>
                  </a:lnTo>
                  <a:lnTo>
                    <a:pt x="26834" y="20164"/>
                  </a:lnTo>
                  <a:lnTo>
                    <a:pt x="28230" y="19389"/>
                  </a:lnTo>
                  <a:lnTo>
                    <a:pt x="29626" y="18303"/>
                  </a:lnTo>
                  <a:lnTo>
                    <a:pt x="31022" y="17062"/>
                  </a:lnTo>
                  <a:lnTo>
                    <a:pt x="32262" y="15511"/>
                  </a:lnTo>
                  <a:lnTo>
                    <a:pt x="34899" y="12564"/>
                  </a:lnTo>
                  <a:lnTo>
                    <a:pt x="37226" y="9462"/>
                  </a:lnTo>
                  <a:lnTo>
                    <a:pt x="38932" y="6670"/>
                  </a:lnTo>
                  <a:lnTo>
                    <a:pt x="40173" y="4654"/>
                  </a:lnTo>
                  <a:lnTo>
                    <a:pt x="40638" y="3723"/>
                  </a:lnTo>
                  <a:lnTo>
                    <a:pt x="40638" y="3413"/>
                  </a:lnTo>
                  <a:lnTo>
                    <a:pt x="40483" y="3102"/>
                  </a:lnTo>
                  <a:lnTo>
                    <a:pt x="39863" y="2482"/>
                  </a:lnTo>
                  <a:lnTo>
                    <a:pt x="39087" y="2017"/>
                  </a:lnTo>
                  <a:lnTo>
                    <a:pt x="38001" y="1551"/>
                  </a:lnTo>
                  <a:lnTo>
                    <a:pt x="37071" y="1241"/>
                  </a:lnTo>
                  <a:lnTo>
                    <a:pt x="36140" y="1086"/>
                  </a:lnTo>
                  <a:lnTo>
                    <a:pt x="35054" y="1086"/>
                  </a:lnTo>
                  <a:lnTo>
                    <a:pt x="34434" y="2017"/>
                  </a:lnTo>
                  <a:lnTo>
                    <a:pt x="33193" y="3413"/>
                  </a:lnTo>
                  <a:lnTo>
                    <a:pt x="30091" y="7601"/>
                  </a:lnTo>
                  <a:lnTo>
                    <a:pt x="28230" y="9772"/>
                  </a:lnTo>
                  <a:lnTo>
                    <a:pt x="26679" y="11633"/>
                  </a:lnTo>
                  <a:lnTo>
                    <a:pt x="25748" y="12409"/>
                  </a:lnTo>
                  <a:lnTo>
                    <a:pt x="25127" y="13029"/>
                  </a:lnTo>
                  <a:lnTo>
                    <a:pt x="24352" y="13340"/>
                  </a:lnTo>
                  <a:lnTo>
                    <a:pt x="23887" y="13495"/>
                  </a:lnTo>
                  <a:lnTo>
                    <a:pt x="23266" y="13340"/>
                  </a:lnTo>
                  <a:lnTo>
                    <a:pt x="22646" y="13184"/>
                  </a:lnTo>
                  <a:lnTo>
                    <a:pt x="20940" y="12099"/>
                  </a:lnTo>
                  <a:lnTo>
                    <a:pt x="16286" y="8531"/>
                  </a:lnTo>
                  <a:lnTo>
                    <a:pt x="13184" y="6360"/>
                  </a:lnTo>
                  <a:lnTo>
                    <a:pt x="9927" y="4033"/>
                  </a:lnTo>
                  <a:lnTo>
                    <a:pt x="8066" y="2947"/>
                  </a:lnTo>
                  <a:lnTo>
                    <a:pt x="6049" y="1862"/>
                  </a:lnTo>
                  <a:lnTo>
                    <a:pt x="4033" y="776"/>
                  </a:lnTo>
                  <a:lnTo>
                    <a:pt x="1861" y="0"/>
                  </a:lnTo>
                  <a:close/>
                </a:path>
              </a:pathLst>
            </a:custGeom>
            <a:solidFill>
              <a:srgbClr val="E73C3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" name="Google Shape;6109;p70">
              <a:extLst>
                <a:ext uri="{FF2B5EF4-FFF2-40B4-BE49-F238E27FC236}">
                  <a16:creationId xmlns:a16="http://schemas.microsoft.com/office/drawing/2014/main" id="{846C8A6D-EF0A-D840-E818-59C170E9463C}"/>
                </a:ext>
              </a:extLst>
            </p:cNvPr>
            <p:cNvSpPr/>
            <p:nvPr/>
          </p:nvSpPr>
          <p:spPr>
            <a:xfrm>
              <a:off x="2673825" y="1948175"/>
              <a:ext cx="1015975" cy="1221500"/>
            </a:xfrm>
            <a:custGeom>
              <a:avLst/>
              <a:gdLst/>
              <a:ahLst/>
              <a:cxnLst/>
              <a:rect l="l" t="t" r="r" b="b"/>
              <a:pathLst>
                <a:path w="40639" h="48860" fill="none" extrusionOk="0">
                  <a:moveTo>
                    <a:pt x="40638" y="3723"/>
                  </a:moveTo>
                  <a:lnTo>
                    <a:pt x="40638" y="3723"/>
                  </a:lnTo>
                  <a:lnTo>
                    <a:pt x="40173" y="4654"/>
                  </a:lnTo>
                  <a:lnTo>
                    <a:pt x="38932" y="6670"/>
                  </a:lnTo>
                  <a:lnTo>
                    <a:pt x="37226" y="9462"/>
                  </a:lnTo>
                  <a:lnTo>
                    <a:pt x="34899" y="12564"/>
                  </a:lnTo>
                  <a:lnTo>
                    <a:pt x="32262" y="15511"/>
                  </a:lnTo>
                  <a:lnTo>
                    <a:pt x="31022" y="17062"/>
                  </a:lnTo>
                  <a:lnTo>
                    <a:pt x="29626" y="18303"/>
                  </a:lnTo>
                  <a:lnTo>
                    <a:pt x="28230" y="19389"/>
                  </a:lnTo>
                  <a:lnTo>
                    <a:pt x="26834" y="20164"/>
                  </a:lnTo>
                  <a:lnTo>
                    <a:pt x="25593" y="20785"/>
                  </a:lnTo>
                  <a:lnTo>
                    <a:pt x="24352" y="20940"/>
                  </a:lnTo>
                  <a:lnTo>
                    <a:pt x="24352" y="20940"/>
                  </a:lnTo>
                  <a:lnTo>
                    <a:pt x="23576" y="20940"/>
                  </a:lnTo>
                  <a:lnTo>
                    <a:pt x="22491" y="20630"/>
                  </a:lnTo>
                  <a:lnTo>
                    <a:pt x="20009" y="19699"/>
                  </a:lnTo>
                  <a:lnTo>
                    <a:pt x="17217" y="18458"/>
                  </a:lnTo>
                  <a:lnTo>
                    <a:pt x="14270" y="16907"/>
                  </a:lnTo>
                  <a:lnTo>
                    <a:pt x="14270" y="16907"/>
                  </a:lnTo>
                  <a:lnTo>
                    <a:pt x="8996" y="13960"/>
                  </a:lnTo>
                  <a:lnTo>
                    <a:pt x="7290" y="13029"/>
                  </a:lnTo>
                  <a:lnTo>
                    <a:pt x="6670" y="12719"/>
                  </a:lnTo>
                  <a:lnTo>
                    <a:pt x="6670" y="12719"/>
                  </a:lnTo>
                  <a:lnTo>
                    <a:pt x="6670" y="17527"/>
                  </a:lnTo>
                  <a:lnTo>
                    <a:pt x="6825" y="20475"/>
                  </a:lnTo>
                  <a:lnTo>
                    <a:pt x="6980" y="22646"/>
                  </a:lnTo>
                  <a:lnTo>
                    <a:pt x="6980" y="22646"/>
                  </a:lnTo>
                  <a:lnTo>
                    <a:pt x="7755" y="27144"/>
                  </a:lnTo>
                  <a:lnTo>
                    <a:pt x="7755" y="27144"/>
                  </a:lnTo>
                  <a:lnTo>
                    <a:pt x="8221" y="30867"/>
                  </a:lnTo>
                  <a:lnTo>
                    <a:pt x="8531" y="33659"/>
                  </a:lnTo>
                  <a:lnTo>
                    <a:pt x="8686" y="36761"/>
                  </a:lnTo>
                  <a:lnTo>
                    <a:pt x="8686" y="39708"/>
                  </a:lnTo>
                  <a:lnTo>
                    <a:pt x="8686" y="41259"/>
                  </a:lnTo>
                  <a:lnTo>
                    <a:pt x="8531" y="42655"/>
                  </a:lnTo>
                  <a:lnTo>
                    <a:pt x="8221" y="43896"/>
                  </a:lnTo>
                  <a:lnTo>
                    <a:pt x="7911" y="45137"/>
                  </a:lnTo>
                  <a:lnTo>
                    <a:pt x="7445" y="46222"/>
                  </a:lnTo>
                  <a:lnTo>
                    <a:pt x="6825" y="46998"/>
                  </a:lnTo>
                  <a:lnTo>
                    <a:pt x="6825" y="46998"/>
                  </a:lnTo>
                  <a:lnTo>
                    <a:pt x="5894" y="47773"/>
                  </a:lnTo>
                  <a:lnTo>
                    <a:pt x="5119" y="48394"/>
                  </a:lnTo>
                  <a:lnTo>
                    <a:pt x="4343" y="48704"/>
                  </a:lnTo>
                  <a:lnTo>
                    <a:pt x="3568" y="48859"/>
                  </a:lnTo>
                  <a:lnTo>
                    <a:pt x="2947" y="48859"/>
                  </a:lnTo>
                  <a:lnTo>
                    <a:pt x="2172" y="48704"/>
                  </a:lnTo>
                  <a:lnTo>
                    <a:pt x="1706" y="48394"/>
                  </a:lnTo>
                  <a:lnTo>
                    <a:pt x="1086" y="47928"/>
                  </a:lnTo>
                  <a:lnTo>
                    <a:pt x="1086" y="47928"/>
                  </a:lnTo>
                  <a:lnTo>
                    <a:pt x="776" y="47463"/>
                  </a:lnTo>
                  <a:lnTo>
                    <a:pt x="465" y="46688"/>
                  </a:lnTo>
                  <a:lnTo>
                    <a:pt x="155" y="45912"/>
                  </a:lnTo>
                  <a:lnTo>
                    <a:pt x="155" y="44826"/>
                  </a:lnTo>
                  <a:lnTo>
                    <a:pt x="0" y="42500"/>
                  </a:lnTo>
                  <a:lnTo>
                    <a:pt x="155" y="39553"/>
                  </a:lnTo>
                  <a:lnTo>
                    <a:pt x="310" y="32883"/>
                  </a:lnTo>
                  <a:lnTo>
                    <a:pt x="465" y="29161"/>
                  </a:lnTo>
                  <a:lnTo>
                    <a:pt x="155" y="25438"/>
                  </a:lnTo>
                  <a:lnTo>
                    <a:pt x="155" y="25438"/>
                  </a:lnTo>
                  <a:lnTo>
                    <a:pt x="155" y="22646"/>
                  </a:lnTo>
                  <a:lnTo>
                    <a:pt x="310" y="20009"/>
                  </a:lnTo>
                  <a:lnTo>
                    <a:pt x="776" y="17683"/>
                  </a:lnTo>
                  <a:lnTo>
                    <a:pt x="1241" y="15511"/>
                  </a:lnTo>
                  <a:lnTo>
                    <a:pt x="1706" y="13340"/>
                  </a:lnTo>
                  <a:lnTo>
                    <a:pt x="2172" y="11168"/>
                  </a:lnTo>
                  <a:lnTo>
                    <a:pt x="2327" y="8997"/>
                  </a:lnTo>
                  <a:lnTo>
                    <a:pt x="2172" y="6670"/>
                  </a:lnTo>
                  <a:lnTo>
                    <a:pt x="2172" y="6670"/>
                  </a:lnTo>
                  <a:lnTo>
                    <a:pt x="1861" y="3568"/>
                  </a:lnTo>
                  <a:lnTo>
                    <a:pt x="1706" y="1396"/>
                  </a:lnTo>
                  <a:lnTo>
                    <a:pt x="1861" y="0"/>
                  </a:lnTo>
                  <a:lnTo>
                    <a:pt x="1861" y="0"/>
                  </a:lnTo>
                  <a:lnTo>
                    <a:pt x="4033" y="776"/>
                  </a:lnTo>
                  <a:lnTo>
                    <a:pt x="6049" y="1862"/>
                  </a:lnTo>
                  <a:lnTo>
                    <a:pt x="8066" y="2947"/>
                  </a:lnTo>
                  <a:lnTo>
                    <a:pt x="9927" y="4033"/>
                  </a:lnTo>
                  <a:lnTo>
                    <a:pt x="13184" y="6360"/>
                  </a:lnTo>
                  <a:lnTo>
                    <a:pt x="16286" y="8531"/>
                  </a:lnTo>
                  <a:lnTo>
                    <a:pt x="20940" y="12099"/>
                  </a:lnTo>
                  <a:lnTo>
                    <a:pt x="22646" y="13184"/>
                  </a:lnTo>
                  <a:lnTo>
                    <a:pt x="23266" y="13340"/>
                  </a:lnTo>
                  <a:lnTo>
                    <a:pt x="23887" y="13495"/>
                  </a:lnTo>
                  <a:lnTo>
                    <a:pt x="23887" y="13495"/>
                  </a:lnTo>
                  <a:lnTo>
                    <a:pt x="24352" y="13340"/>
                  </a:lnTo>
                  <a:lnTo>
                    <a:pt x="25127" y="13029"/>
                  </a:lnTo>
                  <a:lnTo>
                    <a:pt x="25748" y="12409"/>
                  </a:lnTo>
                  <a:lnTo>
                    <a:pt x="26679" y="11633"/>
                  </a:lnTo>
                  <a:lnTo>
                    <a:pt x="28230" y="9772"/>
                  </a:lnTo>
                  <a:lnTo>
                    <a:pt x="30091" y="7601"/>
                  </a:lnTo>
                  <a:lnTo>
                    <a:pt x="33193" y="3413"/>
                  </a:lnTo>
                  <a:lnTo>
                    <a:pt x="34434" y="2017"/>
                  </a:lnTo>
                  <a:lnTo>
                    <a:pt x="35054" y="1086"/>
                  </a:lnTo>
                  <a:lnTo>
                    <a:pt x="35054" y="1086"/>
                  </a:lnTo>
                  <a:lnTo>
                    <a:pt x="35520" y="1086"/>
                  </a:lnTo>
                  <a:lnTo>
                    <a:pt x="36140" y="1086"/>
                  </a:lnTo>
                  <a:lnTo>
                    <a:pt x="37071" y="1241"/>
                  </a:lnTo>
                  <a:lnTo>
                    <a:pt x="38001" y="1551"/>
                  </a:lnTo>
                  <a:lnTo>
                    <a:pt x="39087" y="2017"/>
                  </a:lnTo>
                  <a:lnTo>
                    <a:pt x="39863" y="2482"/>
                  </a:lnTo>
                  <a:lnTo>
                    <a:pt x="40483" y="3102"/>
                  </a:lnTo>
                  <a:lnTo>
                    <a:pt x="40638" y="3413"/>
                  </a:lnTo>
                  <a:lnTo>
                    <a:pt x="40638" y="3723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" name="Google Shape;6110;p70">
              <a:extLst>
                <a:ext uri="{FF2B5EF4-FFF2-40B4-BE49-F238E27FC236}">
                  <a16:creationId xmlns:a16="http://schemas.microsoft.com/office/drawing/2014/main" id="{EDCF8581-3106-F213-A69A-AE5432287076}"/>
                </a:ext>
              </a:extLst>
            </p:cNvPr>
            <p:cNvSpPr/>
            <p:nvPr/>
          </p:nvSpPr>
          <p:spPr>
            <a:xfrm>
              <a:off x="2716475" y="1948175"/>
              <a:ext cx="263700" cy="228800"/>
            </a:xfrm>
            <a:custGeom>
              <a:avLst/>
              <a:gdLst/>
              <a:ahLst/>
              <a:cxnLst/>
              <a:rect l="l" t="t" r="r" b="b"/>
              <a:pathLst>
                <a:path w="10548" h="9152" extrusionOk="0">
                  <a:moveTo>
                    <a:pt x="155" y="0"/>
                  </a:moveTo>
                  <a:lnTo>
                    <a:pt x="0" y="1241"/>
                  </a:lnTo>
                  <a:lnTo>
                    <a:pt x="155" y="3258"/>
                  </a:lnTo>
                  <a:lnTo>
                    <a:pt x="466" y="6205"/>
                  </a:lnTo>
                  <a:lnTo>
                    <a:pt x="2172" y="7445"/>
                  </a:lnTo>
                  <a:lnTo>
                    <a:pt x="3723" y="8376"/>
                  </a:lnTo>
                  <a:lnTo>
                    <a:pt x="4964" y="8997"/>
                  </a:lnTo>
                  <a:lnTo>
                    <a:pt x="5584" y="9152"/>
                  </a:lnTo>
                  <a:lnTo>
                    <a:pt x="6049" y="9152"/>
                  </a:lnTo>
                  <a:lnTo>
                    <a:pt x="6980" y="8997"/>
                  </a:lnTo>
                  <a:lnTo>
                    <a:pt x="7756" y="8531"/>
                  </a:lnTo>
                  <a:lnTo>
                    <a:pt x="8531" y="7756"/>
                  </a:lnTo>
                  <a:lnTo>
                    <a:pt x="10548" y="5584"/>
                  </a:lnTo>
                  <a:lnTo>
                    <a:pt x="8221" y="4033"/>
                  </a:lnTo>
                  <a:lnTo>
                    <a:pt x="5739" y="2637"/>
                  </a:lnTo>
                  <a:lnTo>
                    <a:pt x="2947" y="124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rgbClr val="BD393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" name="Google Shape;6111;p70">
              <a:extLst>
                <a:ext uri="{FF2B5EF4-FFF2-40B4-BE49-F238E27FC236}">
                  <a16:creationId xmlns:a16="http://schemas.microsoft.com/office/drawing/2014/main" id="{374FFD4D-8AC0-AA35-5F7E-6809BF17D795}"/>
                </a:ext>
              </a:extLst>
            </p:cNvPr>
            <p:cNvSpPr/>
            <p:nvPr/>
          </p:nvSpPr>
          <p:spPr>
            <a:xfrm>
              <a:off x="2716475" y="1948175"/>
              <a:ext cx="263700" cy="228800"/>
            </a:xfrm>
            <a:custGeom>
              <a:avLst/>
              <a:gdLst/>
              <a:ahLst/>
              <a:cxnLst/>
              <a:rect l="l" t="t" r="r" b="b"/>
              <a:pathLst>
                <a:path w="10548" h="9152" fill="none" extrusionOk="0">
                  <a:moveTo>
                    <a:pt x="155" y="0"/>
                  </a:moveTo>
                  <a:lnTo>
                    <a:pt x="155" y="0"/>
                  </a:lnTo>
                  <a:lnTo>
                    <a:pt x="155" y="0"/>
                  </a:lnTo>
                  <a:lnTo>
                    <a:pt x="0" y="1241"/>
                  </a:lnTo>
                  <a:lnTo>
                    <a:pt x="0" y="1241"/>
                  </a:lnTo>
                  <a:lnTo>
                    <a:pt x="155" y="3258"/>
                  </a:lnTo>
                  <a:lnTo>
                    <a:pt x="466" y="6205"/>
                  </a:lnTo>
                  <a:lnTo>
                    <a:pt x="466" y="6205"/>
                  </a:lnTo>
                  <a:lnTo>
                    <a:pt x="2172" y="7445"/>
                  </a:lnTo>
                  <a:lnTo>
                    <a:pt x="3723" y="8376"/>
                  </a:lnTo>
                  <a:lnTo>
                    <a:pt x="4964" y="8997"/>
                  </a:lnTo>
                  <a:lnTo>
                    <a:pt x="5584" y="9152"/>
                  </a:lnTo>
                  <a:lnTo>
                    <a:pt x="6049" y="9152"/>
                  </a:lnTo>
                  <a:lnTo>
                    <a:pt x="6049" y="9152"/>
                  </a:lnTo>
                  <a:lnTo>
                    <a:pt x="6980" y="8997"/>
                  </a:lnTo>
                  <a:lnTo>
                    <a:pt x="6980" y="8997"/>
                  </a:lnTo>
                  <a:lnTo>
                    <a:pt x="7756" y="8531"/>
                  </a:lnTo>
                  <a:lnTo>
                    <a:pt x="8531" y="7756"/>
                  </a:lnTo>
                  <a:lnTo>
                    <a:pt x="10548" y="5584"/>
                  </a:lnTo>
                  <a:lnTo>
                    <a:pt x="10548" y="5584"/>
                  </a:lnTo>
                  <a:lnTo>
                    <a:pt x="8221" y="4033"/>
                  </a:lnTo>
                  <a:lnTo>
                    <a:pt x="5739" y="2637"/>
                  </a:lnTo>
                  <a:lnTo>
                    <a:pt x="2947" y="1241"/>
                  </a:lnTo>
                  <a:lnTo>
                    <a:pt x="15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" name="Google Shape;6112;p70">
              <a:extLst>
                <a:ext uri="{FF2B5EF4-FFF2-40B4-BE49-F238E27FC236}">
                  <a16:creationId xmlns:a16="http://schemas.microsoft.com/office/drawing/2014/main" id="{B5483E61-C95F-0517-E5D5-9B8B3C13D18F}"/>
                </a:ext>
              </a:extLst>
            </p:cNvPr>
            <p:cNvSpPr/>
            <p:nvPr/>
          </p:nvSpPr>
          <p:spPr>
            <a:xfrm>
              <a:off x="2991775" y="1975325"/>
              <a:ext cx="698025" cy="496350"/>
            </a:xfrm>
            <a:custGeom>
              <a:avLst/>
              <a:gdLst/>
              <a:ahLst/>
              <a:cxnLst/>
              <a:rect l="l" t="t" r="r" b="b"/>
              <a:pathLst>
                <a:path w="27921" h="19854" extrusionOk="0">
                  <a:moveTo>
                    <a:pt x="22336" y="0"/>
                  </a:moveTo>
                  <a:lnTo>
                    <a:pt x="21716" y="931"/>
                  </a:lnTo>
                  <a:lnTo>
                    <a:pt x="20475" y="2327"/>
                  </a:lnTo>
                  <a:lnTo>
                    <a:pt x="17373" y="6515"/>
                  </a:lnTo>
                  <a:lnTo>
                    <a:pt x="15512" y="8686"/>
                  </a:lnTo>
                  <a:lnTo>
                    <a:pt x="13961" y="10547"/>
                  </a:lnTo>
                  <a:lnTo>
                    <a:pt x="13030" y="11323"/>
                  </a:lnTo>
                  <a:lnTo>
                    <a:pt x="12409" y="11943"/>
                  </a:lnTo>
                  <a:lnTo>
                    <a:pt x="11634" y="12254"/>
                  </a:lnTo>
                  <a:lnTo>
                    <a:pt x="11169" y="12409"/>
                  </a:lnTo>
                  <a:lnTo>
                    <a:pt x="10703" y="12409"/>
                  </a:lnTo>
                  <a:lnTo>
                    <a:pt x="10083" y="12098"/>
                  </a:lnTo>
                  <a:lnTo>
                    <a:pt x="8842" y="11478"/>
                  </a:lnTo>
                  <a:lnTo>
                    <a:pt x="7291" y="10392"/>
                  </a:lnTo>
                  <a:lnTo>
                    <a:pt x="5430" y="8996"/>
                  </a:lnTo>
                  <a:lnTo>
                    <a:pt x="4034" y="10702"/>
                  </a:lnTo>
                  <a:lnTo>
                    <a:pt x="2638" y="12409"/>
                  </a:lnTo>
                  <a:lnTo>
                    <a:pt x="1242" y="13805"/>
                  </a:lnTo>
                  <a:lnTo>
                    <a:pt x="1" y="14890"/>
                  </a:lnTo>
                  <a:lnTo>
                    <a:pt x="1552" y="15821"/>
                  </a:lnTo>
                  <a:lnTo>
                    <a:pt x="4344" y="17372"/>
                  </a:lnTo>
                  <a:lnTo>
                    <a:pt x="7136" y="18613"/>
                  </a:lnTo>
                  <a:lnTo>
                    <a:pt x="9618" y="19544"/>
                  </a:lnTo>
                  <a:lnTo>
                    <a:pt x="10703" y="19854"/>
                  </a:lnTo>
                  <a:lnTo>
                    <a:pt x="11634" y="19854"/>
                  </a:lnTo>
                  <a:lnTo>
                    <a:pt x="12875" y="19699"/>
                  </a:lnTo>
                  <a:lnTo>
                    <a:pt x="14116" y="19078"/>
                  </a:lnTo>
                  <a:lnTo>
                    <a:pt x="15512" y="18303"/>
                  </a:lnTo>
                  <a:lnTo>
                    <a:pt x="16908" y="17217"/>
                  </a:lnTo>
                  <a:lnTo>
                    <a:pt x="18304" y="15976"/>
                  </a:lnTo>
                  <a:lnTo>
                    <a:pt x="19544" y="14425"/>
                  </a:lnTo>
                  <a:lnTo>
                    <a:pt x="22181" y="11478"/>
                  </a:lnTo>
                  <a:lnTo>
                    <a:pt x="24508" y="8376"/>
                  </a:lnTo>
                  <a:lnTo>
                    <a:pt x="26214" y="5584"/>
                  </a:lnTo>
                  <a:lnTo>
                    <a:pt x="27455" y="3568"/>
                  </a:lnTo>
                  <a:lnTo>
                    <a:pt x="27920" y="2637"/>
                  </a:lnTo>
                  <a:lnTo>
                    <a:pt x="27765" y="2172"/>
                  </a:lnTo>
                  <a:lnTo>
                    <a:pt x="27610" y="1706"/>
                  </a:lnTo>
                  <a:lnTo>
                    <a:pt x="27145" y="1396"/>
                  </a:lnTo>
                  <a:lnTo>
                    <a:pt x="26679" y="1086"/>
                  </a:lnTo>
                  <a:lnTo>
                    <a:pt x="25283" y="465"/>
                  </a:lnTo>
                  <a:lnTo>
                    <a:pt x="24042" y="155"/>
                  </a:lnTo>
                  <a:lnTo>
                    <a:pt x="22957" y="0"/>
                  </a:lnTo>
                  <a:close/>
                </a:path>
              </a:pathLst>
            </a:custGeom>
            <a:solidFill>
              <a:srgbClr val="BD393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" name="Google Shape;6113;p70">
              <a:extLst>
                <a:ext uri="{FF2B5EF4-FFF2-40B4-BE49-F238E27FC236}">
                  <a16:creationId xmlns:a16="http://schemas.microsoft.com/office/drawing/2014/main" id="{AC526D3B-4301-76EA-BF01-7F16F28DCD12}"/>
                </a:ext>
              </a:extLst>
            </p:cNvPr>
            <p:cNvSpPr/>
            <p:nvPr/>
          </p:nvSpPr>
          <p:spPr>
            <a:xfrm>
              <a:off x="2991775" y="1975325"/>
              <a:ext cx="698025" cy="496350"/>
            </a:xfrm>
            <a:custGeom>
              <a:avLst/>
              <a:gdLst/>
              <a:ahLst/>
              <a:cxnLst/>
              <a:rect l="l" t="t" r="r" b="b"/>
              <a:pathLst>
                <a:path w="27921" h="19854" fill="none" extrusionOk="0">
                  <a:moveTo>
                    <a:pt x="22802" y="0"/>
                  </a:moveTo>
                  <a:lnTo>
                    <a:pt x="22802" y="0"/>
                  </a:lnTo>
                  <a:lnTo>
                    <a:pt x="22336" y="0"/>
                  </a:lnTo>
                  <a:lnTo>
                    <a:pt x="22336" y="0"/>
                  </a:lnTo>
                  <a:lnTo>
                    <a:pt x="21716" y="931"/>
                  </a:lnTo>
                  <a:lnTo>
                    <a:pt x="20475" y="2327"/>
                  </a:lnTo>
                  <a:lnTo>
                    <a:pt x="17373" y="6515"/>
                  </a:lnTo>
                  <a:lnTo>
                    <a:pt x="15512" y="8686"/>
                  </a:lnTo>
                  <a:lnTo>
                    <a:pt x="13961" y="10547"/>
                  </a:lnTo>
                  <a:lnTo>
                    <a:pt x="13030" y="11323"/>
                  </a:lnTo>
                  <a:lnTo>
                    <a:pt x="12409" y="11943"/>
                  </a:lnTo>
                  <a:lnTo>
                    <a:pt x="11634" y="12254"/>
                  </a:lnTo>
                  <a:lnTo>
                    <a:pt x="11169" y="12409"/>
                  </a:lnTo>
                  <a:lnTo>
                    <a:pt x="11169" y="12409"/>
                  </a:lnTo>
                  <a:lnTo>
                    <a:pt x="11169" y="12409"/>
                  </a:lnTo>
                  <a:lnTo>
                    <a:pt x="11169" y="12409"/>
                  </a:lnTo>
                  <a:lnTo>
                    <a:pt x="10703" y="12409"/>
                  </a:lnTo>
                  <a:lnTo>
                    <a:pt x="10083" y="12098"/>
                  </a:lnTo>
                  <a:lnTo>
                    <a:pt x="8842" y="11478"/>
                  </a:lnTo>
                  <a:lnTo>
                    <a:pt x="7291" y="10392"/>
                  </a:lnTo>
                  <a:lnTo>
                    <a:pt x="5430" y="8996"/>
                  </a:lnTo>
                  <a:lnTo>
                    <a:pt x="5430" y="8996"/>
                  </a:lnTo>
                  <a:lnTo>
                    <a:pt x="4034" y="10702"/>
                  </a:lnTo>
                  <a:lnTo>
                    <a:pt x="2638" y="12409"/>
                  </a:lnTo>
                  <a:lnTo>
                    <a:pt x="1242" y="13805"/>
                  </a:lnTo>
                  <a:lnTo>
                    <a:pt x="1" y="14890"/>
                  </a:lnTo>
                  <a:lnTo>
                    <a:pt x="1" y="14890"/>
                  </a:lnTo>
                  <a:lnTo>
                    <a:pt x="1552" y="15821"/>
                  </a:lnTo>
                  <a:lnTo>
                    <a:pt x="1552" y="15821"/>
                  </a:lnTo>
                  <a:lnTo>
                    <a:pt x="4344" y="17372"/>
                  </a:lnTo>
                  <a:lnTo>
                    <a:pt x="7136" y="18613"/>
                  </a:lnTo>
                  <a:lnTo>
                    <a:pt x="9618" y="19544"/>
                  </a:lnTo>
                  <a:lnTo>
                    <a:pt x="10703" y="19854"/>
                  </a:lnTo>
                  <a:lnTo>
                    <a:pt x="11479" y="19854"/>
                  </a:lnTo>
                  <a:lnTo>
                    <a:pt x="11479" y="19854"/>
                  </a:lnTo>
                  <a:lnTo>
                    <a:pt x="11634" y="19854"/>
                  </a:lnTo>
                  <a:lnTo>
                    <a:pt x="11634" y="19854"/>
                  </a:lnTo>
                  <a:lnTo>
                    <a:pt x="12875" y="19699"/>
                  </a:lnTo>
                  <a:lnTo>
                    <a:pt x="14116" y="19078"/>
                  </a:lnTo>
                  <a:lnTo>
                    <a:pt x="15512" y="18303"/>
                  </a:lnTo>
                  <a:lnTo>
                    <a:pt x="16908" y="17217"/>
                  </a:lnTo>
                  <a:lnTo>
                    <a:pt x="18304" y="15976"/>
                  </a:lnTo>
                  <a:lnTo>
                    <a:pt x="19544" y="14425"/>
                  </a:lnTo>
                  <a:lnTo>
                    <a:pt x="22181" y="11478"/>
                  </a:lnTo>
                  <a:lnTo>
                    <a:pt x="24508" y="8376"/>
                  </a:lnTo>
                  <a:lnTo>
                    <a:pt x="26214" y="5584"/>
                  </a:lnTo>
                  <a:lnTo>
                    <a:pt x="27455" y="3568"/>
                  </a:lnTo>
                  <a:lnTo>
                    <a:pt x="27920" y="2637"/>
                  </a:lnTo>
                  <a:lnTo>
                    <a:pt x="27920" y="2637"/>
                  </a:lnTo>
                  <a:lnTo>
                    <a:pt x="27920" y="2637"/>
                  </a:lnTo>
                  <a:lnTo>
                    <a:pt x="27920" y="2637"/>
                  </a:lnTo>
                  <a:lnTo>
                    <a:pt x="27765" y="2172"/>
                  </a:lnTo>
                  <a:lnTo>
                    <a:pt x="27610" y="1706"/>
                  </a:lnTo>
                  <a:lnTo>
                    <a:pt x="27610" y="1706"/>
                  </a:lnTo>
                  <a:lnTo>
                    <a:pt x="27145" y="1396"/>
                  </a:lnTo>
                  <a:lnTo>
                    <a:pt x="26679" y="1086"/>
                  </a:lnTo>
                  <a:lnTo>
                    <a:pt x="25283" y="465"/>
                  </a:lnTo>
                  <a:lnTo>
                    <a:pt x="24042" y="155"/>
                  </a:lnTo>
                  <a:lnTo>
                    <a:pt x="22957" y="0"/>
                  </a:lnTo>
                  <a:lnTo>
                    <a:pt x="22957" y="0"/>
                  </a:lnTo>
                  <a:lnTo>
                    <a:pt x="2280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" name="Google Shape;6114;p70">
              <a:extLst>
                <a:ext uri="{FF2B5EF4-FFF2-40B4-BE49-F238E27FC236}">
                  <a16:creationId xmlns:a16="http://schemas.microsoft.com/office/drawing/2014/main" id="{0384A13F-27C6-1600-11D0-29B538B1716D}"/>
                </a:ext>
              </a:extLst>
            </p:cNvPr>
            <p:cNvSpPr/>
            <p:nvPr/>
          </p:nvSpPr>
          <p:spPr>
            <a:xfrm>
              <a:off x="2673825" y="2332050"/>
              <a:ext cx="221050" cy="837625"/>
            </a:xfrm>
            <a:custGeom>
              <a:avLst/>
              <a:gdLst/>
              <a:ahLst/>
              <a:cxnLst/>
              <a:rect l="l" t="t" r="r" b="b"/>
              <a:pathLst>
                <a:path w="8842" h="33505" extrusionOk="0">
                  <a:moveTo>
                    <a:pt x="1241" y="1"/>
                  </a:moveTo>
                  <a:lnTo>
                    <a:pt x="465" y="3724"/>
                  </a:lnTo>
                  <a:lnTo>
                    <a:pt x="155" y="5740"/>
                  </a:lnTo>
                  <a:lnTo>
                    <a:pt x="155" y="7911"/>
                  </a:lnTo>
                  <a:lnTo>
                    <a:pt x="155" y="10083"/>
                  </a:lnTo>
                  <a:lnTo>
                    <a:pt x="310" y="12720"/>
                  </a:lnTo>
                  <a:lnTo>
                    <a:pt x="465" y="15357"/>
                  </a:lnTo>
                  <a:lnTo>
                    <a:pt x="310" y="18614"/>
                  </a:lnTo>
                  <a:lnTo>
                    <a:pt x="155" y="21871"/>
                  </a:lnTo>
                  <a:lnTo>
                    <a:pt x="0" y="27455"/>
                  </a:lnTo>
                  <a:lnTo>
                    <a:pt x="0" y="29161"/>
                  </a:lnTo>
                  <a:lnTo>
                    <a:pt x="155" y="30557"/>
                  </a:lnTo>
                  <a:lnTo>
                    <a:pt x="620" y="31798"/>
                  </a:lnTo>
                  <a:lnTo>
                    <a:pt x="776" y="32263"/>
                  </a:lnTo>
                  <a:lnTo>
                    <a:pt x="1086" y="32573"/>
                  </a:lnTo>
                  <a:lnTo>
                    <a:pt x="1551" y="33039"/>
                  </a:lnTo>
                  <a:lnTo>
                    <a:pt x="2172" y="33349"/>
                  </a:lnTo>
                  <a:lnTo>
                    <a:pt x="2637" y="33504"/>
                  </a:lnTo>
                  <a:lnTo>
                    <a:pt x="4188" y="33504"/>
                  </a:lnTo>
                  <a:lnTo>
                    <a:pt x="4963" y="33039"/>
                  </a:lnTo>
                  <a:lnTo>
                    <a:pt x="5894" y="32573"/>
                  </a:lnTo>
                  <a:lnTo>
                    <a:pt x="6825" y="31643"/>
                  </a:lnTo>
                  <a:lnTo>
                    <a:pt x="7290" y="31022"/>
                  </a:lnTo>
                  <a:lnTo>
                    <a:pt x="7755" y="30092"/>
                  </a:lnTo>
                  <a:lnTo>
                    <a:pt x="8066" y="29161"/>
                  </a:lnTo>
                  <a:lnTo>
                    <a:pt x="8376" y="28230"/>
                  </a:lnTo>
                  <a:lnTo>
                    <a:pt x="8686" y="25904"/>
                  </a:lnTo>
                  <a:lnTo>
                    <a:pt x="8841" y="23267"/>
                  </a:lnTo>
                  <a:lnTo>
                    <a:pt x="8686" y="19700"/>
                  </a:lnTo>
                  <a:lnTo>
                    <a:pt x="8376" y="16442"/>
                  </a:lnTo>
                  <a:lnTo>
                    <a:pt x="7755" y="11789"/>
                  </a:lnTo>
                  <a:lnTo>
                    <a:pt x="6980" y="7291"/>
                  </a:lnTo>
                  <a:lnTo>
                    <a:pt x="6825" y="5120"/>
                  </a:lnTo>
                  <a:lnTo>
                    <a:pt x="6670" y="2328"/>
                  </a:lnTo>
                  <a:lnTo>
                    <a:pt x="5429" y="2017"/>
                  </a:lnTo>
                  <a:lnTo>
                    <a:pt x="4033" y="1397"/>
                  </a:lnTo>
                  <a:lnTo>
                    <a:pt x="2637" y="776"/>
                  </a:lnTo>
                  <a:lnTo>
                    <a:pt x="1241" y="1"/>
                  </a:lnTo>
                  <a:close/>
                </a:path>
              </a:pathLst>
            </a:custGeom>
            <a:solidFill>
              <a:srgbClr val="BD393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" name="Google Shape;6115;p70">
              <a:extLst>
                <a:ext uri="{FF2B5EF4-FFF2-40B4-BE49-F238E27FC236}">
                  <a16:creationId xmlns:a16="http://schemas.microsoft.com/office/drawing/2014/main" id="{6AC1D086-1148-C1F2-2B65-FA5E245F9FC6}"/>
                </a:ext>
              </a:extLst>
            </p:cNvPr>
            <p:cNvSpPr/>
            <p:nvPr/>
          </p:nvSpPr>
          <p:spPr>
            <a:xfrm>
              <a:off x="2673825" y="2332050"/>
              <a:ext cx="221050" cy="837625"/>
            </a:xfrm>
            <a:custGeom>
              <a:avLst/>
              <a:gdLst/>
              <a:ahLst/>
              <a:cxnLst/>
              <a:rect l="l" t="t" r="r" b="b"/>
              <a:pathLst>
                <a:path w="8842" h="33505" fill="none" extrusionOk="0">
                  <a:moveTo>
                    <a:pt x="1241" y="1"/>
                  </a:moveTo>
                  <a:lnTo>
                    <a:pt x="1241" y="1"/>
                  </a:lnTo>
                  <a:lnTo>
                    <a:pt x="465" y="3724"/>
                  </a:lnTo>
                  <a:lnTo>
                    <a:pt x="155" y="5740"/>
                  </a:lnTo>
                  <a:lnTo>
                    <a:pt x="155" y="7911"/>
                  </a:lnTo>
                  <a:lnTo>
                    <a:pt x="155" y="7911"/>
                  </a:lnTo>
                  <a:lnTo>
                    <a:pt x="155" y="10083"/>
                  </a:lnTo>
                  <a:lnTo>
                    <a:pt x="155" y="10083"/>
                  </a:lnTo>
                  <a:lnTo>
                    <a:pt x="310" y="12720"/>
                  </a:lnTo>
                  <a:lnTo>
                    <a:pt x="465" y="15357"/>
                  </a:lnTo>
                  <a:lnTo>
                    <a:pt x="465" y="15357"/>
                  </a:lnTo>
                  <a:lnTo>
                    <a:pt x="310" y="18614"/>
                  </a:lnTo>
                  <a:lnTo>
                    <a:pt x="155" y="21871"/>
                  </a:lnTo>
                  <a:lnTo>
                    <a:pt x="0" y="27455"/>
                  </a:lnTo>
                  <a:lnTo>
                    <a:pt x="0" y="27455"/>
                  </a:lnTo>
                  <a:lnTo>
                    <a:pt x="0" y="29161"/>
                  </a:lnTo>
                  <a:lnTo>
                    <a:pt x="155" y="30557"/>
                  </a:lnTo>
                  <a:lnTo>
                    <a:pt x="620" y="31798"/>
                  </a:lnTo>
                  <a:lnTo>
                    <a:pt x="776" y="32263"/>
                  </a:lnTo>
                  <a:lnTo>
                    <a:pt x="1086" y="32573"/>
                  </a:lnTo>
                  <a:lnTo>
                    <a:pt x="1086" y="32573"/>
                  </a:lnTo>
                  <a:lnTo>
                    <a:pt x="1551" y="33039"/>
                  </a:lnTo>
                  <a:lnTo>
                    <a:pt x="2172" y="33349"/>
                  </a:lnTo>
                  <a:lnTo>
                    <a:pt x="2637" y="33504"/>
                  </a:lnTo>
                  <a:lnTo>
                    <a:pt x="3257" y="33504"/>
                  </a:lnTo>
                  <a:lnTo>
                    <a:pt x="3257" y="33504"/>
                  </a:lnTo>
                  <a:lnTo>
                    <a:pt x="4188" y="33504"/>
                  </a:lnTo>
                  <a:lnTo>
                    <a:pt x="4963" y="33039"/>
                  </a:lnTo>
                  <a:lnTo>
                    <a:pt x="5894" y="32573"/>
                  </a:lnTo>
                  <a:lnTo>
                    <a:pt x="6825" y="31643"/>
                  </a:lnTo>
                  <a:lnTo>
                    <a:pt x="6825" y="31643"/>
                  </a:lnTo>
                  <a:lnTo>
                    <a:pt x="7290" y="31022"/>
                  </a:lnTo>
                  <a:lnTo>
                    <a:pt x="7755" y="30092"/>
                  </a:lnTo>
                  <a:lnTo>
                    <a:pt x="8066" y="29161"/>
                  </a:lnTo>
                  <a:lnTo>
                    <a:pt x="8376" y="28230"/>
                  </a:lnTo>
                  <a:lnTo>
                    <a:pt x="8686" y="25904"/>
                  </a:lnTo>
                  <a:lnTo>
                    <a:pt x="8841" y="23267"/>
                  </a:lnTo>
                  <a:lnTo>
                    <a:pt x="8841" y="23267"/>
                  </a:lnTo>
                  <a:lnTo>
                    <a:pt x="8686" y="19700"/>
                  </a:lnTo>
                  <a:lnTo>
                    <a:pt x="8376" y="16442"/>
                  </a:lnTo>
                  <a:lnTo>
                    <a:pt x="7755" y="11789"/>
                  </a:lnTo>
                  <a:lnTo>
                    <a:pt x="7755" y="11789"/>
                  </a:lnTo>
                  <a:lnTo>
                    <a:pt x="6980" y="7291"/>
                  </a:lnTo>
                  <a:lnTo>
                    <a:pt x="6980" y="7291"/>
                  </a:lnTo>
                  <a:lnTo>
                    <a:pt x="6825" y="5120"/>
                  </a:lnTo>
                  <a:lnTo>
                    <a:pt x="6670" y="2328"/>
                  </a:lnTo>
                  <a:lnTo>
                    <a:pt x="6670" y="2328"/>
                  </a:lnTo>
                  <a:lnTo>
                    <a:pt x="5429" y="2017"/>
                  </a:lnTo>
                  <a:lnTo>
                    <a:pt x="4033" y="1397"/>
                  </a:lnTo>
                  <a:lnTo>
                    <a:pt x="2637" y="776"/>
                  </a:lnTo>
                  <a:lnTo>
                    <a:pt x="124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" name="Google Shape;6116;p70">
              <a:extLst>
                <a:ext uri="{FF2B5EF4-FFF2-40B4-BE49-F238E27FC236}">
                  <a16:creationId xmlns:a16="http://schemas.microsoft.com/office/drawing/2014/main" id="{20EA68D5-B726-8C89-F7DA-B6D387356D21}"/>
                </a:ext>
              </a:extLst>
            </p:cNvPr>
            <p:cNvSpPr/>
            <p:nvPr/>
          </p:nvSpPr>
          <p:spPr>
            <a:xfrm>
              <a:off x="2142575" y="1893875"/>
              <a:ext cx="411050" cy="1287425"/>
            </a:xfrm>
            <a:custGeom>
              <a:avLst/>
              <a:gdLst/>
              <a:ahLst/>
              <a:cxnLst/>
              <a:rect l="l" t="t" r="r" b="b"/>
              <a:pathLst>
                <a:path w="16442" h="51497" extrusionOk="0">
                  <a:moveTo>
                    <a:pt x="16132" y="1"/>
                  </a:moveTo>
                  <a:lnTo>
                    <a:pt x="15201" y="156"/>
                  </a:lnTo>
                  <a:lnTo>
                    <a:pt x="14115" y="311"/>
                  </a:lnTo>
                  <a:lnTo>
                    <a:pt x="12874" y="621"/>
                  </a:lnTo>
                  <a:lnTo>
                    <a:pt x="11323" y="1242"/>
                  </a:lnTo>
                  <a:lnTo>
                    <a:pt x="9772" y="2172"/>
                  </a:lnTo>
                  <a:lnTo>
                    <a:pt x="8066" y="3258"/>
                  </a:lnTo>
                  <a:lnTo>
                    <a:pt x="6360" y="4809"/>
                  </a:lnTo>
                  <a:lnTo>
                    <a:pt x="5739" y="5895"/>
                  </a:lnTo>
                  <a:lnTo>
                    <a:pt x="5119" y="7136"/>
                  </a:lnTo>
                  <a:lnTo>
                    <a:pt x="4654" y="8532"/>
                  </a:lnTo>
                  <a:lnTo>
                    <a:pt x="4188" y="9928"/>
                  </a:lnTo>
                  <a:lnTo>
                    <a:pt x="3568" y="13340"/>
                  </a:lnTo>
                  <a:lnTo>
                    <a:pt x="3258" y="16752"/>
                  </a:lnTo>
                  <a:lnTo>
                    <a:pt x="3103" y="20165"/>
                  </a:lnTo>
                  <a:lnTo>
                    <a:pt x="3103" y="22491"/>
                  </a:lnTo>
                  <a:lnTo>
                    <a:pt x="3103" y="24508"/>
                  </a:lnTo>
                  <a:lnTo>
                    <a:pt x="3258" y="26214"/>
                  </a:lnTo>
                  <a:lnTo>
                    <a:pt x="3258" y="28541"/>
                  </a:lnTo>
                  <a:lnTo>
                    <a:pt x="3258" y="29781"/>
                  </a:lnTo>
                  <a:lnTo>
                    <a:pt x="2947" y="31488"/>
                  </a:lnTo>
                  <a:lnTo>
                    <a:pt x="2172" y="35365"/>
                  </a:lnTo>
                  <a:lnTo>
                    <a:pt x="1086" y="40019"/>
                  </a:lnTo>
                  <a:lnTo>
                    <a:pt x="311" y="44517"/>
                  </a:lnTo>
                  <a:lnTo>
                    <a:pt x="0" y="46378"/>
                  </a:lnTo>
                  <a:lnTo>
                    <a:pt x="0" y="48084"/>
                  </a:lnTo>
                  <a:lnTo>
                    <a:pt x="155" y="49325"/>
                  </a:lnTo>
                  <a:lnTo>
                    <a:pt x="466" y="49635"/>
                  </a:lnTo>
                  <a:lnTo>
                    <a:pt x="621" y="49945"/>
                  </a:lnTo>
                  <a:lnTo>
                    <a:pt x="2017" y="50721"/>
                  </a:lnTo>
                  <a:lnTo>
                    <a:pt x="3413" y="51186"/>
                  </a:lnTo>
                  <a:lnTo>
                    <a:pt x="4809" y="51496"/>
                  </a:lnTo>
                  <a:lnTo>
                    <a:pt x="6205" y="51496"/>
                  </a:lnTo>
                  <a:lnTo>
                    <a:pt x="7601" y="51341"/>
                  </a:lnTo>
                  <a:lnTo>
                    <a:pt x="8997" y="50876"/>
                  </a:lnTo>
                  <a:lnTo>
                    <a:pt x="10237" y="50100"/>
                  </a:lnTo>
                  <a:lnTo>
                    <a:pt x="11478" y="49015"/>
                  </a:lnTo>
                  <a:lnTo>
                    <a:pt x="11789" y="48549"/>
                  </a:lnTo>
                  <a:lnTo>
                    <a:pt x="12099" y="47929"/>
                  </a:lnTo>
                  <a:lnTo>
                    <a:pt x="12564" y="46843"/>
                  </a:lnTo>
                  <a:lnTo>
                    <a:pt x="12564" y="45602"/>
                  </a:lnTo>
                  <a:lnTo>
                    <a:pt x="12564" y="44206"/>
                  </a:lnTo>
                  <a:lnTo>
                    <a:pt x="12564" y="42655"/>
                  </a:lnTo>
                  <a:lnTo>
                    <a:pt x="12564" y="40794"/>
                  </a:lnTo>
                  <a:lnTo>
                    <a:pt x="12719" y="38933"/>
                  </a:lnTo>
                  <a:lnTo>
                    <a:pt x="13184" y="36761"/>
                  </a:lnTo>
                  <a:lnTo>
                    <a:pt x="13960" y="33969"/>
                  </a:lnTo>
                  <a:lnTo>
                    <a:pt x="14736" y="30712"/>
                  </a:lnTo>
                  <a:lnTo>
                    <a:pt x="15511" y="27300"/>
                  </a:lnTo>
                  <a:lnTo>
                    <a:pt x="15976" y="24042"/>
                  </a:lnTo>
                  <a:lnTo>
                    <a:pt x="16132" y="22802"/>
                  </a:lnTo>
                  <a:lnTo>
                    <a:pt x="16442" y="17838"/>
                  </a:lnTo>
                  <a:lnTo>
                    <a:pt x="16442" y="12875"/>
                  </a:lnTo>
                  <a:lnTo>
                    <a:pt x="16442" y="8532"/>
                  </a:lnTo>
                  <a:lnTo>
                    <a:pt x="16287" y="6050"/>
                  </a:lnTo>
                  <a:lnTo>
                    <a:pt x="16132" y="1"/>
                  </a:lnTo>
                  <a:close/>
                </a:path>
              </a:pathLst>
            </a:custGeom>
            <a:solidFill>
              <a:srgbClr val="E73C3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" name="Google Shape;6117;p70">
              <a:extLst>
                <a:ext uri="{FF2B5EF4-FFF2-40B4-BE49-F238E27FC236}">
                  <a16:creationId xmlns:a16="http://schemas.microsoft.com/office/drawing/2014/main" id="{ED0C3641-5742-5200-A246-2276C7E1166A}"/>
                </a:ext>
              </a:extLst>
            </p:cNvPr>
            <p:cNvSpPr/>
            <p:nvPr/>
          </p:nvSpPr>
          <p:spPr>
            <a:xfrm>
              <a:off x="2142575" y="1893875"/>
              <a:ext cx="411050" cy="1287425"/>
            </a:xfrm>
            <a:custGeom>
              <a:avLst/>
              <a:gdLst/>
              <a:ahLst/>
              <a:cxnLst/>
              <a:rect l="l" t="t" r="r" b="b"/>
              <a:pathLst>
                <a:path w="16442" h="51497" fill="none" extrusionOk="0">
                  <a:moveTo>
                    <a:pt x="621" y="49945"/>
                  </a:moveTo>
                  <a:lnTo>
                    <a:pt x="621" y="49945"/>
                  </a:lnTo>
                  <a:lnTo>
                    <a:pt x="2017" y="50721"/>
                  </a:lnTo>
                  <a:lnTo>
                    <a:pt x="3413" y="51186"/>
                  </a:lnTo>
                  <a:lnTo>
                    <a:pt x="4809" y="51496"/>
                  </a:lnTo>
                  <a:lnTo>
                    <a:pt x="6205" y="51496"/>
                  </a:lnTo>
                  <a:lnTo>
                    <a:pt x="7601" y="51341"/>
                  </a:lnTo>
                  <a:lnTo>
                    <a:pt x="8997" y="50876"/>
                  </a:lnTo>
                  <a:lnTo>
                    <a:pt x="10237" y="50100"/>
                  </a:lnTo>
                  <a:lnTo>
                    <a:pt x="11478" y="49015"/>
                  </a:lnTo>
                  <a:lnTo>
                    <a:pt x="11478" y="49015"/>
                  </a:lnTo>
                  <a:lnTo>
                    <a:pt x="11789" y="48549"/>
                  </a:lnTo>
                  <a:lnTo>
                    <a:pt x="12099" y="47929"/>
                  </a:lnTo>
                  <a:lnTo>
                    <a:pt x="12564" y="46843"/>
                  </a:lnTo>
                  <a:lnTo>
                    <a:pt x="12564" y="45602"/>
                  </a:lnTo>
                  <a:lnTo>
                    <a:pt x="12564" y="44206"/>
                  </a:lnTo>
                  <a:lnTo>
                    <a:pt x="12564" y="42655"/>
                  </a:lnTo>
                  <a:lnTo>
                    <a:pt x="12564" y="40794"/>
                  </a:lnTo>
                  <a:lnTo>
                    <a:pt x="12719" y="38933"/>
                  </a:lnTo>
                  <a:lnTo>
                    <a:pt x="13184" y="36761"/>
                  </a:lnTo>
                  <a:lnTo>
                    <a:pt x="13184" y="36761"/>
                  </a:lnTo>
                  <a:lnTo>
                    <a:pt x="13960" y="33969"/>
                  </a:lnTo>
                  <a:lnTo>
                    <a:pt x="14736" y="30712"/>
                  </a:lnTo>
                  <a:lnTo>
                    <a:pt x="15511" y="27300"/>
                  </a:lnTo>
                  <a:lnTo>
                    <a:pt x="15976" y="24042"/>
                  </a:lnTo>
                  <a:lnTo>
                    <a:pt x="15976" y="24042"/>
                  </a:lnTo>
                  <a:lnTo>
                    <a:pt x="16132" y="22802"/>
                  </a:lnTo>
                  <a:lnTo>
                    <a:pt x="16132" y="22802"/>
                  </a:lnTo>
                  <a:lnTo>
                    <a:pt x="16442" y="17838"/>
                  </a:lnTo>
                  <a:lnTo>
                    <a:pt x="16442" y="12875"/>
                  </a:lnTo>
                  <a:lnTo>
                    <a:pt x="16442" y="12875"/>
                  </a:lnTo>
                  <a:lnTo>
                    <a:pt x="16442" y="8532"/>
                  </a:lnTo>
                  <a:lnTo>
                    <a:pt x="16442" y="8532"/>
                  </a:lnTo>
                  <a:lnTo>
                    <a:pt x="16287" y="6050"/>
                  </a:lnTo>
                  <a:lnTo>
                    <a:pt x="16287" y="6050"/>
                  </a:lnTo>
                  <a:lnTo>
                    <a:pt x="16132" y="1"/>
                  </a:lnTo>
                  <a:lnTo>
                    <a:pt x="16132" y="1"/>
                  </a:lnTo>
                  <a:lnTo>
                    <a:pt x="15201" y="156"/>
                  </a:lnTo>
                  <a:lnTo>
                    <a:pt x="14115" y="311"/>
                  </a:lnTo>
                  <a:lnTo>
                    <a:pt x="12874" y="621"/>
                  </a:lnTo>
                  <a:lnTo>
                    <a:pt x="11323" y="1242"/>
                  </a:lnTo>
                  <a:lnTo>
                    <a:pt x="9772" y="2172"/>
                  </a:lnTo>
                  <a:lnTo>
                    <a:pt x="8066" y="3258"/>
                  </a:lnTo>
                  <a:lnTo>
                    <a:pt x="6360" y="4809"/>
                  </a:lnTo>
                  <a:lnTo>
                    <a:pt x="6360" y="4809"/>
                  </a:lnTo>
                  <a:lnTo>
                    <a:pt x="5739" y="5895"/>
                  </a:lnTo>
                  <a:lnTo>
                    <a:pt x="5119" y="7136"/>
                  </a:lnTo>
                  <a:lnTo>
                    <a:pt x="5119" y="7136"/>
                  </a:lnTo>
                  <a:lnTo>
                    <a:pt x="4654" y="8532"/>
                  </a:lnTo>
                  <a:lnTo>
                    <a:pt x="4188" y="9928"/>
                  </a:lnTo>
                  <a:lnTo>
                    <a:pt x="4188" y="9928"/>
                  </a:lnTo>
                  <a:lnTo>
                    <a:pt x="3568" y="13340"/>
                  </a:lnTo>
                  <a:lnTo>
                    <a:pt x="3258" y="16752"/>
                  </a:lnTo>
                  <a:lnTo>
                    <a:pt x="3258" y="16752"/>
                  </a:lnTo>
                  <a:lnTo>
                    <a:pt x="3103" y="20165"/>
                  </a:lnTo>
                  <a:lnTo>
                    <a:pt x="3103" y="20165"/>
                  </a:lnTo>
                  <a:lnTo>
                    <a:pt x="3103" y="22491"/>
                  </a:lnTo>
                  <a:lnTo>
                    <a:pt x="3103" y="24508"/>
                  </a:lnTo>
                  <a:lnTo>
                    <a:pt x="3103" y="24508"/>
                  </a:lnTo>
                  <a:lnTo>
                    <a:pt x="3258" y="26214"/>
                  </a:lnTo>
                  <a:lnTo>
                    <a:pt x="3258" y="26214"/>
                  </a:lnTo>
                  <a:lnTo>
                    <a:pt x="3258" y="26214"/>
                  </a:lnTo>
                  <a:lnTo>
                    <a:pt x="3258" y="28541"/>
                  </a:lnTo>
                  <a:lnTo>
                    <a:pt x="3258" y="28541"/>
                  </a:lnTo>
                  <a:lnTo>
                    <a:pt x="3258" y="29781"/>
                  </a:lnTo>
                  <a:lnTo>
                    <a:pt x="2947" y="31488"/>
                  </a:lnTo>
                  <a:lnTo>
                    <a:pt x="2172" y="35365"/>
                  </a:lnTo>
                  <a:lnTo>
                    <a:pt x="2172" y="35365"/>
                  </a:lnTo>
                  <a:lnTo>
                    <a:pt x="2172" y="35365"/>
                  </a:lnTo>
                  <a:lnTo>
                    <a:pt x="1086" y="40019"/>
                  </a:lnTo>
                  <a:lnTo>
                    <a:pt x="311" y="44517"/>
                  </a:lnTo>
                  <a:lnTo>
                    <a:pt x="0" y="46378"/>
                  </a:lnTo>
                  <a:lnTo>
                    <a:pt x="0" y="48084"/>
                  </a:lnTo>
                  <a:lnTo>
                    <a:pt x="155" y="49325"/>
                  </a:lnTo>
                  <a:lnTo>
                    <a:pt x="466" y="49635"/>
                  </a:lnTo>
                  <a:lnTo>
                    <a:pt x="621" y="4994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" name="Google Shape;6118;p70">
              <a:extLst>
                <a:ext uri="{FF2B5EF4-FFF2-40B4-BE49-F238E27FC236}">
                  <a16:creationId xmlns:a16="http://schemas.microsoft.com/office/drawing/2014/main" id="{A527BF26-E6AD-64CC-1717-100F700410B5}"/>
                </a:ext>
              </a:extLst>
            </p:cNvPr>
            <p:cNvSpPr/>
            <p:nvPr/>
          </p:nvSpPr>
          <p:spPr>
            <a:xfrm>
              <a:off x="2398500" y="2149800"/>
              <a:ext cx="155125" cy="430450"/>
            </a:xfrm>
            <a:custGeom>
              <a:avLst/>
              <a:gdLst/>
              <a:ahLst/>
              <a:cxnLst/>
              <a:rect l="l" t="t" r="r" b="b"/>
              <a:pathLst>
                <a:path w="6205" h="17218" extrusionOk="0">
                  <a:moveTo>
                    <a:pt x="0" y="1"/>
                  </a:moveTo>
                  <a:lnTo>
                    <a:pt x="156" y="932"/>
                  </a:lnTo>
                  <a:lnTo>
                    <a:pt x="621" y="2793"/>
                  </a:lnTo>
                  <a:lnTo>
                    <a:pt x="2327" y="8066"/>
                  </a:lnTo>
                  <a:lnTo>
                    <a:pt x="4188" y="13650"/>
                  </a:lnTo>
                  <a:lnTo>
                    <a:pt x="5274" y="17218"/>
                  </a:lnTo>
                  <a:lnTo>
                    <a:pt x="5895" y="12565"/>
                  </a:lnTo>
                  <a:lnTo>
                    <a:pt x="6050" y="8066"/>
                  </a:lnTo>
                  <a:lnTo>
                    <a:pt x="6205" y="3413"/>
                  </a:lnTo>
                  <a:lnTo>
                    <a:pt x="4033" y="2172"/>
                  </a:lnTo>
                  <a:lnTo>
                    <a:pt x="1862" y="932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BD393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" name="Google Shape;6119;p70">
              <a:extLst>
                <a:ext uri="{FF2B5EF4-FFF2-40B4-BE49-F238E27FC236}">
                  <a16:creationId xmlns:a16="http://schemas.microsoft.com/office/drawing/2014/main" id="{CC2B34A8-DA5D-5608-FA86-F2B4EB699729}"/>
                </a:ext>
              </a:extLst>
            </p:cNvPr>
            <p:cNvSpPr/>
            <p:nvPr/>
          </p:nvSpPr>
          <p:spPr>
            <a:xfrm>
              <a:off x="2398500" y="2149800"/>
              <a:ext cx="155125" cy="430450"/>
            </a:xfrm>
            <a:custGeom>
              <a:avLst/>
              <a:gdLst/>
              <a:ahLst/>
              <a:cxnLst/>
              <a:rect l="l" t="t" r="r" b="b"/>
              <a:pathLst>
                <a:path w="6205" h="17218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156" y="932"/>
                  </a:lnTo>
                  <a:lnTo>
                    <a:pt x="621" y="2793"/>
                  </a:lnTo>
                  <a:lnTo>
                    <a:pt x="2327" y="8066"/>
                  </a:lnTo>
                  <a:lnTo>
                    <a:pt x="4188" y="13650"/>
                  </a:lnTo>
                  <a:lnTo>
                    <a:pt x="5274" y="17218"/>
                  </a:lnTo>
                  <a:lnTo>
                    <a:pt x="5274" y="17218"/>
                  </a:lnTo>
                  <a:lnTo>
                    <a:pt x="5895" y="12565"/>
                  </a:lnTo>
                  <a:lnTo>
                    <a:pt x="5895" y="12565"/>
                  </a:lnTo>
                  <a:lnTo>
                    <a:pt x="6050" y="8066"/>
                  </a:lnTo>
                  <a:lnTo>
                    <a:pt x="6205" y="3413"/>
                  </a:lnTo>
                  <a:lnTo>
                    <a:pt x="6205" y="3413"/>
                  </a:lnTo>
                  <a:lnTo>
                    <a:pt x="4033" y="2172"/>
                  </a:lnTo>
                  <a:lnTo>
                    <a:pt x="1862" y="932"/>
                  </a:lnTo>
                  <a:lnTo>
                    <a:pt x="1862" y="932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" name="Google Shape;6120;p70">
              <a:extLst>
                <a:ext uri="{FF2B5EF4-FFF2-40B4-BE49-F238E27FC236}">
                  <a16:creationId xmlns:a16="http://schemas.microsoft.com/office/drawing/2014/main" id="{BAA969A8-2701-3DDF-ECFB-0093FB698AA0}"/>
                </a:ext>
              </a:extLst>
            </p:cNvPr>
            <p:cNvSpPr/>
            <p:nvPr/>
          </p:nvSpPr>
          <p:spPr>
            <a:xfrm>
              <a:off x="2576875" y="1610800"/>
              <a:ext cx="244325" cy="236575"/>
            </a:xfrm>
            <a:custGeom>
              <a:avLst/>
              <a:gdLst/>
              <a:ahLst/>
              <a:cxnLst/>
              <a:rect l="l" t="t" r="r" b="b"/>
              <a:pathLst>
                <a:path w="9773" h="9463" extrusionOk="0">
                  <a:moveTo>
                    <a:pt x="7756" y="1"/>
                  </a:moveTo>
                  <a:lnTo>
                    <a:pt x="0" y="1242"/>
                  </a:lnTo>
                  <a:lnTo>
                    <a:pt x="311" y="3568"/>
                  </a:lnTo>
                  <a:lnTo>
                    <a:pt x="776" y="5585"/>
                  </a:lnTo>
                  <a:lnTo>
                    <a:pt x="1241" y="7136"/>
                  </a:lnTo>
                  <a:lnTo>
                    <a:pt x="1551" y="7601"/>
                  </a:lnTo>
                  <a:lnTo>
                    <a:pt x="2327" y="8222"/>
                  </a:lnTo>
                  <a:lnTo>
                    <a:pt x="3103" y="8687"/>
                  </a:lnTo>
                  <a:lnTo>
                    <a:pt x="4188" y="8997"/>
                  </a:lnTo>
                  <a:lnTo>
                    <a:pt x="5429" y="9307"/>
                  </a:lnTo>
                  <a:lnTo>
                    <a:pt x="6670" y="9463"/>
                  </a:lnTo>
                  <a:lnTo>
                    <a:pt x="7911" y="9463"/>
                  </a:lnTo>
                  <a:lnTo>
                    <a:pt x="9152" y="9307"/>
                  </a:lnTo>
                  <a:lnTo>
                    <a:pt x="9307" y="9152"/>
                  </a:lnTo>
                  <a:lnTo>
                    <a:pt x="9462" y="8997"/>
                  </a:lnTo>
                  <a:lnTo>
                    <a:pt x="9617" y="8532"/>
                  </a:lnTo>
                  <a:lnTo>
                    <a:pt x="9462" y="7911"/>
                  </a:lnTo>
                  <a:lnTo>
                    <a:pt x="9307" y="7291"/>
                  </a:lnTo>
                  <a:lnTo>
                    <a:pt x="9152" y="5895"/>
                  </a:lnTo>
                  <a:lnTo>
                    <a:pt x="9152" y="5430"/>
                  </a:lnTo>
                  <a:lnTo>
                    <a:pt x="9307" y="5275"/>
                  </a:lnTo>
                  <a:lnTo>
                    <a:pt x="9462" y="5120"/>
                  </a:lnTo>
                  <a:lnTo>
                    <a:pt x="9617" y="5120"/>
                  </a:lnTo>
                  <a:lnTo>
                    <a:pt x="9772" y="4964"/>
                  </a:lnTo>
                  <a:lnTo>
                    <a:pt x="9772" y="4499"/>
                  </a:lnTo>
                  <a:lnTo>
                    <a:pt x="9617" y="3879"/>
                  </a:lnTo>
                  <a:lnTo>
                    <a:pt x="9152" y="3103"/>
                  </a:lnTo>
                  <a:lnTo>
                    <a:pt x="8376" y="1552"/>
                  </a:lnTo>
                  <a:lnTo>
                    <a:pt x="7911" y="621"/>
                  </a:lnTo>
                  <a:lnTo>
                    <a:pt x="7756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" name="Google Shape;6121;p70">
              <a:extLst>
                <a:ext uri="{FF2B5EF4-FFF2-40B4-BE49-F238E27FC236}">
                  <a16:creationId xmlns:a16="http://schemas.microsoft.com/office/drawing/2014/main" id="{C3EFD7B5-4683-6EE2-466C-B211F19BEBD7}"/>
                </a:ext>
              </a:extLst>
            </p:cNvPr>
            <p:cNvSpPr/>
            <p:nvPr/>
          </p:nvSpPr>
          <p:spPr>
            <a:xfrm>
              <a:off x="2507075" y="1506125"/>
              <a:ext cx="310250" cy="286975"/>
            </a:xfrm>
            <a:custGeom>
              <a:avLst/>
              <a:gdLst/>
              <a:ahLst/>
              <a:cxnLst/>
              <a:rect l="l" t="t" r="r" b="b"/>
              <a:pathLst>
                <a:path w="12410" h="11479" extrusionOk="0">
                  <a:moveTo>
                    <a:pt x="6360" y="0"/>
                  </a:moveTo>
                  <a:lnTo>
                    <a:pt x="5739" y="310"/>
                  </a:lnTo>
                  <a:lnTo>
                    <a:pt x="5274" y="621"/>
                  </a:lnTo>
                  <a:lnTo>
                    <a:pt x="4964" y="1086"/>
                  </a:lnTo>
                  <a:lnTo>
                    <a:pt x="4343" y="1241"/>
                  </a:lnTo>
                  <a:lnTo>
                    <a:pt x="3723" y="1241"/>
                  </a:lnTo>
                  <a:lnTo>
                    <a:pt x="2947" y="1086"/>
                  </a:lnTo>
                  <a:lnTo>
                    <a:pt x="2172" y="1086"/>
                  </a:lnTo>
                  <a:lnTo>
                    <a:pt x="1707" y="1241"/>
                  </a:lnTo>
                  <a:lnTo>
                    <a:pt x="1396" y="1551"/>
                  </a:lnTo>
                  <a:lnTo>
                    <a:pt x="931" y="2172"/>
                  </a:lnTo>
                  <a:lnTo>
                    <a:pt x="776" y="2947"/>
                  </a:lnTo>
                  <a:lnTo>
                    <a:pt x="621" y="3568"/>
                  </a:lnTo>
                  <a:lnTo>
                    <a:pt x="776" y="4188"/>
                  </a:lnTo>
                  <a:lnTo>
                    <a:pt x="776" y="5429"/>
                  </a:lnTo>
                  <a:lnTo>
                    <a:pt x="621" y="6049"/>
                  </a:lnTo>
                  <a:lnTo>
                    <a:pt x="311" y="6670"/>
                  </a:lnTo>
                  <a:lnTo>
                    <a:pt x="156" y="7135"/>
                  </a:lnTo>
                  <a:lnTo>
                    <a:pt x="0" y="7600"/>
                  </a:lnTo>
                  <a:lnTo>
                    <a:pt x="0" y="8066"/>
                  </a:lnTo>
                  <a:lnTo>
                    <a:pt x="156" y="8376"/>
                  </a:lnTo>
                  <a:lnTo>
                    <a:pt x="776" y="9307"/>
                  </a:lnTo>
                  <a:lnTo>
                    <a:pt x="1396" y="10082"/>
                  </a:lnTo>
                  <a:lnTo>
                    <a:pt x="2327" y="10703"/>
                  </a:lnTo>
                  <a:lnTo>
                    <a:pt x="3103" y="11323"/>
                  </a:lnTo>
                  <a:lnTo>
                    <a:pt x="3723" y="11478"/>
                  </a:lnTo>
                  <a:lnTo>
                    <a:pt x="4033" y="11478"/>
                  </a:lnTo>
                  <a:lnTo>
                    <a:pt x="4188" y="11168"/>
                  </a:lnTo>
                  <a:lnTo>
                    <a:pt x="4188" y="10858"/>
                  </a:lnTo>
                  <a:lnTo>
                    <a:pt x="4033" y="9927"/>
                  </a:lnTo>
                  <a:lnTo>
                    <a:pt x="3723" y="9151"/>
                  </a:lnTo>
                  <a:lnTo>
                    <a:pt x="3723" y="8841"/>
                  </a:lnTo>
                  <a:lnTo>
                    <a:pt x="3878" y="8531"/>
                  </a:lnTo>
                  <a:lnTo>
                    <a:pt x="4343" y="8221"/>
                  </a:lnTo>
                  <a:lnTo>
                    <a:pt x="4809" y="8221"/>
                  </a:lnTo>
                  <a:lnTo>
                    <a:pt x="5739" y="8996"/>
                  </a:lnTo>
                  <a:lnTo>
                    <a:pt x="6515" y="9307"/>
                  </a:lnTo>
                  <a:lnTo>
                    <a:pt x="7135" y="9307"/>
                  </a:lnTo>
                  <a:lnTo>
                    <a:pt x="7290" y="9151"/>
                  </a:lnTo>
                  <a:lnTo>
                    <a:pt x="7446" y="8841"/>
                  </a:lnTo>
                  <a:lnTo>
                    <a:pt x="7290" y="8531"/>
                  </a:lnTo>
                  <a:lnTo>
                    <a:pt x="6980" y="8066"/>
                  </a:lnTo>
                  <a:lnTo>
                    <a:pt x="6360" y="7290"/>
                  </a:lnTo>
                  <a:lnTo>
                    <a:pt x="6360" y="7135"/>
                  </a:lnTo>
                  <a:lnTo>
                    <a:pt x="6360" y="6825"/>
                  </a:lnTo>
                  <a:lnTo>
                    <a:pt x="6825" y="6515"/>
                  </a:lnTo>
                  <a:lnTo>
                    <a:pt x="8531" y="6515"/>
                  </a:lnTo>
                  <a:lnTo>
                    <a:pt x="8842" y="6360"/>
                  </a:lnTo>
                  <a:lnTo>
                    <a:pt x="9152" y="6204"/>
                  </a:lnTo>
                  <a:lnTo>
                    <a:pt x="9307" y="6049"/>
                  </a:lnTo>
                  <a:lnTo>
                    <a:pt x="9462" y="5739"/>
                  </a:lnTo>
                  <a:lnTo>
                    <a:pt x="9307" y="5274"/>
                  </a:lnTo>
                  <a:lnTo>
                    <a:pt x="9152" y="5119"/>
                  </a:lnTo>
                  <a:lnTo>
                    <a:pt x="9152" y="4808"/>
                  </a:lnTo>
                  <a:lnTo>
                    <a:pt x="9462" y="4653"/>
                  </a:lnTo>
                  <a:lnTo>
                    <a:pt x="9772" y="4498"/>
                  </a:lnTo>
                  <a:lnTo>
                    <a:pt x="10703" y="4188"/>
                  </a:lnTo>
                  <a:lnTo>
                    <a:pt x="11633" y="3723"/>
                  </a:lnTo>
                  <a:lnTo>
                    <a:pt x="11944" y="3412"/>
                  </a:lnTo>
                  <a:lnTo>
                    <a:pt x="12254" y="3102"/>
                  </a:lnTo>
                  <a:lnTo>
                    <a:pt x="12409" y="2637"/>
                  </a:lnTo>
                  <a:lnTo>
                    <a:pt x="12409" y="2172"/>
                  </a:lnTo>
                  <a:lnTo>
                    <a:pt x="12254" y="1396"/>
                  </a:lnTo>
                  <a:lnTo>
                    <a:pt x="11944" y="931"/>
                  </a:lnTo>
                  <a:lnTo>
                    <a:pt x="11633" y="776"/>
                  </a:lnTo>
                  <a:lnTo>
                    <a:pt x="11168" y="621"/>
                  </a:lnTo>
                  <a:lnTo>
                    <a:pt x="10703" y="621"/>
                  </a:lnTo>
                  <a:lnTo>
                    <a:pt x="10082" y="776"/>
                  </a:lnTo>
                  <a:lnTo>
                    <a:pt x="9152" y="1086"/>
                  </a:lnTo>
                  <a:lnTo>
                    <a:pt x="8842" y="1086"/>
                  </a:lnTo>
                  <a:lnTo>
                    <a:pt x="8686" y="931"/>
                  </a:lnTo>
                  <a:lnTo>
                    <a:pt x="8066" y="465"/>
                  </a:lnTo>
                  <a:lnTo>
                    <a:pt x="7446" y="155"/>
                  </a:lnTo>
                  <a:lnTo>
                    <a:pt x="6980" y="0"/>
                  </a:lnTo>
                  <a:close/>
                </a:path>
              </a:pathLst>
            </a:custGeom>
            <a:solidFill>
              <a:srgbClr val="01020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" name="Google Shape;6122;p70">
              <a:extLst>
                <a:ext uri="{FF2B5EF4-FFF2-40B4-BE49-F238E27FC236}">
                  <a16:creationId xmlns:a16="http://schemas.microsoft.com/office/drawing/2014/main" id="{7767893B-8640-ABC9-2C74-CC5334C29D13}"/>
                </a:ext>
              </a:extLst>
            </p:cNvPr>
            <p:cNvSpPr/>
            <p:nvPr/>
          </p:nvSpPr>
          <p:spPr>
            <a:xfrm>
              <a:off x="2313200" y="1750400"/>
              <a:ext cx="1035350" cy="643725"/>
            </a:xfrm>
            <a:custGeom>
              <a:avLst/>
              <a:gdLst/>
              <a:ahLst/>
              <a:cxnLst/>
              <a:rect l="l" t="t" r="r" b="b"/>
              <a:pathLst>
                <a:path w="41414" h="25749" extrusionOk="0">
                  <a:moveTo>
                    <a:pt x="36140" y="1"/>
                  </a:moveTo>
                  <a:lnTo>
                    <a:pt x="35985" y="156"/>
                  </a:lnTo>
                  <a:lnTo>
                    <a:pt x="35520" y="776"/>
                  </a:lnTo>
                  <a:lnTo>
                    <a:pt x="34279" y="2483"/>
                  </a:lnTo>
                  <a:lnTo>
                    <a:pt x="30556" y="8066"/>
                  </a:lnTo>
                  <a:lnTo>
                    <a:pt x="28540" y="11013"/>
                  </a:lnTo>
                  <a:lnTo>
                    <a:pt x="26368" y="13805"/>
                  </a:lnTo>
                  <a:lnTo>
                    <a:pt x="24662" y="15822"/>
                  </a:lnTo>
                  <a:lnTo>
                    <a:pt x="23887" y="16442"/>
                  </a:lnTo>
                  <a:lnTo>
                    <a:pt x="23111" y="16908"/>
                  </a:lnTo>
                  <a:lnTo>
                    <a:pt x="22491" y="17063"/>
                  </a:lnTo>
                  <a:lnTo>
                    <a:pt x="22025" y="17063"/>
                  </a:lnTo>
                  <a:lnTo>
                    <a:pt x="21405" y="16908"/>
                  </a:lnTo>
                  <a:lnTo>
                    <a:pt x="20629" y="16597"/>
                  </a:lnTo>
                  <a:lnTo>
                    <a:pt x="19078" y="15822"/>
                  </a:lnTo>
                  <a:lnTo>
                    <a:pt x="17372" y="14581"/>
                  </a:lnTo>
                  <a:lnTo>
                    <a:pt x="12564" y="11324"/>
                  </a:lnTo>
                  <a:lnTo>
                    <a:pt x="9307" y="9307"/>
                  </a:lnTo>
                  <a:lnTo>
                    <a:pt x="5584" y="7291"/>
                  </a:lnTo>
                  <a:lnTo>
                    <a:pt x="5584" y="7446"/>
                  </a:lnTo>
                  <a:lnTo>
                    <a:pt x="5274" y="7756"/>
                  </a:lnTo>
                  <a:lnTo>
                    <a:pt x="4343" y="8377"/>
                  </a:lnTo>
                  <a:lnTo>
                    <a:pt x="3568" y="8687"/>
                  </a:lnTo>
                  <a:lnTo>
                    <a:pt x="2482" y="8842"/>
                  </a:lnTo>
                  <a:lnTo>
                    <a:pt x="2016" y="8997"/>
                  </a:lnTo>
                  <a:lnTo>
                    <a:pt x="1551" y="9307"/>
                  </a:lnTo>
                  <a:lnTo>
                    <a:pt x="776" y="9928"/>
                  </a:lnTo>
                  <a:lnTo>
                    <a:pt x="310" y="10703"/>
                  </a:lnTo>
                  <a:lnTo>
                    <a:pt x="0" y="11634"/>
                  </a:lnTo>
                  <a:lnTo>
                    <a:pt x="0" y="12565"/>
                  </a:lnTo>
                  <a:lnTo>
                    <a:pt x="310" y="13495"/>
                  </a:lnTo>
                  <a:lnTo>
                    <a:pt x="776" y="14271"/>
                  </a:lnTo>
                  <a:lnTo>
                    <a:pt x="1551" y="14736"/>
                  </a:lnTo>
                  <a:lnTo>
                    <a:pt x="2792" y="15512"/>
                  </a:lnTo>
                  <a:lnTo>
                    <a:pt x="3878" y="16287"/>
                  </a:lnTo>
                  <a:lnTo>
                    <a:pt x="5274" y="16908"/>
                  </a:lnTo>
                  <a:lnTo>
                    <a:pt x="7911" y="18304"/>
                  </a:lnTo>
                  <a:lnTo>
                    <a:pt x="10547" y="19855"/>
                  </a:lnTo>
                  <a:lnTo>
                    <a:pt x="15356" y="22957"/>
                  </a:lnTo>
                  <a:lnTo>
                    <a:pt x="17682" y="24353"/>
                  </a:lnTo>
                  <a:lnTo>
                    <a:pt x="19854" y="25283"/>
                  </a:lnTo>
                  <a:lnTo>
                    <a:pt x="21095" y="25594"/>
                  </a:lnTo>
                  <a:lnTo>
                    <a:pt x="22025" y="25749"/>
                  </a:lnTo>
                  <a:lnTo>
                    <a:pt x="23111" y="25749"/>
                  </a:lnTo>
                  <a:lnTo>
                    <a:pt x="24197" y="25594"/>
                  </a:lnTo>
                  <a:lnTo>
                    <a:pt x="25127" y="25283"/>
                  </a:lnTo>
                  <a:lnTo>
                    <a:pt x="26213" y="24663"/>
                  </a:lnTo>
                  <a:lnTo>
                    <a:pt x="27299" y="23732"/>
                  </a:lnTo>
                  <a:lnTo>
                    <a:pt x="28540" y="22647"/>
                  </a:lnTo>
                  <a:lnTo>
                    <a:pt x="31022" y="19855"/>
                  </a:lnTo>
                  <a:lnTo>
                    <a:pt x="33658" y="16597"/>
                  </a:lnTo>
                  <a:lnTo>
                    <a:pt x="35985" y="13030"/>
                  </a:lnTo>
                  <a:lnTo>
                    <a:pt x="38312" y="9307"/>
                  </a:lnTo>
                  <a:lnTo>
                    <a:pt x="40173" y="5895"/>
                  </a:lnTo>
                  <a:lnTo>
                    <a:pt x="41414" y="2793"/>
                  </a:lnTo>
                  <a:lnTo>
                    <a:pt x="41414" y="2638"/>
                  </a:lnTo>
                  <a:lnTo>
                    <a:pt x="41414" y="2327"/>
                  </a:lnTo>
                  <a:lnTo>
                    <a:pt x="40948" y="2017"/>
                  </a:lnTo>
                  <a:lnTo>
                    <a:pt x="40173" y="1552"/>
                  </a:lnTo>
                  <a:lnTo>
                    <a:pt x="39242" y="1087"/>
                  </a:lnTo>
                  <a:lnTo>
                    <a:pt x="37381" y="311"/>
                  </a:lnTo>
                  <a:lnTo>
                    <a:pt x="36140" y="1"/>
                  </a:lnTo>
                  <a:close/>
                </a:path>
              </a:pathLst>
            </a:custGeom>
            <a:solidFill>
              <a:srgbClr val="E73C3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" name="Google Shape;6123;p70">
              <a:extLst>
                <a:ext uri="{FF2B5EF4-FFF2-40B4-BE49-F238E27FC236}">
                  <a16:creationId xmlns:a16="http://schemas.microsoft.com/office/drawing/2014/main" id="{AF04E1D8-F1B4-89EE-5BE7-CFA33AE48D6E}"/>
                </a:ext>
              </a:extLst>
            </p:cNvPr>
            <p:cNvSpPr/>
            <p:nvPr/>
          </p:nvSpPr>
          <p:spPr>
            <a:xfrm>
              <a:off x="2313200" y="1750400"/>
              <a:ext cx="1035350" cy="643725"/>
            </a:xfrm>
            <a:custGeom>
              <a:avLst/>
              <a:gdLst/>
              <a:ahLst/>
              <a:cxnLst/>
              <a:rect l="l" t="t" r="r" b="b"/>
              <a:pathLst>
                <a:path w="41414" h="25749" fill="none" extrusionOk="0">
                  <a:moveTo>
                    <a:pt x="5584" y="7291"/>
                  </a:moveTo>
                  <a:lnTo>
                    <a:pt x="5584" y="7291"/>
                  </a:lnTo>
                  <a:lnTo>
                    <a:pt x="9307" y="9307"/>
                  </a:lnTo>
                  <a:lnTo>
                    <a:pt x="12564" y="11324"/>
                  </a:lnTo>
                  <a:lnTo>
                    <a:pt x="17372" y="14581"/>
                  </a:lnTo>
                  <a:lnTo>
                    <a:pt x="19078" y="15822"/>
                  </a:lnTo>
                  <a:lnTo>
                    <a:pt x="20629" y="16597"/>
                  </a:lnTo>
                  <a:lnTo>
                    <a:pt x="21405" y="16908"/>
                  </a:lnTo>
                  <a:lnTo>
                    <a:pt x="22025" y="17063"/>
                  </a:lnTo>
                  <a:lnTo>
                    <a:pt x="22491" y="17063"/>
                  </a:lnTo>
                  <a:lnTo>
                    <a:pt x="23111" y="16908"/>
                  </a:lnTo>
                  <a:lnTo>
                    <a:pt x="23111" y="16908"/>
                  </a:lnTo>
                  <a:lnTo>
                    <a:pt x="23887" y="16442"/>
                  </a:lnTo>
                  <a:lnTo>
                    <a:pt x="24662" y="15822"/>
                  </a:lnTo>
                  <a:lnTo>
                    <a:pt x="26368" y="13805"/>
                  </a:lnTo>
                  <a:lnTo>
                    <a:pt x="28540" y="11013"/>
                  </a:lnTo>
                  <a:lnTo>
                    <a:pt x="30556" y="8066"/>
                  </a:lnTo>
                  <a:lnTo>
                    <a:pt x="34279" y="2483"/>
                  </a:lnTo>
                  <a:lnTo>
                    <a:pt x="35520" y="776"/>
                  </a:lnTo>
                  <a:lnTo>
                    <a:pt x="35985" y="156"/>
                  </a:lnTo>
                  <a:lnTo>
                    <a:pt x="36140" y="1"/>
                  </a:lnTo>
                  <a:lnTo>
                    <a:pt x="36140" y="1"/>
                  </a:lnTo>
                  <a:lnTo>
                    <a:pt x="37381" y="311"/>
                  </a:lnTo>
                  <a:lnTo>
                    <a:pt x="39242" y="1087"/>
                  </a:lnTo>
                  <a:lnTo>
                    <a:pt x="40173" y="1552"/>
                  </a:lnTo>
                  <a:lnTo>
                    <a:pt x="40948" y="2017"/>
                  </a:lnTo>
                  <a:lnTo>
                    <a:pt x="41414" y="2327"/>
                  </a:lnTo>
                  <a:lnTo>
                    <a:pt x="41414" y="2638"/>
                  </a:lnTo>
                  <a:lnTo>
                    <a:pt x="41414" y="2793"/>
                  </a:lnTo>
                  <a:lnTo>
                    <a:pt x="41414" y="2793"/>
                  </a:lnTo>
                  <a:lnTo>
                    <a:pt x="40173" y="5895"/>
                  </a:lnTo>
                  <a:lnTo>
                    <a:pt x="38312" y="9307"/>
                  </a:lnTo>
                  <a:lnTo>
                    <a:pt x="35985" y="13030"/>
                  </a:lnTo>
                  <a:lnTo>
                    <a:pt x="33658" y="16597"/>
                  </a:lnTo>
                  <a:lnTo>
                    <a:pt x="31022" y="19855"/>
                  </a:lnTo>
                  <a:lnTo>
                    <a:pt x="28540" y="22647"/>
                  </a:lnTo>
                  <a:lnTo>
                    <a:pt x="27299" y="23732"/>
                  </a:lnTo>
                  <a:lnTo>
                    <a:pt x="26213" y="24663"/>
                  </a:lnTo>
                  <a:lnTo>
                    <a:pt x="25127" y="25283"/>
                  </a:lnTo>
                  <a:lnTo>
                    <a:pt x="24197" y="25594"/>
                  </a:lnTo>
                  <a:lnTo>
                    <a:pt x="24197" y="25594"/>
                  </a:lnTo>
                  <a:lnTo>
                    <a:pt x="23111" y="25749"/>
                  </a:lnTo>
                  <a:lnTo>
                    <a:pt x="22025" y="25749"/>
                  </a:lnTo>
                  <a:lnTo>
                    <a:pt x="21095" y="25594"/>
                  </a:lnTo>
                  <a:lnTo>
                    <a:pt x="19854" y="25283"/>
                  </a:lnTo>
                  <a:lnTo>
                    <a:pt x="17682" y="24353"/>
                  </a:lnTo>
                  <a:lnTo>
                    <a:pt x="15356" y="22957"/>
                  </a:lnTo>
                  <a:lnTo>
                    <a:pt x="10547" y="19855"/>
                  </a:lnTo>
                  <a:lnTo>
                    <a:pt x="7911" y="18304"/>
                  </a:lnTo>
                  <a:lnTo>
                    <a:pt x="5274" y="16908"/>
                  </a:lnTo>
                  <a:lnTo>
                    <a:pt x="5274" y="16908"/>
                  </a:lnTo>
                  <a:lnTo>
                    <a:pt x="3878" y="16287"/>
                  </a:lnTo>
                  <a:lnTo>
                    <a:pt x="2792" y="15512"/>
                  </a:lnTo>
                  <a:lnTo>
                    <a:pt x="1551" y="14736"/>
                  </a:lnTo>
                  <a:lnTo>
                    <a:pt x="1551" y="14736"/>
                  </a:lnTo>
                  <a:lnTo>
                    <a:pt x="776" y="14271"/>
                  </a:lnTo>
                  <a:lnTo>
                    <a:pt x="310" y="13495"/>
                  </a:lnTo>
                  <a:lnTo>
                    <a:pt x="0" y="12565"/>
                  </a:lnTo>
                  <a:lnTo>
                    <a:pt x="0" y="11634"/>
                  </a:lnTo>
                  <a:lnTo>
                    <a:pt x="310" y="10703"/>
                  </a:lnTo>
                  <a:lnTo>
                    <a:pt x="776" y="9928"/>
                  </a:lnTo>
                  <a:lnTo>
                    <a:pt x="1551" y="9307"/>
                  </a:lnTo>
                  <a:lnTo>
                    <a:pt x="2016" y="8997"/>
                  </a:lnTo>
                  <a:lnTo>
                    <a:pt x="2482" y="8842"/>
                  </a:lnTo>
                  <a:lnTo>
                    <a:pt x="2482" y="8842"/>
                  </a:lnTo>
                  <a:lnTo>
                    <a:pt x="3568" y="8687"/>
                  </a:lnTo>
                  <a:lnTo>
                    <a:pt x="4343" y="8377"/>
                  </a:lnTo>
                  <a:lnTo>
                    <a:pt x="5274" y="7756"/>
                  </a:lnTo>
                  <a:lnTo>
                    <a:pt x="5584" y="7446"/>
                  </a:lnTo>
                  <a:lnTo>
                    <a:pt x="5584" y="729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" name="Google Shape;6124;p70">
              <a:extLst>
                <a:ext uri="{FF2B5EF4-FFF2-40B4-BE49-F238E27FC236}">
                  <a16:creationId xmlns:a16="http://schemas.microsoft.com/office/drawing/2014/main" id="{3C51572E-65E3-3BC9-E110-09CA48F949CE}"/>
                </a:ext>
              </a:extLst>
            </p:cNvPr>
            <p:cNvSpPr/>
            <p:nvPr/>
          </p:nvSpPr>
          <p:spPr>
            <a:xfrm>
              <a:off x="2642800" y="1963675"/>
              <a:ext cx="23275" cy="11675"/>
            </a:xfrm>
            <a:custGeom>
              <a:avLst/>
              <a:gdLst/>
              <a:ahLst/>
              <a:cxnLst/>
              <a:rect l="l" t="t" r="r" b="b"/>
              <a:pathLst>
                <a:path w="931" h="467" extrusionOk="0">
                  <a:moveTo>
                    <a:pt x="155" y="1"/>
                  </a:moveTo>
                  <a:lnTo>
                    <a:pt x="0" y="311"/>
                  </a:lnTo>
                  <a:lnTo>
                    <a:pt x="466" y="466"/>
                  </a:lnTo>
                  <a:lnTo>
                    <a:pt x="931" y="466"/>
                  </a:lnTo>
                  <a:lnTo>
                    <a:pt x="776" y="156"/>
                  </a:lnTo>
                  <a:lnTo>
                    <a:pt x="776" y="1"/>
                  </a:lnTo>
                  <a:close/>
                </a:path>
              </a:pathLst>
            </a:custGeom>
            <a:solidFill>
              <a:srgbClr val="C0898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" name="Google Shape;6125;p70">
              <a:extLst>
                <a:ext uri="{FF2B5EF4-FFF2-40B4-BE49-F238E27FC236}">
                  <a16:creationId xmlns:a16="http://schemas.microsoft.com/office/drawing/2014/main" id="{3E5ECE36-1574-E9FA-C2EF-73CEC8D22007}"/>
                </a:ext>
              </a:extLst>
            </p:cNvPr>
            <p:cNvSpPr/>
            <p:nvPr/>
          </p:nvSpPr>
          <p:spPr>
            <a:xfrm>
              <a:off x="2642800" y="1963675"/>
              <a:ext cx="23275" cy="11675"/>
            </a:xfrm>
            <a:custGeom>
              <a:avLst/>
              <a:gdLst/>
              <a:ahLst/>
              <a:cxnLst/>
              <a:rect l="l" t="t" r="r" b="b"/>
              <a:pathLst>
                <a:path w="931" h="467" fill="none" extrusionOk="0">
                  <a:moveTo>
                    <a:pt x="466" y="1"/>
                  </a:moveTo>
                  <a:lnTo>
                    <a:pt x="466" y="1"/>
                  </a:lnTo>
                  <a:lnTo>
                    <a:pt x="466" y="1"/>
                  </a:lnTo>
                  <a:lnTo>
                    <a:pt x="466" y="1"/>
                  </a:lnTo>
                  <a:lnTo>
                    <a:pt x="155" y="1"/>
                  </a:lnTo>
                  <a:lnTo>
                    <a:pt x="0" y="311"/>
                  </a:lnTo>
                  <a:lnTo>
                    <a:pt x="0" y="311"/>
                  </a:lnTo>
                  <a:lnTo>
                    <a:pt x="466" y="466"/>
                  </a:lnTo>
                  <a:lnTo>
                    <a:pt x="466" y="466"/>
                  </a:lnTo>
                  <a:lnTo>
                    <a:pt x="776" y="466"/>
                  </a:lnTo>
                  <a:lnTo>
                    <a:pt x="776" y="466"/>
                  </a:lnTo>
                  <a:lnTo>
                    <a:pt x="931" y="466"/>
                  </a:lnTo>
                  <a:lnTo>
                    <a:pt x="931" y="466"/>
                  </a:lnTo>
                  <a:lnTo>
                    <a:pt x="776" y="156"/>
                  </a:lnTo>
                  <a:lnTo>
                    <a:pt x="776" y="1"/>
                  </a:lnTo>
                  <a:lnTo>
                    <a:pt x="46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" name="Google Shape;6126;p70">
              <a:extLst>
                <a:ext uri="{FF2B5EF4-FFF2-40B4-BE49-F238E27FC236}">
                  <a16:creationId xmlns:a16="http://schemas.microsoft.com/office/drawing/2014/main" id="{469C3D15-025C-70A6-7800-83B1EE6EEAF6}"/>
                </a:ext>
              </a:extLst>
            </p:cNvPr>
            <p:cNvSpPr/>
            <p:nvPr/>
          </p:nvSpPr>
          <p:spPr>
            <a:xfrm>
              <a:off x="2596250" y="1971425"/>
              <a:ext cx="69825" cy="58200"/>
            </a:xfrm>
            <a:custGeom>
              <a:avLst/>
              <a:gdLst/>
              <a:ahLst/>
              <a:cxnLst/>
              <a:rect l="l" t="t" r="r" b="b"/>
              <a:pathLst>
                <a:path w="2793" h="2328" extrusionOk="0">
                  <a:moveTo>
                    <a:pt x="1862" y="1"/>
                  </a:moveTo>
                  <a:lnTo>
                    <a:pt x="1552" y="466"/>
                  </a:lnTo>
                  <a:lnTo>
                    <a:pt x="1087" y="777"/>
                  </a:lnTo>
                  <a:lnTo>
                    <a:pt x="1" y="1707"/>
                  </a:lnTo>
                  <a:lnTo>
                    <a:pt x="1087" y="2328"/>
                  </a:lnTo>
                  <a:lnTo>
                    <a:pt x="1707" y="1242"/>
                  </a:lnTo>
                  <a:lnTo>
                    <a:pt x="2172" y="777"/>
                  </a:lnTo>
                  <a:lnTo>
                    <a:pt x="2172" y="932"/>
                  </a:lnTo>
                  <a:lnTo>
                    <a:pt x="2483" y="621"/>
                  </a:lnTo>
                  <a:lnTo>
                    <a:pt x="2638" y="311"/>
                  </a:lnTo>
                  <a:lnTo>
                    <a:pt x="2793" y="156"/>
                  </a:lnTo>
                  <a:lnTo>
                    <a:pt x="2328" y="156"/>
                  </a:lnTo>
                  <a:lnTo>
                    <a:pt x="1862" y="1"/>
                  </a:lnTo>
                  <a:close/>
                </a:path>
              </a:pathLst>
            </a:custGeom>
            <a:solidFill>
              <a:srgbClr val="C9C6D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" name="Google Shape;6127;p70">
              <a:extLst>
                <a:ext uri="{FF2B5EF4-FFF2-40B4-BE49-F238E27FC236}">
                  <a16:creationId xmlns:a16="http://schemas.microsoft.com/office/drawing/2014/main" id="{68F75B03-E97F-829E-D0BA-EEEE9CC98303}"/>
                </a:ext>
              </a:extLst>
            </p:cNvPr>
            <p:cNvSpPr/>
            <p:nvPr/>
          </p:nvSpPr>
          <p:spPr>
            <a:xfrm>
              <a:off x="2596250" y="1971425"/>
              <a:ext cx="69825" cy="58200"/>
            </a:xfrm>
            <a:custGeom>
              <a:avLst/>
              <a:gdLst/>
              <a:ahLst/>
              <a:cxnLst/>
              <a:rect l="l" t="t" r="r" b="b"/>
              <a:pathLst>
                <a:path w="2793" h="2328" fill="none" extrusionOk="0">
                  <a:moveTo>
                    <a:pt x="1862" y="1"/>
                  </a:moveTo>
                  <a:lnTo>
                    <a:pt x="1862" y="1"/>
                  </a:lnTo>
                  <a:lnTo>
                    <a:pt x="1552" y="466"/>
                  </a:lnTo>
                  <a:lnTo>
                    <a:pt x="1087" y="777"/>
                  </a:lnTo>
                  <a:lnTo>
                    <a:pt x="1087" y="777"/>
                  </a:lnTo>
                  <a:lnTo>
                    <a:pt x="1" y="1707"/>
                  </a:lnTo>
                  <a:lnTo>
                    <a:pt x="1" y="1707"/>
                  </a:lnTo>
                  <a:lnTo>
                    <a:pt x="1087" y="2328"/>
                  </a:lnTo>
                  <a:lnTo>
                    <a:pt x="1087" y="2328"/>
                  </a:lnTo>
                  <a:lnTo>
                    <a:pt x="1707" y="1242"/>
                  </a:lnTo>
                  <a:lnTo>
                    <a:pt x="2172" y="777"/>
                  </a:lnTo>
                  <a:lnTo>
                    <a:pt x="2172" y="777"/>
                  </a:lnTo>
                  <a:lnTo>
                    <a:pt x="2172" y="777"/>
                  </a:lnTo>
                  <a:lnTo>
                    <a:pt x="2172" y="777"/>
                  </a:lnTo>
                  <a:lnTo>
                    <a:pt x="2172" y="932"/>
                  </a:lnTo>
                  <a:lnTo>
                    <a:pt x="2172" y="932"/>
                  </a:lnTo>
                  <a:lnTo>
                    <a:pt x="2483" y="621"/>
                  </a:lnTo>
                  <a:lnTo>
                    <a:pt x="2638" y="311"/>
                  </a:lnTo>
                  <a:lnTo>
                    <a:pt x="2638" y="311"/>
                  </a:lnTo>
                  <a:lnTo>
                    <a:pt x="2793" y="156"/>
                  </a:lnTo>
                  <a:lnTo>
                    <a:pt x="2793" y="156"/>
                  </a:lnTo>
                  <a:lnTo>
                    <a:pt x="2638" y="156"/>
                  </a:lnTo>
                  <a:lnTo>
                    <a:pt x="2638" y="156"/>
                  </a:lnTo>
                  <a:lnTo>
                    <a:pt x="2328" y="156"/>
                  </a:lnTo>
                  <a:lnTo>
                    <a:pt x="2328" y="156"/>
                  </a:lnTo>
                  <a:lnTo>
                    <a:pt x="186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" name="Google Shape;6128;p70">
              <a:extLst>
                <a:ext uri="{FF2B5EF4-FFF2-40B4-BE49-F238E27FC236}">
                  <a16:creationId xmlns:a16="http://schemas.microsoft.com/office/drawing/2014/main" id="{2619487B-6F2C-8D7C-B6AB-89091D9E1F0D}"/>
                </a:ext>
              </a:extLst>
            </p:cNvPr>
            <p:cNvSpPr/>
            <p:nvPr/>
          </p:nvSpPr>
          <p:spPr>
            <a:xfrm>
              <a:off x="2247275" y="2072250"/>
              <a:ext cx="151250" cy="77575"/>
            </a:xfrm>
            <a:custGeom>
              <a:avLst/>
              <a:gdLst/>
              <a:ahLst/>
              <a:cxnLst/>
              <a:rect l="l" t="t" r="r" b="b"/>
              <a:pathLst>
                <a:path w="6050" h="3103" extrusionOk="0">
                  <a:moveTo>
                    <a:pt x="931" y="1"/>
                  </a:moveTo>
                  <a:lnTo>
                    <a:pt x="466" y="1397"/>
                  </a:lnTo>
                  <a:lnTo>
                    <a:pt x="0" y="2793"/>
                  </a:lnTo>
                  <a:lnTo>
                    <a:pt x="2637" y="2948"/>
                  </a:lnTo>
                  <a:lnTo>
                    <a:pt x="5119" y="3103"/>
                  </a:lnTo>
                  <a:lnTo>
                    <a:pt x="6049" y="3103"/>
                  </a:lnTo>
                  <a:lnTo>
                    <a:pt x="4188" y="1862"/>
                  </a:lnTo>
                  <a:lnTo>
                    <a:pt x="3723" y="1552"/>
                  </a:lnTo>
                  <a:lnTo>
                    <a:pt x="3413" y="1242"/>
                  </a:lnTo>
                  <a:lnTo>
                    <a:pt x="2947" y="466"/>
                  </a:lnTo>
                  <a:lnTo>
                    <a:pt x="1862" y="311"/>
                  </a:lnTo>
                  <a:lnTo>
                    <a:pt x="931" y="1"/>
                  </a:lnTo>
                  <a:close/>
                </a:path>
              </a:pathLst>
            </a:custGeom>
            <a:solidFill>
              <a:srgbClr val="BD393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6129;p70">
              <a:extLst>
                <a:ext uri="{FF2B5EF4-FFF2-40B4-BE49-F238E27FC236}">
                  <a16:creationId xmlns:a16="http://schemas.microsoft.com/office/drawing/2014/main" id="{153694F8-DC85-3DD0-5771-6F3DC392DE54}"/>
                </a:ext>
              </a:extLst>
            </p:cNvPr>
            <p:cNvSpPr/>
            <p:nvPr/>
          </p:nvSpPr>
          <p:spPr>
            <a:xfrm>
              <a:off x="2247275" y="2072250"/>
              <a:ext cx="151250" cy="77575"/>
            </a:xfrm>
            <a:custGeom>
              <a:avLst/>
              <a:gdLst/>
              <a:ahLst/>
              <a:cxnLst/>
              <a:rect l="l" t="t" r="r" b="b"/>
              <a:pathLst>
                <a:path w="6050" h="3103" fill="none" extrusionOk="0">
                  <a:moveTo>
                    <a:pt x="931" y="1"/>
                  </a:moveTo>
                  <a:lnTo>
                    <a:pt x="931" y="1"/>
                  </a:lnTo>
                  <a:lnTo>
                    <a:pt x="931" y="1"/>
                  </a:lnTo>
                  <a:lnTo>
                    <a:pt x="466" y="1397"/>
                  </a:lnTo>
                  <a:lnTo>
                    <a:pt x="0" y="2793"/>
                  </a:lnTo>
                  <a:lnTo>
                    <a:pt x="0" y="2793"/>
                  </a:lnTo>
                  <a:lnTo>
                    <a:pt x="2637" y="2948"/>
                  </a:lnTo>
                  <a:lnTo>
                    <a:pt x="5119" y="3103"/>
                  </a:lnTo>
                  <a:lnTo>
                    <a:pt x="5119" y="3103"/>
                  </a:lnTo>
                  <a:lnTo>
                    <a:pt x="6049" y="3103"/>
                  </a:lnTo>
                  <a:lnTo>
                    <a:pt x="6049" y="3103"/>
                  </a:lnTo>
                  <a:lnTo>
                    <a:pt x="6049" y="3103"/>
                  </a:lnTo>
                  <a:lnTo>
                    <a:pt x="4188" y="1862"/>
                  </a:lnTo>
                  <a:lnTo>
                    <a:pt x="4188" y="1862"/>
                  </a:lnTo>
                  <a:lnTo>
                    <a:pt x="3723" y="1552"/>
                  </a:lnTo>
                  <a:lnTo>
                    <a:pt x="3413" y="1242"/>
                  </a:lnTo>
                  <a:lnTo>
                    <a:pt x="2947" y="466"/>
                  </a:lnTo>
                  <a:lnTo>
                    <a:pt x="2947" y="466"/>
                  </a:lnTo>
                  <a:lnTo>
                    <a:pt x="1862" y="311"/>
                  </a:lnTo>
                  <a:lnTo>
                    <a:pt x="93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6130;p70">
              <a:extLst>
                <a:ext uri="{FF2B5EF4-FFF2-40B4-BE49-F238E27FC236}">
                  <a16:creationId xmlns:a16="http://schemas.microsoft.com/office/drawing/2014/main" id="{2B03CC7D-B538-307D-5F98-877DE9E3BB46}"/>
                </a:ext>
              </a:extLst>
            </p:cNvPr>
            <p:cNvSpPr/>
            <p:nvPr/>
          </p:nvSpPr>
          <p:spPr>
            <a:xfrm>
              <a:off x="2398500" y="21498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9E35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6131;p70">
              <a:extLst>
                <a:ext uri="{FF2B5EF4-FFF2-40B4-BE49-F238E27FC236}">
                  <a16:creationId xmlns:a16="http://schemas.microsoft.com/office/drawing/2014/main" id="{0CFDF20F-1B10-4632-E4A0-C93D797B1986}"/>
                </a:ext>
              </a:extLst>
            </p:cNvPr>
            <p:cNvSpPr/>
            <p:nvPr/>
          </p:nvSpPr>
          <p:spPr>
            <a:xfrm>
              <a:off x="2398500" y="21498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6132;p70">
              <a:extLst>
                <a:ext uri="{FF2B5EF4-FFF2-40B4-BE49-F238E27FC236}">
                  <a16:creationId xmlns:a16="http://schemas.microsoft.com/office/drawing/2014/main" id="{57571B68-D94B-EF6C-9511-ADA1872618AD}"/>
                </a:ext>
              </a:extLst>
            </p:cNvPr>
            <p:cNvSpPr/>
            <p:nvPr/>
          </p:nvSpPr>
          <p:spPr>
            <a:xfrm>
              <a:off x="2320950" y="2014100"/>
              <a:ext cx="302475" cy="135725"/>
            </a:xfrm>
            <a:custGeom>
              <a:avLst/>
              <a:gdLst/>
              <a:ahLst/>
              <a:cxnLst/>
              <a:rect l="l" t="t" r="r" b="b"/>
              <a:pathLst>
                <a:path w="12099" h="5429" extrusionOk="0">
                  <a:moveTo>
                    <a:pt x="11013" y="0"/>
                  </a:moveTo>
                  <a:lnTo>
                    <a:pt x="9152" y="1241"/>
                  </a:lnTo>
                  <a:lnTo>
                    <a:pt x="8221" y="1861"/>
                  </a:lnTo>
                  <a:lnTo>
                    <a:pt x="6825" y="2327"/>
                  </a:lnTo>
                  <a:lnTo>
                    <a:pt x="5429" y="2637"/>
                  </a:lnTo>
                  <a:lnTo>
                    <a:pt x="4188" y="2792"/>
                  </a:lnTo>
                  <a:lnTo>
                    <a:pt x="0" y="2792"/>
                  </a:lnTo>
                  <a:lnTo>
                    <a:pt x="466" y="3568"/>
                  </a:lnTo>
                  <a:lnTo>
                    <a:pt x="776" y="3878"/>
                  </a:lnTo>
                  <a:lnTo>
                    <a:pt x="1241" y="4188"/>
                  </a:lnTo>
                  <a:lnTo>
                    <a:pt x="3102" y="5429"/>
                  </a:lnTo>
                  <a:lnTo>
                    <a:pt x="5739" y="5274"/>
                  </a:lnTo>
                  <a:lnTo>
                    <a:pt x="6980" y="4964"/>
                  </a:lnTo>
                  <a:lnTo>
                    <a:pt x="8221" y="4498"/>
                  </a:lnTo>
                  <a:lnTo>
                    <a:pt x="9307" y="3723"/>
                  </a:lnTo>
                  <a:lnTo>
                    <a:pt x="10082" y="3102"/>
                  </a:lnTo>
                  <a:lnTo>
                    <a:pt x="10858" y="2327"/>
                  </a:lnTo>
                  <a:lnTo>
                    <a:pt x="12099" y="621"/>
                  </a:lnTo>
                  <a:lnTo>
                    <a:pt x="11013" y="0"/>
                  </a:lnTo>
                  <a:close/>
                </a:path>
              </a:pathLst>
            </a:custGeom>
            <a:solidFill>
              <a:srgbClr val="BD393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" name="Google Shape;6133;p70">
              <a:extLst>
                <a:ext uri="{FF2B5EF4-FFF2-40B4-BE49-F238E27FC236}">
                  <a16:creationId xmlns:a16="http://schemas.microsoft.com/office/drawing/2014/main" id="{494FF060-BBB6-F0F4-0A52-807CD8CFF668}"/>
                </a:ext>
              </a:extLst>
            </p:cNvPr>
            <p:cNvSpPr/>
            <p:nvPr/>
          </p:nvSpPr>
          <p:spPr>
            <a:xfrm>
              <a:off x="2320950" y="2014100"/>
              <a:ext cx="302475" cy="135725"/>
            </a:xfrm>
            <a:custGeom>
              <a:avLst/>
              <a:gdLst/>
              <a:ahLst/>
              <a:cxnLst/>
              <a:rect l="l" t="t" r="r" b="b"/>
              <a:pathLst>
                <a:path w="12099" h="5429" fill="none" extrusionOk="0">
                  <a:moveTo>
                    <a:pt x="11013" y="0"/>
                  </a:moveTo>
                  <a:lnTo>
                    <a:pt x="11013" y="0"/>
                  </a:lnTo>
                  <a:lnTo>
                    <a:pt x="9152" y="1241"/>
                  </a:lnTo>
                  <a:lnTo>
                    <a:pt x="9152" y="1241"/>
                  </a:lnTo>
                  <a:lnTo>
                    <a:pt x="8221" y="1861"/>
                  </a:lnTo>
                  <a:lnTo>
                    <a:pt x="8221" y="1861"/>
                  </a:lnTo>
                  <a:lnTo>
                    <a:pt x="6825" y="2327"/>
                  </a:lnTo>
                  <a:lnTo>
                    <a:pt x="5429" y="2637"/>
                  </a:lnTo>
                  <a:lnTo>
                    <a:pt x="5429" y="2637"/>
                  </a:lnTo>
                  <a:lnTo>
                    <a:pt x="4188" y="2792"/>
                  </a:lnTo>
                  <a:lnTo>
                    <a:pt x="2327" y="2792"/>
                  </a:lnTo>
                  <a:lnTo>
                    <a:pt x="2327" y="2792"/>
                  </a:lnTo>
                  <a:lnTo>
                    <a:pt x="0" y="2792"/>
                  </a:lnTo>
                  <a:lnTo>
                    <a:pt x="0" y="2792"/>
                  </a:lnTo>
                  <a:lnTo>
                    <a:pt x="466" y="3568"/>
                  </a:lnTo>
                  <a:lnTo>
                    <a:pt x="776" y="3878"/>
                  </a:lnTo>
                  <a:lnTo>
                    <a:pt x="1241" y="4188"/>
                  </a:lnTo>
                  <a:lnTo>
                    <a:pt x="1241" y="4188"/>
                  </a:lnTo>
                  <a:lnTo>
                    <a:pt x="3102" y="5429"/>
                  </a:lnTo>
                  <a:lnTo>
                    <a:pt x="3102" y="5429"/>
                  </a:lnTo>
                  <a:lnTo>
                    <a:pt x="3102" y="5429"/>
                  </a:lnTo>
                  <a:lnTo>
                    <a:pt x="3102" y="5429"/>
                  </a:lnTo>
                  <a:lnTo>
                    <a:pt x="5739" y="5274"/>
                  </a:lnTo>
                  <a:lnTo>
                    <a:pt x="5739" y="5274"/>
                  </a:lnTo>
                  <a:lnTo>
                    <a:pt x="6980" y="4964"/>
                  </a:lnTo>
                  <a:lnTo>
                    <a:pt x="8221" y="4498"/>
                  </a:lnTo>
                  <a:lnTo>
                    <a:pt x="8221" y="4498"/>
                  </a:lnTo>
                  <a:lnTo>
                    <a:pt x="9307" y="3723"/>
                  </a:lnTo>
                  <a:lnTo>
                    <a:pt x="9307" y="3723"/>
                  </a:lnTo>
                  <a:lnTo>
                    <a:pt x="10082" y="3102"/>
                  </a:lnTo>
                  <a:lnTo>
                    <a:pt x="10858" y="2327"/>
                  </a:lnTo>
                  <a:lnTo>
                    <a:pt x="12099" y="621"/>
                  </a:lnTo>
                  <a:lnTo>
                    <a:pt x="12099" y="621"/>
                  </a:lnTo>
                  <a:lnTo>
                    <a:pt x="1101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" name="Google Shape;6134;p70">
              <a:extLst>
                <a:ext uri="{FF2B5EF4-FFF2-40B4-BE49-F238E27FC236}">
                  <a16:creationId xmlns:a16="http://schemas.microsoft.com/office/drawing/2014/main" id="{B78C7997-77BD-5ADF-4482-B4F48B644C3C}"/>
                </a:ext>
              </a:extLst>
            </p:cNvPr>
            <p:cNvSpPr/>
            <p:nvPr/>
          </p:nvSpPr>
          <p:spPr>
            <a:xfrm>
              <a:off x="1262350" y="1928775"/>
              <a:ext cx="1423125" cy="321875"/>
            </a:xfrm>
            <a:custGeom>
              <a:avLst/>
              <a:gdLst/>
              <a:ahLst/>
              <a:cxnLst/>
              <a:rect l="l" t="t" r="r" b="b"/>
              <a:pathLst>
                <a:path w="56925" h="12875" extrusionOk="0">
                  <a:moveTo>
                    <a:pt x="55684" y="1"/>
                  </a:moveTo>
                  <a:lnTo>
                    <a:pt x="55218" y="156"/>
                  </a:lnTo>
                  <a:lnTo>
                    <a:pt x="54908" y="311"/>
                  </a:lnTo>
                  <a:lnTo>
                    <a:pt x="54288" y="931"/>
                  </a:lnTo>
                  <a:lnTo>
                    <a:pt x="52892" y="2172"/>
                  </a:lnTo>
                  <a:lnTo>
                    <a:pt x="51030" y="3258"/>
                  </a:lnTo>
                  <a:lnTo>
                    <a:pt x="50100" y="3878"/>
                  </a:lnTo>
                  <a:lnTo>
                    <a:pt x="49014" y="4344"/>
                  </a:lnTo>
                  <a:lnTo>
                    <a:pt x="47928" y="4654"/>
                  </a:lnTo>
                  <a:lnTo>
                    <a:pt x="46842" y="4809"/>
                  </a:lnTo>
                  <a:lnTo>
                    <a:pt x="45446" y="4809"/>
                  </a:lnTo>
                  <a:lnTo>
                    <a:pt x="43740" y="4499"/>
                  </a:lnTo>
                  <a:lnTo>
                    <a:pt x="39863" y="3413"/>
                  </a:lnTo>
                  <a:lnTo>
                    <a:pt x="37691" y="2793"/>
                  </a:lnTo>
                  <a:lnTo>
                    <a:pt x="35520" y="2327"/>
                  </a:lnTo>
                  <a:lnTo>
                    <a:pt x="33503" y="2172"/>
                  </a:lnTo>
                  <a:lnTo>
                    <a:pt x="32573" y="2172"/>
                  </a:lnTo>
                  <a:lnTo>
                    <a:pt x="31642" y="2327"/>
                  </a:lnTo>
                  <a:lnTo>
                    <a:pt x="30091" y="2948"/>
                  </a:lnTo>
                  <a:lnTo>
                    <a:pt x="28695" y="3723"/>
                  </a:lnTo>
                  <a:lnTo>
                    <a:pt x="27454" y="4654"/>
                  </a:lnTo>
                  <a:lnTo>
                    <a:pt x="26213" y="5585"/>
                  </a:lnTo>
                  <a:lnTo>
                    <a:pt x="24817" y="6515"/>
                  </a:lnTo>
                  <a:lnTo>
                    <a:pt x="23111" y="7446"/>
                  </a:lnTo>
                  <a:lnTo>
                    <a:pt x="21250" y="8377"/>
                  </a:lnTo>
                  <a:lnTo>
                    <a:pt x="19078" y="8842"/>
                  </a:lnTo>
                  <a:lnTo>
                    <a:pt x="16441" y="9152"/>
                  </a:lnTo>
                  <a:lnTo>
                    <a:pt x="13960" y="9152"/>
                  </a:lnTo>
                  <a:lnTo>
                    <a:pt x="11478" y="8997"/>
                  </a:lnTo>
                  <a:lnTo>
                    <a:pt x="9306" y="8687"/>
                  </a:lnTo>
                  <a:lnTo>
                    <a:pt x="5429" y="7911"/>
                  </a:lnTo>
                  <a:lnTo>
                    <a:pt x="4033" y="7756"/>
                  </a:lnTo>
                  <a:lnTo>
                    <a:pt x="3102" y="7756"/>
                  </a:lnTo>
                  <a:lnTo>
                    <a:pt x="1706" y="8066"/>
                  </a:lnTo>
                  <a:lnTo>
                    <a:pt x="776" y="8377"/>
                  </a:lnTo>
                  <a:lnTo>
                    <a:pt x="155" y="8842"/>
                  </a:lnTo>
                  <a:lnTo>
                    <a:pt x="0" y="9152"/>
                  </a:lnTo>
                  <a:lnTo>
                    <a:pt x="0" y="9462"/>
                  </a:lnTo>
                  <a:lnTo>
                    <a:pt x="155" y="10083"/>
                  </a:lnTo>
                  <a:lnTo>
                    <a:pt x="620" y="10858"/>
                  </a:lnTo>
                  <a:lnTo>
                    <a:pt x="1396" y="11479"/>
                  </a:lnTo>
                  <a:lnTo>
                    <a:pt x="2482" y="11944"/>
                  </a:lnTo>
                  <a:lnTo>
                    <a:pt x="3412" y="12254"/>
                  </a:lnTo>
                  <a:lnTo>
                    <a:pt x="5274" y="12409"/>
                  </a:lnTo>
                  <a:lnTo>
                    <a:pt x="10237" y="12720"/>
                  </a:lnTo>
                  <a:lnTo>
                    <a:pt x="15511" y="12875"/>
                  </a:lnTo>
                  <a:lnTo>
                    <a:pt x="17837" y="12720"/>
                  </a:lnTo>
                  <a:lnTo>
                    <a:pt x="19388" y="12564"/>
                  </a:lnTo>
                  <a:lnTo>
                    <a:pt x="21250" y="12099"/>
                  </a:lnTo>
                  <a:lnTo>
                    <a:pt x="23111" y="11324"/>
                  </a:lnTo>
                  <a:lnTo>
                    <a:pt x="24972" y="10393"/>
                  </a:lnTo>
                  <a:lnTo>
                    <a:pt x="26678" y="9462"/>
                  </a:lnTo>
                  <a:lnTo>
                    <a:pt x="29781" y="7601"/>
                  </a:lnTo>
                  <a:lnTo>
                    <a:pt x="31177" y="6826"/>
                  </a:lnTo>
                  <a:lnTo>
                    <a:pt x="32573" y="6515"/>
                  </a:lnTo>
                  <a:lnTo>
                    <a:pt x="33969" y="6515"/>
                  </a:lnTo>
                  <a:lnTo>
                    <a:pt x="35675" y="6670"/>
                  </a:lnTo>
                  <a:lnTo>
                    <a:pt x="39552" y="7136"/>
                  </a:lnTo>
                  <a:lnTo>
                    <a:pt x="43585" y="7601"/>
                  </a:lnTo>
                  <a:lnTo>
                    <a:pt x="45446" y="7756"/>
                  </a:lnTo>
                  <a:lnTo>
                    <a:pt x="47153" y="7756"/>
                  </a:lnTo>
                  <a:lnTo>
                    <a:pt x="47928" y="7601"/>
                  </a:lnTo>
                  <a:lnTo>
                    <a:pt x="48704" y="7291"/>
                  </a:lnTo>
                  <a:lnTo>
                    <a:pt x="50255" y="6670"/>
                  </a:lnTo>
                  <a:lnTo>
                    <a:pt x="51651" y="5740"/>
                  </a:lnTo>
                  <a:lnTo>
                    <a:pt x="52892" y="4809"/>
                  </a:lnTo>
                  <a:lnTo>
                    <a:pt x="54598" y="2948"/>
                  </a:lnTo>
                  <a:lnTo>
                    <a:pt x="55218" y="2483"/>
                  </a:lnTo>
                  <a:lnTo>
                    <a:pt x="55373" y="2327"/>
                  </a:lnTo>
                  <a:lnTo>
                    <a:pt x="55839" y="2483"/>
                  </a:lnTo>
                  <a:lnTo>
                    <a:pt x="56149" y="2638"/>
                  </a:lnTo>
                  <a:lnTo>
                    <a:pt x="56614" y="2483"/>
                  </a:lnTo>
                  <a:lnTo>
                    <a:pt x="56769" y="2327"/>
                  </a:lnTo>
                  <a:lnTo>
                    <a:pt x="56924" y="2017"/>
                  </a:lnTo>
                  <a:lnTo>
                    <a:pt x="56924" y="1242"/>
                  </a:lnTo>
                  <a:lnTo>
                    <a:pt x="56924" y="776"/>
                  </a:lnTo>
                  <a:lnTo>
                    <a:pt x="56614" y="466"/>
                  </a:lnTo>
                  <a:lnTo>
                    <a:pt x="56304" y="156"/>
                  </a:lnTo>
                  <a:lnTo>
                    <a:pt x="55684" y="1"/>
                  </a:lnTo>
                  <a:close/>
                </a:path>
              </a:pathLst>
            </a:custGeom>
            <a:solidFill>
              <a:srgbClr val="FCBF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6135;p70">
              <a:extLst>
                <a:ext uri="{FF2B5EF4-FFF2-40B4-BE49-F238E27FC236}">
                  <a16:creationId xmlns:a16="http://schemas.microsoft.com/office/drawing/2014/main" id="{E071561C-6761-55F6-C0E7-21FA6FA9204E}"/>
                </a:ext>
              </a:extLst>
            </p:cNvPr>
            <p:cNvSpPr/>
            <p:nvPr/>
          </p:nvSpPr>
          <p:spPr>
            <a:xfrm>
              <a:off x="2646675" y="3359650"/>
              <a:ext cx="395550" cy="131875"/>
            </a:xfrm>
            <a:custGeom>
              <a:avLst/>
              <a:gdLst/>
              <a:ahLst/>
              <a:cxnLst/>
              <a:rect l="l" t="t" r="r" b="b"/>
              <a:pathLst>
                <a:path w="15822" h="5275" extrusionOk="0">
                  <a:moveTo>
                    <a:pt x="311" y="0"/>
                  </a:moveTo>
                  <a:lnTo>
                    <a:pt x="0" y="2947"/>
                  </a:lnTo>
                  <a:lnTo>
                    <a:pt x="5274" y="3568"/>
                  </a:lnTo>
                  <a:lnTo>
                    <a:pt x="10237" y="4343"/>
                  </a:lnTo>
                  <a:lnTo>
                    <a:pt x="15821" y="5274"/>
                  </a:lnTo>
                  <a:lnTo>
                    <a:pt x="13650" y="4188"/>
                  </a:lnTo>
                  <a:lnTo>
                    <a:pt x="11013" y="3258"/>
                  </a:lnTo>
                  <a:lnTo>
                    <a:pt x="8531" y="2327"/>
                  </a:lnTo>
                  <a:lnTo>
                    <a:pt x="5894" y="1551"/>
                  </a:lnTo>
                  <a:lnTo>
                    <a:pt x="1862" y="311"/>
                  </a:lnTo>
                  <a:lnTo>
                    <a:pt x="311" y="0"/>
                  </a:lnTo>
                  <a:close/>
                </a:path>
              </a:pathLst>
            </a:custGeom>
            <a:solidFill>
              <a:srgbClr val="1E1D1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6136;p70">
              <a:extLst>
                <a:ext uri="{FF2B5EF4-FFF2-40B4-BE49-F238E27FC236}">
                  <a16:creationId xmlns:a16="http://schemas.microsoft.com/office/drawing/2014/main" id="{22AFB249-E0E9-2BDD-5B34-92058AA7D818}"/>
                </a:ext>
              </a:extLst>
            </p:cNvPr>
            <p:cNvSpPr/>
            <p:nvPr/>
          </p:nvSpPr>
          <p:spPr>
            <a:xfrm>
              <a:off x="2646675" y="3359650"/>
              <a:ext cx="395550" cy="131875"/>
            </a:xfrm>
            <a:custGeom>
              <a:avLst/>
              <a:gdLst/>
              <a:ahLst/>
              <a:cxnLst/>
              <a:rect l="l" t="t" r="r" b="b"/>
              <a:pathLst>
                <a:path w="15822" h="5275" fill="none" extrusionOk="0">
                  <a:moveTo>
                    <a:pt x="311" y="0"/>
                  </a:moveTo>
                  <a:lnTo>
                    <a:pt x="311" y="0"/>
                  </a:lnTo>
                  <a:lnTo>
                    <a:pt x="0" y="2947"/>
                  </a:lnTo>
                  <a:lnTo>
                    <a:pt x="0" y="2947"/>
                  </a:lnTo>
                  <a:lnTo>
                    <a:pt x="5274" y="3568"/>
                  </a:lnTo>
                  <a:lnTo>
                    <a:pt x="10237" y="4343"/>
                  </a:lnTo>
                  <a:lnTo>
                    <a:pt x="15821" y="5274"/>
                  </a:lnTo>
                  <a:lnTo>
                    <a:pt x="15821" y="5274"/>
                  </a:lnTo>
                  <a:lnTo>
                    <a:pt x="13650" y="4188"/>
                  </a:lnTo>
                  <a:lnTo>
                    <a:pt x="11013" y="3258"/>
                  </a:lnTo>
                  <a:lnTo>
                    <a:pt x="8531" y="2327"/>
                  </a:lnTo>
                  <a:lnTo>
                    <a:pt x="5894" y="1551"/>
                  </a:lnTo>
                  <a:lnTo>
                    <a:pt x="1862" y="311"/>
                  </a:lnTo>
                  <a:lnTo>
                    <a:pt x="31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6137;p70">
              <a:extLst>
                <a:ext uri="{FF2B5EF4-FFF2-40B4-BE49-F238E27FC236}">
                  <a16:creationId xmlns:a16="http://schemas.microsoft.com/office/drawing/2014/main" id="{6AEBAE90-B695-96B9-EBF9-C2451456E06F}"/>
                </a:ext>
              </a:extLst>
            </p:cNvPr>
            <p:cNvSpPr/>
            <p:nvPr/>
          </p:nvSpPr>
          <p:spPr>
            <a:xfrm>
              <a:off x="1673375" y="4786625"/>
              <a:ext cx="352900" cy="422700"/>
            </a:xfrm>
            <a:custGeom>
              <a:avLst/>
              <a:gdLst/>
              <a:ahLst/>
              <a:cxnLst/>
              <a:rect l="l" t="t" r="r" b="b"/>
              <a:pathLst>
                <a:path w="14116" h="16908" extrusionOk="0">
                  <a:moveTo>
                    <a:pt x="4964" y="1"/>
                  </a:moveTo>
                  <a:lnTo>
                    <a:pt x="4809" y="156"/>
                  </a:lnTo>
                  <a:lnTo>
                    <a:pt x="4188" y="466"/>
                  </a:lnTo>
                  <a:lnTo>
                    <a:pt x="2792" y="2172"/>
                  </a:lnTo>
                  <a:lnTo>
                    <a:pt x="1241" y="4189"/>
                  </a:lnTo>
                  <a:lnTo>
                    <a:pt x="155" y="5895"/>
                  </a:lnTo>
                  <a:lnTo>
                    <a:pt x="0" y="6360"/>
                  </a:lnTo>
                  <a:lnTo>
                    <a:pt x="0" y="6671"/>
                  </a:lnTo>
                  <a:lnTo>
                    <a:pt x="155" y="7136"/>
                  </a:lnTo>
                  <a:lnTo>
                    <a:pt x="466" y="7446"/>
                  </a:lnTo>
                  <a:lnTo>
                    <a:pt x="10858" y="16287"/>
                  </a:lnTo>
                  <a:lnTo>
                    <a:pt x="11789" y="16908"/>
                  </a:lnTo>
                  <a:lnTo>
                    <a:pt x="12409" y="16908"/>
                  </a:lnTo>
                  <a:lnTo>
                    <a:pt x="13029" y="16752"/>
                  </a:lnTo>
                  <a:lnTo>
                    <a:pt x="13495" y="16442"/>
                  </a:lnTo>
                  <a:lnTo>
                    <a:pt x="13805" y="15977"/>
                  </a:lnTo>
                  <a:lnTo>
                    <a:pt x="14115" y="15512"/>
                  </a:lnTo>
                  <a:lnTo>
                    <a:pt x="14115" y="15046"/>
                  </a:lnTo>
                  <a:lnTo>
                    <a:pt x="14115" y="14891"/>
                  </a:lnTo>
                  <a:lnTo>
                    <a:pt x="12874" y="13340"/>
                  </a:lnTo>
                  <a:lnTo>
                    <a:pt x="11013" y="10858"/>
                  </a:lnTo>
                  <a:lnTo>
                    <a:pt x="10237" y="9462"/>
                  </a:lnTo>
                  <a:lnTo>
                    <a:pt x="9617" y="8222"/>
                  </a:lnTo>
                  <a:lnTo>
                    <a:pt x="9307" y="7136"/>
                  </a:lnTo>
                  <a:lnTo>
                    <a:pt x="9307" y="6671"/>
                  </a:lnTo>
                  <a:lnTo>
                    <a:pt x="9462" y="6205"/>
                  </a:lnTo>
                  <a:lnTo>
                    <a:pt x="9927" y="5275"/>
                  </a:lnTo>
                  <a:lnTo>
                    <a:pt x="10082" y="4809"/>
                  </a:lnTo>
                  <a:lnTo>
                    <a:pt x="9772" y="4499"/>
                  </a:lnTo>
                  <a:lnTo>
                    <a:pt x="6980" y="1862"/>
                  </a:lnTo>
                  <a:lnTo>
                    <a:pt x="5894" y="932"/>
                  </a:lnTo>
                  <a:lnTo>
                    <a:pt x="5119" y="156"/>
                  </a:lnTo>
                  <a:lnTo>
                    <a:pt x="4964" y="1"/>
                  </a:lnTo>
                  <a:close/>
                </a:path>
              </a:pathLst>
            </a:custGeom>
            <a:solidFill>
              <a:srgbClr val="01020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02" name="Google Shape;756;p16">
            <a:extLst>
              <a:ext uri="{FF2B5EF4-FFF2-40B4-BE49-F238E27FC236}">
                <a16:creationId xmlns:a16="http://schemas.microsoft.com/office/drawing/2014/main" id="{DA61F5C7-2600-807B-3F4A-CAE957129DDF}"/>
              </a:ext>
            </a:extLst>
          </p:cNvPr>
          <p:cNvSpPr/>
          <p:nvPr/>
        </p:nvSpPr>
        <p:spPr>
          <a:xfrm>
            <a:off x="354049" y="1976004"/>
            <a:ext cx="2173022" cy="2476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SzPts val="700"/>
            </a:pPr>
            <a:r>
              <a:rPr lang="en" sz="933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REISELIVET I TROMSØ 2040</a:t>
            </a:r>
            <a:endParaRPr sz="933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79094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4" grpId="0" animBg="1"/>
      <p:bldP spid="16" grpId="0" animBg="1"/>
      <p:bldP spid="1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17e9db2e-8ebd-4897-8996-b5c720a974f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16344EBCB9A3840BF943E3493C2015F" ma:contentTypeVersion="11" ma:contentTypeDescription="Opprett et nytt dokument." ma:contentTypeScope="" ma:versionID="e30137cd75e0240333e7acff0a0be8ae">
  <xsd:schema xmlns:xsd="http://www.w3.org/2001/XMLSchema" xmlns:xs="http://www.w3.org/2001/XMLSchema" xmlns:p="http://schemas.microsoft.com/office/2006/metadata/properties" xmlns:ns2="b640801f-cd2a-4fce-bf49-a7ee128ae29d" xmlns:ns3="a6e00de2-9e7b-4964-a1cc-2b0e1ac88dc8" targetNamespace="http://schemas.microsoft.com/office/2006/metadata/properties" ma:root="true" ma:fieldsID="db1f876638474904a2b0b443e2205384" ns2:_="" ns3:_="">
    <xsd:import namespace="b640801f-cd2a-4fce-bf49-a7ee128ae29d"/>
    <xsd:import namespace="a6e00de2-9e7b-4964-a1cc-2b0e1ac88dc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40801f-cd2a-4fce-bf49-a7ee128ae29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emerkelapper" ma:readOnly="false" ma:fieldId="{5cf76f15-5ced-4ddc-b409-7134ff3c332f}" ma:taxonomyMulti="true" ma:sspId="7ec5f361-b5d2-4904-89ee-d73c8458f9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e00de2-9e7b-4964-a1cc-2b0e1ac88dc8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42976532-1b35-4398-b135-4f23988fc87d}" ma:internalName="TaxCatchAll" ma:showField="CatchAllData" ma:web="a6e00de2-9e7b-4964-a1cc-2b0e1ac88d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640801f-cd2a-4fce-bf49-a7ee128ae29d">
      <Terms xmlns="http://schemas.microsoft.com/office/infopath/2007/PartnerControls"/>
    </lcf76f155ced4ddcb4097134ff3c332f>
    <TaxCatchAll xmlns="a6e00de2-9e7b-4964-a1cc-2b0e1ac88dc8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58BBE11-F1B5-4085-9C65-8373D2072536}"/>
</file>

<file path=customXml/itemProps2.xml><?xml version="1.0" encoding="utf-8"?>
<ds:datastoreItem xmlns:ds="http://schemas.openxmlformats.org/officeDocument/2006/customXml" ds:itemID="{ED754C34-0FA5-4A9C-99AA-226693758BE6}">
  <ds:schemaRefs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terms/"/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infopath/2007/PartnerControls"/>
    <ds:schemaRef ds:uri="a6e00de2-9e7b-4964-a1cc-2b0e1ac88dc8"/>
    <ds:schemaRef ds:uri="b640801f-cd2a-4fce-bf49-a7ee128ae29d"/>
  </ds:schemaRefs>
</ds:datastoreItem>
</file>

<file path=customXml/itemProps3.xml><?xml version="1.0" encoding="utf-8"?>
<ds:datastoreItem xmlns:ds="http://schemas.openxmlformats.org/officeDocument/2006/customXml" ds:itemID="{33B6396E-CC1C-49AB-8244-84643F334D3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717</Words>
  <Application>Microsoft Office PowerPoint</Application>
  <PresentationFormat>Widescreen</PresentationFormat>
  <Paragraphs>101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ptos</vt:lpstr>
      <vt:lpstr>Aptos Display</vt:lpstr>
      <vt:lpstr>Arial</vt:lpstr>
      <vt:lpstr>Georgia</vt:lpstr>
      <vt:lpstr>HelveticaNeue</vt:lpstr>
      <vt:lpstr>Office Theme</vt:lpstr>
      <vt:lpstr>think-cell Slide</vt:lpstr>
      <vt:lpstr>Hjerterom for byrom 2024 lagde en visjon for Tromsø 2040 og pekte på hva vi måtte gjøre for å komme dit</vt:lpstr>
      <vt:lpstr>Hjerterom for byrom 2025 bygde videre på disse innspillene gjennom tre tema og et samtaleverksted på hvert av teamaene</vt:lpstr>
      <vt:lpstr>Deltakerne pekte på behovet for utvikling av en felles visjon og bred involering i tidlig fase for å få til bedre by- og stedsutvikling </vt:lpstr>
      <vt:lpstr>Deltakerne peker på behov for målrettede medvirknings-prosesser for å nå de som i dag ikke blir hørt</vt:lpstr>
      <vt:lpstr>Deltakerne peker på behov for samarbeid , regulering og helhetlige løsninger for å få bærekraftig kvalitetsturism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orunn Julie Kielland (NO)</dc:creator>
  <cp:lastModifiedBy>Torunn Julie Kielland (NO)</cp:lastModifiedBy>
  <cp:revision>2</cp:revision>
  <dcterms:created xsi:type="dcterms:W3CDTF">2025-02-17T14:49:18Z</dcterms:created>
  <dcterms:modified xsi:type="dcterms:W3CDTF">2025-12-02T11:0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6344EBCB9A3840BF943E3493C2015F</vt:lpwstr>
  </property>
  <property fmtid="{D5CDD505-2E9C-101B-9397-08002B2CF9AE}" pid="3" name="MediaServiceImageTags">
    <vt:lpwstr/>
  </property>
</Properties>
</file>